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5.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6.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7.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8.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9.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10.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11.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1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24.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135.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136.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10" r:id="rId6"/>
    <p:sldMasterId id="2147484052" r:id="rId7"/>
    <p:sldMasterId id="2147484069" r:id="rId8"/>
    <p:sldMasterId id="2147484095" r:id="rId9"/>
    <p:sldMasterId id="2147484116" r:id="rId10"/>
    <p:sldMasterId id="2147484170" r:id="rId11"/>
    <p:sldMasterId id="2147484202" r:id="rId12"/>
    <p:sldMasterId id="2147484213" r:id="rId13"/>
    <p:sldMasterId id="2147484238" r:id="rId14"/>
    <p:sldMasterId id="2147484248" r:id="rId15"/>
    <p:sldMasterId id="2147484253" r:id="rId16"/>
    <p:sldMasterId id="2147484262" r:id="rId17"/>
  </p:sldMasterIdLst>
  <p:notesMasterIdLst>
    <p:notesMasterId r:id="rId98"/>
  </p:notesMasterIdLst>
  <p:handoutMasterIdLst>
    <p:handoutMasterId r:id="rId99"/>
  </p:handoutMasterIdLst>
  <p:sldIdLst>
    <p:sldId id="285" r:id="rId18"/>
    <p:sldId id="263" r:id="rId19"/>
    <p:sldId id="278" r:id="rId20"/>
    <p:sldId id="264" r:id="rId21"/>
    <p:sldId id="284" r:id="rId22"/>
    <p:sldId id="275" r:id="rId23"/>
    <p:sldId id="293" r:id="rId24"/>
    <p:sldId id="294" r:id="rId25"/>
    <p:sldId id="276" r:id="rId26"/>
    <p:sldId id="265" r:id="rId27"/>
    <p:sldId id="266" r:id="rId28"/>
    <p:sldId id="267" r:id="rId29"/>
    <p:sldId id="269" r:id="rId30"/>
    <p:sldId id="271" r:id="rId31"/>
    <p:sldId id="273" r:id="rId32"/>
    <p:sldId id="277" r:id="rId33"/>
    <p:sldId id="261" r:id="rId34"/>
    <p:sldId id="260" r:id="rId35"/>
    <p:sldId id="262" r:id="rId36"/>
    <p:sldId id="283" r:id="rId37"/>
    <p:sldId id="7051" r:id="rId38"/>
    <p:sldId id="2147479169" r:id="rId39"/>
    <p:sldId id="2147483629" r:id="rId40"/>
    <p:sldId id="279" r:id="rId41"/>
    <p:sldId id="272" r:id="rId42"/>
    <p:sldId id="2147479848" r:id="rId43"/>
    <p:sldId id="2147483637" r:id="rId44"/>
    <p:sldId id="2147483635" r:id="rId45"/>
    <p:sldId id="2147483643" r:id="rId46"/>
    <p:sldId id="2147483646" r:id="rId47"/>
    <p:sldId id="2147483631" r:id="rId48"/>
    <p:sldId id="2147483645" r:id="rId49"/>
    <p:sldId id="2147483644" r:id="rId50"/>
    <p:sldId id="2147483619" r:id="rId51"/>
    <p:sldId id="2147483613" r:id="rId52"/>
    <p:sldId id="2147483617" r:id="rId53"/>
    <p:sldId id="2147483616" r:id="rId54"/>
    <p:sldId id="2147483618" r:id="rId55"/>
    <p:sldId id="2147479857" r:id="rId56"/>
    <p:sldId id="2147483632" r:id="rId57"/>
    <p:sldId id="2147483626" r:id="rId58"/>
    <p:sldId id="268" r:id="rId59"/>
    <p:sldId id="2147483627" r:id="rId60"/>
    <p:sldId id="280" r:id="rId61"/>
    <p:sldId id="282" r:id="rId62"/>
    <p:sldId id="2147483633" r:id="rId63"/>
    <p:sldId id="2146848955" r:id="rId64"/>
    <p:sldId id="2147483547" r:id="rId65"/>
    <p:sldId id="270" r:id="rId66"/>
    <p:sldId id="281" r:id="rId67"/>
    <p:sldId id="288" r:id="rId68"/>
    <p:sldId id="258" r:id="rId69"/>
    <p:sldId id="2147483642" r:id="rId70"/>
    <p:sldId id="257" r:id="rId71"/>
    <p:sldId id="2147479870" r:id="rId72"/>
    <p:sldId id="259" r:id="rId73"/>
    <p:sldId id="2147483614" r:id="rId74"/>
    <p:sldId id="2147483622" r:id="rId75"/>
    <p:sldId id="2147483621" r:id="rId76"/>
    <p:sldId id="274" r:id="rId77"/>
    <p:sldId id="2147483615" r:id="rId78"/>
    <p:sldId id="2147483638" r:id="rId79"/>
    <p:sldId id="2147483628" r:id="rId80"/>
    <p:sldId id="2147483647" r:id="rId81"/>
    <p:sldId id="256" r:id="rId82"/>
    <p:sldId id="2147483639" r:id="rId83"/>
    <p:sldId id="2147483640" r:id="rId84"/>
    <p:sldId id="2146849393" r:id="rId85"/>
    <p:sldId id="2147483570" r:id="rId86"/>
    <p:sldId id="2147483605" r:id="rId87"/>
    <p:sldId id="2147483609" r:id="rId88"/>
    <p:sldId id="2147483612" r:id="rId89"/>
    <p:sldId id="2146849364" r:id="rId90"/>
    <p:sldId id="2147479813" r:id="rId91"/>
    <p:sldId id="2146849383" r:id="rId92"/>
    <p:sldId id="2146849374" r:id="rId93"/>
    <p:sldId id="2147479814" r:id="rId94"/>
    <p:sldId id="2146849370" r:id="rId95"/>
    <p:sldId id="2147479815" r:id="rId96"/>
    <p:sldId id="2146849388" r:id="rId97"/>
  </p:sldIdLst>
  <p:sldSz cx="12192000" cy="6858000"/>
  <p:notesSz cx="6858000" cy="1255395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71" userDrawn="1">
          <p15:clr>
            <a:srgbClr val="A4A3A4"/>
          </p15:clr>
        </p15:guide>
        <p15:guide id="2" pos="937" userDrawn="1">
          <p15:clr>
            <a:srgbClr val="A4A3A4"/>
          </p15:clr>
        </p15:guide>
        <p15:guide id="3" pos="1049" userDrawn="1">
          <p15:clr>
            <a:srgbClr val="A4A3A4"/>
          </p15:clr>
        </p15:guide>
        <p15:guide id="4" pos="1271" userDrawn="1">
          <p15:clr>
            <a:srgbClr val="A4A3A4"/>
          </p15:clr>
        </p15:guide>
      </p15:sldGuideLst>
    </p:ext>
    <p:ext uri="{2D200454-40CA-4A62-9FC3-DE9A4176ACB9}">
      <p15:notesGuideLst xmlns:p15="http://schemas.microsoft.com/office/powerpoint/2012/main">
        <p15:guide id="1" orient="horz" pos="3954">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495205D-0070-601B-E1F0-0C345E8BD3DC}" name="Genis Anaya Ibars" initials="GA" userId="S::genis.anaya@stratesys-ts.com::16da6ad5-f4b7-4b3b-a651-1dbf11382a25" providerId="AD"/>
  <p188:author id="{EA1F90FC-6862-80AD-5FBF-C46474DE012C}" name="Manel Sanroma Beltrán" initials="MSB" userId="S::manel.sanroma@stratesys-ts.com::27adb7c3-c44d-4808-97b3-f27a7768159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icencia str_rep" initials="Ls" lastIdx="0" clrIdx="0">
    <p:extLst>
      <p:ext uri="{19B8F6BF-5375-455C-9EA6-DF929625EA0E}">
        <p15:presenceInfo xmlns:p15="http://schemas.microsoft.com/office/powerpoint/2012/main" userId="S::licencia_str_rep@stratesysts.onmicrosoft.com::050fc6ce-5bb4-411b-a761-01493bad2f89" providerId="AD"/>
      </p:ext>
    </p:extLst>
  </p:cmAuthor>
  <p:cmAuthor id="2" name="María Ibarrondo Chamorro" initials="MC" lastIdx="1" clrIdx="1">
    <p:extLst>
      <p:ext uri="{19B8F6BF-5375-455C-9EA6-DF929625EA0E}">
        <p15:presenceInfo xmlns:p15="http://schemas.microsoft.com/office/powerpoint/2012/main" userId="S::maria.ibarrondo@stratesys-ts.com::b3595000-38e0-4e36-9195-cebb9ffb3a37" providerId="AD"/>
      </p:ext>
    </p:extLst>
  </p:cmAuthor>
  <p:cmAuthor id="3" name="Xavier Aguado Altadill" initials="XAA" lastIdx="1" clrIdx="2">
    <p:extLst>
      <p:ext uri="{19B8F6BF-5375-455C-9EA6-DF929625EA0E}">
        <p15:presenceInfo xmlns:p15="http://schemas.microsoft.com/office/powerpoint/2012/main" userId="S::xavier.aguado@stratesys-ts.com::e0e90726-aabb-4871-bc5e-a59135cf514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000000"/>
        </p14:laserClr>
      </p:ext>
      <p:ext uri="{2FDB2607-1784-4EEB-B798-7EB5836EED8A}">
        <p14:showMediaCtrls xmlns:p14="http://schemas.microsoft.com/office/powerpoint/2010/main" val="1"/>
      </p:ext>
    </p:extLst>
  </p:showPr>
  <p:clrMru>
    <a:srgbClr val="FCAF16"/>
    <a:srgbClr val="00402A"/>
    <a:srgbClr val="8A0051"/>
    <a:srgbClr val="FFE699"/>
    <a:srgbClr val="EDAF00"/>
    <a:srgbClr val="00456E"/>
    <a:srgbClr val="228ECE"/>
    <a:srgbClr val="EB2DC2"/>
    <a:srgbClr val="24C6BE"/>
    <a:srgbClr val="00D7A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8EFDDAD-E15C-480F-B693-4CBA2437E723}" v="236" dt="2025-06-27T08:31:55.437"/>
  </p1510:revLst>
</p1510:revInfo>
</file>

<file path=ppt/tableStyles.xml><?xml version="1.0" encoding="utf-8"?>
<a:tblStyleLst xmlns:a="http://schemas.openxmlformats.org/drawingml/2006/main" def="{5C22544A-7EE6-4342-B048-85BDC9FD1C3A}">
  <a:tblStyle styleId="{E8034E78-7F5D-4C2E-B375-FC64B27BC917}" styleName="Estilo oscuro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8D230F3-CF80-4859-8CE7-A43EE81993B5}" styleName="Estilo claro 1 - Acento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1EBBBCC-DAD2-459C-BE2E-F6DE35CF9A28}" styleName="Estilo oscuro 2 - Énfasis 3/Énfasis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Estilo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202B0CA-FC54-4496-8BCA-5EF66A818D29}" styleName="Estilo oscuro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3B4B98B0-60AC-42C2-AFA5-B58CD77FA1E5}" styleName="Estilo claro 1 - Acento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Estilo medio 2 - Énfasis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A111915-BE36-4E01-A7E5-04B1672EAD32}" styleName="Estilo claro 2 - Acento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5FD0F851-EC5A-4D38-B0AD-8093EC10F338}" styleName="Estilo claro 1 - Acento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BC89EF96-8CEA-46FF-86C4-4CE0E7609802}" styleName="Estilo claro 3 - Acento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DBED569-4797-4DF1-A0F4-6AAB3CD982D8}" styleName="Estilo claro 3 - Acento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74C1A8A3-306A-4EB7-A6B1-4F7E0EB9C5D6}" styleName="Estilo medio 3 - Énfasis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FABFCF23-3B69-468F-B69F-88F6DE6A72F2}" styleName="Estilo medio 1 - Énfasis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22838BEF-8BB2-4498-84A7-C5851F593DF1}" styleName="Estilo medio 4 - Énfasis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5758FB7-9AC5-4552-8A53-C91805E547FA}" styleName="Estilo temático 1 - Énfasis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D27102A9-8310-4765-A935-A1911B00CA55}" styleName="Estilo claro 1 - Acento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B301B821-A1FF-4177-AEE7-76D212191A09}" styleName="Estilo medio 1 - Énfasis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Estilo claro 2 - Acento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A488322-F2BA-4B5B-9748-0D474271808F}" styleName="Estilo medio 3 - Énfasis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EB344D84-9AFB-497E-A393-DC336BA19D2E}" styleName="Estilo medio 3 - Énfasis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Estilo medio 3 - Énfasis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Estilo medio 3 - Énfasis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1E171933-4619-4E11-9A3F-F7608DF75F80}" styleName="Estilo medio 1 - Énfasis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Estilo medio 2 - Énfasis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C4B1156A-380E-4F78-BDF5-A606A8083BF9}" styleName="Estilo medio 4 - Énfasis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17292A2E-F333-43FB-9621-5CBBE7FDCDCB}" styleName="Estilo claro 2 - Acento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9D7B26C5-4107-4FEC-AEDC-1716B250A1EF}" styleName="Estilo claro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C083E6E3-FA7D-4D7B-A595-EF9225AFEA82}" styleName="Estilo claro 1 - Acento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613" autoAdjust="0"/>
    <p:restoredTop sz="94660"/>
  </p:normalViewPr>
  <p:slideViewPr>
    <p:cSldViewPr snapToGrid="0">
      <p:cViewPr varScale="1">
        <p:scale>
          <a:sx n="102" d="100"/>
          <a:sy n="102" d="100"/>
        </p:scale>
        <p:origin x="1182" y="102"/>
      </p:cViewPr>
      <p:guideLst>
        <p:guide orient="horz" pos="1071"/>
        <p:guide pos="937"/>
        <p:guide pos="1049"/>
        <p:guide pos="1271"/>
      </p:guideLst>
    </p:cSldViewPr>
  </p:slideViewPr>
  <p:notesTextViewPr>
    <p:cViewPr>
      <p:scale>
        <a:sx n="1" d="1"/>
        <a:sy n="1" d="1"/>
      </p:scale>
      <p:origin x="0" y="0"/>
    </p:cViewPr>
  </p:notesTextViewPr>
  <p:notesViewPr>
    <p:cSldViewPr snapToGrid="0">
      <p:cViewPr>
        <p:scale>
          <a:sx n="1" d="2"/>
          <a:sy n="1" d="2"/>
        </p:scale>
        <p:origin x="0" y="0"/>
      </p:cViewPr>
      <p:guideLst>
        <p:guide orient="horz" pos="3954"/>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9.xml"/><Relationship Id="rId21" Type="http://schemas.openxmlformats.org/officeDocument/2006/relationships/slide" Target="slides/slide4.xml"/><Relationship Id="rId42" Type="http://schemas.openxmlformats.org/officeDocument/2006/relationships/slide" Target="slides/slide25.xml"/><Relationship Id="rId47" Type="http://schemas.openxmlformats.org/officeDocument/2006/relationships/slide" Target="slides/slide30.xml"/><Relationship Id="rId63" Type="http://schemas.openxmlformats.org/officeDocument/2006/relationships/slide" Target="slides/slide46.xml"/><Relationship Id="rId68" Type="http://schemas.openxmlformats.org/officeDocument/2006/relationships/slide" Target="slides/slide51.xml"/><Relationship Id="rId84" Type="http://schemas.openxmlformats.org/officeDocument/2006/relationships/slide" Target="slides/slide67.xml"/><Relationship Id="rId89" Type="http://schemas.openxmlformats.org/officeDocument/2006/relationships/slide" Target="slides/slide72.xml"/><Relationship Id="rId16" Type="http://schemas.openxmlformats.org/officeDocument/2006/relationships/slideMaster" Target="slideMasters/slideMaster11.xml"/><Relationship Id="rId107" Type="http://schemas.microsoft.com/office/2018/10/relationships/authors" Target="authors.xml"/><Relationship Id="rId11" Type="http://schemas.openxmlformats.org/officeDocument/2006/relationships/slideMaster" Target="slideMasters/slideMaster6.xml"/><Relationship Id="rId32" Type="http://schemas.openxmlformats.org/officeDocument/2006/relationships/slide" Target="slides/slide15.xml"/><Relationship Id="rId37" Type="http://schemas.openxmlformats.org/officeDocument/2006/relationships/slide" Target="slides/slide20.xml"/><Relationship Id="rId53" Type="http://schemas.openxmlformats.org/officeDocument/2006/relationships/slide" Target="slides/slide36.xml"/><Relationship Id="rId58" Type="http://schemas.openxmlformats.org/officeDocument/2006/relationships/slide" Target="slides/slide41.xml"/><Relationship Id="rId74" Type="http://schemas.openxmlformats.org/officeDocument/2006/relationships/slide" Target="slides/slide57.xml"/><Relationship Id="rId79" Type="http://schemas.openxmlformats.org/officeDocument/2006/relationships/slide" Target="slides/slide62.xml"/><Relationship Id="rId102" Type="http://schemas.openxmlformats.org/officeDocument/2006/relationships/viewProps" Target="viewProps.xml"/><Relationship Id="rId5" Type="http://schemas.openxmlformats.org/officeDocument/2006/relationships/customXml" Target="../customXml/item5.xml"/><Relationship Id="rId90" Type="http://schemas.openxmlformats.org/officeDocument/2006/relationships/slide" Target="slides/slide73.xml"/><Relationship Id="rId95" Type="http://schemas.openxmlformats.org/officeDocument/2006/relationships/slide" Target="slides/slide78.xml"/><Relationship Id="rId22" Type="http://schemas.openxmlformats.org/officeDocument/2006/relationships/slide" Target="slides/slide5.xml"/><Relationship Id="rId27" Type="http://schemas.openxmlformats.org/officeDocument/2006/relationships/slide" Target="slides/slide10.xml"/><Relationship Id="rId43" Type="http://schemas.openxmlformats.org/officeDocument/2006/relationships/slide" Target="slides/slide26.xml"/><Relationship Id="rId48" Type="http://schemas.openxmlformats.org/officeDocument/2006/relationships/slide" Target="slides/slide31.xml"/><Relationship Id="rId64" Type="http://schemas.openxmlformats.org/officeDocument/2006/relationships/slide" Target="slides/slide47.xml"/><Relationship Id="rId69" Type="http://schemas.openxmlformats.org/officeDocument/2006/relationships/slide" Target="slides/slide52.xml"/><Relationship Id="rId80" Type="http://schemas.openxmlformats.org/officeDocument/2006/relationships/slide" Target="slides/slide63.xml"/><Relationship Id="rId85" Type="http://schemas.openxmlformats.org/officeDocument/2006/relationships/slide" Target="slides/slide68.xml"/><Relationship Id="rId12" Type="http://schemas.openxmlformats.org/officeDocument/2006/relationships/slideMaster" Target="slideMasters/slideMaster7.xml"/><Relationship Id="rId17" Type="http://schemas.openxmlformats.org/officeDocument/2006/relationships/slideMaster" Target="slideMasters/slideMaster12.xml"/><Relationship Id="rId33" Type="http://schemas.openxmlformats.org/officeDocument/2006/relationships/slide" Target="slides/slide16.xml"/><Relationship Id="rId38" Type="http://schemas.openxmlformats.org/officeDocument/2006/relationships/slide" Target="slides/slide21.xml"/><Relationship Id="rId59" Type="http://schemas.openxmlformats.org/officeDocument/2006/relationships/slide" Target="slides/slide42.xml"/><Relationship Id="rId103" Type="http://schemas.openxmlformats.org/officeDocument/2006/relationships/theme" Target="theme/theme1.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slide" Target="slides/slide45.xml"/><Relationship Id="rId70" Type="http://schemas.openxmlformats.org/officeDocument/2006/relationships/slide" Target="slides/slide53.xml"/><Relationship Id="rId75" Type="http://schemas.openxmlformats.org/officeDocument/2006/relationships/slide" Target="slides/slide58.xml"/><Relationship Id="rId83" Type="http://schemas.openxmlformats.org/officeDocument/2006/relationships/slide" Target="slides/slide66.xml"/><Relationship Id="rId88" Type="http://schemas.openxmlformats.org/officeDocument/2006/relationships/slide" Target="slides/slide71.xml"/><Relationship Id="rId91" Type="http://schemas.openxmlformats.org/officeDocument/2006/relationships/slide" Target="slides/slide74.xml"/><Relationship Id="rId96" Type="http://schemas.openxmlformats.org/officeDocument/2006/relationships/slide" Target="slides/slide79.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Master" Target="slideMasters/slideMaster10.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slide" Target="slides/slide40.xml"/><Relationship Id="rId106" Type="http://schemas.microsoft.com/office/2015/10/relationships/revisionInfo" Target="revisionInfo.xml"/><Relationship Id="rId10" Type="http://schemas.openxmlformats.org/officeDocument/2006/relationships/slideMaster" Target="slideMasters/slideMaster5.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slide" Target="slides/slide43.xml"/><Relationship Id="rId65" Type="http://schemas.openxmlformats.org/officeDocument/2006/relationships/slide" Target="slides/slide48.xml"/><Relationship Id="rId73" Type="http://schemas.openxmlformats.org/officeDocument/2006/relationships/slide" Target="slides/slide56.xml"/><Relationship Id="rId78" Type="http://schemas.openxmlformats.org/officeDocument/2006/relationships/slide" Target="slides/slide61.xml"/><Relationship Id="rId81" Type="http://schemas.openxmlformats.org/officeDocument/2006/relationships/slide" Target="slides/slide64.xml"/><Relationship Id="rId86" Type="http://schemas.openxmlformats.org/officeDocument/2006/relationships/slide" Target="slides/slide69.xml"/><Relationship Id="rId94" Type="http://schemas.openxmlformats.org/officeDocument/2006/relationships/slide" Target="slides/slide77.xml"/><Relationship Id="rId99" Type="http://schemas.openxmlformats.org/officeDocument/2006/relationships/handoutMaster" Target="handoutMasters/handoutMaster1.xml"/><Relationship Id="rId101"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Master" Target="slideMasters/slideMaster4.xml"/><Relationship Id="rId13" Type="http://schemas.openxmlformats.org/officeDocument/2006/relationships/slideMaster" Target="slideMasters/slideMaster8.xml"/><Relationship Id="rId18" Type="http://schemas.openxmlformats.org/officeDocument/2006/relationships/slide" Target="slides/slide1.xml"/><Relationship Id="rId39" Type="http://schemas.openxmlformats.org/officeDocument/2006/relationships/slide" Target="slides/slide22.xml"/><Relationship Id="rId34" Type="http://schemas.openxmlformats.org/officeDocument/2006/relationships/slide" Target="slides/slide17.xml"/><Relationship Id="rId50" Type="http://schemas.openxmlformats.org/officeDocument/2006/relationships/slide" Target="slides/slide33.xml"/><Relationship Id="rId55" Type="http://schemas.openxmlformats.org/officeDocument/2006/relationships/slide" Target="slides/slide38.xml"/><Relationship Id="rId76" Type="http://schemas.openxmlformats.org/officeDocument/2006/relationships/slide" Target="slides/slide59.xml"/><Relationship Id="rId97" Type="http://schemas.openxmlformats.org/officeDocument/2006/relationships/slide" Target="slides/slide80.xml"/><Relationship Id="rId104" Type="http://schemas.openxmlformats.org/officeDocument/2006/relationships/tableStyles" Target="tableStyles.xml"/><Relationship Id="rId7" Type="http://schemas.openxmlformats.org/officeDocument/2006/relationships/slideMaster" Target="slideMasters/slideMaster2.xml"/><Relationship Id="rId71" Type="http://schemas.openxmlformats.org/officeDocument/2006/relationships/slide" Target="slides/slide54.xml"/><Relationship Id="rId92" Type="http://schemas.openxmlformats.org/officeDocument/2006/relationships/slide" Target="slides/slide75.xml"/><Relationship Id="rId2" Type="http://schemas.openxmlformats.org/officeDocument/2006/relationships/customXml" Target="../customXml/item2.xml"/><Relationship Id="rId29" Type="http://schemas.openxmlformats.org/officeDocument/2006/relationships/slide" Target="slides/slide12.xml"/><Relationship Id="rId24" Type="http://schemas.openxmlformats.org/officeDocument/2006/relationships/slide" Target="slides/slide7.xml"/><Relationship Id="rId40" Type="http://schemas.openxmlformats.org/officeDocument/2006/relationships/slide" Target="slides/slide23.xml"/><Relationship Id="rId45" Type="http://schemas.openxmlformats.org/officeDocument/2006/relationships/slide" Target="slides/slide28.xml"/><Relationship Id="rId66" Type="http://schemas.openxmlformats.org/officeDocument/2006/relationships/slide" Target="slides/slide49.xml"/><Relationship Id="rId87" Type="http://schemas.openxmlformats.org/officeDocument/2006/relationships/slide" Target="slides/slide70.xml"/><Relationship Id="rId61" Type="http://schemas.openxmlformats.org/officeDocument/2006/relationships/slide" Target="slides/slide44.xml"/><Relationship Id="rId82" Type="http://schemas.openxmlformats.org/officeDocument/2006/relationships/slide" Target="slides/slide65.xml"/><Relationship Id="rId19" Type="http://schemas.openxmlformats.org/officeDocument/2006/relationships/slide" Target="slides/slide2.xml"/><Relationship Id="rId14" Type="http://schemas.openxmlformats.org/officeDocument/2006/relationships/slideMaster" Target="slideMasters/slideMaster9.xml"/><Relationship Id="rId30" Type="http://schemas.openxmlformats.org/officeDocument/2006/relationships/slide" Target="slides/slide13.xml"/><Relationship Id="rId35" Type="http://schemas.openxmlformats.org/officeDocument/2006/relationships/slide" Target="slides/slide18.xml"/><Relationship Id="rId56" Type="http://schemas.openxmlformats.org/officeDocument/2006/relationships/slide" Target="slides/slide39.xml"/><Relationship Id="rId77" Type="http://schemas.openxmlformats.org/officeDocument/2006/relationships/slide" Target="slides/slide60.xml"/><Relationship Id="rId100" Type="http://schemas.openxmlformats.org/officeDocument/2006/relationships/commentAuthors" Target="commentAuthors.xml"/><Relationship Id="rId105" Type="http://schemas.microsoft.com/office/2016/11/relationships/changesInfo" Target="changesInfos/changesInfo1.xml"/><Relationship Id="rId8" Type="http://schemas.openxmlformats.org/officeDocument/2006/relationships/slideMaster" Target="slideMasters/slideMaster3.xml"/><Relationship Id="rId51" Type="http://schemas.openxmlformats.org/officeDocument/2006/relationships/slide" Target="slides/slide34.xml"/><Relationship Id="rId72" Type="http://schemas.openxmlformats.org/officeDocument/2006/relationships/slide" Target="slides/slide55.xml"/><Relationship Id="rId93" Type="http://schemas.openxmlformats.org/officeDocument/2006/relationships/slide" Target="slides/slide76.xml"/><Relationship Id="rId98" Type="http://schemas.openxmlformats.org/officeDocument/2006/relationships/notesMaster" Target="notesMasters/notesMaster1.xml"/><Relationship Id="rId3" Type="http://schemas.openxmlformats.org/officeDocument/2006/relationships/customXml" Target="../customXml/item3.xml"/><Relationship Id="rId25" Type="http://schemas.openxmlformats.org/officeDocument/2006/relationships/slide" Target="slides/slide8.xml"/><Relationship Id="rId46" Type="http://schemas.openxmlformats.org/officeDocument/2006/relationships/slide" Target="slides/slide29.xml"/><Relationship Id="rId67" Type="http://schemas.openxmlformats.org/officeDocument/2006/relationships/slide" Target="slides/slide5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toni Carenys Roca" userId="49b0e278-00c0-4a15-914d-415a78784eaa" providerId="ADAL" clId="{5C72B896-93F4-4CDA-A17D-9E45623F4D68}"/>
    <pc:docChg chg="undo custSel addSld modSld sldOrd">
      <pc:chgData name="Antoni Carenys Roca" userId="49b0e278-00c0-4a15-914d-415a78784eaa" providerId="ADAL" clId="{5C72B896-93F4-4CDA-A17D-9E45623F4D68}" dt="2025-05-28T22:39:48.559" v="1566" actId="20577"/>
      <pc:docMkLst>
        <pc:docMk/>
      </pc:docMkLst>
      <pc:sldChg chg="addSp modSp mod ord modShow">
        <pc:chgData name="Antoni Carenys Roca" userId="49b0e278-00c0-4a15-914d-415a78784eaa" providerId="ADAL" clId="{5C72B896-93F4-4CDA-A17D-9E45623F4D68}" dt="2025-05-28T12:06:19.886" v="268"/>
        <pc:sldMkLst>
          <pc:docMk/>
          <pc:sldMk cId="2785411241" sldId="2147483619"/>
        </pc:sldMkLst>
        <pc:spChg chg="mod">
          <ac:chgData name="Antoni Carenys Roca" userId="49b0e278-00c0-4a15-914d-415a78784eaa" providerId="ADAL" clId="{5C72B896-93F4-4CDA-A17D-9E45623F4D68}" dt="2025-05-27T11:21:44.346" v="0" actId="20577"/>
          <ac:spMkLst>
            <pc:docMk/>
            <pc:sldMk cId="2785411241" sldId="2147483619"/>
            <ac:spMk id="5" creationId="{A54E2B48-1568-A057-2502-77748DD18598}"/>
          </ac:spMkLst>
        </pc:spChg>
      </pc:sldChg>
      <pc:sldChg chg="addSp modSp mod">
        <pc:chgData name="Antoni Carenys Roca" userId="49b0e278-00c0-4a15-914d-415a78784eaa" providerId="ADAL" clId="{5C72B896-93F4-4CDA-A17D-9E45623F4D68}" dt="2025-05-28T17:45:04.129" v="1529" actId="1076"/>
        <pc:sldMkLst>
          <pc:docMk/>
          <pc:sldMk cId="4073311785" sldId="2147483628"/>
        </pc:sldMkLst>
        <pc:spChg chg="add mod">
          <ac:chgData name="Antoni Carenys Roca" userId="49b0e278-00c0-4a15-914d-415a78784eaa" providerId="ADAL" clId="{5C72B896-93F4-4CDA-A17D-9E45623F4D68}" dt="2025-05-27T11:22:47.687" v="5" actId="208"/>
          <ac:spMkLst>
            <pc:docMk/>
            <pc:sldMk cId="4073311785" sldId="2147483628"/>
            <ac:spMk id="12" creationId="{C8BA9B51-97EF-D7B1-0C0F-A109C5C06A1B}"/>
          </ac:spMkLst>
        </pc:spChg>
        <pc:spChg chg="add mod">
          <ac:chgData name="Antoni Carenys Roca" userId="49b0e278-00c0-4a15-914d-415a78784eaa" providerId="ADAL" clId="{5C72B896-93F4-4CDA-A17D-9E45623F4D68}" dt="2025-05-27T11:22:50.757" v="7" actId="1076"/>
          <ac:spMkLst>
            <pc:docMk/>
            <pc:sldMk cId="4073311785" sldId="2147483628"/>
            <ac:spMk id="34" creationId="{B01A6319-EF06-4113-213D-45D29DB1BC9E}"/>
          </ac:spMkLst>
        </pc:spChg>
        <pc:spChg chg="add mod">
          <ac:chgData name="Antoni Carenys Roca" userId="49b0e278-00c0-4a15-914d-415a78784eaa" providerId="ADAL" clId="{5C72B896-93F4-4CDA-A17D-9E45623F4D68}" dt="2025-05-27T11:22:53.317" v="9" actId="1076"/>
          <ac:spMkLst>
            <pc:docMk/>
            <pc:sldMk cId="4073311785" sldId="2147483628"/>
            <ac:spMk id="38" creationId="{F6716578-6ED8-6084-9008-F26A3B3E5A58}"/>
          </ac:spMkLst>
        </pc:spChg>
        <pc:spChg chg="add mod">
          <ac:chgData name="Antoni Carenys Roca" userId="49b0e278-00c0-4a15-914d-415a78784eaa" providerId="ADAL" clId="{5C72B896-93F4-4CDA-A17D-9E45623F4D68}" dt="2025-05-27T11:22:55.508" v="11" actId="1076"/>
          <ac:spMkLst>
            <pc:docMk/>
            <pc:sldMk cId="4073311785" sldId="2147483628"/>
            <ac:spMk id="39" creationId="{ED852215-2D4D-C162-23B8-580C3351D160}"/>
          </ac:spMkLst>
        </pc:spChg>
        <pc:spChg chg="add mod">
          <ac:chgData name="Antoni Carenys Roca" userId="49b0e278-00c0-4a15-914d-415a78784eaa" providerId="ADAL" clId="{5C72B896-93F4-4CDA-A17D-9E45623F4D68}" dt="2025-05-27T11:22:57.995" v="13" actId="1076"/>
          <ac:spMkLst>
            <pc:docMk/>
            <pc:sldMk cId="4073311785" sldId="2147483628"/>
            <ac:spMk id="40" creationId="{43589DA6-4BEC-BEB6-67AA-348DE0A69371}"/>
          </ac:spMkLst>
        </pc:spChg>
        <pc:picChg chg="mod">
          <ac:chgData name="Antoni Carenys Roca" userId="49b0e278-00c0-4a15-914d-415a78784eaa" providerId="ADAL" clId="{5C72B896-93F4-4CDA-A17D-9E45623F4D68}" dt="2025-05-28T17:42:55.285" v="1520" actId="1076"/>
          <ac:picMkLst>
            <pc:docMk/>
            <pc:sldMk cId="4073311785" sldId="2147483628"/>
            <ac:picMk id="1026" creationId="{718224AE-D1B7-7D92-0FF3-5078367EAB14}"/>
          </ac:picMkLst>
        </pc:picChg>
        <pc:picChg chg="mod">
          <ac:chgData name="Antoni Carenys Roca" userId="49b0e278-00c0-4a15-914d-415a78784eaa" providerId="ADAL" clId="{5C72B896-93F4-4CDA-A17D-9E45623F4D68}" dt="2025-05-28T17:43:42.605" v="1524" actId="1076"/>
          <ac:picMkLst>
            <pc:docMk/>
            <pc:sldMk cId="4073311785" sldId="2147483628"/>
            <ac:picMk id="1028" creationId="{05333BAD-DC9C-F2A1-E7A2-2511F47D38D6}"/>
          </ac:picMkLst>
        </pc:picChg>
      </pc:sldChg>
      <pc:sldChg chg="modSp">
        <pc:chgData name="Antoni Carenys Roca" userId="49b0e278-00c0-4a15-914d-415a78784eaa" providerId="ADAL" clId="{5C72B896-93F4-4CDA-A17D-9E45623F4D68}" dt="2025-05-28T12:11:03.648" v="342" actId="1076"/>
        <pc:sldMkLst>
          <pc:docMk/>
          <pc:sldMk cId="2177597232" sldId="2147483631"/>
        </pc:sldMkLst>
        <pc:spChg chg="mod">
          <ac:chgData name="Antoni Carenys Roca" userId="49b0e278-00c0-4a15-914d-415a78784eaa" providerId="ADAL" clId="{5C72B896-93F4-4CDA-A17D-9E45623F4D68}" dt="2025-05-28T12:11:03.648" v="342" actId="1076"/>
          <ac:spMkLst>
            <pc:docMk/>
            <pc:sldMk cId="2177597232" sldId="2147483631"/>
            <ac:spMk id="6" creationId="{E2B8E0A6-3E90-3808-76E3-CE66FA53793B}"/>
          </ac:spMkLst>
        </pc:spChg>
        <pc:spChg chg="mod">
          <ac:chgData name="Antoni Carenys Roca" userId="49b0e278-00c0-4a15-914d-415a78784eaa" providerId="ADAL" clId="{5C72B896-93F4-4CDA-A17D-9E45623F4D68}" dt="2025-05-28T12:11:03.648" v="342" actId="1076"/>
          <ac:spMkLst>
            <pc:docMk/>
            <pc:sldMk cId="2177597232" sldId="2147483631"/>
            <ac:spMk id="8" creationId="{C6974E89-23A1-FF48-0E15-3BFD0A012BB0}"/>
          </ac:spMkLst>
        </pc:spChg>
        <pc:spChg chg="mod">
          <ac:chgData name="Antoni Carenys Roca" userId="49b0e278-00c0-4a15-914d-415a78784eaa" providerId="ADAL" clId="{5C72B896-93F4-4CDA-A17D-9E45623F4D68}" dt="2025-05-28T12:11:03.648" v="342" actId="1076"/>
          <ac:spMkLst>
            <pc:docMk/>
            <pc:sldMk cId="2177597232" sldId="2147483631"/>
            <ac:spMk id="15" creationId="{1B6A24C8-2353-E427-E848-3865CCF54EBD}"/>
          </ac:spMkLst>
        </pc:spChg>
        <pc:picChg chg="mod">
          <ac:chgData name="Antoni Carenys Roca" userId="49b0e278-00c0-4a15-914d-415a78784eaa" providerId="ADAL" clId="{5C72B896-93F4-4CDA-A17D-9E45623F4D68}" dt="2025-05-28T12:11:03.648" v="342" actId="1076"/>
          <ac:picMkLst>
            <pc:docMk/>
            <pc:sldMk cId="2177597232" sldId="2147483631"/>
            <ac:picMk id="7" creationId="{1B689124-0B43-89AD-6C46-9809F7D867CC}"/>
          </ac:picMkLst>
        </pc:picChg>
        <pc:picChg chg="mod">
          <ac:chgData name="Antoni Carenys Roca" userId="49b0e278-00c0-4a15-914d-415a78784eaa" providerId="ADAL" clId="{5C72B896-93F4-4CDA-A17D-9E45623F4D68}" dt="2025-05-28T12:11:03.648" v="342" actId="1076"/>
          <ac:picMkLst>
            <pc:docMk/>
            <pc:sldMk cId="2177597232" sldId="2147483631"/>
            <ac:picMk id="2052" creationId="{CFCA038B-0A41-0685-3E81-DA2275299FCB}"/>
          </ac:picMkLst>
        </pc:picChg>
        <pc:picChg chg="mod">
          <ac:chgData name="Antoni Carenys Roca" userId="49b0e278-00c0-4a15-914d-415a78784eaa" providerId="ADAL" clId="{5C72B896-93F4-4CDA-A17D-9E45623F4D68}" dt="2025-05-28T12:11:03.648" v="342" actId="1076"/>
          <ac:picMkLst>
            <pc:docMk/>
            <pc:sldMk cId="2177597232" sldId="2147483631"/>
            <ac:picMk id="2054" creationId="{EEAA4BA7-DBF9-C6C3-6144-31B1357D9E1B}"/>
          </ac:picMkLst>
        </pc:picChg>
      </pc:sldChg>
      <pc:sldChg chg="addSp delSp modSp add mod">
        <pc:chgData name="Antoni Carenys Roca" userId="49b0e278-00c0-4a15-914d-415a78784eaa" providerId="ADAL" clId="{5C72B896-93F4-4CDA-A17D-9E45623F4D68}" dt="2025-05-28T22:37:46.657" v="1543" actId="1035"/>
        <pc:sldMkLst>
          <pc:docMk/>
          <pc:sldMk cId="2807532808" sldId="2147483635"/>
        </pc:sldMkLst>
        <pc:spChg chg="add mod">
          <ac:chgData name="Antoni Carenys Roca" userId="49b0e278-00c0-4a15-914d-415a78784eaa" providerId="ADAL" clId="{5C72B896-93F4-4CDA-A17D-9E45623F4D68}" dt="2025-05-28T22:37:46.657" v="1543" actId="1035"/>
          <ac:spMkLst>
            <pc:docMk/>
            <pc:sldMk cId="2807532808" sldId="2147483635"/>
            <ac:spMk id="20" creationId="{D3935072-A1F0-757C-DF80-9F684390C137}"/>
          </ac:spMkLst>
        </pc:spChg>
        <pc:spChg chg="add mod">
          <ac:chgData name="Antoni Carenys Roca" userId="49b0e278-00c0-4a15-914d-415a78784eaa" providerId="ADAL" clId="{5C72B896-93F4-4CDA-A17D-9E45623F4D68}" dt="2025-05-28T22:37:46.657" v="1543" actId="1035"/>
          <ac:spMkLst>
            <pc:docMk/>
            <pc:sldMk cId="2807532808" sldId="2147483635"/>
            <ac:spMk id="21" creationId="{DCE8DB6C-18D0-19F7-EF31-F6E46EDB3876}"/>
          </ac:spMkLst>
        </pc:spChg>
        <pc:spChg chg="add mod">
          <ac:chgData name="Antoni Carenys Roca" userId="49b0e278-00c0-4a15-914d-415a78784eaa" providerId="ADAL" clId="{5C72B896-93F4-4CDA-A17D-9E45623F4D68}" dt="2025-05-28T22:37:46.657" v="1543" actId="1035"/>
          <ac:spMkLst>
            <pc:docMk/>
            <pc:sldMk cId="2807532808" sldId="2147483635"/>
            <ac:spMk id="22" creationId="{EBF6F2CA-C8B8-85BD-E5A3-50433F2305F7}"/>
          </ac:spMkLst>
        </pc:spChg>
        <pc:spChg chg="add mod">
          <ac:chgData name="Antoni Carenys Roca" userId="49b0e278-00c0-4a15-914d-415a78784eaa" providerId="ADAL" clId="{5C72B896-93F4-4CDA-A17D-9E45623F4D68}" dt="2025-05-28T22:37:46.657" v="1543" actId="1035"/>
          <ac:spMkLst>
            <pc:docMk/>
            <pc:sldMk cId="2807532808" sldId="2147483635"/>
            <ac:spMk id="23" creationId="{9C8E1FCD-3848-4B9C-8AE4-40BBB6F6332E}"/>
          </ac:spMkLst>
        </pc:spChg>
        <pc:spChg chg="mod">
          <ac:chgData name="Antoni Carenys Roca" userId="49b0e278-00c0-4a15-914d-415a78784eaa" providerId="ADAL" clId="{5C72B896-93F4-4CDA-A17D-9E45623F4D68}" dt="2025-05-28T17:08:10.421" v="739" actId="207"/>
          <ac:spMkLst>
            <pc:docMk/>
            <pc:sldMk cId="2807532808" sldId="2147483635"/>
            <ac:spMk id="24" creationId="{9C9EDEF4-7ADC-1B8C-0275-0B8FF866A87C}"/>
          </ac:spMkLst>
        </pc:spChg>
        <pc:spChg chg="add mod">
          <ac:chgData name="Antoni Carenys Roca" userId="49b0e278-00c0-4a15-914d-415a78784eaa" providerId="ADAL" clId="{5C72B896-93F4-4CDA-A17D-9E45623F4D68}" dt="2025-05-28T22:37:46.657" v="1543" actId="1035"/>
          <ac:spMkLst>
            <pc:docMk/>
            <pc:sldMk cId="2807532808" sldId="2147483635"/>
            <ac:spMk id="25" creationId="{7D56119B-6529-2B8A-4687-0E7BD798F30D}"/>
          </ac:spMkLst>
        </pc:spChg>
        <pc:spChg chg="add mod">
          <ac:chgData name="Antoni Carenys Roca" userId="49b0e278-00c0-4a15-914d-415a78784eaa" providerId="ADAL" clId="{5C72B896-93F4-4CDA-A17D-9E45623F4D68}" dt="2025-05-28T22:37:46.657" v="1543" actId="1035"/>
          <ac:spMkLst>
            <pc:docMk/>
            <pc:sldMk cId="2807532808" sldId="2147483635"/>
            <ac:spMk id="26" creationId="{F227021B-C30B-8405-7D79-661A6459F705}"/>
          </ac:spMkLst>
        </pc:spChg>
        <pc:spChg chg="mod">
          <ac:chgData name="Antoni Carenys Roca" userId="49b0e278-00c0-4a15-914d-415a78784eaa" providerId="ADAL" clId="{5C72B896-93F4-4CDA-A17D-9E45623F4D68}" dt="2025-05-28T22:37:46.657" v="1543" actId="1035"/>
          <ac:spMkLst>
            <pc:docMk/>
            <pc:sldMk cId="2807532808" sldId="2147483635"/>
            <ac:spMk id="27" creationId="{3610F818-39CC-68AB-1E04-C5C3E63C3DD8}"/>
          </ac:spMkLst>
        </pc:spChg>
        <pc:spChg chg="add mod">
          <ac:chgData name="Antoni Carenys Roca" userId="49b0e278-00c0-4a15-914d-415a78784eaa" providerId="ADAL" clId="{5C72B896-93F4-4CDA-A17D-9E45623F4D68}" dt="2025-05-28T22:37:46.657" v="1543" actId="1035"/>
          <ac:spMkLst>
            <pc:docMk/>
            <pc:sldMk cId="2807532808" sldId="2147483635"/>
            <ac:spMk id="30" creationId="{D1D86D9C-9231-00DA-328B-E57677CFFE5F}"/>
          </ac:spMkLst>
        </pc:spChg>
        <pc:spChg chg="add mod">
          <ac:chgData name="Antoni Carenys Roca" userId="49b0e278-00c0-4a15-914d-415a78784eaa" providerId="ADAL" clId="{5C72B896-93F4-4CDA-A17D-9E45623F4D68}" dt="2025-05-28T22:37:46.657" v="1543" actId="1035"/>
          <ac:spMkLst>
            <pc:docMk/>
            <pc:sldMk cId="2807532808" sldId="2147483635"/>
            <ac:spMk id="31" creationId="{30C57F1E-9AE2-8A37-9C3D-8D40DD46B184}"/>
          </ac:spMkLst>
        </pc:spChg>
        <pc:spChg chg="mod">
          <ac:chgData name="Antoni Carenys Roca" userId="49b0e278-00c0-4a15-914d-415a78784eaa" providerId="ADAL" clId="{5C72B896-93F4-4CDA-A17D-9E45623F4D68}" dt="2025-05-28T22:37:46.657" v="1543" actId="1035"/>
          <ac:spMkLst>
            <pc:docMk/>
            <pc:sldMk cId="2807532808" sldId="2147483635"/>
            <ac:spMk id="32" creationId="{FE514CA0-DCB1-ACA4-0193-7E56B63BFE5F}"/>
          </ac:spMkLst>
        </pc:spChg>
        <pc:spChg chg="add mod">
          <ac:chgData name="Antoni Carenys Roca" userId="49b0e278-00c0-4a15-914d-415a78784eaa" providerId="ADAL" clId="{5C72B896-93F4-4CDA-A17D-9E45623F4D68}" dt="2025-05-27T11:34:51.136" v="241" actId="20577"/>
          <ac:spMkLst>
            <pc:docMk/>
            <pc:sldMk cId="2807532808" sldId="2147483635"/>
            <ac:spMk id="38" creationId="{7FD8D414-BBD2-ED28-E92D-857A16EC5B81}"/>
          </ac:spMkLst>
        </pc:spChg>
        <pc:cxnChg chg="mod">
          <ac:chgData name="Antoni Carenys Roca" userId="49b0e278-00c0-4a15-914d-415a78784eaa" providerId="ADAL" clId="{5C72B896-93F4-4CDA-A17D-9E45623F4D68}" dt="2025-05-28T12:10:21.164" v="334" actId="1035"/>
          <ac:cxnSpMkLst>
            <pc:docMk/>
            <pc:sldMk cId="2807532808" sldId="2147483635"/>
            <ac:cxnSpMk id="36" creationId="{D9BD6E4C-6CC9-0E6D-4C68-2172002000BE}"/>
          </ac:cxnSpMkLst>
        </pc:cxnChg>
        <pc:cxnChg chg="mod">
          <ac:chgData name="Antoni Carenys Roca" userId="49b0e278-00c0-4a15-914d-415a78784eaa" providerId="ADAL" clId="{5C72B896-93F4-4CDA-A17D-9E45623F4D68}" dt="2025-05-28T12:10:20.236" v="332" actId="1035"/>
          <ac:cxnSpMkLst>
            <pc:docMk/>
            <pc:sldMk cId="2807532808" sldId="2147483635"/>
            <ac:cxnSpMk id="37" creationId="{D7B7AFA4-1471-CFAD-E8BD-A70089D14194}"/>
          </ac:cxnSpMkLst>
        </pc:cxnChg>
      </pc:sldChg>
      <pc:sldChg chg="addSp delSp modSp mod">
        <pc:chgData name="Antoni Carenys Roca" userId="49b0e278-00c0-4a15-914d-415a78784eaa" providerId="ADAL" clId="{5C72B896-93F4-4CDA-A17D-9E45623F4D68}" dt="2025-05-28T12:37:14.791" v="686"/>
        <pc:sldMkLst>
          <pc:docMk/>
          <pc:sldMk cId="4191510517" sldId="2147483643"/>
        </pc:sldMkLst>
        <pc:spChg chg="mod">
          <ac:chgData name="Antoni Carenys Roca" userId="49b0e278-00c0-4a15-914d-415a78784eaa" providerId="ADAL" clId="{5C72B896-93F4-4CDA-A17D-9E45623F4D68}" dt="2025-05-28T12:18:45.666" v="346"/>
          <ac:spMkLst>
            <pc:docMk/>
            <pc:sldMk cId="4191510517" sldId="2147483643"/>
            <ac:spMk id="30" creationId="{01496CE8-A19A-8C85-D0EB-5E6F70311DCA}"/>
          </ac:spMkLst>
        </pc:spChg>
        <pc:spChg chg="mod">
          <ac:chgData name="Antoni Carenys Roca" userId="49b0e278-00c0-4a15-914d-415a78784eaa" providerId="ADAL" clId="{5C72B896-93F4-4CDA-A17D-9E45623F4D68}" dt="2025-05-28T12:18:45.666" v="346"/>
          <ac:spMkLst>
            <pc:docMk/>
            <pc:sldMk cId="4191510517" sldId="2147483643"/>
            <ac:spMk id="33" creationId="{82DB251A-22D9-B3CD-6F3A-AD8DDB3DCB9C}"/>
          </ac:spMkLst>
        </pc:spChg>
        <pc:spChg chg="mod">
          <ac:chgData name="Antoni Carenys Roca" userId="49b0e278-00c0-4a15-914d-415a78784eaa" providerId="ADAL" clId="{5C72B896-93F4-4CDA-A17D-9E45623F4D68}" dt="2025-05-28T12:18:45.666" v="346"/>
          <ac:spMkLst>
            <pc:docMk/>
            <pc:sldMk cId="4191510517" sldId="2147483643"/>
            <ac:spMk id="34" creationId="{DC9A5E63-E0B3-41B4-8982-5AE3832C6CA6}"/>
          </ac:spMkLst>
        </pc:spChg>
        <pc:spChg chg="mod">
          <ac:chgData name="Antoni Carenys Roca" userId="49b0e278-00c0-4a15-914d-415a78784eaa" providerId="ADAL" clId="{5C72B896-93F4-4CDA-A17D-9E45623F4D68}" dt="2025-05-28T12:18:45.666" v="346"/>
          <ac:spMkLst>
            <pc:docMk/>
            <pc:sldMk cId="4191510517" sldId="2147483643"/>
            <ac:spMk id="36" creationId="{49AF4032-BEB3-B0DE-5FBB-0822095FEEE1}"/>
          </ac:spMkLst>
        </pc:spChg>
        <pc:spChg chg="mod">
          <ac:chgData name="Antoni Carenys Roca" userId="49b0e278-00c0-4a15-914d-415a78784eaa" providerId="ADAL" clId="{5C72B896-93F4-4CDA-A17D-9E45623F4D68}" dt="2025-05-28T12:33:43.868" v="609" actId="1076"/>
          <ac:spMkLst>
            <pc:docMk/>
            <pc:sldMk cId="4191510517" sldId="2147483643"/>
            <ac:spMk id="39" creationId="{92E098AF-A895-B97D-7CFD-13FC2897D285}"/>
          </ac:spMkLst>
        </pc:spChg>
        <pc:spChg chg="mod">
          <ac:chgData name="Antoni Carenys Roca" userId="49b0e278-00c0-4a15-914d-415a78784eaa" providerId="ADAL" clId="{5C72B896-93F4-4CDA-A17D-9E45623F4D68}" dt="2025-05-28T12:33:43.868" v="609" actId="1076"/>
          <ac:spMkLst>
            <pc:docMk/>
            <pc:sldMk cId="4191510517" sldId="2147483643"/>
            <ac:spMk id="40" creationId="{7108D339-A5FA-F53D-E2FB-D527D7F69F2A}"/>
          </ac:spMkLst>
        </pc:spChg>
        <pc:spChg chg="add mod">
          <ac:chgData name="Antoni Carenys Roca" userId="49b0e278-00c0-4a15-914d-415a78784eaa" providerId="ADAL" clId="{5C72B896-93F4-4CDA-A17D-9E45623F4D68}" dt="2025-05-28T12:33:43.868" v="609" actId="1076"/>
          <ac:spMkLst>
            <pc:docMk/>
            <pc:sldMk cId="4191510517" sldId="2147483643"/>
            <ac:spMk id="41" creationId="{AA050EBB-A6CB-A98D-C7B2-4E462E42F3BE}"/>
          </ac:spMkLst>
        </pc:spChg>
        <pc:spChg chg="mod">
          <ac:chgData name="Antoni Carenys Roca" userId="49b0e278-00c0-4a15-914d-415a78784eaa" providerId="ADAL" clId="{5C72B896-93F4-4CDA-A17D-9E45623F4D68}" dt="2025-05-28T12:33:43.868" v="609" actId="1076"/>
          <ac:spMkLst>
            <pc:docMk/>
            <pc:sldMk cId="4191510517" sldId="2147483643"/>
            <ac:spMk id="43" creationId="{D0E1A5A2-AA70-4412-BE3C-294A8519FDE0}"/>
          </ac:spMkLst>
        </pc:spChg>
        <pc:spChg chg="mod">
          <ac:chgData name="Antoni Carenys Roca" userId="49b0e278-00c0-4a15-914d-415a78784eaa" providerId="ADAL" clId="{5C72B896-93F4-4CDA-A17D-9E45623F4D68}" dt="2025-05-28T12:33:59.226" v="619" actId="404"/>
          <ac:spMkLst>
            <pc:docMk/>
            <pc:sldMk cId="4191510517" sldId="2147483643"/>
            <ac:spMk id="46" creationId="{FA81B8F2-15A2-23FE-9D18-87A6EB17EC7D}"/>
          </ac:spMkLst>
        </pc:spChg>
        <pc:spChg chg="mod">
          <ac:chgData name="Antoni Carenys Roca" userId="49b0e278-00c0-4a15-914d-415a78784eaa" providerId="ADAL" clId="{5C72B896-93F4-4CDA-A17D-9E45623F4D68}" dt="2025-05-28T12:33:26.446" v="606"/>
          <ac:spMkLst>
            <pc:docMk/>
            <pc:sldMk cId="4191510517" sldId="2147483643"/>
            <ac:spMk id="47" creationId="{9BED727E-39E4-C7D7-E8AF-B29D5FD320D0}"/>
          </ac:spMkLst>
        </pc:spChg>
        <pc:spChg chg="mod">
          <ac:chgData name="Antoni Carenys Roca" userId="49b0e278-00c0-4a15-914d-415a78784eaa" providerId="ADAL" clId="{5C72B896-93F4-4CDA-A17D-9E45623F4D68}" dt="2025-05-28T12:33:17.738" v="604" actId="20577"/>
          <ac:spMkLst>
            <pc:docMk/>
            <pc:sldMk cId="4191510517" sldId="2147483643"/>
            <ac:spMk id="49" creationId="{40D86D5B-F9D4-03CD-2CCA-B89374BCBE7C}"/>
          </ac:spMkLst>
        </pc:spChg>
        <pc:spChg chg="mod">
          <ac:chgData name="Antoni Carenys Roca" userId="49b0e278-00c0-4a15-914d-415a78784eaa" providerId="ADAL" clId="{5C72B896-93F4-4CDA-A17D-9E45623F4D68}" dt="2025-05-28T12:33:15.088" v="602"/>
          <ac:spMkLst>
            <pc:docMk/>
            <pc:sldMk cId="4191510517" sldId="2147483643"/>
            <ac:spMk id="50" creationId="{63B8A5F4-BC95-6A4F-9C0C-7E6FA81196D9}"/>
          </ac:spMkLst>
        </pc:spChg>
        <pc:spChg chg="mod">
          <ac:chgData name="Antoni Carenys Roca" userId="49b0e278-00c0-4a15-914d-415a78784eaa" providerId="ADAL" clId="{5C72B896-93F4-4CDA-A17D-9E45623F4D68}" dt="2025-05-28T12:33:06.713" v="600" actId="20577"/>
          <ac:spMkLst>
            <pc:docMk/>
            <pc:sldMk cId="4191510517" sldId="2147483643"/>
            <ac:spMk id="52" creationId="{4960B784-1B2A-1209-B581-DC536837F927}"/>
          </ac:spMkLst>
        </pc:spChg>
        <pc:spChg chg="mod">
          <ac:chgData name="Antoni Carenys Roca" userId="49b0e278-00c0-4a15-914d-415a78784eaa" providerId="ADAL" clId="{5C72B896-93F4-4CDA-A17D-9E45623F4D68}" dt="2025-05-28T12:36:20.829" v="655" actId="1076"/>
          <ac:spMkLst>
            <pc:docMk/>
            <pc:sldMk cId="4191510517" sldId="2147483643"/>
            <ac:spMk id="53" creationId="{9BB0C4F3-9812-29A1-D970-9022D0EB00F1}"/>
          </ac:spMkLst>
        </pc:spChg>
        <pc:spChg chg="add mod">
          <ac:chgData name="Antoni Carenys Roca" userId="49b0e278-00c0-4a15-914d-415a78784eaa" providerId="ADAL" clId="{5C72B896-93F4-4CDA-A17D-9E45623F4D68}" dt="2025-05-28T12:33:43.868" v="609" actId="1076"/>
          <ac:spMkLst>
            <pc:docMk/>
            <pc:sldMk cId="4191510517" sldId="2147483643"/>
            <ac:spMk id="55" creationId="{4D597038-6218-65A2-9B2E-26E60CB58527}"/>
          </ac:spMkLst>
        </pc:spChg>
        <pc:spChg chg="add mod">
          <ac:chgData name="Antoni Carenys Roca" userId="49b0e278-00c0-4a15-914d-415a78784eaa" providerId="ADAL" clId="{5C72B896-93F4-4CDA-A17D-9E45623F4D68}" dt="2025-05-28T12:33:43.868" v="609" actId="1076"/>
          <ac:spMkLst>
            <pc:docMk/>
            <pc:sldMk cId="4191510517" sldId="2147483643"/>
            <ac:spMk id="56" creationId="{CD36B4AF-095B-5332-7B7D-66194DDA13C3}"/>
          </ac:spMkLst>
        </pc:spChg>
        <pc:spChg chg="add mod">
          <ac:chgData name="Antoni Carenys Roca" userId="49b0e278-00c0-4a15-914d-415a78784eaa" providerId="ADAL" clId="{5C72B896-93F4-4CDA-A17D-9E45623F4D68}" dt="2025-05-28T12:32:05.894" v="583"/>
          <ac:spMkLst>
            <pc:docMk/>
            <pc:sldMk cId="4191510517" sldId="2147483643"/>
            <ac:spMk id="57" creationId="{584F4766-703D-193E-5D7B-B20CBC222BDF}"/>
          </ac:spMkLst>
        </pc:spChg>
        <pc:grpChg chg="mod">
          <ac:chgData name="Antoni Carenys Roca" userId="49b0e278-00c0-4a15-914d-415a78784eaa" providerId="ADAL" clId="{5C72B896-93F4-4CDA-A17D-9E45623F4D68}" dt="2025-05-28T12:33:43.868" v="609" actId="1076"/>
          <ac:grpSpMkLst>
            <pc:docMk/>
            <pc:sldMk cId="4191510517" sldId="2147483643"/>
            <ac:grpSpMk id="29" creationId="{B4C3781C-472D-B885-63D2-076ADE850FC8}"/>
          </ac:grpSpMkLst>
        </pc:grpChg>
        <pc:grpChg chg="mod">
          <ac:chgData name="Antoni Carenys Roca" userId="49b0e278-00c0-4a15-914d-415a78784eaa" providerId="ADAL" clId="{5C72B896-93F4-4CDA-A17D-9E45623F4D68}" dt="2025-05-28T12:33:43.868" v="609" actId="1076"/>
          <ac:grpSpMkLst>
            <pc:docMk/>
            <pc:sldMk cId="4191510517" sldId="2147483643"/>
            <ac:grpSpMk id="32" creationId="{540376DB-9347-44CB-80C8-08008DDE0BEA}"/>
          </ac:grpSpMkLst>
        </pc:grpChg>
        <pc:grpChg chg="mod">
          <ac:chgData name="Antoni Carenys Roca" userId="49b0e278-00c0-4a15-914d-415a78784eaa" providerId="ADAL" clId="{5C72B896-93F4-4CDA-A17D-9E45623F4D68}" dt="2025-05-28T12:33:43.868" v="609" actId="1076"/>
          <ac:grpSpMkLst>
            <pc:docMk/>
            <pc:sldMk cId="4191510517" sldId="2147483643"/>
            <ac:grpSpMk id="35" creationId="{16629B73-DF1D-2A04-83A5-303D4622E49E}"/>
          </ac:grpSpMkLst>
        </pc:grpChg>
        <pc:grpChg chg="mod">
          <ac:chgData name="Antoni Carenys Roca" userId="49b0e278-00c0-4a15-914d-415a78784eaa" providerId="ADAL" clId="{5C72B896-93F4-4CDA-A17D-9E45623F4D68}" dt="2025-05-28T12:34:23.109" v="622" actId="1076"/>
          <ac:grpSpMkLst>
            <pc:docMk/>
            <pc:sldMk cId="4191510517" sldId="2147483643"/>
            <ac:grpSpMk id="45" creationId="{3878CE20-B221-CA95-9081-AC3D2EFDF0DE}"/>
          </ac:grpSpMkLst>
        </pc:grpChg>
        <pc:grpChg chg="mod">
          <ac:chgData name="Antoni Carenys Roca" userId="49b0e278-00c0-4a15-914d-415a78784eaa" providerId="ADAL" clId="{5C72B896-93F4-4CDA-A17D-9E45623F4D68}" dt="2025-05-28T12:36:30.605" v="657" actId="1076"/>
          <ac:grpSpMkLst>
            <pc:docMk/>
            <pc:sldMk cId="4191510517" sldId="2147483643"/>
            <ac:grpSpMk id="48" creationId="{9BF4F9EC-E225-0292-4257-98A1DE456EAB}"/>
          </ac:grpSpMkLst>
        </pc:grpChg>
        <pc:grpChg chg="mod">
          <ac:chgData name="Antoni Carenys Roca" userId="49b0e278-00c0-4a15-914d-415a78784eaa" providerId="ADAL" clId="{5C72B896-93F4-4CDA-A17D-9E45623F4D68}" dt="2025-05-28T12:36:24.398" v="656" actId="1076"/>
          <ac:grpSpMkLst>
            <pc:docMk/>
            <pc:sldMk cId="4191510517" sldId="2147483643"/>
            <ac:grpSpMk id="51" creationId="{1593AF38-7109-A39C-546E-9722DE345063}"/>
          </ac:grpSpMkLst>
        </pc:grpChg>
      </pc:sldChg>
      <pc:sldChg chg="mod ord modShow">
        <pc:chgData name="Antoni Carenys Roca" userId="49b0e278-00c0-4a15-914d-415a78784eaa" providerId="ADAL" clId="{5C72B896-93F4-4CDA-A17D-9E45623F4D68}" dt="2025-05-28T12:36:43.579" v="660"/>
        <pc:sldMkLst>
          <pc:docMk/>
          <pc:sldMk cId="638643397" sldId="2147483644"/>
        </pc:sldMkLst>
      </pc:sldChg>
      <pc:sldChg chg="addSp modSp add mod">
        <pc:chgData name="Antoni Carenys Roca" userId="49b0e278-00c0-4a15-914d-415a78784eaa" providerId="ADAL" clId="{5C72B896-93F4-4CDA-A17D-9E45623F4D68}" dt="2025-05-28T17:40:39.916" v="1507" actId="1076"/>
        <pc:sldMkLst>
          <pc:docMk/>
          <pc:sldMk cId="3284153360" sldId="2147483645"/>
        </pc:sldMkLst>
        <pc:spChg chg="mod">
          <ac:chgData name="Antoni Carenys Roca" userId="49b0e278-00c0-4a15-914d-415a78784eaa" providerId="ADAL" clId="{5C72B896-93F4-4CDA-A17D-9E45623F4D68}" dt="2025-05-28T12:34:42.153" v="626"/>
          <ac:spMkLst>
            <pc:docMk/>
            <pc:sldMk cId="3284153360" sldId="2147483645"/>
            <ac:spMk id="38" creationId="{6A771F03-7FCF-68FB-952E-156B9C31CB99}"/>
          </ac:spMkLst>
        </pc:spChg>
        <pc:graphicFrameChg chg="mod modGraphic">
          <ac:chgData name="Antoni Carenys Roca" userId="49b0e278-00c0-4a15-914d-415a78784eaa" providerId="ADAL" clId="{5C72B896-93F4-4CDA-A17D-9E45623F4D68}" dt="2025-05-28T17:40:39.916" v="1507" actId="1076"/>
          <ac:graphicFrameMkLst>
            <pc:docMk/>
            <pc:sldMk cId="3284153360" sldId="2147483645"/>
            <ac:graphicFrameMk id="4" creationId="{F9809889-8E29-5419-2FC5-424E52CDF15A}"/>
          </ac:graphicFrameMkLst>
        </pc:graphicFrameChg>
      </pc:sldChg>
      <pc:sldChg chg="addSp delSp modSp add mod ord">
        <pc:chgData name="Antoni Carenys Roca" userId="49b0e278-00c0-4a15-914d-415a78784eaa" providerId="ADAL" clId="{5C72B896-93F4-4CDA-A17D-9E45623F4D68}" dt="2025-05-28T22:39:48.559" v="1566" actId="20577"/>
        <pc:sldMkLst>
          <pc:docMk/>
          <pc:sldMk cId="367700674" sldId="2147483646"/>
        </pc:sldMkLst>
        <pc:spChg chg="mod">
          <ac:chgData name="Antoni Carenys Roca" userId="49b0e278-00c0-4a15-914d-415a78784eaa" providerId="ADAL" clId="{5C72B896-93F4-4CDA-A17D-9E45623F4D68}" dt="2025-05-28T17:09:14.119" v="803" actId="20577"/>
          <ac:spMkLst>
            <pc:docMk/>
            <pc:sldMk cId="367700674" sldId="2147483646"/>
            <ac:spMk id="2" creationId="{F46F011D-A1F6-7421-7D87-C8354179A3DF}"/>
          </ac:spMkLst>
        </pc:spChg>
        <pc:spChg chg="add mod">
          <ac:chgData name="Antoni Carenys Roca" userId="49b0e278-00c0-4a15-914d-415a78784eaa" providerId="ADAL" clId="{5C72B896-93F4-4CDA-A17D-9E45623F4D68}" dt="2025-05-28T17:30:43.199" v="1333" actId="20577"/>
          <ac:spMkLst>
            <pc:docMk/>
            <pc:sldMk cId="367700674" sldId="2147483646"/>
            <ac:spMk id="7" creationId="{E912AAB6-84CC-1214-2779-FB8E8896E304}"/>
          </ac:spMkLst>
        </pc:spChg>
        <pc:spChg chg="add mod">
          <ac:chgData name="Antoni Carenys Roca" userId="49b0e278-00c0-4a15-914d-415a78784eaa" providerId="ADAL" clId="{5C72B896-93F4-4CDA-A17D-9E45623F4D68}" dt="2025-05-28T17:30:49.931" v="1343" actId="20577"/>
          <ac:spMkLst>
            <pc:docMk/>
            <pc:sldMk cId="367700674" sldId="2147483646"/>
            <ac:spMk id="8" creationId="{35D961B7-B56A-8718-1C4E-C678B300DCD2}"/>
          </ac:spMkLst>
        </pc:spChg>
        <pc:graphicFrameChg chg="add mod modGraphic">
          <ac:chgData name="Antoni Carenys Roca" userId="49b0e278-00c0-4a15-914d-415a78784eaa" providerId="ADAL" clId="{5C72B896-93F4-4CDA-A17D-9E45623F4D68}" dt="2025-05-28T22:39:48.559" v="1566" actId="20577"/>
          <ac:graphicFrameMkLst>
            <pc:docMk/>
            <pc:sldMk cId="367700674" sldId="2147483646"/>
            <ac:graphicFrameMk id="4" creationId="{6E24F98E-06C1-891E-3307-1BA577C179DC}"/>
          </ac:graphicFrameMkLst>
        </pc:graphicFrameChg>
        <pc:graphicFrameChg chg="add mod modGraphic">
          <ac:chgData name="Antoni Carenys Roca" userId="49b0e278-00c0-4a15-914d-415a78784eaa" providerId="ADAL" clId="{5C72B896-93F4-4CDA-A17D-9E45623F4D68}" dt="2025-05-28T17:29:37.642" v="1310" actId="1076"/>
          <ac:graphicFrameMkLst>
            <pc:docMk/>
            <pc:sldMk cId="367700674" sldId="2147483646"/>
            <ac:graphicFrameMk id="5" creationId="{EB9D5944-0F0D-C0E6-C7A8-A217CF3E0DD3}"/>
          </ac:graphicFrameMkLst>
        </pc:graphicFrameChg>
        <pc:graphicFrameChg chg="add mod">
          <ac:chgData name="Antoni Carenys Roca" userId="49b0e278-00c0-4a15-914d-415a78784eaa" providerId="ADAL" clId="{5C72B896-93F4-4CDA-A17D-9E45623F4D68}" dt="2025-05-28T17:30:30.855" v="1326" actId="1076"/>
          <ac:graphicFrameMkLst>
            <pc:docMk/>
            <pc:sldMk cId="367700674" sldId="2147483646"/>
            <ac:graphicFrameMk id="42" creationId="{9ED49166-A502-A806-F62F-83D7C72DF3A4}"/>
          </ac:graphicFrameMkLst>
        </pc:graphicFrameChg>
        <pc:graphicFrameChg chg="add mod">
          <ac:chgData name="Antoni Carenys Roca" userId="49b0e278-00c0-4a15-914d-415a78784eaa" providerId="ADAL" clId="{5C72B896-93F4-4CDA-A17D-9E45623F4D68}" dt="2025-05-28T17:30:40.211" v="1328" actId="1076"/>
          <ac:graphicFrameMkLst>
            <pc:docMk/>
            <pc:sldMk cId="367700674" sldId="2147483646"/>
            <ac:graphicFrameMk id="43" creationId="{CABCD865-0A44-7B5D-DEF2-54341D76917D}"/>
          </ac:graphicFrameMkLst>
        </pc:graphicFrameChg>
        <pc:picChg chg="add mod">
          <ac:chgData name="Antoni Carenys Roca" userId="49b0e278-00c0-4a15-914d-415a78784eaa" providerId="ADAL" clId="{5C72B896-93F4-4CDA-A17D-9E45623F4D68}" dt="2025-05-28T17:32:22.602" v="1375" actId="1038"/>
          <ac:picMkLst>
            <pc:docMk/>
            <pc:sldMk cId="367700674" sldId="2147483646"/>
            <ac:picMk id="10" creationId="{F7DEE804-0AD4-2780-33D8-C5EFA647475F}"/>
          </ac:picMkLst>
        </pc:picChg>
        <pc:picChg chg="add mod">
          <ac:chgData name="Antoni Carenys Roca" userId="49b0e278-00c0-4a15-914d-415a78784eaa" providerId="ADAL" clId="{5C72B896-93F4-4CDA-A17D-9E45623F4D68}" dt="2025-05-28T17:32:22.602" v="1375" actId="1038"/>
          <ac:picMkLst>
            <pc:docMk/>
            <pc:sldMk cId="367700674" sldId="2147483646"/>
            <ac:picMk id="12" creationId="{F10B7154-0F2A-D95E-D174-56C6B20120A5}"/>
          </ac:picMkLst>
        </pc:picChg>
        <pc:picChg chg="add mod">
          <ac:chgData name="Antoni Carenys Roca" userId="49b0e278-00c0-4a15-914d-415a78784eaa" providerId="ADAL" clId="{5C72B896-93F4-4CDA-A17D-9E45623F4D68}" dt="2025-05-28T17:32:22.602" v="1375" actId="1038"/>
          <ac:picMkLst>
            <pc:docMk/>
            <pc:sldMk cId="367700674" sldId="2147483646"/>
            <ac:picMk id="13" creationId="{3768EA7C-D60B-F140-CBAB-0A4639E89A82}"/>
          </ac:picMkLst>
        </pc:picChg>
        <pc:picChg chg="add mod">
          <ac:chgData name="Antoni Carenys Roca" userId="49b0e278-00c0-4a15-914d-415a78784eaa" providerId="ADAL" clId="{5C72B896-93F4-4CDA-A17D-9E45623F4D68}" dt="2025-05-28T17:32:22.602" v="1375" actId="1038"/>
          <ac:picMkLst>
            <pc:docMk/>
            <pc:sldMk cId="367700674" sldId="2147483646"/>
            <ac:picMk id="14" creationId="{63670F77-12D9-3690-59DD-A2CF398F7DFE}"/>
          </ac:picMkLst>
        </pc:picChg>
        <pc:picChg chg="add mod">
          <ac:chgData name="Antoni Carenys Roca" userId="49b0e278-00c0-4a15-914d-415a78784eaa" providerId="ADAL" clId="{5C72B896-93F4-4CDA-A17D-9E45623F4D68}" dt="2025-05-28T17:32:22.602" v="1375" actId="1038"/>
          <ac:picMkLst>
            <pc:docMk/>
            <pc:sldMk cId="367700674" sldId="2147483646"/>
            <ac:picMk id="15" creationId="{7E239709-C8CE-3591-698F-6B805FF3ACB7}"/>
          </ac:picMkLst>
        </pc:picChg>
        <pc:picChg chg="add mod">
          <ac:chgData name="Antoni Carenys Roca" userId="49b0e278-00c0-4a15-914d-415a78784eaa" providerId="ADAL" clId="{5C72B896-93F4-4CDA-A17D-9E45623F4D68}" dt="2025-05-28T17:32:22.602" v="1375" actId="1038"/>
          <ac:picMkLst>
            <pc:docMk/>
            <pc:sldMk cId="367700674" sldId="2147483646"/>
            <ac:picMk id="16" creationId="{C37A3740-EFB5-02AF-F958-E1516F6F3F81}"/>
          </ac:picMkLst>
        </pc:picChg>
        <pc:picChg chg="add mod">
          <ac:chgData name="Antoni Carenys Roca" userId="49b0e278-00c0-4a15-914d-415a78784eaa" providerId="ADAL" clId="{5C72B896-93F4-4CDA-A17D-9E45623F4D68}" dt="2025-05-28T17:32:22.602" v="1375" actId="1038"/>
          <ac:picMkLst>
            <pc:docMk/>
            <pc:sldMk cId="367700674" sldId="2147483646"/>
            <ac:picMk id="17" creationId="{D3278B9C-201D-7A5A-EF96-3E3D4FE31590}"/>
          </ac:picMkLst>
        </pc:picChg>
        <pc:picChg chg="add mod">
          <ac:chgData name="Antoni Carenys Roca" userId="49b0e278-00c0-4a15-914d-415a78784eaa" providerId="ADAL" clId="{5C72B896-93F4-4CDA-A17D-9E45623F4D68}" dt="2025-05-28T17:32:22.602" v="1375" actId="1038"/>
          <ac:picMkLst>
            <pc:docMk/>
            <pc:sldMk cId="367700674" sldId="2147483646"/>
            <ac:picMk id="18" creationId="{BCB7728F-153E-4505-CC04-E8103C0DD242}"/>
          </ac:picMkLst>
        </pc:picChg>
        <pc:picChg chg="add mod">
          <ac:chgData name="Antoni Carenys Roca" userId="49b0e278-00c0-4a15-914d-415a78784eaa" providerId="ADAL" clId="{5C72B896-93F4-4CDA-A17D-9E45623F4D68}" dt="2025-05-28T17:32:22.602" v="1375" actId="1038"/>
          <ac:picMkLst>
            <pc:docMk/>
            <pc:sldMk cId="367700674" sldId="2147483646"/>
            <ac:picMk id="19" creationId="{032063F8-A754-518E-4DC5-34662CAD2D73}"/>
          </ac:picMkLst>
        </pc:picChg>
        <pc:picChg chg="add mod">
          <ac:chgData name="Antoni Carenys Roca" userId="49b0e278-00c0-4a15-914d-415a78784eaa" providerId="ADAL" clId="{5C72B896-93F4-4CDA-A17D-9E45623F4D68}" dt="2025-05-28T17:32:22.602" v="1375" actId="1038"/>
          <ac:picMkLst>
            <pc:docMk/>
            <pc:sldMk cId="367700674" sldId="2147483646"/>
            <ac:picMk id="35" creationId="{CA1A2580-7BEA-9CC4-39D0-F534FF2CD840}"/>
          </ac:picMkLst>
        </pc:picChg>
        <pc:picChg chg="add mod">
          <ac:chgData name="Antoni Carenys Roca" userId="49b0e278-00c0-4a15-914d-415a78784eaa" providerId="ADAL" clId="{5C72B896-93F4-4CDA-A17D-9E45623F4D68}" dt="2025-05-28T17:17:03.001" v="1121" actId="1035"/>
          <ac:picMkLst>
            <pc:docMk/>
            <pc:sldMk cId="367700674" sldId="2147483646"/>
            <ac:picMk id="39" creationId="{BFCBED92-78D1-C88F-419C-715D348A47FF}"/>
          </ac:picMkLst>
        </pc:picChg>
        <pc:picChg chg="add mod">
          <ac:chgData name="Antoni Carenys Roca" userId="49b0e278-00c0-4a15-914d-415a78784eaa" providerId="ADAL" clId="{5C72B896-93F4-4CDA-A17D-9E45623F4D68}" dt="2025-05-28T22:38:54.324" v="1548" actId="1076"/>
          <ac:picMkLst>
            <pc:docMk/>
            <pc:sldMk cId="367700674" sldId="2147483646"/>
            <ac:picMk id="1026" creationId="{9EA1C7CE-729F-EBE8-A3D7-BFDB026B0D6E}"/>
          </ac:picMkLst>
        </pc:picChg>
      </pc:sldChg>
    </pc:docChg>
  </pc:docChgLst>
  <pc:docChgLst>
    <pc:chgData name="Daniel Minchán Esteban" userId="22fd99ec-0c2b-450d-9be0-3213252c5f27" providerId="ADAL" clId="{04452FE2-D576-43F2-9E56-1DBF85980A68}"/>
    <pc:docChg chg="modSld">
      <pc:chgData name="Daniel Minchán Esteban" userId="22fd99ec-0c2b-450d-9be0-3213252c5f27" providerId="ADAL" clId="{04452FE2-D576-43F2-9E56-1DBF85980A68}" dt="2025-05-29T16:37:52.418" v="13" actId="20577"/>
      <pc:docMkLst>
        <pc:docMk/>
      </pc:docMkLst>
      <pc:sldChg chg="modSp mod">
        <pc:chgData name="Daniel Minchán Esteban" userId="22fd99ec-0c2b-450d-9be0-3213252c5f27" providerId="ADAL" clId="{04452FE2-D576-43F2-9E56-1DBF85980A68}" dt="2025-05-29T16:37:52.418" v="13" actId="20577"/>
        <pc:sldMkLst>
          <pc:docMk/>
          <pc:sldMk cId="367700674" sldId="2147483646"/>
        </pc:sldMkLst>
        <pc:graphicFrameChg chg="modGraphic">
          <ac:chgData name="Daniel Minchán Esteban" userId="22fd99ec-0c2b-450d-9be0-3213252c5f27" providerId="ADAL" clId="{04452FE2-D576-43F2-9E56-1DBF85980A68}" dt="2025-05-29T16:37:52.418" v="13" actId="20577"/>
          <ac:graphicFrameMkLst>
            <pc:docMk/>
            <pc:sldMk cId="367700674" sldId="2147483646"/>
            <ac:graphicFrameMk id="4" creationId="{6E24F98E-06C1-891E-3307-1BA577C179DC}"/>
          </ac:graphicFrameMkLst>
        </pc:graphicFrameChg>
      </pc:sldChg>
    </pc:docChg>
  </pc:docChgLst>
  <pc:docChgLst>
    <pc:chgData name="Juan Sebastián Giraldo" userId="S::juan.giraldo@stratesys-ts.com::2f39d921-1805-4fcf-9d80-fe66aeb20d18" providerId="AD" clId="Web-{0E9E5CD3-89F9-9C77-825E-14B90DB57EAD}"/>
    <pc:docChg chg="modSld">
      <pc:chgData name="Juan Sebastián Giraldo" userId="S::juan.giraldo@stratesys-ts.com::2f39d921-1805-4fcf-9d80-fe66aeb20d18" providerId="AD" clId="Web-{0E9E5CD3-89F9-9C77-825E-14B90DB57EAD}" dt="2025-06-04T16:26:07.651" v="1" actId="14100"/>
      <pc:docMkLst>
        <pc:docMk/>
      </pc:docMkLst>
      <pc:sldChg chg="modSp">
        <pc:chgData name="Juan Sebastián Giraldo" userId="S::juan.giraldo@stratesys-ts.com::2f39d921-1805-4fcf-9d80-fe66aeb20d18" providerId="AD" clId="Web-{0E9E5CD3-89F9-9C77-825E-14B90DB57EAD}" dt="2025-06-04T16:26:07.651" v="1" actId="14100"/>
        <pc:sldMkLst>
          <pc:docMk/>
          <pc:sldMk cId="1111737334" sldId="272"/>
        </pc:sldMkLst>
        <pc:picChg chg="mod">
          <ac:chgData name="Juan Sebastián Giraldo" userId="S::juan.giraldo@stratesys-ts.com::2f39d921-1805-4fcf-9d80-fe66aeb20d18" providerId="AD" clId="Web-{0E9E5CD3-89F9-9C77-825E-14B90DB57EAD}" dt="2025-06-04T16:26:07.651" v="1" actId="14100"/>
          <ac:picMkLst>
            <pc:docMk/>
            <pc:sldMk cId="1111737334" sldId="272"/>
            <ac:picMk id="4098" creationId="{26AD54AC-195D-323D-BF13-545FAFDAD4B2}"/>
          </ac:picMkLst>
        </pc:picChg>
      </pc:sldChg>
    </pc:docChg>
  </pc:docChgLst>
  <pc:docChgLst>
    <pc:chgData name="Juan Sebastián Giraldo" userId="2f39d921-1805-4fcf-9d80-fe66aeb20d18" providerId="ADAL" clId="{AA2DACD2-8492-4FDF-80C8-DF0025ECC2B8}"/>
    <pc:docChg chg="undo redo custSel addSld delSld modSld sldOrd">
      <pc:chgData name="Juan Sebastián Giraldo" userId="2f39d921-1805-4fcf-9d80-fe66aeb20d18" providerId="ADAL" clId="{AA2DACD2-8492-4FDF-80C8-DF0025ECC2B8}" dt="2025-05-30T14:13:09.964" v="6168" actId="179"/>
      <pc:docMkLst>
        <pc:docMk/>
      </pc:docMkLst>
      <pc:sldChg chg="modSp mod ord">
        <pc:chgData name="Juan Sebastián Giraldo" userId="2f39d921-1805-4fcf-9d80-fe66aeb20d18" providerId="ADAL" clId="{AA2DACD2-8492-4FDF-80C8-DF0025ECC2B8}" dt="2025-05-29T15:26:08.801" v="5004" actId="6549"/>
        <pc:sldMkLst>
          <pc:docMk/>
          <pc:sldMk cId="1437502704" sldId="256"/>
        </pc:sldMkLst>
        <pc:spChg chg="mod">
          <ac:chgData name="Juan Sebastián Giraldo" userId="2f39d921-1805-4fcf-9d80-fe66aeb20d18" providerId="ADAL" clId="{AA2DACD2-8492-4FDF-80C8-DF0025ECC2B8}" dt="2025-05-29T13:01:55.116" v="4316" actId="790"/>
          <ac:spMkLst>
            <pc:docMk/>
            <pc:sldMk cId="1437502704" sldId="256"/>
            <ac:spMk id="3" creationId="{5729C1D0-13D2-ED65-29CC-9E596D07C7EB}"/>
          </ac:spMkLst>
        </pc:spChg>
        <pc:graphicFrameChg chg="modGraphic">
          <ac:chgData name="Juan Sebastián Giraldo" userId="2f39d921-1805-4fcf-9d80-fe66aeb20d18" providerId="ADAL" clId="{AA2DACD2-8492-4FDF-80C8-DF0025ECC2B8}" dt="2025-05-29T15:26:08.801" v="5004" actId="6549"/>
          <ac:graphicFrameMkLst>
            <pc:docMk/>
            <pc:sldMk cId="1437502704" sldId="256"/>
            <ac:graphicFrameMk id="5" creationId="{CDE4CCA8-98EF-1905-C9D1-9F09A438D454}"/>
          </ac:graphicFrameMkLst>
        </pc:graphicFrameChg>
      </pc:sldChg>
      <pc:sldChg chg="addSp modSp new mod ord">
        <pc:chgData name="Juan Sebastián Giraldo" userId="2f39d921-1805-4fcf-9d80-fe66aeb20d18" providerId="ADAL" clId="{AA2DACD2-8492-4FDF-80C8-DF0025ECC2B8}" dt="2025-05-29T15:18:27.709" v="4898"/>
        <pc:sldMkLst>
          <pc:docMk/>
          <pc:sldMk cId="3532529874" sldId="257"/>
        </pc:sldMkLst>
        <pc:spChg chg="add mod">
          <ac:chgData name="Juan Sebastián Giraldo" userId="2f39d921-1805-4fcf-9d80-fe66aeb20d18" providerId="ADAL" clId="{AA2DACD2-8492-4FDF-80C8-DF0025ECC2B8}" dt="2025-05-29T13:01:55.116" v="4316" actId="790"/>
          <ac:spMkLst>
            <pc:docMk/>
            <pc:sldMk cId="3532529874" sldId="257"/>
            <ac:spMk id="3" creationId="{348123B1-D1D7-A6B5-9770-E64579FB9AEF}"/>
          </ac:spMkLst>
        </pc:spChg>
        <pc:graphicFrameChg chg="add mod modGraphic">
          <ac:chgData name="Juan Sebastián Giraldo" userId="2f39d921-1805-4fcf-9d80-fe66aeb20d18" providerId="ADAL" clId="{AA2DACD2-8492-4FDF-80C8-DF0025ECC2B8}" dt="2025-05-29T15:18:15.991" v="4896" actId="20577"/>
          <ac:graphicFrameMkLst>
            <pc:docMk/>
            <pc:sldMk cId="3532529874" sldId="257"/>
            <ac:graphicFrameMk id="2" creationId="{5C825430-CCFE-4603-4731-0C5B8B5BC3A0}"/>
          </ac:graphicFrameMkLst>
        </pc:graphicFrameChg>
        <pc:picChg chg="add mod">
          <ac:chgData name="Juan Sebastián Giraldo" userId="2f39d921-1805-4fcf-9d80-fe66aeb20d18" providerId="ADAL" clId="{AA2DACD2-8492-4FDF-80C8-DF0025ECC2B8}" dt="2025-05-29T12:58:33.812" v="4097"/>
          <ac:picMkLst>
            <pc:docMk/>
            <pc:sldMk cId="3532529874" sldId="257"/>
            <ac:picMk id="4" creationId="{FE7BC6C4-F8A4-273C-A8F8-BC57C56D9C3F}"/>
          </ac:picMkLst>
        </pc:picChg>
      </pc:sldChg>
      <pc:sldChg chg="addSp delSp modSp add mod">
        <pc:chgData name="Juan Sebastián Giraldo" userId="2f39d921-1805-4fcf-9d80-fe66aeb20d18" providerId="ADAL" clId="{AA2DACD2-8492-4FDF-80C8-DF0025ECC2B8}" dt="2025-05-29T15:19:23.740" v="4901" actId="13926"/>
        <pc:sldMkLst>
          <pc:docMk/>
          <pc:sldMk cId="604471988" sldId="258"/>
        </pc:sldMkLst>
        <pc:spChg chg="mod">
          <ac:chgData name="Juan Sebastián Giraldo" userId="2f39d921-1805-4fcf-9d80-fe66aeb20d18" providerId="ADAL" clId="{AA2DACD2-8492-4FDF-80C8-DF0025ECC2B8}" dt="2025-05-29T13:01:55.116" v="4316" actId="790"/>
          <ac:spMkLst>
            <pc:docMk/>
            <pc:sldMk cId="604471988" sldId="258"/>
            <ac:spMk id="2" creationId="{C2F58E4E-8DFE-F688-FC71-C2EC88511AAD}"/>
          </ac:spMkLst>
        </pc:spChg>
        <pc:spChg chg="mod">
          <ac:chgData name="Juan Sebastián Giraldo" userId="2f39d921-1805-4fcf-9d80-fe66aeb20d18" providerId="ADAL" clId="{AA2DACD2-8492-4FDF-80C8-DF0025ECC2B8}" dt="2025-05-29T13:01:55.116" v="4316" actId="790"/>
          <ac:spMkLst>
            <pc:docMk/>
            <pc:sldMk cId="604471988" sldId="258"/>
            <ac:spMk id="54" creationId="{F039C1C0-BE6B-E178-9CB0-E04EAB89F1E1}"/>
          </ac:spMkLst>
        </pc:spChg>
        <pc:graphicFrameChg chg="add mod modGraphic">
          <ac:chgData name="Juan Sebastián Giraldo" userId="2f39d921-1805-4fcf-9d80-fe66aeb20d18" providerId="ADAL" clId="{AA2DACD2-8492-4FDF-80C8-DF0025ECC2B8}" dt="2025-05-29T15:19:23.740" v="4901" actId="13926"/>
          <ac:graphicFrameMkLst>
            <pc:docMk/>
            <pc:sldMk cId="604471988" sldId="258"/>
            <ac:graphicFrameMk id="5" creationId="{8314196F-EE5D-EAC8-4358-4C2252B6AE80}"/>
          </ac:graphicFrameMkLst>
        </pc:graphicFrameChg>
      </pc:sldChg>
      <pc:sldChg chg="addSp delSp modSp new mod">
        <pc:chgData name="Juan Sebastián Giraldo" userId="2f39d921-1805-4fcf-9d80-fe66aeb20d18" providerId="ADAL" clId="{AA2DACD2-8492-4FDF-80C8-DF0025ECC2B8}" dt="2025-05-29T13:25:25.853" v="4829" actId="20577"/>
        <pc:sldMkLst>
          <pc:docMk/>
          <pc:sldMk cId="1037224496" sldId="259"/>
        </pc:sldMkLst>
        <pc:spChg chg="add mod">
          <ac:chgData name="Juan Sebastián Giraldo" userId="2f39d921-1805-4fcf-9d80-fe66aeb20d18" providerId="ADAL" clId="{AA2DACD2-8492-4FDF-80C8-DF0025ECC2B8}" dt="2025-05-29T13:06:59.981" v="4671"/>
          <ac:spMkLst>
            <pc:docMk/>
            <pc:sldMk cId="1037224496" sldId="259"/>
            <ac:spMk id="4" creationId="{95A7E50F-9FBA-CEB7-EC01-3FA3DC44AD3D}"/>
          </ac:spMkLst>
        </pc:spChg>
        <pc:graphicFrameChg chg="add mod modGraphic">
          <ac:chgData name="Juan Sebastián Giraldo" userId="2f39d921-1805-4fcf-9d80-fe66aeb20d18" providerId="ADAL" clId="{AA2DACD2-8492-4FDF-80C8-DF0025ECC2B8}" dt="2025-05-29T13:25:25.853" v="4829" actId="20577"/>
          <ac:graphicFrameMkLst>
            <pc:docMk/>
            <pc:sldMk cId="1037224496" sldId="259"/>
            <ac:graphicFrameMk id="8" creationId="{EC7092CB-7502-3DBF-B66F-15A2CB2E7013}"/>
          </ac:graphicFrameMkLst>
        </pc:graphicFrameChg>
        <pc:picChg chg="add mod">
          <ac:chgData name="Juan Sebastián Giraldo" userId="2f39d921-1805-4fcf-9d80-fe66aeb20d18" providerId="ADAL" clId="{AA2DACD2-8492-4FDF-80C8-DF0025ECC2B8}" dt="2025-05-29T13:06:59.981" v="4671"/>
          <ac:picMkLst>
            <pc:docMk/>
            <pc:sldMk cId="1037224496" sldId="259"/>
            <ac:picMk id="5" creationId="{753361BB-FD69-0FA5-1F79-848B93104BA7}"/>
          </ac:picMkLst>
        </pc:picChg>
        <pc:picChg chg="add mod">
          <ac:chgData name="Juan Sebastián Giraldo" userId="2f39d921-1805-4fcf-9d80-fe66aeb20d18" providerId="ADAL" clId="{AA2DACD2-8492-4FDF-80C8-DF0025ECC2B8}" dt="2025-05-29T13:06:59.981" v="4671"/>
          <ac:picMkLst>
            <pc:docMk/>
            <pc:sldMk cId="1037224496" sldId="259"/>
            <ac:picMk id="6" creationId="{B901D417-7405-B83B-6BA3-E3B888E08E42}"/>
          </ac:picMkLst>
        </pc:picChg>
        <pc:picChg chg="add mod">
          <ac:chgData name="Juan Sebastián Giraldo" userId="2f39d921-1805-4fcf-9d80-fe66aeb20d18" providerId="ADAL" clId="{AA2DACD2-8492-4FDF-80C8-DF0025ECC2B8}" dt="2025-05-29T13:06:59.981" v="4671"/>
          <ac:picMkLst>
            <pc:docMk/>
            <pc:sldMk cId="1037224496" sldId="259"/>
            <ac:picMk id="7" creationId="{549891D8-230E-9246-35EC-13746494B4B8}"/>
          </ac:picMkLst>
        </pc:picChg>
      </pc:sldChg>
      <pc:sldChg chg="addSp delSp modSp add mod">
        <pc:chgData name="Juan Sebastián Giraldo" userId="2f39d921-1805-4fcf-9d80-fe66aeb20d18" providerId="ADAL" clId="{AA2DACD2-8492-4FDF-80C8-DF0025ECC2B8}" dt="2025-05-29T19:42:31.110" v="5144"/>
        <pc:sldMkLst>
          <pc:docMk/>
          <pc:sldMk cId="188739618" sldId="260"/>
        </pc:sldMkLst>
        <pc:spChg chg="mod">
          <ac:chgData name="Juan Sebastián Giraldo" userId="2f39d921-1805-4fcf-9d80-fe66aeb20d18" providerId="ADAL" clId="{AA2DACD2-8492-4FDF-80C8-DF0025ECC2B8}" dt="2025-05-29T19:39:20.834" v="5132" actId="207"/>
          <ac:spMkLst>
            <pc:docMk/>
            <pc:sldMk cId="188739618" sldId="260"/>
            <ac:spMk id="4" creationId="{3E64D3DF-616E-31C1-529F-C3889A24774E}"/>
          </ac:spMkLst>
        </pc:spChg>
        <pc:spChg chg="mod">
          <ac:chgData name="Juan Sebastián Giraldo" userId="2f39d921-1805-4fcf-9d80-fe66aeb20d18" providerId="ADAL" clId="{AA2DACD2-8492-4FDF-80C8-DF0025ECC2B8}" dt="2025-05-29T19:39:20.834" v="5132" actId="207"/>
          <ac:spMkLst>
            <pc:docMk/>
            <pc:sldMk cId="188739618" sldId="260"/>
            <ac:spMk id="5" creationId="{2B6230E6-325E-6D57-8BE8-D44B954433D9}"/>
          </ac:spMkLst>
        </pc:spChg>
        <pc:spChg chg="mod">
          <ac:chgData name="Juan Sebastián Giraldo" userId="2f39d921-1805-4fcf-9d80-fe66aeb20d18" providerId="ADAL" clId="{AA2DACD2-8492-4FDF-80C8-DF0025ECC2B8}" dt="2025-05-29T19:39:18.948" v="5130" actId="207"/>
          <ac:spMkLst>
            <pc:docMk/>
            <pc:sldMk cId="188739618" sldId="260"/>
            <ac:spMk id="7" creationId="{7431CED5-943A-2541-20E5-65FA49346762}"/>
          </ac:spMkLst>
        </pc:spChg>
        <pc:spChg chg="mod">
          <ac:chgData name="Juan Sebastián Giraldo" userId="2f39d921-1805-4fcf-9d80-fe66aeb20d18" providerId="ADAL" clId="{AA2DACD2-8492-4FDF-80C8-DF0025ECC2B8}" dt="2025-05-29T19:39:18.948" v="5130" actId="207"/>
          <ac:spMkLst>
            <pc:docMk/>
            <pc:sldMk cId="188739618" sldId="260"/>
            <ac:spMk id="8" creationId="{895627C7-9EF5-0E8F-94F2-57933BA2A14E}"/>
          </ac:spMkLst>
        </pc:spChg>
        <pc:spChg chg="mod">
          <ac:chgData name="Juan Sebastián Giraldo" userId="2f39d921-1805-4fcf-9d80-fe66aeb20d18" providerId="ADAL" clId="{AA2DACD2-8492-4FDF-80C8-DF0025ECC2B8}" dt="2025-05-29T19:39:19.888" v="5131" actId="207"/>
          <ac:spMkLst>
            <pc:docMk/>
            <pc:sldMk cId="188739618" sldId="260"/>
            <ac:spMk id="10" creationId="{B2BA9D35-BD70-6C7C-D9DE-00EB7C62513C}"/>
          </ac:spMkLst>
        </pc:spChg>
        <pc:spChg chg="mod">
          <ac:chgData name="Juan Sebastián Giraldo" userId="2f39d921-1805-4fcf-9d80-fe66aeb20d18" providerId="ADAL" clId="{AA2DACD2-8492-4FDF-80C8-DF0025ECC2B8}" dt="2025-05-29T19:39:19.888" v="5131" actId="207"/>
          <ac:spMkLst>
            <pc:docMk/>
            <pc:sldMk cId="188739618" sldId="260"/>
            <ac:spMk id="12" creationId="{189C892F-FE31-4E29-00EC-9D1E75535147}"/>
          </ac:spMkLst>
        </pc:spChg>
        <pc:spChg chg="mod">
          <ac:chgData name="Juan Sebastián Giraldo" userId="2f39d921-1805-4fcf-9d80-fe66aeb20d18" providerId="ADAL" clId="{AA2DACD2-8492-4FDF-80C8-DF0025ECC2B8}" dt="2025-05-29T19:39:01.196" v="5124" actId="208"/>
          <ac:spMkLst>
            <pc:docMk/>
            <pc:sldMk cId="188739618" sldId="260"/>
            <ac:spMk id="13" creationId="{4F80B072-3D89-C380-2F0F-0B84404DC1C8}"/>
          </ac:spMkLst>
        </pc:spChg>
        <pc:spChg chg="mod">
          <ac:chgData name="Juan Sebastián Giraldo" userId="2f39d921-1805-4fcf-9d80-fe66aeb20d18" providerId="ADAL" clId="{AA2DACD2-8492-4FDF-80C8-DF0025ECC2B8}" dt="2025-05-29T19:39:12.092" v="5128" actId="207"/>
          <ac:spMkLst>
            <pc:docMk/>
            <pc:sldMk cId="188739618" sldId="260"/>
            <ac:spMk id="14" creationId="{ACDB8423-2176-D39F-E26B-7EFFCBD80CBB}"/>
          </ac:spMkLst>
        </pc:spChg>
        <pc:spChg chg="add mod">
          <ac:chgData name="Juan Sebastián Giraldo" userId="2f39d921-1805-4fcf-9d80-fe66aeb20d18" providerId="ADAL" clId="{AA2DACD2-8492-4FDF-80C8-DF0025ECC2B8}" dt="2025-05-29T19:38:59.986" v="5123" actId="208"/>
          <ac:spMkLst>
            <pc:docMk/>
            <pc:sldMk cId="188739618" sldId="260"/>
            <ac:spMk id="15" creationId="{C7E6E64E-48CB-04B3-4CEA-244B31196E42}"/>
          </ac:spMkLst>
        </pc:spChg>
        <pc:spChg chg="mod">
          <ac:chgData name="Juan Sebastián Giraldo" userId="2f39d921-1805-4fcf-9d80-fe66aeb20d18" providerId="ADAL" clId="{AA2DACD2-8492-4FDF-80C8-DF0025ECC2B8}" dt="2025-05-29T19:39:16.057" v="5129" actId="207"/>
          <ac:spMkLst>
            <pc:docMk/>
            <pc:sldMk cId="188739618" sldId="260"/>
            <ac:spMk id="16" creationId="{6013A6B1-FF08-6741-4196-66C1EFD0175D}"/>
          </ac:spMkLst>
        </pc:spChg>
        <pc:spChg chg="mod">
          <ac:chgData name="Juan Sebastián Giraldo" userId="2f39d921-1805-4fcf-9d80-fe66aeb20d18" providerId="ADAL" clId="{AA2DACD2-8492-4FDF-80C8-DF0025ECC2B8}" dt="2025-05-29T19:37:28.422" v="5100"/>
          <ac:spMkLst>
            <pc:docMk/>
            <pc:sldMk cId="188739618" sldId="260"/>
            <ac:spMk id="29" creationId="{5D0B5A1C-F616-7058-7B4B-EF39913DC50D}"/>
          </ac:spMkLst>
        </pc:spChg>
        <pc:spChg chg="mod">
          <ac:chgData name="Juan Sebastián Giraldo" userId="2f39d921-1805-4fcf-9d80-fe66aeb20d18" providerId="ADAL" clId="{AA2DACD2-8492-4FDF-80C8-DF0025ECC2B8}" dt="2025-05-29T19:37:28.422" v="5100"/>
          <ac:spMkLst>
            <pc:docMk/>
            <pc:sldMk cId="188739618" sldId="260"/>
            <ac:spMk id="35" creationId="{C77001B5-535E-1691-2E8A-56E5F24FDEB4}"/>
          </ac:spMkLst>
        </pc:spChg>
        <pc:spChg chg="mod">
          <ac:chgData name="Juan Sebastián Giraldo" userId="2f39d921-1805-4fcf-9d80-fe66aeb20d18" providerId="ADAL" clId="{AA2DACD2-8492-4FDF-80C8-DF0025ECC2B8}" dt="2025-05-29T19:37:28.422" v="5100"/>
          <ac:spMkLst>
            <pc:docMk/>
            <pc:sldMk cId="188739618" sldId="260"/>
            <ac:spMk id="40" creationId="{2D407F37-C250-A450-5439-237749D4EEB8}"/>
          </ac:spMkLst>
        </pc:spChg>
        <pc:spChg chg="mod">
          <ac:chgData name="Juan Sebastián Giraldo" userId="2f39d921-1805-4fcf-9d80-fe66aeb20d18" providerId="ADAL" clId="{AA2DACD2-8492-4FDF-80C8-DF0025ECC2B8}" dt="2025-05-29T19:37:28.422" v="5100"/>
          <ac:spMkLst>
            <pc:docMk/>
            <pc:sldMk cId="188739618" sldId="260"/>
            <ac:spMk id="41" creationId="{AC33D927-9796-0609-A070-ED718FD633B5}"/>
          </ac:spMkLst>
        </pc:spChg>
        <pc:spChg chg="add mod">
          <ac:chgData name="Juan Sebastián Giraldo" userId="2f39d921-1805-4fcf-9d80-fe66aeb20d18" providerId="ADAL" clId="{AA2DACD2-8492-4FDF-80C8-DF0025ECC2B8}" dt="2025-05-29T19:39:09.533" v="5126" actId="207"/>
          <ac:spMkLst>
            <pc:docMk/>
            <pc:sldMk cId="188739618" sldId="260"/>
            <ac:spMk id="42" creationId="{11846EB5-9363-173C-57F4-273E3281F712}"/>
          </ac:spMkLst>
        </pc:spChg>
        <pc:spChg chg="mod">
          <ac:chgData name="Juan Sebastián Giraldo" userId="2f39d921-1805-4fcf-9d80-fe66aeb20d18" providerId="ADAL" clId="{AA2DACD2-8492-4FDF-80C8-DF0025ECC2B8}" dt="2025-05-29T19:39:06.862" v="5125" actId="207"/>
          <ac:spMkLst>
            <pc:docMk/>
            <pc:sldMk cId="188739618" sldId="260"/>
            <ac:spMk id="43" creationId="{06FEE4BB-F749-9104-F074-B0E72C267F13}"/>
          </ac:spMkLst>
        </pc:spChg>
        <pc:spChg chg="mod">
          <ac:chgData name="Juan Sebastián Giraldo" userId="2f39d921-1805-4fcf-9d80-fe66aeb20d18" providerId="ADAL" clId="{AA2DACD2-8492-4FDF-80C8-DF0025ECC2B8}" dt="2025-05-29T19:37:58.279" v="5107" actId="1076"/>
          <ac:spMkLst>
            <pc:docMk/>
            <pc:sldMk cId="188739618" sldId="260"/>
            <ac:spMk id="44" creationId="{486182ED-91B3-47CA-8767-68382510EF2C}"/>
          </ac:spMkLst>
        </pc:spChg>
        <pc:grpChg chg="mod">
          <ac:chgData name="Juan Sebastián Giraldo" userId="2f39d921-1805-4fcf-9d80-fe66aeb20d18" providerId="ADAL" clId="{AA2DACD2-8492-4FDF-80C8-DF0025ECC2B8}" dt="2025-05-29T19:39:20.834" v="5132" actId="207"/>
          <ac:grpSpMkLst>
            <pc:docMk/>
            <pc:sldMk cId="188739618" sldId="260"/>
            <ac:grpSpMk id="3" creationId="{FF26D3A9-7455-02D4-69B2-7909A4D3954D}"/>
          </ac:grpSpMkLst>
        </pc:grpChg>
        <pc:grpChg chg="mod">
          <ac:chgData name="Juan Sebastián Giraldo" userId="2f39d921-1805-4fcf-9d80-fe66aeb20d18" providerId="ADAL" clId="{AA2DACD2-8492-4FDF-80C8-DF0025ECC2B8}" dt="2025-05-29T19:39:18.948" v="5130" actId="207"/>
          <ac:grpSpMkLst>
            <pc:docMk/>
            <pc:sldMk cId="188739618" sldId="260"/>
            <ac:grpSpMk id="6" creationId="{D3B3492E-58F7-EEC9-6302-C2EE520CB260}"/>
          </ac:grpSpMkLst>
        </pc:grpChg>
        <pc:grpChg chg="mod">
          <ac:chgData name="Juan Sebastián Giraldo" userId="2f39d921-1805-4fcf-9d80-fe66aeb20d18" providerId="ADAL" clId="{AA2DACD2-8492-4FDF-80C8-DF0025ECC2B8}" dt="2025-05-29T19:39:19.888" v="5131" actId="207"/>
          <ac:grpSpMkLst>
            <pc:docMk/>
            <pc:sldMk cId="188739618" sldId="260"/>
            <ac:grpSpMk id="9" creationId="{3E24303E-45BD-5F1D-37C6-DB3FF1577C3C}"/>
          </ac:grpSpMkLst>
        </pc:grpChg>
        <pc:picChg chg="mod">
          <ac:chgData name="Juan Sebastián Giraldo" userId="2f39d921-1805-4fcf-9d80-fe66aeb20d18" providerId="ADAL" clId="{AA2DACD2-8492-4FDF-80C8-DF0025ECC2B8}" dt="2025-05-29T19:39:57.230" v="5133" actId="1076"/>
          <ac:picMkLst>
            <pc:docMk/>
            <pc:sldMk cId="188739618" sldId="260"/>
            <ac:picMk id="45" creationId="{74C15A25-783A-4D78-C412-7F71622F18B5}"/>
          </ac:picMkLst>
        </pc:picChg>
        <pc:picChg chg="add mod">
          <ac:chgData name="Juan Sebastián Giraldo" userId="2f39d921-1805-4fcf-9d80-fe66aeb20d18" providerId="ADAL" clId="{AA2DACD2-8492-4FDF-80C8-DF0025ECC2B8}" dt="2025-05-29T19:42:31.110" v="5144"/>
          <ac:picMkLst>
            <pc:docMk/>
            <pc:sldMk cId="188739618" sldId="260"/>
            <ac:picMk id="46" creationId="{212C9F20-6FB4-7D11-8519-142B10AC3E17}"/>
          </ac:picMkLst>
        </pc:picChg>
      </pc:sldChg>
      <pc:sldChg chg="addSp delSp modSp add del mod modClrScheme chgLayout">
        <pc:chgData name="Juan Sebastián Giraldo" userId="2f39d921-1805-4fcf-9d80-fe66aeb20d18" providerId="ADAL" clId="{AA2DACD2-8492-4FDF-80C8-DF0025ECC2B8}" dt="2025-05-29T19:37:07.151" v="5097" actId="47"/>
        <pc:sldMkLst>
          <pc:docMk/>
          <pc:sldMk cId="4016869445" sldId="260"/>
        </pc:sldMkLst>
      </pc:sldChg>
      <pc:sldChg chg="delSp modSp add mod">
        <pc:chgData name="Juan Sebastián Giraldo" userId="2f39d921-1805-4fcf-9d80-fe66aeb20d18" providerId="ADAL" clId="{AA2DACD2-8492-4FDF-80C8-DF0025ECC2B8}" dt="2025-05-30T06:37:59.668" v="5503" actId="478"/>
        <pc:sldMkLst>
          <pc:docMk/>
          <pc:sldMk cId="3604900243" sldId="261"/>
        </pc:sldMkLst>
        <pc:spChg chg="mod">
          <ac:chgData name="Juan Sebastián Giraldo" userId="2f39d921-1805-4fcf-9d80-fe66aeb20d18" providerId="ADAL" clId="{AA2DACD2-8492-4FDF-80C8-DF0025ECC2B8}" dt="2025-05-30T06:37:57.069" v="5502" actId="20577"/>
          <ac:spMkLst>
            <pc:docMk/>
            <pc:sldMk cId="3604900243" sldId="261"/>
            <ac:spMk id="2" creationId="{EBF1E27F-D595-EE9E-B3EE-5C3FA4C88830}"/>
          </ac:spMkLst>
        </pc:spChg>
      </pc:sldChg>
      <pc:sldChg chg="addSp delSp modSp add mod">
        <pc:chgData name="Juan Sebastián Giraldo" userId="2f39d921-1805-4fcf-9d80-fe66aeb20d18" providerId="ADAL" clId="{AA2DACD2-8492-4FDF-80C8-DF0025ECC2B8}" dt="2025-05-30T08:09:35.147" v="6036" actId="20577"/>
        <pc:sldMkLst>
          <pc:docMk/>
          <pc:sldMk cId="3265842886" sldId="262"/>
        </pc:sldMkLst>
        <pc:spChg chg="mod">
          <ac:chgData name="Juan Sebastián Giraldo" userId="2f39d921-1805-4fcf-9d80-fe66aeb20d18" providerId="ADAL" clId="{AA2DACD2-8492-4FDF-80C8-DF0025ECC2B8}" dt="2025-05-30T06:37:54.990" v="5501" actId="20577"/>
          <ac:spMkLst>
            <pc:docMk/>
            <pc:sldMk cId="3265842886" sldId="262"/>
            <ac:spMk id="2" creationId="{C6F7C54C-B33D-DC12-BDC3-64FF2FB2522B}"/>
          </ac:spMkLst>
        </pc:spChg>
        <pc:spChg chg="add mod">
          <ac:chgData name="Juan Sebastián Giraldo" userId="2f39d921-1805-4fcf-9d80-fe66aeb20d18" providerId="ADAL" clId="{AA2DACD2-8492-4FDF-80C8-DF0025ECC2B8}" dt="2025-05-30T06:36:21.072" v="5451" actId="1076"/>
          <ac:spMkLst>
            <pc:docMk/>
            <pc:sldMk cId="3265842886" sldId="262"/>
            <ac:spMk id="21" creationId="{02434A46-C560-86AD-5BE2-E0D2FFE44BF9}"/>
          </ac:spMkLst>
        </pc:spChg>
        <pc:spChg chg="mod">
          <ac:chgData name="Juan Sebastián Giraldo" userId="2f39d921-1805-4fcf-9d80-fe66aeb20d18" providerId="ADAL" clId="{AA2DACD2-8492-4FDF-80C8-DF0025ECC2B8}" dt="2025-05-30T07:15:02.373" v="5901" actId="113"/>
          <ac:spMkLst>
            <pc:docMk/>
            <pc:sldMk cId="3265842886" sldId="262"/>
            <ac:spMk id="25" creationId="{6C1016B0-AB31-0EC2-B24D-3049F0C86CCC}"/>
          </ac:spMkLst>
        </pc:spChg>
        <pc:spChg chg="mod">
          <ac:chgData name="Juan Sebastián Giraldo" userId="2f39d921-1805-4fcf-9d80-fe66aeb20d18" providerId="ADAL" clId="{AA2DACD2-8492-4FDF-80C8-DF0025ECC2B8}" dt="2025-05-30T06:35:59.137" v="5440" actId="1076"/>
          <ac:spMkLst>
            <pc:docMk/>
            <pc:sldMk cId="3265842886" sldId="262"/>
            <ac:spMk id="26" creationId="{0C01B7B8-4BC3-E315-ADC1-FF2659B6D01E}"/>
          </ac:spMkLst>
        </pc:spChg>
        <pc:spChg chg="add mod">
          <ac:chgData name="Juan Sebastián Giraldo" userId="2f39d921-1805-4fcf-9d80-fe66aeb20d18" providerId="ADAL" clId="{AA2DACD2-8492-4FDF-80C8-DF0025ECC2B8}" dt="2025-05-30T06:36:21.072" v="5451" actId="1076"/>
          <ac:spMkLst>
            <pc:docMk/>
            <pc:sldMk cId="3265842886" sldId="262"/>
            <ac:spMk id="27" creationId="{EA8ADD4A-60EB-D041-E294-7B5C0C043AF8}"/>
          </ac:spMkLst>
        </pc:spChg>
        <pc:spChg chg="mod">
          <ac:chgData name="Juan Sebastián Giraldo" userId="2f39d921-1805-4fcf-9d80-fe66aeb20d18" providerId="ADAL" clId="{AA2DACD2-8492-4FDF-80C8-DF0025ECC2B8}" dt="2025-05-30T08:09:35.147" v="6036" actId="20577"/>
          <ac:spMkLst>
            <pc:docMk/>
            <pc:sldMk cId="3265842886" sldId="262"/>
            <ac:spMk id="31" creationId="{7F42017F-A39A-0A8C-6F5C-ADB12C63ED5A}"/>
          </ac:spMkLst>
        </pc:spChg>
        <pc:spChg chg="mod">
          <ac:chgData name="Juan Sebastián Giraldo" userId="2f39d921-1805-4fcf-9d80-fe66aeb20d18" providerId="ADAL" clId="{AA2DACD2-8492-4FDF-80C8-DF0025ECC2B8}" dt="2025-05-30T06:36:25.862" v="5458" actId="20577"/>
          <ac:spMkLst>
            <pc:docMk/>
            <pc:sldMk cId="3265842886" sldId="262"/>
            <ac:spMk id="32" creationId="{22AD949C-F413-A1D8-6268-6AFB5FC92EA6}"/>
          </ac:spMkLst>
        </pc:spChg>
        <pc:grpChg chg="add mod">
          <ac:chgData name="Juan Sebastián Giraldo" userId="2f39d921-1805-4fcf-9d80-fe66aeb20d18" providerId="ADAL" clId="{AA2DACD2-8492-4FDF-80C8-DF0025ECC2B8}" dt="2025-05-30T06:36:21.072" v="5451" actId="1076"/>
          <ac:grpSpMkLst>
            <pc:docMk/>
            <pc:sldMk cId="3265842886" sldId="262"/>
            <ac:grpSpMk id="24" creationId="{8ACC6655-9753-F19A-8FFE-B1C4FFD27B42}"/>
          </ac:grpSpMkLst>
        </pc:grpChg>
        <pc:grpChg chg="add mod">
          <ac:chgData name="Juan Sebastián Giraldo" userId="2f39d921-1805-4fcf-9d80-fe66aeb20d18" providerId="ADAL" clId="{AA2DACD2-8492-4FDF-80C8-DF0025ECC2B8}" dt="2025-05-30T06:36:21.072" v="5451" actId="1076"/>
          <ac:grpSpMkLst>
            <pc:docMk/>
            <pc:sldMk cId="3265842886" sldId="262"/>
            <ac:grpSpMk id="30" creationId="{C0CAA7A5-5BEE-CD97-DBD9-10C8F1E98DA7}"/>
          </ac:grpSpMkLst>
        </pc:grpChg>
      </pc:sldChg>
      <pc:sldChg chg="delSp modSp add mod">
        <pc:chgData name="Juan Sebastián Giraldo" userId="2f39d921-1805-4fcf-9d80-fe66aeb20d18" providerId="ADAL" clId="{AA2DACD2-8492-4FDF-80C8-DF0025ECC2B8}" dt="2025-05-30T14:13:09.964" v="6168" actId="179"/>
        <pc:sldMkLst>
          <pc:docMk/>
          <pc:sldMk cId="793329721" sldId="263"/>
        </pc:sldMkLst>
        <pc:spChg chg="mod">
          <ac:chgData name="Juan Sebastián Giraldo" userId="2f39d921-1805-4fcf-9d80-fe66aeb20d18" providerId="ADAL" clId="{AA2DACD2-8492-4FDF-80C8-DF0025ECC2B8}" dt="2025-05-30T06:30:06.252" v="5233" actId="20577"/>
          <ac:spMkLst>
            <pc:docMk/>
            <pc:sldMk cId="793329721" sldId="263"/>
            <ac:spMk id="2" creationId="{380A94E6-B6DC-CF23-CD05-090469FD46C3}"/>
          </ac:spMkLst>
        </pc:spChg>
        <pc:spChg chg="mod">
          <ac:chgData name="Juan Sebastián Giraldo" userId="2f39d921-1805-4fcf-9d80-fe66aeb20d18" providerId="ADAL" clId="{AA2DACD2-8492-4FDF-80C8-DF0025ECC2B8}" dt="2025-05-30T14:13:09.964" v="6168" actId="179"/>
          <ac:spMkLst>
            <pc:docMk/>
            <pc:sldMk cId="793329721" sldId="263"/>
            <ac:spMk id="38" creationId="{11D906B7-EA79-DF17-3E53-7AB5868D2A00}"/>
          </ac:spMkLst>
        </pc:spChg>
      </pc:sldChg>
      <pc:sldChg chg="addSp delSp modSp add mod ord">
        <pc:chgData name="Juan Sebastián Giraldo" userId="2f39d921-1805-4fcf-9d80-fe66aeb20d18" providerId="ADAL" clId="{AA2DACD2-8492-4FDF-80C8-DF0025ECC2B8}" dt="2025-05-30T07:36:48.471" v="6004"/>
        <pc:sldMkLst>
          <pc:docMk/>
          <pc:sldMk cId="3253122166" sldId="264"/>
        </pc:sldMkLst>
        <pc:spChg chg="mod">
          <ac:chgData name="Juan Sebastián Giraldo" userId="2f39d921-1805-4fcf-9d80-fe66aeb20d18" providerId="ADAL" clId="{AA2DACD2-8492-4FDF-80C8-DF0025ECC2B8}" dt="2025-05-30T06:38:29.100" v="5506" actId="6549"/>
          <ac:spMkLst>
            <pc:docMk/>
            <pc:sldMk cId="3253122166" sldId="264"/>
            <ac:spMk id="2" creationId="{40DAC20E-97BC-E0A5-1133-3BBE17A382DA}"/>
          </ac:spMkLst>
        </pc:spChg>
        <pc:spChg chg="add mod">
          <ac:chgData name="Juan Sebastián Giraldo" userId="2f39d921-1805-4fcf-9d80-fe66aeb20d18" providerId="ADAL" clId="{AA2DACD2-8492-4FDF-80C8-DF0025ECC2B8}" dt="2025-05-30T06:38:58.861" v="5509" actId="1076"/>
          <ac:spMkLst>
            <pc:docMk/>
            <pc:sldMk cId="3253122166" sldId="264"/>
            <ac:spMk id="3" creationId="{FA42B0B6-2473-4964-2453-A580CDF7AE4B}"/>
          </ac:spMkLst>
        </pc:spChg>
        <pc:spChg chg="add mod">
          <ac:chgData name="Juan Sebastián Giraldo" userId="2f39d921-1805-4fcf-9d80-fe66aeb20d18" providerId="ADAL" clId="{AA2DACD2-8492-4FDF-80C8-DF0025ECC2B8}" dt="2025-05-30T06:38:51.616" v="5508"/>
          <ac:spMkLst>
            <pc:docMk/>
            <pc:sldMk cId="3253122166" sldId="264"/>
            <ac:spMk id="5" creationId="{E217F87E-776A-D150-7283-3F8DCF5A0D00}"/>
          </ac:spMkLst>
        </pc:spChg>
        <pc:spChg chg="add mod">
          <ac:chgData name="Juan Sebastián Giraldo" userId="2f39d921-1805-4fcf-9d80-fe66aeb20d18" providerId="ADAL" clId="{AA2DACD2-8492-4FDF-80C8-DF0025ECC2B8}" dt="2025-05-30T06:38:51.616" v="5508"/>
          <ac:spMkLst>
            <pc:docMk/>
            <pc:sldMk cId="3253122166" sldId="264"/>
            <ac:spMk id="6" creationId="{70D3105D-EBB3-4882-A33C-864A372A1753}"/>
          </ac:spMkLst>
        </pc:spChg>
        <pc:spChg chg="mod">
          <ac:chgData name="Juan Sebastián Giraldo" userId="2f39d921-1805-4fcf-9d80-fe66aeb20d18" providerId="ADAL" clId="{AA2DACD2-8492-4FDF-80C8-DF0025ECC2B8}" dt="2025-05-30T06:38:51.616" v="5508"/>
          <ac:spMkLst>
            <pc:docMk/>
            <pc:sldMk cId="3253122166" sldId="264"/>
            <ac:spMk id="13" creationId="{4B1F8E9B-FFC0-210A-7EE5-890DE87D2D24}"/>
          </ac:spMkLst>
        </pc:spChg>
        <pc:spChg chg="mod">
          <ac:chgData name="Juan Sebastián Giraldo" userId="2f39d921-1805-4fcf-9d80-fe66aeb20d18" providerId="ADAL" clId="{AA2DACD2-8492-4FDF-80C8-DF0025ECC2B8}" dt="2025-05-30T06:38:51.616" v="5508"/>
          <ac:spMkLst>
            <pc:docMk/>
            <pc:sldMk cId="3253122166" sldId="264"/>
            <ac:spMk id="14" creationId="{E520801A-393D-053E-ADB1-A3958EB8C0D9}"/>
          </ac:spMkLst>
        </pc:spChg>
        <pc:spChg chg="mod">
          <ac:chgData name="Juan Sebastián Giraldo" userId="2f39d921-1805-4fcf-9d80-fe66aeb20d18" providerId="ADAL" clId="{AA2DACD2-8492-4FDF-80C8-DF0025ECC2B8}" dt="2025-05-30T06:38:51.616" v="5508"/>
          <ac:spMkLst>
            <pc:docMk/>
            <pc:sldMk cId="3253122166" sldId="264"/>
            <ac:spMk id="16" creationId="{6C08F157-7C4D-DBDE-55D5-1EA899A2F222}"/>
          </ac:spMkLst>
        </pc:spChg>
        <pc:spChg chg="mod">
          <ac:chgData name="Juan Sebastián Giraldo" userId="2f39d921-1805-4fcf-9d80-fe66aeb20d18" providerId="ADAL" clId="{AA2DACD2-8492-4FDF-80C8-DF0025ECC2B8}" dt="2025-05-30T06:38:51.616" v="5508"/>
          <ac:spMkLst>
            <pc:docMk/>
            <pc:sldMk cId="3253122166" sldId="264"/>
            <ac:spMk id="19" creationId="{B0A51E84-8283-633A-66CB-1C4235F4ACC7}"/>
          </ac:spMkLst>
        </pc:spChg>
        <pc:spChg chg="mod">
          <ac:chgData name="Juan Sebastián Giraldo" userId="2f39d921-1805-4fcf-9d80-fe66aeb20d18" providerId="ADAL" clId="{AA2DACD2-8492-4FDF-80C8-DF0025ECC2B8}" dt="2025-05-30T06:38:51.616" v="5508"/>
          <ac:spMkLst>
            <pc:docMk/>
            <pc:sldMk cId="3253122166" sldId="264"/>
            <ac:spMk id="28" creationId="{C0366071-FD34-1904-8E1A-0437D84165F3}"/>
          </ac:spMkLst>
        </pc:spChg>
        <pc:spChg chg="add mod">
          <ac:chgData name="Juan Sebastián Giraldo" userId="2f39d921-1805-4fcf-9d80-fe66aeb20d18" providerId="ADAL" clId="{AA2DACD2-8492-4FDF-80C8-DF0025ECC2B8}" dt="2025-05-30T06:38:51.616" v="5508"/>
          <ac:spMkLst>
            <pc:docMk/>
            <pc:sldMk cId="3253122166" sldId="264"/>
            <ac:spMk id="46" creationId="{1DA7FD04-89DF-DB51-5C6A-B2E817423907}"/>
          </ac:spMkLst>
        </pc:spChg>
        <pc:spChg chg="add mod">
          <ac:chgData name="Juan Sebastián Giraldo" userId="2f39d921-1805-4fcf-9d80-fe66aeb20d18" providerId="ADAL" clId="{AA2DACD2-8492-4FDF-80C8-DF0025ECC2B8}" dt="2025-05-30T06:38:51.616" v="5508"/>
          <ac:spMkLst>
            <pc:docMk/>
            <pc:sldMk cId="3253122166" sldId="264"/>
            <ac:spMk id="49" creationId="{F7E41EB3-D920-6CBB-78D5-AAA78FCE89B5}"/>
          </ac:spMkLst>
        </pc:spChg>
      </pc:sldChg>
      <pc:sldChg chg="addSp delSp modSp add mod ord">
        <pc:chgData name="Juan Sebastián Giraldo" userId="2f39d921-1805-4fcf-9d80-fe66aeb20d18" providerId="ADAL" clId="{AA2DACD2-8492-4FDF-80C8-DF0025ECC2B8}" dt="2025-05-30T07:36:48.471" v="6004"/>
        <pc:sldMkLst>
          <pc:docMk/>
          <pc:sldMk cId="3270003026" sldId="265"/>
        </pc:sldMkLst>
        <pc:picChg chg="add mod">
          <ac:chgData name="Juan Sebastián Giraldo" userId="2f39d921-1805-4fcf-9d80-fe66aeb20d18" providerId="ADAL" clId="{AA2DACD2-8492-4FDF-80C8-DF0025ECC2B8}" dt="2025-05-30T07:33:23.005" v="5987"/>
          <ac:picMkLst>
            <pc:docMk/>
            <pc:sldMk cId="3270003026" sldId="265"/>
            <ac:picMk id="13" creationId="{71FDC5E5-F48E-F171-7BF3-E5FEED533909}"/>
          </ac:picMkLst>
        </pc:picChg>
        <pc:picChg chg="add mod">
          <ac:chgData name="Juan Sebastián Giraldo" userId="2f39d921-1805-4fcf-9d80-fe66aeb20d18" providerId="ADAL" clId="{AA2DACD2-8492-4FDF-80C8-DF0025ECC2B8}" dt="2025-05-30T07:33:23.005" v="5987"/>
          <ac:picMkLst>
            <pc:docMk/>
            <pc:sldMk cId="3270003026" sldId="265"/>
            <ac:picMk id="14" creationId="{299E16A2-2C9D-EE0F-DA16-06FE25785844}"/>
          </ac:picMkLst>
        </pc:picChg>
      </pc:sldChg>
      <pc:sldChg chg="addSp delSp modSp add mod ord">
        <pc:chgData name="Juan Sebastián Giraldo" userId="2f39d921-1805-4fcf-9d80-fe66aeb20d18" providerId="ADAL" clId="{AA2DACD2-8492-4FDF-80C8-DF0025ECC2B8}" dt="2025-05-30T07:36:48.471" v="6004"/>
        <pc:sldMkLst>
          <pc:docMk/>
          <pc:sldMk cId="1297600474" sldId="266"/>
        </pc:sldMkLst>
        <pc:picChg chg="add mod">
          <ac:chgData name="Juan Sebastián Giraldo" userId="2f39d921-1805-4fcf-9d80-fe66aeb20d18" providerId="ADAL" clId="{AA2DACD2-8492-4FDF-80C8-DF0025ECC2B8}" dt="2025-05-30T07:33:18.901" v="5985"/>
          <ac:picMkLst>
            <pc:docMk/>
            <pc:sldMk cId="1297600474" sldId="266"/>
            <ac:picMk id="7" creationId="{B9FC91EF-0389-3FEB-B57D-3B91B9694CDC}"/>
          </ac:picMkLst>
        </pc:picChg>
        <pc:picChg chg="add mod">
          <ac:chgData name="Juan Sebastián Giraldo" userId="2f39d921-1805-4fcf-9d80-fe66aeb20d18" providerId="ADAL" clId="{AA2DACD2-8492-4FDF-80C8-DF0025ECC2B8}" dt="2025-05-30T07:33:18.901" v="5985"/>
          <ac:picMkLst>
            <pc:docMk/>
            <pc:sldMk cId="1297600474" sldId="266"/>
            <ac:picMk id="8" creationId="{4F97C578-B2E0-72FC-A090-C029C2C4BCA4}"/>
          </ac:picMkLst>
        </pc:picChg>
      </pc:sldChg>
      <pc:sldChg chg="addSp delSp modSp add mod ord">
        <pc:chgData name="Juan Sebastián Giraldo" userId="2f39d921-1805-4fcf-9d80-fe66aeb20d18" providerId="ADAL" clId="{AA2DACD2-8492-4FDF-80C8-DF0025ECC2B8}" dt="2025-05-30T07:36:48.471" v="6004"/>
        <pc:sldMkLst>
          <pc:docMk/>
          <pc:sldMk cId="3322648466" sldId="267"/>
        </pc:sldMkLst>
        <pc:spChg chg="mod">
          <ac:chgData name="Juan Sebastián Giraldo" userId="2f39d921-1805-4fcf-9d80-fe66aeb20d18" providerId="ADAL" clId="{AA2DACD2-8492-4FDF-80C8-DF0025ECC2B8}" dt="2025-05-30T07:33:09.715" v="5983" actId="1076"/>
          <ac:spMkLst>
            <pc:docMk/>
            <pc:sldMk cId="3322648466" sldId="267"/>
            <ac:spMk id="2" creationId="{65674FF8-2873-1827-1DE1-DE8FD310BF31}"/>
          </ac:spMkLst>
        </pc:spChg>
        <pc:spChg chg="mod">
          <ac:chgData name="Juan Sebastián Giraldo" userId="2f39d921-1805-4fcf-9d80-fe66aeb20d18" providerId="ADAL" clId="{AA2DACD2-8492-4FDF-80C8-DF0025ECC2B8}" dt="2025-05-30T07:33:09.715" v="5983" actId="1076"/>
          <ac:spMkLst>
            <pc:docMk/>
            <pc:sldMk cId="3322648466" sldId="267"/>
            <ac:spMk id="5" creationId="{C77E35CA-1C4F-DA57-328C-CFC61B3BCDA8}"/>
          </ac:spMkLst>
        </pc:spChg>
        <pc:picChg chg="add mod">
          <ac:chgData name="Juan Sebastián Giraldo" userId="2f39d921-1805-4fcf-9d80-fe66aeb20d18" providerId="ADAL" clId="{AA2DACD2-8492-4FDF-80C8-DF0025ECC2B8}" dt="2025-05-30T07:32:56.237" v="5981"/>
          <ac:picMkLst>
            <pc:docMk/>
            <pc:sldMk cId="3322648466" sldId="267"/>
            <ac:picMk id="7" creationId="{C16A4D03-6801-8FAC-F440-6E8461AED4D8}"/>
          </ac:picMkLst>
        </pc:picChg>
        <pc:picChg chg="add mod">
          <ac:chgData name="Juan Sebastián Giraldo" userId="2f39d921-1805-4fcf-9d80-fe66aeb20d18" providerId="ADAL" clId="{AA2DACD2-8492-4FDF-80C8-DF0025ECC2B8}" dt="2025-05-30T07:32:56.237" v="5981"/>
          <ac:picMkLst>
            <pc:docMk/>
            <pc:sldMk cId="3322648466" sldId="267"/>
            <ac:picMk id="8" creationId="{8D8E13D6-95AC-3371-B7C2-CD09878BF9FB}"/>
          </ac:picMkLst>
        </pc:picChg>
      </pc:sldChg>
      <pc:sldChg chg="modSp mod modShow">
        <pc:chgData name="Juan Sebastián Giraldo" userId="2f39d921-1805-4fcf-9d80-fe66aeb20d18" providerId="ADAL" clId="{AA2DACD2-8492-4FDF-80C8-DF0025ECC2B8}" dt="2025-05-29T15:16:29.178" v="4872" actId="729"/>
        <pc:sldMkLst>
          <pc:docMk/>
          <pc:sldMk cId="4123738794" sldId="268"/>
        </pc:sldMkLst>
        <pc:spChg chg="mod">
          <ac:chgData name="Juan Sebastián Giraldo" userId="2f39d921-1805-4fcf-9d80-fe66aeb20d18" providerId="ADAL" clId="{AA2DACD2-8492-4FDF-80C8-DF0025ECC2B8}" dt="2025-05-29T13:01:55.116" v="4316" actId="790"/>
          <ac:spMkLst>
            <pc:docMk/>
            <pc:sldMk cId="4123738794" sldId="268"/>
            <ac:spMk id="5" creationId="{D745E3C6-A2DF-E09F-A7E9-594D3331A780}"/>
          </ac:spMkLst>
        </pc:spChg>
        <pc:spChg chg="mod">
          <ac:chgData name="Juan Sebastián Giraldo" userId="2f39d921-1805-4fcf-9d80-fe66aeb20d18" providerId="ADAL" clId="{AA2DACD2-8492-4FDF-80C8-DF0025ECC2B8}" dt="2025-05-29T13:01:55.116" v="4316" actId="790"/>
          <ac:spMkLst>
            <pc:docMk/>
            <pc:sldMk cId="4123738794" sldId="268"/>
            <ac:spMk id="6" creationId="{BE5B26A6-F37D-6CDF-1C6E-9362B230FF94}"/>
          </ac:spMkLst>
        </pc:spChg>
        <pc:spChg chg="mod">
          <ac:chgData name="Juan Sebastián Giraldo" userId="2f39d921-1805-4fcf-9d80-fe66aeb20d18" providerId="ADAL" clId="{AA2DACD2-8492-4FDF-80C8-DF0025ECC2B8}" dt="2025-05-27T11:33:20.704" v="2059" actId="790"/>
          <ac:spMkLst>
            <pc:docMk/>
            <pc:sldMk cId="4123738794" sldId="268"/>
            <ac:spMk id="7" creationId="{B46D43BE-3DAD-777A-6253-2BDD5AB44E3D}"/>
          </ac:spMkLst>
        </pc:spChg>
        <pc:spChg chg="mod">
          <ac:chgData name="Juan Sebastián Giraldo" userId="2f39d921-1805-4fcf-9d80-fe66aeb20d18" providerId="ADAL" clId="{AA2DACD2-8492-4FDF-80C8-DF0025ECC2B8}" dt="2025-05-29T13:01:55.116" v="4316" actId="790"/>
          <ac:spMkLst>
            <pc:docMk/>
            <pc:sldMk cId="4123738794" sldId="268"/>
            <ac:spMk id="8" creationId="{4E6ADB33-9A05-D1C2-8C4D-B87F72C48149}"/>
          </ac:spMkLst>
        </pc:spChg>
        <pc:spChg chg="mod">
          <ac:chgData name="Juan Sebastián Giraldo" userId="2f39d921-1805-4fcf-9d80-fe66aeb20d18" providerId="ADAL" clId="{AA2DACD2-8492-4FDF-80C8-DF0025ECC2B8}" dt="2025-05-29T13:01:55.116" v="4316" actId="790"/>
          <ac:spMkLst>
            <pc:docMk/>
            <pc:sldMk cId="4123738794" sldId="268"/>
            <ac:spMk id="9" creationId="{18390F5A-9CA2-E688-63A1-347C29875F21}"/>
          </ac:spMkLst>
        </pc:spChg>
        <pc:spChg chg="mod">
          <ac:chgData name="Juan Sebastián Giraldo" userId="2f39d921-1805-4fcf-9d80-fe66aeb20d18" providerId="ADAL" clId="{AA2DACD2-8492-4FDF-80C8-DF0025ECC2B8}" dt="2025-05-29T13:01:55.116" v="4316" actId="790"/>
          <ac:spMkLst>
            <pc:docMk/>
            <pc:sldMk cId="4123738794" sldId="268"/>
            <ac:spMk id="12" creationId="{3DC844B9-8047-3F2D-998B-34AAF24B667E}"/>
          </ac:spMkLst>
        </pc:spChg>
        <pc:spChg chg="mod">
          <ac:chgData name="Juan Sebastián Giraldo" userId="2f39d921-1805-4fcf-9d80-fe66aeb20d18" providerId="ADAL" clId="{AA2DACD2-8492-4FDF-80C8-DF0025ECC2B8}" dt="2025-05-29T13:01:55.116" v="4316" actId="790"/>
          <ac:spMkLst>
            <pc:docMk/>
            <pc:sldMk cId="4123738794" sldId="268"/>
            <ac:spMk id="13" creationId="{8EBC4081-077C-663E-4C19-DFBF209052BA}"/>
          </ac:spMkLst>
        </pc:spChg>
        <pc:spChg chg="mod">
          <ac:chgData name="Juan Sebastián Giraldo" userId="2f39d921-1805-4fcf-9d80-fe66aeb20d18" providerId="ADAL" clId="{AA2DACD2-8492-4FDF-80C8-DF0025ECC2B8}" dt="2025-05-29T13:01:55.116" v="4316" actId="790"/>
          <ac:spMkLst>
            <pc:docMk/>
            <pc:sldMk cId="4123738794" sldId="268"/>
            <ac:spMk id="16" creationId="{91C88B94-2203-6C68-C426-11784F7D7394}"/>
          </ac:spMkLst>
        </pc:spChg>
        <pc:spChg chg="mod">
          <ac:chgData name="Juan Sebastián Giraldo" userId="2f39d921-1805-4fcf-9d80-fe66aeb20d18" providerId="ADAL" clId="{AA2DACD2-8492-4FDF-80C8-DF0025ECC2B8}" dt="2025-05-29T13:01:55.116" v="4316" actId="790"/>
          <ac:spMkLst>
            <pc:docMk/>
            <pc:sldMk cId="4123738794" sldId="268"/>
            <ac:spMk id="17" creationId="{47A32712-5E44-8181-5E49-F5984517FBAE}"/>
          </ac:spMkLst>
        </pc:spChg>
        <pc:spChg chg="mod">
          <ac:chgData name="Juan Sebastián Giraldo" userId="2f39d921-1805-4fcf-9d80-fe66aeb20d18" providerId="ADAL" clId="{AA2DACD2-8492-4FDF-80C8-DF0025ECC2B8}" dt="2025-05-29T13:01:55.116" v="4316" actId="790"/>
          <ac:spMkLst>
            <pc:docMk/>
            <pc:sldMk cId="4123738794" sldId="268"/>
            <ac:spMk id="19" creationId="{FA6258D9-B6A8-E5CF-B873-5470B2AF5BD5}"/>
          </ac:spMkLst>
        </pc:spChg>
        <pc:spChg chg="mod">
          <ac:chgData name="Juan Sebastián Giraldo" userId="2f39d921-1805-4fcf-9d80-fe66aeb20d18" providerId="ADAL" clId="{AA2DACD2-8492-4FDF-80C8-DF0025ECC2B8}" dt="2025-05-29T13:01:55.116" v="4316" actId="790"/>
          <ac:spMkLst>
            <pc:docMk/>
            <pc:sldMk cId="4123738794" sldId="268"/>
            <ac:spMk id="20" creationId="{076E9D07-44C3-2DAC-C906-0462B8741389}"/>
          </ac:spMkLst>
        </pc:spChg>
        <pc:grpChg chg="mod">
          <ac:chgData name="Juan Sebastián Giraldo" userId="2f39d921-1805-4fcf-9d80-fe66aeb20d18" providerId="ADAL" clId="{AA2DACD2-8492-4FDF-80C8-DF0025ECC2B8}" dt="2025-05-23T17:53:29.337" v="1082"/>
          <ac:grpSpMkLst>
            <pc:docMk/>
            <pc:sldMk cId="4123738794" sldId="268"/>
            <ac:grpSpMk id="2" creationId="{962C2E79-FD89-3138-7519-BD845961B112}"/>
          </ac:grpSpMkLst>
        </pc:grpChg>
        <pc:grpChg chg="mod">
          <ac:chgData name="Juan Sebastián Giraldo" userId="2f39d921-1805-4fcf-9d80-fe66aeb20d18" providerId="ADAL" clId="{AA2DACD2-8492-4FDF-80C8-DF0025ECC2B8}" dt="2025-05-23T17:53:33.853" v="1083"/>
          <ac:grpSpMkLst>
            <pc:docMk/>
            <pc:sldMk cId="4123738794" sldId="268"/>
            <ac:grpSpMk id="14" creationId="{3D507BAA-77BE-0F35-0CAC-172EE0D77A3D}"/>
          </ac:grpSpMkLst>
        </pc:grpChg>
        <pc:cxnChg chg="mod">
          <ac:chgData name="Juan Sebastián Giraldo" userId="2f39d921-1805-4fcf-9d80-fe66aeb20d18" providerId="ADAL" clId="{AA2DACD2-8492-4FDF-80C8-DF0025ECC2B8}" dt="2025-05-23T17:53:29.337" v="1082"/>
          <ac:cxnSpMkLst>
            <pc:docMk/>
            <pc:sldMk cId="4123738794" sldId="268"/>
            <ac:cxnSpMk id="3" creationId="{FD27553C-841B-BD39-3658-4C049C16B191}"/>
          </ac:cxnSpMkLst>
        </pc:cxnChg>
        <pc:cxnChg chg="mod">
          <ac:chgData name="Juan Sebastián Giraldo" userId="2f39d921-1805-4fcf-9d80-fe66aeb20d18" providerId="ADAL" clId="{AA2DACD2-8492-4FDF-80C8-DF0025ECC2B8}" dt="2025-05-23T17:53:33.853" v="1083"/>
          <ac:cxnSpMkLst>
            <pc:docMk/>
            <pc:sldMk cId="4123738794" sldId="268"/>
            <ac:cxnSpMk id="15" creationId="{AA324A36-F53B-D9A4-03CD-6C5AFB2B826D}"/>
          </ac:cxnSpMkLst>
        </pc:cxnChg>
      </pc:sldChg>
      <pc:sldChg chg="addSp delSp modSp add mod ord">
        <pc:chgData name="Juan Sebastián Giraldo" userId="2f39d921-1805-4fcf-9d80-fe66aeb20d18" providerId="ADAL" clId="{AA2DACD2-8492-4FDF-80C8-DF0025ECC2B8}" dt="2025-05-30T07:36:48.471" v="6004"/>
        <pc:sldMkLst>
          <pc:docMk/>
          <pc:sldMk cId="2398502617" sldId="269"/>
        </pc:sldMkLst>
        <pc:picChg chg="add mod">
          <ac:chgData name="Juan Sebastián Giraldo" userId="2f39d921-1805-4fcf-9d80-fe66aeb20d18" providerId="ADAL" clId="{AA2DACD2-8492-4FDF-80C8-DF0025ECC2B8}" dt="2025-05-30T07:32:52.271" v="5979"/>
          <ac:picMkLst>
            <pc:docMk/>
            <pc:sldMk cId="2398502617" sldId="269"/>
            <ac:picMk id="5" creationId="{08A495CD-F595-B6B7-3E7A-4F0C37314E25}"/>
          </ac:picMkLst>
        </pc:picChg>
        <pc:picChg chg="add mod">
          <ac:chgData name="Juan Sebastián Giraldo" userId="2f39d921-1805-4fcf-9d80-fe66aeb20d18" providerId="ADAL" clId="{AA2DACD2-8492-4FDF-80C8-DF0025ECC2B8}" dt="2025-05-30T07:32:52.271" v="5979"/>
          <ac:picMkLst>
            <pc:docMk/>
            <pc:sldMk cId="2398502617" sldId="269"/>
            <ac:picMk id="7" creationId="{EF916770-2166-3212-6EBC-8CCAC4BDC591}"/>
          </ac:picMkLst>
        </pc:picChg>
      </pc:sldChg>
      <pc:sldChg chg="delSp modSp add mod modShow">
        <pc:chgData name="Juan Sebastián Giraldo" userId="2f39d921-1805-4fcf-9d80-fe66aeb20d18" providerId="ADAL" clId="{AA2DACD2-8492-4FDF-80C8-DF0025ECC2B8}" dt="2025-05-29T15:18:38.612" v="4899" actId="729"/>
        <pc:sldMkLst>
          <pc:docMk/>
          <pc:sldMk cId="3207194517" sldId="270"/>
        </pc:sldMkLst>
        <pc:spChg chg="mod">
          <ac:chgData name="Juan Sebastián Giraldo" userId="2f39d921-1805-4fcf-9d80-fe66aeb20d18" providerId="ADAL" clId="{AA2DACD2-8492-4FDF-80C8-DF0025ECC2B8}" dt="2025-05-29T13:01:55.116" v="4316" actId="790"/>
          <ac:spMkLst>
            <pc:docMk/>
            <pc:sldMk cId="3207194517" sldId="270"/>
            <ac:spMk id="2" creationId="{F41C11B5-A0B5-7E60-FAD5-3C3D994B2D87}"/>
          </ac:spMkLst>
        </pc:spChg>
        <pc:spChg chg="mod">
          <ac:chgData name="Juan Sebastián Giraldo" userId="2f39d921-1805-4fcf-9d80-fe66aeb20d18" providerId="ADAL" clId="{AA2DACD2-8492-4FDF-80C8-DF0025ECC2B8}" dt="2025-05-29T13:01:55.116" v="4316" actId="790"/>
          <ac:spMkLst>
            <pc:docMk/>
            <pc:sldMk cId="3207194517" sldId="270"/>
            <ac:spMk id="12" creationId="{14AA7683-FEBF-993F-625C-0A4BA2F36AAC}"/>
          </ac:spMkLst>
        </pc:spChg>
        <pc:spChg chg="mod">
          <ac:chgData name="Juan Sebastián Giraldo" userId="2f39d921-1805-4fcf-9d80-fe66aeb20d18" providerId="ADAL" clId="{AA2DACD2-8492-4FDF-80C8-DF0025ECC2B8}" dt="2025-05-29T13:01:55.116" v="4316" actId="790"/>
          <ac:spMkLst>
            <pc:docMk/>
            <pc:sldMk cId="3207194517" sldId="270"/>
            <ac:spMk id="14" creationId="{6AEC1012-607D-8288-1F25-A18B18E1332F}"/>
          </ac:spMkLst>
        </pc:spChg>
        <pc:spChg chg="mod">
          <ac:chgData name="Juan Sebastián Giraldo" userId="2f39d921-1805-4fcf-9d80-fe66aeb20d18" providerId="ADAL" clId="{AA2DACD2-8492-4FDF-80C8-DF0025ECC2B8}" dt="2025-05-29T13:01:55.116" v="4316" actId="790"/>
          <ac:spMkLst>
            <pc:docMk/>
            <pc:sldMk cId="3207194517" sldId="270"/>
            <ac:spMk id="16" creationId="{4D5BDA9A-91A4-5BFD-EAE1-C7E3A7C58937}"/>
          </ac:spMkLst>
        </pc:spChg>
        <pc:spChg chg="mod">
          <ac:chgData name="Juan Sebastián Giraldo" userId="2f39d921-1805-4fcf-9d80-fe66aeb20d18" providerId="ADAL" clId="{AA2DACD2-8492-4FDF-80C8-DF0025ECC2B8}" dt="2025-05-29T13:01:55.116" v="4316" actId="790"/>
          <ac:spMkLst>
            <pc:docMk/>
            <pc:sldMk cId="3207194517" sldId="270"/>
            <ac:spMk id="18" creationId="{9AABA752-31F2-0167-657F-D63ED96746BC}"/>
          </ac:spMkLst>
        </pc:spChg>
        <pc:spChg chg="mod">
          <ac:chgData name="Juan Sebastián Giraldo" userId="2f39d921-1805-4fcf-9d80-fe66aeb20d18" providerId="ADAL" clId="{AA2DACD2-8492-4FDF-80C8-DF0025ECC2B8}" dt="2025-05-29T13:01:55.116" v="4316" actId="790"/>
          <ac:spMkLst>
            <pc:docMk/>
            <pc:sldMk cId="3207194517" sldId="270"/>
            <ac:spMk id="22" creationId="{A447199C-49F1-464E-B866-8811012036B1}"/>
          </ac:spMkLst>
        </pc:spChg>
        <pc:spChg chg="mod">
          <ac:chgData name="Juan Sebastián Giraldo" userId="2f39d921-1805-4fcf-9d80-fe66aeb20d18" providerId="ADAL" clId="{AA2DACD2-8492-4FDF-80C8-DF0025ECC2B8}" dt="2025-05-29T13:01:55.116" v="4316" actId="790"/>
          <ac:spMkLst>
            <pc:docMk/>
            <pc:sldMk cId="3207194517" sldId="270"/>
            <ac:spMk id="23" creationId="{68297311-0F90-A33A-5B71-BDBDA2661B5A}"/>
          </ac:spMkLst>
        </pc:spChg>
        <pc:spChg chg="mod">
          <ac:chgData name="Juan Sebastián Giraldo" userId="2f39d921-1805-4fcf-9d80-fe66aeb20d18" providerId="ADAL" clId="{AA2DACD2-8492-4FDF-80C8-DF0025ECC2B8}" dt="2025-05-29T13:01:55.116" v="4316" actId="790"/>
          <ac:spMkLst>
            <pc:docMk/>
            <pc:sldMk cId="3207194517" sldId="270"/>
            <ac:spMk id="54" creationId="{1E81D9B8-6A28-906F-33B7-8090E81762BA}"/>
          </ac:spMkLst>
        </pc:spChg>
      </pc:sldChg>
      <pc:sldChg chg="addSp delSp modSp add mod ord">
        <pc:chgData name="Juan Sebastián Giraldo" userId="2f39d921-1805-4fcf-9d80-fe66aeb20d18" providerId="ADAL" clId="{AA2DACD2-8492-4FDF-80C8-DF0025ECC2B8}" dt="2025-05-30T08:10:27.759" v="6044" actId="20577"/>
        <pc:sldMkLst>
          <pc:docMk/>
          <pc:sldMk cId="1995941214" sldId="271"/>
        </pc:sldMkLst>
        <pc:spChg chg="mod">
          <ac:chgData name="Juan Sebastián Giraldo" userId="2f39d921-1805-4fcf-9d80-fe66aeb20d18" providerId="ADAL" clId="{AA2DACD2-8492-4FDF-80C8-DF0025ECC2B8}" dt="2025-05-30T06:51:28.748" v="5603" actId="20577"/>
          <ac:spMkLst>
            <pc:docMk/>
            <pc:sldMk cId="1995941214" sldId="271"/>
            <ac:spMk id="2" creationId="{5FCA9E8B-313B-12BE-319E-32D1C8C1A0CA}"/>
          </ac:spMkLst>
        </pc:spChg>
        <pc:spChg chg="add mod">
          <ac:chgData name="Juan Sebastián Giraldo" userId="2f39d921-1805-4fcf-9d80-fe66aeb20d18" providerId="ADAL" clId="{AA2DACD2-8492-4FDF-80C8-DF0025ECC2B8}" dt="2025-05-30T07:29:19.626" v="5974" actId="14100"/>
          <ac:spMkLst>
            <pc:docMk/>
            <pc:sldMk cId="1995941214" sldId="271"/>
            <ac:spMk id="3" creationId="{8BFB1F3B-E504-DE46-159A-BF30D5177B55}"/>
          </ac:spMkLst>
        </pc:spChg>
        <pc:spChg chg="mod">
          <ac:chgData name="Juan Sebastián Giraldo" userId="2f39d921-1805-4fcf-9d80-fe66aeb20d18" providerId="ADAL" clId="{AA2DACD2-8492-4FDF-80C8-DF0025ECC2B8}" dt="2025-05-30T07:29:15.818" v="5972" actId="6549"/>
          <ac:spMkLst>
            <pc:docMk/>
            <pc:sldMk cId="1995941214" sldId="271"/>
            <ac:spMk id="5" creationId="{2E825777-0D2D-DD3A-7753-3BD4FEAE61A4}"/>
          </ac:spMkLst>
        </pc:spChg>
        <pc:spChg chg="mod">
          <ac:chgData name="Juan Sebastián Giraldo" userId="2f39d921-1805-4fcf-9d80-fe66aeb20d18" providerId="ADAL" clId="{AA2DACD2-8492-4FDF-80C8-DF0025ECC2B8}" dt="2025-05-30T06:55:04.835" v="5674" actId="20577"/>
          <ac:spMkLst>
            <pc:docMk/>
            <pc:sldMk cId="1995941214" sldId="271"/>
            <ac:spMk id="6" creationId="{90514DD8-CC7F-22EE-BA74-60D2D75C7D31}"/>
          </ac:spMkLst>
        </pc:spChg>
        <pc:spChg chg="add mod">
          <ac:chgData name="Juan Sebastián Giraldo" userId="2f39d921-1805-4fcf-9d80-fe66aeb20d18" providerId="ADAL" clId="{AA2DACD2-8492-4FDF-80C8-DF0025ECC2B8}" dt="2025-05-30T07:29:21.817" v="5975" actId="14100"/>
          <ac:spMkLst>
            <pc:docMk/>
            <pc:sldMk cId="1995941214" sldId="271"/>
            <ac:spMk id="7" creationId="{CEC3FED6-0681-1129-31B3-96E34B240C3A}"/>
          </ac:spMkLst>
        </pc:spChg>
        <pc:spChg chg="mod">
          <ac:chgData name="Juan Sebastián Giraldo" userId="2f39d921-1805-4fcf-9d80-fe66aeb20d18" providerId="ADAL" clId="{AA2DACD2-8492-4FDF-80C8-DF0025ECC2B8}" dt="2025-05-30T08:10:27.759" v="6044" actId="20577"/>
          <ac:spMkLst>
            <pc:docMk/>
            <pc:sldMk cId="1995941214" sldId="271"/>
            <ac:spMk id="9" creationId="{C1C57CC7-311C-C6E8-E263-EBE9FC293E14}"/>
          </ac:spMkLst>
        </pc:spChg>
        <pc:spChg chg="mod">
          <ac:chgData name="Juan Sebastián Giraldo" userId="2f39d921-1805-4fcf-9d80-fe66aeb20d18" providerId="ADAL" clId="{AA2DACD2-8492-4FDF-80C8-DF0025ECC2B8}" dt="2025-05-30T06:55:11.932" v="5683" actId="20577"/>
          <ac:spMkLst>
            <pc:docMk/>
            <pc:sldMk cId="1995941214" sldId="271"/>
            <ac:spMk id="10" creationId="{AB1ACAEC-6F9E-2812-32D2-5CEAFE6BDCF0}"/>
          </ac:spMkLst>
        </pc:spChg>
        <pc:spChg chg="mod">
          <ac:chgData name="Juan Sebastián Giraldo" userId="2f39d921-1805-4fcf-9d80-fe66aeb20d18" providerId="ADAL" clId="{AA2DACD2-8492-4FDF-80C8-DF0025ECC2B8}" dt="2025-05-30T06:54:56.069" v="5663" actId="1076"/>
          <ac:spMkLst>
            <pc:docMk/>
            <pc:sldMk cId="1995941214" sldId="271"/>
            <ac:spMk id="21" creationId="{C762BFBC-28DA-7F1C-0CD1-F6BC9D0813CA}"/>
          </ac:spMkLst>
        </pc:spChg>
        <pc:spChg chg="mod">
          <ac:chgData name="Juan Sebastián Giraldo" userId="2f39d921-1805-4fcf-9d80-fe66aeb20d18" providerId="ADAL" clId="{AA2DACD2-8492-4FDF-80C8-DF0025ECC2B8}" dt="2025-05-30T06:51:53.798" v="5634" actId="14100"/>
          <ac:spMkLst>
            <pc:docMk/>
            <pc:sldMk cId="1995941214" sldId="271"/>
            <ac:spMk id="26" creationId="{6B3E8EF2-420F-96BB-0CC4-0BC0A7D99EC5}"/>
          </ac:spMkLst>
        </pc:spChg>
        <pc:spChg chg="mod">
          <ac:chgData name="Juan Sebastián Giraldo" userId="2f39d921-1805-4fcf-9d80-fe66aeb20d18" providerId="ADAL" clId="{AA2DACD2-8492-4FDF-80C8-DF0025ECC2B8}" dt="2025-05-30T06:54:56.069" v="5663" actId="1076"/>
          <ac:spMkLst>
            <pc:docMk/>
            <pc:sldMk cId="1995941214" sldId="271"/>
            <ac:spMk id="27" creationId="{16074027-ECA3-D108-EF32-7D2D2A091051}"/>
          </ac:spMkLst>
        </pc:spChg>
        <pc:spChg chg="mod">
          <ac:chgData name="Juan Sebastián Giraldo" userId="2f39d921-1805-4fcf-9d80-fe66aeb20d18" providerId="ADAL" clId="{AA2DACD2-8492-4FDF-80C8-DF0025ECC2B8}" dt="2025-05-30T08:10:25.539" v="6043" actId="20577"/>
          <ac:spMkLst>
            <pc:docMk/>
            <pc:sldMk cId="1995941214" sldId="271"/>
            <ac:spMk id="31" creationId="{F306251D-95F6-7473-B311-D3EEB558DFBC}"/>
          </ac:spMkLst>
        </pc:spChg>
        <pc:spChg chg="mod">
          <ac:chgData name="Juan Sebastián Giraldo" userId="2f39d921-1805-4fcf-9d80-fe66aeb20d18" providerId="ADAL" clId="{AA2DACD2-8492-4FDF-80C8-DF0025ECC2B8}" dt="2025-05-30T06:52:13.217" v="5654" actId="20577"/>
          <ac:spMkLst>
            <pc:docMk/>
            <pc:sldMk cId="1995941214" sldId="271"/>
            <ac:spMk id="32" creationId="{419AC1C3-8035-462E-B63B-2EF969A1D3FF}"/>
          </ac:spMkLst>
        </pc:spChg>
        <pc:grpChg chg="add mod">
          <ac:chgData name="Juan Sebastián Giraldo" userId="2f39d921-1805-4fcf-9d80-fe66aeb20d18" providerId="ADAL" clId="{AA2DACD2-8492-4FDF-80C8-DF0025ECC2B8}" dt="2025-05-30T06:54:56.069" v="5663" actId="1076"/>
          <ac:grpSpMkLst>
            <pc:docMk/>
            <pc:sldMk cId="1995941214" sldId="271"/>
            <ac:grpSpMk id="4" creationId="{3F26563C-7405-A1EF-9C2B-AD922E91836D}"/>
          </ac:grpSpMkLst>
        </pc:grpChg>
        <pc:grpChg chg="add mod">
          <ac:chgData name="Juan Sebastián Giraldo" userId="2f39d921-1805-4fcf-9d80-fe66aeb20d18" providerId="ADAL" clId="{AA2DACD2-8492-4FDF-80C8-DF0025ECC2B8}" dt="2025-05-30T06:54:56.069" v="5663" actId="1076"/>
          <ac:grpSpMkLst>
            <pc:docMk/>
            <pc:sldMk cId="1995941214" sldId="271"/>
            <ac:grpSpMk id="8" creationId="{65A2577C-7752-9037-938F-6E4261740F87}"/>
          </ac:grpSpMkLst>
        </pc:grpChg>
        <pc:grpChg chg="mod">
          <ac:chgData name="Juan Sebastián Giraldo" userId="2f39d921-1805-4fcf-9d80-fe66aeb20d18" providerId="ADAL" clId="{AA2DACD2-8492-4FDF-80C8-DF0025ECC2B8}" dt="2025-05-30T06:54:56.069" v="5663" actId="1076"/>
          <ac:grpSpMkLst>
            <pc:docMk/>
            <pc:sldMk cId="1995941214" sldId="271"/>
            <ac:grpSpMk id="24" creationId="{80E72452-43DE-2ABB-5C9F-25F801BEC7BC}"/>
          </ac:grpSpMkLst>
        </pc:grpChg>
        <pc:grpChg chg="mod">
          <ac:chgData name="Juan Sebastián Giraldo" userId="2f39d921-1805-4fcf-9d80-fe66aeb20d18" providerId="ADAL" clId="{AA2DACD2-8492-4FDF-80C8-DF0025ECC2B8}" dt="2025-05-30T06:54:56.069" v="5663" actId="1076"/>
          <ac:grpSpMkLst>
            <pc:docMk/>
            <pc:sldMk cId="1995941214" sldId="271"/>
            <ac:grpSpMk id="30" creationId="{16B5E7F8-164F-53E0-DA60-409E8C58ED8F}"/>
          </ac:grpSpMkLst>
        </pc:grpChg>
      </pc:sldChg>
      <pc:sldChg chg="addSp delSp modSp add mod ord">
        <pc:chgData name="Juan Sebastián Giraldo" userId="2f39d921-1805-4fcf-9d80-fe66aeb20d18" providerId="ADAL" clId="{AA2DACD2-8492-4FDF-80C8-DF0025ECC2B8}" dt="2025-05-30T07:36:48.471" v="6004"/>
        <pc:sldMkLst>
          <pc:docMk/>
          <pc:sldMk cId="1111737334" sldId="272"/>
        </pc:sldMkLst>
        <pc:spChg chg="mod">
          <ac:chgData name="Juan Sebastián Giraldo" userId="2f39d921-1805-4fcf-9d80-fe66aeb20d18" providerId="ADAL" clId="{AA2DACD2-8492-4FDF-80C8-DF0025ECC2B8}" dt="2025-05-30T07:34:33.529" v="5992" actId="14100"/>
          <ac:spMkLst>
            <pc:docMk/>
            <pc:sldMk cId="1111737334" sldId="272"/>
            <ac:spMk id="4" creationId="{7C83CE94-5B20-3A92-EF02-8B163FF89056}"/>
          </ac:spMkLst>
        </pc:spChg>
        <pc:spChg chg="mod">
          <ac:chgData name="Juan Sebastián Giraldo" userId="2f39d921-1805-4fcf-9d80-fe66aeb20d18" providerId="ADAL" clId="{AA2DACD2-8492-4FDF-80C8-DF0025ECC2B8}" dt="2025-05-30T07:34:41.097" v="5994" actId="1076"/>
          <ac:spMkLst>
            <pc:docMk/>
            <pc:sldMk cId="1111737334" sldId="272"/>
            <ac:spMk id="5" creationId="{BAD88525-BC73-84C2-DBC1-54ECA30E9832}"/>
          </ac:spMkLst>
        </pc:spChg>
        <pc:picChg chg="add mod">
          <ac:chgData name="Juan Sebastián Giraldo" userId="2f39d921-1805-4fcf-9d80-fe66aeb20d18" providerId="ADAL" clId="{AA2DACD2-8492-4FDF-80C8-DF0025ECC2B8}" dt="2025-05-30T07:34:27.058" v="5990"/>
          <ac:picMkLst>
            <pc:docMk/>
            <pc:sldMk cId="1111737334" sldId="272"/>
            <ac:picMk id="2" creationId="{A7E8C7DD-85B3-FD09-1A27-AB4480CD8AB2}"/>
          </ac:picMkLst>
        </pc:picChg>
        <pc:picChg chg="add mod">
          <ac:chgData name="Juan Sebastián Giraldo" userId="2f39d921-1805-4fcf-9d80-fe66aeb20d18" providerId="ADAL" clId="{AA2DACD2-8492-4FDF-80C8-DF0025ECC2B8}" dt="2025-05-30T07:34:27.058" v="5990"/>
          <ac:picMkLst>
            <pc:docMk/>
            <pc:sldMk cId="1111737334" sldId="272"/>
            <ac:picMk id="3" creationId="{7B13BC86-8C94-C77B-22AC-F933B10EF140}"/>
          </ac:picMkLst>
        </pc:picChg>
        <pc:picChg chg="mod">
          <ac:chgData name="Juan Sebastián Giraldo" userId="2f39d921-1805-4fcf-9d80-fe66aeb20d18" providerId="ADAL" clId="{AA2DACD2-8492-4FDF-80C8-DF0025ECC2B8}" dt="2025-05-30T07:34:30.568" v="5991" actId="14100"/>
          <ac:picMkLst>
            <pc:docMk/>
            <pc:sldMk cId="1111737334" sldId="272"/>
            <ac:picMk id="4098" creationId="{26AD54AC-195D-323D-BF13-545FAFDAD4B2}"/>
          </ac:picMkLst>
        </pc:picChg>
      </pc:sldChg>
      <pc:sldChg chg="addSp delSp modSp add mod ord modNotesTx">
        <pc:chgData name="Juan Sebastián Giraldo" userId="2f39d921-1805-4fcf-9d80-fe66aeb20d18" providerId="ADAL" clId="{AA2DACD2-8492-4FDF-80C8-DF0025ECC2B8}" dt="2025-05-30T07:36:48.471" v="6004"/>
        <pc:sldMkLst>
          <pc:docMk/>
          <pc:sldMk cId="2451584893" sldId="273"/>
        </pc:sldMkLst>
        <pc:spChg chg="add mod">
          <ac:chgData name="Juan Sebastián Giraldo" userId="2f39d921-1805-4fcf-9d80-fe66aeb20d18" providerId="ADAL" clId="{AA2DACD2-8492-4FDF-80C8-DF0025ECC2B8}" dt="2025-05-30T06:59:28.686" v="5845" actId="20577"/>
          <ac:spMkLst>
            <pc:docMk/>
            <pc:sldMk cId="2451584893" sldId="273"/>
            <ac:spMk id="43" creationId="{A574FCD4-3585-7F9C-4586-C63599D2DA18}"/>
          </ac:spMkLst>
        </pc:spChg>
        <pc:picChg chg="add mod">
          <ac:chgData name="Juan Sebastián Giraldo" userId="2f39d921-1805-4fcf-9d80-fe66aeb20d18" providerId="ADAL" clId="{AA2DACD2-8492-4FDF-80C8-DF0025ECC2B8}" dt="2025-05-30T06:59:23.727" v="5829"/>
          <ac:picMkLst>
            <pc:docMk/>
            <pc:sldMk cId="2451584893" sldId="273"/>
            <ac:picMk id="45" creationId="{BE0F99E1-8E99-175C-3980-7BDD249A7A5A}"/>
          </ac:picMkLst>
        </pc:picChg>
        <pc:picChg chg="add mod">
          <ac:chgData name="Juan Sebastián Giraldo" userId="2f39d921-1805-4fcf-9d80-fe66aeb20d18" providerId="ADAL" clId="{AA2DACD2-8492-4FDF-80C8-DF0025ECC2B8}" dt="2025-05-30T06:59:23.727" v="5829"/>
          <ac:picMkLst>
            <pc:docMk/>
            <pc:sldMk cId="2451584893" sldId="273"/>
            <ac:picMk id="46" creationId="{DBB8EA55-53C1-8826-BD6D-5912398B0269}"/>
          </ac:picMkLst>
        </pc:picChg>
      </pc:sldChg>
      <pc:sldChg chg="addSp delSp modSp add mod ord modShow">
        <pc:chgData name="Juan Sebastián Giraldo" userId="2f39d921-1805-4fcf-9d80-fe66aeb20d18" providerId="ADAL" clId="{AA2DACD2-8492-4FDF-80C8-DF0025ECC2B8}" dt="2025-05-30T08:32:15.823" v="6045" actId="729"/>
        <pc:sldMkLst>
          <pc:docMk/>
          <pc:sldMk cId="3850521874" sldId="274"/>
        </pc:sldMkLst>
        <pc:spChg chg="add mod">
          <ac:chgData name="Juan Sebastián Giraldo" userId="2f39d921-1805-4fcf-9d80-fe66aeb20d18" providerId="ADAL" clId="{AA2DACD2-8492-4FDF-80C8-DF0025ECC2B8}" dt="2025-05-30T06:59:20.495" v="5827" actId="20577"/>
          <ac:spMkLst>
            <pc:docMk/>
            <pc:sldMk cId="3850521874" sldId="274"/>
            <ac:spMk id="2" creationId="{E623FF38-D98E-7ED4-5631-90A521BEE79B}"/>
          </ac:spMkLst>
        </pc:spChg>
        <pc:picChg chg="add mod">
          <ac:chgData name="Juan Sebastián Giraldo" userId="2f39d921-1805-4fcf-9d80-fe66aeb20d18" providerId="ADAL" clId="{AA2DACD2-8492-4FDF-80C8-DF0025ECC2B8}" dt="2025-05-30T06:59:18.517" v="5823" actId="27636"/>
          <ac:picMkLst>
            <pc:docMk/>
            <pc:sldMk cId="3850521874" sldId="274"/>
            <ac:picMk id="4" creationId="{7C49F052-00A3-5060-7AB5-796E732EA750}"/>
          </ac:picMkLst>
        </pc:picChg>
        <pc:picChg chg="add mod">
          <ac:chgData name="Juan Sebastián Giraldo" userId="2f39d921-1805-4fcf-9d80-fe66aeb20d18" providerId="ADAL" clId="{AA2DACD2-8492-4FDF-80C8-DF0025ECC2B8}" dt="2025-05-30T06:59:18.517" v="5823" actId="27636"/>
          <ac:picMkLst>
            <pc:docMk/>
            <pc:sldMk cId="3850521874" sldId="274"/>
            <ac:picMk id="5" creationId="{95198020-13C8-B8CA-28FA-2FC11D4079A5}"/>
          </ac:picMkLst>
        </pc:picChg>
      </pc:sldChg>
      <pc:sldChg chg="addSp modSp add ord">
        <pc:chgData name="Juan Sebastián Giraldo" userId="2f39d921-1805-4fcf-9d80-fe66aeb20d18" providerId="ADAL" clId="{AA2DACD2-8492-4FDF-80C8-DF0025ECC2B8}" dt="2025-05-30T07:36:48.471" v="6004"/>
        <pc:sldMkLst>
          <pc:docMk/>
          <pc:sldMk cId="2143055153" sldId="275"/>
        </pc:sldMkLst>
        <pc:picChg chg="add mod">
          <ac:chgData name="Juan Sebastián Giraldo" userId="2f39d921-1805-4fcf-9d80-fe66aeb20d18" providerId="ADAL" clId="{AA2DACD2-8492-4FDF-80C8-DF0025ECC2B8}" dt="2025-05-30T07:33:29.449" v="5989"/>
          <ac:picMkLst>
            <pc:docMk/>
            <pc:sldMk cId="2143055153" sldId="275"/>
            <ac:picMk id="2" creationId="{CF77700B-FECF-9E9E-E43D-08DD4976F7F3}"/>
          </ac:picMkLst>
        </pc:picChg>
        <pc:picChg chg="add mod">
          <ac:chgData name="Juan Sebastián Giraldo" userId="2f39d921-1805-4fcf-9d80-fe66aeb20d18" providerId="ADAL" clId="{AA2DACD2-8492-4FDF-80C8-DF0025ECC2B8}" dt="2025-05-30T07:33:29.449" v="5989"/>
          <ac:picMkLst>
            <pc:docMk/>
            <pc:sldMk cId="2143055153" sldId="275"/>
            <ac:picMk id="5" creationId="{E0917B86-C79D-938D-D0A4-8F58DB820AED}"/>
          </ac:picMkLst>
        </pc:picChg>
      </pc:sldChg>
      <pc:sldChg chg="addSp modSp add ord">
        <pc:chgData name="Juan Sebastián Giraldo" userId="2f39d921-1805-4fcf-9d80-fe66aeb20d18" providerId="ADAL" clId="{AA2DACD2-8492-4FDF-80C8-DF0025ECC2B8}" dt="2025-05-30T07:36:48.471" v="6004"/>
        <pc:sldMkLst>
          <pc:docMk/>
          <pc:sldMk cId="3737034632" sldId="276"/>
        </pc:sldMkLst>
        <pc:picChg chg="add mod">
          <ac:chgData name="Juan Sebastián Giraldo" userId="2f39d921-1805-4fcf-9d80-fe66aeb20d18" providerId="ADAL" clId="{AA2DACD2-8492-4FDF-80C8-DF0025ECC2B8}" dt="2025-05-30T07:33:26.714" v="5988"/>
          <ac:picMkLst>
            <pc:docMk/>
            <pc:sldMk cId="3737034632" sldId="276"/>
            <ac:picMk id="2" creationId="{8C47F0F8-CC6A-3539-5E13-3A52C4334436}"/>
          </ac:picMkLst>
        </pc:picChg>
        <pc:picChg chg="add mod">
          <ac:chgData name="Juan Sebastián Giraldo" userId="2f39d921-1805-4fcf-9d80-fe66aeb20d18" providerId="ADAL" clId="{AA2DACD2-8492-4FDF-80C8-DF0025ECC2B8}" dt="2025-05-30T07:33:26.714" v="5988"/>
          <ac:picMkLst>
            <pc:docMk/>
            <pc:sldMk cId="3737034632" sldId="276"/>
            <ac:picMk id="3" creationId="{FB816D6A-D495-5328-72C2-2B5BFEB059C4}"/>
          </ac:picMkLst>
        </pc:picChg>
      </pc:sldChg>
      <pc:sldChg chg="delSp modSp add mod ord">
        <pc:chgData name="Juan Sebastián Giraldo" userId="2f39d921-1805-4fcf-9d80-fe66aeb20d18" providerId="ADAL" clId="{AA2DACD2-8492-4FDF-80C8-DF0025ECC2B8}" dt="2025-05-30T08:09:56.397" v="6042" actId="20577"/>
        <pc:sldMkLst>
          <pc:docMk/>
          <pc:sldMk cId="3920024040" sldId="277"/>
        </pc:sldMkLst>
        <pc:spChg chg="mod">
          <ac:chgData name="Juan Sebastián Giraldo" userId="2f39d921-1805-4fcf-9d80-fe66aeb20d18" providerId="ADAL" clId="{AA2DACD2-8492-4FDF-80C8-DF0025ECC2B8}" dt="2025-05-30T06:58:52.752" v="5818" actId="20577"/>
          <ac:spMkLst>
            <pc:docMk/>
            <pc:sldMk cId="3920024040" sldId="277"/>
            <ac:spMk id="2" creationId="{F65B455F-C606-B0E7-91A9-C9BA680C0FE3}"/>
          </ac:spMkLst>
        </pc:spChg>
        <pc:spChg chg="mod">
          <ac:chgData name="Juan Sebastián Giraldo" userId="2f39d921-1805-4fcf-9d80-fe66aeb20d18" providerId="ADAL" clId="{AA2DACD2-8492-4FDF-80C8-DF0025ECC2B8}" dt="2025-05-30T07:32:19.006" v="5977" actId="1076"/>
          <ac:spMkLst>
            <pc:docMk/>
            <pc:sldMk cId="3920024040" sldId="277"/>
            <ac:spMk id="21" creationId="{F417B682-A9EA-990F-DCBB-08F8EE2ADDEF}"/>
          </ac:spMkLst>
        </pc:spChg>
        <pc:spChg chg="mod">
          <ac:chgData name="Juan Sebastián Giraldo" userId="2f39d921-1805-4fcf-9d80-fe66aeb20d18" providerId="ADAL" clId="{AA2DACD2-8492-4FDF-80C8-DF0025ECC2B8}" dt="2025-05-30T08:09:56.397" v="6042" actId="20577"/>
          <ac:spMkLst>
            <pc:docMk/>
            <pc:sldMk cId="3920024040" sldId="277"/>
            <ac:spMk id="25" creationId="{C7C08D53-4B0E-23D2-A144-2A12AE398E88}"/>
          </ac:spMkLst>
        </pc:spChg>
        <pc:spChg chg="mod">
          <ac:chgData name="Juan Sebastián Giraldo" userId="2f39d921-1805-4fcf-9d80-fe66aeb20d18" providerId="ADAL" clId="{AA2DACD2-8492-4FDF-80C8-DF0025ECC2B8}" dt="2025-05-30T06:59:34.655" v="5848" actId="20577"/>
          <ac:spMkLst>
            <pc:docMk/>
            <pc:sldMk cId="3920024040" sldId="277"/>
            <ac:spMk id="26" creationId="{98E39E1E-8985-6647-3964-E18FFA3AFF13}"/>
          </ac:spMkLst>
        </pc:spChg>
        <pc:grpChg chg="mod">
          <ac:chgData name="Juan Sebastián Giraldo" userId="2f39d921-1805-4fcf-9d80-fe66aeb20d18" providerId="ADAL" clId="{AA2DACD2-8492-4FDF-80C8-DF0025ECC2B8}" dt="2025-05-30T07:32:19.006" v="5977" actId="1076"/>
          <ac:grpSpMkLst>
            <pc:docMk/>
            <pc:sldMk cId="3920024040" sldId="277"/>
            <ac:grpSpMk id="24" creationId="{FC0CF622-2A44-E04D-BD1F-C83799F9BF87}"/>
          </ac:grpSpMkLst>
        </pc:grpChg>
      </pc:sldChg>
      <pc:sldChg chg="addSp delSp modSp add mod">
        <pc:chgData name="Juan Sebastián Giraldo" userId="2f39d921-1805-4fcf-9d80-fe66aeb20d18" providerId="ADAL" clId="{AA2DACD2-8492-4FDF-80C8-DF0025ECC2B8}" dt="2025-05-30T08:34:41.664" v="6130" actId="1076"/>
        <pc:sldMkLst>
          <pc:docMk/>
          <pc:sldMk cId="3164133037" sldId="278"/>
        </pc:sldMkLst>
        <pc:picChg chg="mod">
          <ac:chgData name="Juan Sebastián Giraldo" userId="2f39d921-1805-4fcf-9d80-fe66aeb20d18" providerId="ADAL" clId="{AA2DACD2-8492-4FDF-80C8-DF0025ECC2B8}" dt="2025-05-30T07:47:26.087" v="6031" actId="1076"/>
          <ac:picMkLst>
            <pc:docMk/>
            <pc:sldMk cId="3164133037" sldId="278"/>
            <ac:picMk id="15" creationId="{493B75CD-34CE-D570-2D9E-6D4B8EA185A8}"/>
          </ac:picMkLst>
        </pc:picChg>
        <pc:picChg chg="mod">
          <ac:chgData name="Juan Sebastián Giraldo" userId="2f39d921-1805-4fcf-9d80-fe66aeb20d18" providerId="ADAL" clId="{AA2DACD2-8492-4FDF-80C8-DF0025ECC2B8}" dt="2025-05-30T08:34:28.717" v="6126" actId="1076"/>
          <ac:picMkLst>
            <pc:docMk/>
            <pc:sldMk cId="3164133037" sldId="278"/>
            <ac:picMk id="48" creationId="{9788F57D-6E28-3C87-9336-0BDE6B655549}"/>
          </ac:picMkLst>
        </pc:picChg>
        <pc:picChg chg="mod">
          <ac:chgData name="Juan Sebastián Giraldo" userId="2f39d921-1805-4fcf-9d80-fe66aeb20d18" providerId="ADAL" clId="{AA2DACD2-8492-4FDF-80C8-DF0025ECC2B8}" dt="2025-05-30T08:34:38.441" v="6129" actId="1076"/>
          <ac:picMkLst>
            <pc:docMk/>
            <pc:sldMk cId="3164133037" sldId="278"/>
            <ac:picMk id="51" creationId="{0CE378BE-6A88-A686-E9D0-A947FD6E14B3}"/>
          </ac:picMkLst>
        </pc:picChg>
        <pc:picChg chg="mod">
          <ac:chgData name="Juan Sebastián Giraldo" userId="2f39d921-1805-4fcf-9d80-fe66aeb20d18" providerId="ADAL" clId="{AA2DACD2-8492-4FDF-80C8-DF0025ECC2B8}" dt="2025-05-30T08:34:36.231" v="6128" actId="1076"/>
          <ac:picMkLst>
            <pc:docMk/>
            <pc:sldMk cId="3164133037" sldId="278"/>
            <ac:picMk id="52" creationId="{AE12D6A0-BB72-F6F9-1152-F2318B0B056F}"/>
          </ac:picMkLst>
        </pc:picChg>
        <pc:picChg chg="mod">
          <ac:chgData name="Juan Sebastián Giraldo" userId="2f39d921-1805-4fcf-9d80-fe66aeb20d18" providerId="ADAL" clId="{AA2DACD2-8492-4FDF-80C8-DF0025ECC2B8}" dt="2025-05-30T07:47:22.047" v="6029" actId="1076"/>
          <ac:picMkLst>
            <pc:docMk/>
            <pc:sldMk cId="3164133037" sldId="278"/>
            <ac:picMk id="3074" creationId="{D5A42698-0646-EC13-B0D5-459388AC7E76}"/>
          </ac:picMkLst>
        </pc:picChg>
        <pc:picChg chg="mod">
          <ac:chgData name="Juan Sebastián Giraldo" userId="2f39d921-1805-4fcf-9d80-fe66aeb20d18" providerId="ADAL" clId="{AA2DACD2-8492-4FDF-80C8-DF0025ECC2B8}" dt="2025-05-30T08:34:41.664" v="6130" actId="1076"/>
          <ac:picMkLst>
            <pc:docMk/>
            <pc:sldMk cId="3164133037" sldId="278"/>
            <ac:picMk id="3080" creationId="{35B9EE16-8359-04CF-EC9B-6F1A65F68296}"/>
          </ac:picMkLst>
        </pc:picChg>
        <pc:picChg chg="mod">
          <ac:chgData name="Juan Sebastián Giraldo" userId="2f39d921-1805-4fcf-9d80-fe66aeb20d18" providerId="ADAL" clId="{AA2DACD2-8492-4FDF-80C8-DF0025ECC2B8}" dt="2025-05-30T07:47:23.548" v="6030" actId="1076"/>
          <ac:picMkLst>
            <pc:docMk/>
            <pc:sldMk cId="3164133037" sldId="278"/>
            <ac:picMk id="3086" creationId="{BABE55B4-573C-F26E-3C66-751DA9FDC766}"/>
          </ac:picMkLst>
        </pc:picChg>
      </pc:sldChg>
      <pc:sldChg chg="addSp delSp modSp add mod">
        <pc:chgData name="Juan Sebastián Giraldo" userId="2f39d921-1805-4fcf-9d80-fe66aeb20d18" providerId="ADAL" clId="{AA2DACD2-8492-4FDF-80C8-DF0025ECC2B8}" dt="2025-05-30T08:51:34.695" v="6163" actId="14100"/>
        <pc:sldMkLst>
          <pc:docMk/>
          <pc:sldMk cId="510654002" sldId="279"/>
        </pc:sldMkLst>
        <pc:spChg chg="mod">
          <ac:chgData name="Juan Sebastián Giraldo" userId="2f39d921-1805-4fcf-9d80-fe66aeb20d18" providerId="ADAL" clId="{AA2DACD2-8492-4FDF-80C8-DF0025ECC2B8}" dt="2025-05-30T08:50:36.469" v="6148" actId="14100"/>
          <ac:spMkLst>
            <pc:docMk/>
            <pc:sldMk cId="510654002" sldId="279"/>
            <ac:spMk id="2" creationId="{58895724-29A1-7DDF-F325-F89D3DA39279}"/>
          </ac:spMkLst>
        </pc:spChg>
        <pc:spChg chg="mod">
          <ac:chgData name="Juan Sebastián Giraldo" userId="2f39d921-1805-4fcf-9d80-fe66aeb20d18" providerId="ADAL" clId="{AA2DACD2-8492-4FDF-80C8-DF0025ECC2B8}" dt="2025-05-30T08:50:32.566" v="6147" actId="1076"/>
          <ac:spMkLst>
            <pc:docMk/>
            <pc:sldMk cId="510654002" sldId="279"/>
            <ac:spMk id="3" creationId="{A856FE42-C04B-A893-1492-6EAD0731AD1E}"/>
          </ac:spMkLst>
        </pc:spChg>
        <pc:spChg chg="mod">
          <ac:chgData name="Juan Sebastián Giraldo" userId="2f39d921-1805-4fcf-9d80-fe66aeb20d18" providerId="ADAL" clId="{AA2DACD2-8492-4FDF-80C8-DF0025ECC2B8}" dt="2025-05-30T08:51:34.695" v="6163" actId="14100"/>
          <ac:spMkLst>
            <pc:docMk/>
            <pc:sldMk cId="510654002" sldId="279"/>
            <ac:spMk id="4" creationId="{12CB976F-970F-2133-9A0C-6C5C8E75E977}"/>
          </ac:spMkLst>
        </pc:spChg>
        <pc:spChg chg="add mod">
          <ac:chgData name="Juan Sebastián Giraldo" userId="2f39d921-1805-4fcf-9d80-fe66aeb20d18" providerId="ADAL" clId="{AA2DACD2-8492-4FDF-80C8-DF0025ECC2B8}" dt="2025-05-30T08:50:57.308" v="6154" actId="14100"/>
          <ac:spMkLst>
            <pc:docMk/>
            <pc:sldMk cId="510654002" sldId="279"/>
            <ac:spMk id="5" creationId="{C082ED0E-3B93-18F1-120C-3363AE12AFB7}"/>
          </ac:spMkLst>
        </pc:spChg>
        <pc:spChg chg="mod">
          <ac:chgData name="Juan Sebastián Giraldo" userId="2f39d921-1805-4fcf-9d80-fe66aeb20d18" providerId="ADAL" clId="{AA2DACD2-8492-4FDF-80C8-DF0025ECC2B8}" dt="2025-05-30T08:50:19.101" v="6143" actId="1076"/>
          <ac:spMkLst>
            <pc:docMk/>
            <pc:sldMk cId="510654002" sldId="279"/>
            <ac:spMk id="10" creationId="{81317977-9F7B-8CE6-F3A1-A6E920AE13DC}"/>
          </ac:spMkLst>
        </pc:spChg>
        <pc:spChg chg="mod">
          <ac:chgData name="Juan Sebastián Giraldo" userId="2f39d921-1805-4fcf-9d80-fe66aeb20d18" providerId="ADAL" clId="{AA2DACD2-8492-4FDF-80C8-DF0025ECC2B8}" dt="2025-05-30T08:50:25.669" v="6145" actId="1076"/>
          <ac:spMkLst>
            <pc:docMk/>
            <pc:sldMk cId="510654002" sldId="279"/>
            <ac:spMk id="11" creationId="{B0F4207F-8F31-9434-AA38-23EB2C01A719}"/>
          </ac:spMkLst>
        </pc:spChg>
        <pc:spChg chg="mod">
          <ac:chgData name="Juan Sebastián Giraldo" userId="2f39d921-1805-4fcf-9d80-fe66aeb20d18" providerId="ADAL" clId="{AA2DACD2-8492-4FDF-80C8-DF0025ECC2B8}" dt="2025-05-30T08:51:29.822" v="6162" actId="1076"/>
          <ac:spMkLst>
            <pc:docMk/>
            <pc:sldMk cId="510654002" sldId="279"/>
            <ac:spMk id="13" creationId="{752ADC24-E1A7-75DB-CBAA-8B74D451AB70}"/>
          </ac:spMkLst>
        </pc:spChg>
        <pc:spChg chg="mod">
          <ac:chgData name="Juan Sebastián Giraldo" userId="2f39d921-1805-4fcf-9d80-fe66aeb20d18" providerId="ADAL" clId="{AA2DACD2-8492-4FDF-80C8-DF0025ECC2B8}" dt="2025-05-30T08:49:25.603" v="6132" actId="1076"/>
          <ac:spMkLst>
            <pc:docMk/>
            <pc:sldMk cId="510654002" sldId="279"/>
            <ac:spMk id="16" creationId="{875A6E26-4D3A-BB60-3FA9-A45F2AB824EE}"/>
          </ac:spMkLst>
        </pc:spChg>
        <pc:spChg chg="mod">
          <ac:chgData name="Juan Sebastián Giraldo" userId="2f39d921-1805-4fcf-9d80-fe66aeb20d18" providerId="ADAL" clId="{AA2DACD2-8492-4FDF-80C8-DF0025ECC2B8}" dt="2025-05-30T08:50:19.101" v="6143" actId="1076"/>
          <ac:spMkLst>
            <pc:docMk/>
            <pc:sldMk cId="510654002" sldId="279"/>
            <ac:spMk id="17" creationId="{570FDD92-11DE-C0C4-7D97-AA8B8F4EA20C}"/>
          </ac:spMkLst>
        </pc:spChg>
        <pc:spChg chg="mod">
          <ac:chgData name="Juan Sebastián Giraldo" userId="2f39d921-1805-4fcf-9d80-fe66aeb20d18" providerId="ADAL" clId="{AA2DACD2-8492-4FDF-80C8-DF0025ECC2B8}" dt="2025-05-30T08:50:19.101" v="6143" actId="1076"/>
          <ac:spMkLst>
            <pc:docMk/>
            <pc:sldMk cId="510654002" sldId="279"/>
            <ac:spMk id="18" creationId="{BEFEB27A-FB82-F790-4B6F-7282CF10336C}"/>
          </ac:spMkLst>
        </pc:spChg>
        <pc:spChg chg="mod">
          <ac:chgData name="Juan Sebastián Giraldo" userId="2f39d921-1805-4fcf-9d80-fe66aeb20d18" providerId="ADAL" clId="{AA2DACD2-8492-4FDF-80C8-DF0025ECC2B8}" dt="2025-05-30T08:50:19.101" v="6143" actId="1076"/>
          <ac:spMkLst>
            <pc:docMk/>
            <pc:sldMk cId="510654002" sldId="279"/>
            <ac:spMk id="19" creationId="{5A49DCE2-4E09-1D5E-586F-6B734F1FEC96}"/>
          </ac:spMkLst>
        </pc:spChg>
        <pc:spChg chg="mod">
          <ac:chgData name="Juan Sebastián Giraldo" userId="2f39d921-1805-4fcf-9d80-fe66aeb20d18" providerId="ADAL" clId="{AA2DACD2-8492-4FDF-80C8-DF0025ECC2B8}" dt="2025-05-30T08:50:19.101" v="6143" actId="1076"/>
          <ac:spMkLst>
            <pc:docMk/>
            <pc:sldMk cId="510654002" sldId="279"/>
            <ac:spMk id="20" creationId="{1376AF8D-413D-FFE5-C56A-F36D41E5D0A6}"/>
          </ac:spMkLst>
        </pc:spChg>
        <pc:spChg chg="mod">
          <ac:chgData name="Juan Sebastián Giraldo" userId="2f39d921-1805-4fcf-9d80-fe66aeb20d18" providerId="ADAL" clId="{AA2DACD2-8492-4FDF-80C8-DF0025ECC2B8}" dt="2025-05-30T08:51:26.596" v="6161" actId="14100"/>
          <ac:spMkLst>
            <pc:docMk/>
            <pc:sldMk cId="510654002" sldId="279"/>
            <ac:spMk id="21" creationId="{41CC851F-FCCE-53B2-2AF5-6E4035FCD977}"/>
          </ac:spMkLst>
        </pc:spChg>
        <pc:spChg chg="mod">
          <ac:chgData name="Juan Sebastián Giraldo" userId="2f39d921-1805-4fcf-9d80-fe66aeb20d18" providerId="ADAL" clId="{AA2DACD2-8492-4FDF-80C8-DF0025ECC2B8}" dt="2025-05-30T08:49:43.152" v="6136" actId="1076"/>
          <ac:spMkLst>
            <pc:docMk/>
            <pc:sldMk cId="510654002" sldId="279"/>
            <ac:spMk id="23" creationId="{6134BDD9-1589-0298-4A4A-E80D4195CC8D}"/>
          </ac:spMkLst>
        </pc:spChg>
        <pc:spChg chg="mod">
          <ac:chgData name="Juan Sebastián Giraldo" userId="2f39d921-1805-4fcf-9d80-fe66aeb20d18" providerId="ADAL" clId="{AA2DACD2-8492-4FDF-80C8-DF0025ECC2B8}" dt="2025-05-30T08:50:19.101" v="6143" actId="1076"/>
          <ac:spMkLst>
            <pc:docMk/>
            <pc:sldMk cId="510654002" sldId="279"/>
            <ac:spMk id="27" creationId="{81FA1DB0-5CFD-1E72-013E-5B84F5BBCB6B}"/>
          </ac:spMkLst>
        </pc:spChg>
        <pc:spChg chg="mod">
          <ac:chgData name="Juan Sebastián Giraldo" userId="2f39d921-1805-4fcf-9d80-fe66aeb20d18" providerId="ADAL" clId="{AA2DACD2-8492-4FDF-80C8-DF0025ECC2B8}" dt="2025-05-30T08:50:19.101" v="6143" actId="1076"/>
          <ac:spMkLst>
            <pc:docMk/>
            <pc:sldMk cId="510654002" sldId="279"/>
            <ac:spMk id="29" creationId="{A2F81263-6085-F7F5-032D-8E91098B351C}"/>
          </ac:spMkLst>
        </pc:spChg>
        <pc:spChg chg="mod">
          <ac:chgData name="Juan Sebastián Giraldo" userId="2f39d921-1805-4fcf-9d80-fe66aeb20d18" providerId="ADAL" clId="{AA2DACD2-8492-4FDF-80C8-DF0025ECC2B8}" dt="2025-05-30T08:51:13.634" v="6157" actId="1076"/>
          <ac:spMkLst>
            <pc:docMk/>
            <pc:sldMk cId="510654002" sldId="279"/>
            <ac:spMk id="42" creationId="{0255E474-C14F-CA43-B20A-612B73BD1409}"/>
          </ac:spMkLst>
        </pc:spChg>
        <pc:spChg chg="mod">
          <ac:chgData name="Juan Sebastián Giraldo" userId="2f39d921-1805-4fcf-9d80-fe66aeb20d18" providerId="ADAL" clId="{AA2DACD2-8492-4FDF-80C8-DF0025ECC2B8}" dt="2025-05-30T08:50:53.048" v="6152" actId="1076"/>
          <ac:spMkLst>
            <pc:docMk/>
            <pc:sldMk cId="510654002" sldId="279"/>
            <ac:spMk id="44" creationId="{699FA36C-20A8-CE1C-B518-7808B0344BCD}"/>
          </ac:spMkLst>
        </pc:spChg>
        <pc:grpChg chg="mod">
          <ac:chgData name="Juan Sebastián Giraldo" userId="2f39d921-1805-4fcf-9d80-fe66aeb20d18" providerId="ADAL" clId="{AA2DACD2-8492-4FDF-80C8-DF0025ECC2B8}" dt="2025-05-30T08:50:19.101" v="6143" actId="1076"/>
          <ac:grpSpMkLst>
            <pc:docMk/>
            <pc:sldMk cId="510654002" sldId="279"/>
            <ac:grpSpMk id="8" creationId="{E4159B3A-0B1D-AB73-A040-4F0E45FA3D95}"/>
          </ac:grpSpMkLst>
        </pc:grpChg>
        <pc:grpChg chg="mod">
          <ac:chgData name="Juan Sebastián Giraldo" userId="2f39d921-1805-4fcf-9d80-fe66aeb20d18" providerId="ADAL" clId="{AA2DACD2-8492-4FDF-80C8-DF0025ECC2B8}" dt="2025-05-30T08:51:03.941" v="6155" actId="1076"/>
          <ac:grpSpMkLst>
            <pc:docMk/>
            <pc:sldMk cId="510654002" sldId="279"/>
            <ac:grpSpMk id="25" creationId="{10860984-68F9-11F0-BD57-B9CEBCBB3FA3}"/>
          </ac:grpSpMkLst>
        </pc:grpChg>
        <pc:grpChg chg="mod">
          <ac:chgData name="Juan Sebastián Giraldo" userId="2f39d921-1805-4fcf-9d80-fe66aeb20d18" providerId="ADAL" clId="{AA2DACD2-8492-4FDF-80C8-DF0025ECC2B8}" dt="2025-05-30T08:50:19.101" v="6143" actId="1076"/>
          <ac:grpSpMkLst>
            <pc:docMk/>
            <pc:sldMk cId="510654002" sldId="279"/>
            <ac:grpSpMk id="30" creationId="{5F630FEB-59A8-795E-9EC7-B1E3BB7784E6}"/>
          </ac:grpSpMkLst>
        </pc:grpChg>
        <pc:cxnChg chg="mod">
          <ac:chgData name="Juan Sebastián Giraldo" userId="2f39d921-1805-4fcf-9d80-fe66aeb20d18" providerId="ADAL" clId="{AA2DACD2-8492-4FDF-80C8-DF0025ECC2B8}" dt="2025-05-30T08:50:19.101" v="6143" actId="1076"/>
          <ac:cxnSpMkLst>
            <pc:docMk/>
            <pc:sldMk cId="510654002" sldId="279"/>
            <ac:cxnSpMk id="45" creationId="{12ED89AA-86E5-5D76-F82E-7C8606BFBEBC}"/>
          </ac:cxnSpMkLst>
        </pc:cxnChg>
      </pc:sldChg>
      <pc:sldChg chg="addSp delSp modSp mod modShow">
        <pc:chgData name="Juan Sebastián Giraldo" userId="2f39d921-1805-4fcf-9d80-fe66aeb20d18" providerId="ADAL" clId="{AA2DACD2-8492-4FDF-80C8-DF0025ECC2B8}" dt="2025-05-29T15:16:43.656" v="4873" actId="729"/>
        <pc:sldMkLst>
          <pc:docMk/>
          <pc:sldMk cId="1379408851" sldId="280"/>
        </pc:sldMkLst>
        <pc:spChg chg="add mod">
          <ac:chgData name="Juan Sebastián Giraldo" userId="2f39d921-1805-4fcf-9d80-fe66aeb20d18" providerId="ADAL" clId="{AA2DACD2-8492-4FDF-80C8-DF0025ECC2B8}" dt="2025-05-29T13:01:55.116" v="4316" actId="790"/>
          <ac:spMkLst>
            <pc:docMk/>
            <pc:sldMk cId="1379408851" sldId="280"/>
            <ac:spMk id="3" creationId="{E19762D0-162F-D8DB-38EE-82FE869E5ABA}"/>
          </ac:spMkLst>
        </pc:spChg>
        <pc:graphicFrameChg chg="modGraphic">
          <ac:chgData name="Juan Sebastián Giraldo" userId="2f39d921-1805-4fcf-9d80-fe66aeb20d18" providerId="ADAL" clId="{AA2DACD2-8492-4FDF-80C8-DF0025ECC2B8}" dt="2025-05-29T13:01:55.116" v="4316" actId="790"/>
          <ac:graphicFrameMkLst>
            <pc:docMk/>
            <pc:sldMk cId="1379408851" sldId="280"/>
            <ac:graphicFrameMk id="5" creationId="{1129C7D4-D749-BBCD-15D8-1C209F958587}"/>
          </ac:graphicFrameMkLst>
        </pc:graphicFrameChg>
        <pc:picChg chg="add mod">
          <ac:chgData name="Juan Sebastián Giraldo" userId="2f39d921-1805-4fcf-9d80-fe66aeb20d18" providerId="ADAL" clId="{AA2DACD2-8492-4FDF-80C8-DF0025ECC2B8}" dt="2025-05-23T17:56:07.202" v="1133"/>
          <ac:picMkLst>
            <pc:docMk/>
            <pc:sldMk cId="1379408851" sldId="280"/>
            <ac:picMk id="4" creationId="{91E5EA75-8253-A313-FE81-094AA58949C7}"/>
          </ac:picMkLst>
        </pc:picChg>
      </pc:sldChg>
      <pc:sldChg chg="modSp add mod">
        <pc:chgData name="Juan Sebastián Giraldo" userId="2f39d921-1805-4fcf-9d80-fe66aeb20d18" providerId="ADAL" clId="{AA2DACD2-8492-4FDF-80C8-DF0025ECC2B8}" dt="2025-05-29T13:01:55.116" v="4316" actId="790"/>
        <pc:sldMkLst>
          <pc:docMk/>
          <pc:sldMk cId="3921957214" sldId="281"/>
        </pc:sldMkLst>
        <pc:spChg chg="mod">
          <ac:chgData name="Juan Sebastián Giraldo" userId="2f39d921-1805-4fcf-9d80-fe66aeb20d18" providerId="ADAL" clId="{AA2DACD2-8492-4FDF-80C8-DF0025ECC2B8}" dt="2025-05-29T13:01:55.116" v="4316" actId="790"/>
          <ac:spMkLst>
            <pc:docMk/>
            <pc:sldMk cId="3921957214" sldId="281"/>
            <ac:spMk id="2" creationId="{41DBB311-EEEB-E567-98DA-8B40B090FB9C}"/>
          </ac:spMkLst>
        </pc:spChg>
        <pc:spChg chg="mod">
          <ac:chgData name="Juan Sebastián Giraldo" userId="2f39d921-1805-4fcf-9d80-fe66aeb20d18" providerId="ADAL" clId="{AA2DACD2-8492-4FDF-80C8-DF0025ECC2B8}" dt="2025-05-29T13:01:55.116" v="4316" actId="790"/>
          <ac:spMkLst>
            <pc:docMk/>
            <pc:sldMk cId="3921957214" sldId="281"/>
            <ac:spMk id="5" creationId="{3ED40A91-52D2-0B1B-2B70-F739F5E53F7D}"/>
          </ac:spMkLst>
        </pc:spChg>
        <pc:spChg chg="mod">
          <ac:chgData name="Juan Sebastián Giraldo" userId="2f39d921-1805-4fcf-9d80-fe66aeb20d18" providerId="ADAL" clId="{AA2DACD2-8492-4FDF-80C8-DF0025ECC2B8}" dt="2025-05-29T13:01:55.116" v="4316" actId="790"/>
          <ac:spMkLst>
            <pc:docMk/>
            <pc:sldMk cId="3921957214" sldId="281"/>
            <ac:spMk id="6" creationId="{799DC2CA-8FE6-5985-75A8-81E5F973DC4B}"/>
          </ac:spMkLst>
        </pc:spChg>
        <pc:spChg chg="mod">
          <ac:chgData name="Juan Sebastián Giraldo" userId="2f39d921-1805-4fcf-9d80-fe66aeb20d18" providerId="ADAL" clId="{AA2DACD2-8492-4FDF-80C8-DF0025ECC2B8}" dt="2025-05-29T13:01:55.116" v="4316" actId="790"/>
          <ac:spMkLst>
            <pc:docMk/>
            <pc:sldMk cId="3921957214" sldId="281"/>
            <ac:spMk id="54" creationId="{E2257FE9-3AAA-FCB3-F93A-F550BC01CE8D}"/>
          </ac:spMkLst>
        </pc:spChg>
        <pc:picChg chg="mod">
          <ac:chgData name="Juan Sebastián Giraldo" userId="2f39d921-1805-4fcf-9d80-fe66aeb20d18" providerId="ADAL" clId="{AA2DACD2-8492-4FDF-80C8-DF0025ECC2B8}" dt="2025-05-27T11:35:02.347" v="2070" actId="14100"/>
          <ac:picMkLst>
            <pc:docMk/>
            <pc:sldMk cId="3921957214" sldId="281"/>
            <ac:picMk id="3" creationId="{1EA491C7-07C1-39FD-DF7B-05A2A7143021}"/>
          </ac:picMkLst>
        </pc:picChg>
        <pc:picChg chg="mod">
          <ac:chgData name="Juan Sebastián Giraldo" userId="2f39d921-1805-4fcf-9d80-fe66aeb20d18" providerId="ADAL" clId="{AA2DACD2-8492-4FDF-80C8-DF0025ECC2B8}" dt="2025-05-27T11:34:59.501" v="2069" actId="14100"/>
          <ac:picMkLst>
            <pc:docMk/>
            <pc:sldMk cId="3921957214" sldId="281"/>
            <ac:picMk id="11" creationId="{18BB910B-9359-3821-2019-F005562D5821}"/>
          </ac:picMkLst>
        </pc:picChg>
      </pc:sldChg>
      <pc:sldChg chg="addSp delSp modSp mod">
        <pc:chgData name="Juan Sebastián Giraldo" userId="2f39d921-1805-4fcf-9d80-fe66aeb20d18" providerId="ADAL" clId="{AA2DACD2-8492-4FDF-80C8-DF0025ECC2B8}" dt="2025-05-29T13:01:55.116" v="4316" actId="790"/>
        <pc:sldMkLst>
          <pc:docMk/>
          <pc:sldMk cId="2578471178" sldId="282"/>
        </pc:sldMkLst>
        <pc:spChg chg="add mod">
          <ac:chgData name="Juan Sebastián Giraldo" userId="2f39d921-1805-4fcf-9d80-fe66aeb20d18" providerId="ADAL" clId="{AA2DACD2-8492-4FDF-80C8-DF0025ECC2B8}" dt="2025-05-29T13:01:55.116" v="4316" actId="790"/>
          <ac:spMkLst>
            <pc:docMk/>
            <pc:sldMk cId="2578471178" sldId="282"/>
            <ac:spMk id="5" creationId="{27501605-BCFF-237B-6231-3F69BBBB669F}"/>
          </ac:spMkLst>
        </pc:spChg>
        <pc:picChg chg="add mod">
          <ac:chgData name="Juan Sebastián Giraldo" userId="2f39d921-1805-4fcf-9d80-fe66aeb20d18" providerId="ADAL" clId="{AA2DACD2-8492-4FDF-80C8-DF0025ECC2B8}" dt="2025-05-23T17:56:17.189" v="1135"/>
          <ac:picMkLst>
            <pc:docMk/>
            <pc:sldMk cId="2578471178" sldId="282"/>
            <ac:picMk id="6" creationId="{2EE9F49B-15D2-A744-4DAF-EE974E5025A9}"/>
          </ac:picMkLst>
        </pc:picChg>
      </pc:sldChg>
      <pc:sldChg chg="addSp delSp modSp add mod modShow">
        <pc:chgData name="Juan Sebastián Giraldo" userId="2f39d921-1805-4fcf-9d80-fe66aeb20d18" providerId="ADAL" clId="{AA2DACD2-8492-4FDF-80C8-DF0025ECC2B8}" dt="2025-05-29T15:19:19.393" v="4900" actId="729"/>
        <pc:sldMkLst>
          <pc:docMk/>
          <pc:sldMk cId="4023822449" sldId="288"/>
        </pc:sldMkLst>
        <pc:spChg chg="add mod">
          <ac:chgData name="Juan Sebastián Giraldo" userId="2f39d921-1805-4fcf-9d80-fe66aeb20d18" providerId="ADAL" clId="{AA2DACD2-8492-4FDF-80C8-DF0025ECC2B8}" dt="2025-05-29T13:01:55.116" v="4316" actId="790"/>
          <ac:spMkLst>
            <pc:docMk/>
            <pc:sldMk cId="4023822449" sldId="288"/>
            <ac:spMk id="2" creationId="{8C9994E9-159C-D1CD-9AC0-4AFE884FFD22}"/>
          </ac:spMkLst>
        </pc:spChg>
        <pc:spChg chg="mod">
          <ac:chgData name="Juan Sebastián Giraldo" userId="2f39d921-1805-4fcf-9d80-fe66aeb20d18" providerId="ADAL" clId="{AA2DACD2-8492-4FDF-80C8-DF0025ECC2B8}" dt="2025-05-29T13:01:55.116" v="4316" actId="790"/>
          <ac:spMkLst>
            <pc:docMk/>
            <pc:sldMk cId="4023822449" sldId="288"/>
            <ac:spMk id="5" creationId="{4A9AE6A4-2D12-64AF-194D-CD7A0F308E73}"/>
          </ac:spMkLst>
        </pc:spChg>
        <pc:spChg chg="mod">
          <ac:chgData name="Juan Sebastián Giraldo" userId="2f39d921-1805-4fcf-9d80-fe66aeb20d18" providerId="ADAL" clId="{AA2DACD2-8492-4FDF-80C8-DF0025ECC2B8}" dt="2025-05-29T13:01:55.116" v="4316" actId="790"/>
          <ac:spMkLst>
            <pc:docMk/>
            <pc:sldMk cId="4023822449" sldId="288"/>
            <ac:spMk id="14" creationId="{FC38963E-4D8A-9B20-A08F-65ACC63268B6}"/>
          </ac:spMkLst>
        </pc:spChg>
        <pc:spChg chg="mod">
          <ac:chgData name="Juan Sebastián Giraldo" userId="2f39d921-1805-4fcf-9d80-fe66aeb20d18" providerId="ADAL" clId="{AA2DACD2-8492-4FDF-80C8-DF0025ECC2B8}" dt="2025-05-29T13:01:55.116" v="4316" actId="790"/>
          <ac:spMkLst>
            <pc:docMk/>
            <pc:sldMk cId="4023822449" sldId="288"/>
            <ac:spMk id="15" creationId="{9A432494-9F65-F80D-56FE-1207D9D8292F}"/>
          </ac:spMkLst>
        </pc:spChg>
        <pc:spChg chg="mod">
          <ac:chgData name="Juan Sebastián Giraldo" userId="2f39d921-1805-4fcf-9d80-fe66aeb20d18" providerId="ADAL" clId="{AA2DACD2-8492-4FDF-80C8-DF0025ECC2B8}" dt="2025-05-29T13:01:55.116" v="4316" actId="790"/>
          <ac:spMkLst>
            <pc:docMk/>
            <pc:sldMk cId="4023822449" sldId="288"/>
            <ac:spMk id="16" creationId="{48CCE8D0-5D06-6B0E-74CF-1082BF9695CD}"/>
          </ac:spMkLst>
        </pc:spChg>
        <pc:spChg chg="mod">
          <ac:chgData name="Juan Sebastián Giraldo" userId="2f39d921-1805-4fcf-9d80-fe66aeb20d18" providerId="ADAL" clId="{AA2DACD2-8492-4FDF-80C8-DF0025ECC2B8}" dt="2025-05-29T13:01:55.116" v="4316" actId="790"/>
          <ac:spMkLst>
            <pc:docMk/>
            <pc:sldMk cId="4023822449" sldId="288"/>
            <ac:spMk id="17" creationId="{8F147508-855C-5C1F-5A03-6B666763B8FF}"/>
          </ac:spMkLst>
        </pc:spChg>
        <pc:spChg chg="mod">
          <ac:chgData name="Juan Sebastián Giraldo" userId="2f39d921-1805-4fcf-9d80-fe66aeb20d18" providerId="ADAL" clId="{AA2DACD2-8492-4FDF-80C8-DF0025ECC2B8}" dt="2025-05-29T13:01:55.116" v="4316" actId="790"/>
          <ac:spMkLst>
            <pc:docMk/>
            <pc:sldMk cId="4023822449" sldId="288"/>
            <ac:spMk id="18" creationId="{75707B57-78C6-E060-5D0E-C5A8B73D112A}"/>
          </ac:spMkLst>
        </pc:spChg>
        <pc:spChg chg="mod">
          <ac:chgData name="Juan Sebastián Giraldo" userId="2f39d921-1805-4fcf-9d80-fe66aeb20d18" providerId="ADAL" clId="{AA2DACD2-8492-4FDF-80C8-DF0025ECC2B8}" dt="2025-05-29T13:01:55.116" v="4316" actId="790"/>
          <ac:spMkLst>
            <pc:docMk/>
            <pc:sldMk cId="4023822449" sldId="288"/>
            <ac:spMk id="19" creationId="{F942D1C5-EA6C-81DE-BA38-87D7C505EF05}"/>
          </ac:spMkLst>
        </pc:spChg>
        <pc:spChg chg="mod">
          <ac:chgData name="Juan Sebastián Giraldo" userId="2f39d921-1805-4fcf-9d80-fe66aeb20d18" providerId="ADAL" clId="{AA2DACD2-8492-4FDF-80C8-DF0025ECC2B8}" dt="2025-05-29T13:01:55.116" v="4316" actId="790"/>
          <ac:spMkLst>
            <pc:docMk/>
            <pc:sldMk cId="4023822449" sldId="288"/>
            <ac:spMk id="24" creationId="{8E6ECEAA-B3A8-25F3-0CEA-C7973E34572E}"/>
          </ac:spMkLst>
        </pc:spChg>
        <pc:spChg chg="mod">
          <ac:chgData name="Juan Sebastián Giraldo" userId="2f39d921-1805-4fcf-9d80-fe66aeb20d18" providerId="ADAL" clId="{AA2DACD2-8492-4FDF-80C8-DF0025ECC2B8}" dt="2025-05-29T13:01:55.116" v="4316" actId="790"/>
          <ac:spMkLst>
            <pc:docMk/>
            <pc:sldMk cId="4023822449" sldId="288"/>
            <ac:spMk id="25" creationId="{F1A942CF-F452-738F-BDFE-8A7DF42AFB12}"/>
          </ac:spMkLst>
        </pc:spChg>
      </pc:sldChg>
      <pc:sldChg chg="modSp mod">
        <pc:chgData name="Juan Sebastián Giraldo" userId="2f39d921-1805-4fcf-9d80-fe66aeb20d18" providerId="ADAL" clId="{AA2DACD2-8492-4FDF-80C8-DF0025ECC2B8}" dt="2025-05-29T13:01:55.116" v="4316" actId="790"/>
        <pc:sldMkLst>
          <pc:docMk/>
          <pc:sldMk cId="488792753" sldId="7051"/>
        </pc:sldMkLst>
        <pc:spChg chg="mod">
          <ac:chgData name="Juan Sebastián Giraldo" userId="2f39d921-1805-4fcf-9d80-fe66aeb20d18" providerId="ADAL" clId="{AA2DACD2-8492-4FDF-80C8-DF0025ECC2B8}" dt="2025-05-29T13:01:55.116" v="4316" actId="790"/>
          <ac:spMkLst>
            <pc:docMk/>
            <pc:sldMk cId="488792753" sldId="7051"/>
            <ac:spMk id="290" creationId="{57457A34-D5E3-74EC-056D-86CFC857AB50}"/>
          </ac:spMkLst>
        </pc:spChg>
        <pc:spChg chg="mod">
          <ac:chgData name="Juan Sebastián Giraldo" userId="2f39d921-1805-4fcf-9d80-fe66aeb20d18" providerId="ADAL" clId="{AA2DACD2-8492-4FDF-80C8-DF0025ECC2B8}" dt="2025-05-29T13:01:55.116" v="4316" actId="790"/>
          <ac:spMkLst>
            <pc:docMk/>
            <pc:sldMk cId="488792753" sldId="7051"/>
            <ac:spMk id="291" creationId="{9180F3B6-CC0C-AB0D-F8F5-605C2E0239EF}"/>
          </ac:spMkLst>
        </pc:spChg>
      </pc:sldChg>
      <pc:sldChg chg="addSp delSp modSp mod ord">
        <pc:chgData name="Juan Sebastián Giraldo" userId="2f39d921-1805-4fcf-9d80-fe66aeb20d18" providerId="ADAL" clId="{AA2DACD2-8492-4FDF-80C8-DF0025ECC2B8}" dt="2025-05-29T13:01:55.116" v="4316" actId="790"/>
        <pc:sldMkLst>
          <pc:docMk/>
          <pc:sldMk cId="3490650167" sldId="2146848955"/>
        </pc:sldMkLst>
        <pc:spChg chg="mod">
          <ac:chgData name="Juan Sebastián Giraldo" userId="2f39d921-1805-4fcf-9d80-fe66aeb20d18" providerId="ADAL" clId="{AA2DACD2-8492-4FDF-80C8-DF0025ECC2B8}" dt="2025-05-29T13:01:55.116" v="4316" actId="790"/>
          <ac:spMkLst>
            <pc:docMk/>
            <pc:sldMk cId="3490650167" sldId="2146848955"/>
            <ac:spMk id="3" creationId="{F9FFE663-094B-48B6-1262-59EE7AE5F1A0}"/>
          </ac:spMkLst>
        </pc:spChg>
        <pc:spChg chg="mod">
          <ac:chgData name="Juan Sebastián Giraldo" userId="2f39d921-1805-4fcf-9d80-fe66aeb20d18" providerId="ADAL" clId="{AA2DACD2-8492-4FDF-80C8-DF0025ECC2B8}" dt="2025-05-29T13:01:55.116" v="4316" actId="790"/>
          <ac:spMkLst>
            <pc:docMk/>
            <pc:sldMk cId="3490650167" sldId="2146848955"/>
            <ac:spMk id="4" creationId="{0CB452B5-1F42-AEF1-3FC9-79307197D549}"/>
          </ac:spMkLst>
        </pc:spChg>
        <pc:spChg chg="mod">
          <ac:chgData name="Juan Sebastián Giraldo" userId="2f39d921-1805-4fcf-9d80-fe66aeb20d18" providerId="ADAL" clId="{AA2DACD2-8492-4FDF-80C8-DF0025ECC2B8}" dt="2025-05-29T13:01:55.116" v="4316" actId="790"/>
          <ac:spMkLst>
            <pc:docMk/>
            <pc:sldMk cId="3490650167" sldId="2146848955"/>
            <ac:spMk id="5" creationId="{A0DED334-7EE7-1231-71F5-67441D270FBE}"/>
          </ac:spMkLst>
        </pc:spChg>
        <pc:spChg chg="mod">
          <ac:chgData name="Juan Sebastián Giraldo" userId="2f39d921-1805-4fcf-9d80-fe66aeb20d18" providerId="ADAL" clId="{AA2DACD2-8492-4FDF-80C8-DF0025ECC2B8}" dt="2025-05-27T11:33:20.704" v="2059" actId="790"/>
          <ac:spMkLst>
            <pc:docMk/>
            <pc:sldMk cId="3490650167" sldId="2146848955"/>
            <ac:spMk id="7" creationId="{1857EA36-F26C-607B-FA4A-90F7B48B4887}"/>
          </ac:spMkLst>
        </pc:spChg>
        <pc:spChg chg="mod">
          <ac:chgData name="Juan Sebastián Giraldo" userId="2f39d921-1805-4fcf-9d80-fe66aeb20d18" providerId="ADAL" clId="{AA2DACD2-8492-4FDF-80C8-DF0025ECC2B8}" dt="2025-05-29T13:01:55.116" v="4316" actId="790"/>
          <ac:spMkLst>
            <pc:docMk/>
            <pc:sldMk cId="3490650167" sldId="2146848955"/>
            <ac:spMk id="8" creationId="{7BDB557D-C5DA-4537-D853-3004244BFE44}"/>
          </ac:spMkLst>
        </pc:spChg>
        <pc:spChg chg="mod">
          <ac:chgData name="Juan Sebastián Giraldo" userId="2f39d921-1805-4fcf-9d80-fe66aeb20d18" providerId="ADAL" clId="{AA2DACD2-8492-4FDF-80C8-DF0025ECC2B8}" dt="2025-05-29T13:01:55.116" v="4316" actId="790"/>
          <ac:spMkLst>
            <pc:docMk/>
            <pc:sldMk cId="3490650167" sldId="2146848955"/>
            <ac:spMk id="10" creationId="{9F6DE6E6-078A-94D8-956A-5D882D51C207}"/>
          </ac:spMkLst>
        </pc:spChg>
        <pc:spChg chg="mod">
          <ac:chgData name="Juan Sebastián Giraldo" userId="2f39d921-1805-4fcf-9d80-fe66aeb20d18" providerId="ADAL" clId="{AA2DACD2-8492-4FDF-80C8-DF0025ECC2B8}" dt="2025-05-29T13:01:55.116" v="4316" actId="790"/>
          <ac:spMkLst>
            <pc:docMk/>
            <pc:sldMk cId="3490650167" sldId="2146848955"/>
            <ac:spMk id="12" creationId="{9929F61E-2A82-41F4-A91F-7F229B67701C}"/>
          </ac:spMkLst>
        </pc:spChg>
        <pc:spChg chg="add mod">
          <ac:chgData name="Juan Sebastián Giraldo" userId="2f39d921-1805-4fcf-9d80-fe66aeb20d18" providerId="ADAL" clId="{AA2DACD2-8492-4FDF-80C8-DF0025ECC2B8}" dt="2025-05-29T13:01:55.116" v="4316" actId="790"/>
          <ac:spMkLst>
            <pc:docMk/>
            <pc:sldMk cId="3490650167" sldId="2146848955"/>
            <ac:spMk id="15" creationId="{84EA5D60-840D-9E31-BFE0-73EAF803041C}"/>
          </ac:spMkLst>
        </pc:spChg>
        <pc:spChg chg="mod">
          <ac:chgData name="Juan Sebastián Giraldo" userId="2f39d921-1805-4fcf-9d80-fe66aeb20d18" providerId="ADAL" clId="{AA2DACD2-8492-4FDF-80C8-DF0025ECC2B8}" dt="2025-05-29T13:01:55.116" v="4316" actId="790"/>
          <ac:spMkLst>
            <pc:docMk/>
            <pc:sldMk cId="3490650167" sldId="2146848955"/>
            <ac:spMk id="34" creationId="{6DAC8B2A-FBAB-3A24-C6AD-27E197499905}"/>
          </ac:spMkLst>
        </pc:spChg>
        <pc:spChg chg="mod">
          <ac:chgData name="Juan Sebastián Giraldo" userId="2f39d921-1805-4fcf-9d80-fe66aeb20d18" providerId="ADAL" clId="{AA2DACD2-8492-4FDF-80C8-DF0025ECC2B8}" dt="2025-05-29T13:01:55.116" v="4316" actId="790"/>
          <ac:spMkLst>
            <pc:docMk/>
            <pc:sldMk cId="3490650167" sldId="2146848955"/>
            <ac:spMk id="3346" creationId="{00000000-0000-0000-0000-000000000000}"/>
          </ac:spMkLst>
        </pc:spChg>
        <pc:spChg chg="mod">
          <ac:chgData name="Juan Sebastián Giraldo" userId="2f39d921-1805-4fcf-9d80-fe66aeb20d18" providerId="ADAL" clId="{AA2DACD2-8492-4FDF-80C8-DF0025ECC2B8}" dt="2025-05-29T13:01:55.116" v="4316" actId="790"/>
          <ac:spMkLst>
            <pc:docMk/>
            <pc:sldMk cId="3490650167" sldId="2146848955"/>
            <ac:spMk id="3347" creationId="{00000000-0000-0000-0000-000000000000}"/>
          </ac:spMkLst>
        </pc:spChg>
        <pc:picChg chg="add mod">
          <ac:chgData name="Juan Sebastián Giraldo" userId="2f39d921-1805-4fcf-9d80-fe66aeb20d18" providerId="ADAL" clId="{AA2DACD2-8492-4FDF-80C8-DF0025ECC2B8}" dt="2025-05-23T17:56:27.012" v="1137"/>
          <ac:picMkLst>
            <pc:docMk/>
            <pc:sldMk cId="3490650167" sldId="2146848955"/>
            <ac:picMk id="16" creationId="{783E8CCD-121D-C136-CBA5-50FDCF55177F}"/>
          </ac:picMkLst>
        </pc:picChg>
      </pc:sldChg>
      <pc:sldChg chg="modSp mod modShow">
        <pc:chgData name="Juan Sebastián Giraldo" userId="2f39d921-1805-4fcf-9d80-fe66aeb20d18" providerId="ADAL" clId="{AA2DACD2-8492-4FDF-80C8-DF0025ECC2B8}" dt="2025-05-29T13:01:55.116" v="4316" actId="790"/>
        <pc:sldMkLst>
          <pc:docMk/>
          <pc:sldMk cId="1832559622" sldId="2146849364"/>
        </pc:sldMkLst>
        <pc:spChg chg="mod">
          <ac:chgData name="Juan Sebastián Giraldo" userId="2f39d921-1805-4fcf-9d80-fe66aeb20d18" providerId="ADAL" clId="{AA2DACD2-8492-4FDF-80C8-DF0025ECC2B8}" dt="2025-05-23T17:48:04.314" v="1030" actId="790"/>
          <ac:spMkLst>
            <pc:docMk/>
            <pc:sldMk cId="1832559622" sldId="2146849364"/>
            <ac:spMk id="3" creationId="{E59FCECA-71F1-EB77-3E8D-EAD9BFC573E4}"/>
          </ac:spMkLst>
        </pc:spChg>
        <pc:spChg chg="mod">
          <ac:chgData name="Juan Sebastián Giraldo" userId="2f39d921-1805-4fcf-9d80-fe66aeb20d18" providerId="ADAL" clId="{AA2DACD2-8492-4FDF-80C8-DF0025ECC2B8}" dt="2025-05-23T17:48:04.314" v="1030" actId="790"/>
          <ac:spMkLst>
            <pc:docMk/>
            <pc:sldMk cId="1832559622" sldId="2146849364"/>
            <ac:spMk id="5" creationId="{5923EEEF-1766-2F74-DDE6-B4111378DECC}"/>
          </ac:spMkLst>
        </pc:spChg>
        <pc:spChg chg="mod">
          <ac:chgData name="Juan Sebastián Giraldo" userId="2f39d921-1805-4fcf-9d80-fe66aeb20d18" providerId="ADAL" clId="{AA2DACD2-8492-4FDF-80C8-DF0025ECC2B8}" dt="2025-05-27T11:33:20.704" v="2059" actId="790"/>
          <ac:spMkLst>
            <pc:docMk/>
            <pc:sldMk cId="1832559622" sldId="2146849364"/>
            <ac:spMk id="6" creationId="{B45C77BD-3985-3ED2-3140-DB7FAC4ECE75}"/>
          </ac:spMkLst>
        </pc:spChg>
        <pc:spChg chg="mod">
          <ac:chgData name="Juan Sebastián Giraldo" userId="2f39d921-1805-4fcf-9d80-fe66aeb20d18" providerId="ADAL" clId="{AA2DACD2-8492-4FDF-80C8-DF0025ECC2B8}" dt="2025-05-27T11:33:20.704" v="2059" actId="790"/>
          <ac:spMkLst>
            <pc:docMk/>
            <pc:sldMk cId="1832559622" sldId="2146849364"/>
            <ac:spMk id="18" creationId="{E058D063-ED89-63DB-AC64-FEC77FDB94A9}"/>
          </ac:spMkLst>
        </pc:spChg>
        <pc:spChg chg="mod">
          <ac:chgData name="Juan Sebastián Giraldo" userId="2f39d921-1805-4fcf-9d80-fe66aeb20d18" providerId="ADAL" clId="{AA2DACD2-8492-4FDF-80C8-DF0025ECC2B8}" dt="2025-05-27T11:33:20.704" v="2059" actId="790"/>
          <ac:spMkLst>
            <pc:docMk/>
            <pc:sldMk cId="1832559622" sldId="2146849364"/>
            <ac:spMk id="30" creationId="{CA56160A-A805-2722-22B6-C9ADF6B8C666}"/>
          </ac:spMkLst>
        </pc:spChg>
        <pc:spChg chg="mod">
          <ac:chgData name="Juan Sebastián Giraldo" userId="2f39d921-1805-4fcf-9d80-fe66aeb20d18" providerId="ADAL" clId="{AA2DACD2-8492-4FDF-80C8-DF0025ECC2B8}" dt="2025-05-29T13:01:55.116" v="4316" actId="790"/>
          <ac:spMkLst>
            <pc:docMk/>
            <pc:sldMk cId="1832559622" sldId="2146849364"/>
            <ac:spMk id="31" creationId="{3E1BFB19-1AB0-2877-0F30-C92E77E4FDA2}"/>
          </ac:spMkLst>
        </pc:spChg>
        <pc:spChg chg="mod">
          <ac:chgData name="Juan Sebastián Giraldo" userId="2f39d921-1805-4fcf-9d80-fe66aeb20d18" providerId="ADAL" clId="{AA2DACD2-8492-4FDF-80C8-DF0025ECC2B8}" dt="2025-05-29T13:01:55.116" v="4316" actId="790"/>
          <ac:spMkLst>
            <pc:docMk/>
            <pc:sldMk cId="1832559622" sldId="2146849364"/>
            <ac:spMk id="47" creationId="{47848252-A909-2FAD-9F95-13EDB59EE963}"/>
          </ac:spMkLst>
        </pc:spChg>
        <pc:spChg chg="mod">
          <ac:chgData name="Juan Sebastián Giraldo" userId="2f39d921-1805-4fcf-9d80-fe66aeb20d18" providerId="ADAL" clId="{AA2DACD2-8492-4FDF-80C8-DF0025ECC2B8}" dt="2025-05-29T13:01:55.116" v="4316" actId="790"/>
          <ac:spMkLst>
            <pc:docMk/>
            <pc:sldMk cId="1832559622" sldId="2146849364"/>
            <ac:spMk id="48" creationId="{2EB73836-2C42-4219-3B4E-FDF3F631E625}"/>
          </ac:spMkLst>
        </pc:spChg>
        <pc:spChg chg="mod">
          <ac:chgData name="Juan Sebastián Giraldo" userId="2f39d921-1805-4fcf-9d80-fe66aeb20d18" providerId="ADAL" clId="{AA2DACD2-8492-4FDF-80C8-DF0025ECC2B8}" dt="2025-05-23T17:48:04.314" v="1030" actId="790"/>
          <ac:spMkLst>
            <pc:docMk/>
            <pc:sldMk cId="1832559622" sldId="2146849364"/>
            <ac:spMk id="49" creationId="{B9FF11EC-80E7-0A1A-1C4B-8A649A941CBA}"/>
          </ac:spMkLst>
        </pc:spChg>
        <pc:spChg chg="mod">
          <ac:chgData name="Juan Sebastián Giraldo" userId="2f39d921-1805-4fcf-9d80-fe66aeb20d18" providerId="ADAL" clId="{AA2DACD2-8492-4FDF-80C8-DF0025ECC2B8}" dt="2025-05-27T11:33:20.704" v="2059" actId="790"/>
          <ac:spMkLst>
            <pc:docMk/>
            <pc:sldMk cId="1832559622" sldId="2146849364"/>
            <ac:spMk id="53" creationId="{1E83ECE3-3E51-C26C-EFE6-6C8A9B4A323A}"/>
          </ac:spMkLst>
        </pc:spChg>
        <pc:spChg chg="mod">
          <ac:chgData name="Juan Sebastián Giraldo" userId="2f39d921-1805-4fcf-9d80-fe66aeb20d18" providerId="ADAL" clId="{AA2DACD2-8492-4FDF-80C8-DF0025ECC2B8}" dt="2025-05-27T11:33:20.704" v="2059" actId="790"/>
          <ac:spMkLst>
            <pc:docMk/>
            <pc:sldMk cId="1832559622" sldId="2146849364"/>
            <ac:spMk id="56" creationId="{6ADAF7D9-BBA0-5DE6-A22A-41301F91479C}"/>
          </ac:spMkLst>
        </pc:spChg>
        <pc:spChg chg="mod">
          <ac:chgData name="Juan Sebastián Giraldo" userId="2f39d921-1805-4fcf-9d80-fe66aeb20d18" providerId="ADAL" clId="{AA2DACD2-8492-4FDF-80C8-DF0025ECC2B8}" dt="2025-05-27T11:33:20.704" v="2059" actId="790"/>
          <ac:spMkLst>
            <pc:docMk/>
            <pc:sldMk cId="1832559622" sldId="2146849364"/>
            <ac:spMk id="65" creationId="{6C4EFD98-8FCD-4517-32F4-5A9628D413DA}"/>
          </ac:spMkLst>
        </pc:spChg>
        <pc:spChg chg="mod">
          <ac:chgData name="Juan Sebastián Giraldo" userId="2f39d921-1805-4fcf-9d80-fe66aeb20d18" providerId="ADAL" clId="{AA2DACD2-8492-4FDF-80C8-DF0025ECC2B8}" dt="2025-05-29T13:01:55.116" v="4316" actId="790"/>
          <ac:spMkLst>
            <pc:docMk/>
            <pc:sldMk cId="1832559622" sldId="2146849364"/>
            <ac:spMk id="66" creationId="{2464473C-9234-D02E-F932-A8AE94689053}"/>
          </ac:spMkLst>
        </pc:spChg>
        <pc:spChg chg="mod">
          <ac:chgData name="Juan Sebastián Giraldo" userId="2f39d921-1805-4fcf-9d80-fe66aeb20d18" providerId="ADAL" clId="{AA2DACD2-8492-4FDF-80C8-DF0025ECC2B8}" dt="2025-05-29T13:01:55.116" v="4316" actId="790"/>
          <ac:spMkLst>
            <pc:docMk/>
            <pc:sldMk cId="1832559622" sldId="2146849364"/>
            <ac:spMk id="72" creationId="{BF44FCF7-3C62-3F66-AE0D-C60BC5D3C085}"/>
          </ac:spMkLst>
        </pc:spChg>
        <pc:spChg chg="mod">
          <ac:chgData name="Juan Sebastián Giraldo" userId="2f39d921-1805-4fcf-9d80-fe66aeb20d18" providerId="ADAL" clId="{AA2DACD2-8492-4FDF-80C8-DF0025ECC2B8}" dt="2025-05-29T13:01:55.116" v="4316" actId="790"/>
          <ac:spMkLst>
            <pc:docMk/>
            <pc:sldMk cId="1832559622" sldId="2146849364"/>
            <ac:spMk id="80" creationId="{A8A52327-8A70-8655-D9CC-7340BB7715B4}"/>
          </ac:spMkLst>
        </pc:spChg>
        <pc:spChg chg="mod">
          <ac:chgData name="Juan Sebastián Giraldo" userId="2f39d921-1805-4fcf-9d80-fe66aeb20d18" providerId="ADAL" clId="{AA2DACD2-8492-4FDF-80C8-DF0025ECC2B8}" dt="2025-05-27T11:33:20.704" v="2059" actId="790"/>
          <ac:spMkLst>
            <pc:docMk/>
            <pc:sldMk cId="1832559622" sldId="2146849364"/>
            <ac:spMk id="84" creationId="{BC3E2602-394C-4ECA-9FE5-D1E3F3ED087D}"/>
          </ac:spMkLst>
        </pc:spChg>
        <pc:spChg chg="mod">
          <ac:chgData name="Juan Sebastián Giraldo" userId="2f39d921-1805-4fcf-9d80-fe66aeb20d18" providerId="ADAL" clId="{AA2DACD2-8492-4FDF-80C8-DF0025ECC2B8}" dt="2025-05-29T13:01:55.116" v="4316" actId="790"/>
          <ac:spMkLst>
            <pc:docMk/>
            <pc:sldMk cId="1832559622" sldId="2146849364"/>
            <ac:spMk id="85" creationId="{B2B54DD7-63CB-5C42-99F4-CC0A5D837206}"/>
          </ac:spMkLst>
        </pc:spChg>
        <pc:spChg chg="mod">
          <ac:chgData name="Juan Sebastián Giraldo" userId="2f39d921-1805-4fcf-9d80-fe66aeb20d18" providerId="ADAL" clId="{AA2DACD2-8492-4FDF-80C8-DF0025ECC2B8}" dt="2025-05-23T17:48:04.314" v="1030" actId="790"/>
          <ac:spMkLst>
            <pc:docMk/>
            <pc:sldMk cId="1832559622" sldId="2146849364"/>
            <ac:spMk id="87" creationId="{53672515-0CCB-B86D-23D2-9C95E867B56F}"/>
          </ac:spMkLst>
        </pc:spChg>
        <pc:spChg chg="mod">
          <ac:chgData name="Juan Sebastián Giraldo" userId="2f39d921-1805-4fcf-9d80-fe66aeb20d18" providerId="ADAL" clId="{AA2DACD2-8492-4FDF-80C8-DF0025ECC2B8}" dt="2025-05-29T13:01:55.116" v="4316" actId="790"/>
          <ac:spMkLst>
            <pc:docMk/>
            <pc:sldMk cId="1832559622" sldId="2146849364"/>
            <ac:spMk id="94" creationId="{7F625ED1-17AB-D6A0-8BBD-567CF408C9F6}"/>
          </ac:spMkLst>
        </pc:spChg>
        <pc:spChg chg="mod">
          <ac:chgData name="Juan Sebastián Giraldo" userId="2f39d921-1805-4fcf-9d80-fe66aeb20d18" providerId="ADAL" clId="{AA2DACD2-8492-4FDF-80C8-DF0025ECC2B8}" dt="2025-05-23T17:48:04.314" v="1030" actId="790"/>
          <ac:spMkLst>
            <pc:docMk/>
            <pc:sldMk cId="1832559622" sldId="2146849364"/>
            <ac:spMk id="100" creationId="{FCB775A0-A643-E557-6064-89411B6AA2C5}"/>
          </ac:spMkLst>
        </pc:spChg>
        <pc:spChg chg="mod">
          <ac:chgData name="Juan Sebastián Giraldo" userId="2f39d921-1805-4fcf-9d80-fe66aeb20d18" providerId="ADAL" clId="{AA2DACD2-8492-4FDF-80C8-DF0025ECC2B8}" dt="2025-05-29T13:01:55.116" v="4316" actId="790"/>
          <ac:spMkLst>
            <pc:docMk/>
            <pc:sldMk cId="1832559622" sldId="2146849364"/>
            <ac:spMk id="107" creationId="{D5DC5BDD-22BE-9CED-B20C-193158AA1133}"/>
          </ac:spMkLst>
        </pc:spChg>
        <pc:spChg chg="mod">
          <ac:chgData name="Juan Sebastián Giraldo" userId="2f39d921-1805-4fcf-9d80-fe66aeb20d18" providerId="ADAL" clId="{AA2DACD2-8492-4FDF-80C8-DF0025ECC2B8}" dt="2025-05-23T17:48:04.314" v="1030" actId="790"/>
          <ac:spMkLst>
            <pc:docMk/>
            <pc:sldMk cId="1832559622" sldId="2146849364"/>
            <ac:spMk id="109" creationId="{9A9245D6-E794-C7B5-09CF-797A9358C6FC}"/>
          </ac:spMkLst>
        </pc:spChg>
        <pc:spChg chg="mod">
          <ac:chgData name="Juan Sebastián Giraldo" userId="2f39d921-1805-4fcf-9d80-fe66aeb20d18" providerId="ADAL" clId="{AA2DACD2-8492-4FDF-80C8-DF0025ECC2B8}" dt="2025-05-23T17:48:04.314" v="1030" actId="790"/>
          <ac:spMkLst>
            <pc:docMk/>
            <pc:sldMk cId="1832559622" sldId="2146849364"/>
            <ac:spMk id="117" creationId="{06FEA0CC-F922-0066-6472-D4B98D65183B}"/>
          </ac:spMkLst>
        </pc:spChg>
        <pc:spChg chg="mod">
          <ac:chgData name="Juan Sebastián Giraldo" userId="2f39d921-1805-4fcf-9d80-fe66aeb20d18" providerId="ADAL" clId="{AA2DACD2-8492-4FDF-80C8-DF0025ECC2B8}" dt="2025-05-27T11:33:20.704" v="2059" actId="790"/>
          <ac:spMkLst>
            <pc:docMk/>
            <pc:sldMk cId="1832559622" sldId="2146849364"/>
            <ac:spMk id="119" creationId="{8705878D-56A1-223F-0AE1-10A8E45D9FC4}"/>
          </ac:spMkLst>
        </pc:spChg>
        <pc:spChg chg="mod">
          <ac:chgData name="Juan Sebastián Giraldo" userId="2f39d921-1805-4fcf-9d80-fe66aeb20d18" providerId="ADAL" clId="{AA2DACD2-8492-4FDF-80C8-DF0025ECC2B8}" dt="2025-05-23T17:48:04.314" v="1030" actId="790"/>
          <ac:spMkLst>
            <pc:docMk/>
            <pc:sldMk cId="1832559622" sldId="2146849364"/>
            <ac:spMk id="134" creationId="{73502252-8576-846C-BDED-3933EC6312FE}"/>
          </ac:spMkLst>
        </pc:spChg>
        <pc:spChg chg="mod">
          <ac:chgData name="Juan Sebastián Giraldo" userId="2f39d921-1805-4fcf-9d80-fe66aeb20d18" providerId="ADAL" clId="{AA2DACD2-8492-4FDF-80C8-DF0025ECC2B8}" dt="2025-05-29T13:01:55.116" v="4316" actId="790"/>
          <ac:spMkLst>
            <pc:docMk/>
            <pc:sldMk cId="1832559622" sldId="2146849364"/>
            <ac:spMk id="145" creationId="{66458716-50CC-D80D-3CB6-3C5A3B5972B2}"/>
          </ac:spMkLst>
        </pc:spChg>
        <pc:spChg chg="mod">
          <ac:chgData name="Juan Sebastián Giraldo" userId="2f39d921-1805-4fcf-9d80-fe66aeb20d18" providerId="ADAL" clId="{AA2DACD2-8492-4FDF-80C8-DF0025ECC2B8}" dt="2025-05-27T11:33:20.704" v="2059" actId="790"/>
          <ac:spMkLst>
            <pc:docMk/>
            <pc:sldMk cId="1832559622" sldId="2146849364"/>
            <ac:spMk id="151" creationId="{B9F83D63-D559-0BF6-DD95-65A6E072A5A5}"/>
          </ac:spMkLst>
        </pc:spChg>
      </pc:sldChg>
      <pc:sldChg chg="modSp mod modShow">
        <pc:chgData name="Juan Sebastián Giraldo" userId="2f39d921-1805-4fcf-9d80-fe66aeb20d18" providerId="ADAL" clId="{AA2DACD2-8492-4FDF-80C8-DF0025ECC2B8}" dt="2025-05-29T13:01:55.116" v="4316" actId="790"/>
        <pc:sldMkLst>
          <pc:docMk/>
          <pc:sldMk cId="1571474746" sldId="2146849370"/>
        </pc:sldMkLst>
        <pc:spChg chg="mod">
          <ac:chgData name="Juan Sebastián Giraldo" userId="2f39d921-1805-4fcf-9d80-fe66aeb20d18" providerId="ADAL" clId="{AA2DACD2-8492-4FDF-80C8-DF0025ECC2B8}" dt="2025-05-29T13:01:55.116" v="4316" actId="790"/>
          <ac:spMkLst>
            <pc:docMk/>
            <pc:sldMk cId="1571474746" sldId="2146849370"/>
            <ac:spMk id="2" creationId="{92CFB37A-AE62-C152-69C9-61B5B27E919D}"/>
          </ac:spMkLst>
        </pc:spChg>
        <pc:spChg chg="mod">
          <ac:chgData name="Juan Sebastián Giraldo" userId="2f39d921-1805-4fcf-9d80-fe66aeb20d18" providerId="ADAL" clId="{AA2DACD2-8492-4FDF-80C8-DF0025ECC2B8}" dt="2025-05-29T13:01:55.116" v="4316" actId="790"/>
          <ac:spMkLst>
            <pc:docMk/>
            <pc:sldMk cId="1571474746" sldId="2146849370"/>
            <ac:spMk id="4" creationId="{C1CC263C-F236-63F8-B9D9-E30DEEB5C5C6}"/>
          </ac:spMkLst>
        </pc:spChg>
        <pc:spChg chg="mod">
          <ac:chgData name="Juan Sebastián Giraldo" userId="2f39d921-1805-4fcf-9d80-fe66aeb20d18" providerId="ADAL" clId="{AA2DACD2-8492-4FDF-80C8-DF0025ECC2B8}" dt="2025-05-29T13:01:55.116" v="4316" actId="790"/>
          <ac:spMkLst>
            <pc:docMk/>
            <pc:sldMk cId="1571474746" sldId="2146849370"/>
            <ac:spMk id="6" creationId="{D10DF92A-47C6-71F5-D69F-05DB4A8B69B5}"/>
          </ac:spMkLst>
        </pc:spChg>
        <pc:spChg chg="mod">
          <ac:chgData name="Juan Sebastián Giraldo" userId="2f39d921-1805-4fcf-9d80-fe66aeb20d18" providerId="ADAL" clId="{AA2DACD2-8492-4FDF-80C8-DF0025ECC2B8}" dt="2025-05-29T13:01:55.116" v="4316" actId="790"/>
          <ac:spMkLst>
            <pc:docMk/>
            <pc:sldMk cId="1571474746" sldId="2146849370"/>
            <ac:spMk id="10" creationId="{128A27DB-BEAE-B52A-D059-3ECFDFE6A321}"/>
          </ac:spMkLst>
        </pc:spChg>
        <pc:spChg chg="mod">
          <ac:chgData name="Juan Sebastián Giraldo" userId="2f39d921-1805-4fcf-9d80-fe66aeb20d18" providerId="ADAL" clId="{AA2DACD2-8492-4FDF-80C8-DF0025ECC2B8}" dt="2025-05-27T11:33:20.704" v="2059" actId="790"/>
          <ac:spMkLst>
            <pc:docMk/>
            <pc:sldMk cId="1571474746" sldId="2146849370"/>
            <ac:spMk id="11" creationId="{29EAE949-16E0-AC51-405A-DCDE9C02665D}"/>
          </ac:spMkLst>
        </pc:spChg>
        <pc:spChg chg="mod">
          <ac:chgData name="Juan Sebastián Giraldo" userId="2f39d921-1805-4fcf-9d80-fe66aeb20d18" providerId="ADAL" clId="{AA2DACD2-8492-4FDF-80C8-DF0025ECC2B8}" dt="2025-05-29T13:01:55.116" v="4316" actId="790"/>
          <ac:spMkLst>
            <pc:docMk/>
            <pc:sldMk cId="1571474746" sldId="2146849370"/>
            <ac:spMk id="12" creationId="{03740CC5-52E0-6B52-CDD2-C2512F7503D1}"/>
          </ac:spMkLst>
        </pc:spChg>
        <pc:spChg chg="mod">
          <ac:chgData name="Juan Sebastián Giraldo" userId="2f39d921-1805-4fcf-9d80-fe66aeb20d18" providerId="ADAL" clId="{AA2DACD2-8492-4FDF-80C8-DF0025ECC2B8}" dt="2025-05-29T13:01:55.116" v="4316" actId="790"/>
          <ac:spMkLst>
            <pc:docMk/>
            <pc:sldMk cId="1571474746" sldId="2146849370"/>
            <ac:spMk id="14" creationId="{BE2542BB-3FDD-EFDA-280A-24BDF8DF5D6B}"/>
          </ac:spMkLst>
        </pc:spChg>
        <pc:spChg chg="mod">
          <ac:chgData name="Juan Sebastián Giraldo" userId="2f39d921-1805-4fcf-9d80-fe66aeb20d18" providerId="ADAL" clId="{AA2DACD2-8492-4FDF-80C8-DF0025ECC2B8}" dt="2025-05-23T17:48:04.314" v="1030" actId="790"/>
          <ac:spMkLst>
            <pc:docMk/>
            <pc:sldMk cId="1571474746" sldId="2146849370"/>
            <ac:spMk id="37" creationId="{9CFA3BC3-F20C-B667-EF27-7CBEBC0B3497}"/>
          </ac:spMkLst>
        </pc:spChg>
        <pc:spChg chg="mod">
          <ac:chgData name="Juan Sebastián Giraldo" userId="2f39d921-1805-4fcf-9d80-fe66aeb20d18" providerId="ADAL" clId="{AA2DACD2-8492-4FDF-80C8-DF0025ECC2B8}" dt="2025-05-29T13:01:55.116" v="4316" actId="790"/>
          <ac:spMkLst>
            <pc:docMk/>
            <pc:sldMk cId="1571474746" sldId="2146849370"/>
            <ac:spMk id="38" creationId="{7C0E7FDB-6497-8F9A-6649-A3510B2BE5F9}"/>
          </ac:spMkLst>
        </pc:spChg>
        <pc:spChg chg="mod">
          <ac:chgData name="Juan Sebastián Giraldo" userId="2f39d921-1805-4fcf-9d80-fe66aeb20d18" providerId="ADAL" clId="{AA2DACD2-8492-4FDF-80C8-DF0025ECC2B8}" dt="2025-05-29T13:01:55.116" v="4316" actId="790"/>
          <ac:spMkLst>
            <pc:docMk/>
            <pc:sldMk cId="1571474746" sldId="2146849370"/>
            <ac:spMk id="40" creationId="{2E5039F2-6270-FEB7-6853-3E8F18F6C3FC}"/>
          </ac:spMkLst>
        </pc:spChg>
        <pc:spChg chg="mod">
          <ac:chgData name="Juan Sebastián Giraldo" userId="2f39d921-1805-4fcf-9d80-fe66aeb20d18" providerId="ADAL" clId="{AA2DACD2-8492-4FDF-80C8-DF0025ECC2B8}" dt="2025-05-29T13:01:55.116" v="4316" actId="790"/>
          <ac:spMkLst>
            <pc:docMk/>
            <pc:sldMk cId="1571474746" sldId="2146849370"/>
            <ac:spMk id="42" creationId="{154B0EAF-71CC-ED73-676F-DD036277A0DA}"/>
          </ac:spMkLst>
        </pc:spChg>
        <pc:spChg chg="mod">
          <ac:chgData name="Juan Sebastián Giraldo" userId="2f39d921-1805-4fcf-9d80-fe66aeb20d18" providerId="ADAL" clId="{AA2DACD2-8492-4FDF-80C8-DF0025ECC2B8}" dt="2025-05-27T11:33:20.704" v="2059" actId="790"/>
          <ac:spMkLst>
            <pc:docMk/>
            <pc:sldMk cId="1571474746" sldId="2146849370"/>
            <ac:spMk id="54" creationId="{DFF51CEF-DA6F-40AE-0CEE-0258FEF849FE}"/>
          </ac:spMkLst>
        </pc:spChg>
        <pc:spChg chg="mod">
          <ac:chgData name="Juan Sebastián Giraldo" userId="2f39d921-1805-4fcf-9d80-fe66aeb20d18" providerId="ADAL" clId="{AA2DACD2-8492-4FDF-80C8-DF0025ECC2B8}" dt="2025-05-29T13:01:55.116" v="4316" actId="790"/>
          <ac:spMkLst>
            <pc:docMk/>
            <pc:sldMk cId="1571474746" sldId="2146849370"/>
            <ac:spMk id="65" creationId="{9765D579-780C-4910-8DCE-9203814F07A4}"/>
          </ac:spMkLst>
        </pc:spChg>
      </pc:sldChg>
      <pc:sldChg chg="modSp mod modShow">
        <pc:chgData name="Juan Sebastián Giraldo" userId="2f39d921-1805-4fcf-9d80-fe66aeb20d18" providerId="ADAL" clId="{AA2DACD2-8492-4FDF-80C8-DF0025ECC2B8}" dt="2025-05-29T13:01:55.116" v="4316" actId="790"/>
        <pc:sldMkLst>
          <pc:docMk/>
          <pc:sldMk cId="3478810480" sldId="2146849374"/>
        </pc:sldMkLst>
        <pc:spChg chg="mod">
          <ac:chgData name="Juan Sebastián Giraldo" userId="2f39d921-1805-4fcf-9d80-fe66aeb20d18" providerId="ADAL" clId="{AA2DACD2-8492-4FDF-80C8-DF0025ECC2B8}" dt="2025-05-29T13:01:55.116" v="4316" actId="790"/>
          <ac:spMkLst>
            <pc:docMk/>
            <pc:sldMk cId="3478810480" sldId="2146849374"/>
            <ac:spMk id="2" creationId="{FC3D2E2B-F119-44B6-0B32-95DE8547DB18}"/>
          </ac:spMkLst>
        </pc:spChg>
        <pc:spChg chg="mod">
          <ac:chgData name="Juan Sebastián Giraldo" userId="2f39d921-1805-4fcf-9d80-fe66aeb20d18" providerId="ADAL" clId="{AA2DACD2-8492-4FDF-80C8-DF0025ECC2B8}" dt="2025-05-29T13:01:55.116" v="4316" actId="790"/>
          <ac:spMkLst>
            <pc:docMk/>
            <pc:sldMk cId="3478810480" sldId="2146849374"/>
            <ac:spMk id="3" creationId="{3502C382-8094-B773-FF42-09FF22255F4B}"/>
          </ac:spMkLst>
        </pc:spChg>
        <pc:spChg chg="mod">
          <ac:chgData name="Juan Sebastián Giraldo" userId="2f39d921-1805-4fcf-9d80-fe66aeb20d18" providerId="ADAL" clId="{AA2DACD2-8492-4FDF-80C8-DF0025ECC2B8}" dt="2025-05-29T13:01:55.116" v="4316" actId="790"/>
          <ac:spMkLst>
            <pc:docMk/>
            <pc:sldMk cId="3478810480" sldId="2146849374"/>
            <ac:spMk id="4" creationId="{EE107A48-B40A-A7F6-E077-1BB44B522074}"/>
          </ac:spMkLst>
        </pc:spChg>
        <pc:spChg chg="mod">
          <ac:chgData name="Juan Sebastián Giraldo" userId="2f39d921-1805-4fcf-9d80-fe66aeb20d18" providerId="ADAL" clId="{AA2DACD2-8492-4FDF-80C8-DF0025ECC2B8}" dt="2025-05-29T13:01:55.116" v="4316" actId="790"/>
          <ac:spMkLst>
            <pc:docMk/>
            <pc:sldMk cId="3478810480" sldId="2146849374"/>
            <ac:spMk id="6" creationId="{2AEDDD56-0C5F-3375-EE00-0660B0F4E7FC}"/>
          </ac:spMkLst>
        </pc:spChg>
        <pc:spChg chg="mod">
          <ac:chgData name="Juan Sebastián Giraldo" userId="2f39d921-1805-4fcf-9d80-fe66aeb20d18" providerId="ADAL" clId="{AA2DACD2-8492-4FDF-80C8-DF0025ECC2B8}" dt="2025-05-29T13:01:55.116" v="4316" actId="790"/>
          <ac:spMkLst>
            <pc:docMk/>
            <pc:sldMk cId="3478810480" sldId="2146849374"/>
            <ac:spMk id="7" creationId="{353BEC12-38B8-35BB-4424-AA8FFE218CF4}"/>
          </ac:spMkLst>
        </pc:spChg>
        <pc:spChg chg="mod">
          <ac:chgData name="Juan Sebastián Giraldo" userId="2f39d921-1805-4fcf-9d80-fe66aeb20d18" providerId="ADAL" clId="{AA2DACD2-8492-4FDF-80C8-DF0025ECC2B8}" dt="2025-05-29T13:01:55.116" v="4316" actId="790"/>
          <ac:spMkLst>
            <pc:docMk/>
            <pc:sldMk cId="3478810480" sldId="2146849374"/>
            <ac:spMk id="38" creationId="{7C0E7FDB-6497-8F9A-6649-A3510B2BE5F9}"/>
          </ac:spMkLst>
        </pc:spChg>
        <pc:spChg chg="mod">
          <ac:chgData name="Juan Sebastián Giraldo" userId="2f39d921-1805-4fcf-9d80-fe66aeb20d18" providerId="ADAL" clId="{AA2DACD2-8492-4FDF-80C8-DF0025ECC2B8}" dt="2025-05-29T13:01:55.116" v="4316" actId="790"/>
          <ac:spMkLst>
            <pc:docMk/>
            <pc:sldMk cId="3478810480" sldId="2146849374"/>
            <ac:spMk id="45" creationId="{CA21E04D-90E2-9ED5-4287-66B65A79BCF4}"/>
          </ac:spMkLst>
        </pc:spChg>
        <pc:spChg chg="mod">
          <ac:chgData name="Juan Sebastián Giraldo" userId="2f39d921-1805-4fcf-9d80-fe66aeb20d18" providerId="ADAL" clId="{AA2DACD2-8492-4FDF-80C8-DF0025ECC2B8}" dt="2025-05-29T13:01:55.116" v="4316" actId="790"/>
          <ac:spMkLst>
            <pc:docMk/>
            <pc:sldMk cId="3478810480" sldId="2146849374"/>
            <ac:spMk id="54" creationId="{DFF51CEF-DA6F-40AE-0CEE-0258FEF849FE}"/>
          </ac:spMkLst>
        </pc:spChg>
      </pc:sldChg>
      <pc:sldChg chg="modSp mod modShow">
        <pc:chgData name="Juan Sebastián Giraldo" userId="2f39d921-1805-4fcf-9d80-fe66aeb20d18" providerId="ADAL" clId="{AA2DACD2-8492-4FDF-80C8-DF0025ECC2B8}" dt="2025-05-29T13:01:55.116" v="4316" actId="790"/>
        <pc:sldMkLst>
          <pc:docMk/>
          <pc:sldMk cId="1222896488" sldId="2146849383"/>
        </pc:sldMkLst>
        <pc:spChg chg="mod">
          <ac:chgData name="Juan Sebastián Giraldo" userId="2f39d921-1805-4fcf-9d80-fe66aeb20d18" providerId="ADAL" clId="{AA2DACD2-8492-4FDF-80C8-DF0025ECC2B8}" dt="2025-05-29T13:01:55.116" v="4316" actId="790"/>
          <ac:spMkLst>
            <pc:docMk/>
            <pc:sldMk cId="1222896488" sldId="2146849383"/>
            <ac:spMk id="3" creationId="{F9083017-6304-E6BA-A51D-AE805EBCA97C}"/>
          </ac:spMkLst>
        </pc:spChg>
        <pc:spChg chg="mod">
          <ac:chgData name="Juan Sebastián Giraldo" userId="2f39d921-1805-4fcf-9d80-fe66aeb20d18" providerId="ADAL" clId="{AA2DACD2-8492-4FDF-80C8-DF0025ECC2B8}" dt="2025-05-29T13:01:55.116" v="4316" actId="790"/>
          <ac:spMkLst>
            <pc:docMk/>
            <pc:sldMk cId="1222896488" sldId="2146849383"/>
            <ac:spMk id="5" creationId="{5981B6A4-26CA-C48C-C436-1A5DB023B854}"/>
          </ac:spMkLst>
        </pc:spChg>
        <pc:spChg chg="mod">
          <ac:chgData name="Juan Sebastián Giraldo" userId="2f39d921-1805-4fcf-9d80-fe66aeb20d18" providerId="ADAL" clId="{AA2DACD2-8492-4FDF-80C8-DF0025ECC2B8}" dt="2025-05-29T13:01:55.116" v="4316" actId="790"/>
          <ac:spMkLst>
            <pc:docMk/>
            <pc:sldMk cId="1222896488" sldId="2146849383"/>
            <ac:spMk id="7" creationId="{96DE0B08-17F8-9DDE-86F9-E414BA6DF36F}"/>
          </ac:spMkLst>
        </pc:spChg>
        <pc:spChg chg="mod">
          <ac:chgData name="Juan Sebastián Giraldo" userId="2f39d921-1805-4fcf-9d80-fe66aeb20d18" providerId="ADAL" clId="{AA2DACD2-8492-4FDF-80C8-DF0025ECC2B8}" dt="2025-05-29T13:01:55.116" v="4316" actId="790"/>
          <ac:spMkLst>
            <pc:docMk/>
            <pc:sldMk cId="1222896488" sldId="2146849383"/>
            <ac:spMk id="8" creationId="{B841A1E8-9D8E-BCD5-7A8F-4412D7F04AB6}"/>
          </ac:spMkLst>
        </pc:spChg>
        <pc:spChg chg="mod">
          <ac:chgData name="Juan Sebastián Giraldo" userId="2f39d921-1805-4fcf-9d80-fe66aeb20d18" providerId="ADAL" clId="{AA2DACD2-8492-4FDF-80C8-DF0025ECC2B8}" dt="2025-05-29T13:01:55.116" v="4316" actId="790"/>
          <ac:spMkLst>
            <pc:docMk/>
            <pc:sldMk cId="1222896488" sldId="2146849383"/>
            <ac:spMk id="13" creationId="{82EFD0E5-04F0-E862-F540-2C6B6E2F5FD9}"/>
          </ac:spMkLst>
        </pc:spChg>
        <pc:spChg chg="mod">
          <ac:chgData name="Juan Sebastián Giraldo" userId="2f39d921-1805-4fcf-9d80-fe66aeb20d18" providerId="ADAL" clId="{AA2DACD2-8492-4FDF-80C8-DF0025ECC2B8}" dt="2025-05-29T13:01:55.116" v="4316" actId="790"/>
          <ac:spMkLst>
            <pc:docMk/>
            <pc:sldMk cId="1222896488" sldId="2146849383"/>
            <ac:spMk id="37" creationId="{9CFA3BC3-F20C-B667-EF27-7CBEBC0B3497}"/>
          </ac:spMkLst>
        </pc:spChg>
        <pc:spChg chg="mod">
          <ac:chgData name="Juan Sebastián Giraldo" userId="2f39d921-1805-4fcf-9d80-fe66aeb20d18" providerId="ADAL" clId="{AA2DACD2-8492-4FDF-80C8-DF0025ECC2B8}" dt="2025-05-29T13:01:55.116" v="4316" actId="790"/>
          <ac:spMkLst>
            <pc:docMk/>
            <pc:sldMk cId="1222896488" sldId="2146849383"/>
            <ac:spMk id="38" creationId="{7C0E7FDB-6497-8F9A-6649-A3510B2BE5F9}"/>
          </ac:spMkLst>
        </pc:spChg>
        <pc:spChg chg="mod">
          <ac:chgData name="Juan Sebastián Giraldo" userId="2f39d921-1805-4fcf-9d80-fe66aeb20d18" providerId="ADAL" clId="{AA2DACD2-8492-4FDF-80C8-DF0025ECC2B8}" dt="2025-05-29T13:01:55.116" v="4316" actId="790"/>
          <ac:spMkLst>
            <pc:docMk/>
            <pc:sldMk cId="1222896488" sldId="2146849383"/>
            <ac:spMk id="42" creationId="{B5806F53-278D-9063-00E8-5ACC5E47FAD1}"/>
          </ac:spMkLst>
        </pc:spChg>
        <pc:spChg chg="mod">
          <ac:chgData name="Juan Sebastián Giraldo" userId="2f39d921-1805-4fcf-9d80-fe66aeb20d18" providerId="ADAL" clId="{AA2DACD2-8492-4FDF-80C8-DF0025ECC2B8}" dt="2025-05-29T13:01:55.116" v="4316" actId="790"/>
          <ac:spMkLst>
            <pc:docMk/>
            <pc:sldMk cId="1222896488" sldId="2146849383"/>
            <ac:spMk id="43" creationId="{ED09D9A3-6CB0-E59B-2326-6660070E4CB0}"/>
          </ac:spMkLst>
        </pc:spChg>
        <pc:spChg chg="mod">
          <ac:chgData name="Juan Sebastián Giraldo" userId="2f39d921-1805-4fcf-9d80-fe66aeb20d18" providerId="ADAL" clId="{AA2DACD2-8492-4FDF-80C8-DF0025ECC2B8}" dt="2025-05-29T13:01:55.116" v="4316" actId="790"/>
          <ac:spMkLst>
            <pc:docMk/>
            <pc:sldMk cId="1222896488" sldId="2146849383"/>
            <ac:spMk id="52" creationId="{ABA04BA5-7999-1EAD-68BC-B0D65BA00C87}"/>
          </ac:spMkLst>
        </pc:spChg>
        <pc:spChg chg="mod">
          <ac:chgData name="Juan Sebastián Giraldo" userId="2f39d921-1805-4fcf-9d80-fe66aeb20d18" providerId="ADAL" clId="{AA2DACD2-8492-4FDF-80C8-DF0025ECC2B8}" dt="2025-05-27T11:33:20.704" v="2059" actId="790"/>
          <ac:spMkLst>
            <pc:docMk/>
            <pc:sldMk cId="1222896488" sldId="2146849383"/>
            <ac:spMk id="54" creationId="{DFF51CEF-DA6F-40AE-0CEE-0258FEF849FE}"/>
          </ac:spMkLst>
        </pc:spChg>
      </pc:sldChg>
      <pc:sldChg chg="modSp mod modShow">
        <pc:chgData name="Juan Sebastián Giraldo" userId="2f39d921-1805-4fcf-9d80-fe66aeb20d18" providerId="ADAL" clId="{AA2DACD2-8492-4FDF-80C8-DF0025ECC2B8}" dt="2025-05-29T13:01:55.116" v="4316" actId="790"/>
        <pc:sldMkLst>
          <pc:docMk/>
          <pc:sldMk cId="1008853926" sldId="2146849388"/>
        </pc:sldMkLst>
        <pc:spChg chg="mod">
          <ac:chgData name="Juan Sebastián Giraldo" userId="2f39d921-1805-4fcf-9d80-fe66aeb20d18" providerId="ADAL" clId="{AA2DACD2-8492-4FDF-80C8-DF0025ECC2B8}" dt="2025-05-29T13:01:55.116" v="4316" actId="790"/>
          <ac:spMkLst>
            <pc:docMk/>
            <pc:sldMk cId="1008853926" sldId="2146849388"/>
            <ac:spMk id="4" creationId="{3A6ABDAD-585F-E1B8-64CA-C13D2C727673}"/>
          </ac:spMkLst>
        </pc:spChg>
        <pc:spChg chg="mod">
          <ac:chgData name="Juan Sebastián Giraldo" userId="2f39d921-1805-4fcf-9d80-fe66aeb20d18" providerId="ADAL" clId="{AA2DACD2-8492-4FDF-80C8-DF0025ECC2B8}" dt="2025-05-29T13:01:55.116" v="4316" actId="790"/>
          <ac:spMkLst>
            <pc:docMk/>
            <pc:sldMk cId="1008853926" sldId="2146849388"/>
            <ac:spMk id="5" creationId="{A88C14BB-7236-4F71-43D6-3CF072CDBBA9}"/>
          </ac:spMkLst>
        </pc:spChg>
        <pc:spChg chg="mod">
          <ac:chgData name="Juan Sebastián Giraldo" userId="2f39d921-1805-4fcf-9d80-fe66aeb20d18" providerId="ADAL" clId="{AA2DACD2-8492-4FDF-80C8-DF0025ECC2B8}" dt="2025-05-29T13:01:55.116" v="4316" actId="790"/>
          <ac:spMkLst>
            <pc:docMk/>
            <pc:sldMk cId="1008853926" sldId="2146849388"/>
            <ac:spMk id="6" creationId="{EAFEFF9D-A30C-B695-FF5F-BCA064B2340B}"/>
          </ac:spMkLst>
        </pc:spChg>
        <pc:spChg chg="mod">
          <ac:chgData name="Juan Sebastián Giraldo" userId="2f39d921-1805-4fcf-9d80-fe66aeb20d18" providerId="ADAL" clId="{AA2DACD2-8492-4FDF-80C8-DF0025ECC2B8}" dt="2025-05-29T13:01:55.116" v="4316" actId="790"/>
          <ac:spMkLst>
            <pc:docMk/>
            <pc:sldMk cId="1008853926" sldId="2146849388"/>
            <ac:spMk id="9" creationId="{5F91277E-3E5E-2571-71A5-DF93A30B6F74}"/>
          </ac:spMkLst>
        </pc:spChg>
        <pc:spChg chg="mod">
          <ac:chgData name="Juan Sebastián Giraldo" userId="2f39d921-1805-4fcf-9d80-fe66aeb20d18" providerId="ADAL" clId="{AA2DACD2-8492-4FDF-80C8-DF0025ECC2B8}" dt="2025-05-29T13:01:55.116" v="4316" actId="790"/>
          <ac:spMkLst>
            <pc:docMk/>
            <pc:sldMk cId="1008853926" sldId="2146849388"/>
            <ac:spMk id="10" creationId="{756ADE41-8CE0-06B4-16C0-FC5EF30FA634}"/>
          </ac:spMkLst>
        </pc:spChg>
        <pc:spChg chg="mod">
          <ac:chgData name="Juan Sebastián Giraldo" userId="2f39d921-1805-4fcf-9d80-fe66aeb20d18" providerId="ADAL" clId="{AA2DACD2-8492-4FDF-80C8-DF0025ECC2B8}" dt="2025-05-29T13:01:55.116" v="4316" actId="790"/>
          <ac:spMkLst>
            <pc:docMk/>
            <pc:sldMk cId="1008853926" sldId="2146849388"/>
            <ac:spMk id="11" creationId="{4358B040-58E4-5A12-CA1A-AE2A4C26556B}"/>
          </ac:spMkLst>
        </pc:spChg>
        <pc:spChg chg="mod">
          <ac:chgData name="Juan Sebastián Giraldo" userId="2f39d921-1805-4fcf-9d80-fe66aeb20d18" providerId="ADAL" clId="{AA2DACD2-8492-4FDF-80C8-DF0025ECC2B8}" dt="2025-05-29T13:01:55.116" v="4316" actId="790"/>
          <ac:spMkLst>
            <pc:docMk/>
            <pc:sldMk cId="1008853926" sldId="2146849388"/>
            <ac:spMk id="12" creationId="{751FB1CC-62B4-033C-F4E8-AB86063C9845}"/>
          </ac:spMkLst>
        </pc:spChg>
        <pc:spChg chg="mod">
          <ac:chgData name="Juan Sebastián Giraldo" userId="2f39d921-1805-4fcf-9d80-fe66aeb20d18" providerId="ADAL" clId="{AA2DACD2-8492-4FDF-80C8-DF0025ECC2B8}" dt="2025-05-29T13:01:55.116" v="4316" actId="790"/>
          <ac:spMkLst>
            <pc:docMk/>
            <pc:sldMk cId="1008853926" sldId="2146849388"/>
            <ac:spMk id="34" creationId="{769D3A80-6C69-46EB-BE71-C5F3FE929ADD}"/>
          </ac:spMkLst>
        </pc:spChg>
      </pc:sldChg>
      <pc:sldChg chg="modSp mod ord modShow">
        <pc:chgData name="Juan Sebastián Giraldo" userId="2f39d921-1805-4fcf-9d80-fe66aeb20d18" providerId="ADAL" clId="{AA2DACD2-8492-4FDF-80C8-DF0025ECC2B8}" dt="2025-05-29T13:01:55.116" v="4316" actId="790"/>
        <pc:sldMkLst>
          <pc:docMk/>
          <pc:sldMk cId="4044885822" sldId="2146849393"/>
        </pc:sldMkLst>
        <pc:spChg chg="mod">
          <ac:chgData name="Juan Sebastián Giraldo" userId="2f39d921-1805-4fcf-9d80-fe66aeb20d18" providerId="ADAL" clId="{AA2DACD2-8492-4FDF-80C8-DF0025ECC2B8}" dt="2025-05-23T17:48:04.314" v="1030" actId="790"/>
          <ac:spMkLst>
            <pc:docMk/>
            <pc:sldMk cId="4044885822" sldId="2146849393"/>
            <ac:spMk id="2" creationId="{7EB8E89E-E33C-3CF2-1B91-C623425F20AC}"/>
          </ac:spMkLst>
        </pc:spChg>
        <pc:spChg chg="mod">
          <ac:chgData name="Juan Sebastián Giraldo" userId="2f39d921-1805-4fcf-9d80-fe66aeb20d18" providerId="ADAL" clId="{AA2DACD2-8492-4FDF-80C8-DF0025ECC2B8}" dt="2025-05-23T17:48:04.314" v="1030" actId="790"/>
          <ac:spMkLst>
            <pc:docMk/>
            <pc:sldMk cId="4044885822" sldId="2146849393"/>
            <ac:spMk id="8" creationId="{0180AA9B-4B04-50B7-3C7E-5D5F77A46264}"/>
          </ac:spMkLst>
        </pc:spChg>
        <pc:spChg chg="mod">
          <ac:chgData name="Juan Sebastián Giraldo" userId="2f39d921-1805-4fcf-9d80-fe66aeb20d18" providerId="ADAL" clId="{AA2DACD2-8492-4FDF-80C8-DF0025ECC2B8}" dt="2025-05-27T11:33:20.704" v="2059" actId="790"/>
          <ac:spMkLst>
            <pc:docMk/>
            <pc:sldMk cId="4044885822" sldId="2146849393"/>
            <ac:spMk id="10" creationId="{F77E6911-019D-727F-554B-2493C69E3791}"/>
          </ac:spMkLst>
        </pc:spChg>
        <pc:spChg chg="mod">
          <ac:chgData name="Juan Sebastián Giraldo" userId="2f39d921-1805-4fcf-9d80-fe66aeb20d18" providerId="ADAL" clId="{AA2DACD2-8492-4FDF-80C8-DF0025ECC2B8}" dt="2025-05-29T13:01:55.116" v="4316" actId="790"/>
          <ac:spMkLst>
            <pc:docMk/>
            <pc:sldMk cId="4044885822" sldId="2146849393"/>
            <ac:spMk id="12" creationId="{F4B12357-5C47-DA9C-F203-0BE86204A131}"/>
          </ac:spMkLst>
        </pc:spChg>
        <pc:spChg chg="mod">
          <ac:chgData name="Juan Sebastián Giraldo" userId="2f39d921-1805-4fcf-9d80-fe66aeb20d18" providerId="ADAL" clId="{AA2DACD2-8492-4FDF-80C8-DF0025ECC2B8}" dt="2025-05-27T11:33:20.704" v="2059" actId="790"/>
          <ac:spMkLst>
            <pc:docMk/>
            <pc:sldMk cId="4044885822" sldId="2146849393"/>
            <ac:spMk id="24" creationId="{A933AF9B-39B3-4655-2009-326FD62D89DF}"/>
          </ac:spMkLst>
        </pc:spChg>
        <pc:spChg chg="mod">
          <ac:chgData name="Juan Sebastián Giraldo" userId="2f39d921-1805-4fcf-9d80-fe66aeb20d18" providerId="ADAL" clId="{AA2DACD2-8492-4FDF-80C8-DF0025ECC2B8}" dt="2025-05-29T13:01:55.116" v="4316" actId="790"/>
          <ac:spMkLst>
            <pc:docMk/>
            <pc:sldMk cId="4044885822" sldId="2146849393"/>
            <ac:spMk id="27" creationId="{3B19927B-7DDD-FF8D-EC52-719DA8B3363A}"/>
          </ac:spMkLst>
        </pc:spChg>
        <pc:spChg chg="mod">
          <ac:chgData name="Juan Sebastián Giraldo" userId="2f39d921-1805-4fcf-9d80-fe66aeb20d18" providerId="ADAL" clId="{AA2DACD2-8492-4FDF-80C8-DF0025ECC2B8}" dt="2025-05-29T13:01:55.116" v="4316" actId="790"/>
          <ac:spMkLst>
            <pc:docMk/>
            <pc:sldMk cId="4044885822" sldId="2146849393"/>
            <ac:spMk id="28" creationId="{F0DF56C8-1E69-5D5B-8B84-CEA434D094A1}"/>
          </ac:spMkLst>
        </pc:spChg>
        <pc:spChg chg="mod">
          <ac:chgData name="Juan Sebastián Giraldo" userId="2f39d921-1805-4fcf-9d80-fe66aeb20d18" providerId="ADAL" clId="{AA2DACD2-8492-4FDF-80C8-DF0025ECC2B8}" dt="2025-05-29T13:01:55.116" v="4316" actId="790"/>
          <ac:spMkLst>
            <pc:docMk/>
            <pc:sldMk cId="4044885822" sldId="2146849393"/>
            <ac:spMk id="30" creationId="{61B22E3C-5E4D-9E27-611E-B9D4CA1C6FA0}"/>
          </ac:spMkLst>
        </pc:spChg>
        <pc:spChg chg="mod">
          <ac:chgData name="Juan Sebastián Giraldo" userId="2f39d921-1805-4fcf-9d80-fe66aeb20d18" providerId="ADAL" clId="{AA2DACD2-8492-4FDF-80C8-DF0025ECC2B8}" dt="2025-05-23T17:48:04.314" v="1030" actId="790"/>
          <ac:spMkLst>
            <pc:docMk/>
            <pc:sldMk cId="4044885822" sldId="2146849393"/>
            <ac:spMk id="37" creationId="{F47E2055-177C-920B-2FE9-88B7E9A7814F}"/>
          </ac:spMkLst>
        </pc:spChg>
        <pc:spChg chg="mod">
          <ac:chgData name="Juan Sebastián Giraldo" userId="2f39d921-1805-4fcf-9d80-fe66aeb20d18" providerId="ADAL" clId="{AA2DACD2-8492-4FDF-80C8-DF0025ECC2B8}" dt="2025-05-27T11:33:20.704" v="2059" actId="790"/>
          <ac:spMkLst>
            <pc:docMk/>
            <pc:sldMk cId="4044885822" sldId="2146849393"/>
            <ac:spMk id="44" creationId="{0EC495F1-7509-F84B-9257-40538C1D56E5}"/>
          </ac:spMkLst>
        </pc:spChg>
        <pc:spChg chg="mod">
          <ac:chgData name="Juan Sebastián Giraldo" userId="2f39d921-1805-4fcf-9d80-fe66aeb20d18" providerId="ADAL" clId="{AA2DACD2-8492-4FDF-80C8-DF0025ECC2B8}" dt="2025-05-27T11:33:20.704" v="2059" actId="790"/>
          <ac:spMkLst>
            <pc:docMk/>
            <pc:sldMk cId="4044885822" sldId="2146849393"/>
            <ac:spMk id="45" creationId="{0D2DCF20-C487-B879-544E-66D5F5BB504F}"/>
          </ac:spMkLst>
        </pc:spChg>
        <pc:spChg chg="mod">
          <ac:chgData name="Juan Sebastián Giraldo" userId="2f39d921-1805-4fcf-9d80-fe66aeb20d18" providerId="ADAL" clId="{AA2DACD2-8492-4FDF-80C8-DF0025ECC2B8}" dt="2025-05-27T11:33:20.704" v="2059" actId="790"/>
          <ac:spMkLst>
            <pc:docMk/>
            <pc:sldMk cId="4044885822" sldId="2146849393"/>
            <ac:spMk id="48" creationId="{594F535C-CB10-AB11-9A76-8B4409F45CC2}"/>
          </ac:spMkLst>
        </pc:spChg>
        <pc:spChg chg="mod">
          <ac:chgData name="Juan Sebastián Giraldo" userId="2f39d921-1805-4fcf-9d80-fe66aeb20d18" providerId="ADAL" clId="{AA2DACD2-8492-4FDF-80C8-DF0025ECC2B8}" dt="2025-05-27T11:33:20.704" v="2059" actId="790"/>
          <ac:spMkLst>
            <pc:docMk/>
            <pc:sldMk cId="4044885822" sldId="2146849393"/>
            <ac:spMk id="59" creationId="{134E913F-19FE-645B-8333-8F1BC9BB1BEB}"/>
          </ac:spMkLst>
        </pc:spChg>
        <pc:spChg chg="mod">
          <ac:chgData name="Juan Sebastián Giraldo" userId="2f39d921-1805-4fcf-9d80-fe66aeb20d18" providerId="ADAL" clId="{AA2DACD2-8492-4FDF-80C8-DF0025ECC2B8}" dt="2025-05-27T11:33:20.704" v="2059" actId="790"/>
          <ac:spMkLst>
            <pc:docMk/>
            <pc:sldMk cId="4044885822" sldId="2146849393"/>
            <ac:spMk id="118" creationId="{547BBC23-6A98-D19C-2730-720D4BA8CFE4}"/>
          </ac:spMkLst>
        </pc:spChg>
        <pc:spChg chg="mod">
          <ac:chgData name="Juan Sebastián Giraldo" userId="2f39d921-1805-4fcf-9d80-fe66aeb20d18" providerId="ADAL" clId="{AA2DACD2-8492-4FDF-80C8-DF0025ECC2B8}" dt="2025-05-23T17:48:04.314" v="1030" actId="790"/>
          <ac:spMkLst>
            <pc:docMk/>
            <pc:sldMk cId="4044885822" sldId="2146849393"/>
            <ac:spMk id="140" creationId="{DE63ADF2-A478-BDC1-B618-908404B1C5D4}"/>
          </ac:spMkLst>
        </pc:spChg>
        <pc:spChg chg="mod">
          <ac:chgData name="Juan Sebastián Giraldo" userId="2f39d921-1805-4fcf-9d80-fe66aeb20d18" providerId="ADAL" clId="{AA2DACD2-8492-4FDF-80C8-DF0025ECC2B8}" dt="2025-05-29T13:01:55.116" v="4316" actId="790"/>
          <ac:spMkLst>
            <pc:docMk/>
            <pc:sldMk cId="4044885822" sldId="2146849393"/>
            <ac:spMk id="143" creationId="{E800BEA6-F6C8-57A1-296E-65B919DB5D3F}"/>
          </ac:spMkLst>
        </pc:spChg>
        <pc:spChg chg="mod">
          <ac:chgData name="Juan Sebastián Giraldo" userId="2f39d921-1805-4fcf-9d80-fe66aeb20d18" providerId="ADAL" clId="{AA2DACD2-8492-4FDF-80C8-DF0025ECC2B8}" dt="2025-05-27T11:33:20.704" v="2059" actId="790"/>
          <ac:spMkLst>
            <pc:docMk/>
            <pc:sldMk cId="4044885822" sldId="2146849393"/>
            <ac:spMk id="148" creationId="{F02594C4-9706-259B-8D12-15DC7D0C2E47}"/>
          </ac:spMkLst>
        </pc:spChg>
        <pc:spChg chg="mod">
          <ac:chgData name="Juan Sebastián Giraldo" userId="2f39d921-1805-4fcf-9d80-fe66aeb20d18" providerId="ADAL" clId="{AA2DACD2-8492-4FDF-80C8-DF0025ECC2B8}" dt="2025-05-29T13:01:55.116" v="4316" actId="790"/>
          <ac:spMkLst>
            <pc:docMk/>
            <pc:sldMk cId="4044885822" sldId="2146849393"/>
            <ac:spMk id="157" creationId="{FD97DB1E-7B96-489A-F58D-D08F1F51C37D}"/>
          </ac:spMkLst>
        </pc:spChg>
        <pc:spChg chg="mod">
          <ac:chgData name="Juan Sebastián Giraldo" userId="2f39d921-1805-4fcf-9d80-fe66aeb20d18" providerId="ADAL" clId="{AA2DACD2-8492-4FDF-80C8-DF0025ECC2B8}" dt="2025-05-23T17:48:04.314" v="1030" actId="790"/>
          <ac:spMkLst>
            <pc:docMk/>
            <pc:sldMk cId="4044885822" sldId="2146849393"/>
            <ac:spMk id="158" creationId="{16D3C0ED-463E-54A2-E742-DBABAD693495}"/>
          </ac:spMkLst>
        </pc:spChg>
        <pc:spChg chg="mod">
          <ac:chgData name="Juan Sebastián Giraldo" userId="2f39d921-1805-4fcf-9d80-fe66aeb20d18" providerId="ADAL" clId="{AA2DACD2-8492-4FDF-80C8-DF0025ECC2B8}" dt="2025-05-27T11:33:20.704" v="2059" actId="790"/>
          <ac:spMkLst>
            <pc:docMk/>
            <pc:sldMk cId="4044885822" sldId="2146849393"/>
            <ac:spMk id="161" creationId="{A7254202-E0BD-D534-C840-7AF386F644EE}"/>
          </ac:spMkLst>
        </pc:spChg>
        <pc:spChg chg="mod">
          <ac:chgData name="Juan Sebastián Giraldo" userId="2f39d921-1805-4fcf-9d80-fe66aeb20d18" providerId="ADAL" clId="{AA2DACD2-8492-4FDF-80C8-DF0025ECC2B8}" dt="2025-05-29T13:01:55.116" v="4316" actId="790"/>
          <ac:spMkLst>
            <pc:docMk/>
            <pc:sldMk cId="4044885822" sldId="2146849393"/>
            <ac:spMk id="167" creationId="{6D78463A-5F66-DA9C-69E1-069BB4259FA4}"/>
          </ac:spMkLst>
        </pc:spChg>
        <pc:spChg chg="mod">
          <ac:chgData name="Juan Sebastián Giraldo" userId="2f39d921-1805-4fcf-9d80-fe66aeb20d18" providerId="ADAL" clId="{AA2DACD2-8492-4FDF-80C8-DF0025ECC2B8}" dt="2025-05-29T13:01:55.116" v="4316" actId="790"/>
          <ac:spMkLst>
            <pc:docMk/>
            <pc:sldMk cId="4044885822" sldId="2146849393"/>
            <ac:spMk id="169" creationId="{E54AFD71-9AC3-25EA-FD59-1F6A2CD4F380}"/>
          </ac:spMkLst>
        </pc:spChg>
        <pc:spChg chg="mod">
          <ac:chgData name="Juan Sebastián Giraldo" userId="2f39d921-1805-4fcf-9d80-fe66aeb20d18" providerId="ADAL" clId="{AA2DACD2-8492-4FDF-80C8-DF0025ECC2B8}" dt="2025-05-29T13:01:55.116" v="4316" actId="790"/>
          <ac:spMkLst>
            <pc:docMk/>
            <pc:sldMk cId="4044885822" sldId="2146849393"/>
            <ac:spMk id="1049" creationId="{89C3FC54-598D-9244-8F1C-61CDE33F7E65}"/>
          </ac:spMkLst>
        </pc:spChg>
        <pc:spChg chg="mod">
          <ac:chgData name="Juan Sebastián Giraldo" userId="2f39d921-1805-4fcf-9d80-fe66aeb20d18" providerId="ADAL" clId="{AA2DACD2-8492-4FDF-80C8-DF0025ECC2B8}" dt="2025-05-29T13:01:55.116" v="4316" actId="790"/>
          <ac:spMkLst>
            <pc:docMk/>
            <pc:sldMk cId="4044885822" sldId="2146849393"/>
            <ac:spMk id="1053" creationId="{58E047C8-9BDD-F996-C8D1-D0A1B04C8872}"/>
          </ac:spMkLst>
        </pc:spChg>
      </pc:sldChg>
      <pc:sldChg chg="modSp mod">
        <pc:chgData name="Juan Sebastián Giraldo" userId="2f39d921-1805-4fcf-9d80-fe66aeb20d18" providerId="ADAL" clId="{AA2DACD2-8492-4FDF-80C8-DF0025ECC2B8}" dt="2025-05-29T13:01:55.116" v="4316" actId="790"/>
        <pc:sldMkLst>
          <pc:docMk/>
          <pc:sldMk cId="997910258" sldId="2147479169"/>
        </pc:sldMkLst>
        <pc:spChg chg="mod">
          <ac:chgData name="Juan Sebastián Giraldo" userId="2f39d921-1805-4fcf-9d80-fe66aeb20d18" providerId="ADAL" clId="{AA2DACD2-8492-4FDF-80C8-DF0025ECC2B8}" dt="2025-05-29T13:01:55.116" v="4316" actId="790"/>
          <ac:spMkLst>
            <pc:docMk/>
            <pc:sldMk cId="997910258" sldId="2147479169"/>
            <ac:spMk id="5" creationId="{EB6B82E3-93E2-B003-86CA-1FC0997B3B3D}"/>
          </ac:spMkLst>
        </pc:spChg>
        <pc:spChg chg="mod">
          <ac:chgData name="Juan Sebastián Giraldo" userId="2f39d921-1805-4fcf-9d80-fe66aeb20d18" providerId="ADAL" clId="{AA2DACD2-8492-4FDF-80C8-DF0025ECC2B8}" dt="2025-05-29T13:01:55.116" v="4316" actId="790"/>
          <ac:spMkLst>
            <pc:docMk/>
            <pc:sldMk cId="997910258" sldId="2147479169"/>
            <ac:spMk id="6" creationId="{014944E3-A5C6-139A-1C88-87A18828D84A}"/>
          </ac:spMkLst>
        </pc:spChg>
        <pc:spChg chg="mod">
          <ac:chgData name="Juan Sebastián Giraldo" userId="2f39d921-1805-4fcf-9d80-fe66aeb20d18" providerId="ADAL" clId="{AA2DACD2-8492-4FDF-80C8-DF0025ECC2B8}" dt="2025-05-29T13:01:55.116" v="4316" actId="790"/>
          <ac:spMkLst>
            <pc:docMk/>
            <pc:sldMk cId="997910258" sldId="2147479169"/>
            <ac:spMk id="9" creationId="{3384AF93-FF26-0FB9-5D30-FA28293F1BA7}"/>
          </ac:spMkLst>
        </pc:spChg>
        <pc:spChg chg="mod">
          <ac:chgData name="Juan Sebastián Giraldo" userId="2f39d921-1805-4fcf-9d80-fe66aeb20d18" providerId="ADAL" clId="{AA2DACD2-8492-4FDF-80C8-DF0025ECC2B8}" dt="2025-05-29T13:01:55.116" v="4316" actId="790"/>
          <ac:spMkLst>
            <pc:docMk/>
            <pc:sldMk cId="997910258" sldId="2147479169"/>
            <ac:spMk id="15" creationId="{C2BE2768-37CD-6527-BB87-BF7D6BCAAD04}"/>
          </ac:spMkLst>
        </pc:spChg>
      </pc:sldChg>
      <pc:sldChg chg="modSp mod modShow">
        <pc:chgData name="Juan Sebastián Giraldo" userId="2f39d921-1805-4fcf-9d80-fe66aeb20d18" providerId="ADAL" clId="{AA2DACD2-8492-4FDF-80C8-DF0025ECC2B8}" dt="2025-05-29T13:01:55.116" v="4316" actId="790"/>
        <pc:sldMkLst>
          <pc:docMk/>
          <pc:sldMk cId="451548878" sldId="2147479813"/>
        </pc:sldMkLst>
        <pc:spChg chg="mod">
          <ac:chgData name="Juan Sebastián Giraldo" userId="2f39d921-1805-4fcf-9d80-fe66aeb20d18" providerId="ADAL" clId="{AA2DACD2-8492-4FDF-80C8-DF0025ECC2B8}" dt="2025-05-27T11:33:20.704" v="2059" actId="790"/>
          <ac:spMkLst>
            <pc:docMk/>
            <pc:sldMk cId="451548878" sldId="2147479813"/>
            <ac:spMk id="3" creationId="{08C08BF7-6083-068A-EF80-18FA8DF4524C}"/>
          </ac:spMkLst>
        </pc:spChg>
        <pc:spChg chg="mod">
          <ac:chgData name="Juan Sebastián Giraldo" userId="2f39d921-1805-4fcf-9d80-fe66aeb20d18" providerId="ADAL" clId="{AA2DACD2-8492-4FDF-80C8-DF0025ECC2B8}" dt="2025-05-27T11:33:20.704" v="2059" actId="790"/>
          <ac:spMkLst>
            <pc:docMk/>
            <pc:sldMk cId="451548878" sldId="2147479813"/>
            <ac:spMk id="6" creationId="{3E45E7D9-A450-C1E6-F5DD-D7E41289F9BA}"/>
          </ac:spMkLst>
        </pc:spChg>
        <pc:spChg chg="mod">
          <ac:chgData name="Juan Sebastián Giraldo" userId="2f39d921-1805-4fcf-9d80-fe66aeb20d18" providerId="ADAL" clId="{AA2DACD2-8492-4FDF-80C8-DF0025ECC2B8}" dt="2025-05-29T13:01:55.116" v="4316" actId="790"/>
          <ac:spMkLst>
            <pc:docMk/>
            <pc:sldMk cId="451548878" sldId="2147479813"/>
            <ac:spMk id="11" creationId="{C33AFAE5-B4FC-ADEB-B7F6-0A30108C3548}"/>
          </ac:spMkLst>
        </pc:spChg>
        <pc:spChg chg="mod">
          <ac:chgData name="Juan Sebastián Giraldo" userId="2f39d921-1805-4fcf-9d80-fe66aeb20d18" providerId="ADAL" clId="{AA2DACD2-8492-4FDF-80C8-DF0025ECC2B8}" dt="2025-05-23T17:48:04.314" v="1030" actId="790"/>
          <ac:spMkLst>
            <pc:docMk/>
            <pc:sldMk cId="451548878" sldId="2147479813"/>
            <ac:spMk id="20" creationId="{12E87880-745F-E557-23F9-A1E9940341A2}"/>
          </ac:spMkLst>
        </pc:spChg>
        <pc:spChg chg="mod">
          <ac:chgData name="Juan Sebastián Giraldo" userId="2f39d921-1805-4fcf-9d80-fe66aeb20d18" providerId="ADAL" clId="{AA2DACD2-8492-4FDF-80C8-DF0025ECC2B8}" dt="2025-05-27T11:33:20.704" v="2059" actId="790"/>
          <ac:spMkLst>
            <pc:docMk/>
            <pc:sldMk cId="451548878" sldId="2147479813"/>
            <ac:spMk id="24" creationId="{A927EF70-236A-FE77-2CA0-3674BC4A4EEF}"/>
          </ac:spMkLst>
        </pc:spChg>
        <pc:spChg chg="mod">
          <ac:chgData name="Juan Sebastián Giraldo" userId="2f39d921-1805-4fcf-9d80-fe66aeb20d18" providerId="ADAL" clId="{AA2DACD2-8492-4FDF-80C8-DF0025ECC2B8}" dt="2025-05-27T11:33:20.704" v="2059" actId="790"/>
          <ac:spMkLst>
            <pc:docMk/>
            <pc:sldMk cId="451548878" sldId="2147479813"/>
            <ac:spMk id="26" creationId="{9944AB01-3104-8B3B-C232-2CC838F686C2}"/>
          </ac:spMkLst>
        </pc:spChg>
        <pc:spChg chg="mod">
          <ac:chgData name="Juan Sebastián Giraldo" userId="2f39d921-1805-4fcf-9d80-fe66aeb20d18" providerId="ADAL" clId="{AA2DACD2-8492-4FDF-80C8-DF0025ECC2B8}" dt="2025-05-29T13:01:55.116" v="4316" actId="790"/>
          <ac:spMkLst>
            <pc:docMk/>
            <pc:sldMk cId="451548878" sldId="2147479813"/>
            <ac:spMk id="27" creationId="{A94012CE-9272-8A84-508F-2D04A504F324}"/>
          </ac:spMkLst>
        </pc:spChg>
        <pc:spChg chg="mod">
          <ac:chgData name="Juan Sebastián Giraldo" userId="2f39d921-1805-4fcf-9d80-fe66aeb20d18" providerId="ADAL" clId="{AA2DACD2-8492-4FDF-80C8-DF0025ECC2B8}" dt="2025-05-29T13:01:55.116" v="4316" actId="790"/>
          <ac:spMkLst>
            <pc:docMk/>
            <pc:sldMk cId="451548878" sldId="2147479813"/>
            <ac:spMk id="29" creationId="{1E262FAF-24D5-695E-235E-2FFA9D50B2E0}"/>
          </ac:spMkLst>
        </pc:spChg>
        <pc:spChg chg="mod">
          <ac:chgData name="Juan Sebastián Giraldo" userId="2f39d921-1805-4fcf-9d80-fe66aeb20d18" providerId="ADAL" clId="{AA2DACD2-8492-4FDF-80C8-DF0025ECC2B8}" dt="2025-05-29T13:01:55.116" v="4316" actId="790"/>
          <ac:spMkLst>
            <pc:docMk/>
            <pc:sldMk cId="451548878" sldId="2147479813"/>
            <ac:spMk id="32" creationId="{A0943587-41E7-8174-3D6E-610ADF7C0592}"/>
          </ac:spMkLst>
        </pc:spChg>
        <pc:spChg chg="mod">
          <ac:chgData name="Juan Sebastián Giraldo" userId="2f39d921-1805-4fcf-9d80-fe66aeb20d18" providerId="ADAL" clId="{AA2DACD2-8492-4FDF-80C8-DF0025ECC2B8}" dt="2025-05-29T13:01:55.116" v="4316" actId="790"/>
          <ac:spMkLst>
            <pc:docMk/>
            <pc:sldMk cId="451548878" sldId="2147479813"/>
            <ac:spMk id="34" creationId="{1E6FC600-2A9C-8621-BAD1-CD75CEA2D5BD}"/>
          </ac:spMkLst>
        </pc:spChg>
        <pc:spChg chg="mod">
          <ac:chgData name="Juan Sebastián Giraldo" userId="2f39d921-1805-4fcf-9d80-fe66aeb20d18" providerId="ADAL" clId="{AA2DACD2-8492-4FDF-80C8-DF0025ECC2B8}" dt="2025-05-29T13:01:55.116" v="4316" actId="790"/>
          <ac:spMkLst>
            <pc:docMk/>
            <pc:sldMk cId="451548878" sldId="2147479813"/>
            <ac:spMk id="35" creationId="{11C8C0A2-C35B-BF61-B1C1-901CC2FE1FE0}"/>
          </ac:spMkLst>
        </pc:spChg>
        <pc:spChg chg="mod">
          <ac:chgData name="Juan Sebastián Giraldo" userId="2f39d921-1805-4fcf-9d80-fe66aeb20d18" providerId="ADAL" clId="{AA2DACD2-8492-4FDF-80C8-DF0025ECC2B8}" dt="2025-05-27T11:33:20.704" v="2059" actId="790"/>
          <ac:spMkLst>
            <pc:docMk/>
            <pc:sldMk cId="451548878" sldId="2147479813"/>
            <ac:spMk id="36" creationId="{0D073A60-4468-4FE0-CB77-A200265D289C}"/>
          </ac:spMkLst>
        </pc:spChg>
        <pc:spChg chg="mod">
          <ac:chgData name="Juan Sebastián Giraldo" userId="2f39d921-1805-4fcf-9d80-fe66aeb20d18" providerId="ADAL" clId="{AA2DACD2-8492-4FDF-80C8-DF0025ECC2B8}" dt="2025-05-23T17:48:04.314" v="1030" actId="790"/>
          <ac:spMkLst>
            <pc:docMk/>
            <pc:sldMk cId="451548878" sldId="2147479813"/>
            <ac:spMk id="37" creationId="{44C07142-5C34-9E08-E5A9-61F1330C0A8F}"/>
          </ac:spMkLst>
        </pc:spChg>
        <pc:spChg chg="mod">
          <ac:chgData name="Juan Sebastián Giraldo" userId="2f39d921-1805-4fcf-9d80-fe66aeb20d18" providerId="ADAL" clId="{AA2DACD2-8492-4FDF-80C8-DF0025ECC2B8}" dt="2025-05-27T11:33:20.704" v="2059" actId="790"/>
          <ac:spMkLst>
            <pc:docMk/>
            <pc:sldMk cId="451548878" sldId="2147479813"/>
            <ac:spMk id="41" creationId="{96545073-3A0B-257F-ABA2-EFCC828F3DDB}"/>
          </ac:spMkLst>
        </pc:spChg>
        <pc:spChg chg="mod">
          <ac:chgData name="Juan Sebastián Giraldo" userId="2f39d921-1805-4fcf-9d80-fe66aeb20d18" providerId="ADAL" clId="{AA2DACD2-8492-4FDF-80C8-DF0025ECC2B8}" dt="2025-05-27T11:33:20.704" v="2059" actId="790"/>
          <ac:spMkLst>
            <pc:docMk/>
            <pc:sldMk cId="451548878" sldId="2147479813"/>
            <ac:spMk id="46" creationId="{AF4E3591-53D6-07B4-2CDC-6CD3C0C3BBEE}"/>
          </ac:spMkLst>
        </pc:spChg>
        <pc:spChg chg="mod">
          <ac:chgData name="Juan Sebastián Giraldo" userId="2f39d921-1805-4fcf-9d80-fe66aeb20d18" providerId="ADAL" clId="{AA2DACD2-8492-4FDF-80C8-DF0025ECC2B8}" dt="2025-05-29T13:01:55.116" v="4316" actId="790"/>
          <ac:spMkLst>
            <pc:docMk/>
            <pc:sldMk cId="451548878" sldId="2147479813"/>
            <ac:spMk id="58" creationId="{80F86177-FD17-06ED-5447-391651A74EC6}"/>
          </ac:spMkLst>
        </pc:spChg>
        <pc:spChg chg="mod">
          <ac:chgData name="Juan Sebastián Giraldo" userId="2f39d921-1805-4fcf-9d80-fe66aeb20d18" providerId="ADAL" clId="{AA2DACD2-8492-4FDF-80C8-DF0025ECC2B8}" dt="2025-05-29T13:01:55.116" v="4316" actId="790"/>
          <ac:spMkLst>
            <pc:docMk/>
            <pc:sldMk cId="451548878" sldId="2147479813"/>
            <ac:spMk id="94" creationId="{5423B727-50CF-5A11-6C26-0E3E1F3CEFD6}"/>
          </ac:spMkLst>
        </pc:spChg>
        <pc:spChg chg="mod">
          <ac:chgData name="Juan Sebastián Giraldo" userId="2f39d921-1805-4fcf-9d80-fe66aeb20d18" providerId="ADAL" clId="{AA2DACD2-8492-4FDF-80C8-DF0025ECC2B8}" dt="2025-05-27T11:33:20.704" v="2059" actId="790"/>
          <ac:spMkLst>
            <pc:docMk/>
            <pc:sldMk cId="451548878" sldId="2147479813"/>
            <ac:spMk id="98" creationId="{7E1469F4-5712-E333-FF07-2F4518272498}"/>
          </ac:spMkLst>
        </pc:spChg>
        <pc:spChg chg="mod">
          <ac:chgData name="Juan Sebastián Giraldo" userId="2f39d921-1805-4fcf-9d80-fe66aeb20d18" providerId="ADAL" clId="{AA2DACD2-8492-4FDF-80C8-DF0025ECC2B8}" dt="2025-05-23T17:48:04.314" v="1030" actId="790"/>
          <ac:spMkLst>
            <pc:docMk/>
            <pc:sldMk cId="451548878" sldId="2147479813"/>
            <ac:spMk id="100" creationId="{FE3D762B-703C-86F0-F9F1-0AAAB9E1F647}"/>
          </ac:spMkLst>
        </pc:spChg>
        <pc:spChg chg="mod">
          <ac:chgData name="Juan Sebastián Giraldo" userId="2f39d921-1805-4fcf-9d80-fe66aeb20d18" providerId="ADAL" clId="{AA2DACD2-8492-4FDF-80C8-DF0025ECC2B8}" dt="2025-05-29T13:01:55.116" v="4316" actId="790"/>
          <ac:spMkLst>
            <pc:docMk/>
            <pc:sldMk cId="451548878" sldId="2147479813"/>
            <ac:spMk id="102" creationId="{A522CFC4-3D1D-2102-1AFF-28B74F53F18B}"/>
          </ac:spMkLst>
        </pc:spChg>
        <pc:spChg chg="mod">
          <ac:chgData name="Juan Sebastián Giraldo" userId="2f39d921-1805-4fcf-9d80-fe66aeb20d18" providerId="ADAL" clId="{AA2DACD2-8492-4FDF-80C8-DF0025ECC2B8}" dt="2025-05-23T17:48:04.314" v="1030" actId="790"/>
          <ac:spMkLst>
            <pc:docMk/>
            <pc:sldMk cId="451548878" sldId="2147479813"/>
            <ac:spMk id="105" creationId="{89D0E054-D32D-46EF-C5A2-74A25A390A78}"/>
          </ac:spMkLst>
        </pc:spChg>
        <pc:spChg chg="mod">
          <ac:chgData name="Juan Sebastián Giraldo" userId="2f39d921-1805-4fcf-9d80-fe66aeb20d18" providerId="ADAL" clId="{AA2DACD2-8492-4FDF-80C8-DF0025ECC2B8}" dt="2025-05-29T13:01:55.116" v="4316" actId="790"/>
          <ac:spMkLst>
            <pc:docMk/>
            <pc:sldMk cId="451548878" sldId="2147479813"/>
            <ac:spMk id="107" creationId="{CE915B73-0609-4725-6A5A-F7C547162D82}"/>
          </ac:spMkLst>
        </pc:spChg>
        <pc:spChg chg="mod">
          <ac:chgData name="Juan Sebastián Giraldo" userId="2f39d921-1805-4fcf-9d80-fe66aeb20d18" providerId="ADAL" clId="{AA2DACD2-8492-4FDF-80C8-DF0025ECC2B8}" dt="2025-05-23T17:48:04.314" v="1030" actId="790"/>
          <ac:spMkLst>
            <pc:docMk/>
            <pc:sldMk cId="451548878" sldId="2147479813"/>
            <ac:spMk id="108" creationId="{C85DB12D-B837-F1FA-9D56-0FBA9704B9DB}"/>
          </ac:spMkLst>
        </pc:spChg>
      </pc:sldChg>
      <pc:sldChg chg="modSp mod modShow">
        <pc:chgData name="Juan Sebastián Giraldo" userId="2f39d921-1805-4fcf-9d80-fe66aeb20d18" providerId="ADAL" clId="{AA2DACD2-8492-4FDF-80C8-DF0025ECC2B8}" dt="2025-05-29T13:01:55.116" v="4316" actId="790"/>
        <pc:sldMkLst>
          <pc:docMk/>
          <pc:sldMk cId="723109282" sldId="2147479814"/>
        </pc:sldMkLst>
        <pc:spChg chg="mod">
          <ac:chgData name="Juan Sebastián Giraldo" userId="2f39d921-1805-4fcf-9d80-fe66aeb20d18" providerId="ADAL" clId="{AA2DACD2-8492-4FDF-80C8-DF0025ECC2B8}" dt="2025-05-29T13:01:55.116" v="4316" actId="790"/>
          <ac:spMkLst>
            <pc:docMk/>
            <pc:sldMk cId="723109282" sldId="2147479814"/>
            <ac:spMk id="2" creationId="{87978E06-D4D4-8888-63DA-8747D60D56EC}"/>
          </ac:spMkLst>
        </pc:spChg>
        <pc:spChg chg="mod">
          <ac:chgData name="Juan Sebastián Giraldo" userId="2f39d921-1805-4fcf-9d80-fe66aeb20d18" providerId="ADAL" clId="{AA2DACD2-8492-4FDF-80C8-DF0025ECC2B8}" dt="2025-05-29T13:01:55.116" v="4316" actId="790"/>
          <ac:spMkLst>
            <pc:docMk/>
            <pc:sldMk cId="723109282" sldId="2147479814"/>
            <ac:spMk id="3" creationId="{46A49E11-0542-43F5-99BB-D10AFF4DFB33}"/>
          </ac:spMkLst>
        </pc:spChg>
        <pc:spChg chg="mod">
          <ac:chgData name="Juan Sebastián Giraldo" userId="2f39d921-1805-4fcf-9d80-fe66aeb20d18" providerId="ADAL" clId="{AA2DACD2-8492-4FDF-80C8-DF0025ECC2B8}" dt="2025-05-29T13:01:55.116" v="4316" actId="790"/>
          <ac:spMkLst>
            <pc:docMk/>
            <pc:sldMk cId="723109282" sldId="2147479814"/>
            <ac:spMk id="4" creationId="{870F6BCE-1E8A-0EE3-E13F-AC648BCEE613}"/>
          </ac:spMkLst>
        </pc:spChg>
        <pc:spChg chg="mod">
          <ac:chgData name="Juan Sebastián Giraldo" userId="2f39d921-1805-4fcf-9d80-fe66aeb20d18" providerId="ADAL" clId="{AA2DACD2-8492-4FDF-80C8-DF0025ECC2B8}" dt="2025-05-29T13:01:55.116" v="4316" actId="790"/>
          <ac:spMkLst>
            <pc:docMk/>
            <pc:sldMk cId="723109282" sldId="2147479814"/>
            <ac:spMk id="10" creationId="{C799C4F0-B0E3-00B9-1B6F-BA10B58A65CF}"/>
          </ac:spMkLst>
        </pc:spChg>
        <pc:spChg chg="mod">
          <ac:chgData name="Juan Sebastián Giraldo" userId="2f39d921-1805-4fcf-9d80-fe66aeb20d18" providerId="ADAL" clId="{AA2DACD2-8492-4FDF-80C8-DF0025ECC2B8}" dt="2025-05-29T13:01:55.116" v="4316" actId="790"/>
          <ac:spMkLst>
            <pc:docMk/>
            <pc:sldMk cId="723109282" sldId="2147479814"/>
            <ac:spMk id="11" creationId="{D5990D89-0FE7-F43D-2BC0-B5DC3769A974}"/>
          </ac:spMkLst>
        </pc:spChg>
        <pc:spChg chg="mod">
          <ac:chgData name="Juan Sebastián Giraldo" userId="2f39d921-1805-4fcf-9d80-fe66aeb20d18" providerId="ADAL" clId="{AA2DACD2-8492-4FDF-80C8-DF0025ECC2B8}" dt="2025-05-29T13:01:55.116" v="4316" actId="790"/>
          <ac:spMkLst>
            <pc:docMk/>
            <pc:sldMk cId="723109282" sldId="2147479814"/>
            <ac:spMk id="14" creationId="{BE2542BB-3FDD-EFDA-280A-24BDF8DF5D6B}"/>
          </ac:spMkLst>
        </pc:spChg>
        <pc:spChg chg="mod">
          <ac:chgData name="Juan Sebastián Giraldo" userId="2f39d921-1805-4fcf-9d80-fe66aeb20d18" providerId="ADAL" clId="{AA2DACD2-8492-4FDF-80C8-DF0025ECC2B8}" dt="2025-05-29T13:01:55.116" v="4316" actId="790"/>
          <ac:spMkLst>
            <pc:docMk/>
            <pc:sldMk cId="723109282" sldId="2147479814"/>
            <ac:spMk id="15" creationId="{75BAD80D-347B-AD68-5A2E-5787E7BAF416}"/>
          </ac:spMkLst>
        </pc:spChg>
        <pc:spChg chg="mod">
          <ac:chgData name="Juan Sebastián Giraldo" userId="2f39d921-1805-4fcf-9d80-fe66aeb20d18" providerId="ADAL" clId="{AA2DACD2-8492-4FDF-80C8-DF0025ECC2B8}" dt="2025-05-29T13:01:55.116" v="4316" actId="790"/>
          <ac:spMkLst>
            <pc:docMk/>
            <pc:sldMk cId="723109282" sldId="2147479814"/>
            <ac:spMk id="54" creationId="{DFF51CEF-DA6F-40AE-0CEE-0258FEF849FE}"/>
          </ac:spMkLst>
        </pc:spChg>
        <pc:spChg chg="mod">
          <ac:chgData name="Juan Sebastián Giraldo" userId="2f39d921-1805-4fcf-9d80-fe66aeb20d18" providerId="ADAL" clId="{AA2DACD2-8492-4FDF-80C8-DF0025ECC2B8}" dt="2025-05-29T13:01:55.116" v="4316" actId="790"/>
          <ac:spMkLst>
            <pc:docMk/>
            <pc:sldMk cId="723109282" sldId="2147479814"/>
            <ac:spMk id="65" creationId="{9765D579-780C-4910-8DCE-9203814F07A4}"/>
          </ac:spMkLst>
        </pc:spChg>
      </pc:sldChg>
      <pc:sldChg chg="modSp mod modShow">
        <pc:chgData name="Juan Sebastián Giraldo" userId="2f39d921-1805-4fcf-9d80-fe66aeb20d18" providerId="ADAL" clId="{AA2DACD2-8492-4FDF-80C8-DF0025ECC2B8}" dt="2025-05-29T13:01:55.116" v="4316" actId="790"/>
        <pc:sldMkLst>
          <pc:docMk/>
          <pc:sldMk cId="1317131211" sldId="2147479815"/>
        </pc:sldMkLst>
        <pc:spChg chg="mod">
          <ac:chgData name="Juan Sebastián Giraldo" userId="2f39d921-1805-4fcf-9d80-fe66aeb20d18" providerId="ADAL" clId="{AA2DACD2-8492-4FDF-80C8-DF0025ECC2B8}" dt="2025-05-29T13:01:55.116" v="4316" actId="790"/>
          <ac:spMkLst>
            <pc:docMk/>
            <pc:sldMk cId="1317131211" sldId="2147479815"/>
            <ac:spMk id="2" creationId="{B06429AD-5C65-7AE2-B742-7C56277EAAA3}"/>
          </ac:spMkLst>
        </pc:spChg>
        <pc:spChg chg="mod">
          <ac:chgData name="Juan Sebastián Giraldo" userId="2f39d921-1805-4fcf-9d80-fe66aeb20d18" providerId="ADAL" clId="{AA2DACD2-8492-4FDF-80C8-DF0025ECC2B8}" dt="2025-05-29T13:01:55.116" v="4316" actId="790"/>
          <ac:spMkLst>
            <pc:docMk/>
            <pc:sldMk cId="1317131211" sldId="2147479815"/>
            <ac:spMk id="5" creationId="{528CB94C-587A-18F2-5FEC-EFA2D042B9D5}"/>
          </ac:spMkLst>
        </pc:spChg>
        <pc:spChg chg="mod">
          <ac:chgData name="Juan Sebastián Giraldo" userId="2f39d921-1805-4fcf-9d80-fe66aeb20d18" providerId="ADAL" clId="{AA2DACD2-8492-4FDF-80C8-DF0025ECC2B8}" dt="2025-05-23T17:48:04.314" v="1030" actId="790"/>
          <ac:spMkLst>
            <pc:docMk/>
            <pc:sldMk cId="1317131211" sldId="2147479815"/>
            <ac:spMk id="8" creationId="{D97548E7-E11E-D731-DB16-CE7D5FFE7428}"/>
          </ac:spMkLst>
        </pc:spChg>
        <pc:spChg chg="mod">
          <ac:chgData name="Juan Sebastián Giraldo" userId="2f39d921-1805-4fcf-9d80-fe66aeb20d18" providerId="ADAL" clId="{AA2DACD2-8492-4FDF-80C8-DF0025ECC2B8}" dt="2025-05-23T17:48:04.314" v="1030" actId="790"/>
          <ac:spMkLst>
            <pc:docMk/>
            <pc:sldMk cId="1317131211" sldId="2147479815"/>
            <ac:spMk id="9" creationId="{F171E454-DB77-3AFE-CD05-CF30285F70F7}"/>
          </ac:spMkLst>
        </pc:spChg>
        <pc:spChg chg="mod">
          <ac:chgData name="Juan Sebastián Giraldo" userId="2f39d921-1805-4fcf-9d80-fe66aeb20d18" providerId="ADAL" clId="{AA2DACD2-8492-4FDF-80C8-DF0025ECC2B8}" dt="2025-05-27T11:33:20.704" v="2059" actId="790"/>
          <ac:spMkLst>
            <pc:docMk/>
            <pc:sldMk cId="1317131211" sldId="2147479815"/>
            <ac:spMk id="12" creationId="{E5DDE932-933D-5548-F198-79A69EF50005}"/>
          </ac:spMkLst>
        </pc:spChg>
        <pc:spChg chg="mod">
          <ac:chgData name="Juan Sebastián Giraldo" userId="2f39d921-1805-4fcf-9d80-fe66aeb20d18" providerId="ADAL" clId="{AA2DACD2-8492-4FDF-80C8-DF0025ECC2B8}" dt="2025-05-29T13:01:55.116" v="4316" actId="790"/>
          <ac:spMkLst>
            <pc:docMk/>
            <pc:sldMk cId="1317131211" sldId="2147479815"/>
            <ac:spMk id="22" creationId="{C24C4D83-A62C-EBA5-E6B4-0A3DA65815DF}"/>
          </ac:spMkLst>
        </pc:spChg>
        <pc:spChg chg="mod">
          <ac:chgData name="Juan Sebastián Giraldo" userId="2f39d921-1805-4fcf-9d80-fe66aeb20d18" providerId="ADAL" clId="{AA2DACD2-8492-4FDF-80C8-DF0025ECC2B8}" dt="2025-05-29T13:01:55.116" v="4316" actId="790"/>
          <ac:spMkLst>
            <pc:docMk/>
            <pc:sldMk cId="1317131211" sldId="2147479815"/>
            <ac:spMk id="23" creationId="{D581EF13-5067-2324-B2B3-B038C723D720}"/>
          </ac:spMkLst>
        </pc:spChg>
        <pc:spChg chg="mod">
          <ac:chgData name="Juan Sebastián Giraldo" userId="2f39d921-1805-4fcf-9d80-fe66aeb20d18" providerId="ADAL" clId="{AA2DACD2-8492-4FDF-80C8-DF0025ECC2B8}" dt="2025-05-29T13:01:55.116" v="4316" actId="790"/>
          <ac:spMkLst>
            <pc:docMk/>
            <pc:sldMk cId="1317131211" sldId="2147479815"/>
            <ac:spMk id="32" creationId="{F1699C61-FD22-3F56-6268-3C7AB9A79036}"/>
          </ac:spMkLst>
        </pc:spChg>
        <pc:spChg chg="mod">
          <ac:chgData name="Juan Sebastián Giraldo" userId="2f39d921-1805-4fcf-9d80-fe66aeb20d18" providerId="ADAL" clId="{AA2DACD2-8492-4FDF-80C8-DF0025ECC2B8}" dt="2025-05-27T11:33:20.704" v="2059" actId="790"/>
          <ac:spMkLst>
            <pc:docMk/>
            <pc:sldMk cId="1317131211" sldId="2147479815"/>
            <ac:spMk id="33" creationId="{D0749EEE-0EB1-94D5-4B6F-0735FD55674C}"/>
          </ac:spMkLst>
        </pc:spChg>
        <pc:spChg chg="mod">
          <ac:chgData name="Juan Sebastián Giraldo" userId="2f39d921-1805-4fcf-9d80-fe66aeb20d18" providerId="ADAL" clId="{AA2DACD2-8492-4FDF-80C8-DF0025ECC2B8}" dt="2025-05-27T11:33:20.704" v="2059" actId="790"/>
          <ac:spMkLst>
            <pc:docMk/>
            <pc:sldMk cId="1317131211" sldId="2147479815"/>
            <ac:spMk id="49" creationId="{57A04EEF-73A8-44D1-B808-9C2AE42D9B92}"/>
          </ac:spMkLst>
        </pc:spChg>
        <pc:spChg chg="mod">
          <ac:chgData name="Juan Sebastián Giraldo" userId="2f39d921-1805-4fcf-9d80-fe66aeb20d18" providerId="ADAL" clId="{AA2DACD2-8492-4FDF-80C8-DF0025ECC2B8}" dt="2025-05-29T13:01:55.116" v="4316" actId="790"/>
          <ac:spMkLst>
            <pc:docMk/>
            <pc:sldMk cId="1317131211" sldId="2147479815"/>
            <ac:spMk id="50" creationId="{C9E589D4-BAD5-4D14-9DCF-15352FBF6CC0}"/>
          </ac:spMkLst>
        </pc:spChg>
        <pc:spChg chg="mod">
          <ac:chgData name="Juan Sebastián Giraldo" userId="2f39d921-1805-4fcf-9d80-fe66aeb20d18" providerId="ADAL" clId="{AA2DACD2-8492-4FDF-80C8-DF0025ECC2B8}" dt="2025-05-27T11:33:20.704" v="2059" actId="790"/>
          <ac:spMkLst>
            <pc:docMk/>
            <pc:sldMk cId="1317131211" sldId="2147479815"/>
            <ac:spMk id="63" creationId="{878CF585-4D75-49BC-A341-85BEB0F16478}"/>
          </ac:spMkLst>
        </pc:spChg>
        <pc:spChg chg="mod">
          <ac:chgData name="Juan Sebastián Giraldo" userId="2f39d921-1805-4fcf-9d80-fe66aeb20d18" providerId="ADAL" clId="{AA2DACD2-8492-4FDF-80C8-DF0025ECC2B8}" dt="2025-05-29T13:01:55.116" v="4316" actId="790"/>
          <ac:spMkLst>
            <pc:docMk/>
            <pc:sldMk cId="1317131211" sldId="2147479815"/>
            <ac:spMk id="68" creationId="{3D185774-8569-42F4-8F26-FF1ED63975E0}"/>
          </ac:spMkLst>
        </pc:spChg>
        <pc:spChg chg="mod">
          <ac:chgData name="Juan Sebastián Giraldo" userId="2f39d921-1805-4fcf-9d80-fe66aeb20d18" providerId="ADAL" clId="{AA2DACD2-8492-4FDF-80C8-DF0025ECC2B8}" dt="2025-05-29T13:01:55.116" v="4316" actId="790"/>
          <ac:spMkLst>
            <pc:docMk/>
            <pc:sldMk cId="1317131211" sldId="2147479815"/>
            <ac:spMk id="69" creationId="{A75F376B-9D91-4169-9BA3-A9FE5F242002}"/>
          </ac:spMkLst>
        </pc:spChg>
        <pc:spChg chg="mod">
          <ac:chgData name="Juan Sebastián Giraldo" userId="2f39d921-1805-4fcf-9d80-fe66aeb20d18" providerId="ADAL" clId="{AA2DACD2-8492-4FDF-80C8-DF0025ECC2B8}" dt="2025-05-27T11:33:20.704" v="2059" actId="790"/>
          <ac:spMkLst>
            <pc:docMk/>
            <pc:sldMk cId="1317131211" sldId="2147479815"/>
            <ac:spMk id="73" creationId="{E8AE3318-536E-41B1-97EB-D86B6D238B83}"/>
          </ac:spMkLst>
        </pc:spChg>
        <pc:spChg chg="mod">
          <ac:chgData name="Juan Sebastián Giraldo" userId="2f39d921-1805-4fcf-9d80-fe66aeb20d18" providerId="ADAL" clId="{AA2DACD2-8492-4FDF-80C8-DF0025ECC2B8}" dt="2025-05-29T13:01:55.116" v="4316" actId="790"/>
          <ac:spMkLst>
            <pc:docMk/>
            <pc:sldMk cId="1317131211" sldId="2147479815"/>
            <ac:spMk id="75" creationId="{6A8BE685-ECFC-40FD-980B-0B131EAE396D}"/>
          </ac:spMkLst>
        </pc:spChg>
        <pc:spChg chg="mod">
          <ac:chgData name="Juan Sebastián Giraldo" userId="2f39d921-1805-4fcf-9d80-fe66aeb20d18" providerId="ADAL" clId="{AA2DACD2-8492-4FDF-80C8-DF0025ECC2B8}" dt="2025-05-29T13:01:55.116" v="4316" actId="790"/>
          <ac:spMkLst>
            <pc:docMk/>
            <pc:sldMk cId="1317131211" sldId="2147479815"/>
            <ac:spMk id="78" creationId="{8D0BD415-323B-40F9-9504-7F6E2294D033}"/>
          </ac:spMkLst>
        </pc:spChg>
        <pc:spChg chg="mod">
          <ac:chgData name="Juan Sebastián Giraldo" userId="2f39d921-1805-4fcf-9d80-fe66aeb20d18" providerId="ADAL" clId="{AA2DACD2-8492-4FDF-80C8-DF0025ECC2B8}" dt="2025-05-27T11:33:20.704" v="2059" actId="790"/>
          <ac:spMkLst>
            <pc:docMk/>
            <pc:sldMk cId="1317131211" sldId="2147479815"/>
            <ac:spMk id="80" creationId="{46249145-CABF-4D25-B853-78AA36DFB4D3}"/>
          </ac:spMkLst>
        </pc:spChg>
        <pc:spChg chg="mod">
          <ac:chgData name="Juan Sebastián Giraldo" userId="2f39d921-1805-4fcf-9d80-fe66aeb20d18" providerId="ADAL" clId="{AA2DACD2-8492-4FDF-80C8-DF0025ECC2B8}" dt="2025-05-27T11:33:20.704" v="2059" actId="790"/>
          <ac:spMkLst>
            <pc:docMk/>
            <pc:sldMk cId="1317131211" sldId="2147479815"/>
            <ac:spMk id="91" creationId="{44299C7C-B6D1-4FAA-B846-EADE0925FE23}"/>
          </ac:spMkLst>
        </pc:spChg>
      </pc:sldChg>
      <pc:sldChg chg="modSp mod">
        <pc:chgData name="Juan Sebastián Giraldo" userId="2f39d921-1805-4fcf-9d80-fe66aeb20d18" providerId="ADAL" clId="{AA2DACD2-8492-4FDF-80C8-DF0025ECC2B8}" dt="2025-05-29T13:01:55.116" v="4316" actId="790"/>
        <pc:sldMkLst>
          <pc:docMk/>
          <pc:sldMk cId="690403044" sldId="2147479848"/>
        </pc:sldMkLst>
        <pc:spChg chg="mod">
          <ac:chgData name="Juan Sebastián Giraldo" userId="2f39d921-1805-4fcf-9d80-fe66aeb20d18" providerId="ADAL" clId="{AA2DACD2-8492-4FDF-80C8-DF0025ECC2B8}" dt="2025-05-23T17:48:04.314" v="1030" actId="790"/>
          <ac:spMkLst>
            <pc:docMk/>
            <pc:sldMk cId="690403044" sldId="2147479848"/>
            <ac:spMk id="75" creationId="{B373360E-FC57-6827-1618-8E8D05A68C8B}"/>
          </ac:spMkLst>
        </pc:spChg>
        <pc:spChg chg="mod">
          <ac:chgData name="Juan Sebastián Giraldo" userId="2f39d921-1805-4fcf-9d80-fe66aeb20d18" providerId="ADAL" clId="{AA2DACD2-8492-4FDF-80C8-DF0025ECC2B8}" dt="2025-05-27T11:33:20.704" v="2059" actId="790"/>
          <ac:spMkLst>
            <pc:docMk/>
            <pc:sldMk cId="690403044" sldId="2147479848"/>
            <ac:spMk id="201" creationId="{081BF08B-DC5C-0F83-D3FE-2DD931D8D809}"/>
          </ac:spMkLst>
        </pc:spChg>
        <pc:spChg chg="mod">
          <ac:chgData name="Juan Sebastián Giraldo" userId="2f39d921-1805-4fcf-9d80-fe66aeb20d18" providerId="ADAL" clId="{AA2DACD2-8492-4FDF-80C8-DF0025ECC2B8}" dt="2025-05-23T17:48:04.314" v="1030" actId="790"/>
          <ac:spMkLst>
            <pc:docMk/>
            <pc:sldMk cId="690403044" sldId="2147479848"/>
            <ac:spMk id="215" creationId="{DAE2A913-26F7-1C60-C254-3295262486E9}"/>
          </ac:spMkLst>
        </pc:spChg>
        <pc:spChg chg="mod">
          <ac:chgData name="Juan Sebastián Giraldo" userId="2f39d921-1805-4fcf-9d80-fe66aeb20d18" providerId="ADAL" clId="{AA2DACD2-8492-4FDF-80C8-DF0025ECC2B8}" dt="2025-05-23T17:42:56.555" v="994" actId="20577"/>
          <ac:spMkLst>
            <pc:docMk/>
            <pc:sldMk cId="690403044" sldId="2147479848"/>
            <ac:spMk id="216" creationId="{AD50075C-4B8C-ECFC-208C-4BE9FB962497}"/>
          </ac:spMkLst>
        </pc:spChg>
        <pc:spChg chg="mod">
          <ac:chgData name="Juan Sebastián Giraldo" userId="2f39d921-1805-4fcf-9d80-fe66aeb20d18" providerId="ADAL" clId="{AA2DACD2-8492-4FDF-80C8-DF0025ECC2B8}" dt="2025-05-29T13:01:55.116" v="4316" actId="790"/>
          <ac:spMkLst>
            <pc:docMk/>
            <pc:sldMk cId="690403044" sldId="2147479848"/>
            <ac:spMk id="225" creationId="{C852DD92-BC0E-2D87-FE97-BF73E3F642F7}"/>
          </ac:spMkLst>
        </pc:spChg>
        <pc:spChg chg="mod">
          <ac:chgData name="Juan Sebastián Giraldo" userId="2f39d921-1805-4fcf-9d80-fe66aeb20d18" providerId="ADAL" clId="{AA2DACD2-8492-4FDF-80C8-DF0025ECC2B8}" dt="2025-05-27T11:33:20.704" v="2059" actId="790"/>
          <ac:spMkLst>
            <pc:docMk/>
            <pc:sldMk cId="690403044" sldId="2147479848"/>
            <ac:spMk id="230" creationId="{3C74F943-5D08-4127-BD3B-CA669E5FC67A}"/>
          </ac:spMkLst>
        </pc:spChg>
        <pc:spChg chg="mod">
          <ac:chgData name="Juan Sebastián Giraldo" userId="2f39d921-1805-4fcf-9d80-fe66aeb20d18" providerId="ADAL" clId="{AA2DACD2-8492-4FDF-80C8-DF0025ECC2B8}" dt="2025-05-23T17:48:04.314" v="1030" actId="790"/>
          <ac:spMkLst>
            <pc:docMk/>
            <pc:sldMk cId="690403044" sldId="2147479848"/>
            <ac:spMk id="232" creationId="{234CDEB5-82DB-11AF-1451-0B28214E7AF1}"/>
          </ac:spMkLst>
        </pc:spChg>
        <pc:spChg chg="mod">
          <ac:chgData name="Juan Sebastián Giraldo" userId="2f39d921-1805-4fcf-9d80-fe66aeb20d18" providerId="ADAL" clId="{AA2DACD2-8492-4FDF-80C8-DF0025ECC2B8}" dt="2025-05-29T13:01:55.116" v="4316" actId="790"/>
          <ac:spMkLst>
            <pc:docMk/>
            <pc:sldMk cId="690403044" sldId="2147479848"/>
            <ac:spMk id="239" creationId="{294E5187-C497-A573-CE06-89F59F850773}"/>
          </ac:spMkLst>
        </pc:spChg>
        <pc:spChg chg="mod">
          <ac:chgData name="Juan Sebastián Giraldo" userId="2f39d921-1805-4fcf-9d80-fe66aeb20d18" providerId="ADAL" clId="{AA2DACD2-8492-4FDF-80C8-DF0025ECC2B8}" dt="2025-05-27T11:33:20.704" v="2059" actId="790"/>
          <ac:spMkLst>
            <pc:docMk/>
            <pc:sldMk cId="690403044" sldId="2147479848"/>
            <ac:spMk id="245" creationId="{52BBA5EC-99AF-580E-8DEE-A2B734670088}"/>
          </ac:spMkLst>
        </pc:spChg>
        <pc:spChg chg="mod">
          <ac:chgData name="Juan Sebastián Giraldo" userId="2f39d921-1805-4fcf-9d80-fe66aeb20d18" providerId="ADAL" clId="{AA2DACD2-8492-4FDF-80C8-DF0025ECC2B8}" dt="2025-05-23T17:48:04.314" v="1030" actId="790"/>
          <ac:spMkLst>
            <pc:docMk/>
            <pc:sldMk cId="690403044" sldId="2147479848"/>
            <ac:spMk id="452" creationId="{9533C20D-0742-5B59-C78C-C41AE0D054E9}"/>
          </ac:spMkLst>
        </pc:spChg>
        <pc:spChg chg="mod">
          <ac:chgData name="Juan Sebastián Giraldo" userId="2f39d921-1805-4fcf-9d80-fe66aeb20d18" providerId="ADAL" clId="{AA2DACD2-8492-4FDF-80C8-DF0025ECC2B8}" dt="2025-05-23T17:48:04.314" v="1030" actId="790"/>
          <ac:spMkLst>
            <pc:docMk/>
            <pc:sldMk cId="690403044" sldId="2147479848"/>
            <ac:spMk id="466" creationId="{1ADA92D7-E5AD-1A20-DB62-9683F3E54E30}"/>
          </ac:spMkLst>
        </pc:spChg>
        <pc:spChg chg="mod">
          <ac:chgData name="Juan Sebastián Giraldo" userId="2f39d921-1805-4fcf-9d80-fe66aeb20d18" providerId="ADAL" clId="{AA2DACD2-8492-4FDF-80C8-DF0025ECC2B8}" dt="2025-05-29T13:01:55.116" v="4316" actId="790"/>
          <ac:spMkLst>
            <pc:docMk/>
            <pc:sldMk cId="690403044" sldId="2147479848"/>
            <ac:spMk id="480" creationId="{EEEAF8D4-4A3B-7607-1E48-3D92E322BEB1}"/>
          </ac:spMkLst>
        </pc:spChg>
        <pc:spChg chg="mod">
          <ac:chgData name="Juan Sebastián Giraldo" userId="2f39d921-1805-4fcf-9d80-fe66aeb20d18" providerId="ADAL" clId="{AA2DACD2-8492-4FDF-80C8-DF0025ECC2B8}" dt="2025-05-29T13:01:55.116" v="4316" actId="790"/>
          <ac:spMkLst>
            <pc:docMk/>
            <pc:sldMk cId="690403044" sldId="2147479848"/>
            <ac:spMk id="492" creationId="{CC70AE9A-2475-C8D5-CF48-D1C39B01979C}"/>
          </ac:spMkLst>
        </pc:spChg>
        <pc:spChg chg="mod">
          <ac:chgData name="Juan Sebastián Giraldo" userId="2f39d921-1805-4fcf-9d80-fe66aeb20d18" providerId="ADAL" clId="{AA2DACD2-8492-4FDF-80C8-DF0025ECC2B8}" dt="2025-05-29T13:01:55.116" v="4316" actId="790"/>
          <ac:spMkLst>
            <pc:docMk/>
            <pc:sldMk cId="690403044" sldId="2147479848"/>
            <ac:spMk id="518" creationId="{C9D23B55-4EEA-F854-0F99-AB2918560CE6}"/>
          </ac:spMkLst>
        </pc:spChg>
        <pc:spChg chg="mod">
          <ac:chgData name="Juan Sebastián Giraldo" userId="2f39d921-1805-4fcf-9d80-fe66aeb20d18" providerId="ADAL" clId="{AA2DACD2-8492-4FDF-80C8-DF0025ECC2B8}" dt="2025-05-27T11:33:20.704" v="2059" actId="790"/>
          <ac:spMkLst>
            <pc:docMk/>
            <pc:sldMk cId="690403044" sldId="2147479848"/>
            <ac:spMk id="527" creationId="{8BCCE3AD-5D12-81CE-06F7-377E92DAF52A}"/>
          </ac:spMkLst>
        </pc:spChg>
        <pc:spChg chg="mod">
          <ac:chgData name="Juan Sebastián Giraldo" userId="2f39d921-1805-4fcf-9d80-fe66aeb20d18" providerId="ADAL" clId="{AA2DACD2-8492-4FDF-80C8-DF0025ECC2B8}" dt="2025-05-23T17:48:04.314" v="1030" actId="790"/>
          <ac:spMkLst>
            <pc:docMk/>
            <pc:sldMk cId="690403044" sldId="2147479848"/>
            <ac:spMk id="529" creationId="{EBF36591-5908-8B3F-6DF9-A00C09E6BE9B}"/>
          </ac:spMkLst>
        </pc:spChg>
        <pc:spChg chg="mod">
          <ac:chgData name="Juan Sebastián Giraldo" userId="2f39d921-1805-4fcf-9d80-fe66aeb20d18" providerId="ADAL" clId="{AA2DACD2-8492-4FDF-80C8-DF0025ECC2B8}" dt="2025-05-27T11:33:20.704" v="2059" actId="790"/>
          <ac:spMkLst>
            <pc:docMk/>
            <pc:sldMk cId="690403044" sldId="2147479848"/>
            <ac:spMk id="552" creationId="{B27C1E18-7047-390C-4C82-86957F5900D8}"/>
          </ac:spMkLst>
        </pc:spChg>
        <pc:spChg chg="mod">
          <ac:chgData name="Juan Sebastián Giraldo" userId="2f39d921-1805-4fcf-9d80-fe66aeb20d18" providerId="ADAL" clId="{AA2DACD2-8492-4FDF-80C8-DF0025ECC2B8}" dt="2025-05-29T13:01:55.116" v="4316" actId="790"/>
          <ac:spMkLst>
            <pc:docMk/>
            <pc:sldMk cId="690403044" sldId="2147479848"/>
            <ac:spMk id="572" creationId="{975BF812-8534-AB24-CDE5-9DA5598B1FB7}"/>
          </ac:spMkLst>
        </pc:spChg>
        <pc:spChg chg="mod">
          <ac:chgData name="Juan Sebastián Giraldo" userId="2f39d921-1805-4fcf-9d80-fe66aeb20d18" providerId="ADAL" clId="{AA2DACD2-8492-4FDF-80C8-DF0025ECC2B8}" dt="2025-05-23T17:48:04.314" v="1030" actId="790"/>
          <ac:spMkLst>
            <pc:docMk/>
            <pc:sldMk cId="690403044" sldId="2147479848"/>
            <ac:spMk id="583" creationId="{338023E5-841F-B70D-0809-4DBC16C9BFE8}"/>
          </ac:spMkLst>
        </pc:spChg>
        <pc:spChg chg="mod">
          <ac:chgData name="Juan Sebastián Giraldo" userId="2f39d921-1805-4fcf-9d80-fe66aeb20d18" providerId="ADAL" clId="{AA2DACD2-8492-4FDF-80C8-DF0025ECC2B8}" dt="2025-05-27T11:33:20.704" v="2059" actId="790"/>
          <ac:spMkLst>
            <pc:docMk/>
            <pc:sldMk cId="690403044" sldId="2147479848"/>
            <ac:spMk id="584" creationId="{22CF3989-4325-E239-2A36-12B9042AB940}"/>
          </ac:spMkLst>
        </pc:spChg>
        <pc:spChg chg="mod">
          <ac:chgData name="Juan Sebastián Giraldo" userId="2f39d921-1805-4fcf-9d80-fe66aeb20d18" providerId="ADAL" clId="{AA2DACD2-8492-4FDF-80C8-DF0025ECC2B8}" dt="2025-05-29T13:01:55.116" v="4316" actId="790"/>
          <ac:spMkLst>
            <pc:docMk/>
            <pc:sldMk cId="690403044" sldId="2147479848"/>
            <ac:spMk id="585" creationId="{87F4C2BC-0187-FE6E-BBB2-F59C13B1185D}"/>
          </ac:spMkLst>
        </pc:spChg>
        <pc:spChg chg="mod">
          <ac:chgData name="Juan Sebastián Giraldo" userId="2f39d921-1805-4fcf-9d80-fe66aeb20d18" providerId="ADAL" clId="{AA2DACD2-8492-4FDF-80C8-DF0025ECC2B8}" dt="2025-05-29T13:01:55.116" v="4316" actId="790"/>
          <ac:spMkLst>
            <pc:docMk/>
            <pc:sldMk cId="690403044" sldId="2147479848"/>
            <ac:spMk id="622" creationId="{A4CD2A1A-BA85-EEED-6F03-BA0D31D179A0}"/>
          </ac:spMkLst>
        </pc:spChg>
        <pc:spChg chg="mod">
          <ac:chgData name="Juan Sebastián Giraldo" userId="2f39d921-1805-4fcf-9d80-fe66aeb20d18" providerId="ADAL" clId="{AA2DACD2-8492-4FDF-80C8-DF0025ECC2B8}" dt="2025-05-27T11:33:20.704" v="2059" actId="790"/>
          <ac:spMkLst>
            <pc:docMk/>
            <pc:sldMk cId="690403044" sldId="2147479848"/>
            <ac:spMk id="645" creationId="{89233BC8-3440-FF7C-8742-7A5196A5F440}"/>
          </ac:spMkLst>
        </pc:spChg>
        <pc:spChg chg="mod">
          <ac:chgData name="Juan Sebastián Giraldo" userId="2f39d921-1805-4fcf-9d80-fe66aeb20d18" providerId="ADAL" clId="{AA2DACD2-8492-4FDF-80C8-DF0025ECC2B8}" dt="2025-05-23T17:48:04.314" v="1030" actId="790"/>
          <ac:spMkLst>
            <pc:docMk/>
            <pc:sldMk cId="690403044" sldId="2147479848"/>
            <ac:spMk id="672" creationId="{6200FF54-427A-019F-42C7-9667EFB06101}"/>
          </ac:spMkLst>
        </pc:spChg>
        <pc:spChg chg="mod">
          <ac:chgData name="Juan Sebastián Giraldo" userId="2f39d921-1805-4fcf-9d80-fe66aeb20d18" providerId="ADAL" clId="{AA2DACD2-8492-4FDF-80C8-DF0025ECC2B8}" dt="2025-05-29T13:01:55.116" v="4316" actId="790"/>
          <ac:spMkLst>
            <pc:docMk/>
            <pc:sldMk cId="690403044" sldId="2147479848"/>
            <ac:spMk id="687" creationId="{E2F97553-AA11-FE54-6F67-EBE4B27E7B46}"/>
          </ac:spMkLst>
        </pc:spChg>
        <pc:spChg chg="mod">
          <ac:chgData name="Juan Sebastián Giraldo" userId="2f39d921-1805-4fcf-9d80-fe66aeb20d18" providerId="ADAL" clId="{AA2DACD2-8492-4FDF-80C8-DF0025ECC2B8}" dt="2025-05-27T11:33:20.704" v="2059" actId="790"/>
          <ac:spMkLst>
            <pc:docMk/>
            <pc:sldMk cId="690403044" sldId="2147479848"/>
            <ac:spMk id="689" creationId="{ECC3DB7E-F88C-A501-5373-B2E7980D17FF}"/>
          </ac:spMkLst>
        </pc:spChg>
        <pc:spChg chg="mod">
          <ac:chgData name="Juan Sebastián Giraldo" userId="2f39d921-1805-4fcf-9d80-fe66aeb20d18" providerId="ADAL" clId="{AA2DACD2-8492-4FDF-80C8-DF0025ECC2B8}" dt="2025-05-23T17:48:04.314" v="1030" actId="790"/>
          <ac:spMkLst>
            <pc:docMk/>
            <pc:sldMk cId="690403044" sldId="2147479848"/>
            <ac:spMk id="695" creationId="{61EA2E3E-1DE4-A92B-9732-FDCD70BAB115}"/>
          </ac:spMkLst>
        </pc:spChg>
        <pc:spChg chg="mod">
          <ac:chgData name="Juan Sebastián Giraldo" userId="2f39d921-1805-4fcf-9d80-fe66aeb20d18" providerId="ADAL" clId="{AA2DACD2-8492-4FDF-80C8-DF0025ECC2B8}" dt="2025-05-29T13:01:55.116" v="4316" actId="790"/>
          <ac:spMkLst>
            <pc:docMk/>
            <pc:sldMk cId="690403044" sldId="2147479848"/>
            <ac:spMk id="723" creationId="{98F8BDAB-8094-B16D-6E38-9F3D46AD6FAA}"/>
          </ac:spMkLst>
        </pc:spChg>
        <pc:spChg chg="mod">
          <ac:chgData name="Juan Sebastián Giraldo" userId="2f39d921-1805-4fcf-9d80-fe66aeb20d18" providerId="ADAL" clId="{AA2DACD2-8492-4FDF-80C8-DF0025ECC2B8}" dt="2025-05-27T11:33:20.704" v="2059" actId="790"/>
          <ac:spMkLst>
            <pc:docMk/>
            <pc:sldMk cId="690403044" sldId="2147479848"/>
            <ac:spMk id="749" creationId="{F6DE19FC-001E-8B87-9779-8B973F4612C8}"/>
          </ac:spMkLst>
        </pc:spChg>
        <pc:spChg chg="mod">
          <ac:chgData name="Juan Sebastián Giraldo" userId="2f39d921-1805-4fcf-9d80-fe66aeb20d18" providerId="ADAL" clId="{AA2DACD2-8492-4FDF-80C8-DF0025ECC2B8}" dt="2025-05-27T11:33:20.704" v="2059" actId="790"/>
          <ac:spMkLst>
            <pc:docMk/>
            <pc:sldMk cId="690403044" sldId="2147479848"/>
            <ac:spMk id="812" creationId="{A556F0BF-85BD-0DE8-F50D-CFBFA13BA926}"/>
          </ac:spMkLst>
        </pc:spChg>
      </pc:sldChg>
      <pc:sldChg chg="modSp add mod ord">
        <pc:chgData name="Juan Sebastián Giraldo" userId="2f39d921-1805-4fcf-9d80-fe66aeb20d18" providerId="ADAL" clId="{AA2DACD2-8492-4FDF-80C8-DF0025ECC2B8}" dt="2025-05-29T15:16:05.949" v="4869"/>
        <pc:sldMkLst>
          <pc:docMk/>
          <pc:sldMk cId="792726629" sldId="2147479857"/>
        </pc:sldMkLst>
        <pc:spChg chg="mod">
          <ac:chgData name="Juan Sebastián Giraldo" userId="2f39d921-1805-4fcf-9d80-fe66aeb20d18" providerId="ADAL" clId="{AA2DACD2-8492-4FDF-80C8-DF0025ECC2B8}" dt="2025-05-29T13:01:55.116" v="4316" actId="790"/>
          <ac:spMkLst>
            <pc:docMk/>
            <pc:sldMk cId="792726629" sldId="2147479857"/>
            <ac:spMk id="2" creationId="{4CAD477B-A74D-49C0-202B-2456AA3FCCA8}"/>
          </ac:spMkLst>
        </pc:spChg>
        <pc:spChg chg="mod">
          <ac:chgData name="Juan Sebastián Giraldo" userId="2f39d921-1805-4fcf-9d80-fe66aeb20d18" providerId="ADAL" clId="{AA2DACD2-8492-4FDF-80C8-DF0025ECC2B8}" dt="2025-05-27T10:47:49.069" v="1623" actId="207"/>
          <ac:spMkLst>
            <pc:docMk/>
            <pc:sldMk cId="792726629" sldId="2147479857"/>
            <ac:spMk id="3" creationId="{CAFA229A-D7E4-5490-7BE9-1ECB02C2DCBB}"/>
          </ac:spMkLst>
        </pc:spChg>
        <pc:spChg chg="mod">
          <ac:chgData name="Juan Sebastián Giraldo" userId="2f39d921-1805-4fcf-9d80-fe66aeb20d18" providerId="ADAL" clId="{AA2DACD2-8492-4FDF-80C8-DF0025ECC2B8}" dt="2025-05-27T11:33:20.704" v="2059" actId="790"/>
          <ac:spMkLst>
            <pc:docMk/>
            <pc:sldMk cId="792726629" sldId="2147479857"/>
            <ac:spMk id="4" creationId="{4A9DE4DD-F1BE-61EF-1D1D-9467C489FF0B}"/>
          </ac:spMkLst>
        </pc:spChg>
        <pc:spChg chg="mod">
          <ac:chgData name="Juan Sebastián Giraldo" userId="2f39d921-1805-4fcf-9d80-fe66aeb20d18" providerId="ADAL" clId="{AA2DACD2-8492-4FDF-80C8-DF0025ECC2B8}" dt="2025-05-27T11:33:20.704" v="2059" actId="790"/>
          <ac:spMkLst>
            <pc:docMk/>
            <pc:sldMk cId="792726629" sldId="2147479857"/>
            <ac:spMk id="5" creationId="{72231230-FEA8-A7DD-E009-0AB80957FB11}"/>
          </ac:spMkLst>
        </pc:spChg>
        <pc:spChg chg="mod">
          <ac:chgData name="Juan Sebastián Giraldo" userId="2f39d921-1805-4fcf-9d80-fe66aeb20d18" providerId="ADAL" clId="{AA2DACD2-8492-4FDF-80C8-DF0025ECC2B8}" dt="2025-05-23T17:46:16.835" v="1013" actId="1076"/>
          <ac:spMkLst>
            <pc:docMk/>
            <pc:sldMk cId="792726629" sldId="2147479857"/>
            <ac:spMk id="6" creationId="{28C1B8B7-4C39-D0C1-3675-61C9B9D5E39C}"/>
          </ac:spMkLst>
        </pc:spChg>
        <pc:spChg chg="mod">
          <ac:chgData name="Juan Sebastián Giraldo" userId="2f39d921-1805-4fcf-9d80-fe66aeb20d18" providerId="ADAL" clId="{AA2DACD2-8492-4FDF-80C8-DF0025ECC2B8}" dt="2025-05-29T13:01:55.116" v="4316" actId="790"/>
          <ac:spMkLst>
            <pc:docMk/>
            <pc:sldMk cId="792726629" sldId="2147479857"/>
            <ac:spMk id="7" creationId="{908548A3-22D2-2D70-35FB-A8C9236D15B5}"/>
          </ac:spMkLst>
        </pc:spChg>
        <pc:spChg chg="mod">
          <ac:chgData name="Juan Sebastián Giraldo" userId="2f39d921-1805-4fcf-9d80-fe66aeb20d18" providerId="ADAL" clId="{AA2DACD2-8492-4FDF-80C8-DF0025ECC2B8}" dt="2025-05-29T13:01:55.116" v="4316" actId="790"/>
          <ac:spMkLst>
            <pc:docMk/>
            <pc:sldMk cId="792726629" sldId="2147479857"/>
            <ac:spMk id="9" creationId="{380B38A2-44E8-5945-2F7F-E0F854BDB802}"/>
          </ac:spMkLst>
        </pc:spChg>
        <pc:spChg chg="mod">
          <ac:chgData name="Juan Sebastián Giraldo" userId="2f39d921-1805-4fcf-9d80-fe66aeb20d18" providerId="ADAL" clId="{AA2DACD2-8492-4FDF-80C8-DF0025ECC2B8}" dt="2025-05-29T13:01:55.116" v="4316" actId="790"/>
          <ac:spMkLst>
            <pc:docMk/>
            <pc:sldMk cId="792726629" sldId="2147479857"/>
            <ac:spMk id="10" creationId="{66A06C2D-6E9F-3B32-4B3D-8CB8F5482807}"/>
          </ac:spMkLst>
        </pc:spChg>
        <pc:spChg chg="mod">
          <ac:chgData name="Juan Sebastián Giraldo" userId="2f39d921-1805-4fcf-9d80-fe66aeb20d18" providerId="ADAL" clId="{AA2DACD2-8492-4FDF-80C8-DF0025ECC2B8}" dt="2025-05-23T17:48:25.528" v="1040"/>
          <ac:spMkLst>
            <pc:docMk/>
            <pc:sldMk cId="792726629" sldId="2147479857"/>
            <ac:spMk id="11" creationId="{CDEC58E0-ECF3-9177-F4ED-02F72D1E5273}"/>
          </ac:spMkLst>
        </pc:spChg>
        <pc:spChg chg="mod">
          <ac:chgData name="Juan Sebastián Giraldo" userId="2f39d921-1805-4fcf-9d80-fe66aeb20d18" providerId="ADAL" clId="{AA2DACD2-8492-4FDF-80C8-DF0025ECC2B8}" dt="2025-05-27T11:13:38.023" v="1714" actId="208"/>
          <ac:spMkLst>
            <pc:docMk/>
            <pc:sldMk cId="792726629" sldId="2147479857"/>
            <ac:spMk id="12" creationId="{5CB5FC80-8BBB-A7C6-8BE8-00955FFE8B0E}"/>
          </ac:spMkLst>
        </pc:spChg>
        <pc:spChg chg="mod">
          <ac:chgData name="Juan Sebastián Giraldo" userId="2f39d921-1805-4fcf-9d80-fe66aeb20d18" providerId="ADAL" clId="{AA2DACD2-8492-4FDF-80C8-DF0025ECC2B8}" dt="2025-05-23T18:20:03.284" v="1190" actId="14100"/>
          <ac:spMkLst>
            <pc:docMk/>
            <pc:sldMk cId="792726629" sldId="2147479857"/>
            <ac:spMk id="13" creationId="{1DA0E0C1-BF84-CF0B-2C35-B034CEE0B460}"/>
          </ac:spMkLst>
        </pc:spChg>
        <pc:spChg chg="mod">
          <ac:chgData name="Juan Sebastián Giraldo" userId="2f39d921-1805-4fcf-9d80-fe66aeb20d18" providerId="ADAL" clId="{AA2DACD2-8492-4FDF-80C8-DF0025ECC2B8}" dt="2025-05-23T18:19:59.878" v="1189" actId="14100"/>
          <ac:spMkLst>
            <pc:docMk/>
            <pc:sldMk cId="792726629" sldId="2147479857"/>
            <ac:spMk id="16" creationId="{69172E86-CE08-8608-4553-93710D05EBA6}"/>
          </ac:spMkLst>
        </pc:spChg>
        <pc:spChg chg="mod">
          <ac:chgData name="Juan Sebastián Giraldo" userId="2f39d921-1805-4fcf-9d80-fe66aeb20d18" providerId="ADAL" clId="{AA2DACD2-8492-4FDF-80C8-DF0025ECC2B8}" dt="2025-05-27T11:33:20.704" v="2059" actId="790"/>
          <ac:spMkLst>
            <pc:docMk/>
            <pc:sldMk cId="792726629" sldId="2147479857"/>
            <ac:spMk id="17" creationId="{3334C950-268C-11DE-B8F3-823CAD6BABE7}"/>
          </ac:spMkLst>
        </pc:spChg>
        <pc:spChg chg="mod">
          <ac:chgData name="Juan Sebastián Giraldo" userId="2f39d921-1805-4fcf-9d80-fe66aeb20d18" providerId="ADAL" clId="{AA2DACD2-8492-4FDF-80C8-DF0025ECC2B8}" dt="2025-05-29T13:01:55.116" v="4316" actId="790"/>
          <ac:spMkLst>
            <pc:docMk/>
            <pc:sldMk cId="792726629" sldId="2147479857"/>
            <ac:spMk id="18" creationId="{6639A38E-D3F3-F32A-DD0B-7FF0D8967989}"/>
          </ac:spMkLst>
        </pc:spChg>
        <pc:spChg chg="mod">
          <ac:chgData name="Juan Sebastián Giraldo" userId="2f39d921-1805-4fcf-9d80-fe66aeb20d18" providerId="ADAL" clId="{AA2DACD2-8492-4FDF-80C8-DF0025ECC2B8}" dt="2025-05-23T17:48:04.314" v="1030" actId="790"/>
          <ac:spMkLst>
            <pc:docMk/>
            <pc:sldMk cId="792726629" sldId="2147479857"/>
            <ac:spMk id="19" creationId="{181AF6EF-CDF0-B6E5-FCC6-DF5D54F5E552}"/>
          </ac:spMkLst>
        </pc:spChg>
        <pc:spChg chg="mod">
          <ac:chgData name="Juan Sebastián Giraldo" userId="2f39d921-1805-4fcf-9d80-fe66aeb20d18" providerId="ADAL" clId="{AA2DACD2-8492-4FDF-80C8-DF0025ECC2B8}" dt="2025-05-23T17:46:01.350" v="1010" actId="1035"/>
          <ac:spMkLst>
            <pc:docMk/>
            <pc:sldMk cId="792726629" sldId="2147479857"/>
            <ac:spMk id="20" creationId="{A75E189E-B2BE-DD0A-4AF7-71E17FB258F5}"/>
          </ac:spMkLst>
        </pc:spChg>
        <pc:spChg chg="mod">
          <ac:chgData name="Juan Sebastián Giraldo" userId="2f39d921-1805-4fcf-9d80-fe66aeb20d18" providerId="ADAL" clId="{AA2DACD2-8492-4FDF-80C8-DF0025ECC2B8}" dt="2025-05-29T13:01:55.116" v="4316" actId="790"/>
          <ac:spMkLst>
            <pc:docMk/>
            <pc:sldMk cId="792726629" sldId="2147479857"/>
            <ac:spMk id="21" creationId="{D7F18F54-FC40-60FE-A2E1-37232BC012E6}"/>
          </ac:spMkLst>
        </pc:spChg>
        <pc:spChg chg="mod">
          <ac:chgData name="Juan Sebastián Giraldo" userId="2f39d921-1805-4fcf-9d80-fe66aeb20d18" providerId="ADAL" clId="{AA2DACD2-8492-4FDF-80C8-DF0025ECC2B8}" dt="2025-05-27T11:13:32.287" v="1713" actId="207"/>
          <ac:spMkLst>
            <pc:docMk/>
            <pc:sldMk cId="792726629" sldId="2147479857"/>
            <ac:spMk id="22" creationId="{5261D79D-917E-EF57-CB32-F6BAE7C69726}"/>
          </ac:spMkLst>
        </pc:spChg>
        <pc:spChg chg="mod">
          <ac:chgData name="Juan Sebastián Giraldo" userId="2f39d921-1805-4fcf-9d80-fe66aeb20d18" providerId="ADAL" clId="{AA2DACD2-8492-4FDF-80C8-DF0025ECC2B8}" dt="2025-05-29T13:01:55.116" v="4316" actId="790"/>
          <ac:spMkLst>
            <pc:docMk/>
            <pc:sldMk cId="792726629" sldId="2147479857"/>
            <ac:spMk id="23" creationId="{29C068AB-7ED8-3465-EDF7-3B35D8C6B47A}"/>
          </ac:spMkLst>
        </pc:spChg>
        <pc:spChg chg="mod">
          <ac:chgData name="Juan Sebastián Giraldo" userId="2f39d921-1805-4fcf-9d80-fe66aeb20d18" providerId="ADAL" clId="{AA2DACD2-8492-4FDF-80C8-DF0025ECC2B8}" dt="2025-05-29T13:01:55.116" v="4316" actId="790"/>
          <ac:spMkLst>
            <pc:docMk/>
            <pc:sldMk cId="792726629" sldId="2147479857"/>
            <ac:spMk id="27" creationId="{F1FD1F04-A20D-3911-0A42-0451395B442C}"/>
          </ac:spMkLst>
        </pc:spChg>
        <pc:spChg chg="mod ord">
          <ac:chgData name="Juan Sebastián Giraldo" userId="2f39d921-1805-4fcf-9d80-fe66aeb20d18" providerId="ADAL" clId="{AA2DACD2-8492-4FDF-80C8-DF0025ECC2B8}" dt="2025-05-27T10:48:19.489" v="1625" actId="166"/>
          <ac:spMkLst>
            <pc:docMk/>
            <pc:sldMk cId="792726629" sldId="2147479857"/>
            <ac:spMk id="29" creationId="{7D6EFB50-ED2C-5A76-DFA7-DFDBD5B5B3BD}"/>
          </ac:spMkLst>
        </pc:spChg>
        <pc:spChg chg="mod">
          <ac:chgData name="Juan Sebastián Giraldo" userId="2f39d921-1805-4fcf-9d80-fe66aeb20d18" providerId="ADAL" clId="{AA2DACD2-8492-4FDF-80C8-DF0025ECC2B8}" dt="2025-05-23T17:47:45.663" v="1029" actId="14100"/>
          <ac:spMkLst>
            <pc:docMk/>
            <pc:sldMk cId="792726629" sldId="2147479857"/>
            <ac:spMk id="38" creationId="{081CD48A-0521-9DB3-8AD1-962F9338CDF8}"/>
          </ac:spMkLst>
        </pc:spChg>
        <pc:spChg chg="mod">
          <ac:chgData name="Juan Sebastián Giraldo" userId="2f39d921-1805-4fcf-9d80-fe66aeb20d18" providerId="ADAL" clId="{AA2DACD2-8492-4FDF-80C8-DF0025ECC2B8}" dt="2025-05-29T13:01:55.116" v="4316" actId="790"/>
          <ac:spMkLst>
            <pc:docMk/>
            <pc:sldMk cId="792726629" sldId="2147479857"/>
            <ac:spMk id="40" creationId="{2B44B8A2-F2E5-FF45-7C6B-23286C0D9B48}"/>
          </ac:spMkLst>
        </pc:spChg>
        <pc:spChg chg="mod">
          <ac:chgData name="Juan Sebastián Giraldo" userId="2f39d921-1805-4fcf-9d80-fe66aeb20d18" providerId="ADAL" clId="{AA2DACD2-8492-4FDF-80C8-DF0025ECC2B8}" dt="2025-05-27T11:33:20.704" v="2059" actId="790"/>
          <ac:spMkLst>
            <pc:docMk/>
            <pc:sldMk cId="792726629" sldId="2147479857"/>
            <ac:spMk id="42" creationId="{71168B45-EAC3-0016-A50F-2682418E5DE8}"/>
          </ac:spMkLst>
        </pc:spChg>
        <pc:spChg chg="mod">
          <ac:chgData name="Juan Sebastián Giraldo" userId="2f39d921-1805-4fcf-9d80-fe66aeb20d18" providerId="ADAL" clId="{AA2DACD2-8492-4FDF-80C8-DF0025ECC2B8}" dt="2025-05-29T13:01:55.116" v="4316" actId="790"/>
          <ac:spMkLst>
            <pc:docMk/>
            <pc:sldMk cId="792726629" sldId="2147479857"/>
            <ac:spMk id="44" creationId="{55466CB2-29DC-D2DD-355F-854AA965B0B1}"/>
          </ac:spMkLst>
        </pc:spChg>
        <pc:grpChg chg="mod">
          <ac:chgData name="Juan Sebastián Giraldo" userId="2f39d921-1805-4fcf-9d80-fe66aeb20d18" providerId="ADAL" clId="{AA2DACD2-8492-4FDF-80C8-DF0025ECC2B8}" dt="2025-05-27T10:46:59.985" v="1617" actId="207"/>
          <ac:grpSpMkLst>
            <pc:docMk/>
            <pc:sldMk cId="792726629" sldId="2147479857"/>
            <ac:grpSpMk id="8" creationId="{8169BF80-7CB2-0416-A27D-94865C5384E3}"/>
          </ac:grpSpMkLst>
        </pc:grpChg>
        <pc:grpChg chg="mod">
          <ac:chgData name="Juan Sebastián Giraldo" userId="2f39d921-1805-4fcf-9d80-fe66aeb20d18" providerId="ADAL" clId="{AA2DACD2-8492-4FDF-80C8-DF0025ECC2B8}" dt="2025-05-27T10:48:06.026" v="1624" actId="14100"/>
          <ac:grpSpMkLst>
            <pc:docMk/>
            <pc:sldMk cId="792726629" sldId="2147479857"/>
            <ac:grpSpMk id="30" creationId="{301E7937-FAFA-15BE-718E-80415528A34F}"/>
          </ac:grpSpMkLst>
        </pc:grpChg>
        <pc:grpChg chg="mod">
          <ac:chgData name="Juan Sebastián Giraldo" userId="2f39d921-1805-4fcf-9d80-fe66aeb20d18" providerId="ADAL" clId="{AA2DACD2-8492-4FDF-80C8-DF0025ECC2B8}" dt="2025-05-23T17:48:25.528" v="1040"/>
          <ac:grpSpMkLst>
            <pc:docMk/>
            <pc:sldMk cId="792726629" sldId="2147479857"/>
            <ac:grpSpMk id="31" creationId="{1482D586-C458-C82B-E6D5-399744B5F666}"/>
          </ac:grpSpMkLst>
        </pc:grpChg>
        <pc:picChg chg="mod">
          <ac:chgData name="Juan Sebastián Giraldo" userId="2f39d921-1805-4fcf-9d80-fe66aeb20d18" providerId="ADAL" clId="{AA2DACD2-8492-4FDF-80C8-DF0025ECC2B8}" dt="2025-05-23T17:45:55.183" v="997" actId="1076"/>
          <ac:picMkLst>
            <pc:docMk/>
            <pc:sldMk cId="792726629" sldId="2147479857"/>
            <ac:picMk id="14" creationId="{EC756E3C-70FC-B610-1618-55FC485E6122}"/>
          </ac:picMkLst>
        </pc:picChg>
        <pc:picChg chg="mod">
          <ac:chgData name="Juan Sebastián Giraldo" userId="2f39d921-1805-4fcf-9d80-fe66aeb20d18" providerId="ADAL" clId="{AA2DACD2-8492-4FDF-80C8-DF0025ECC2B8}" dt="2025-05-23T17:45:51.452" v="996" actId="1076"/>
          <ac:picMkLst>
            <pc:docMk/>
            <pc:sldMk cId="792726629" sldId="2147479857"/>
            <ac:picMk id="1026" creationId="{EE1A5AA0-AE43-CE3E-5DE1-2B8622C39071}"/>
          </ac:picMkLst>
        </pc:picChg>
      </pc:sldChg>
      <pc:sldChg chg="addSp delSp modSp add mod">
        <pc:chgData name="Juan Sebastián Giraldo" userId="2f39d921-1805-4fcf-9d80-fe66aeb20d18" providerId="ADAL" clId="{AA2DACD2-8492-4FDF-80C8-DF0025ECC2B8}" dt="2025-05-29T13:01:55.116" v="4316" actId="790"/>
        <pc:sldMkLst>
          <pc:docMk/>
          <pc:sldMk cId="389785373" sldId="2147479870"/>
        </pc:sldMkLst>
        <pc:spChg chg="mod">
          <ac:chgData name="Juan Sebastián Giraldo" userId="2f39d921-1805-4fcf-9d80-fe66aeb20d18" providerId="ADAL" clId="{AA2DACD2-8492-4FDF-80C8-DF0025ECC2B8}" dt="2025-05-27T11:33:20.704" v="2059" actId="790"/>
          <ac:spMkLst>
            <pc:docMk/>
            <pc:sldMk cId="389785373" sldId="2147479870"/>
            <ac:spMk id="49" creationId="{DDE3898B-D814-64F3-BD8C-50FF6C938DBD}"/>
          </ac:spMkLst>
        </pc:spChg>
        <pc:spChg chg="mod">
          <ac:chgData name="Juan Sebastián Giraldo" userId="2f39d921-1805-4fcf-9d80-fe66aeb20d18" providerId="ADAL" clId="{AA2DACD2-8492-4FDF-80C8-DF0025ECC2B8}" dt="2025-05-29T13:01:55.116" v="4316" actId="790"/>
          <ac:spMkLst>
            <pc:docMk/>
            <pc:sldMk cId="389785373" sldId="2147479870"/>
            <ac:spMk id="2065" creationId="{7FBD72B9-2FB5-6380-160D-214255BA2248}"/>
          </ac:spMkLst>
        </pc:spChg>
        <pc:spChg chg="mod">
          <ac:chgData name="Juan Sebastián Giraldo" userId="2f39d921-1805-4fcf-9d80-fe66aeb20d18" providerId="ADAL" clId="{AA2DACD2-8492-4FDF-80C8-DF0025ECC2B8}" dt="2025-05-29T13:01:55.116" v="4316" actId="790"/>
          <ac:spMkLst>
            <pc:docMk/>
            <pc:sldMk cId="389785373" sldId="2147479870"/>
            <ac:spMk id="2068" creationId="{A1E3EA4C-3DF7-9340-099A-A87644086554}"/>
          </ac:spMkLst>
        </pc:spChg>
        <pc:spChg chg="mod">
          <ac:chgData name="Juan Sebastián Giraldo" userId="2f39d921-1805-4fcf-9d80-fe66aeb20d18" providerId="ADAL" clId="{AA2DACD2-8492-4FDF-80C8-DF0025ECC2B8}" dt="2025-05-29T13:01:55.116" v="4316" actId="790"/>
          <ac:spMkLst>
            <pc:docMk/>
            <pc:sldMk cId="389785373" sldId="2147479870"/>
            <ac:spMk id="2069" creationId="{890B0E3C-685D-17B3-583B-7E37BC0BE1AE}"/>
          </ac:spMkLst>
        </pc:spChg>
        <pc:spChg chg="mod">
          <ac:chgData name="Juan Sebastián Giraldo" userId="2f39d921-1805-4fcf-9d80-fe66aeb20d18" providerId="ADAL" clId="{AA2DACD2-8492-4FDF-80C8-DF0025ECC2B8}" dt="2025-05-23T18:12:00.184" v="1187" actId="948"/>
          <ac:spMkLst>
            <pc:docMk/>
            <pc:sldMk cId="389785373" sldId="2147479870"/>
            <ac:spMk id="2070" creationId="{5461F4C0-6004-7EDD-DAFB-5F9637EE5ED6}"/>
          </ac:spMkLst>
        </pc:spChg>
        <pc:spChg chg="mod">
          <ac:chgData name="Juan Sebastián Giraldo" userId="2f39d921-1805-4fcf-9d80-fe66aeb20d18" providerId="ADAL" clId="{AA2DACD2-8492-4FDF-80C8-DF0025ECC2B8}" dt="2025-05-29T13:01:55.116" v="4316" actId="790"/>
          <ac:spMkLst>
            <pc:docMk/>
            <pc:sldMk cId="389785373" sldId="2147479870"/>
            <ac:spMk id="2071" creationId="{C2FF2F87-A65F-947D-3B95-F31A80FD8353}"/>
          </ac:spMkLst>
        </pc:spChg>
        <pc:spChg chg="mod">
          <ac:chgData name="Juan Sebastián Giraldo" userId="2f39d921-1805-4fcf-9d80-fe66aeb20d18" providerId="ADAL" clId="{AA2DACD2-8492-4FDF-80C8-DF0025ECC2B8}" dt="2025-05-29T13:01:55.116" v="4316" actId="790"/>
          <ac:spMkLst>
            <pc:docMk/>
            <pc:sldMk cId="389785373" sldId="2147479870"/>
            <ac:spMk id="2080" creationId="{2625DAB5-940A-FE99-7117-F109FB9F90E4}"/>
          </ac:spMkLst>
        </pc:spChg>
        <pc:spChg chg="mod">
          <ac:chgData name="Juan Sebastián Giraldo" userId="2f39d921-1805-4fcf-9d80-fe66aeb20d18" providerId="ADAL" clId="{AA2DACD2-8492-4FDF-80C8-DF0025ECC2B8}" dt="2025-05-29T13:01:55.116" v="4316" actId="790"/>
          <ac:spMkLst>
            <pc:docMk/>
            <pc:sldMk cId="389785373" sldId="2147479870"/>
            <ac:spMk id="2081" creationId="{95676775-727A-0C35-FAB7-8E7CF24C589C}"/>
          </ac:spMkLst>
        </pc:spChg>
        <pc:spChg chg="mod">
          <ac:chgData name="Juan Sebastián Giraldo" userId="2f39d921-1805-4fcf-9d80-fe66aeb20d18" providerId="ADAL" clId="{AA2DACD2-8492-4FDF-80C8-DF0025ECC2B8}" dt="2025-05-27T11:33:20.704" v="2059" actId="790"/>
          <ac:spMkLst>
            <pc:docMk/>
            <pc:sldMk cId="389785373" sldId="2147479870"/>
            <ac:spMk id="2086" creationId="{183EF247-1C6C-8390-FFC6-A4F30769F731}"/>
          </ac:spMkLst>
        </pc:spChg>
        <pc:spChg chg="mod">
          <ac:chgData name="Juan Sebastián Giraldo" userId="2f39d921-1805-4fcf-9d80-fe66aeb20d18" providerId="ADAL" clId="{AA2DACD2-8492-4FDF-80C8-DF0025ECC2B8}" dt="2025-05-29T13:01:55.116" v="4316" actId="790"/>
          <ac:spMkLst>
            <pc:docMk/>
            <pc:sldMk cId="389785373" sldId="2147479870"/>
            <ac:spMk id="2091" creationId="{9C839852-656E-AA34-84AB-D6C98D8A03D2}"/>
          </ac:spMkLst>
        </pc:spChg>
        <pc:spChg chg="mod">
          <ac:chgData name="Juan Sebastián Giraldo" userId="2f39d921-1805-4fcf-9d80-fe66aeb20d18" providerId="ADAL" clId="{AA2DACD2-8492-4FDF-80C8-DF0025ECC2B8}" dt="2025-05-27T11:33:20.704" v="2059" actId="790"/>
          <ac:spMkLst>
            <pc:docMk/>
            <pc:sldMk cId="389785373" sldId="2147479870"/>
            <ac:spMk id="2095" creationId="{341954F7-7E15-282B-2EB3-A4261FA215C0}"/>
          </ac:spMkLst>
        </pc:spChg>
        <pc:spChg chg="mod">
          <ac:chgData name="Juan Sebastián Giraldo" userId="2f39d921-1805-4fcf-9d80-fe66aeb20d18" providerId="ADAL" clId="{AA2DACD2-8492-4FDF-80C8-DF0025ECC2B8}" dt="2025-05-29T13:01:55.116" v="4316" actId="790"/>
          <ac:spMkLst>
            <pc:docMk/>
            <pc:sldMk cId="389785373" sldId="2147479870"/>
            <ac:spMk id="2100" creationId="{569504CD-5CD0-C27F-D969-340AEAFEBA25}"/>
          </ac:spMkLst>
        </pc:spChg>
        <pc:spChg chg="mod">
          <ac:chgData name="Juan Sebastián Giraldo" userId="2f39d921-1805-4fcf-9d80-fe66aeb20d18" providerId="ADAL" clId="{AA2DACD2-8492-4FDF-80C8-DF0025ECC2B8}" dt="2025-05-29T13:01:55.116" v="4316" actId="790"/>
          <ac:spMkLst>
            <pc:docMk/>
            <pc:sldMk cId="389785373" sldId="2147479870"/>
            <ac:spMk id="2103" creationId="{6B48333A-52AE-44F8-CC10-BEAB56067183}"/>
          </ac:spMkLst>
        </pc:spChg>
        <pc:spChg chg="mod">
          <ac:chgData name="Juan Sebastián Giraldo" userId="2f39d921-1805-4fcf-9d80-fe66aeb20d18" providerId="ADAL" clId="{AA2DACD2-8492-4FDF-80C8-DF0025ECC2B8}" dt="2025-05-27T11:33:20.704" v="2059" actId="790"/>
          <ac:spMkLst>
            <pc:docMk/>
            <pc:sldMk cId="389785373" sldId="2147479870"/>
            <ac:spMk id="2104" creationId="{7FAD9C95-EFD2-754E-1BFF-7666ED3E097A}"/>
          </ac:spMkLst>
        </pc:spChg>
        <pc:spChg chg="mod">
          <ac:chgData name="Juan Sebastián Giraldo" userId="2f39d921-1805-4fcf-9d80-fe66aeb20d18" providerId="ADAL" clId="{AA2DACD2-8492-4FDF-80C8-DF0025ECC2B8}" dt="2025-05-29T13:01:55.116" v="4316" actId="790"/>
          <ac:spMkLst>
            <pc:docMk/>
            <pc:sldMk cId="389785373" sldId="2147479870"/>
            <ac:spMk id="2105" creationId="{95FC54C6-6933-9944-B162-83E96469066D}"/>
          </ac:spMkLst>
        </pc:spChg>
        <pc:grpChg chg="mod">
          <ac:chgData name="Juan Sebastián Giraldo" userId="2f39d921-1805-4fcf-9d80-fe66aeb20d18" providerId="ADAL" clId="{AA2DACD2-8492-4FDF-80C8-DF0025ECC2B8}" dt="2025-05-23T18:05:59.575" v="1184" actId="2711"/>
          <ac:grpSpMkLst>
            <pc:docMk/>
            <pc:sldMk cId="389785373" sldId="2147479870"/>
            <ac:grpSpMk id="2077" creationId="{363A96B0-91F4-FC54-59FD-E0A4862B58E9}"/>
          </ac:grpSpMkLst>
        </pc:grpChg>
        <pc:picChg chg="mod">
          <ac:chgData name="Juan Sebastián Giraldo" userId="2f39d921-1805-4fcf-9d80-fe66aeb20d18" providerId="ADAL" clId="{AA2DACD2-8492-4FDF-80C8-DF0025ECC2B8}" dt="2025-05-23T18:05:59.575" v="1184" actId="2711"/>
          <ac:picMkLst>
            <pc:docMk/>
            <pc:sldMk cId="389785373" sldId="2147479870"/>
            <ac:picMk id="3" creationId="{C0BD18A9-7A03-F3C2-533E-BCC81E754E50}"/>
          </ac:picMkLst>
        </pc:picChg>
        <pc:picChg chg="add mod">
          <ac:chgData name="Juan Sebastián Giraldo" userId="2f39d921-1805-4fcf-9d80-fe66aeb20d18" providerId="ADAL" clId="{AA2DACD2-8492-4FDF-80C8-DF0025ECC2B8}" dt="2025-05-23T18:02:42.934" v="1176" actId="1076"/>
          <ac:picMkLst>
            <pc:docMk/>
            <pc:sldMk cId="389785373" sldId="2147479870"/>
            <ac:picMk id="6" creationId="{9A6447A6-DA1C-3A98-DAAC-D7084B6C122D}"/>
          </ac:picMkLst>
        </pc:picChg>
        <pc:picChg chg="mod">
          <ac:chgData name="Juan Sebastián Giraldo" userId="2f39d921-1805-4fcf-9d80-fe66aeb20d18" providerId="ADAL" clId="{AA2DACD2-8492-4FDF-80C8-DF0025ECC2B8}" dt="2025-05-23T18:13:03.386" v="1188" actId="1076"/>
          <ac:picMkLst>
            <pc:docMk/>
            <pc:sldMk cId="389785373" sldId="2147479870"/>
            <ac:picMk id="2066" creationId="{ABBD4FF6-529C-1960-C8A9-E8252DBE8B41}"/>
          </ac:picMkLst>
        </pc:picChg>
        <pc:picChg chg="mod">
          <ac:chgData name="Juan Sebastián Giraldo" userId="2f39d921-1805-4fcf-9d80-fe66aeb20d18" providerId="ADAL" clId="{AA2DACD2-8492-4FDF-80C8-DF0025ECC2B8}" dt="2025-05-23T18:13:03.386" v="1188" actId="1076"/>
          <ac:picMkLst>
            <pc:docMk/>
            <pc:sldMk cId="389785373" sldId="2147479870"/>
            <ac:picMk id="2067" creationId="{FFA9DB7B-1E1F-C6E3-6A4C-B117E008D494}"/>
          </ac:picMkLst>
        </pc:picChg>
      </pc:sldChg>
      <pc:sldChg chg="addSp delSp modSp mod">
        <pc:chgData name="Juan Sebastián Giraldo" userId="2f39d921-1805-4fcf-9d80-fe66aeb20d18" providerId="ADAL" clId="{AA2DACD2-8492-4FDF-80C8-DF0025ECC2B8}" dt="2025-05-29T13:01:55.116" v="4316" actId="790"/>
        <pc:sldMkLst>
          <pc:docMk/>
          <pc:sldMk cId="59547596" sldId="2147483547"/>
        </pc:sldMkLst>
        <pc:spChg chg="add mod">
          <ac:chgData name="Juan Sebastián Giraldo" userId="2f39d921-1805-4fcf-9d80-fe66aeb20d18" providerId="ADAL" clId="{AA2DACD2-8492-4FDF-80C8-DF0025ECC2B8}" dt="2025-05-29T13:01:55.116" v="4316" actId="790"/>
          <ac:spMkLst>
            <pc:docMk/>
            <pc:sldMk cId="59547596" sldId="2147483547"/>
            <ac:spMk id="2" creationId="{37B85B2D-439B-4B18-E470-923A6D8D9367}"/>
          </ac:spMkLst>
        </pc:spChg>
        <pc:spChg chg="mod">
          <ac:chgData name="Juan Sebastián Giraldo" userId="2f39d921-1805-4fcf-9d80-fe66aeb20d18" providerId="ADAL" clId="{AA2DACD2-8492-4FDF-80C8-DF0025ECC2B8}" dt="2025-05-29T13:01:55.116" v="4316" actId="790"/>
          <ac:spMkLst>
            <pc:docMk/>
            <pc:sldMk cId="59547596" sldId="2147483547"/>
            <ac:spMk id="4" creationId="{9508E521-139C-FA47-D794-CD20C52207B2}"/>
          </ac:spMkLst>
        </pc:spChg>
        <pc:picChg chg="add mod">
          <ac:chgData name="Juan Sebastián Giraldo" userId="2f39d921-1805-4fcf-9d80-fe66aeb20d18" providerId="ADAL" clId="{AA2DACD2-8492-4FDF-80C8-DF0025ECC2B8}" dt="2025-05-23T17:57:26.928" v="1165"/>
          <ac:picMkLst>
            <pc:docMk/>
            <pc:sldMk cId="59547596" sldId="2147483547"/>
            <ac:picMk id="3" creationId="{58B8AD82-EC1A-517E-6A69-D552E4C1E28D}"/>
          </ac:picMkLst>
        </pc:picChg>
      </pc:sldChg>
      <pc:sldChg chg="modSp mod modShow">
        <pc:chgData name="Juan Sebastián Giraldo" userId="2f39d921-1805-4fcf-9d80-fe66aeb20d18" providerId="ADAL" clId="{AA2DACD2-8492-4FDF-80C8-DF0025ECC2B8}" dt="2025-05-29T13:01:55.116" v="4316" actId="790"/>
        <pc:sldMkLst>
          <pc:docMk/>
          <pc:sldMk cId="1139373279" sldId="2147483570"/>
        </pc:sldMkLst>
        <pc:spChg chg="mod">
          <ac:chgData name="Juan Sebastián Giraldo" userId="2f39d921-1805-4fcf-9d80-fe66aeb20d18" providerId="ADAL" clId="{AA2DACD2-8492-4FDF-80C8-DF0025ECC2B8}" dt="2025-05-27T11:33:20.704" v="2059" actId="790"/>
          <ac:spMkLst>
            <pc:docMk/>
            <pc:sldMk cId="1139373279" sldId="2147483570"/>
            <ac:spMk id="107" creationId="{78BE0B42-8DE9-A763-F77A-B6C908342FDE}"/>
          </ac:spMkLst>
        </pc:spChg>
        <pc:spChg chg="mod">
          <ac:chgData name="Juan Sebastián Giraldo" userId="2f39d921-1805-4fcf-9d80-fe66aeb20d18" providerId="ADAL" clId="{AA2DACD2-8492-4FDF-80C8-DF0025ECC2B8}" dt="2025-05-29T13:01:55.116" v="4316" actId="790"/>
          <ac:spMkLst>
            <pc:docMk/>
            <pc:sldMk cId="1139373279" sldId="2147483570"/>
            <ac:spMk id="110" creationId="{1AE51678-827B-4E5F-F87B-94A47CCA2DF7}"/>
          </ac:spMkLst>
        </pc:spChg>
        <pc:spChg chg="mod">
          <ac:chgData name="Juan Sebastián Giraldo" userId="2f39d921-1805-4fcf-9d80-fe66aeb20d18" providerId="ADAL" clId="{AA2DACD2-8492-4FDF-80C8-DF0025ECC2B8}" dt="2025-05-27T11:33:20.704" v="2059" actId="790"/>
          <ac:spMkLst>
            <pc:docMk/>
            <pc:sldMk cId="1139373279" sldId="2147483570"/>
            <ac:spMk id="111" creationId="{21959006-0A1C-B1F5-8A29-F798FD3C8A4F}"/>
          </ac:spMkLst>
        </pc:spChg>
        <pc:spChg chg="mod">
          <ac:chgData name="Juan Sebastián Giraldo" userId="2f39d921-1805-4fcf-9d80-fe66aeb20d18" providerId="ADAL" clId="{AA2DACD2-8492-4FDF-80C8-DF0025ECC2B8}" dt="2025-05-29T13:01:55.116" v="4316" actId="790"/>
          <ac:spMkLst>
            <pc:docMk/>
            <pc:sldMk cId="1139373279" sldId="2147483570"/>
            <ac:spMk id="112" creationId="{8AF71603-65F7-1730-9210-8E5958852EC6}"/>
          </ac:spMkLst>
        </pc:spChg>
        <pc:spChg chg="mod">
          <ac:chgData name="Juan Sebastián Giraldo" userId="2f39d921-1805-4fcf-9d80-fe66aeb20d18" providerId="ADAL" clId="{AA2DACD2-8492-4FDF-80C8-DF0025ECC2B8}" dt="2025-05-27T11:33:20.704" v="2059" actId="790"/>
          <ac:spMkLst>
            <pc:docMk/>
            <pc:sldMk cId="1139373279" sldId="2147483570"/>
            <ac:spMk id="114" creationId="{971CE852-D5F4-4894-BE95-1E44032B66BC}"/>
          </ac:spMkLst>
        </pc:spChg>
        <pc:spChg chg="mod">
          <ac:chgData name="Juan Sebastián Giraldo" userId="2f39d921-1805-4fcf-9d80-fe66aeb20d18" providerId="ADAL" clId="{AA2DACD2-8492-4FDF-80C8-DF0025ECC2B8}" dt="2025-05-23T17:48:04.314" v="1030" actId="790"/>
          <ac:spMkLst>
            <pc:docMk/>
            <pc:sldMk cId="1139373279" sldId="2147483570"/>
            <ac:spMk id="115" creationId="{87683197-622E-856A-15EE-24E8496FAEB9}"/>
          </ac:spMkLst>
        </pc:spChg>
        <pc:spChg chg="mod">
          <ac:chgData name="Juan Sebastián Giraldo" userId="2f39d921-1805-4fcf-9d80-fe66aeb20d18" providerId="ADAL" clId="{AA2DACD2-8492-4FDF-80C8-DF0025ECC2B8}" dt="2025-05-27T11:33:20.704" v="2059" actId="790"/>
          <ac:spMkLst>
            <pc:docMk/>
            <pc:sldMk cId="1139373279" sldId="2147483570"/>
            <ac:spMk id="117" creationId="{6D40A330-754A-9308-9823-2E314BD7FF35}"/>
          </ac:spMkLst>
        </pc:spChg>
        <pc:spChg chg="mod">
          <ac:chgData name="Juan Sebastián Giraldo" userId="2f39d921-1805-4fcf-9d80-fe66aeb20d18" providerId="ADAL" clId="{AA2DACD2-8492-4FDF-80C8-DF0025ECC2B8}" dt="2025-05-23T17:48:04.314" v="1030" actId="790"/>
          <ac:spMkLst>
            <pc:docMk/>
            <pc:sldMk cId="1139373279" sldId="2147483570"/>
            <ac:spMk id="118" creationId="{DC2A271D-E569-5DA7-32AC-6A935CFC4E7F}"/>
          </ac:spMkLst>
        </pc:spChg>
        <pc:spChg chg="mod">
          <ac:chgData name="Juan Sebastián Giraldo" userId="2f39d921-1805-4fcf-9d80-fe66aeb20d18" providerId="ADAL" clId="{AA2DACD2-8492-4FDF-80C8-DF0025ECC2B8}" dt="2025-05-29T13:01:55.116" v="4316" actId="790"/>
          <ac:spMkLst>
            <pc:docMk/>
            <pc:sldMk cId="1139373279" sldId="2147483570"/>
            <ac:spMk id="120" creationId="{D6F23722-67A7-6684-1E84-BEA01F8AD185}"/>
          </ac:spMkLst>
        </pc:spChg>
        <pc:spChg chg="mod">
          <ac:chgData name="Juan Sebastián Giraldo" userId="2f39d921-1805-4fcf-9d80-fe66aeb20d18" providerId="ADAL" clId="{AA2DACD2-8492-4FDF-80C8-DF0025ECC2B8}" dt="2025-05-29T13:01:55.116" v="4316" actId="790"/>
          <ac:spMkLst>
            <pc:docMk/>
            <pc:sldMk cId="1139373279" sldId="2147483570"/>
            <ac:spMk id="122" creationId="{9B932C87-6103-7C25-D16D-3FABA5C3326B}"/>
          </ac:spMkLst>
        </pc:spChg>
        <pc:spChg chg="mod">
          <ac:chgData name="Juan Sebastián Giraldo" userId="2f39d921-1805-4fcf-9d80-fe66aeb20d18" providerId="ADAL" clId="{AA2DACD2-8492-4FDF-80C8-DF0025ECC2B8}" dt="2025-05-29T13:01:55.116" v="4316" actId="790"/>
          <ac:spMkLst>
            <pc:docMk/>
            <pc:sldMk cId="1139373279" sldId="2147483570"/>
            <ac:spMk id="126" creationId="{DFEB0160-DCE0-B246-61FB-ADB193223A49}"/>
          </ac:spMkLst>
        </pc:spChg>
        <pc:spChg chg="mod">
          <ac:chgData name="Juan Sebastián Giraldo" userId="2f39d921-1805-4fcf-9d80-fe66aeb20d18" providerId="ADAL" clId="{AA2DACD2-8492-4FDF-80C8-DF0025ECC2B8}" dt="2025-05-23T17:48:04.314" v="1030" actId="790"/>
          <ac:spMkLst>
            <pc:docMk/>
            <pc:sldMk cId="1139373279" sldId="2147483570"/>
            <ac:spMk id="127" creationId="{C6E9ED29-B460-4BF4-63E8-E5D02946177A}"/>
          </ac:spMkLst>
        </pc:spChg>
        <pc:spChg chg="mod">
          <ac:chgData name="Juan Sebastián Giraldo" userId="2f39d921-1805-4fcf-9d80-fe66aeb20d18" providerId="ADAL" clId="{AA2DACD2-8492-4FDF-80C8-DF0025ECC2B8}" dt="2025-05-29T13:01:55.116" v="4316" actId="790"/>
          <ac:spMkLst>
            <pc:docMk/>
            <pc:sldMk cId="1139373279" sldId="2147483570"/>
            <ac:spMk id="1024" creationId="{21AFE5A8-6CB8-021B-9E41-2BC89B7DFE4E}"/>
          </ac:spMkLst>
        </pc:spChg>
        <pc:spChg chg="mod">
          <ac:chgData name="Juan Sebastián Giraldo" userId="2f39d921-1805-4fcf-9d80-fe66aeb20d18" providerId="ADAL" clId="{AA2DACD2-8492-4FDF-80C8-DF0025ECC2B8}" dt="2025-05-23T17:48:04.314" v="1030" actId="790"/>
          <ac:spMkLst>
            <pc:docMk/>
            <pc:sldMk cId="1139373279" sldId="2147483570"/>
            <ac:spMk id="1026" creationId="{226A77A3-B077-2911-124C-2FCF638D4578}"/>
          </ac:spMkLst>
        </pc:spChg>
        <pc:spChg chg="mod">
          <ac:chgData name="Juan Sebastián Giraldo" userId="2f39d921-1805-4fcf-9d80-fe66aeb20d18" providerId="ADAL" clId="{AA2DACD2-8492-4FDF-80C8-DF0025ECC2B8}" dt="2025-05-29T13:01:55.116" v="4316" actId="790"/>
          <ac:spMkLst>
            <pc:docMk/>
            <pc:sldMk cId="1139373279" sldId="2147483570"/>
            <ac:spMk id="1027" creationId="{42A8888A-28A5-5F13-5866-296FB7129667}"/>
          </ac:spMkLst>
        </pc:spChg>
        <pc:spChg chg="mod">
          <ac:chgData name="Juan Sebastián Giraldo" userId="2f39d921-1805-4fcf-9d80-fe66aeb20d18" providerId="ADAL" clId="{AA2DACD2-8492-4FDF-80C8-DF0025ECC2B8}" dt="2025-05-23T17:48:04.314" v="1030" actId="790"/>
          <ac:spMkLst>
            <pc:docMk/>
            <pc:sldMk cId="1139373279" sldId="2147483570"/>
            <ac:spMk id="1029" creationId="{39FDAE4B-6C2C-79BB-933B-F98FBF7D3AE4}"/>
          </ac:spMkLst>
        </pc:spChg>
        <pc:spChg chg="mod">
          <ac:chgData name="Juan Sebastián Giraldo" userId="2f39d921-1805-4fcf-9d80-fe66aeb20d18" providerId="ADAL" clId="{AA2DACD2-8492-4FDF-80C8-DF0025ECC2B8}" dt="2025-05-27T11:33:20.704" v="2059" actId="790"/>
          <ac:spMkLst>
            <pc:docMk/>
            <pc:sldMk cId="1139373279" sldId="2147483570"/>
            <ac:spMk id="1032" creationId="{938B7CDC-7E0F-DF0E-6E4C-7D7279D27E8D}"/>
          </ac:spMkLst>
        </pc:spChg>
        <pc:spChg chg="mod">
          <ac:chgData name="Juan Sebastián Giraldo" userId="2f39d921-1805-4fcf-9d80-fe66aeb20d18" providerId="ADAL" clId="{AA2DACD2-8492-4FDF-80C8-DF0025ECC2B8}" dt="2025-05-29T13:01:55.116" v="4316" actId="790"/>
          <ac:spMkLst>
            <pc:docMk/>
            <pc:sldMk cId="1139373279" sldId="2147483570"/>
            <ac:spMk id="1035" creationId="{62AC5588-029F-F569-92B6-E1987736A6D0}"/>
          </ac:spMkLst>
        </pc:spChg>
        <pc:spChg chg="mod">
          <ac:chgData name="Juan Sebastián Giraldo" userId="2f39d921-1805-4fcf-9d80-fe66aeb20d18" providerId="ADAL" clId="{AA2DACD2-8492-4FDF-80C8-DF0025ECC2B8}" dt="2025-05-29T13:01:55.116" v="4316" actId="790"/>
          <ac:spMkLst>
            <pc:docMk/>
            <pc:sldMk cId="1139373279" sldId="2147483570"/>
            <ac:spMk id="1037" creationId="{EB991E60-A4B4-09D8-FBB5-95C46D0CFC18}"/>
          </ac:spMkLst>
        </pc:spChg>
        <pc:spChg chg="mod">
          <ac:chgData name="Juan Sebastián Giraldo" userId="2f39d921-1805-4fcf-9d80-fe66aeb20d18" providerId="ADAL" clId="{AA2DACD2-8492-4FDF-80C8-DF0025ECC2B8}" dt="2025-05-29T13:01:55.116" v="4316" actId="790"/>
          <ac:spMkLst>
            <pc:docMk/>
            <pc:sldMk cId="1139373279" sldId="2147483570"/>
            <ac:spMk id="1043" creationId="{F45E7556-BAFE-95C4-D87C-41D7C4B5FC02}"/>
          </ac:spMkLst>
        </pc:spChg>
        <pc:spChg chg="mod">
          <ac:chgData name="Juan Sebastián Giraldo" userId="2f39d921-1805-4fcf-9d80-fe66aeb20d18" providerId="ADAL" clId="{AA2DACD2-8492-4FDF-80C8-DF0025ECC2B8}" dt="2025-05-27T11:33:20.704" v="2059" actId="790"/>
          <ac:spMkLst>
            <pc:docMk/>
            <pc:sldMk cId="1139373279" sldId="2147483570"/>
            <ac:spMk id="1046" creationId="{1B39E3C1-9233-9E1A-12BB-AAF33F10636B}"/>
          </ac:spMkLst>
        </pc:spChg>
        <pc:spChg chg="mod">
          <ac:chgData name="Juan Sebastián Giraldo" userId="2f39d921-1805-4fcf-9d80-fe66aeb20d18" providerId="ADAL" clId="{AA2DACD2-8492-4FDF-80C8-DF0025ECC2B8}" dt="2025-05-27T11:33:20.704" v="2059" actId="790"/>
          <ac:spMkLst>
            <pc:docMk/>
            <pc:sldMk cId="1139373279" sldId="2147483570"/>
            <ac:spMk id="1049" creationId="{92F5371D-6226-58ED-97DB-041651E45F3B}"/>
          </ac:spMkLst>
        </pc:spChg>
        <pc:spChg chg="mod">
          <ac:chgData name="Juan Sebastián Giraldo" userId="2f39d921-1805-4fcf-9d80-fe66aeb20d18" providerId="ADAL" clId="{AA2DACD2-8492-4FDF-80C8-DF0025ECC2B8}" dt="2025-05-27T11:33:20.704" v="2059" actId="790"/>
          <ac:spMkLst>
            <pc:docMk/>
            <pc:sldMk cId="1139373279" sldId="2147483570"/>
            <ac:spMk id="1052" creationId="{A2140C68-5B93-3A48-7400-9C8F8D2A2A8E}"/>
          </ac:spMkLst>
        </pc:spChg>
      </pc:sldChg>
      <pc:sldChg chg="modSp mod modShow">
        <pc:chgData name="Juan Sebastián Giraldo" userId="2f39d921-1805-4fcf-9d80-fe66aeb20d18" providerId="ADAL" clId="{AA2DACD2-8492-4FDF-80C8-DF0025ECC2B8}" dt="2025-05-29T13:01:55.116" v="4316" actId="790"/>
        <pc:sldMkLst>
          <pc:docMk/>
          <pc:sldMk cId="3070474120" sldId="2147483605"/>
        </pc:sldMkLst>
        <pc:spChg chg="mod">
          <ac:chgData name="Juan Sebastián Giraldo" userId="2f39d921-1805-4fcf-9d80-fe66aeb20d18" providerId="ADAL" clId="{AA2DACD2-8492-4FDF-80C8-DF0025ECC2B8}" dt="2025-05-29T13:01:55.116" v="4316" actId="790"/>
          <ac:spMkLst>
            <pc:docMk/>
            <pc:sldMk cId="3070474120" sldId="2147483605"/>
            <ac:spMk id="2" creationId="{7EB8E89E-E33C-3CF2-1B91-C623425F20AC}"/>
          </ac:spMkLst>
        </pc:spChg>
        <pc:spChg chg="mod">
          <ac:chgData name="Juan Sebastián Giraldo" userId="2f39d921-1805-4fcf-9d80-fe66aeb20d18" providerId="ADAL" clId="{AA2DACD2-8492-4FDF-80C8-DF0025ECC2B8}" dt="2025-05-29T13:01:55.116" v="4316" actId="790"/>
          <ac:spMkLst>
            <pc:docMk/>
            <pc:sldMk cId="3070474120" sldId="2147483605"/>
            <ac:spMk id="4" creationId="{18B1B483-679C-18D2-B335-3CCFE3F547CF}"/>
          </ac:spMkLst>
        </pc:spChg>
        <pc:spChg chg="mod">
          <ac:chgData name="Juan Sebastián Giraldo" userId="2f39d921-1805-4fcf-9d80-fe66aeb20d18" providerId="ADAL" clId="{AA2DACD2-8492-4FDF-80C8-DF0025ECC2B8}" dt="2025-05-27T11:33:20.704" v="2059" actId="790"/>
          <ac:spMkLst>
            <pc:docMk/>
            <pc:sldMk cId="3070474120" sldId="2147483605"/>
            <ac:spMk id="5" creationId="{F3B676AB-ECD1-C55D-3A17-57C2CC7455D9}"/>
          </ac:spMkLst>
        </pc:spChg>
        <pc:spChg chg="mod">
          <ac:chgData name="Juan Sebastián Giraldo" userId="2f39d921-1805-4fcf-9d80-fe66aeb20d18" providerId="ADAL" clId="{AA2DACD2-8492-4FDF-80C8-DF0025ECC2B8}" dt="2025-05-29T13:01:55.116" v="4316" actId="790"/>
          <ac:spMkLst>
            <pc:docMk/>
            <pc:sldMk cId="3070474120" sldId="2147483605"/>
            <ac:spMk id="6" creationId="{12BF412A-7BDE-71B9-53C6-3EA1BDC71B69}"/>
          </ac:spMkLst>
        </pc:spChg>
        <pc:spChg chg="mod">
          <ac:chgData name="Juan Sebastián Giraldo" userId="2f39d921-1805-4fcf-9d80-fe66aeb20d18" providerId="ADAL" clId="{AA2DACD2-8492-4FDF-80C8-DF0025ECC2B8}" dt="2025-05-23T17:48:04.314" v="1030" actId="790"/>
          <ac:spMkLst>
            <pc:docMk/>
            <pc:sldMk cId="3070474120" sldId="2147483605"/>
            <ac:spMk id="7" creationId="{A6A60C7C-E652-6748-69B9-A6A382899A0B}"/>
          </ac:spMkLst>
        </pc:spChg>
        <pc:spChg chg="mod">
          <ac:chgData name="Juan Sebastián Giraldo" userId="2f39d921-1805-4fcf-9d80-fe66aeb20d18" providerId="ADAL" clId="{AA2DACD2-8492-4FDF-80C8-DF0025ECC2B8}" dt="2025-05-29T13:01:55.116" v="4316" actId="790"/>
          <ac:spMkLst>
            <pc:docMk/>
            <pc:sldMk cId="3070474120" sldId="2147483605"/>
            <ac:spMk id="9" creationId="{83F52E25-020F-6BF2-3291-DB1BA7D41B3B}"/>
          </ac:spMkLst>
        </pc:spChg>
        <pc:spChg chg="mod">
          <ac:chgData name="Juan Sebastián Giraldo" userId="2f39d921-1805-4fcf-9d80-fe66aeb20d18" providerId="ADAL" clId="{AA2DACD2-8492-4FDF-80C8-DF0025ECC2B8}" dt="2025-05-23T17:48:04.314" v="1030" actId="790"/>
          <ac:spMkLst>
            <pc:docMk/>
            <pc:sldMk cId="3070474120" sldId="2147483605"/>
            <ac:spMk id="43" creationId="{B9D1CDC9-E723-C6F0-CD53-DC1EA4A452FC}"/>
          </ac:spMkLst>
        </pc:spChg>
        <pc:spChg chg="mod">
          <ac:chgData name="Juan Sebastián Giraldo" userId="2f39d921-1805-4fcf-9d80-fe66aeb20d18" providerId="ADAL" clId="{AA2DACD2-8492-4FDF-80C8-DF0025ECC2B8}" dt="2025-05-29T13:01:55.116" v="4316" actId="790"/>
          <ac:spMkLst>
            <pc:docMk/>
            <pc:sldMk cId="3070474120" sldId="2147483605"/>
            <ac:spMk id="45" creationId="{D8189360-4137-62EB-A6C8-2C19674C9619}"/>
          </ac:spMkLst>
        </pc:spChg>
        <pc:spChg chg="mod">
          <ac:chgData name="Juan Sebastián Giraldo" userId="2f39d921-1805-4fcf-9d80-fe66aeb20d18" providerId="ADAL" clId="{AA2DACD2-8492-4FDF-80C8-DF0025ECC2B8}" dt="2025-05-29T13:01:55.116" v="4316" actId="790"/>
          <ac:spMkLst>
            <pc:docMk/>
            <pc:sldMk cId="3070474120" sldId="2147483605"/>
            <ac:spMk id="64" creationId="{6EF4FC44-339A-3861-2B2B-3562542EAF90}"/>
          </ac:spMkLst>
        </pc:spChg>
        <pc:spChg chg="mod">
          <ac:chgData name="Juan Sebastián Giraldo" userId="2f39d921-1805-4fcf-9d80-fe66aeb20d18" providerId="ADAL" clId="{AA2DACD2-8492-4FDF-80C8-DF0025ECC2B8}" dt="2025-05-23T17:48:04.314" v="1030" actId="790"/>
          <ac:spMkLst>
            <pc:docMk/>
            <pc:sldMk cId="3070474120" sldId="2147483605"/>
            <ac:spMk id="65" creationId="{F695B0BD-58D9-2B1F-C4B8-29B2496DC16D}"/>
          </ac:spMkLst>
        </pc:spChg>
        <pc:spChg chg="mod">
          <ac:chgData name="Juan Sebastián Giraldo" userId="2f39d921-1805-4fcf-9d80-fe66aeb20d18" providerId="ADAL" clId="{AA2DACD2-8492-4FDF-80C8-DF0025ECC2B8}" dt="2025-05-29T13:01:55.116" v="4316" actId="790"/>
          <ac:spMkLst>
            <pc:docMk/>
            <pc:sldMk cId="3070474120" sldId="2147483605"/>
            <ac:spMk id="66" creationId="{E18F9F37-4AC1-7C30-1F86-DBF7AF61C224}"/>
          </ac:spMkLst>
        </pc:spChg>
        <pc:spChg chg="mod">
          <ac:chgData name="Juan Sebastián Giraldo" userId="2f39d921-1805-4fcf-9d80-fe66aeb20d18" providerId="ADAL" clId="{AA2DACD2-8492-4FDF-80C8-DF0025ECC2B8}" dt="2025-05-23T17:48:04.314" v="1030" actId="790"/>
          <ac:spMkLst>
            <pc:docMk/>
            <pc:sldMk cId="3070474120" sldId="2147483605"/>
            <ac:spMk id="70" creationId="{5610DCFF-6323-F207-735E-816FA473C5FA}"/>
          </ac:spMkLst>
        </pc:spChg>
        <pc:spChg chg="mod">
          <ac:chgData name="Juan Sebastián Giraldo" userId="2f39d921-1805-4fcf-9d80-fe66aeb20d18" providerId="ADAL" clId="{AA2DACD2-8492-4FDF-80C8-DF0025ECC2B8}" dt="2025-05-27T11:33:20.704" v="2059" actId="790"/>
          <ac:spMkLst>
            <pc:docMk/>
            <pc:sldMk cId="3070474120" sldId="2147483605"/>
            <ac:spMk id="71" creationId="{A50649B2-A40F-8BB2-064B-9280B435E519}"/>
          </ac:spMkLst>
        </pc:spChg>
        <pc:spChg chg="mod">
          <ac:chgData name="Juan Sebastián Giraldo" userId="2f39d921-1805-4fcf-9d80-fe66aeb20d18" providerId="ADAL" clId="{AA2DACD2-8492-4FDF-80C8-DF0025ECC2B8}" dt="2025-05-27T11:33:20.704" v="2059" actId="790"/>
          <ac:spMkLst>
            <pc:docMk/>
            <pc:sldMk cId="3070474120" sldId="2147483605"/>
            <ac:spMk id="76" creationId="{FA2A5CB8-AC69-BE07-0E93-AF6C4A0DC6C8}"/>
          </ac:spMkLst>
        </pc:spChg>
        <pc:spChg chg="mod">
          <ac:chgData name="Juan Sebastián Giraldo" userId="2f39d921-1805-4fcf-9d80-fe66aeb20d18" providerId="ADAL" clId="{AA2DACD2-8492-4FDF-80C8-DF0025ECC2B8}" dt="2025-05-27T11:33:20.704" v="2059" actId="790"/>
          <ac:spMkLst>
            <pc:docMk/>
            <pc:sldMk cId="3070474120" sldId="2147483605"/>
            <ac:spMk id="77" creationId="{8A55B09C-AA3C-C44C-6263-38ABAA3316C7}"/>
          </ac:spMkLst>
        </pc:spChg>
        <pc:spChg chg="mod">
          <ac:chgData name="Juan Sebastián Giraldo" userId="2f39d921-1805-4fcf-9d80-fe66aeb20d18" providerId="ADAL" clId="{AA2DACD2-8492-4FDF-80C8-DF0025ECC2B8}" dt="2025-05-29T13:01:55.116" v="4316" actId="790"/>
          <ac:spMkLst>
            <pc:docMk/>
            <pc:sldMk cId="3070474120" sldId="2147483605"/>
            <ac:spMk id="78" creationId="{5456139B-30B8-3344-E6FC-691874BE1A62}"/>
          </ac:spMkLst>
        </pc:spChg>
        <pc:spChg chg="mod">
          <ac:chgData name="Juan Sebastián Giraldo" userId="2f39d921-1805-4fcf-9d80-fe66aeb20d18" providerId="ADAL" clId="{AA2DACD2-8492-4FDF-80C8-DF0025ECC2B8}" dt="2025-05-23T17:48:04.314" v="1030" actId="790"/>
          <ac:spMkLst>
            <pc:docMk/>
            <pc:sldMk cId="3070474120" sldId="2147483605"/>
            <ac:spMk id="79" creationId="{4FF80410-7238-0905-5E4C-AC45295DD60B}"/>
          </ac:spMkLst>
        </pc:spChg>
        <pc:spChg chg="mod">
          <ac:chgData name="Juan Sebastián Giraldo" userId="2f39d921-1805-4fcf-9d80-fe66aeb20d18" providerId="ADAL" clId="{AA2DACD2-8492-4FDF-80C8-DF0025ECC2B8}" dt="2025-05-29T13:01:55.116" v="4316" actId="790"/>
          <ac:spMkLst>
            <pc:docMk/>
            <pc:sldMk cId="3070474120" sldId="2147483605"/>
            <ac:spMk id="81" creationId="{94CA56B8-B13F-149B-ABC2-0450CBC475B8}"/>
          </ac:spMkLst>
        </pc:spChg>
        <pc:spChg chg="mod">
          <ac:chgData name="Juan Sebastián Giraldo" userId="2f39d921-1805-4fcf-9d80-fe66aeb20d18" providerId="ADAL" clId="{AA2DACD2-8492-4FDF-80C8-DF0025ECC2B8}" dt="2025-05-29T13:01:55.116" v="4316" actId="790"/>
          <ac:spMkLst>
            <pc:docMk/>
            <pc:sldMk cId="3070474120" sldId="2147483605"/>
            <ac:spMk id="83" creationId="{CE308A13-7078-4498-1B43-7BEBE012CB47}"/>
          </ac:spMkLst>
        </pc:spChg>
        <pc:spChg chg="mod">
          <ac:chgData name="Juan Sebastián Giraldo" userId="2f39d921-1805-4fcf-9d80-fe66aeb20d18" providerId="ADAL" clId="{AA2DACD2-8492-4FDF-80C8-DF0025ECC2B8}" dt="2025-05-27T11:33:20.704" v="2059" actId="790"/>
          <ac:spMkLst>
            <pc:docMk/>
            <pc:sldMk cId="3070474120" sldId="2147483605"/>
            <ac:spMk id="86" creationId="{DDBCE0EA-E1D7-46C2-BE26-9F7663B1523D}"/>
          </ac:spMkLst>
        </pc:spChg>
        <pc:spChg chg="mod">
          <ac:chgData name="Juan Sebastián Giraldo" userId="2f39d921-1805-4fcf-9d80-fe66aeb20d18" providerId="ADAL" clId="{AA2DACD2-8492-4FDF-80C8-DF0025ECC2B8}" dt="2025-05-27T11:33:20.704" v="2059" actId="790"/>
          <ac:spMkLst>
            <pc:docMk/>
            <pc:sldMk cId="3070474120" sldId="2147483605"/>
            <ac:spMk id="93" creationId="{906DF065-338A-4DA5-D7AB-4260DC5C02F8}"/>
          </ac:spMkLst>
        </pc:spChg>
      </pc:sldChg>
      <pc:sldChg chg="modSp mod modShow">
        <pc:chgData name="Juan Sebastián Giraldo" userId="2f39d921-1805-4fcf-9d80-fe66aeb20d18" providerId="ADAL" clId="{AA2DACD2-8492-4FDF-80C8-DF0025ECC2B8}" dt="2025-05-29T13:01:55.116" v="4316" actId="790"/>
        <pc:sldMkLst>
          <pc:docMk/>
          <pc:sldMk cId="2481088433" sldId="2147483609"/>
        </pc:sldMkLst>
        <pc:spChg chg="mod">
          <ac:chgData name="Juan Sebastián Giraldo" userId="2f39d921-1805-4fcf-9d80-fe66aeb20d18" providerId="ADAL" clId="{AA2DACD2-8492-4FDF-80C8-DF0025ECC2B8}" dt="2025-05-29T13:01:55.116" v="4316" actId="790"/>
          <ac:spMkLst>
            <pc:docMk/>
            <pc:sldMk cId="2481088433" sldId="2147483609"/>
            <ac:spMk id="2" creationId="{7EB8E89E-E33C-3CF2-1B91-C623425F20AC}"/>
          </ac:spMkLst>
        </pc:spChg>
        <pc:spChg chg="mod">
          <ac:chgData name="Juan Sebastián Giraldo" userId="2f39d921-1805-4fcf-9d80-fe66aeb20d18" providerId="ADAL" clId="{AA2DACD2-8492-4FDF-80C8-DF0025ECC2B8}" dt="2025-05-23T17:48:04.314" v="1030" actId="790"/>
          <ac:spMkLst>
            <pc:docMk/>
            <pc:sldMk cId="2481088433" sldId="2147483609"/>
            <ac:spMk id="3" creationId="{88334083-2379-A0C7-3D5C-594E9D8AE969}"/>
          </ac:spMkLst>
        </pc:spChg>
        <pc:spChg chg="mod">
          <ac:chgData name="Juan Sebastián Giraldo" userId="2f39d921-1805-4fcf-9d80-fe66aeb20d18" providerId="ADAL" clId="{AA2DACD2-8492-4FDF-80C8-DF0025ECC2B8}" dt="2025-05-27T11:33:20.704" v="2059" actId="790"/>
          <ac:spMkLst>
            <pc:docMk/>
            <pc:sldMk cId="2481088433" sldId="2147483609"/>
            <ac:spMk id="6" creationId="{9E9435B6-E1B9-2BC8-CE58-A5806F05E68B}"/>
          </ac:spMkLst>
        </pc:spChg>
        <pc:spChg chg="mod">
          <ac:chgData name="Juan Sebastián Giraldo" userId="2f39d921-1805-4fcf-9d80-fe66aeb20d18" providerId="ADAL" clId="{AA2DACD2-8492-4FDF-80C8-DF0025ECC2B8}" dt="2025-05-27T11:33:20.704" v="2059" actId="790"/>
          <ac:spMkLst>
            <pc:docMk/>
            <pc:sldMk cId="2481088433" sldId="2147483609"/>
            <ac:spMk id="7" creationId="{7B2B8349-E117-FCA9-2683-7ECD69428FF2}"/>
          </ac:spMkLst>
        </pc:spChg>
        <pc:spChg chg="mod">
          <ac:chgData name="Juan Sebastián Giraldo" userId="2f39d921-1805-4fcf-9d80-fe66aeb20d18" providerId="ADAL" clId="{AA2DACD2-8492-4FDF-80C8-DF0025ECC2B8}" dt="2025-05-23T17:48:04.314" v="1030" actId="790"/>
          <ac:spMkLst>
            <pc:docMk/>
            <pc:sldMk cId="2481088433" sldId="2147483609"/>
            <ac:spMk id="10" creationId="{D22D0773-83EB-2173-3AF7-029373A7C0F3}"/>
          </ac:spMkLst>
        </pc:spChg>
        <pc:spChg chg="mod">
          <ac:chgData name="Juan Sebastián Giraldo" userId="2f39d921-1805-4fcf-9d80-fe66aeb20d18" providerId="ADAL" clId="{AA2DACD2-8492-4FDF-80C8-DF0025ECC2B8}" dt="2025-05-23T17:48:04.314" v="1030" actId="790"/>
          <ac:spMkLst>
            <pc:docMk/>
            <pc:sldMk cId="2481088433" sldId="2147483609"/>
            <ac:spMk id="11" creationId="{1E502D97-6059-F1D6-93F5-4CA53A4D2BD8}"/>
          </ac:spMkLst>
        </pc:spChg>
        <pc:spChg chg="mod">
          <ac:chgData name="Juan Sebastián Giraldo" userId="2f39d921-1805-4fcf-9d80-fe66aeb20d18" providerId="ADAL" clId="{AA2DACD2-8492-4FDF-80C8-DF0025ECC2B8}" dt="2025-05-29T13:01:55.116" v="4316" actId="790"/>
          <ac:spMkLst>
            <pc:docMk/>
            <pc:sldMk cId="2481088433" sldId="2147483609"/>
            <ac:spMk id="12" creationId="{C6366B0A-64D2-A093-2721-7F4BFCE46B20}"/>
          </ac:spMkLst>
        </pc:spChg>
        <pc:spChg chg="mod">
          <ac:chgData name="Juan Sebastián Giraldo" userId="2f39d921-1805-4fcf-9d80-fe66aeb20d18" providerId="ADAL" clId="{AA2DACD2-8492-4FDF-80C8-DF0025ECC2B8}" dt="2025-05-27T11:33:20.704" v="2059" actId="790"/>
          <ac:spMkLst>
            <pc:docMk/>
            <pc:sldMk cId="2481088433" sldId="2147483609"/>
            <ac:spMk id="13" creationId="{E1B8C287-715A-346B-CF1A-28431B3D063B}"/>
          </ac:spMkLst>
        </pc:spChg>
        <pc:spChg chg="mod">
          <ac:chgData name="Juan Sebastián Giraldo" userId="2f39d921-1805-4fcf-9d80-fe66aeb20d18" providerId="ADAL" clId="{AA2DACD2-8492-4FDF-80C8-DF0025ECC2B8}" dt="2025-05-27T11:33:20.704" v="2059" actId="790"/>
          <ac:spMkLst>
            <pc:docMk/>
            <pc:sldMk cId="2481088433" sldId="2147483609"/>
            <ac:spMk id="14" creationId="{60964F1C-E87B-FB0A-8BF1-4B270E7E2309}"/>
          </ac:spMkLst>
        </pc:spChg>
        <pc:spChg chg="mod">
          <ac:chgData name="Juan Sebastián Giraldo" userId="2f39d921-1805-4fcf-9d80-fe66aeb20d18" providerId="ADAL" clId="{AA2DACD2-8492-4FDF-80C8-DF0025ECC2B8}" dt="2025-05-27T11:33:20.704" v="2059" actId="790"/>
          <ac:spMkLst>
            <pc:docMk/>
            <pc:sldMk cId="2481088433" sldId="2147483609"/>
            <ac:spMk id="15" creationId="{ABB1D483-1AB0-77A2-98BB-B8DB10D46E64}"/>
          </ac:spMkLst>
        </pc:spChg>
        <pc:spChg chg="mod">
          <ac:chgData name="Juan Sebastián Giraldo" userId="2f39d921-1805-4fcf-9d80-fe66aeb20d18" providerId="ADAL" clId="{AA2DACD2-8492-4FDF-80C8-DF0025ECC2B8}" dt="2025-05-29T13:01:55.116" v="4316" actId="790"/>
          <ac:spMkLst>
            <pc:docMk/>
            <pc:sldMk cId="2481088433" sldId="2147483609"/>
            <ac:spMk id="16" creationId="{46B7C1FC-B683-96C7-2908-5AB8FFB89437}"/>
          </ac:spMkLst>
        </pc:spChg>
        <pc:spChg chg="mod">
          <ac:chgData name="Juan Sebastián Giraldo" userId="2f39d921-1805-4fcf-9d80-fe66aeb20d18" providerId="ADAL" clId="{AA2DACD2-8492-4FDF-80C8-DF0025ECC2B8}" dt="2025-05-23T17:48:04.314" v="1030" actId="790"/>
          <ac:spMkLst>
            <pc:docMk/>
            <pc:sldMk cId="2481088433" sldId="2147483609"/>
            <ac:spMk id="17" creationId="{06823112-233F-964A-4384-92DC82A7F240}"/>
          </ac:spMkLst>
        </pc:spChg>
        <pc:spChg chg="mod">
          <ac:chgData name="Juan Sebastián Giraldo" userId="2f39d921-1805-4fcf-9d80-fe66aeb20d18" providerId="ADAL" clId="{AA2DACD2-8492-4FDF-80C8-DF0025ECC2B8}" dt="2025-05-23T17:48:04.314" v="1030" actId="790"/>
          <ac:spMkLst>
            <pc:docMk/>
            <pc:sldMk cId="2481088433" sldId="2147483609"/>
            <ac:spMk id="19" creationId="{4C707E61-2F63-2EEA-D5EC-C6ED8FCE699B}"/>
          </ac:spMkLst>
        </pc:spChg>
        <pc:spChg chg="mod">
          <ac:chgData name="Juan Sebastián Giraldo" userId="2f39d921-1805-4fcf-9d80-fe66aeb20d18" providerId="ADAL" clId="{AA2DACD2-8492-4FDF-80C8-DF0025ECC2B8}" dt="2025-05-23T17:48:04.314" v="1030" actId="790"/>
          <ac:spMkLst>
            <pc:docMk/>
            <pc:sldMk cId="2481088433" sldId="2147483609"/>
            <ac:spMk id="20" creationId="{6D46ADB7-B245-FFF3-868E-37F2EA5ED14D}"/>
          </ac:spMkLst>
        </pc:spChg>
        <pc:spChg chg="mod">
          <ac:chgData name="Juan Sebastián Giraldo" userId="2f39d921-1805-4fcf-9d80-fe66aeb20d18" providerId="ADAL" clId="{AA2DACD2-8492-4FDF-80C8-DF0025ECC2B8}" dt="2025-05-29T13:01:55.116" v="4316" actId="790"/>
          <ac:spMkLst>
            <pc:docMk/>
            <pc:sldMk cId="2481088433" sldId="2147483609"/>
            <ac:spMk id="21" creationId="{A8D2FEDC-B6B2-55A9-07DD-F87896466BEC}"/>
          </ac:spMkLst>
        </pc:spChg>
        <pc:spChg chg="mod">
          <ac:chgData name="Juan Sebastián Giraldo" userId="2f39d921-1805-4fcf-9d80-fe66aeb20d18" providerId="ADAL" clId="{AA2DACD2-8492-4FDF-80C8-DF0025ECC2B8}" dt="2025-05-29T13:01:55.116" v="4316" actId="790"/>
          <ac:spMkLst>
            <pc:docMk/>
            <pc:sldMk cId="2481088433" sldId="2147483609"/>
            <ac:spMk id="22" creationId="{0A1A6AB0-1ED1-83D9-74D8-3408A7762DAC}"/>
          </ac:spMkLst>
        </pc:spChg>
        <pc:spChg chg="mod">
          <ac:chgData name="Juan Sebastián Giraldo" userId="2f39d921-1805-4fcf-9d80-fe66aeb20d18" providerId="ADAL" clId="{AA2DACD2-8492-4FDF-80C8-DF0025ECC2B8}" dt="2025-05-29T13:01:55.116" v="4316" actId="790"/>
          <ac:spMkLst>
            <pc:docMk/>
            <pc:sldMk cId="2481088433" sldId="2147483609"/>
            <ac:spMk id="23" creationId="{65796A44-33D5-008E-2B94-FD698E26AFFC}"/>
          </ac:spMkLst>
        </pc:spChg>
        <pc:spChg chg="mod">
          <ac:chgData name="Juan Sebastián Giraldo" userId="2f39d921-1805-4fcf-9d80-fe66aeb20d18" providerId="ADAL" clId="{AA2DACD2-8492-4FDF-80C8-DF0025ECC2B8}" dt="2025-05-29T13:01:55.116" v="4316" actId="790"/>
          <ac:spMkLst>
            <pc:docMk/>
            <pc:sldMk cId="2481088433" sldId="2147483609"/>
            <ac:spMk id="24" creationId="{7DE6648F-B1DE-CF65-DC5D-7F481A34B2EA}"/>
          </ac:spMkLst>
        </pc:spChg>
        <pc:spChg chg="mod">
          <ac:chgData name="Juan Sebastián Giraldo" userId="2f39d921-1805-4fcf-9d80-fe66aeb20d18" providerId="ADAL" clId="{AA2DACD2-8492-4FDF-80C8-DF0025ECC2B8}" dt="2025-05-27T11:33:20.704" v="2059" actId="790"/>
          <ac:spMkLst>
            <pc:docMk/>
            <pc:sldMk cId="2481088433" sldId="2147483609"/>
            <ac:spMk id="26" creationId="{6B4FBD31-C9E4-DD3F-9ED4-6C7DC0FB9886}"/>
          </ac:spMkLst>
        </pc:spChg>
        <pc:spChg chg="mod">
          <ac:chgData name="Juan Sebastián Giraldo" userId="2f39d921-1805-4fcf-9d80-fe66aeb20d18" providerId="ADAL" clId="{AA2DACD2-8492-4FDF-80C8-DF0025ECC2B8}" dt="2025-05-29T13:01:55.116" v="4316" actId="790"/>
          <ac:spMkLst>
            <pc:docMk/>
            <pc:sldMk cId="2481088433" sldId="2147483609"/>
            <ac:spMk id="27" creationId="{B54D3232-D9A9-A753-F01A-BE85ED7C1F08}"/>
          </ac:spMkLst>
        </pc:spChg>
        <pc:spChg chg="mod">
          <ac:chgData name="Juan Sebastián Giraldo" userId="2f39d921-1805-4fcf-9d80-fe66aeb20d18" providerId="ADAL" clId="{AA2DACD2-8492-4FDF-80C8-DF0025ECC2B8}" dt="2025-05-29T13:01:55.116" v="4316" actId="790"/>
          <ac:spMkLst>
            <pc:docMk/>
            <pc:sldMk cId="2481088433" sldId="2147483609"/>
            <ac:spMk id="28" creationId="{724F5394-BE04-711D-89C1-775FD3AD62FC}"/>
          </ac:spMkLst>
        </pc:spChg>
        <pc:spChg chg="mod">
          <ac:chgData name="Juan Sebastián Giraldo" userId="2f39d921-1805-4fcf-9d80-fe66aeb20d18" providerId="ADAL" clId="{AA2DACD2-8492-4FDF-80C8-DF0025ECC2B8}" dt="2025-05-29T13:01:55.116" v="4316" actId="790"/>
          <ac:spMkLst>
            <pc:docMk/>
            <pc:sldMk cId="2481088433" sldId="2147483609"/>
            <ac:spMk id="40" creationId="{D1C33634-EA9A-D05A-7E5B-5FB27D66F56B}"/>
          </ac:spMkLst>
        </pc:spChg>
      </pc:sldChg>
      <pc:sldChg chg="modSp mod">
        <pc:chgData name="Juan Sebastián Giraldo" userId="2f39d921-1805-4fcf-9d80-fe66aeb20d18" providerId="ADAL" clId="{AA2DACD2-8492-4FDF-80C8-DF0025ECC2B8}" dt="2025-05-29T13:01:55.116" v="4316" actId="790"/>
        <pc:sldMkLst>
          <pc:docMk/>
          <pc:sldMk cId="1502703716" sldId="2147483612"/>
        </pc:sldMkLst>
        <pc:spChg chg="mod">
          <ac:chgData name="Juan Sebastián Giraldo" userId="2f39d921-1805-4fcf-9d80-fe66aeb20d18" providerId="ADAL" clId="{AA2DACD2-8492-4FDF-80C8-DF0025ECC2B8}" dt="2025-05-29T13:01:55.116" v="4316" actId="790"/>
          <ac:spMkLst>
            <pc:docMk/>
            <pc:sldMk cId="1502703716" sldId="2147483612"/>
            <ac:spMk id="9" creationId="{D33AFADE-9DAE-476D-F9E5-E0BB9BF11D67}"/>
          </ac:spMkLst>
        </pc:spChg>
        <pc:spChg chg="mod">
          <ac:chgData name="Juan Sebastián Giraldo" userId="2f39d921-1805-4fcf-9d80-fe66aeb20d18" providerId="ADAL" clId="{AA2DACD2-8492-4FDF-80C8-DF0025ECC2B8}" dt="2025-05-29T13:01:55.116" v="4316" actId="790"/>
          <ac:spMkLst>
            <pc:docMk/>
            <pc:sldMk cId="1502703716" sldId="2147483612"/>
            <ac:spMk id="11" creationId="{8C1FB13F-FC82-5B95-A195-C9442FB22BFE}"/>
          </ac:spMkLst>
        </pc:spChg>
        <pc:spChg chg="mod">
          <ac:chgData name="Juan Sebastián Giraldo" userId="2f39d921-1805-4fcf-9d80-fe66aeb20d18" providerId="ADAL" clId="{AA2DACD2-8492-4FDF-80C8-DF0025ECC2B8}" dt="2025-05-27T11:33:20.704" v="2059" actId="790"/>
          <ac:spMkLst>
            <pc:docMk/>
            <pc:sldMk cId="1502703716" sldId="2147483612"/>
            <ac:spMk id="16" creationId="{7CAC4F62-4410-E2BC-EDFB-D6642DACADAF}"/>
          </ac:spMkLst>
        </pc:spChg>
        <pc:spChg chg="mod">
          <ac:chgData name="Juan Sebastián Giraldo" userId="2f39d921-1805-4fcf-9d80-fe66aeb20d18" providerId="ADAL" clId="{AA2DACD2-8492-4FDF-80C8-DF0025ECC2B8}" dt="2025-05-27T11:33:20.704" v="2059" actId="790"/>
          <ac:spMkLst>
            <pc:docMk/>
            <pc:sldMk cId="1502703716" sldId="2147483612"/>
            <ac:spMk id="22" creationId="{36EFDEFC-E8D4-39A2-3541-97E14B69A42F}"/>
          </ac:spMkLst>
        </pc:spChg>
        <pc:spChg chg="mod">
          <ac:chgData name="Juan Sebastián Giraldo" userId="2f39d921-1805-4fcf-9d80-fe66aeb20d18" providerId="ADAL" clId="{AA2DACD2-8492-4FDF-80C8-DF0025ECC2B8}" dt="2025-05-29T13:01:55.116" v="4316" actId="790"/>
          <ac:spMkLst>
            <pc:docMk/>
            <pc:sldMk cId="1502703716" sldId="2147483612"/>
            <ac:spMk id="27" creationId="{3B19927B-7DDD-FF8D-EC52-719DA8B3363A}"/>
          </ac:spMkLst>
        </pc:spChg>
        <pc:spChg chg="mod">
          <ac:chgData name="Juan Sebastián Giraldo" userId="2f39d921-1805-4fcf-9d80-fe66aeb20d18" providerId="ADAL" clId="{AA2DACD2-8492-4FDF-80C8-DF0025ECC2B8}" dt="2025-05-29T13:01:55.116" v="4316" actId="790"/>
          <ac:spMkLst>
            <pc:docMk/>
            <pc:sldMk cId="1502703716" sldId="2147483612"/>
            <ac:spMk id="28" creationId="{F0DF56C8-1E69-5D5B-8B84-CEA434D094A1}"/>
          </ac:spMkLst>
        </pc:spChg>
        <pc:spChg chg="mod">
          <ac:chgData name="Juan Sebastián Giraldo" userId="2f39d921-1805-4fcf-9d80-fe66aeb20d18" providerId="ADAL" clId="{AA2DACD2-8492-4FDF-80C8-DF0025ECC2B8}" dt="2025-05-29T13:01:55.116" v="4316" actId="790"/>
          <ac:spMkLst>
            <pc:docMk/>
            <pc:sldMk cId="1502703716" sldId="2147483612"/>
            <ac:spMk id="31" creationId="{C92F6CE3-DD8C-BD14-5FE9-CF3EC6356760}"/>
          </ac:spMkLst>
        </pc:spChg>
        <pc:spChg chg="mod">
          <ac:chgData name="Juan Sebastián Giraldo" userId="2f39d921-1805-4fcf-9d80-fe66aeb20d18" providerId="ADAL" clId="{AA2DACD2-8492-4FDF-80C8-DF0025ECC2B8}" dt="2025-05-27T11:33:20.704" v="2059" actId="790"/>
          <ac:spMkLst>
            <pc:docMk/>
            <pc:sldMk cId="1502703716" sldId="2147483612"/>
            <ac:spMk id="39" creationId="{84883553-6314-9DF7-C2CA-1F27D499184F}"/>
          </ac:spMkLst>
        </pc:spChg>
        <pc:spChg chg="mod">
          <ac:chgData name="Juan Sebastián Giraldo" userId="2f39d921-1805-4fcf-9d80-fe66aeb20d18" providerId="ADAL" clId="{AA2DACD2-8492-4FDF-80C8-DF0025ECC2B8}" dt="2025-05-27T11:33:20.704" v="2059" actId="790"/>
          <ac:spMkLst>
            <pc:docMk/>
            <pc:sldMk cId="1502703716" sldId="2147483612"/>
            <ac:spMk id="45" creationId="{0D2DCF20-C487-B879-544E-66D5F5BB504F}"/>
          </ac:spMkLst>
        </pc:spChg>
        <pc:spChg chg="mod">
          <ac:chgData name="Juan Sebastián Giraldo" userId="2f39d921-1805-4fcf-9d80-fe66aeb20d18" providerId="ADAL" clId="{AA2DACD2-8492-4FDF-80C8-DF0025ECC2B8}" dt="2025-05-29T13:01:55.116" v="4316" actId="790"/>
          <ac:spMkLst>
            <pc:docMk/>
            <pc:sldMk cId="1502703716" sldId="2147483612"/>
            <ac:spMk id="53" creationId="{F734608D-C9AB-FB4E-AF80-582090FB915B}"/>
          </ac:spMkLst>
        </pc:spChg>
        <pc:spChg chg="mod">
          <ac:chgData name="Juan Sebastián Giraldo" userId="2f39d921-1805-4fcf-9d80-fe66aeb20d18" providerId="ADAL" clId="{AA2DACD2-8492-4FDF-80C8-DF0025ECC2B8}" dt="2025-05-27T11:33:20.704" v="2059" actId="790"/>
          <ac:spMkLst>
            <pc:docMk/>
            <pc:sldMk cId="1502703716" sldId="2147483612"/>
            <ac:spMk id="74" creationId="{3C47878C-6948-2C90-2236-8F8BC6F2CD60}"/>
          </ac:spMkLst>
        </pc:spChg>
        <pc:spChg chg="mod">
          <ac:chgData name="Juan Sebastián Giraldo" userId="2f39d921-1805-4fcf-9d80-fe66aeb20d18" providerId="ADAL" clId="{AA2DACD2-8492-4FDF-80C8-DF0025ECC2B8}" dt="2025-05-23T17:48:04.314" v="1030" actId="790"/>
          <ac:spMkLst>
            <pc:docMk/>
            <pc:sldMk cId="1502703716" sldId="2147483612"/>
            <ac:spMk id="80" creationId="{80480426-9B73-A112-B646-3256177C0B6C}"/>
          </ac:spMkLst>
        </pc:spChg>
        <pc:spChg chg="mod">
          <ac:chgData name="Juan Sebastián Giraldo" userId="2f39d921-1805-4fcf-9d80-fe66aeb20d18" providerId="ADAL" clId="{AA2DACD2-8492-4FDF-80C8-DF0025ECC2B8}" dt="2025-05-29T13:01:55.116" v="4316" actId="790"/>
          <ac:spMkLst>
            <pc:docMk/>
            <pc:sldMk cId="1502703716" sldId="2147483612"/>
            <ac:spMk id="143" creationId="{E800BEA6-F6C8-57A1-296E-65B919DB5D3F}"/>
          </ac:spMkLst>
        </pc:spChg>
        <pc:spChg chg="mod">
          <ac:chgData name="Juan Sebastián Giraldo" userId="2f39d921-1805-4fcf-9d80-fe66aeb20d18" providerId="ADAL" clId="{AA2DACD2-8492-4FDF-80C8-DF0025ECC2B8}" dt="2025-05-23T17:48:04.314" v="1030" actId="790"/>
          <ac:spMkLst>
            <pc:docMk/>
            <pc:sldMk cId="1502703716" sldId="2147483612"/>
            <ac:spMk id="145" creationId="{F22249D7-90D6-5BB7-4903-5CC8B691106E}"/>
          </ac:spMkLst>
        </pc:spChg>
        <pc:spChg chg="mod">
          <ac:chgData name="Juan Sebastián Giraldo" userId="2f39d921-1805-4fcf-9d80-fe66aeb20d18" providerId="ADAL" clId="{AA2DACD2-8492-4FDF-80C8-DF0025ECC2B8}" dt="2025-05-27T11:33:20.704" v="2059" actId="790"/>
          <ac:spMkLst>
            <pc:docMk/>
            <pc:sldMk cId="1502703716" sldId="2147483612"/>
            <ac:spMk id="146" creationId="{59A0D28A-7A72-AB98-78D8-B17311E439BB}"/>
          </ac:spMkLst>
        </pc:spChg>
        <pc:spChg chg="mod">
          <ac:chgData name="Juan Sebastián Giraldo" userId="2f39d921-1805-4fcf-9d80-fe66aeb20d18" providerId="ADAL" clId="{AA2DACD2-8492-4FDF-80C8-DF0025ECC2B8}" dt="2025-05-27T11:33:20.704" v="2059" actId="790"/>
          <ac:spMkLst>
            <pc:docMk/>
            <pc:sldMk cId="1502703716" sldId="2147483612"/>
            <ac:spMk id="149" creationId="{A236036E-94D5-BE05-9083-1EFF98B988DB}"/>
          </ac:spMkLst>
        </pc:spChg>
        <pc:spChg chg="mod">
          <ac:chgData name="Juan Sebastián Giraldo" userId="2f39d921-1805-4fcf-9d80-fe66aeb20d18" providerId="ADAL" clId="{AA2DACD2-8492-4FDF-80C8-DF0025ECC2B8}" dt="2025-05-23T17:48:04.314" v="1030" actId="790"/>
          <ac:spMkLst>
            <pc:docMk/>
            <pc:sldMk cId="1502703716" sldId="2147483612"/>
            <ac:spMk id="156" creationId="{D8A33518-3DC7-B54E-89D3-AC47BDDC9F76}"/>
          </ac:spMkLst>
        </pc:spChg>
        <pc:spChg chg="mod">
          <ac:chgData name="Juan Sebastián Giraldo" userId="2f39d921-1805-4fcf-9d80-fe66aeb20d18" providerId="ADAL" clId="{AA2DACD2-8492-4FDF-80C8-DF0025ECC2B8}" dt="2025-05-29T13:01:55.116" v="4316" actId="790"/>
          <ac:spMkLst>
            <pc:docMk/>
            <pc:sldMk cId="1502703716" sldId="2147483612"/>
            <ac:spMk id="159" creationId="{6E3D6A6B-F059-78F1-CDAC-C17B8F1A6AB0}"/>
          </ac:spMkLst>
        </pc:spChg>
        <pc:spChg chg="mod">
          <ac:chgData name="Juan Sebastián Giraldo" userId="2f39d921-1805-4fcf-9d80-fe66aeb20d18" providerId="ADAL" clId="{AA2DACD2-8492-4FDF-80C8-DF0025ECC2B8}" dt="2025-05-27T11:33:20.704" v="2059" actId="790"/>
          <ac:spMkLst>
            <pc:docMk/>
            <pc:sldMk cId="1502703716" sldId="2147483612"/>
            <ac:spMk id="162" creationId="{B58D4CC4-F5E1-EB30-3BF8-EEF35D79EED4}"/>
          </ac:spMkLst>
        </pc:spChg>
        <pc:spChg chg="mod">
          <ac:chgData name="Juan Sebastián Giraldo" userId="2f39d921-1805-4fcf-9d80-fe66aeb20d18" providerId="ADAL" clId="{AA2DACD2-8492-4FDF-80C8-DF0025ECC2B8}" dt="2025-05-29T13:01:55.116" v="4316" actId="790"/>
          <ac:spMkLst>
            <pc:docMk/>
            <pc:sldMk cId="1502703716" sldId="2147483612"/>
            <ac:spMk id="1045" creationId="{1EB9CB67-3628-D7B0-C375-99A046366829}"/>
          </ac:spMkLst>
        </pc:spChg>
        <pc:spChg chg="mod">
          <ac:chgData name="Juan Sebastián Giraldo" userId="2f39d921-1805-4fcf-9d80-fe66aeb20d18" providerId="ADAL" clId="{AA2DACD2-8492-4FDF-80C8-DF0025ECC2B8}" dt="2025-05-29T13:01:55.116" v="4316" actId="790"/>
          <ac:spMkLst>
            <pc:docMk/>
            <pc:sldMk cId="1502703716" sldId="2147483612"/>
            <ac:spMk id="1049" creationId="{89C3FC54-598D-9244-8F1C-61CDE33F7E65}"/>
          </ac:spMkLst>
        </pc:spChg>
      </pc:sldChg>
      <pc:sldChg chg="addSp delSp modSp new mod modShow modNotesTx">
        <pc:chgData name="Juan Sebastián Giraldo" userId="2f39d921-1805-4fcf-9d80-fe66aeb20d18" providerId="ADAL" clId="{AA2DACD2-8492-4FDF-80C8-DF0025ECC2B8}" dt="2025-05-29T13:01:55.116" v="4316" actId="790"/>
        <pc:sldMkLst>
          <pc:docMk/>
          <pc:sldMk cId="2016441479" sldId="2147483613"/>
        </pc:sldMkLst>
        <pc:spChg chg="mod">
          <ac:chgData name="Juan Sebastián Giraldo" userId="2f39d921-1805-4fcf-9d80-fe66aeb20d18" providerId="ADAL" clId="{AA2DACD2-8492-4FDF-80C8-DF0025ECC2B8}" dt="2025-05-29T13:01:55.116" v="4316" actId="790"/>
          <ac:spMkLst>
            <pc:docMk/>
            <pc:sldMk cId="2016441479" sldId="2147483613"/>
            <ac:spMk id="2" creationId="{C122AF18-C671-6EFF-4804-32E0FBF669F9}"/>
          </ac:spMkLst>
        </pc:spChg>
        <pc:spChg chg="add mod">
          <ac:chgData name="Juan Sebastián Giraldo" userId="2f39d921-1805-4fcf-9d80-fe66aeb20d18" providerId="ADAL" clId="{AA2DACD2-8492-4FDF-80C8-DF0025ECC2B8}" dt="2025-05-29T13:01:55.116" v="4316" actId="790"/>
          <ac:spMkLst>
            <pc:docMk/>
            <pc:sldMk cId="2016441479" sldId="2147483613"/>
            <ac:spMk id="3" creationId="{DBFCDF2B-37EC-F56D-0EB5-712961E92803}"/>
          </ac:spMkLst>
        </pc:spChg>
        <pc:spChg chg="add mod">
          <ac:chgData name="Juan Sebastián Giraldo" userId="2f39d921-1805-4fcf-9d80-fe66aeb20d18" providerId="ADAL" clId="{AA2DACD2-8492-4FDF-80C8-DF0025ECC2B8}" dt="2025-05-29T13:01:55.116" v="4316" actId="790"/>
          <ac:spMkLst>
            <pc:docMk/>
            <pc:sldMk cId="2016441479" sldId="2147483613"/>
            <ac:spMk id="6" creationId="{85C13B76-E6F0-B9F0-0856-6C19B9C6DEC3}"/>
          </ac:spMkLst>
        </pc:spChg>
      </pc:sldChg>
      <pc:sldChg chg="addSp modSp add mod modNotesTx">
        <pc:chgData name="Juan Sebastián Giraldo" userId="2f39d921-1805-4fcf-9d80-fe66aeb20d18" providerId="ADAL" clId="{AA2DACD2-8492-4FDF-80C8-DF0025ECC2B8}" dt="2025-05-29T13:01:55.116" v="4316" actId="790"/>
        <pc:sldMkLst>
          <pc:docMk/>
          <pc:sldMk cId="425399150" sldId="2147483614"/>
        </pc:sldMkLst>
        <pc:spChg chg="mod">
          <ac:chgData name="Juan Sebastián Giraldo" userId="2f39d921-1805-4fcf-9d80-fe66aeb20d18" providerId="ADAL" clId="{AA2DACD2-8492-4FDF-80C8-DF0025ECC2B8}" dt="2025-05-29T13:01:55.116" v="4316" actId="790"/>
          <ac:spMkLst>
            <pc:docMk/>
            <pc:sldMk cId="425399150" sldId="2147483614"/>
            <ac:spMk id="2" creationId="{B9C864BE-49CB-8907-66C5-98195DD0BB65}"/>
          </ac:spMkLst>
        </pc:spChg>
        <pc:spChg chg="mod">
          <ac:chgData name="Juan Sebastián Giraldo" userId="2f39d921-1805-4fcf-9d80-fe66aeb20d18" providerId="ADAL" clId="{AA2DACD2-8492-4FDF-80C8-DF0025ECC2B8}" dt="2025-05-29T13:01:55.116" v="4316" actId="790"/>
          <ac:spMkLst>
            <pc:docMk/>
            <pc:sldMk cId="425399150" sldId="2147483614"/>
            <ac:spMk id="3" creationId="{D04A0B1A-5775-C5AE-1ECA-F1C78992877A}"/>
          </ac:spMkLst>
        </pc:spChg>
        <pc:graphicFrameChg chg="add mod modGraphic">
          <ac:chgData name="Juan Sebastián Giraldo" userId="2f39d921-1805-4fcf-9d80-fe66aeb20d18" providerId="ADAL" clId="{AA2DACD2-8492-4FDF-80C8-DF0025ECC2B8}" dt="2025-05-29T13:01:55.116" v="4316" actId="790"/>
          <ac:graphicFrameMkLst>
            <pc:docMk/>
            <pc:sldMk cId="425399150" sldId="2147483614"/>
            <ac:graphicFrameMk id="4" creationId="{495A1930-DE74-52ED-EF34-F33C14279444}"/>
          </ac:graphicFrameMkLst>
        </pc:graphicFrameChg>
      </pc:sldChg>
      <pc:sldChg chg="addSp modSp add mod modShow modNotesTx">
        <pc:chgData name="Juan Sebastián Giraldo" userId="2f39d921-1805-4fcf-9d80-fe66aeb20d18" providerId="ADAL" clId="{AA2DACD2-8492-4FDF-80C8-DF0025ECC2B8}" dt="2025-05-29T13:01:55.116" v="4316" actId="790"/>
        <pc:sldMkLst>
          <pc:docMk/>
          <pc:sldMk cId="3559507469" sldId="2147483615"/>
        </pc:sldMkLst>
        <pc:spChg chg="mod">
          <ac:chgData name="Juan Sebastián Giraldo" userId="2f39d921-1805-4fcf-9d80-fe66aeb20d18" providerId="ADAL" clId="{AA2DACD2-8492-4FDF-80C8-DF0025ECC2B8}" dt="2025-05-29T13:01:55.116" v="4316" actId="790"/>
          <ac:spMkLst>
            <pc:docMk/>
            <pc:sldMk cId="3559507469" sldId="2147483615"/>
            <ac:spMk id="2" creationId="{48DD789E-A9FE-B372-5A27-1AFC4B15596D}"/>
          </ac:spMkLst>
        </pc:spChg>
        <pc:spChg chg="mod">
          <ac:chgData name="Juan Sebastián Giraldo" userId="2f39d921-1805-4fcf-9d80-fe66aeb20d18" providerId="ADAL" clId="{AA2DACD2-8492-4FDF-80C8-DF0025ECC2B8}" dt="2025-05-29T13:01:55.116" v="4316" actId="790"/>
          <ac:spMkLst>
            <pc:docMk/>
            <pc:sldMk cId="3559507469" sldId="2147483615"/>
            <ac:spMk id="3" creationId="{EE11F5B3-CAF0-E17F-A979-763601E5317F}"/>
          </ac:spMkLst>
        </pc:spChg>
        <pc:graphicFrameChg chg="add mod modGraphic">
          <ac:chgData name="Juan Sebastián Giraldo" userId="2f39d921-1805-4fcf-9d80-fe66aeb20d18" providerId="ADAL" clId="{AA2DACD2-8492-4FDF-80C8-DF0025ECC2B8}" dt="2025-05-29T13:01:55.116" v="4316" actId="790"/>
          <ac:graphicFrameMkLst>
            <pc:docMk/>
            <pc:sldMk cId="3559507469" sldId="2147483615"/>
            <ac:graphicFrameMk id="6" creationId="{141C3DF6-63F8-033F-052A-155FF9801310}"/>
          </ac:graphicFrameMkLst>
        </pc:graphicFrameChg>
      </pc:sldChg>
      <pc:sldChg chg="addSp modSp add mod modShow modNotesTx">
        <pc:chgData name="Juan Sebastián Giraldo" userId="2f39d921-1805-4fcf-9d80-fe66aeb20d18" providerId="ADAL" clId="{AA2DACD2-8492-4FDF-80C8-DF0025ECC2B8}" dt="2025-05-29T13:01:55.116" v="4316" actId="790"/>
        <pc:sldMkLst>
          <pc:docMk/>
          <pc:sldMk cId="1626780039" sldId="2147483616"/>
        </pc:sldMkLst>
        <pc:spChg chg="mod">
          <ac:chgData name="Juan Sebastián Giraldo" userId="2f39d921-1805-4fcf-9d80-fe66aeb20d18" providerId="ADAL" clId="{AA2DACD2-8492-4FDF-80C8-DF0025ECC2B8}" dt="2025-05-29T13:01:55.116" v="4316" actId="790"/>
          <ac:spMkLst>
            <pc:docMk/>
            <pc:sldMk cId="1626780039" sldId="2147483616"/>
            <ac:spMk id="2" creationId="{DF9ACFC1-D6AD-C34A-1377-00BEAE362DAC}"/>
          </ac:spMkLst>
        </pc:spChg>
        <pc:spChg chg="mod">
          <ac:chgData name="Juan Sebastián Giraldo" userId="2f39d921-1805-4fcf-9d80-fe66aeb20d18" providerId="ADAL" clId="{AA2DACD2-8492-4FDF-80C8-DF0025ECC2B8}" dt="2025-05-29T13:01:55.116" v="4316" actId="790"/>
          <ac:spMkLst>
            <pc:docMk/>
            <pc:sldMk cId="1626780039" sldId="2147483616"/>
            <ac:spMk id="3" creationId="{E367DE35-5776-C7BE-B36A-661F3B466930}"/>
          </ac:spMkLst>
        </pc:spChg>
        <pc:spChg chg="add mod">
          <ac:chgData name="Juan Sebastián Giraldo" userId="2f39d921-1805-4fcf-9d80-fe66aeb20d18" providerId="ADAL" clId="{AA2DACD2-8492-4FDF-80C8-DF0025ECC2B8}" dt="2025-05-29T13:01:55.116" v="4316" actId="790"/>
          <ac:spMkLst>
            <pc:docMk/>
            <pc:sldMk cId="1626780039" sldId="2147483616"/>
            <ac:spMk id="5" creationId="{2878F332-0A5A-8C96-1761-682C1076CEA0}"/>
          </ac:spMkLst>
        </pc:spChg>
        <pc:graphicFrameChg chg="modGraphic">
          <ac:chgData name="Juan Sebastián Giraldo" userId="2f39d921-1805-4fcf-9d80-fe66aeb20d18" providerId="ADAL" clId="{AA2DACD2-8492-4FDF-80C8-DF0025ECC2B8}" dt="2025-05-29T13:01:55.116" v="4316" actId="790"/>
          <ac:graphicFrameMkLst>
            <pc:docMk/>
            <pc:sldMk cId="1626780039" sldId="2147483616"/>
            <ac:graphicFrameMk id="4" creationId="{F15FF668-6EF8-4438-A738-563207A1CF2D}"/>
          </ac:graphicFrameMkLst>
        </pc:graphicFrameChg>
      </pc:sldChg>
      <pc:sldChg chg="addSp modSp add mod modShow modNotesTx">
        <pc:chgData name="Juan Sebastián Giraldo" userId="2f39d921-1805-4fcf-9d80-fe66aeb20d18" providerId="ADAL" clId="{AA2DACD2-8492-4FDF-80C8-DF0025ECC2B8}" dt="2025-05-29T13:01:55.116" v="4316" actId="790"/>
        <pc:sldMkLst>
          <pc:docMk/>
          <pc:sldMk cId="2847774185" sldId="2147483617"/>
        </pc:sldMkLst>
        <pc:spChg chg="mod">
          <ac:chgData name="Juan Sebastián Giraldo" userId="2f39d921-1805-4fcf-9d80-fe66aeb20d18" providerId="ADAL" clId="{AA2DACD2-8492-4FDF-80C8-DF0025ECC2B8}" dt="2025-05-29T13:01:55.116" v="4316" actId="790"/>
          <ac:spMkLst>
            <pc:docMk/>
            <pc:sldMk cId="2847774185" sldId="2147483617"/>
            <ac:spMk id="2" creationId="{294F8D93-C5F2-C074-FE1B-EB03B4C9F48E}"/>
          </ac:spMkLst>
        </pc:spChg>
        <pc:spChg chg="mod">
          <ac:chgData name="Juan Sebastián Giraldo" userId="2f39d921-1805-4fcf-9d80-fe66aeb20d18" providerId="ADAL" clId="{AA2DACD2-8492-4FDF-80C8-DF0025ECC2B8}" dt="2025-05-29T13:01:55.116" v="4316" actId="790"/>
          <ac:spMkLst>
            <pc:docMk/>
            <pc:sldMk cId="2847774185" sldId="2147483617"/>
            <ac:spMk id="3" creationId="{C96FC779-7C22-4EA0-B38F-F5533222A6F4}"/>
          </ac:spMkLst>
        </pc:spChg>
        <pc:spChg chg="add mod">
          <ac:chgData name="Juan Sebastián Giraldo" userId="2f39d921-1805-4fcf-9d80-fe66aeb20d18" providerId="ADAL" clId="{AA2DACD2-8492-4FDF-80C8-DF0025ECC2B8}" dt="2025-05-29T13:01:55.116" v="4316" actId="790"/>
          <ac:spMkLst>
            <pc:docMk/>
            <pc:sldMk cId="2847774185" sldId="2147483617"/>
            <ac:spMk id="4" creationId="{609076D8-8F97-04DC-01AC-762F28D9E0FF}"/>
          </ac:spMkLst>
        </pc:spChg>
        <pc:spChg chg="add mod">
          <ac:chgData name="Juan Sebastián Giraldo" userId="2f39d921-1805-4fcf-9d80-fe66aeb20d18" providerId="ADAL" clId="{AA2DACD2-8492-4FDF-80C8-DF0025ECC2B8}" dt="2025-05-29T13:01:55.116" v="4316" actId="790"/>
          <ac:spMkLst>
            <pc:docMk/>
            <pc:sldMk cId="2847774185" sldId="2147483617"/>
            <ac:spMk id="5" creationId="{EAFC4FB0-41EC-CC3C-558B-73D0325BC722}"/>
          </ac:spMkLst>
        </pc:spChg>
      </pc:sldChg>
      <pc:sldChg chg="addSp delSp modSp add mod ord modNotesTx">
        <pc:chgData name="Juan Sebastián Giraldo" userId="2f39d921-1805-4fcf-9d80-fe66aeb20d18" providerId="ADAL" clId="{AA2DACD2-8492-4FDF-80C8-DF0025ECC2B8}" dt="2025-05-29T13:01:55.116" v="4316" actId="790"/>
        <pc:sldMkLst>
          <pc:docMk/>
          <pc:sldMk cId="1471242666" sldId="2147483618"/>
        </pc:sldMkLst>
        <pc:spChg chg="mod">
          <ac:chgData name="Juan Sebastián Giraldo" userId="2f39d921-1805-4fcf-9d80-fe66aeb20d18" providerId="ADAL" clId="{AA2DACD2-8492-4FDF-80C8-DF0025ECC2B8}" dt="2025-05-29T13:01:55.116" v="4316" actId="790"/>
          <ac:spMkLst>
            <pc:docMk/>
            <pc:sldMk cId="1471242666" sldId="2147483618"/>
            <ac:spMk id="2" creationId="{81DE66B1-A2C1-C5BF-D5F0-A8AB9678378A}"/>
          </ac:spMkLst>
        </pc:spChg>
        <pc:spChg chg="mod">
          <ac:chgData name="Juan Sebastián Giraldo" userId="2f39d921-1805-4fcf-9d80-fe66aeb20d18" providerId="ADAL" clId="{AA2DACD2-8492-4FDF-80C8-DF0025ECC2B8}" dt="2025-05-29T13:01:55.116" v="4316" actId="790"/>
          <ac:spMkLst>
            <pc:docMk/>
            <pc:sldMk cId="1471242666" sldId="2147483618"/>
            <ac:spMk id="3" creationId="{EF53C6E7-7B1C-7E32-B3B3-5A98292F9CD7}"/>
          </ac:spMkLst>
        </pc:spChg>
        <pc:spChg chg="add mod">
          <ac:chgData name="Juan Sebastián Giraldo" userId="2f39d921-1805-4fcf-9d80-fe66aeb20d18" providerId="ADAL" clId="{AA2DACD2-8492-4FDF-80C8-DF0025ECC2B8}" dt="2025-05-29T13:01:55.116" v="4316" actId="790"/>
          <ac:spMkLst>
            <pc:docMk/>
            <pc:sldMk cId="1471242666" sldId="2147483618"/>
            <ac:spMk id="5" creationId="{AD43B8E5-7D79-10AA-68EB-9D56EEC48F38}"/>
          </ac:spMkLst>
        </pc:spChg>
      </pc:sldChg>
      <pc:sldChg chg="addSp delSp modSp add mod">
        <pc:chgData name="Juan Sebastián Giraldo" userId="2f39d921-1805-4fcf-9d80-fe66aeb20d18" providerId="ADAL" clId="{AA2DACD2-8492-4FDF-80C8-DF0025ECC2B8}" dt="2025-05-29T13:01:55.116" v="4316" actId="790"/>
        <pc:sldMkLst>
          <pc:docMk/>
          <pc:sldMk cId="2785411241" sldId="2147483619"/>
        </pc:sldMkLst>
        <pc:spChg chg="mod">
          <ac:chgData name="Juan Sebastián Giraldo" userId="2f39d921-1805-4fcf-9d80-fe66aeb20d18" providerId="ADAL" clId="{AA2DACD2-8492-4FDF-80C8-DF0025ECC2B8}" dt="2025-05-29T13:01:55.116" v="4316" actId="790"/>
          <ac:spMkLst>
            <pc:docMk/>
            <pc:sldMk cId="2785411241" sldId="2147483619"/>
            <ac:spMk id="2" creationId="{AE515B05-C8D7-2797-D305-E96838CC73FE}"/>
          </ac:spMkLst>
        </pc:spChg>
        <pc:spChg chg="add mod">
          <ac:chgData name="Juan Sebastián Giraldo" userId="2f39d921-1805-4fcf-9d80-fe66aeb20d18" providerId="ADAL" clId="{AA2DACD2-8492-4FDF-80C8-DF0025ECC2B8}" dt="2025-05-29T13:01:55.116" v="4316" actId="790"/>
          <ac:spMkLst>
            <pc:docMk/>
            <pc:sldMk cId="2785411241" sldId="2147483619"/>
            <ac:spMk id="5" creationId="{A54E2B48-1568-A057-2502-77748DD18598}"/>
          </ac:spMkLst>
        </pc:spChg>
        <pc:spChg chg="add mod">
          <ac:chgData name="Juan Sebastián Giraldo" userId="2f39d921-1805-4fcf-9d80-fe66aeb20d18" providerId="ADAL" clId="{AA2DACD2-8492-4FDF-80C8-DF0025ECC2B8}" dt="2025-05-29T13:01:55.116" v="4316" actId="790"/>
          <ac:spMkLst>
            <pc:docMk/>
            <pc:sldMk cId="2785411241" sldId="2147483619"/>
            <ac:spMk id="13" creationId="{44177CF6-EC71-D4B2-5631-1EDA7E69112C}"/>
          </ac:spMkLst>
        </pc:spChg>
        <pc:graphicFrameChg chg="add mod modGraphic">
          <ac:chgData name="Juan Sebastián Giraldo" userId="2f39d921-1805-4fcf-9d80-fe66aeb20d18" providerId="ADAL" clId="{AA2DACD2-8492-4FDF-80C8-DF0025ECC2B8}" dt="2025-05-29T13:01:55.116" v="4316" actId="790"/>
          <ac:graphicFrameMkLst>
            <pc:docMk/>
            <pc:sldMk cId="2785411241" sldId="2147483619"/>
            <ac:graphicFrameMk id="45" creationId="{9FAEAF7D-607D-8F96-CBB8-15B429AE5BCF}"/>
          </ac:graphicFrameMkLst>
        </pc:graphicFrameChg>
      </pc:sldChg>
      <pc:sldChg chg="modSp add mod modShow modNotesTx">
        <pc:chgData name="Juan Sebastián Giraldo" userId="2f39d921-1805-4fcf-9d80-fe66aeb20d18" providerId="ADAL" clId="{AA2DACD2-8492-4FDF-80C8-DF0025ECC2B8}" dt="2025-05-23T17:57:36.118" v="1166" actId="729"/>
        <pc:sldMkLst>
          <pc:docMk/>
          <pc:sldMk cId="2911095764" sldId="2147483619"/>
        </pc:sldMkLst>
      </pc:sldChg>
      <pc:sldChg chg="modSp add mod modShow modNotesTx">
        <pc:chgData name="Juan Sebastián Giraldo" userId="2f39d921-1805-4fcf-9d80-fe66aeb20d18" providerId="ADAL" clId="{AA2DACD2-8492-4FDF-80C8-DF0025ECC2B8}" dt="2025-05-23T17:57:38.774" v="1167" actId="729"/>
        <pc:sldMkLst>
          <pc:docMk/>
          <pc:sldMk cId="1818580517" sldId="2147483620"/>
        </pc:sldMkLst>
      </pc:sldChg>
      <pc:sldChg chg="addSp delSp modSp add mod modNotesTx">
        <pc:chgData name="Juan Sebastián Giraldo" userId="2f39d921-1805-4fcf-9d80-fe66aeb20d18" providerId="ADAL" clId="{AA2DACD2-8492-4FDF-80C8-DF0025ECC2B8}" dt="2025-05-29T13:01:55.116" v="4316" actId="790"/>
        <pc:sldMkLst>
          <pc:docMk/>
          <pc:sldMk cId="3952087565" sldId="2147483621"/>
        </pc:sldMkLst>
        <pc:spChg chg="mod">
          <ac:chgData name="Juan Sebastián Giraldo" userId="2f39d921-1805-4fcf-9d80-fe66aeb20d18" providerId="ADAL" clId="{AA2DACD2-8492-4FDF-80C8-DF0025ECC2B8}" dt="2025-05-29T13:01:55.116" v="4316" actId="790"/>
          <ac:spMkLst>
            <pc:docMk/>
            <pc:sldMk cId="3952087565" sldId="2147483621"/>
            <ac:spMk id="2" creationId="{B210B9ED-C87F-3717-4664-EDCE471019D4}"/>
          </ac:spMkLst>
        </pc:spChg>
        <pc:spChg chg="mod">
          <ac:chgData name="Juan Sebastián Giraldo" userId="2f39d921-1805-4fcf-9d80-fe66aeb20d18" providerId="ADAL" clId="{AA2DACD2-8492-4FDF-80C8-DF0025ECC2B8}" dt="2025-05-29T13:01:55.116" v="4316" actId="790"/>
          <ac:spMkLst>
            <pc:docMk/>
            <pc:sldMk cId="3952087565" sldId="2147483621"/>
            <ac:spMk id="3" creationId="{917D5738-C349-C758-5D41-09259C41EB59}"/>
          </ac:spMkLst>
        </pc:spChg>
        <pc:spChg chg="add mod">
          <ac:chgData name="Juan Sebastián Giraldo" userId="2f39d921-1805-4fcf-9d80-fe66aeb20d18" providerId="ADAL" clId="{AA2DACD2-8492-4FDF-80C8-DF0025ECC2B8}" dt="2025-05-29T13:01:55.116" v="4316" actId="790"/>
          <ac:spMkLst>
            <pc:docMk/>
            <pc:sldMk cId="3952087565" sldId="2147483621"/>
            <ac:spMk id="4" creationId="{8D2611D1-108B-0400-71AD-B7BE34BC325B}"/>
          </ac:spMkLst>
        </pc:spChg>
      </pc:sldChg>
      <pc:sldChg chg="addSp modSp add mod ord modNotesTx">
        <pc:chgData name="Juan Sebastián Giraldo" userId="2f39d921-1805-4fcf-9d80-fe66aeb20d18" providerId="ADAL" clId="{AA2DACD2-8492-4FDF-80C8-DF0025ECC2B8}" dt="2025-05-29T13:01:55.116" v="4316" actId="790"/>
        <pc:sldMkLst>
          <pc:docMk/>
          <pc:sldMk cId="3844352744" sldId="2147483622"/>
        </pc:sldMkLst>
        <pc:spChg chg="mod">
          <ac:chgData name="Juan Sebastián Giraldo" userId="2f39d921-1805-4fcf-9d80-fe66aeb20d18" providerId="ADAL" clId="{AA2DACD2-8492-4FDF-80C8-DF0025ECC2B8}" dt="2025-05-29T13:01:55.116" v="4316" actId="790"/>
          <ac:spMkLst>
            <pc:docMk/>
            <pc:sldMk cId="3844352744" sldId="2147483622"/>
            <ac:spMk id="2" creationId="{52DBA094-AFEB-CB10-5B2E-E041E3766D1A}"/>
          </ac:spMkLst>
        </pc:spChg>
        <pc:spChg chg="mod">
          <ac:chgData name="Juan Sebastián Giraldo" userId="2f39d921-1805-4fcf-9d80-fe66aeb20d18" providerId="ADAL" clId="{AA2DACD2-8492-4FDF-80C8-DF0025ECC2B8}" dt="2025-05-29T13:01:55.116" v="4316" actId="790"/>
          <ac:spMkLst>
            <pc:docMk/>
            <pc:sldMk cId="3844352744" sldId="2147483622"/>
            <ac:spMk id="3" creationId="{CFABF21B-5AC4-1210-F11D-7241938D1A8A}"/>
          </ac:spMkLst>
        </pc:spChg>
        <pc:spChg chg="add mod">
          <ac:chgData name="Juan Sebastián Giraldo" userId="2f39d921-1805-4fcf-9d80-fe66aeb20d18" providerId="ADAL" clId="{AA2DACD2-8492-4FDF-80C8-DF0025ECC2B8}" dt="2025-05-29T13:01:55.116" v="4316" actId="790"/>
          <ac:spMkLst>
            <pc:docMk/>
            <pc:sldMk cId="3844352744" sldId="2147483622"/>
            <ac:spMk id="4" creationId="{88E1DA00-78A0-5B13-D10E-E2DD569B8712}"/>
          </ac:spMkLst>
        </pc:spChg>
      </pc:sldChg>
      <pc:sldChg chg="modSp mod modShow">
        <pc:chgData name="Juan Sebastián Giraldo" userId="2f39d921-1805-4fcf-9d80-fe66aeb20d18" providerId="ADAL" clId="{AA2DACD2-8492-4FDF-80C8-DF0025ECC2B8}" dt="2025-05-29T15:16:27.111" v="4871" actId="729"/>
        <pc:sldMkLst>
          <pc:docMk/>
          <pc:sldMk cId="1910018372" sldId="2147483626"/>
        </pc:sldMkLst>
        <pc:spChg chg="mod">
          <ac:chgData name="Juan Sebastián Giraldo" userId="2f39d921-1805-4fcf-9d80-fe66aeb20d18" providerId="ADAL" clId="{AA2DACD2-8492-4FDF-80C8-DF0025ECC2B8}" dt="2025-05-29T13:01:55.116" v="4316" actId="790"/>
          <ac:spMkLst>
            <pc:docMk/>
            <pc:sldMk cId="1910018372" sldId="2147483626"/>
            <ac:spMk id="2" creationId="{C3DB79D3-1873-7800-33E6-0882BAD11041}"/>
          </ac:spMkLst>
        </pc:spChg>
        <pc:spChg chg="mod">
          <ac:chgData name="Juan Sebastián Giraldo" userId="2f39d921-1805-4fcf-9d80-fe66aeb20d18" providerId="ADAL" clId="{AA2DACD2-8492-4FDF-80C8-DF0025ECC2B8}" dt="2025-05-29T13:01:55.116" v="4316" actId="790"/>
          <ac:spMkLst>
            <pc:docMk/>
            <pc:sldMk cId="1910018372" sldId="2147483626"/>
            <ac:spMk id="4" creationId="{160BC95F-2FD8-384C-5DC9-1AA6261CB2F6}"/>
          </ac:spMkLst>
        </pc:spChg>
        <pc:spChg chg="mod">
          <ac:chgData name="Juan Sebastián Giraldo" userId="2f39d921-1805-4fcf-9d80-fe66aeb20d18" providerId="ADAL" clId="{AA2DACD2-8492-4FDF-80C8-DF0025ECC2B8}" dt="2025-05-27T11:33:20.704" v="2059" actId="790"/>
          <ac:spMkLst>
            <pc:docMk/>
            <pc:sldMk cId="1910018372" sldId="2147483626"/>
            <ac:spMk id="9" creationId="{938532E4-A733-2A98-D3FB-D4E8F0D58C9B}"/>
          </ac:spMkLst>
        </pc:spChg>
        <pc:spChg chg="mod">
          <ac:chgData name="Juan Sebastián Giraldo" userId="2f39d921-1805-4fcf-9d80-fe66aeb20d18" providerId="ADAL" clId="{AA2DACD2-8492-4FDF-80C8-DF0025ECC2B8}" dt="2025-05-29T13:01:55.116" v="4316" actId="790"/>
          <ac:spMkLst>
            <pc:docMk/>
            <pc:sldMk cId="1910018372" sldId="2147483626"/>
            <ac:spMk id="12" creationId="{CCD75FBB-FB83-38E2-3BDB-21DBEAFD0843}"/>
          </ac:spMkLst>
        </pc:spChg>
        <pc:spChg chg="mod">
          <ac:chgData name="Juan Sebastián Giraldo" userId="2f39d921-1805-4fcf-9d80-fe66aeb20d18" providerId="ADAL" clId="{AA2DACD2-8492-4FDF-80C8-DF0025ECC2B8}" dt="2025-05-29T13:01:55.116" v="4316" actId="790"/>
          <ac:spMkLst>
            <pc:docMk/>
            <pc:sldMk cId="1910018372" sldId="2147483626"/>
            <ac:spMk id="16" creationId="{71A74FA7-DCE1-9279-5C08-209631991562}"/>
          </ac:spMkLst>
        </pc:spChg>
        <pc:spChg chg="mod">
          <ac:chgData name="Juan Sebastián Giraldo" userId="2f39d921-1805-4fcf-9d80-fe66aeb20d18" providerId="ADAL" clId="{AA2DACD2-8492-4FDF-80C8-DF0025ECC2B8}" dt="2025-05-23T17:50:20.160" v="1054" actId="113"/>
          <ac:spMkLst>
            <pc:docMk/>
            <pc:sldMk cId="1910018372" sldId="2147483626"/>
            <ac:spMk id="19" creationId="{F1660234-9E82-FD37-848A-5EE66F4358CC}"/>
          </ac:spMkLst>
        </pc:spChg>
        <pc:spChg chg="mod">
          <ac:chgData name="Juan Sebastián Giraldo" userId="2f39d921-1805-4fcf-9d80-fe66aeb20d18" providerId="ADAL" clId="{AA2DACD2-8492-4FDF-80C8-DF0025ECC2B8}" dt="2025-05-29T13:01:55.116" v="4316" actId="790"/>
          <ac:spMkLst>
            <pc:docMk/>
            <pc:sldMk cId="1910018372" sldId="2147483626"/>
            <ac:spMk id="20" creationId="{01FF116E-7452-37D5-1EEE-05174A152833}"/>
          </ac:spMkLst>
        </pc:spChg>
        <pc:spChg chg="mod">
          <ac:chgData name="Juan Sebastián Giraldo" userId="2f39d921-1805-4fcf-9d80-fe66aeb20d18" providerId="ADAL" clId="{AA2DACD2-8492-4FDF-80C8-DF0025ECC2B8}" dt="2025-05-23T17:51:05.267" v="1063" actId="20577"/>
          <ac:spMkLst>
            <pc:docMk/>
            <pc:sldMk cId="1910018372" sldId="2147483626"/>
            <ac:spMk id="21" creationId="{B963DE90-EB79-61FF-1D2F-F133D33DE171}"/>
          </ac:spMkLst>
        </pc:spChg>
        <pc:spChg chg="mod">
          <ac:chgData name="Juan Sebastián Giraldo" userId="2f39d921-1805-4fcf-9d80-fe66aeb20d18" providerId="ADAL" clId="{AA2DACD2-8492-4FDF-80C8-DF0025ECC2B8}" dt="2025-05-23T17:51:18.756" v="1064" actId="113"/>
          <ac:spMkLst>
            <pc:docMk/>
            <pc:sldMk cId="1910018372" sldId="2147483626"/>
            <ac:spMk id="22" creationId="{3337651D-49AB-6A0C-C7C4-6F13165258DD}"/>
          </ac:spMkLst>
        </pc:spChg>
        <pc:spChg chg="mod">
          <ac:chgData name="Juan Sebastián Giraldo" userId="2f39d921-1805-4fcf-9d80-fe66aeb20d18" providerId="ADAL" clId="{AA2DACD2-8492-4FDF-80C8-DF0025ECC2B8}" dt="2025-05-27T11:33:20.704" v="2059" actId="790"/>
          <ac:spMkLst>
            <pc:docMk/>
            <pc:sldMk cId="1910018372" sldId="2147483626"/>
            <ac:spMk id="23" creationId="{37AC45E5-EA93-FFA0-54D6-A61A7F750957}"/>
          </ac:spMkLst>
        </pc:spChg>
        <pc:spChg chg="mod">
          <ac:chgData name="Juan Sebastián Giraldo" userId="2f39d921-1805-4fcf-9d80-fe66aeb20d18" providerId="ADAL" clId="{AA2DACD2-8492-4FDF-80C8-DF0025ECC2B8}" dt="2025-05-23T17:52:56.318" v="1076" actId="1076"/>
          <ac:spMkLst>
            <pc:docMk/>
            <pc:sldMk cId="1910018372" sldId="2147483626"/>
            <ac:spMk id="24" creationId="{578964EF-9546-B894-44E3-4C4C48FE6D31}"/>
          </ac:spMkLst>
        </pc:spChg>
        <pc:spChg chg="mod">
          <ac:chgData name="Juan Sebastián Giraldo" userId="2f39d921-1805-4fcf-9d80-fe66aeb20d18" providerId="ADAL" clId="{AA2DACD2-8492-4FDF-80C8-DF0025ECC2B8}" dt="2025-05-27T11:33:20.704" v="2059" actId="790"/>
          <ac:spMkLst>
            <pc:docMk/>
            <pc:sldMk cId="1910018372" sldId="2147483626"/>
            <ac:spMk id="32" creationId="{73831B62-1FCD-C71B-CB90-600F759CC50E}"/>
          </ac:spMkLst>
        </pc:spChg>
        <pc:spChg chg="mod">
          <ac:chgData name="Juan Sebastián Giraldo" userId="2f39d921-1805-4fcf-9d80-fe66aeb20d18" providerId="ADAL" clId="{AA2DACD2-8492-4FDF-80C8-DF0025ECC2B8}" dt="2025-05-23T17:48:04.314" v="1030" actId="790"/>
          <ac:spMkLst>
            <pc:docMk/>
            <pc:sldMk cId="1910018372" sldId="2147483626"/>
            <ac:spMk id="34" creationId="{70AF8EDB-6974-0860-62FA-B54E913EB9D3}"/>
          </ac:spMkLst>
        </pc:spChg>
        <pc:spChg chg="mod">
          <ac:chgData name="Juan Sebastián Giraldo" userId="2f39d921-1805-4fcf-9d80-fe66aeb20d18" providerId="ADAL" clId="{AA2DACD2-8492-4FDF-80C8-DF0025ECC2B8}" dt="2025-05-29T13:01:55.116" v="4316" actId="790"/>
          <ac:spMkLst>
            <pc:docMk/>
            <pc:sldMk cId="1910018372" sldId="2147483626"/>
            <ac:spMk id="38" creationId="{91332650-A3E2-4754-8675-DF24A3218CE0}"/>
          </ac:spMkLst>
        </pc:spChg>
        <pc:spChg chg="mod">
          <ac:chgData name="Juan Sebastián Giraldo" userId="2f39d921-1805-4fcf-9d80-fe66aeb20d18" providerId="ADAL" clId="{AA2DACD2-8492-4FDF-80C8-DF0025ECC2B8}" dt="2025-05-29T13:01:55.116" v="4316" actId="790"/>
          <ac:spMkLst>
            <pc:docMk/>
            <pc:sldMk cId="1910018372" sldId="2147483626"/>
            <ac:spMk id="49" creationId="{2A84E1FE-EC18-2DC3-4882-92E92D5023C8}"/>
          </ac:spMkLst>
        </pc:spChg>
        <pc:spChg chg="mod">
          <ac:chgData name="Juan Sebastián Giraldo" userId="2f39d921-1805-4fcf-9d80-fe66aeb20d18" providerId="ADAL" clId="{AA2DACD2-8492-4FDF-80C8-DF0025ECC2B8}" dt="2025-05-29T13:01:55.116" v="4316" actId="790"/>
          <ac:spMkLst>
            <pc:docMk/>
            <pc:sldMk cId="1910018372" sldId="2147483626"/>
            <ac:spMk id="50" creationId="{2D574622-8329-92BA-AD42-3D9D3AA6E430}"/>
          </ac:spMkLst>
        </pc:spChg>
        <pc:spChg chg="mod">
          <ac:chgData name="Juan Sebastián Giraldo" userId="2f39d921-1805-4fcf-9d80-fe66aeb20d18" providerId="ADAL" clId="{AA2DACD2-8492-4FDF-80C8-DF0025ECC2B8}" dt="2025-05-29T13:01:55.116" v="4316" actId="790"/>
          <ac:spMkLst>
            <pc:docMk/>
            <pc:sldMk cId="1910018372" sldId="2147483626"/>
            <ac:spMk id="52" creationId="{C49BDBAB-ACC2-91FA-8F69-3F58F649C6A8}"/>
          </ac:spMkLst>
        </pc:spChg>
        <pc:spChg chg="mod">
          <ac:chgData name="Juan Sebastián Giraldo" userId="2f39d921-1805-4fcf-9d80-fe66aeb20d18" providerId="ADAL" clId="{AA2DACD2-8492-4FDF-80C8-DF0025ECC2B8}" dt="2025-05-27T11:33:20.704" v="2059" actId="790"/>
          <ac:spMkLst>
            <pc:docMk/>
            <pc:sldMk cId="1910018372" sldId="2147483626"/>
            <ac:spMk id="56" creationId="{49866E20-1A4C-B0F3-4509-363C79CA4977}"/>
          </ac:spMkLst>
        </pc:spChg>
        <pc:spChg chg="mod">
          <ac:chgData name="Juan Sebastián Giraldo" userId="2f39d921-1805-4fcf-9d80-fe66aeb20d18" providerId="ADAL" clId="{AA2DACD2-8492-4FDF-80C8-DF0025ECC2B8}" dt="2025-05-29T13:01:55.116" v="4316" actId="790"/>
          <ac:spMkLst>
            <pc:docMk/>
            <pc:sldMk cId="1910018372" sldId="2147483626"/>
            <ac:spMk id="88" creationId="{33371C03-1C44-569E-8091-ECC89D3A0475}"/>
          </ac:spMkLst>
        </pc:spChg>
        <pc:cxnChg chg="mod">
          <ac:chgData name="Juan Sebastián Giraldo" userId="2f39d921-1805-4fcf-9d80-fe66aeb20d18" providerId="ADAL" clId="{AA2DACD2-8492-4FDF-80C8-DF0025ECC2B8}" dt="2025-05-23T17:52:56.318" v="1076" actId="1076"/>
          <ac:cxnSpMkLst>
            <pc:docMk/>
            <pc:sldMk cId="1910018372" sldId="2147483626"/>
            <ac:cxnSpMk id="14" creationId="{2029BDF1-E8A0-2E56-ED81-B5E3E9205DE3}"/>
          </ac:cxnSpMkLst>
        </pc:cxnChg>
        <pc:cxnChg chg="mod">
          <ac:chgData name="Juan Sebastián Giraldo" userId="2f39d921-1805-4fcf-9d80-fe66aeb20d18" providerId="ADAL" clId="{AA2DACD2-8492-4FDF-80C8-DF0025ECC2B8}" dt="2025-05-23T17:53:03.207" v="1080" actId="1035"/>
          <ac:cxnSpMkLst>
            <pc:docMk/>
            <pc:sldMk cId="1910018372" sldId="2147483626"/>
            <ac:cxnSpMk id="84" creationId="{526C29E6-EB7F-EBC6-F9CD-4E8DFE15E5E6}"/>
          </ac:cxnSpMkLst>
        </pc:cxnChg>
        <pc:cxnChg chg="mod">
          <ac:chgData name="Juan Sebastián Giraldo" userId="2f39d921-1805-4fcf-9d80-fe66aeb20d18" providerId="ADAL" clId="{AA2DACD2-8492-4FDF-80C8-DF0025ECC2B8}" dt="2025-05-23T17:53:00.943" v="1077" actId="1076"/>
          <ac:cxnSpMkLst>
            <pc:docMk/>
            <pc:sldMk cId="1910018372" sldId="2147483626"/>
            <ac:cxnSpMk id="85" creationId="{3C119F47-143F-B186-A7D8-BA02D6B24276}"/>
          </ac:cxnSpMkLst>
        </pc:cxnChg>
        <pc:cxnChg chg="mod">
          <ac:chgData name="Juan Sebastián Giraldo" userId="2f39d921-1805-4fcf-9d80-fe66aeb20d18" providerId="ADAL" clId="{AA2DACD2-8492-4FDF-80C8-DF0025ECC2B8}" dt="2025-05-23T17:52:56.318" v="1076" actId="1076"/>
          <ac:cxnSpMkLst>
            <pc:docMk/>
            <pc:sldMk cId="1910018372" sldId="2147483626"/>
            <ac:cxnSpMk id="95" creationId="{85B6FF20-7FB1-4752-9287-DE13115845EB}"/>
          </ac:cxnSpMkLst>
        </pc:cxnChg>
      </pc:sldChg>
      <pc:sldChg chg="modSp mod">
        <pc:chgData name="Juan Sebastián Giraldo" userId="2f39d921-1805-4fcf-9d80-fe66aeb20d18" providerId="ADAL" clId="{AA2DACD2-8492-4FDF-80C8-DF0025ECC2B8}" dt="2025-05-29T13:01:55.116" v="4316" actId="790"/>
        <pc:sldMkLst>
          <pc:docMk/>
          <pc:sldMk cId="4242746514" sldId="2147483627"/>
        </pc:sldMkLst>
        <pc:spChg chg="mod">
          <ac:chgData name="Juan Sebastián Giraldo" userId="2f39d921-1805-4fcf-9d80-fe66aeb20d18" providerId="ADAL" clId="{AA2DACD2-8492-4FDF-80C8-DF0025ECC2B8}" dt="2025-05-29T13:01:55.116" v="4316" actId="790"/>
          <ac:spMkLst>
            <pc:docMk/>
            <pc:sldMk cId="4242746514" sldId="2147483627"/>
            <ac:spMk id="4" creationId="{07CF9890-99A2-AFFE-CF05-DCE2889F1513}"/>
          </ac:spMkLst>
        </pc:spChg>
        <pc:picChg chg="mod">
          <ac:chgData name="Juan Sebastián Giraldo" userId="2f39d921-1805-4fcf-9d80-fe66aeb20d18" providerId="ADAL" clId="{AA2DACD2-8492-4FDF-80C8-DF0025ECC2B8}" dt="2025-05-23T17:54:36.575" v="1101" actId="1076"/>
          <ac:picMkLst>
            <pc:docMk/>
            <pc:sldMk cId="4242746514" sldId="2147483627"/>
            <ac:picMk id="3" creationId="{D6322C45-40F3-E678-D4DE-9D6520D37289}"/>
          </ac:picMkLst>
        </pc:picChg>
        <pc:picChg chg="mod">
          <ac:chgData name="Juan Sebastián Giraldo" userId="2f39d921-1805-4fcf-9d80-fe66aeb20d18" providerId="ADAL" clId="{AA2DACD2-8492-4FDF-80C8-DF0025ECC2B8}" dt="2025-05-23T17:55:55.055" v="1124" actId="1076"/>
          <ac:picMkLst>
            <pc:docMk/>
            <pc:sldMk cId="4242746514" sldId="2147483627"/>
            <ac:picMk id="10" creationId="{3EBD21D6-BC0F-D011-B09C-93A7CEBD88BB}"/>
          </ac:picMkLst>
        </pc:picChg>
      </pc:sldChg>
      <pc:sldChg chg="addSp delSp modSp mod modNotes modNotesTx">
        <pc:chgData name="Juan Sebastián Giraldo" userId="2f39d921-1805-4fcf-9d80-fe66aeb20d18" providerId="ADAL" clId="{AA2DACD2-8492-4FDF-80C8-DF0025ECC2B8}" dt="2025-05-30T06:44:50.750" v="5584" actId="554"/>
        <pc:sldMkLst>
          <pc:docMk/>
          <pc:sldMk cId="4073311785" sldId="2147483628"/>
        </pc:sldMkLst>
        <pc:spChg chg="add mod">
          <ac:chgData name="Juan Sebastián Giraldo" userId="2f39d921-1805-4fcf-9d80-fe66aeb20d18" providerId="ADAL" clId="{AA2DACD2-8492-4FDF-80C8-DF0025ECC2B8}" dt="2025-05-30T06:44:50.750" v="5584" actId="554"/>
          <ac:spMkLst>
            <pc:docMk/>
            <pc:sldMk cId="4073311785" sldId="2147483628"/>
            <ac:spMk id="2" creationId="{ACD51BA6-EB14-E9A1-EA9E-E3C0594DBD0E}"/>
          </ac:spMkLst>
        </pc:spChg>
        <pc:spChg chg="mod">
          <ac:chgData name="Juan Sebastián Giraldo" userId="2f39d921-1805-4fcf-9d80-fe66aeb20d18" providerId="ADAL" clId="{AA2DACD2-8492-4FDF-80C8-DF0025ECC2B8}" dt="2025-05-29T13:01:55.116" v="4316" actId="790"/>
          <ac:spMkLst>
            <pc:docMk/>
            <pc:sldMk cId="4073311785" sldId="2147483628"/>
            <ac:spMk id="4" creationId="{5DE27B87-05C1-1455-FF5D-CDCA6301891D}"/>
          </ac:spMkLst>
        </pc:spChg>
        <pc:spChg chg="mod">
          <ac:chgData name="Juan Sebastián Giraldo" userId="2f39d921-1805-4fcf-9d80-fe66aeb20d18" providerId="ADAL" clId="{AA2DACD2-8492-4FDF-80C8-DF0025ECC2B8}" dt="2025-05-27T11:33:20.704" v="2059" actId="790"/>
          <ac:spMkLst>
            <pc:docMk/>
            <pc:sldMk cId="4073311785" sldId="2147483628"/>
            <ac:spMk id="6" creationId="{9B56713A-8E1D-5F13-F621-8E3FFDDC6884}"/>
          </ac:spMkLst>
        </pc:spChg>
        <pc:spChg chg="mod">
          <ac:chgData name="Juan Sebastián Giraldo" userId="2f39d921-1805-4fcf-9d80-fe66aeb20d18" providerId="ADAL" clId="{AA2DACD2-8492-4FDF-80C8-DF0025ECC2B8}" dt="2025-05-29T13:01:55.116" v="4316" actId="790"/>
          <ac:spMkLst>
            <pc:docMk/>
            <pc:sldMk cId="4073311785" sldId="2147483628"/>
            <ac:spMk id="8" creationId="{F21AB7D3-65D0-362C-FB99-7B07D84A065A}"/>
          </ac:spMkLst>
        </pc:spChg>
        <pc:spChg chg="mod">
          <ac:chgData name="Juan Sebastián Giraldo" userId="2f39d921-1805-4fcf-9d80-fe66aeb20d18" providerId="ADAL" clId="{AA2DACD2-8492-4FDF-80C8-DF0025ECC2B8}" dt="2025-05-29T15:22:59.527" v="4912" actId="20577"/>
          <ac:spMkLst>
            <pc:docMk/>
            <pc:sldMk cId="4073311785" sldId="2147483628"/>
            <ac:spMk id="10" creationId="{D6FEB606-7D2E-977B-79F1-E6BF6D4EE2BE}"/>
          </ac:spMkLst>
        </pc:spChg>
        <pc:spChg chg="mod">
          <ac:chgData name="Juan Sebastián Giraldo" userId="2f39d921-1805-4fcf-9d80-fe66aeb20d18" providerId="ADAL" clId="{AA2DACD2-8492-4FDF-80C8-DF0025ECC2B8}" dt="2025-05-27T11:33:20.704" v="2059" actId="790"/>
          <ac:spMkLst>
            <pc:docMk/>
            <pc:sldMk cId="4073311785" sldId="2147483628"/>
            <ac:spMk id="11" creationId="{AC7DD32D-E263-3338-6501-3A8A49DDE29F}"/>
          </ac:spMkLst>
        </pc:spChg>
        <pc:spChg chg="mod">
          <ac:chgData name="Juan Sebastián Giraldo" userId="2f39d921-1805-4fcf-9d80-fe66aeb20d18" providerId="ADAL" clId="{AA2DACD2-8492-4FDF-80C8-DF0025ECC2B8}" dt="2025-05-30T06:43:00.125" v="5533" actId="1582"/>
          <ac:spMkLst>
            <pc:docMk/>
            <pc:sldMk cId="4073311785" sldId="2147483628"/>
            <ac:spMk id="12" creationId="{C8BA9B51-97EF-D7B1-0C0F-A109C5C06A1B}"/>
          </ac:spMkLst>
        </pc:spChg>
        <pc:spChg chg="mod">
          <ac:chgData name="Juan Sebastián Giraldo" userId="2f39d921-1805-4fcf-9d80-fe66aeb20d18" providerId="ADAL" clId="{AA2DACD2-8492-4FDF-80C8-DF0025ECC2B8}" dt="2025-05-29T13:01:55.116" v="4316" actId="790"/>
          <ac:spMkLst>
            <pc:docMk/>
            <pc:sldMk cId="4073311785" sldId="2147483628"/>
            <ac:spMk id="21" creationId="{3E457E16-863A-2B5C-B6B1-C06413A2ED95}"/>
          </ac:spMkLst>
        </pc:spChg>
        <pc:spChg chg="mod">
          <ac:chgData name="Juan Sebastián Giraldo" userId="2f39d921-1805-4fcf-9d80-fe66aeb20d18" providerId="ADAL" clId="{AA2DACD2-8492-4FDF-80C8-DF0025ECC2B8}" dt="2025-05-27T10:40:54.968" v="1546" actId="790"/>
          <ac:spMkLst>
            <pc:docMk/>
            <pc:sldMk cId="4073311785" sldId="2147483628"/>
            <ac:spMk id="22" creationId="{0A9FC3B7-7841-8E30-4ADE-08F37BE54F7C}"/>
          </ac:spMkLst>
        </pc:spChg>
        <pc:spChg chg="mod">
          <ac:chgData name="Juan Sebastián Giraldo" userId="2f39d921-1805-4fcf-9d80-fe66aeb20d18" providerId="ADAL" clId="{AA2DACD2-8492-4FDF-80C8-DF0025ECC2B8}" dt="2025-05-29T13:01:55.116" v="4316" actId="790"/>
          <ac:spMkLst>
            <pc:docMk/>
            <pc:sldMk cId="4073311785" sldId="2147483628"/>
            <ac:spMk id="23" creationId="{44052CAA-6692-1878-B730-B6C3B1B25BFC}"/>
          </ac:spMkLst>
        </pc:spChg>
        <pc:spChg chg="mod">
          <ac:chgData name="Juan Sebastián Giraldo" userId="2f39d921-1805-4fcf-9d80-fe66aeb20d18" providerId="ADAL" clId="{AA2DACD2-8492-4FDF-80C8-DF0025ECC2B8}" dt="2025-05-27T10:40:54.968" v="1546" actId="790"/>
          <ac:spMkLst>
            <pc:docMk/>
            <pc:sldMk cId="4073311785" sldId="2147483628"/>
            <ac:spMk id="24" creationId="{95F5E446-59D1-017B-7A6A-D99C6C845A1D}"/>
          </ac:spMkLst>
        </pc:spChg>
        <pc:spChg chg="mod">
          <ac:chgData name="Juan Sebastián Giraldo" userId="2f39d921-1805-4fcf-9d80-fe66aeb20d18" providerId="ADAL" clId="{AA2DACD2-8492-4FDF-80C8-DF0025ECC2B8}" dt="2025-05-29T13:01:55.116" v="4316" actId="790"/>
          <ac:spMkLst>
            <pc:docMk/>
            <pc:sldMk cId="4073311785" sldId="2147483628"/>
            <ac:spMk id="25" creationId="{6D57266A-FF8D-D34F-A2C3-EE617DF1A7E7}"/>
          </ac:spMkLst>
        </pc:spChg>
        <pc:spChg chg="mod">
          <ac:chgData name="Juan Sebastián Giraldo" userId="2f39d921-1805-4fcf-9d80-fe66aeb20d18" providerId="ADAL" clId="{AA2DACD2-8492-4FDF-80C8-DF0025ECC2B8}" dt="2025-05-29T13:01:55.116" v="4316" actId="790"/>
          <ac:spMkLst>
            <pc:docMk/>
            <pc:sldMk cId="4073311785" sldId="2147483628"/>
            <ac:spMk id="26" creationId="{28AA2BA6-E3F8-1465-01D6-996144C052E2}"/>
          </ac:spMkLst>
        </pc:spChg>
        <pc:spChg chg="mod">
          <ac:chgData name="Juan Sebastián Giraldo" userId="2f39d921-1805-4fcf-9d80-fe66aeb20d18" providerId="ADAL" clId="{AA2DACD2-8492-4FDF-80C8-DF0025ECC2B8}" dt="2025-05-27T10:40:54.968" v="1546" actId="790"/>
          <ac:spMkLst>
            <pc:docMk/>
            <pc:sldMk cId="4073311785" sldId="2147483628"/>
            <ac:spMk id="28" creationId="{6E37D334-E61B-7F25-F5F2-B1241E1F7C61}"/>
          </ac:spMkLst>
        </pc:spChg>
        <pc:spChg chg="mod">
          <ac:chgData name="Juan Sebastián Giraldo" userId="2f39d921-1805-4fcf-9d80-fe66aeb20d18" providerId="ADAL" clId="{AA2DACD2-8492-4FDF-80C8-DF0025ECC2B8}" dt="2025-05-27T11:33:20.704" v="2059" actId="790"/>
          <ac:spMkLst>
            <pc:docMk/>
            <pc:sldMk cId="4073311785" sldId="2147483628"/>
            <ac:spMk id="29" creationId="{0E741B32-41F6-5FDF-965E-83ADA24ED02C}"/>
          </ac:spMkLst>
        </pc:spChg>
        <pc:spChg chg="mod">
          <ac:chgData name="Juan Sebastián Giraldo" userId="2f39d921-1805-4fcf-9d80-fe66aeb20d18" providerId="ADAL" clId="{AA2DACD2-8492-4FDF-80C8-DF0025ECC2B8}" dt="2025-05-29T13:01:55.116" v="4316" actId="790"/>
          <ac:spMkLst>
            <pc:docMk/>
            <pc:sldMk cId="4073311785" sldId="2147483628"/>
            <ac:spMk id="30" creationId="{259A9193-C0E3-C6AE-C0B8-99DC75FFE673}"/>
          </ac:spMkLst>
        </pc:spChg>
        <pc:spChg chg="mod">
          <ac:chgData name="Juan Sebastián Giraldo" userId="2f39d921-1805-4fcf-9d80-fe66aeb20d18" providerId="ADAL" clId="{AA2DACD2-8492-4FDF-80C8-DF0025ECC2B8}" dt="2025-05-27T11:33:20.704" v="2059" actId="790"/>
          <ac:spMkLst>
            <pc:docMk/>
            <pc:sldMk cId="4073311785" sldId="2147483628"/>
            <ac:spMk id="31" creationId="{A3AA7DBC-298C-DC6A-5A63-660662D778C0}"/>
          </ac:spMkLst>
        </pc:spChg>
        <pc:spChg chg="mod">
          <ac:chgData name="Juan Sebastián Giraldo" userId="2f39d921-1805-4fcf-9d80-fe66aeb20d18" providerId="ADAL" clId="{AA2DACD2-8492-4FDF-80C8-DF0025ECC2B8}" dt="2025-05-30T06:43:02.460" v="5534" actId="108"/>
          <ac:spMkLst>
            <pc:docMk/>
            <pc:sldMk cId="4073311785" sldId="2147483628"/>
            <ac:spMk id="34" creationId="{B01A6319-EF06-4113-213D-45D29DB1BC9E}"/>
          </ac:spMkLst>
        </pc:spChg>
        <pc:spChg chg="mod">
          <ac:chgData name="Juan Sebastián Giraldo" userId="2f39d921-1805-4fcf-9d80-fe66aeb20d18" providerId="ADAL" clId="{AA2DACD2-8492-4FDF-80C8-DF0025ECC2B8}" dt="2025-05-30T06:43:03.075" v="5535" actId="108"/>
          <ac:spMkLst>
            <pc:docMk/>
            <pc:sldMk cId="4073311785" sldId="2147483628"/>
            <ac:spMk id="38" creationId="{F6716578-6ED8-6084-9008-F26A3B3E5A58}"/>
          </ac:spMkLst>
        </pc:spChg>
        <pc:spChg chg="mod">
          <ac:chgData name="Juan Sebastián Giraldo" userId="2f39d921-1805-4fcf-9d80-fe66aeb20d18" providerId="ADAL" clId="{AA2DACD2-8492-4FDF-80C8-DF0025ECC2B8}" dt="2025-05-30T06:43:03.655" v="5536" actId="108"/>
          <ac:spMkLst>
            <pc:docMk/>
            <pc:sldMk cId="4073311785" sldId="2147483628"/>
            <ac:spMk id="39" creationId="{ED852215-2D4D-C162-23B8-580C3351D160}"/>
          </ac:spMkLst>
        </pc:spChg>
        <pc:spChg chg="mod">
          <ac:chgData name="Juan Sebastián Giraldo" userId="2f39d921-1805-4fcf-9d80-fe66aeb20d18" providerId="ADAL" clId="{AA2DACD2-8492-4FDF-80C8-DF0025ECC2B8}" dt="2025-05-30T06:43:04.142" v="5537" actId="108"/>
          <ac:spMkLst>
            <pc:docMk/>
            <pc:sldMk cId="4073311785" sldId="2147483628"/>
            <ac:spMk id="40" creationId="{43589DA6-4BEC-BEB6-67AA-348DE0A69371}"/>
          </ac:spMkLst>
        </pc:spChg>
        <pc:spChg chg="add mod">
          <ac:chgData name="Juan Sebastián Giraldo" userId="2f39d921-1805-4fcf-9d80-fe66aeb20d18" providerId="ADAL" clId="{AA2DACD2-8492-4FDF-80C8-DF0025ECC2B8}" dt="2025-05-29T13:01:55.116" v="4316" actId="790"/>
          <ac:spMkLst>
            <pc:docMk/>
            <pc:sldMk cId="4073311785" sldId="2147483628"/>
            <ac:spMk id="41" creationId="{23D9B1E5-9214-E429-2AED-461DFA8863DF}"/>
          </ac:spMkLst>
        </pc:spChg>
        <pc:spChg chg="add mod">
          <ac:chgData name="Juan Sebastián Giraldo" userId="2f39d921-1805-4fcf-9d80-fe66aeb20d18" providerId="ADAL" clId="{AA2DACD2-8492-4FDF-80C8-DF0025ECC2B8}" dt="2025-05-30T06:44:50.750" v="5584" actId="554"/>
          <ac:spMkLst>
            <pc:docMk/>
            <pc:sldMk cId="4073311785" sldId="2147483628"/>
            <ac:spMk id="42" creationId="{32834177-65F7-7ED0-B3E7-8B78F01446DF}"/>
          </ac:spMkLst>
        </pc:spChg>
        <pc:spChg chg="mod">
          <ac:chgData name="Juan Sebastián Giraldo" userId="2f39d921-1805-4fcf-9d80-fe66aeb20d18" providerId="ADAL" clId="{AA2DACD2-8492-4FDF-80C8-DF0025ECC2B8}" dt="2025-05-30T06:44:50.750" v="5584" actId="554"/>
          <ac:spMkLst>
            <pc:docMk/>
            <pc:sldMk cId="4073311785" sldId="2147483628"/>
            <ac:spMk id="44" creationId="{F0D662FD-B286-FD82-DE2D-456ACAE540F2}"/>
          </ac:spMkLst>
        </pc:spChg>
        <pc:spChg chg="mod">
          <ac:chgData name="Juan Sebastián Giraldo" userId="2f39d921-1805-4fcf-9d80-fe66aeb20d18" providerId="ADAL" clId="{AA2DACD2-8492-4FDF-80C8-DF0025ECC2B8}" dt="2025-05-30T06:44:50.750" v="5584" actId="554"/>
          <ac:spMkLst>
            <pc:docMk/>
            <pc:sldMk cId="4073311785" sldId="2147483628"/>
            <ac:spMk id="47" creationId="{C278D72C-E675-8F9E-FC12-69D0BD241E62}"/>
          </ac:spMkLst>
        </pc:spChg>
        <pc:spChg chg="mod">
          <ac:chgData name="Juan Sebastián Giraldo" userId="2f39d921-1805-4fcf-9d80-fe66aeb20d18" providerId="ADAL" clId="{AA2DACD2-8492-4FDF-80C8-DF0025ECC2B8}" dt="2025-05-30T06:44:50.750" v="5584" actId="554"/>
          <ac:spMkLst>
            <pc:docMk/>
            <pc:sldMk cId="4073311785" sldId="2147483628"/>
            <ac:spMk id="48" creationId="{6250B7A2-E7BA-26D9-F45D-053CED6F277F}"/>
          </ac:spMkLst>
        </pc:spChg>
        <pc:spChg chg="mod">
          <ac:chgData name="Juan Sebastián Giraldo" userId="2f39d921-1805-4fcf-9d80-fe66aeb20d18" providerId="ADAL" clId="{AA2DACD2-8492-4FDF-80C8-DF0025ECC2B8}" dt="2025-05-30T06:44:50.750" v="5584" actId="554"/>
          <ac:spMkLst>
            <pc:docMk/>
            <pc:sldMk cId="4073311785" sldId="2147483628"/>
            <ac:spMk id="51" creationId="{D9CC3D73-B6F1-F8DB-5C21-D666A8F9B5D5}"/>
          </ac:spMkLst>
        </pc:spChg>
        <pc:picChg chg="add mod">
          <ac:chgData name="Juan Sebastián Giraldo" userId="2f39d921-1805-4fcf-9d80-fe66aeb20d18" providerId="ADAL" clId="{AA2DACD2-8492-4FDF-80C8-DF0025ECC2B8}" dt="2025-05-27T08:49:41.032" v="1224" actId="1076"/>
          <ac:picMkLst>
            <pc:docMk/>
            <pc:sldMk cId="4073311785" sldId="2147483628"/>
            <ac:picMk id="32" creationId="{79148EB5-D39D-46BD-9F00-04CDA2B2F7B0}"/>
          </ac:picMkLst>
        </pc:picChg>
        <pc:picChg chg="add mod">
          <ac:chgData name="Juan Sebastián Giraldo" userId="2f39d921-1805-4fcf-9d80-fe66aeb20d18" providerId="ADAL" clId="{AA2DACD2-8492-4FDF-80C8-DF0025ECC2B8}" dt="2025-05-27T08:50:04.199" v="1229" actId="1076"/>
          <ac:picMkLst>
            <pc:docMk/>
            <pc:sldMk cId="4073311785" sldId="2147483628"/>
            <ac:picMk id="33" creationId="{8C3B2FE1-82F3-6DDD-35CC-0A6B031C72D3}"/>
          </ac:picMkLst>
        </pc:picChg>
        <pc:picChg chg="add mod">
          <ac:chgData name="Juan Sebastián Giraldo" userId="2f39d921-1805-4fcf-9d80-fe66aeb20d18" providerId="ADAL" clId="{AA2DACD2-8492-4FDF-80C8-DF0025ECC2B8}" dt="2025-05-27T08:50:39.659" v="1236" actId="1076"/>
          <ac:picMkLst>
            <pc:docMk/>
            <pc:sldMk cId="4073311785" sldId="2147483628"/>
            <ac:picMk id="35" creationId="{D7A6C9C4-AE11-50C1-CF18-26E514D1E956}"/>
          </ac:picMkLst>
        </pc:picChg>
        <pc:picChg chg="add mod">
          <ac:chgData name="Juan Sebastián Giraldo" userId="2f39d921-1805-4fcf-9d80-fe66aeb20d18" providerId="ADAL" clId="{AA2DACD2-8492-4FDF-80C8-DF0025ECC2B8}" dt="2025-05-27T08:50:40.982" v="1237" actId="1076"/>
          <ac:picMkLst>
            <pc:docMk/>
            <pc:sldMk cId="4073311785" sldId="2147483628"/>
            <ac:picMk id="36" creationId="{E60ACE6A-E895-4943-A2F1-3897F58D514C}"/>
          </ac:picMkLst>
        </pc:picChg>
        <pc:picChg chg="add mod">
          <ac:chgData name="Juan Sebastián Giraldo" userId="2f39d921-1805-4fcf-9d80-fe66aeb20d18" providerId="ADAL" clId="{AA2DACD2-8492-4FDF-80C8-DF0025ECC2B8}" dt="2025-05-27T08:50:43.467" v="1238" actId="1076"/>
          <ac:picMkLst>
            <pc:docMk/>
            <pc:sldMk cId="4073311785" sldId="2147483628"/>
            <ac:picMk id="37" creationId="{789AEA1A-B176-4077-746D-C42F83B35A4A}"/>
          </ac:picMkLst>
        </pc:picChg>
        <pc:picChg chg="add mod">
          <ac:chgData name="Juan Sebastián Giraldo" userId="2f39d921-1805-4fcf-9d80-fe66aeb20d18" providerId="ADAL" clId="{AA2DACD2-8492-4FDF-80C8-DF0025ECC2B8}" dt="2025-05-28T16:56:22.099" v="3879" actId="1076"/>
          <ac:picMkLst>
            <pc:docMk/>
            <pc:sldMk cId="4073311785" sldId="2147483628"/>
            <ac:picMk id="1026" creationId="{718224AE-D1B7-7D92-0FF3-5078367EAB14}"/>
          </ac:picMkLst>
        </pc:picChg>
        <pc:picChg chg="add mod">
          <ac:chgData name="Juan Sebastián Giraldo" userId="2f39d921-1805-4fcf-9d80-fe66aeb20d18" providerId="ADAL" clId="{AA2DACD2-8492-4FDF-80C8-DF0025ECC2B8}" dt="2025-05-28T16:56:20.020" v="3878" actId="1076"/>
          <ac:picMkLst>
            <pc:docMk/>
            <pc:sldMk cId="4073311785" sldId="2147483628"/>
            <ac:picMk id="1028" creationId="{05333BAD-DC9C-F2A1-E7A2-2511F47D38D6}"/>
          </ac:picMkLst>
        </pc:picChg>
        <pc:picChg chg="add mod">
          <ac:chgData name="Juan Sebastián Giraldo" userId="2f39d921-1805-4fcf-9d80-fe66aeb20d18" providerId="ADAL" clId="{AA2DACD2-8492-4FDF-80C8-DF0025ECC2B8}" dt="2025-05-28T16:56:18.832" v="3876" actId="1076"/>
          <ac:picMkLst>
            <pc:docMk/>
            <pc:sldMk cId="4073311785" sldId="2147483628"/>
            <ac:picMk id="1030" creationId="{61278536-A4DB-FF98-E9C3-57D80EBA536D}"/>
          </ac:picMkLst>
        </pc:picChg>
        <pc:picChg chg="add mod">
          <ac:chgData name="Juan Sebastián Giraldo" userId="2f39d921-1805-4fcf-9d80-fe66aeb20d18" providerId="ADAL" clId="{AA2DACD2-8492-4FDF-80C8-DF0025ECC2B8}" dt="2025-05-27T08:49:39.580" v="1223" actId="1076"/>
          <ac:picMkLst>
            <pc:docMk/>
            <pc:sldMk cId="4073311785" sldId="2147483628"/>
            <ac:picMk id="1032" creationId="{F15228AE-109D-F6EE-5A68-CB3A27C58E31}"/>
          </ac:picMkLst>
        </pc:picChg>
      </pc:sldChg>
      <pc:sldChg chg="addSp delSp modSp add mod ord modShow">
        <pc:chgData name="Juan Sebastián Giraldo" userId="2f39d921-1805-4fcf-9d80-fe66aeb20d18" providerId="ADAL" clId="{AA2DACD2-8492-4FDF-80C8-DF0025ECC2B8}" dt="2025-05-30T07:36:48.471" v="6004"/>
        <pc:sldMkLst>
          <pc:docMk/>
          <pc:sldMk cId="1983062878" sldId="2147483629"/>
        </pc:sldMkLst>
        <pc:spChg chg="mod">
          <ac:chgData name="Juan Sebastián Giraldo" userId="2f39d921-1805-4fcf-9d80-fe66aeb20d18" providerId="ADAL" clId="{AA2DACD2-8492-4FDF-80C8-DF0025ECC2B8}" dt="2025-05-29T13:01:55.116" v="4316" actId="790"/>
          <ac:spMkLst>
            <pc:docMk/>
            <pc:sldMk cId="1983062878" sldId="2147483629"/>
            <ac:spMk id="2" creationId="{D3158F20-6918-A627-528C-4656E8ACDD0F}"/>
          </ac:spMkLst>
        </pc:spChg>
        <pc:spChg chg="mod">
          <ac:chgData name="Juan Sebastián Giraldo" userId="2f39d921-1805-4fcf-9d80-fe66aeb20d18" providerId="ADAL" clId="{AA2DACD2-8492-4FDF-80C8-DF0025ECC2B8}" dt="2025-05-27T11:33:20.704" v="2059" actId="790"/>
          <ac:spMkLst>
            <pc:docMk/>
            <pc:sldMk cId="1983062878" sldId="2147483629"/>
            <ac:spMk id="3" creationId="{5441AC07-28F3-D854-3935-B29E85B4F1A1}"/>
          </ac:spMkLst>
        </pc:spChg>
        <pc:spChg chg="mod">
          <ac:chgData name="Juan Sebastián Giraldo" userId="2f39d921-1805-4fcf-9d80-fe66aeb20d18" providerId="ADAL" clId="{AA2DACD2-8492-4FDF-80C8-DF0025ECC2B8}" dt="2025-05-27T11:33:20.704" v="2059" actId="790"/>
          <ac:spMkLst>
            <pc:docMk/>
            <pc:sldMk cId="1983062878" sldId="2147483629"/>
            <ac:spMk id="13" creationId="{5E0D7A3F-94C9-85B6-56CA-76CFC5D7FB69}"/>
          </ac:spMkLst>
        </pc:spChg>
        <pc:spChg chg="add mod">
          <ac:chgData name="Juan Sebastián Giraldo" userId="2f39d921-1805-4fcf-9d80-fe66aeb20d18" providerId="ADAL" clId="{AA2DACD2-8492-4FDF-80C8-DF0025ECC2B8}" dt="2025-05-30T06:39:43.754" v="5513"/>
          <ac:spMkLst>
            <pc:docMk/>
            <pc:sldMk cId="1983062878" sldId="2147483629"/>
            <ac:spMk id="15" creationId="{3356FCC8-455E-C249-ADAB-D085C16D39BB}"/>
          </ac:spMkLst>
        </pc:spChg>
        <pc:spChg chg="mod">
          <ac:chgData name="Juan Sebastián Giraldo" userId="2f39d921-1805-4fcf-9d80-fe66aeb20d18" providerId="ADAL" clId="{AA2DACD2-8492-4FDF-80C8-DF0025ECC2B8}" dt="2025-05-29T13:01:55.116" v="4316" actId="790"/>
          <ac:spMkLst>
            <pc:docMk/>
            <pc:sldMk cId="1983062878" sldId="2147483629"/>
            <ac:spMk id="16" creationId="{744685C0-C92A-AC14-CEBA-6623BCA928E2}"/>
          </ac:spMkLst>
        </pc:spChg>
        <pc:spChg chg="mod">
          <ac:chgData name="Juan Sebastián Giraldo" userId="2f39d921-1805-4fcf-9d80-fe66aeb20d18" providerId="ADAL" clId="{AA2DACD2-8492-4FDF-80C8-DF0025ECC2B8}" dt="2025-05-27T11:33:20.704" v="2059" actId="790"/>
          <ac:spMkLst>
            <pc:docMk/>
            <pc:sldMk cId="1983062878" sldId="2147483629"/>
            <ac:spMk id="17" creationId="{F35381A6-307D-8566-18E8-6F2728D107E3}"/>
          </ac:spMkLst>
        </pc:spChg>
        <pc:spChg chg="mod">
          <ac:chgData name="Juan Sebastián Giraldo" userId="2f39d921-1805-4fcf-9d80-fe66aeb20d18" providerId="ADAL" clId="{AA2DACD2-8492-4FDF-80C8-DF0025ECC2B8}" dt="2025-05-27T11:33:20.704" v="2059" actId="790"/>
          <ac:spMkLst>
            <pc:docMk/>
            <pc:sldMk cId="1983062878" sldId="2147483629"/>
            <ac:spMk id="18" creationId="{264F1773-38DC-F0F7-7B11-90EB3F804331}"/>
          </ac:spMkLst>
        </pc:spChg>
        <pc:spChg chg="mod">
          <ac:chgData name="Juan Sebastián Giraldo" userId="2f39d921-1805-4fcf-9d80-fe66aeb20d18" providerId="ADAL" clId="{AA2DACD2-8492-4FDF-80C8-DF0025ECC2B8}" dt="2025-05-27T11:33:20.704" v="2059" actId="790"/>
          <ac:spMkLst>
            <pc:docMk/>
            <pc:sldMk cId="1983062878" sldId="2147483629"/>
            <ac:spMk id="19" creationId="{24CEC8EB-4B28-6750-581A-45B018EFD482}"/>
          </ac:spMkLst>
        </pc:spChg>
        <pc:spChg chg="mod">
          <ac:chgData name="Juan Sebastián Giraldo" userId="2f39d921-1805-4fcf-9d80-fe66aeb20d18" providerId="ADAL" clId="{AA2DACD2-8492-4FDF-80C8-DF0025ECC2B8}" dt="2025-05-29T13:01:55.116" v="4316" actId="790"/>
          <ac:spMkLst>
            <pc:docMk/>
            <pc:sldMk cId="1983062878" sldId="2147483629"/>
            <ac:spMk id="20" creationId="{8207D819-2D66-5363-40EA-BB9DD086F931}"/>
          </ac:spMkLst>
        </pc:spChg>
        <pc:spChg chg="mod">
          <ac:chgData name="Juan Sebastián Giraldo" userId="2f39d921-1805-4fcf-9d80-fe66aeb20d18" providerId="ADAL" clId="{AA2DACD2-8492-4FDF-80C8-DF0025ECC2B8}" dt="2025-05-29T13:01:55.116" v="4316" actId="790"/>
          <ac:spMkLst>
            <pc:docMk/>
            <pc:sldMk cId="1983062878" sldId="2147483629"/>
            <ac:spMk id="21" creationId="{C8AFEC24-A773-0CEC-29AD-C8659BD960CE}"/>
          </ac:spMkLst>
        </pc:spChg>
        <pc:spChg chg="mod">
          <ac:chgData name="Juan Sebastián Giraldo" userId="2f39d921-1805-4fcf-9d80-fe66aeb20d18" providerId="ADAL" clId="{AA2DACD2-8492-4FDF-80C8-DF0025ECC2B8}" dt="2025-05-29T13:01:55.116" v="4316" actId="790"/>
          <ac:spMkLst>
            <pc:docMk/>
            <pc:sldMk cId="1983062878" sldId="2147483629"/>
            <ac:spMk id="22" creationId="{2E5B4A5E-9126-DE78-3208-73B588B2C7DB}"/>
          </ac:spMkLst>
        </pc:spChg>
        <pc:spChg chg="add mod">
          <ac:chgData name="Juan Sebastián Giraldo" userId="2f39d921-1805-4fcf-9d80-fe66aeb20d18" providerId="ADAL" clId="{AA2DACD2-8492-4FDF-80C8-DF0025ECC2B8}" dt="2025-05-30T06:39:43.754" v="5513"/>
          <ac:spMkLst>
            <pc:docMk/>
            <pc:sldMk cId="1983062878" sldId="2147483629"/>
            <ac:spMk id="35" creationId="{2941B1C9-B873-3718-C221-F94E80EAEE75}"/>
          </ac:spMkLst>
        </pc:spChg>
        <pc:spChg chg="mod">
          <ac:chgData name="Juan Sebastián Giraldo" userId="2f39d921-1805-4fcf-9d80-fe66aeb20d18" providerId="ADAL" clId="{AA2DACD2-8492-4FDF-80C8-DF0025ECC2B8}" dt="2025-05-29T13:01:55.116" v="4316" actId="790"/>
          <ac:spMkLst>
            <pc:docMk/>
            <pc:sldMk cId="1983062878" sldId="2147483629"/>
            <ac:spMk id="38" creationId="{8AF8D88D-2D38-A67E-5266-737A7977EC63}"/>
          </ac:spMkLst>
        </pc:spChg>
        <pc:spChg chg="mod">
          <ac:chgData name="Juan Sebastián Giraldo" userId="2f39d921-1805-4fcf-9d80-fe66aeb20d18" providerId="ADAL" clId="{AA2DACD2-8492-4FDF-80C8-DF0025ECC2B8}" dt="2025-05-29T13:01:55.116" v="4316" actId="790"/>
          <ac:spMkLst>
            <pc:docMk/>
            <pc:sldMk cId="1983062878" sldId="2147483629"/>
            <ac:spMk id="42" creationId="{C328239C-0AEF-77C9-B9F3-902D1B4CDE14}"/>
          </ac:spMkLst>
        </pc:spChg>
        <pc:spChg chg="mod">
          <ac:chgData name="Juan Sebastián Giraldo" userId="2f39d921-1805-4fcf-9d80-fe66aeb20d18" providerId="ADAL" clId="{AA2DACD2-8492-4FDF-80C8-DF0025ECC2B8}" dt="2025-05-29T13:01:55.116" v="4316" actId="790"/>
          <ac:spMkLst>
            <pc:docMk/>
            <pc:sldMk cId="1983062878" sldId="2147483629"/>
            <ac:spMk id="44" creationId="{8712DF9E-D2F6-2560-0CCF-1DDE1D47A735}"/>
          </ac:spMkLst>
        </pc:spChg>
        <pc:picChg chg="add mod">
          <ac:chgData name="Juan Sebastián Giraldo" userId="2f39d921-1805-4fcf-9d80-fe66aeb20d18" providerId="ADAL" clId="{AA2DACD2-8492-4FDF-80C8-DF0025ECC2B8}" dt="2025-05-30T06:39:43.754" v="5513"/>
          <ac:picMkLst>
            <pc:docMk/>
            <pc:sldMk cId="1983062878" sldId="2147483629"/>
            <ac:picMk id="32" creationId="{47F45592-27C8-A39F-1462-D6685BD340FC}"/>
          </ac:picMkLst>
        </pc:picChg>
        <pc:picChg chg="add mod">
          <ac:chgData name="Juan Sebastián Giraldo" userId="2f39d921-1805-4fcf-9d80-fe66aeb20d18" providerId="ADAL" clId="{AA2DACD2-8492-4FDF-80C8-DF0025ECC2B8}" dt="2025-05-30T06:39:43.754" v="5513"/>
          <ac:picMkLst>
            <pc:docMk/>
            <pc:sldMk cId="1983062878" sldId="2147483629"/>
            <ac:picMk id="33" creationId="{7AD38FB9-0DEF-D5C4-979E-396ADD35869C}"/>
          </ac:picMkLst>
        </pc:picChg>
      </pc:sldChg>
      <pc:sldChg chg="addSp delSp modSp add del mod">
        <pc:chgData name="Juan Sebastián Giraldo" userId="2f39d921-1805-4fcf-9d80-fe66aeb20d18" providerId="ADAL" clId="{AA2DACD2-8492-4FDF-80C8-DF0025ECC2B8}" dt="2025-05-27T14:09:50.776" v="3575" actId="47"/>
        <pc:sldMkLst>
          <pc:docMk/>
          <pc:sldMk cId="2139754632" sldId="2147483630"/>
        </pc:sldMkLst>
      </pc:sldChg>
      <pc:sldChg chg="addSp delSp modSp add mod ord">
        <pc:chgData name="Juan Sebastián Giraldo" userId="2f39d921-1805-4fcf-9d80-fe66aeb20d18" providerId="ADAL" clId="{AA2DACD2-8492-4FDF-80C8-DF0025ECC2B8}" dt="2025-05-29T19:36:50.158" v="5095" actId="207"/>
        <pc:sldMkLst>
          <pc:docMk/>
          <pc:sldMk cId="2177597232" sldId="2147483631"/>
        </pc:sldMkLst>
        <pc:spChg chg="mod">
          <ac:chgData name="Juan Sebastián Giraldo" userId="2f39d921-1805-4fcf-9d80-fe66aeb20d18" providerId="ADAL" clId="{AA2DACD2-8492-4FDF-80C8-DF0025ECC2B8}" dt="2025-05-29T19:36:50.158" v="5095" actId="207"/>
          <ac:spMkLst>
            <pc:docMk/>
            <pc:sldMk cId="2177597232" sldId="2147483631"/>
            <ac:spMk id="2" creationId="{CAC414AF-AB5B-8311-6352-0B35F9EFAF46}"/>
          </ac:spMkLst>
        </pc:spChg>
        <pc:spChg chg="add mod">
          <ac:chgData name="Juan Sebastián Giraldo" userId="2f39d921-1805-4fcf-9d80-fe66aeb20d18" providerId="ADAL" clId="{AA2DACD2-8492-4FDF-80C8-DF0025ECC2B8}" dt="2025-05-29T19:31:30.109" v="5034" actId="1076"/>
          <ac:spMkLst>
            <pc:docMk/>
            <pc:sldMk cId="2177597232" sldId="2147483631"/>
            <ac:spMk id="3" creationId="{14F3FF3C-4FED-86BA-C8D2-DAAB03BD4F6C}"/>
          </ac:spMkLst>
        </pc:spChg>
        <pc:spChg chg="add mod">
          <ac:chgData name="Juan Sebastián Giraldo" userId="2f39d921-1805-4fcf-9d80-fe66aeb20d18" providerId="ADAL" clId="{AA2DACD2-8492-4FDF-80C8-DF0025ECC2B8}" dt="2025-05-29T19:31:30.109" v="5034" actId="1076"/>
          <ac:spMkLst>
            <pc:docMk/>
            <pc:sldMk cId="2177597232" sldId="2147483631"/>
            <ac:spMk id="5" creationId="{7B3F9848-B533-91E0-7AE6-6A716081A687}"/>
          </ac:spMkLst>
        </pc:spChg>
        <pc:spChg chg="add mod">
          <ac:chgData name="Juan Sebastián Giraldo" userId="2f39d921-1805-4fcf-9d80-fe66aeb20d18" providerId="ADAL" clId="{AA2DACD2-8492-4FDF-80C8-DF0025ECC2B8}" dt="2025-05-29T13:01:55.116" v="4316" actId="790"/>
          <ac:spMkLst>
            <pc:docMk/>
            <pc:sldMk cId="2177597232" sldId="2147483631"/>
            <ac:spMk id="6" creationId="{E2B8E0A6-3E90-3808-76E3-CE66FA53793B}"/>
          </ac:spMkLst>
        </pc:spChg>
        <pc:spChg chg="add mod">
          <ac:chgData name="Juan Sebastián Giraldo" userId="2f39d921-1805-4fcf-9d80-fe66aeb20d18" providerId="ADAL" clId="{AA2DACD2-8492-4FDF-80C8-DF0025ECC2B8}" dt="2025-05-29T13:01:55.116" v="4316" actId="790"/>
          <ac:spMkLst>
            <pc:docMk/>
            <pc:sldMk cId="2177597232" sldId="2147483631"/>
            <ac:spMk id="8" creationId="{C6974E89-23A1-FF48-0E15-3BFD0A012BB0}"/>
          </ac:spMkLst>
        </pc:spChg>
        <pc:spChg chg="add mod">
          <ac:chgData name="Juan Sebastián Giraldo" userId="2f39d921-1805-4fcf-9d80-fe66aeb20d18" providerId="ADAL" clId="{AA2DACD2-8492-4FDF-80C8-DF0025ECC2B8}" dt="2025-05-29T19:31:30.109" v="5034" actId="1076"/>
          <ac:spMkLst>
            <pc:docMk/>
            <pc:sldMk cId="2177597232" sldId="2147483631"/>
            <ac:spMk id="9" creationId="{BCFA3CFC-9F53-5A24-EF72-8054127F5674}"/>
          </ac:spMkLst>
        </pc:spChg>
        <pc:spChg chg="mod">
          <ac:chgData name="Juan Sebastián Giraldo" userId="2f39d921-1805-4fcf-9d80-fe66aeb20d18" providerId="ADAL" clId="{AA2DACD2-8492-4FDF-80C8-DF0025ECC2B8}" dt="2025-05-29T13:01:55.116" v="4316" actId="790"/>
          <ac:spMkLst>
            <pc:docMk/>
            <pc:sldMk cId="2177597232" sldId="2147483631"/>
            <ac:spMk id="14" creationId="{5456EC6C-3FBC-984E-BE2F-6E84D9EA25FF}"/>
          </ac:spMkLst>
        </pc:spChg>
        <pc:spChg chg="mod">
          <ac:chgData name="Juan Sebastián Giraldo" userId="2f39d921-1805-4fcf-9d80-fe66aeb20d18" providerId="ADAL" clId="{AA2DACD2-8492-4FDF-80C8-DF0025ECC2B8}" dt="2025-05-29T19:31:30.109" v="5034" actId="1076"/>
          <ac:spMkLst>
            <pc:docMk/>
            <pc:sldMk cId="2177597232" sldId="2147483631"/>
            <ac:spMk id="15" creationId="{1B6A24C8-2353-E427-E848-3865CCF54EBD}"/>
          </ac:spMkLst>
        </pc:spChg>
        <pc:spChg chg="add mod">
          <ac:chgData name="Juan Sebastián Giraldo" userId="2f39d921-1805-4fcf-9d80-fe66aeb20d18" providerId="ADAL" clId="{AA2DACD2-8492-4FDF-80C8-DF0025ECC2B8}" dt="2025-05-29T13:01:55.116" v="4316" actId="790"/>
          <ac:spMkLst>
            <pc:docMk/>
            <pc:sldMk cId="2177597232" sldId="2147483631"/>
            <ac:spMk id="25" creationId="{DA806E0F-044B-E6E4-EDDC-A49E54AD7162}"/>
          </ac:spMkLst>
        </pc:spChg>
        <pc:spChg chg="add mod">
          <ac:chgData name="Juan Sebastián Giraldo" userId="2f39d921-1805-4fcf-9d80-fe66aeb20d18" providerId="ADAL" clId="{AA2DACD2-8492-4FDF-80C8-DF0025ECC2B8}" dt="2025-05-29T13:01:55.116" v="4316" actId="790"/>
          <ac:spMkLst>
            <pc:docMk/>
            <pc:sldMk cId="2177597232" sldId="2147483631"/>
            <ac:spMk id="26" creationId="{60A54EE6-3511-0F63-1EDD-54307F7DCA99}"/>
          </ac:spMkLst>
        </pc:spChg>
        <pc:spChg chg="add mod">
          <ac:chgData name="Juan Sebastián Giraldo" userId="2f39d921-1805-4fcf-9d80-fe66aeb20d18" providerId="ADAL" clId="{AA2DACD2-8492-4FDF-80C8-DF0025ECC2B8}" dt="2025-05-29T13:01:55.116" v="4316" actId="790"/>
          <ac:spMkLst>
            <pc:docMk/>
            <pc:sldMk cId="2177597232" sldId="2147483631"/>
            <ac:spMk id="35" creationId="{D0C1ADAD-71A8-C26B-D02A-7A3A49B941C0}"/>
          </ac:spMkLst>
        </pc:spChg>
        <pc:spChg chg="add mod">
          <ac:chgData name="Juan Sebastián Giraldo" userId="2f39d921-1805-4fcf-9d80-fe66aeb20d18" providerId="ADAL" clId="{AA2DACD2-8492-4FDF-80C8-DF0025ECC2B8}" dt="2025-05-29T19:31:35.623" v="5036" actId="1076"/>
          <ac:spMkLst>
            <pc:docMk/>
            <pc:sldMk cId="2177597232" sldId="2147483631"/>
            <ac:spMk id="38" creationId="{1BEF9CBD-C55C-9D4B-21C1-4BCF831EDF3E}"/>
          </ac:spMkLst>
        </pc:spChg>
        <pc:spChg chg="add mod">
          <ac:chgData name="Juan Sebastián Giraldo" userId="2f39d921-1805-4fcf-9d80-fe66aeb20d18" providerId="ADAL" clId="{AA2DACD2-8492-4FDF-80C8-DF0025ECC2B8}" dt="2025-05-29T19:31:35.623" v="5036" actId="1076"/>
          <ac:spMkLst>
            <pc:docMk/>
            <pc:sldMk cId="2177597232" sldId="2147483631"/>
            <ac:spMk id="40" creationId="{DEB617FB-73BA-64E7-058C-3AA4FDE4AAC0}"/>
          </ac:spMkLst>
        </pc:spChg>
        <pc:spChg chg="add mod">
          <ac:chgData name="Juan Sebastián Giraldo" userId="2f39d921-1805-4fcf-9d80-fe66aeb20d18" providerId="ADAL" clId="{AA2DACD2-8492-4FDF-80C8-DF0025ECC2B8}" dt="2025-05-29T19:31:35.623" v="5036" actId="1076"/>
          <ac:spMkLst>
            <pc:docMk/>
            <pc:sldMk cId="2177597232" sldId="2147483631"/>
            <ac:spMk id="41" creationId="{05B79AE7-2962-6CDA-720E-E9C3D1C57DCA}"/>
          </ac:spMkLst>
        </pc:spChg>
        <pc:spChg chg="add mod">
          <ac:chgData name="Juan Sebastián Giraldo" userId="2f39d921-1805-4fcf-9d80-fe66aeb20d18" providerId="ADAL" clId="{AA2DACD2-8492-4FDF-80C8-DF0025ECC2B8}" dt="2025-05-29T19:31:35.623" v="5036" actId="1076"/>
          <ac:spMkLst>
            <pc:docMk/>
            <pc:sldMk cId="2177597232" sldId="2147483631"/>
            <ac:spMk id="42" creationId="{C276688B-2019-815D-BBE5-0D9CF0480E5E}"/>
          </ac:spMkLst>
        </pc:spChg>
        <pc:picChg chg="add mod">
          <ac:chgData name="Juan Sebastián Giraldo" userId="2f39d921-1805-4fcf-9d80-fe66aeb20d18" providerId="ADAL" clId="{AA2DACD2-8492-4FDF-80C8-DF0025ECC2B8}" dt="2025-05-27T10:43:47.199" v="1608" actId="1076"/>
          <ac:picMkLst>
            <pc:docMk/>
            <pc:sldMk cId="2177597232" sldId="2147483631"/>
            <ac:picMk id="7" creationId="{1B689124-0B43-89AD-6C46-9809F7D867CC}"/>
          </ac:picMkLst>
        </pc:picChg>
        <pc:picChg chg="add mod">
          <ac:chgData name="Juan Sebastián Giraldo" userId="2f39d921-1805-4fcf-9d80-fe66aeb20d18" providerId="ADAL" clId="{AA2DACD2-8492-4FDF-80C8-DF0025ECC2B8}" dt="2025-05-29T19:31:30.109" v="5034" actId="1076"/>
          <ac:picMkLst>
            <pc:docMk/>
            <pc:sldMk cId="2177597232" sldId="2147483631"/>
            <ac:picMk id="20" creationId="{438AA715-FA1C-2BAE-665A-1526E1CEBDDA}"/>
          </ac:picMkLst>
        </pc:picChg>
        <pc:picChg chg="add mod">
          <ac:chgData name="Juan Sebastián Giraldo" userId="2f39d921-1805-4fcf-9d80-fe66aeb20d18" providerId="ADAL" clId="{AA2DACD2-8492-4FDF-80C8-DF0025ECC2B8}" dt="2025-05-29T19:29:30.401" v="5011" actId="1076"/>
          <ac:picMkLst>
            <pc:docMk/>
            <pc:sldMk cId="2177597232" sldId="2147483631"/>
            <ac:picMk id="30" creationId="{7F74B02A-7B0F-B925-B5F6-087DA5FFA971}"/>
          </ac:picMkLst>
        </pc:picChg>
        <pc:picChg chg="add mod">
          <ac:chgData name="Juan Sebastián Giraldo" userId="2f39d921-1805-4fcf-9d80-fe66aeb20d18" providerId="ADAL" clId="{AA2DACD2-8492-4FDF-80C8-DF0025ECC2B8}" dt="2025-05-29T19:31:35.623" v="5036" actId="1076"/>
          <ac:picMkLst>
            <pc:docMk/>
            <pc:sldMk cId="2177597232" sldId="2147483631"/>
            <ac:picMk id="39" creationId="{538B1F60-88A7-B935-A5AA-56E3EEC57B26}"/>
          </ac:picMkLst>
        </pc:picChg>
        <pc:picChg chg="add mod">
          <ac:chgData name="Juan Sebastián Giraldo" userId="2f39d921-1805-4fcf-9d80-fe66aeb20d18" providerId="ADAL" clId="{AA2DACD2-8492-4FDF-80C8-DF0025ECC2B8}" dt="2025-05-29T19:31:38.947" v="5037" actId="1076"/>
          <ac:picMkLst>
            <pc:docMk/>
            <pc:sldMk cId="2177597232" sldId="2147483631"/>
            <ac:picMk id="45" creationId="{AB6737BC-3B8B-F2AD-E2AC-AD249B6F7FAC}"/>
          </ac:picMkLst>
        </pc:picChg>
        <pc:picChg chg="add mod">
          <ac:chgData name="Juan Sebastián Giraldo" userId="2f39d921-1805-4fcf-9d80-fe66aeb20d18" providerId="ADAL" clId="{AA2DACD2-8492-4FDF-80C8-DF0025ECC2B8}" dt="2025-05-27T10:43:49.055" v="1609" actId="1076"/>
          <ac:picMkLst>
            <pc:docMk/>
            <pc:sldMk cId="2177597232" sldId="2147483631"/>
            <ac:picMk id="2052" creationId="{CFCA038B-0A41-0685-3E81-DA2275299FCB}"/>
          </ac:picMkLst>
        </pc:picChg>
        <pc:picChg chg="add mod">
          <ac:chgData name="Juan Sebastián Giraldo" userId="2f39d921-1805-4fcf-9d80-fe66aeb20d18" providerId="ADAL" clId="{AA2DACD2-8492-4FDF-80C8-DF0025ECC2B8}" dt="2025-05-29T19:31:30.109" v="5034" actId="1076"/>
          <ac:picMkLst>
            <pc:docMk/>
            <pc:sldMk cId="2177597232" sldId="2147483631"/>
            <ac:picMk id="2054" creationId="{EEAA4BA7-DBF9-C6C3-6144-31B1357D9E1B}"/>
          </ac:picMkLst>
        </pc:picChg>
        <pc:cxnChg chg="add mod">
          <ac:chgData name="Juan Sebastián Giraldo" userId="2f39d921-1805-4fcf-9d80-fe66aeb20d18" providerId="ADAL" clId="{AA2DACD2-8492-4FDF-80C8-DF0025ECC2B8}" dt="2025-05-29T19:31:30.109" v="5034" actId="1076"/>
          <ac:cxnSpMkLst>
            <pc:docMk/>
            <pc:sldMk cId="2177597232" sldId="2147483631"/>
            <ac:cxnSpMk id="17" creationId="{B5CC2939-3AC4-715F-CCEF-EC0664693987}"/>
          </ac:cxnSpMkLst>
        </pc:cxnChg>
        <pc:cxnChg chg="add mod">
          <ac:chgData name="Juan Sebastián Giraldo" userId="2f39d921-1805-4fcf-9d80-fe66aeb20d18" providerId="ADAL" clId="{AA2DACD2-8492-4FDF-80C8-DF0025ECC2B8}" dt="2025-05-29T19:31:30.109" v="5034" actId="1076"/>
          <ac:cxnSpMkLst>
            <pc:docMk/>
            <pc:sldMk cId="2177597232" sldId="2147483631"/>
            <ac:cxnSpMk id="19" creationId="{07D2E43F-5CA6-D86B-8A39-DD8089D52FBB}"/>
          </ac:cxnSpMkLst>
        </pc:cxnChg>
        <pc:cxnChg chg="add mod">
          <ac:chgData name="Juan Sebastián Giraldo" userId="2f39d921-1805-4fcf-9d80-fe66aeb20d18" providerId="ADAL" clId="{AA2DACD2-8492-4FDF-80C8-DF0025ECC2B8}" dt="2025-05-29T19:31:30.109" v="5034" actId="1076"/>
          <ac:cxnSpMkLst>
            <pc:docMk/>
            <pc:sldMk cId="2177597232" sldId="2147483631"/>
            <ac:cxnSpMk id="21" creationId="{0CB210A4-C358-9BAC-DBD3-7CE458BE49FA}"/>
          </ac:cxnSpMkLst>
        </pc:cxnChg>
        <pc:cxnChg chg="add mod">
          <ac:chgData name="Juan Sebastián Giraldo" userId="2f39d921-1805-4fcf-9d80-fe66aeb20d18" providerId="ADAL" clId="{AA2DACD2-8492-4FDF-80C8-DF0025ECC2B8}" dt="2025-05-28T13:22:08.691" v="3665" actId="1076"/>
          <ac:cxnSpMkLst>
            <pc:docMk/>
            <pc:sldMk cId="2177597232" sldId="2147483631"/>
            <ac:cxnSpMk id="28" creationId="{E8D69452-EBAD-0B39-B635-13C1EE193A71}"/>
          </ac:cxnSpMkLst>
        </pc:cxnChg>
        <pc:cxnChg chg="add mod">
          <ac:chgData name="Juan Sebastián Giraldo" userId="2f39d921-1805-4fcf-9d80-fe66aeb20d18" providerId="ADAL" clId="{AA2DACD2-8492-4FDF-80C8-DF0025ECC2B8}" dt="2025-05-29T19:29:30.401" v="5011" actId="1076"/>
          <ac:cxnSpMkLst>
            <pc:docMk/>
            <pc:sldMk cId="2177597232" sldId="2147483631"/>
            <ac:cxnSpMk id="29" creationId="{F64C3789-BBF0-B5C9-FE2B-5F7477AC2EC6}"/>
          </ac:cxnSpMkLst>
        </pc:cxnChg>
        <pc:cxnChg chg="add mod">
          <ac:chgData name="Juan Sebastián Giraldo" userId="2f39d921-1805-4fcf-9d80-fe66aeb20d18" providerId="ADAL" clId="{AA2DACD2-8492-4FDF-80C8-DF0025ECC2B8}" dt="2025-05-29T12:53:57.372" v="3910" actId="1076"/>
          <ac:cxnSpMkLst>
            <pc:docMk/>
            <pc:sldMk cId="2177597232" sldId="2147483631"/>
            <ac:cxnSpMk id="36" creationId="{D816562F-516E-0A0A-6729-9D344FE79894}"/>
          </ac:cxnSpMkLst>
        </pc:cxnChg>
        <pc:cxnChg chg="add mod">
          <ac:chgData name="Juan Sebastián Giraldo" userId="2f39d921-1805-4fcf-9d80-fe66aeb20d18" providerId="ADAL" clId="{AA2DACD2-8492-4FDF-80C8-DF0025ECC2B8}" dt="2025-05-29T19:31:35.623" v="5036" actId="1076"/>
          <ac:cxnSpMkLst>
            <pc:docMk/>
            <pc:sldMk cId="2177597232" sldId="2147483631"/>
            <ac:cxnSpMk id="43" creationId="{EC30129F-04D8-10AB-F134-B562323AA4F7}"/>
          </ac:cxnSpMkLst>
        </pc:cxnChg>
        <pc:cxnChg chg="add mod">
          <ac:chgData name="Juan Sebastián Giraldo" userId="2f39d921-1805-4fcf-9d80-fe66aeb20d18" providerId="ADAL" clId="{AA2DACD2-8492-4FDF-80C8-DF0025ECC2B8}" dt="2025-05-29T19:31:45.711" v="5040" actId="14100"/>
          <ac:cxnSpMkLst>
            <pc:docMk/>
            <pc:sldMk cId="2177597232" sldId="2147483631"/>
            <ac:cxnSpMk id="44" creationId="{29E64961-14B8-DF0A-4D79-E756553F520C}"/>
          </ac:cxnSpMkLst>
        </pc:cxnChg>
        <pc:cxnChg chg="add mod">
          <ac:chgData name="Juan Sebastián Giraldo" userId="2f39d921-1805-4fcf-9d80-fe66aeb20d18" providerId="ADAL" clId="{AA2DACD2-8492-4FDF-80C8-DF0025ECC2B8}" dt="2025-05-29T19:32:03.046" v="5043" actId="14100"/>
          <ac:cxnSpMkLst>
            <pc:docMk/>
            <pc:sldMk cId="2177597232" sldId="2147483631"/>
            <ac:cxnSpMk id="46" creationId="{D4838A7A-29D9-CF8D-1847-3E89E1DD8F63}"/>
          </ac:cxnSpMkLst>
        </pc:cxnChg>
      </pc:sldChg>
      <pc:sldChg chg="addSp delSp modSp add mod modNotesTx">
        <pc:chgData name="Juan Sebastián Giraldo" userId="2f39d921-1805-4fcf-9d80-fe66aeb20d18" providerId="ADAL" clId="{AA2DACD2-8492-4FDF-80C8-DF0025ECC2B8}" dt="2025-05-29T13:01:55.116" v="4316" actId="790"/>
        <pc:sldMkLst>
          <pc:docMk/>
          <pc:sldMk cId="2711351142" sldId="2147483632"/>
        </pc:sldMkLst>
        <pc:spChg chg="mod">
          <ac:chgData name="Juan Sebastián Giraldo" userId="2f39d921-1805-4fcf-9d80-fe66aeb20d18" providerId="ADAL" clId="{AA2DACD2-8492-4FDF-80C8-DF0025ECC2B8}" dt="2025-05-27T11:33:20.704" v="2059" actId="790"/>
          <ac:spMkLst>
            <pc:docMk/>
            <pc:sldMk cId="2711351142" sldId="2147483632"/>
            <ac:spMk id="2" creationId="{81006461-38E5-8B28-7AFD-3432BB04A715}"/>
          </ac:spMkLst>
        </pc:spChg>
        <pc:spChg chg="mod">
          <ac:chgData name="Juan Sebastián Giraldo" userId="2f39d921-1805-4fcf-9d80-fe66aeb20d18" providerId="ADAL" clId="{AA2DACD2-8492-4FDF-80C8-DF0025ECC2B8}" dt="2025-05-29T13:01:55.116" v="4316" actId="790"/>
          <ac:spMkLst>
            <pc:docMk/>
            <pc:sldMk cId="2711351142" sldId="2147483632"/>
            <ac:spMk id="4" creationId="{26D51EC7-D888-571C-8680-ECBB8B45BB77}"/>
          </ac:spMkLst>
        </pc:spChg>
        <pc:spChg chg="mod">
          <ac:chgData name="Juan Sebastián Giraldo" userId="2f39d921-1805-4fcf-9d80-fe66aeb20d18" providerId="ADAL" clId="{AA2DACD2-8492-4FDF-80C8-DF0025ECC2B8}" dt="2025-05-29T13:01:55.116" v="4316" actId="790"/>
          <ac:spMkLst>
            <pc:docMk/>
            <pc:sldMk cId="2711351142" sldId="2147483632"/>
            <ac:spMk id="5" creationId="{44F4360E-F4D8-362B-AB0A-587D4504C77D}"/>
          </ac:spMkLst>
        </pc:spChg>
        <pc:spChg chg="mod">
          <ac:chgData name="Juan Sebastián Giraldo" userId="2f39d921-1805-4fcf-9d80-fe66aeb20d18" providerId="ADAL" clId="{AA2DACD2-8492-4FDF-80C8-DF0025ECC2B8}" dt="2025-05-29T13:01:55.116" v="4316" actId="790"/>
          <ac:spMkLst>
            <pc:docMk/>
            <pc:sldMk cId="2711351142" sldId="2147483632"/>
            <ac:spMk id="7" creationId="{35C9C82A-4020-3D92-FEFF-A4E71336E13E}"/>
          </ac:spMkLst>
        </pc:spChg>
        <pc:spChg chg="mod">
          <ac:chgData name="Juan Sebastián Giraldo" userId="2f39d921-1805-4fcf-9d80-fe66aeb20d18" providerId="ADAL" clId="{AA2DACD2-8492-4FDF-80C8-DF0025ECC2B8}" dt="2025-05-29T13:01:55.116" v="4316" actId="790"/>
          <ac:spMkLst>
            <pc:docMk/>
            <pc:sldMk cId="2711351142" sldId="2147483632"/>
            <ac:spMk id="9" creationId="{9A7847E8-00D4-9643-58E5-8559AE132F47}"/>
          </ac:spMkLst>
        </pc:spChg>
        <pc:spChg chg="mod">
          <ac:chgData name="Juan Sebastián Giraldo" userId="2f39d921-1805-4fcf-9d80-fe66aeb20d18" providerId="ADAL" clId="{AA2DACD2-8492-4FDF-80C8-DF0025ECC2B8}" dt="2025-05-27T11:33:20.704" v="2059" actId="790"/>
          <ac:spMkLst>
            <pc:docMk/>
            <pc:sldMk cId="2711351142" sldId="2147483632"/>
            <ac:spMk id="11" creationId="{A8ED4C6C-55FC-A711-6055-7DF7C2F5B0A9}"/>
          </ac:spMkLst>
        </pc:spChg>
        <pc:spChg chg="mod">
          <ac:chgData name="Juan Sebastián Giraldo" userId="2f39d921-1805-4fcf-9d80-fe66aeb20d18" providerId="ADAL" clId="{AA2DACD2-8492-4FDF-80C8-DF0025ECC2B8}" dt="2025-05-29T13:01:55.116" v="4316" actId="790"/>
          <ac:spMkLst>
            <pc:docMk/>
            <pc:sldMk cId="2711351142" sldId="2147483632"/>
            <ac:spMk id="12" creationId="{51AE9D5B-0E8D-2C10-0244-626C0D21181A}"/>
          </ac:spMkLst>
        </pc:spChg>
        <pc:spChg chg="mod">
          <ac:chgData name="Juan Sebastián Giraldo" userId="2f39d921-1805-4fcf-9d80-fe66aeb20d18" providerId="ADAL" clId="{AA2DACD2-8492-4FDF-80C8-DF0025ECC2B8}" dt="2025-05-29T13:01:55.116" v="4316" actId="790"/>
          <ac:spMkLst>
            <pc:docMk/>
            <pc:sldMk cId="2711351142" sldId="2147483632"/>
            <ac:spMk id="18" creationId="{04DB2494-DB98-98AD-2DED-2FE87F492318}"/>
          </ac:spMkLst>
        </pc:spChg>
        <pc:spChg chg="mod">
          <ac:chgData name="Juan Sebastián Giraldo" userId="2f39d921-1805-4fcf-9d80-fe66aeb20d18" providerId="ADAL" clId="{AA2DACD2-8492-4FDF-80C8-DF0025ECC2B8}" dt="2025-05-29T13:01:55.116" v="4316" actId="790"/>
          <ac:spMkLst>
            <pc:docMk/>
            <pc:sldMk cId="2711351142" sldId="2147483632"/>
            <ac:spMk id="21" creationId="{39A224DF-E56F-FC66-87A7-986FC32BA179}"/>
          </ac:spMkLst>
        </pc:spChg>
        <pc:spChg chg="mod">
          <ac:chgData name="Juan Sebastián Giraldo" userId="2f39d921-1805-4fcf-9d80-fe66aeb20d18" providerId="ADAL" clId="{AA2DACD2-8492-4FDF-80C8-DF0025ECC2B8}" dt="2025-05-27T11:33:20.704" v="2059" actId="790"/>
          <ac:spMkLst>
            <pc:docMk/>
            <pc:sldMk cId="2711351142" sldId="2147483632"/>
            <ac:spMk id="22" creationId="{71149C5B-BC11-BE22-894B-96F807174620}"/>
          </ac:spMkLst>
        </pc:spChg>
        <pc:spChg chg="mod">
          <ac:chgData name="Juan Sebastián Giraldo" userId="2f39d921-1805-4fcf-9d80-fe66aeb20d18" providerId="ADAL" clId="{AA2DACD2-8492-4FDF-80C8-DF0025ECC2B8}" dt="2025-05-29T13:01:55.116" v="4316" actId="790"/>
          <ac:spMkLst>
            <pc:docMk/>
            <pc:sldMk cId="2711351142" sldId="2147483632"/>
            <ac:spMk id="23" creationId="{BD635EDB-928F-4DE1-97A0-1DBFB74A7194}"/>
          </ac:spMkLst>
        </pc:spChg>
        <pc:spChg chg="mod">
          <ac:chgData name="Juan Sebastián Giraldo" userId="2f39d921-1805-4fcf-9d80-fe66aeb20d18" providerId="ADAL" clId="{AA2DACD2-8492-4FDF-80C8-DF0025ECC2B8}" dt="2025-05-27T11:33:20.704" v="2059" actId="790"/>
          <ac:spMkLst>
            <pc:docMk/>
            <pc:sldMk cId="2711351142" sldId="2147483632"/>
            <ac:spMk id="27" creationId="{21A370FC-52B7-A43B-42BF-43B4F1107DA6}"/>
          </ac:spMkLst>
        </pc:spChg>
        <pc:spChg chg="mod">
          <ac:chgData name="Juan Sebastián Giraldo" userId="2f39d921-1805-4fcf-9d80-fe66aeb20d18" providerId="ADAL" clId="{AA2DACD2-8492-4FDF-80C8-DF0025ECC2B8}" dt="2025-05-29T13:01:55.116" v="4316" actId="790"/>
          <ac:spMkLst>
            <pc:docMk/>
            <pc:sldMk cId="2711351142" sldId="2147483632"/>
            <ac:spMk id="29" creationId="{A993EE76-14FF-498D-C40C-A348E5B0F4EE}"/>
          </ac:spMkLst>
        </pc:spChg>
        <pc:spChg chg="mod">
          <ac:chgData name="Juan Sebastián Giraldo" userId="2f39d921-1805-4fcf-9d80-fe66aeb20d18" providerId="ADAL" clId="{AA2DACD2-8492-4FDF-80C8-DF0025ECC2B8}" dt="2025-05-27T11:33:20.704" v="2059" actId="790"/>
          <ac:spMkLst>
            <pc:docMk/>
            <pc:sldMk cId="2711351142" sldId="2147483632"/>
            <ac:spMk id="46" creationId="{936A0394-5538-2089-25B7-9A583E33CD77}"/>
          </ac:spMkLst>
        </pc:spChg>
        <pc:spChg chg="mod">
          <ac:chgData name="Juan Sebastián Giraldo" userId="2f39d921-1805-4fcf-9d80-fe66aeb20d18" providerId="ADAL" clId="{AA2DACD2-8492-4FDF-80C8-DF0025ECC2B8}" dt="2025-05-29T13:01:55.116" v="4316" actId="790"/>
          <ac:spMkLst>
            <pc:docMk/>
            <pc:sldMk cId="2711351142" sldId="2147483632"/>
            <ac:spMk id="59" creationId="{82482921-9C47-707B-DDB1-FC7737B1F086}"/>
          </ac:spMkLst>
        </pc:spChg>
        <pc:grpChg chg="add mod">
          <ac:chgData name="Juan Sebastián Giraldo" userId="2f39d921-1805-4fcf-9d80-fe66aeb20d18" providerId="ADAL" clId="{AA2DACD2-8492-4FDF-80C8-DF0025ECC2B8}" dt="2025-05-27T10:56:58.240" v="1655" actId="1076"/>
          <ac:grpSpMkLst>
            <pc:docMk/>
            <pc:sldMk cId="2711351142" sldId="2147483632"/>
            <ac:grpSpMk id="35" creationId="{A0824EC6-8EFC-29BE-EAF0-BC77BB8D3264}"/>
          </ac:grpSpMkLst>
        </pc:grpChg>
        <pc:grpChg chg="add mod">
          <ac:chgData name="Juan Sebastián Giraldo" userId="2f39d921-1805-4fcf-9d80-fe66aeb20d18" providerId="ADAL" clId="{AA2DACD2-8492-4FDF-80C8-DF0025ECC2B8}" dt="2025-05-27T10:58:32.631" v="1678" actId="1076"/>
          <ac:grpSpMkLst>
            <pc:docMk/>
            <pc:sldMk cId="2711351142" sldId="2147483632"/>
            <ac:grpSpMk id="53" creationId="{C9305D67-44E5-05B3-EB95-CB97E29706EB}"/>
          </ac:grpSpMkLst>
        </pc:grpChg>
        <pc:picChg chg="add mod">
          <ac:chgData name="Juan Sebastián Giraldo" userId="2f39d921-1805-4fcf-9d80-fe66aeb20d18" providerId="ADAL" clId="{AA2DACD2-8492-4FDF-80C8-DF0025ECC2B8}" dt="2025-05-27T10:56:08.745" v="1644" actId="1076"/>
          <ac:picMkLst>
            <pc:docMk/>
            <pc:sldMk cId="2711351142" sldId="2147483632"/>
            <ac:picMk id="15" creationId="{9F51DF4C-BCE8-DAD9-6428-2793EB30B3E2}"/>
          </ac:picMkLst>
        </pc:picChg>
        <pc:picChg chg="add mod">
          <ac:chgData name="Juan Sebastián Giraldo" userId="2f39d921-1805-4fcf-9d80-fe66aeb20d18" providerId="ADAL" clId="{AA2DACD2-8492-4FDF-80C8-DF0025ECC2B8}" dt="2025-05-28T15:00:36.426" v="3850" actId="1076"/>
          <ac:picMkLst>
            <pc:docMk/>
            <pc:sldMk cId="2711351142" sldId="2147483632"/>
            <ac:picMk id="16" creationId="{AE463B4C-249C-4532-A1D2-438334A6965E}"/>
          </ac:picMkLst>
        </pc:picChg>
        <pc:picChg chg="add mod">
          <ac:chgData name="Juan Sebastián Giraldo" userId="2f39d921-1805-4fcf-9d80-fe66aeb20d18" providerId="ADAL" clId="{AA2DACD2-8492-4FDF-80C8-DF0025ECC2B8}" dt="2025-05-27T11:03:14.004" v="1699" actId="1076"/>
          <ac:picMkLst>
            <pc:docMk/>
            <pc:sldMk cId="2711351142" sldId="2147483632"/>
            <ac:picMk id="32" creationId="{EDBE07C2-45C7-22EF-BBC3-790271C6F0A2}"/>
          </ac:picMkLst>
        </pc:picChg>
        <pc:picChg chg="add mod">
          <ac:chgData name="Juan Sebastián Giraldo" userId="2f39d921-1805-4fcf-9d80-fe66aeb20d18" providerId="ADAL" clId="{AA2DACD2-8492-4FDF-80C8-DF0025ECC2B8}" dt="2025-05-27T10:56:14.410" v="1646" actId="1076"/>
          <ac:picMkLst>
            <pc:docMk/>
            <pc:sldMk cId="2711351142" sldId="2147483632"/>
            <ac:picMk id="33" creationId="{FF78C569-F13F-E433-D91F-EA3E7F3C69AA}"/>
          </ac:picMkLst>
        </pc:picChg>
        <pc:picChg chg="mod">
          <ac:chgData name="Juan Sebastián Giraldo" userId="2f39d921-1805-4fcf-9d80-fe66aeb20d18" providerId="ADAL" clId="{AA2DACD2-8492-4FDF-80C8-DF0025ECC2B8}" dt="2025-05-27T10:56:58.240" v="1655" actId="1076"/>
          <ac:picMkLst>
            <pc:docMk/>
            <pc:sldMk cId="2711351142" sldId="2147483632"/>
            <ac:picMk id="36" creationId="{117C1326-BD95-BD3D-6329-B56D9ABF304E}"/>
          </ac:picMkLst>
        </pc:picChg>
        <pc:picChg chg="mod">
          <ac:chgData name="Juan Sebastián Giraldo" userId="2f39d921-1805-4fcf-9d80-fe66aeb20d18" providerId="ADAL" clId="{AA2DACD2-8492-4FDF-80C8-DF0025ECC2B8}" dt="2025-05-27T10:56:58.240" v="1655" actId="1076"/>
          <ac:picMkLst>
            <pc:docMk/>
            <pc:sldMk cId="2711351142" sldId="2147483632"/>
            <ac:picMk id="37" creationId="{42EA6317-174D-6694-8086-ADD28462FC74}"/>
          </ac:picMkLst>
        </pc:picChg>
        <pc:picChg chg="mod">
          <ac:chgData name="Juan Sebastián Giraldo" userId="2f39d921-1805-4fcf-9d80-fe66aeb20d18" providerId="ADAL" clId="{AA2DACD2-8492-4FDF-80C8-DF0025ECC2B8}" dt="2025-05-27T10:56:58.240" v="1655" actId="1076"/>
          <ac:picMkLst>
            <pc:docMk/>
            <pc:sldMk cId="2711351142" sldId="2147483632"/>
            <ac:picMk id="39" creationId="{C7037840-76FF-E34F-F91B-85E942382EF4}"/>
          </ac:picMkLst>
        </pc:picChg>
        <pc:picChg chg="mod">
          <ac:chgData name="Juan Sebastián Giraldo" userId="2f39d921-1805-4fcf-9d80-fe66aeb20d18" providerId="ADAL" clId="{AA2DACD2-8492-4FDF-80C8-DF0025ECC2B8}" dt="2025-05-27T10:56:58.240" v="1655" actId="1076"/>
          <ac:picMkLst>
            <pc:docMk/>
            <pc:sldMk cId="2711351142" sldId="2147483632"/>
            <ac:picMk id="41" creationId="{F2D102BC-8184-A60F-CB07-718E0BA31129}"/>
          </ac:picMkLst>
        </pc:picChg>
        <pc:picChg chg="mod">
          <ac:chgData name="Juan Sebastián Giraldo" userId="2f39d921-1805-4fcf-9d80-fe66aeb20d18" providerId="ADAL" clId="{AA2DACD2-8492-4FDF-80C8-DF0025ECC2B8}" dt="2025-05-27T10:56:58.240" v="1655" actId="1076"/>
          <ac:picMkLst>
            <pc:docMk/>
            <pc:sldMk cId="2711351142" sldId="2147483632"/>
            <ac:picMk id="43" creationId="{E4D554AD-DDFB-3330-24B7-AEE97E30C078}"/>
          </ac:picMkLst>
        </pc:picChg>
        <pc:picChg chg="mod">
          <ac:chgData name="Juan Sebastián Giraldo" userId="2f39d921-1805-4fcf-9d80-fe66aeb20d18" providerId="ADAL" clId="{AA2DACD2-8492-4FDF-80C8-DF0025ECC2B8}" dt="2025-05-27T10:56:58.240" v="1655" actId="1076"/>
          <ac:picMkLst>
            <pc:docMk/>
            <pc:sldMk cId="2711351142" sldId="2147483632"/>
            <ac:picMk id="47" creationId="{1EADC2D7-82D7-0CFD-E422-2EDB750B912A}"/>
          </ac:picMkLst>
        </pc:picChg>
        <pc:picChg chg="add mod">
          <ac:chgData name="Juan Sebastián Giraldo" userId="2f39d921-1805-4fcf-9d80-fe66aeb20d18" providerId="ADAL" clId="{AA2DACD2-8492-4FDF-80C8-DF0025ECC2B8}" dt="2025-05-27T10:58:35.619" v="1679" actId="1076"/>
          <ac:picMkLst>
            <pc:docMk/>
            <pc:sldMk cId="2711351142" sldId="2147483632"/>
            <ac:picMk id="48" creationId="{20064961-AC73-4E3A-3FEC-ECDF651BFE09}"/>
          </ac:picMkLst>
        </pc:picChg>
        <pc:picChg chg="add mod">
          <ac:chgData name="Juan Sebastián Giraldo" userId="2f39d921-1805-4fcf-9d80-fe66aeb20d18" providerId="ADAL" clId="{AA2DACD2-8492-4FDF-80C8-DF0025ECC2B8}" dt="2025-05-27T10:57:13.449" v="1659" actId="1076"/>
          <ac:picMkLst>
            <pc:docMk/>
            <pc:sldMk cId="2711351142" sldId="2147483632"/>
            <ac:picMk id="50" creationId="{DF407B1C-5121-3C5D-B95C-1777B52C8348}"/>
          </ac:picMkLst>
        </pc:picChg>
        <pc:picChg chg="add mod">
          <ac:chgData name="Juan Sebastián Giraldo" userId="2f39d921-1805-4fcf-9d80-fe66aeb20d18" providerId="ADAL" clId="{AA2DACD2-8492-4FDF-80C8-DF0025ECC2B8}" dt="2025-05-27T10:57:45.804" v="1667" actId="1076"/>
          <ac:picMkLst>
            <pc:docMk/>
            <pc:sldMk cId="2711351142" sldId="2147483632"/>
            <ac:picMk id="51" creationId="{08368F06-6DFB-9EFA-5DC4-C2B9F75DC16D}"/>
          </ac:picMkLst>
        </pc:picChg>
        <pc:picChg chg="add mod">
          <ac:chgData name="Juan Sebastián Giraldo" userId="2f39d921-1805-4fcf-9d80-fe66aeb20d18" providerId="ADAL" clId="{AA2DACD2-8492-4FDF-80C8-DF0025ECC2B8}" dt="2025-05-27T11:09:33.714" v="1701" actId="1076"/>
          <ac:picMkLst>
            <pc:docMk/>
            <pc:sldMk cId="2711351142" sldId="2147483632"/>
            <ac:picMk id="52" creationId="{809E27CA-DE43-8EB2-5B99-CE73AA323AD0}"/>
          </ac:picMkLst>
        </pc:picChg>
        <pc:picChg chg="mod">
          <ac:chgData name="Juan Sebastián Giraldo" userId="2f39d921-1805-4fcf-9d80-fe66aeb20d18" providerId="ADAL" clId="{AA2DACD2-8492-4FDF-80C8-DF0025ECC2B8}" dt="2025-05-27T10:58:32.631" v="1678" actId="1076"/>
          <ac:picMkLst>
            <pc:docMk/>
            <pc:sldMk cId="2711351142" sldId="2147483632"/>
            <ac:picMk id="54" creationId="{652B379B-238B-8722-C029-96287CA85432}"/>
          </ac:picMkLst>
        </pc:picChg>
        <pc:picChg chg="mod">
          <ac:chgData name="Juan Sebastián Giraldo" userId="2f39d921-1805-4fcf-9d80-fe66aeb20d18" providerId="ADAL" clId="{AA2DACD2-8492-4FDF-80C8-DF0025ECC2B8}" dt="2025-05-27T10:58:32.631" v="1678" actId="1076"/>
          <ac:picMkLst>
            <pc:docMk/>
            <pc:sldMk cId="2711351142" sldId="2147483632"/>
            <ac:picMk id="55" creationId="{D7D127C8-47BD-FBFD-610B-E85345C0659B}"/>
          </ac:picMkLst>
        </pc:picChg>
        <pc:picChg chg="mod">
          <ac:chgData name="Juan Sebastián Giraldo" userId="2f39d921-1805-4fcf-9d80-fe66aeb20d18" providerId="ADAL" clId="{AA2DACD2-8492-4FDF-80C8-DF0025ECC2B8}" dt="2025-05-27T10:58:32.631" v="1678" actId="1076"/>
          <ac:picMkLst>
            <pc:docMk/>
            <pc:sldMk cId="2711351142" sldId="2147483632"/>
            <ac:picMk id="56" creationId="{64CC74EF-776A-36E2-5268-95B10F611769}"/>
          </ac:picMkLst>
        </pc:picChg>
        <pc:picChg chg="mod">
          <ac:chgData name="Juan Sebastián Giraldo" userId="2f39d921-1805-4fcf-9d80-fe66aeb20d18" providerId="ADAL" clId="{AA2DACD2-8492-4FDF-80C8-DF0025ECC2B8}" dt="2025-05-27T10:58:32.631" v="1678" actId="1076"/>
          <ac:picMkLst>
            <pc:docMk/>
            <pc:sldMk cId="2711351142" sldId="2147483632"/>
            <ac:picMk id="57" creationId="{4D5E2FE5-C1A5-1822-AD72-C524AD1AA09B}"/>
          </ac:picMkLst>
        </pc:picChg>
        <pc:picChg chg="mod">
          <ac:chgData name="Juan Sebastián Giraldo" userId="2f39d921-1805-4fcf-9d80-fe66aeb20d18" providerId="ADAL" clId="{AA2DACD2-8492-4FDF-80C8-DF0025ECC2B8}" dt="2025-05-27T10:58:32.631" v="1678" actId="1076"/>
          <ac:picMkLst>
            <pc:docMk/>
            <pc:sldMk cId="2711351142" sldId="2147483632"/>
            <ac:picMk id="58" creationId="{42C65894-2CBA-7C48-F128-33FB4C1BF60A}"/>
          </ac:picMkLst>
        </pc:picChg>
        <pc:picChg chg="mod">
          <ac:chgData name="Juan Sebastián Giraldo" userId="2f39d921-1805-4fcf-9d80-fe66aeb20d18" providerId="ADAL" clId="{AA2DACD2-8492-4FDF-80C8-DF0025ECC2B8}" dt="2025-05-27T10:58:32.631" v="1678" actId="1076"/>
          <ac:picMkLst>
            <pc:docMk/>
            <pc:sldMk cId="2711351142" sldId="2147483632"/>
            <ac:picMk id="60" creationId="{45940613-9F91-B57F-9BEC-C3EFEE148AEC}"/>
          </ac:picMkLst>
        </pc:picChg>
        <pc:picChg chg="add mod">
          <ac:chgData name="Juan Sebastián Giraldo" userId="2f39d921-1805-4fcf-9d80-fe66aeb20d18" providerId="ADAL" clId="{AA2DACD2-8492-4FDF-80C8-DF0025ECC2B8}" dt="2025-05-27T11:02:21.803" v="1689"/>
          <ac:picMkLst>
            <pc:docMk/>
            <pc:sldMk cId="2711351142" sldId="2147483632"/>
            <ac:picMk id="61" creationId="{233499F5-CE6E-A5B5-6C7F-9535186B038F}"/>
          </ac:picMkLst>
        </pc:picChg>
        <pc:picChg chg="add mod">
          <ac:chgData name="Juan Sebastián Giraldo" userId="2f39d921-1805-4fcf-9d80-fe66aeb20d18" providerId="ADAL" clId="{AA2DACD2-8492-4FDF-80C8-DF0025ECC2B8}" dt="2025-05-28T15:02:00.866" v="3853" actId="1076"/>
          <ac:picMkLst>
            <pc:docMk/>
            <pc:sldMk cId="2711351142" sldId="2147483632"/>
            <ac:picMk id="1028" creationId="{6162A340-CF3F-FB52-57C2-188BB33FA663}"/>
          </ac:picMkLst>
        </pc:picChg>
        <pc:picChg chg="add mod">
          <ac:chgData name="Juan Sebastián Giraldo" userId="2f39d921-1805-4fcf-9d80-fe66aeb20d18" providerId="ADAL" clId="{AA2DACD2-8492-4FDF-80C8-DF0025ECC2B8}" dt="2025-05-27T10:58:13.923" v="1673" actId="1076"/>
          <ac:picMkLst>
            <pc:docMk/>
            <pc:sldMk cId="2711351142" sldId="2147483632"/>
            <ac:picMk id="3074" creationId="{A8A6202F-1B51-675B-D39A-13AAB70429D0}"/>
          </ac:picMkLst>
        </pc:picChg>
        <pc:picChg chg="add mod">
          <ac:chgData name="Juan Sebastián Giraldo" userId="2f39d921-1805-4fcf-9d80-fe66aeb20d18" providerId="ADAL" clId="{AA2DACD2-8492-4FDF-80C8-DF0025ECC2B8}" dt="2025-05-27T10:56:20.836" v="1648" actId="1076"/>
          <ac:picMkLst>
            <pc:docMk/>
            <pc:sldMk cId="2711351142" sldId="2147483632"/>
            <ac:picMk id="3076" creationId="{F88C2B49-CC00-F9C3-B89B-0D8BD7260CF8}"/>
          </ac:picMkLst>
        </pc:picChg>
        <pc:picChg chg="add mod">
          <ac:chgData name="Juan Sebastián Giraldo" userId="2f39d921-1805-4fcf-9d80-fe66aeb20d18" providerId="ADAL" clId="{AA2DACD2-8492-4FDF-80C8-DF0025ECC2B8}" dt="2025-05-27T10:57:39.935" v="1665" actId="1076"/>
          <ac:picMkLst>
            <pc:docMk/>
            <pc:sldMk cId="2711351142" sldId="2147483632"/>
            <ac:picMk id="3078" creationId="{DCD73D2B-85A4-1734-E9AB-CE8CD2D09130}"/>
          </ac:picMkLst>
        </pc:picChg>
        <pc:picChg chg="add mod">
          <ac:chgData name="Juan Sebastián Giraldo" userId="2f39d921-1805-4fcf-9d80-fe66aeb20d18" providerId="ADAL" clId="{AA2DACD2-8492-4FDF-80C8-DF0025ECC2B8}" dt="2025-05-27T10:58:10.739" v="1672" actId="1076"/>
          <ac:picMkLst>
            <pc:docMk/>
            <pc:sldMk cId="2711351142" sldId="2147483632"/>
            <ac:picMk id="3080" creationId="{9981B08B-F4DE-C54A-0321-14D3BA4909A4}"/>
          </ac:picMkLst>
        </pc:picChg>
        <pc:picChg chg="add mod">
          <ac:chgData name="Juan Sebastián Giraldo" userId="2f39d921-1805-4fcf-9d80-fe66aeb20d18" providerId="ADAL" clId="{AA2DACD2-8492-4FDF-80C8-DF0025ECC2B8}" dt="2025-05-27T11:01:17.423" v="1684" actId="1076"/>
          <ac:picMkLst>
            <pc:docMk/>
            <pc:sldMk cId="2711351142" sldId="2147483632"/>
            <ac:picMk id="3082" creationId="{17CC5BC3-A989-8CD4-887F-AC2004813F6D}"/>
          </ac:picMkLst>
        </pc:picChg>
        <pc:picChg chg="add mod">
          <ac:chgData name="Juan Sebastián Giraldo" userId="2f39d921-1805-4fcf-9d80-fe66aeb20d18" providerId="ADAL" clId="{AA2DACD2-8492-4FDF-80C8-DF0025ECC2B8}" dt="2025-05-27T11:02:31.927" v="1694" actId="1076"/>
          <ac:picMkLst>
            <pc:docMk/>
            <pc:sldMk cId="2711351142" sldId="2147483632"/>
            <ac:picMk id="3084" creationId="{19F7F23E-A17F-5D66-70EA-0BC7E910052E}"/>
          </ac:picMkLst>
        </pc:picChg>
        <pc:picChg chg="add mod">
          <ac:chgData name="Juan Sebastián Giraldo" userId="2f39d921-1805-4fcf-9d80-fe66aeb20d18" providerId="ADAL" clId="{AA2DACD2-8492-4FDF-80C8-DF0025ECC2B8}" dt="2025-05-27T11:03:15.456" v="1700" actId="1076"/>
          <ac:picMkLst>
            <pc:docMk/>
            <pc:sldMk cId="2711351142" sldId="2147483632"/>
            <ac:picMk id="3086" creationId="{61773359-9CED-2B8E-96A7-426B829579A3}"/>
          </ac:picMkLst>
        </pc:picChg>
      </pc:sldChg>
      <pc:sldChg chg="modSp add mod ord modShow">
        <pc:chgData name="Juan Sebastián Giraldo" userId="2f39d921-1805-4fcf-9d80-fe66aeb20d18" providerId="ADAL" clId="{AA2DACD2-8492-4FDF-80C8-DF0025ECC2B8}" dt="2025-05-29T15:17:34.139" v="4878" actId="729"/>
        <pc:sldMkLst>
          <pc:docMk/>
          <pc:sldMk cId="343947595" sldId="2147483633"/>
        </pc:sldMkLst>
        <pc:spChg chg="mod">
          <ac:chgData name="Juan Sebastián Giraldo" userId="2f39d921-1805-4fcf-9d80-fe66aeb20d18" providerId="ADAL" clId="{AA2DACD2-8492-4FDF-80C8-DF0025ECC2B8}" dt="2025-05-29T13:01:55.116" v="4316" actId="790"/>
          <ac:spMkLst>
            <pc:docMk/>
            <pc:sldMk cId="343947595" sldId="2147483633"/>
            <ac:spMk id="2" creationId="{48FB0D29-07EE-1048-A425-D75C4D23B13B}"/>
          </ac:spMkLst>
        </pc:spChg>
        <pc:spChg chg="mod">
          <ac:chgData name="Juan Sebastián Giraldo" userId="2f39d921-1805-4fcf-9d80-fe66aeb20d18" providerId="ADAL" clId="{AA2DACD2-8492-4FDF-80C8-DF0025ECC2B8}" dt="2025-05-29T13:01:55.116" v="4316" actId="790"/>
          <ac:spMkLst>
            <pc:docMk/>
            <pc:sldMk cId="343947595" sldId="2147483633"/>
            <ac:spMk id="6" creationId="{4FC400AA-89FB-8831-2151-86C2B9D17C64}"/>
          </ac:spMkLst>
        </pc:spChg>
        <pc:spChg chg="mod">
          <ac:chgData name="Juan Sebastián Giraldo" userId="2f39d921-1805-4fcf-9d80-fe66aeb20d18" providerId="ADAL" clId="{AA2DACD2-8492-4FDF-80C8-DF0025ECC2B8}" dt="2025-05-27T11:15:47.903" v="1737" actId="113"/>
          <ac:spMkLst>
            <pc:docMk/>
            <pc:sldMk cId="343947595" sldId="2147483633"/>
            <ac:spMk id="7" creationId="{4B67DDD9-3F6D-3D95-8BE6-113408090179}"/>
          </ac:spMkLst>
        </pc:spChg>
        <pc:spChg chg="mod">
          <ac:chgData name="Juan Sebastián Giraldo" userId="2f39d921-1805-4fcf-9d80-fe66aeb20d18" providerId="ADAL" clId="{AA2DACD2-8492-4FDF-80C8-DF0025ECC2B8}" dt="2025-05-29T13:01:55.116" v="4316" actId="790"/>
          <ac:spMkLst>
            <pc:docMk/>
            <pc:sldMk cId="343947595" sldId="2147483633"/>
            <ac:spMk id="8" creationId="{C58D7411-B6A6-CBDE-110D-F5E7E3AFB387}"/>
          </ac:spMkLst>
        </pc:spChg>
        <pc:spChg chg="mod">
          <ac:chgData name="Juan Sebastián Giraldo" userId="2f39d921-1805-4fcf-9d80-fe66aeb20d18" providerId="ADAL" clId="{AA2DACD2-8492-4FDF-80C8-DF0025ECC2B8}" dt="2025-05-27T11:33:20.704" v="2059" actId="790"/>
          <ac:spMkLst>
            <pc:docMk/>
            <pc:sldMk cId="343947595" sldId="2147483633"/>
            <ac:spMk id="12" creationId="{80F7BBFC-B40D-3501-18F6-B30A7C7587FC}"/>
          </ac:spMkLst>
        </pc:spChg>
        <pc:spChg chg="mod">
          <ac:chgData name="Juan Sebastián Giraldo" userId="2f39d921-1805-4fcf-9d80-fe66aeb20d18" providerId="ADAL" clId="{AA2DACD2-8492-4FDF-80C8-DF0025ECC2B8}" dt="2025-05-29T13:01:55.116" v="4316" actId="790"/>
          <ac:spMkLst>
            <pc:docMk/>
            <pc:sldMk cId="343947595" sldId="2147483633"/>
            <ac:spMk id="19" creationId="{679EE4FD-4B13-43FD-C409-B6C14C82ABC0}"/>
          </ac:spMkLst>
        </pc:spChg>
        <pc:spChg chg="mod">
          <ac:chgData name="Juan Sebastián Giraldo" userId="2f39d921-1805-4fcf-9d80-fe66aeb20d18" providerId="ADAL" clId="{AA2DACD2-8492-4FDF-80C8-DF0025ECC2B8}" dt="2025-05-29T13:01:55.116" v="4316" actId="790"/>
          <ac:spMkLst>
            <pc:docMk/>
            <pc:sldMk cId="343947595" sldId="2147483633"/>
            <ac:spMk id="20" creationId="{72CBD0FA-FA35-537F-80B9-9636F7790184}"/>
          </ac:spMkLst>
        </pc:spChg>
        <pc:spChg chg="mod">
          <ac:chgData name="Juan Sebastián Giraldo" userId="2f39d921-1805-4fcf-9d80-fe66aeb20d18" providerId="ADAL" clId="{AA2DACD2-8492-4FDF-80C8-DF0025ECC2B8}" dt="2025-05-27T11:33:20.704" v="2059" actId="790"/>
          <ac:spMkLst>
            <pc:docMk/>
            <pc:sldMk cId="343947595" sldId="2147483633"/>
            <ac:spMk id="28" creationId="{A73CC095-5DEE-32F9-C40E-8856D62FAAF3}"/>
          </ac:spMkLst>
        </pc:spChg>
        <pc:spChg chg="mod">
          <ac:chgData name="Juan Sebastián Giraldo" userId="2f39d921-1805-4fcf-9d80-fe66aeb20d18" providerId="ADAL" clId="{AA2DACD2-8492-4FDF-80C8-DF0025ECC2B8}" dt="2025-05-29T13:01:55.116" v="4316" actId="790"/>
          <ac:spMkLst>
            <pc:docMk/>
            <pc:sldMk cId="343947595" sldId="2147483633"/>
            <ac:spMk id="31" creationId="{4D9C8C02-55E6-5160-DE64-46A743B33756}"/>
          </ac:spMkLst>
        </pc:spChg>
        <pc:spChg chg="mod">
          <ac:chgData name="Juan Sebastián Giraldo" userId="2f39d921-1805-4fcf-9d80-fe66aeb20d18" providerId="ADAL" clId="{AA2DACD2-8492-4FDF-80C8-DF0025ECC2B8}" dt="2025-05-29T13:01:55.116" v="4316" actId="790"/>
          <ac:spMkLst>
            <pc:docMk/>
            <pc:sldMk cId="343947595" sldId="2147483633"/>
            <ac:spMk id="43" creationId="{D6760930-7D38-748C-B710-8DEEA750AADA}"/>
          </ac:spMkLst>
        </pc:spChg>
        <pc:spChg chg="mod">
          <ac:chgData name="Juan Sebastián Giraldo" userId="2f39d921-1805-4fcf-9d80-fe66aeb20d18" providerId="ADAL" clId="{AA2DACD2-8492-4FDF-80C8-DF0025ECC2B8}" dt="2025-05-29T13:01:55.116" v="4316" actId="790"/>
          <ac:spMkLst>
            <pc:docMk/>
            <pc:sldMk cId="343947595" sldId="2147483633"/>
            <ac:spMk id="51" creationId="{FE8B33CB-E79B-CF56-C5BC-33562966F53E}"/>
          </ac:spMkLst>
        </pc:spChg>
        <pc:spChg chg="mod">
          <ac:chgData name="Juan Sebastián Giraldo" userId="2f39d921-1805-4fcf-9d80-fe66aeb20d18" providerId="ADAL" clId="{AA2DACD2-8492-4FDF-80C8-DF0025ECC2B8}" dt="2025-05-29T13:01:55.116" v="4316" actId="790"/>
          <ac:spMkLst>
            <pc:docMk/>
            <pc:sldMk cId="343947595" sldId="2147483633"/>
            <ac:spMk id="56" creationId="{FC7DF547-79B4-F33F-DE37-ABF72E4E7F75}"/>
          </ac:spMkLst>
        </pc:spChg>
        <pc:spChg chg="mod">
          <ac:chgData name="Juan Sebastián Giraldo" userId="2f39d921-1805-4fcf-9d80-fe66aeb20d18" providerId="ADAL" clId="{AA2DACD2-8492-4FDF-80C8-DF0025ECC2B8}" dt="2025-05-29T13:01:55.116" v="4316" actId="790"/>
          <ac:spMkLst>
            <pc:docMk/>
            <pc:sldMk cId="343947595" sldId="2147483633"/>
            <ac:spMk id="68" creationId="{4C6B73E8-03C7-68B6-FF1C-A11E86DB0148}"/>
          </ac:spMkLst>
        </pc:spChg>
      </pc:sldChg>
      <pc:sldChg chg="new del">
        <pc:chgData name="Juan Sebastián Giraldo" userId="2f39d921-1805-4fcf-9d80-fe66aeb20d18" providerId="ADAL" clId="{AA2DACD2-8492-4FDF-80C8-DF0025ECC2B8}" dt="2025-05-27T11:38:02.287" v="2122" actId="47"/>
        <pc:sldMkLst>
          <pc:docMk/>
          <pc:sldMk cId="3870548913" sldId="2147483634"/>
        </pc:sldMkLst>
      </pc:sldChg>
      <pc:sldChg chg="addSp delSp modSp mod ord">
        <pc:chgData name="Juan Sebastián Giraldo" userId="2f39d921-1805-4fcf-9d80-fe66aeb20d18" providerId="ADAL" clId="{AA2DACD2-8492-4FDF-80C8-DF0025ECC2B8}" dt="2025-05-29T19:36:11.129" v="5090" actId="1076"/>
        <pc:sldMkLst>
          <pc:docMk/>
          <pc:sldMk cId="2807532808" sldId="2147483635"/>
        </pc:sldMkLst>
        <pc:spChg chg="mod">
          <ac:chgData name="Juan Sebastián Giraldo" userId="2f39d921-1805-4fcf-9d80-fe66aeb20d18" providerId="ADAL" clId="{AA2DACD2-8492-4FDF-80C8-DF0025ECC2B8}" dt="2025-05-29T19:35:37.242" v="5083" actId="207"/>
          <ac:spMkLst>
            <pc:docMk/>
            <pc:sldMk cId="2807532808" sldId="2147483635"/>
            <ac:spMk id="2" creationId="{8253B2AD-CEDB-51B2-9FBE-FB1DB4542A06}"/>
          </ac:spMkLst>
        </pc:spChg>
        <pc:spChg chg="mod">
          <ac:chgData name="Juan Sebastián Giraldo" userId="2f39d921-1805-4fcf-9d80-fe66aeb20d18" providerId="ADAL" clId="{AA2DACD2-8492-4FDF-80C8-DF0025ECC2B8}" dt="2025-05-29T19:36:11.129" v="5090" actId="1076"/>
          <ac:spMkLst>
            <pc:docMk/>
            <pc:sldMk cId="2807532808" sldId="2147483635"/>
            <ac:spMk id="20" creationId="{D3935072-A1F0-757C-DF80-9F684390C137}"/>
          </ac:spMkLst>
        </pc:spChg>
        <pc:spChg chg="mod">
          <ac:chgData name="Juan Sebastián Giraldo" userId="2f39d921-1805-4fcf-9d80-fe66aeb20d18" providerId="ADAL" clId="{AA2DACD2-8492-4FDF-80C8-DF0025ECC2B8}" dt="2025-05-29T19:36:11.129" v="5090" actId="1076"/>
          <ac:spMkLst>
            <pc:docMk/>
            <pc:sldMk cId="2807532808" sldId="2147483635"/>
            <ac:spMk id="21" creationId="{DCE8DB6C-18D0-19F7-EF31-F6E46EDB3876}"/>
          </ac:spMkLst>
        </pc:spChg>
        <pc:spChg chg="mod">
          <ac:chgData name="Juan Sebastián Giraldo" userId="2f39d921-1805-4fcf-9d80-fe66aeb20d18" providerId="ADAL" clId="{AA2DACD2-8492-4FDF-80C8-DF0025ECC2B8}" dt="2025-05-29T19:36:11.129" v="5090" actId="1076"/>
          <ac:spMkLst>
            <pc:docMk/>
            <pc:sldMk cId="2807532808" sldId="2147483635"/>
            <ac:spMk id="22" creationId="{EBF6F2CA-C8B8-85BD-E5A3-50433F2305F7}"/>
          </ac:spMkLst>
        </pc:spChg>
        <pc:spChg chg="mod">
          <ac:chgData name="Juan Sebastián Giraldo" userId="2f39d921-1805-4fcf-9d80-fe66aeb20d18" providerId="ADAL" clId="{AA2DACD2-8492-4FDF-80C8-DF0025ECC2B8}" dt="2025-05-29T13:01:55.116" v="4316" actId="790"/>
          <ac:spMkLst>
            <pc:docMk/>
            <pc:sldMk cId="2807532808" sldId="2147483635"/>
            <ac:spMk id="23" creationId="{9C8E1FCD-3848-4B9C-8AE4-40BBB6F6332E}"/>
          </ac:spMkLst>
        </pc:spChg>
        <pc:spChg chg="mod">
          <ac:chgData name="Juan Sebastián Giraldo" userId="2f39d921-1805-4fcf-9d80-fe66aeb20d18" providerId="ADAL" clId="{AA2DACD2-8492-4FDF-80C8-DF0025ECC2B8}" dt="2025-05-29T19:36:11.129" v="5090" actId="1076"/>
          <ac:spMkLst>
            <pc:docMk/>
            <pc:sldMk cId="2807532808" sldId="2147483635"/>
            <ac:spMk id="24" creationId="{9C9EDEF4-7ADC-1B8C-0275-0B8FF866A87C}"/>
          </ac:spMkLst>
        </pc:spChg>
        <pc:spChg chg="mod">
          <ac:chgData name="Juan Sebastián Giraldo" userId="2f39d921-1805-4fcf-9d80-fe66aeb20d18" providerId="ADAL" clId="{AA2DACD2-8492-4FDF-80C8-DF0025ECC2B8}" dt="2025-05-29T19:36:11.129" v="5090" actId="1076"/>
          <ac:spMkLst>
            <pc:docMk/>
            <pc:sldMk cId="2807532808" sldId="2147483635"/>
            <ac:spMk id="25" creationId="{7D56119B-6529-2B8A-4687-0E7BD798F30D}"/>
          </ac:spMkLst>
        </pc:spChg>
        <pc:spChg chg="mod">
          <ac:chgData name="Juan Sebastián Giraldo" userId="2f39d921-1805-4fcf-9d80-fe66aeb20d18" providerId="ADAL" clId="{AA2DACD2-8492-4FDF-80C8-DF0025ECC2B8}" dt="2025-05-29T19:36:11.129" v="5090" actId="1076"/>
          <ac:spMkLst>
            <pc:docMk/>
            <pc:sldMk cId="2807532808" sldId="2147483635"/>
            <ac:spMk id="26" creationId="{F227021B-C30B-8405-7D79-661A6459F705}"/>
          </ac:spMkLst>
        </pc:spChg>
        <pc:spChg chg="mod">
          <ac:chgData name="Juan Sebastián Giraldo" userId="2f39d921-1805-4fcf-9d80-fe66aeb20d18" providerId="ADAL" clId="{AA2DACD2-8492-4FDF-80C8-DF0025ECC2B8}" dt="2025-05-29T19:36:11.129" v="5090" actId="1076"/>
          <ac:spMkLst>
            <pc:docMk/>
            <pc:sldMk cId="2807532808" sldId="2147483635"/>
            <ac:spMk id="27" creationId="{3610F818-39CC-68AB-1E04-C5C3E63C3DD8}"/>
          </ac:spMkLst>
        </pc:spChg>
        <pc:spChg chg="mod">
          <ac:chgData name="Juan Sebastián Giraldo" userId="2f39d921-1805-4fcf-9d80-fe66aeb20d18" providerId="ADAL" clId="{AA2DACD2-8492-4FDF-80C8-DF0025ECC2B8}" dt="2025-05-29T19:36:11.129" v="5090" actId="1076"/>
          <ac:spMkLst>
            <pc:docMk/>
            <pc:sldMk cId="2807532808" sldId="2147483635"/>
            <ac:spMk id="30" creationId="{D1D86D9C-9231-00DA-328B-E57677CFFE5F}"/>
          </ac:spMkLst>
        </pc:spChg>
        <pc:spChg chg="mod">
          <ac:chgData name="Juan Sebastián Giraldo" userId="2f39d921-1805-4fcf-9d80-fe66aeb20d18" providerId="ADAL" clId="{AA2DACD2-8492-4FDF-80C8-DF0025ECC2B8}" dt="2025-05-29T19:36:11.129" v="5090" actId="1076"/>
          <ac:spMkLst>
            <pc:docMk/>
            <pc:sldMk cId="2807532808" sldId="2147483635"/>
            <ac:spMk id="31" creationId="{30C57F1E-9AE2-8A37-9C3D-8D40DD46B184}"/>
          </ac:spMkLst>
        </pc:spChg>
        <pc:spChg chg="mod">
          <ac:chgData name="Juan Sebastián Giraldo" userId="2f39d921-1805-4fcf-9d80-fe66aeb20d18" providerId="ADAL" clId="{AA2DACD2-8492-4FDF-80C8-DF0025ECC2B8}" dt="2025-05-29T19:36:11.129" v="5090" actId="1076"/>
          <ac:spMkLst>
            <pc:docMk/>
            <pc:sldMk cId="2807532808" sldId="2147483635"/>
            <ac:spMk id="32" creationId="{FE514CA0-DCB1-ACA4-0193-7E56B63BFE5F}"/>
          </ac:spMkLst>
        </pc:spChg>
        <pc:spChg chg="mod">
          <ac:chgData name="Juan Sebastián Giraldo" userId="2f39d921-1805-4fcf-9d80-fe66aeb20d18" providerId="ADAL" clId="{AA2DACD2-8492-4FDF-80C8-DF0025ECC2B8}" dt="2025-05-29T13:01:55.116" v="4316" actId="790"/>
          <ac:spMkLst>
            <pc:docMk/>
            <pc:sldMk cId="2807532808" sldId="2147483635"/>
            <ac:spMk id="38" creationId="{7FD8D414-BBD2-ED28-E92D-857A16EC5B81}"/>
          </ac:spMkLst>
        </pc:spChg>
        <pc:picChg chg="add mod">
          <ac:chgData name="Juan Sebastián Giraldo" userId="2f39d921-1805-4fcf-9d80-fe66aeb20d18" providerId="ADAL" clId="{AA2DACD2-8492-4FDF-80C8-DF0025ECC2B8}" dt="2025-05-29T19:35:27.231" v="5082" actId="1076"/>
          <ac:picMkLst>
            <pc:docMk/>
            <pc:sldMk cId="2807532808" sldId="2147483635"/>
            <ac:picMk id="1026" creationId="{0E629BEA-0B01-FD1B-1CD0-1A73E900FD8C}"/>
          </ac:picMkLst>
        </pc:picChg>
        <pc:picChg chg="add mod">
          <ac:chgData name="Juan Sebastián Giraldo" userId="2f39d921-1805-4fcf-9d80-fe66aeb20d18" providerId="ADAL" clId="{AA2DACD2-8492-4FDF-80C8-DF0025ECC2B8}" dt="2025-05-29T19:35:18.529" v="5078"/>
          <ac:picMkLst>
            <pc:docMk/>
            <pc:sldMk cId="2807532808" sldId="2147483635"/>
            <ac:picMk id="1028" creationId="{239CD125-4442-52BA-B47E-A734A5C1396B}"/>
          </ac:picMkLst>
        </pc:picChg>
        <pc:cxnChg chg="mod">
          <ac:chgData name="Juan Sebastián Giraldo" userId="2f39d921-1805-4fcf-9d80-fe66aeb20d18" providerId="ADAL" clId="{AA2DACD2-8492-4FDF-80C8-DF0025ECC2B8}" dt="2025-05-29T19:35:48.928" v="5085" actId="208"/>
          <ac:cxnSpMkLst>
            <pc:docMk/>
            <pc:sldMk cId="2807532808" sldId="2147483635"/>
            <ac:cxnSpMk id="33" creationId="{042CD1E9-7AFE-31D5-4A0B-25E0E4DF82F0}"/>
          </ac:cxnSpMkLst>
        </pc:cxnChg>
        <pc:cxnChg chg="mod">
          <ac:chgData name="Juan Sebastián Giraldo" userId="2f39d921-1805-4fcf-9d80-fe66aeb20d18" providerId="ADAL" clId="{AA2DACD2-8492-4FDF-80C8-DF0025ECC2B8}" dt="2025-05-29T19:35:50.152" v="5086" actId="208"/>
          <ac:cxnSpMkLst>
            <pc:docMk/>
            <pc:sldMk cId="2807532808" sldId="2147483635"/>
            <ac:cxnSpMk id="34" creationId="{BC0686C9-D122-0A8F-1592-CF74B4717AAC}"/>
          </ac:cxnSpMkLst>
        </pc:cxnChg>
        <pc:cxnChg chg="mod">
          <ac:chgData name="Juan Sebastián Giraldo" userId="2f39d921-1805-4fcf-9d80-fe66aeb20d18" providerId="ADAL" clId="{AA2DACD2-8492-4FDF-80C8-DF0025ECC2B8}" dt="2025-05-29T19:35:52.930" v="5088" actId="208"/>
          <ac:cxnSpMkLst>
            <pc:docMk/>
            <pc:sldMk cId="2807532808" sldId="2147483635"/>
            <ac:cxnSpMk id="36" creationId="{D9BD6E4C-6CC9-0E6D-4C68-2172002000BE}"/>
          </ac:cxnSpMkLst>
        </pc:cxnChg>
        <pc:cxnChg chg="mod">
          <ac:chgData name="Juan Sebastián Giraldo" userId="2f39d921-1805-4fcf-9d80-fe66aeb20d18" providerId="ADAL" clId="{AA2DACD2-8492-4FDF-80C8-DF0025ECC2B8}" dt="2025-05-29T19:35:51.708" v="5087" actId="208"/>
          <ac:cxnSpMkLst>
            <pc:docMk/>
            <pc:sldMk cId="2807532808" sldId="2147483635"/>
            <ac:cxnSpMk id="37" creationId="{D7B7AFA4-1471-CFAD-E8BD-A70089D14194}"/>
          </ac:cxnSpMkLst>
        </pc:cxnChg>
      </pc:sldChg>
      <pc:sldChg chg="delSp new del mod">
        <pc:chgData name="Juan Sebastián Giraldo" userId="2f39d921-1805-4fcf-9d80-fe66aeb20d18" providerId="ADAL" clId="{AA2DACD2-8492-4FDF-80C8-DF0025ECC2B8}" dt="2025-05-27T11:26:28.366" v="1802" actId="47"/>
        <pc:sldMkLst>
          <pc:docMk/>
          <pc:sldMk cId="3041235808" sldId="2147483636"/>
        </pc:sldMkLst>
      </pc:sldChg>
      <pc:sldChg chg="delSp modSp add mod ord">
        <pc:chgData name="Juan Sebastián Giraldo" userId="2f39d921-1805-4fcf-9d80-fe66aeb20d18" providerId="ADAL" clId="{AA2DACD2-8492-4FDF-80C8-DF0025ECC2B8}" dt="2025-05-29T13:01:55.116" v="4316" actId="790"/>
        <pc:sldMkLst>
          <pc:docMk/>
          <pc:sldMk cId="1631264625" sldId="2147483637"/>
        </pc:sldMkLst>
        <pc:spChg chg="mod">
          <ac:chgData name="Juan Sebastián Giraldo" userId="2f39d921-1805-4fcf-9d80-fe66aeb20d18" providerId="ADAL" clId="{AA2DACD2-8492-4FDF-80C8-DF0025ECC2B8}" dt="2025-05-29T13:01:55.116" v="4316" actId="790"/>
          <ac:spMkLst>
            <pc:docMk/>
            <pc:sldMk cId="1631264625" sldId="2147483637"/>
            <ac:spMk id="2" creationId="{F944504B-96D4-BE56-0BF2-D45D7149F130}"/>
          </ac:spMkLst>
        </pc:spChg>
        <pc:spChg chg="mod">
          <ac:chgData name="Juan Sebastián Giraldo" userId="2f39d921-1805-4fcf-9d80-fe66aeb20d18" providerId="ADAL" clId="{AA2DACD2-8492-4FDF-80C8-DF0025ECC2B8}" dt="2025-05-29T13:01:55.116" v="4316" actId="790"/>
          <ac:spMkLst>
            <pc:docMk/>
            <pc:sldMk cId="1631264625" sldId="2147483637"/>
            <ac:spMk id="5" creationId="{6F3C717B-563E-80DB-7BC9-08DD5575347D}"/>
          </ac:spMkLst>
        </pc:spChg>
      </pc:sldChg>
      <pc:sldChg chg="addSp delSp modSp new mod">
        <pc:chgData name="Juan Sebastián Giraldo" userId="2f39d921-1805-4fcf-9d80-fe66aeb20d18" providerId="ADAL" clId="{AA2DACD2-8492-4FDF-80C8-DF0025ECC2B8}" dt="2025-05-29T13:01:55.116" v="4316" actId="790"/>
        <pc:sldMkLst>
          <pc:docMk/>
          <pc:sldMk cId="1968056082" sldId="2147483638"/>
        </pc:sldMkLst>
        <pc:spChg chg="add mod">
          <ac:chgData name="Juan Sebastián Giraldo" userId="2f39d921-1805-4fcf-9d80-fe66aeb20d18" providerId="ADAL" clId="{AA2DACD2-8492-4FDF-80C8-DF0025ECC2B8}" dt="2025-05-29T13:01:55.116" v="4316" actId="790"/>
          <ac:spMkLst>
            <pc:docMk/>
            <pc:sldMk cId="1968056082" sldId="2147483638"/>
            <ac:spMk id="4" creationId="{E92909FD-1885-A311-8F35-3FCA05EB1FA3}"/>
          </ac:spMkLst>
        </pc:spChg>
        <pc:spChg chg="add mod">
          <ac:chgData name="Juan Sebastián Giraldo" userId="2f39d921-1805-4fcf-9d80-fe66aeb20d18" providerId="ADAL" clId="{AA2DACD2-8492-4FDF-80C8-DF0025ECC2B8}" dt="2025-05-29T13:01:55.116" v="4316" actId="790"/>
          <ac:spMkLst>
            <pc:docMk/>
            <pc:sldMk cId="1968056082" sldId="2147483638"/>
            <ac:spMk id="5" creationId="{B9145FA5-28AF-ECFD-CE27-983522E02D27}"/>
          </ac:spMkLst>
        </pc:spChg>
        <pc:spChg chg="add mod">
          <ac:chgData name="Juan Sebastián Giraldo" userId="2f39d921-1805-4fcf-9d80-fe66aeb20d18" providerId="ADAL" clId="{AA2DACD2-8492-4FDF-80C8-DF0025ECC2B8}" dt="2025-05-29T13:01:55.116" v="4316" actId="790"/>
          <ac:spMkLst>
            <pc:docMk/>
            <pc:sldMk cId="1968056082" sldId="2147483638"/>
            <ac:spMk id="6" creationId="{61143EC0-CF25-AAF5-D4F1-A30D2DD8D777}"/>
          </ac:spMkLst>
        </pc:spChg>
        <pc:picChg chg="add mod">
          <ac:chgData name="Juan Sebastián Giraldo" userId="2f39d921-1805-4fcf-9d80-fe66aeb20d18" providerId="ADAL" clId="{AA2DACD2-8492-4FDF-80C8-DF0025ECC2B8}" dt="2025-05-27T11:30:59.831" v="1985" actId="1076"/>
          <ac:picMkLst>
            <pc:docMk/>
            <pc:sldMk cId="1968056082" sldId="2147483638"/>
            <ac:picMk id="4098" creationId="{F097EBAB-4FF9-245E-C7CD-D322F7FD3761}"/>
          </ac:picMkLst>
        </pc:picChg>
      </pc:sldChg>
      <pc:sldChg chg="addSp delSp modSp new mod">
        <pc:chgData name="Juan Sebastián Giraldo" userId="2f39d921-1805-4fcf-9d80-fe66aeb20d18" providerId="ADAL" clId="{AA2DACD2-8492-4FDF-80C8-DF0025ECC2B8}" dt="2025-05-29T13:01:55.116" v="4316" actId="790"/>
        <pc:sldMkLst>
          <pc:docMk/>
          <pc:sldMk cId="3736789785" sldId="2147483639"/>
        </pc:sldMkLst>
        <pc:spChg chg="add mod">
          <ac:chgData name="Juan Sebastián Giraldo" userId="2f39d921-1805-4fcf-9d80-fe66aeb20d18" providerId="ADAL" clId="{AA2DACD2-8492-4FDF-80C8-DF0025ECC2B8}" dt="2025-05-29T13:01:55.116" v="4316" actId="790"/>
          <ac:spMkLst>
            <pc:docMk/>
            <pc:sldMk cId="3736789785" sldId="2147483639"/>
            <ac:spMk id="3" creationId="{AA19C6CA-63AB-73CB-BFF2-511C51F28CB8}"/>
          </ac:spMkLst>
        </pc:spChg>
        <pc:graphicFrameChg chg="modGraphic">
          <ac:chgData name="Juan Sebastián Giraldo" userId="2f39d921-1805-4fcf-9d80-fe66aeb20d18" providerId="ADAL" clId="{AA2DACD2-8492-4FDF-80C8-DF0025ECC2B8}" dt="2025-05-29T13:01:55.116" v="4316" actId="790"/>
          <ac:graphicFrameMkLst>
            <pc:docMk/>
            <pc:sldMk cId="3736789785" sldId="2147483639"/>
            <ac:graphicFrameMk id="4" creationId="{992B76CC-7ACA-8C8E-E901-DF2325DFABFC}"/>
          </ac:graphicFrameMkLst>
        </pc:graphicFrameChg>
      </pc:sldChg>
      <pc:sldChg chg="addSp modSp add mod">
        <pc:chgData name="Juan Sebastián Giraldo" userId="2f39d921-1805-4fcf-9d80-fe66aeb20d18" providerId="ADAL" clId="{AA2DACD2-8492-4FDF-80C8-DF0025ECC2B8}" dt="2025-05-29T13:01:55.116" v="4316" actId="790"/>
        <pc:sldMkLst>
          <pc:docMk/>
          <pc:sldMk cId="3671480399" sldId="2147483640"/>
        </pc:sldMkLst>
        <pc:spChg chg="mod">
          <ac:chgData name="Juan Sebastián Giraldo" userId="2f39d921-1805-4fcf-9d80-fe66aeb20d18" providerId="ADAL" clId="{AA2DACD2-8492-4FDF-80C8-DF0025ECC2B8}" dt="2025-05-29T13:01:55.116" v="4316" actId="790"/>
          <ac:spMkLst>
            <pc:docMk/>
            <pc:sldMk cId="3671480399" sldId="2147483640"/>
            <ac:spMk id="3" creationId="{D59F897A-BBC6-824C-B622-E868071138ED}"/>
          </ac:spMkLst>
        </pc:spChg>
        <pc:graphicFrameChg chg="add mod modGraphic">
          <ac:chgData name="Juan Sebastián Giraldo" userId="2f39d921-1805-4fcf-9d80-fe66aeb20d18" providerId="ADAL" clId="{AA2DACD2-8492-4FDF-80C8-DF0025ECC2B8}" dt="2025-05-29T13:01:55.116" v="4316" actId="790"/>
          <ac:graphicFrameMkLst>
            <pc:docMk/>
            <pc:sldMk cId="3671480399" sldId="2147483640"/>
            <ac:graphicFrameMk id="2" creationId="{0F16EBC7-85F5-97E5-BAE0-E86C34605A92}"/>
          </ac:graphicFrameMkLst>
        </pc:graphicFrameChg>
      </pc:sldChg>
      <pc:sldChg chg="addSp delSp modSp add del mod">
        <pc:chgData name="Juan Sebastián Giraldo" userId="2f39d921-1805-4fcf-9d80-fe66aeb20d18" providerId="ADAL" clId="{AA2DACD2-8492-4FDF-80C8-DF0025ECC2B8}" dt="2025-05-27T14:09:39.593" v="3572" actId="47"/>
        <pc:sldMkLst>
          <pc:docMk/>
          <pc:sldMk cId="1707703737" sldId="2147483641"/>
        </pc:sldMkLst>
      </pc:sldChg>
      <pc:sldChg chg="addSp delSp modSp add mod ord delAnim modNotesTx">
        <pc:chgData name="Juan Sebastián Giraldo" userId="2f39d921-1805-4fcf-9d80-fe66aeb20d18" providerId="ADAL" clId="{AA2DACD2-8492-4FDF-80C8-DF0025ECC2B8}" dt="2025-05-29T15:18:27.709" v="4898"/>
        <pc:sldMkLst>
          <pc:docMk/>
          <pc:sldMk cId="1919684252" sldId="2147483642"/>
        </pc:sldMkLst>
        <pc:spChg chg="add mod">
          <ac:chgData name="Juan Sebastián Giraldo" userId="2f39d921-1805-4fcf-9d80-fe66aeb20d18" providerId="ADAL" clId="{AA2DACD2-8492-4FDF-80C8-DF0025ECC2B8}" dt="2025-05-29T13:01:55.116" v="4316" actId="790"/>
          <ac:spMkLst>
            <pc:docMk/>
            <pc:sldMk cId="1919684252" sldId="2147483642"/>
            <ac:spMk id="2" creationId="{D33675A8-2141-46AD-0370-F3A60A806575}"/>
          </ac:spMkLst>
        </pc:spChg>
        <pc:spChg chg="add mod">
          <ac:chgData name="Juan Sebastián Giraldo" userId="2f39d921-1805-4fcf-9d80-fe66aeb20d18" providerId="ADAL" clId="{AA2DACD2-8492-4FDF-80C8-DF0025ECC2B8}" dt="2025-05-29T13:01:55.116" v="4316" actId="790"/>
          <ac:spMkLst>
            <pc:docMk/>
            <pc:sldMk cId="1919684252" sldId="2147483642"/>
            <ac:spMk id="3" creationId="{2BFFDFAF-5113-E703-C521-E75C220B9EF7}"/>
          </ac:spMkLst>
        </pc:spChg>
        <pc:spChg chg="mod">
          <ac:chgData name="Juan Sebastián Giraldo" userId="2f39d921-1805-4fcf-9d80-fe66aeb20d18" providerId="ADAL" clId="{AA2DACD2-8492-4FDF-80C8-DF0025ECC2B8}" dt="2025-05-29T13:01:55.116" v="4316" actId="790"/>
          <ac:spMkLst>
            <pc:docMk/>
            <pc:sldMk cId="1919684252" sldId="2147483642"/>
            <ac:spMk id="5" creationId="{DC386C4D-89FD-A49A-D756-42DC668DDB9B}"/>
          </ac:spMkLst>
        </pc:spChg>
        <pc:graphicFrameChg chg="add mod modGraphic">
          <ac:chgData name="Juan Sebastián Giraldo" userId="2f39d921-1805-4fcf-9d80-fe66aeb20d18" providerId="ADAL" clId="{AA2DACD2-8492-4FDF-80C8-DF0025ECC2B8}" dt="2025-05-29T13:06:07.482" v="4666" actId="20577"/>
          <ac:graphicFrameMkLst>
            <pc:docMk/>
            <pc:sldMk cId="1919684252" sldId="2147483642"/>
            <ac:graphicFrameMk id="4" creationId="{7E94D3E5-E18A-39DC-5495-97D0F1DD00AA}"/>
          </ac:graphicFrameMkLst>
        </pc:graphicFrameChg>
      </pc:sldChg>
      <pc:sldChg chg="addSp delSp modSp add mod ord">
        <pc:chgData name="Juan Sebastián Giraldo" userId="2f39d921-1805-4fcf-9d80-fe66aeb20d18" providerId="ADAL" clId="{AA2DACD2-8492-4FDF-80C8-DF0025ECC2B8}" dt="2025-05-29T19:42:17.594" v="5143" actId="1076"/>
        <pc:sldMkLst>
          <pc:docMk/>
          <pc:sldMk cId="4191510517" sldId="2147483643"/>
        </pc:sldMkLst>
        <pc:spChg chg="mod">
          <ac:chgData name="Juan Sebastián Giraldo" userId="2f39d921-1805-4fcf-9d80-fe66aeb20d18" providerId="ADAL" clId="{AA2DACD2-8492-4FDF-80C8-DF0025ECC2B8}" dt="2025-05-29T19:36:42.980" v="5093" actId="207"/>
          <ac:spMkLst>
            <pc:docMk/>
            <pc:sldMk cId="4191510517" sldId="2147483643"/>
            <ac:spMk id="2" creationId="{6805FC21-8024-0111-E92B-51E9B314610D}"/>
          </ac:spMkLst>
        </pc:spChg>
        <pc:spChg chg="mod">
          <ac:chgData name="Juan Sebastián Giraldo" userId="2f39d921-1805-4fcf-9d80-fe66aeb20d18" providerId="ADAL" clId="{AA2DACD2-8492-4FDF-80C8-DF0025ECC2B8}" dt="2025-05-29T13:01:55.116" v="4316" actId="790"/>
          <ac:spMkLst>
            <pc:docMk/>
            <pc:sldMk cId="4191510517" sldId="2147483643"/>
            <ac:spMk id="31" creationId="{8931B255-7EAA-3A1F-C6E8-D31A26E430C2}"/>
          </ac:spMkLst>
        </pc:spChg>
        <pc:spChg chg="mod">
          <ac:chgData name="Juan Sebastián Giraldo" userId="2f39d921-1805-4fcf-9d80-fe66aeb20d18" providerId="ADAL" clId="{AA2DACD2-8492-4FDF-80C8-DF0025ECC2B8}" dt="2025-05-29T13:01:55.116" v="4316" actId="790"/>
          <ac:spMkLst>
            <pc:docMk/>
            <pc:sldMk cId="4191510517" sldId="2147483643"/>
            <ac:spMk id="34" creationId="{DC9A5E63-E0B3-41B4-8982-5AE3832C6CA6}"/>
          </ac:spMkLst>
        </pc:spChg>
        <pc:spChg chg="mod">
          <ac:chgData name="Juan Sebastián Giraldo" userId="2f39d921-1805-4fcf-9d80-fe66aeb20d18" providerId="ADAL" clId="{AA2DACD2-8492-4FDF-80C8-DF0025ECC2B8}" dt="2025-05-29T13:01:55.116" v="4316" actId="790"/>
          <ac:spMkLst>
            <pc:docMk/>
            <pc:sldMk cId="4191510517" sldId="2147483643"/>
            <ac:spMk id="36" creationId="{49AF4032-BEB3-B0DE-5FBB-0822095FEEE1}"/>
          </ac:spMkLst>
        </pc:spChg>
        <pc:spChg chg="mod">
          <ac:chgData name="Juan Sebastián Giraldo" userId="2f39d921-1805-4fcf-9d80-fe66aeb20d18" providerId="ADAL" clId="{AA2DACD2-8492-4FDF-80C8-DF0025ECC2B8}" dt="2025-05-28T13:16:22.198" v="3596" actId="207"/>
          <ac:spMkLst>
            <pc:docMk/>
            <pc:sldMk cId="4191510517" sldId="2147483643"/>
            <ac:spMk id="37" creationId="{DCDED9F9-AD88-E9D8-CBEE-294CD8663D4D}"/>
          </ac:spMkLst>
        </pc:spChg>
        <pc:spChg chg="mod">
          <ac:chgData name="Juan Sebastián Giraldo" userId="2f39d921-1805-4fcf-9d80-fe66aeb20d18" providerId="ADAL" clId="{AA2DACD2-8492-4FDF-80C8-DF0025ECC2B8}" dt="2025-05-29T19:33:56.146" v="5064" actId="207"/>
          <ac:spMkLst>
            <pc:docMk/>
            <pc:sldMk cId="4191510517" sldId="2147483643"/>
            <ac:spMk id="39" creationId="{92E098AF-A895-B97D-7CFD-13FC2897D285}"/>
          </ac:spMkLst>
        </pc:spChg>
        <pc:spChg chg="mod">
          <ac:chgData name="Juan Sebastián Giraldo" userId="2f39d921-1805-4fcf-9d80-fe66aeb20d18" providerId="ADAL" clId="{AA2DACD2-8492-4FDF-80C8-DF0025ECC2B8}" dt="2025-05-29T13:01:55.116" v="4316" actId="790"/>
          <ac:spMkLst>
            <pc:docMk/>
            <pc:sldMk cId="4191510517" sldId="2147483643"/>
            <ac:spMk id="43" creationId="{D0E1A5A2-AA70-4412-BE3C-294A8519FDE0}"/>
          </ac:spMkLst>
        </pc:spChg>
        <pc:spChg chg="mod">
          <ac:chgData name="Juan Sebastián Giraldo" userId="2f39d921-1805-4fcf-9d80-fe66aeb20d18" providerId="ADAL" clId="{AA2DACD2-8492-4FDF-80C8-DF0025ECC2B8}" dt="2025-05-29T12:52:21.389" v="3893" actId="207"/>
          <ac:spMkLst>
            <pc:docMk/>
            <pc:sldMk cId="4191510517" sldId="2147483643"/>
            <ac:spMk id="46" creationId="{FA81B8F2-15A2-23FE-9D18-87A6EB17EC7D}"/>
          </ac:spMkLst>
        </pc:spChg>
        <pc:spChg chg="mod">
          <ac:chgData name="Juan Sebastián Giraldo" userId="2f39d921-1805-4fcf-9d80-fe66aeb20d18" providerId="ADAL" clId="{AA2DACD2-8492-4FDF-80C8-DF0025ECC2B8}" dt="2025-05-29T13:01:55.116" v="4316" actId="790"/>
          <ac:spMkLst>
            <pc:docMk/>
            <pc:sldMk cId="4191510517" sldId="2147483643"/>
            <ac:spMk id="47" creationId="{9BED727E-39E4-C7D7-E8AF-B29D5FD320D0}"/>
          </ac:spMkLst>
        </pc:spChg>
        <pc:spChg chg="mod">
          <ac:chgData name="Juan Sebastián Giraldo" userId="2f39d921-1805-4fcf-9d80-fe66aeb20d18" providerId="ADAL" clId="{AA2DACD2-8492-4FDF-80C8-DF0025ECC2B8}" dt="2025-05-29T19:33:33.727" v="5062" actId="20577"/>
          <ac:spMkLst>
            <pc:docMk/>
            <pc:sldMk cId="4191510517" sldId="2147483643"/>
            <ac:spMk id="49" creationId="{40D86D5B-F9D4-03CD-2CCA-B89374BCBE7C}"/>
          </ac:spMkLst>
        </pc:spChg>
        <pc:spChg chg="mod">
          <ac:chgData name="Juan Sebastián Giraldo" userId="2f39d921-1805-4fcf-9d80-fe66aeb20d18" providerId="ADAL" clId="{AA2DACD2-8492-4FDF-80C8-DF0025ECC2B8}" dt="2025-05-29T13:01:55.116" v="4316" actId="790"/>
          <ac:spMkLst>
            <pc:docMk/>
            <pc:sldMk cId="4191510517" sldId="2147483643"/>
            <ac:spMk id="50" creationId="{63B8A5F4-BC95-6A4F-9C0C-7E6FA81196D9}"/>
          </ac:spMkLst>
        </pc:spChg>
        <pc:spChg chg="mod">
          <ac:chgData name="Juan Sebastián Giraldo" userId="2f39d921-1805-4fcf-9d80-fe66aeb20d18" providerId="ADAL" clId="{AA2DACD2-8492-4FDF-80C8-DF0025ECC2B8}" dt="2025-05-29T14:58:34.232" v="4866" actId="20577"/>
          <ac:spMkLst>
            <pc:docMk/>
            <pc:sldMk cId="4191510517" sldId="2147483643"/>
            <ac:spMk id="52" creationId="{4960B784-1B2A-1209-B581-DC536837F927}"/>
          </ac:spMkLst>
        </pc:spChg>
        <pc:spChg chg="mod">
          <ac:chgData name="Juan Sebastián Giraldo" userId="2f39d921-1805-4fcf-9d80-fe66aeb20d18" providerId="ADAL" clId="{AA2DACD2-8492-4FDF-80C8-DF0025ECC2B8}" dt="2025-05-29T12:52:27.093" v="3894" actId="403"/>
          <ac:spMkLst>
            <pc:docMk/>
            <pc:sldMk cId="4191510517" sldId="2147483643"/>
            <ac:spMk id="53" creationId="{9BB0C4F3-9812-29A1-D970-9022D0EB00F1}"/>
          </ac:spMkLst>
        </pc:spChg>
        <pc:spChg chg="mod">
          <ac:chgData name="Juan Sebastián Giraldo" userId="2f39d921-1805-4fcf-9d80-fe66aeb20d18" providerId="ADAL" clId="{AA2DACD2-8492-4FDF-80C8-DF0025ECC2B8}" dt="2025-05-29T13:01:55.116" v="4316" actId="790"/>
          <ac:spMkLst>
            <pc:docMk/>
            <pc:sldMk cId="4191510517" sldId="2147483643"/>
            <ac:spMk id="55" creationId="{4D597038-6218-65A2-9B2E-26E60CB58527}"/>
          </ac:spMkLst>
        </pc:spChg>
        <pc:spChg chg="mod">
          <ac:chgData name="Juan Sebastián Giraldo" userId="2f39d921-1805-4fcf-9d80-fe66aeb20d18" providerId="ADAL" clId="{AA2DACD2-8492-4FDF-80C8-DF0025ECC2B8}" dt="2025-05-29T19:33:50.811" v="5063" actId="207"/>
          <ac:spMkLst>
            <pc:docMk/>
            <pc:sldMk cId="4191510517" sldId="2147483643"/>
            <ac:spMk id="56" creationId="{CD36B4AF-095B-5332-7B7D-66194DDA13C3}"/>
          </ac:spMkLst>
        </pc:spChg>
        <pc:spChg chg="mod">
          <ac:chgData name="Juan Sebastián Giraldo" userId="2f39d921-1805-4fcf-9d80-fe66aeb20d18" providerId="ADAL" clId="{AA2DACD2-8492-4FDF-80C8-DF0025ECC2B8}" dt="2025-05-29T13:01:55.116" v="4316" actId="790"/>
          <ac:spMkLst>
            <pc:docMk/>
            <pc:sldMk cId="4191510517" sldId="2147483643"/>
            <ac:spMk id="57" creationId="{584F4766-703D-193E-5D7B-B20CBC222BDF}"/>
          </ac:spMkLst>
        </pc:spChg>
        <pc:grpChg chg="mod">
          <ac:chgData name="Juan Sebastián Giraldo" userId="2f39d921-1805-4fcf-9d80-fe66aeb20d18" providerId="ADAL" clId="{AA2DACD2-8492-4FDF-80C8-DF0025ECC2B8}" dt="2025-05-29T12:52:34.462" v="3896" actId="1076"/>
          <ac:grpSpMkLst>
            <pc:docMk/>
            <pc:sldMk cId="4191510517" sldId="2147483643"/>
            <ac:grpSpMk id="48" creationId="{9BF4F9EC-E225-0292-4257-98A1DE456EAB}"/>
          </ac:grpSpMkLst>
        </pc:grpChg>
        <pc:picChg chg="add mod">
          <ac:chgData name="Juan Sebastián Giraldo" userId="2f39d921-1805-4fcf-9d80-fe66aeb20d18" providerId="ADAL" clId="{AA2DACD2-8492-4FDF-80C8-DF0025ECC2B8}" dt="2025-05-29T19:34:56.614" v="5073" actId="14100"/>
          <ac:picMkLst>
            <pc:docMk/>
            <pc:sldMk cId="4191510517" sldId="2147483643"/>
            <ac:picMk id="3" creationId="{89000F4D-0DB1-336A-4229-4354F8884392}"/>
          </ac:picMkLst>
        </pc:picChg>
        <pc:picChg chg="add mod">
          <ac:chgData name="Juan Sebastián Giraldo" userId="2f39d921-1805-4fcf-9d80-fe66aeb20d18" providerId="ADAL" clId="{AA2DACD2-8492-4FDF-80C8-DF0025ECC2B8}" dt="2025-05-29T19:36:38.747" v="5092"/>
          <ac:picMkLst>
            <pc:docMk/>
            <pc:sldMk cId="4191510517" sldId="2147483643"/>
            <ac:picMk id="4" creationId="{AA87326C-E119-915C-4AC4-DC634AD83775}"/>
          </ac:picMkLst>
        </pc:picChg>
        <pc:picChg chg="add mod">
          <ac:chgData name="Juan Sebastián Giraldo" userId="2f39d921-1805-4fcf-9d80-fe66aeb20d18" providerId="ADAL" clId="{AA2DACD2-8492-4FDF-80C8-DF0025ECC2B8}" dt="2025-05-29T19:36:38.747" v="5092"/>
          <ac:picMkLst>
            <pc:docMk/>
            <pc:sldMk cId="4191510517" sldId="2147483643"/>
            <ac:picMk id="5" creationId="{AE1D4AD4-1DBB-6158-1CF0-09DF3F35961E}"/>
          </ac:picMkLst>
        </pc:picChg>
        <pc:picChg chg="add mod">
          <ac:chgData name="Juan Sebastián Giraldo" userId="2f39d921-1805-4fcf-9d80-fe66aeb20d18" providerId="ADAL" clId="{AA2DACD2-8492-4FDF-80C8-DF0025ECC2B8}" dt="2025-05-29T19:42:17.594" v="5143" actId="1076"/>
          <ac:picMkLst>
            <pc:docMk/>
            <pc:sldMk cId="4191510517" sldId="2147483643"/>
            <ac:picMk id="7" creationId="{5DAC28CD-B68B-DB96-8EAC-7C9CFE38176E}"/>
          </ac:picMkLst>
        </pc:picChg>
      </pc:sldChg>
      <pc:sldChg chg="addSp modSp add mod">
        <pc:chgData name="Juan Sebastián Giraldo" userId="2f39d921-1805-4fcf-9d80-fe66aeb20d18" providerId="ADAL" clId="{AA2DACD2-8492-4FDF-80C8-DF0025ECC2B8}" dt="2025-05-29T13:01:55.116" v="4316" actId="790"/>
        <pc:sldMkLst>
          <pc:docMk/>
          <pc:sldMk cId="638643397" sldId="2147483644"/>
        </pc:sldMkLst>
        <pc:spChg chg="mod">
          <ac:chgData name="Juan Sebastián Giraldo" userId="2f39d921-1805-4fcf-9d80-fe66aeb20d18" providerId="ADAL" clId="{AA2DACD2-8492-4FDF-80C8-DF0025ECC2B8}" dt="2025-05-29T13:01:55.116" v="4316" actId="790"/>
          <ac:spMkLst>
            <pc:docMk/>
            <pc:sldMk cId="638643397" sldId="2147483644"/>
            <ac:spMk id="2" creationId="{B8E58566-333E-46F9-FF00-CCE93E62FB2B}"/>
          </ac:spMkLst>
        </pc:spChg>
        <pc:spChg chg="mod">
          <ac:chgData name="Juan Sebastián Giraldo" userId="2f39d921-1805-4fcf-9d80-fe66aeb20d18" providerId="ADAL" clId="{AA2DACD2-8492-4FDF-80C8-DF0025ECC2B8}" dt="2025-05-29T13:01:55.116" v="4316" actId="790"/>
          <ac:spMkLst>
            <pc:docMk/>
            <pc:sldMk cId="638643397" sldId="2147483644"/>
            <ac:spMk id="3" creationId="{79DDA56F-ADF0-6257-98E5-29231F89CBFD}"/>
          </ac:spMkLst>
        </pc:spChg>
        <pc:spChg chg="mod">
          <ac:chgData name="Juan Sebastián Giraldo" userId="2f39d921-1805-4fcf-9d80-fe66aeb20d18" providerId="ADAL" clId="{AA2DACD2-8492-4FDF-80C8-DF0025ECC2B8}" dt="2025-05-29T13:01:55.116" v="4316" actId="790"/>
          <ac:spMkLst>
            <pc:docMk/>
            <pc:sldMk cId="638643397" sldId="2147483644"/>
            <ac:spMk id="38" creationId="{4547086C-F501-02B3-B275-BB06E09611AC}"/>
          </ac:spMkLst>
        </pc:spChg>
        <pc:picChg chg="add mod">
          <ac:chgData name="Juan Sebastián Giraldo" userId="2f39d921-1805-4fcf-9d80-fe66aeb20d18" providerId="ADAL" clId="{AA2DACD2-8492-4FDF-80C8-DF0025ECC2B8}" dt="2025-05-27T14:09:48.733" v="3574"/>
          <ac:picMkLst>
            <pc:docMk/>
            <pc:sldMk cId="638643397" sldId="2147483644"/>
            <ac:picMk id="5" creationId="{D466FA58-FB40-AAE8-DADF-E8A8F763C098}"/>
          </ac:picMkLst>
        </pc:picChg>
      </pc:sldChg>
      <pc:sldChg chg="addSp delSp modSp mod">
        <pc:chgData name="Juan Sebastián Giraldo" userId="2f39d921-1805-4fcf-9d80-fe66aeb20d18" providerId="ADAL" clId="{AA2DACD2-8492-4FDF-80C8-DF0025ECC2B8}" dt="2025-05-29T15:09:43.268" v="4867" actId="13926"/>
        <pc:sldMkLst>
          <pc:docMk/>
          <pc:sldMk cId="3284153360" sldId="2147483645"/>
        </pc:sldMkLst>
        <pc:spChg chg="mod">
          <ac:chgData name="Juan Sebastián Giraldo" userId="2f39d921-1805-4fcf-9d80-fe66aeb20d18" providerId="ADAL" clId="{AA2DACD2-8492-4FDF-80C8-DF0025ECC2B8}" dt="2025-05-29T13:01:55.116" v="4316" actId="790"/>
          <ac:spMkLst>
            <pc:docMk/>
            <pc:sldMk cId="3284153360" sldId="2147483645"/>
            <ac:spMk id="2" creationId="{F66BF68C-4DA2-5D2A-8E9B-261B2B7E4B41}"/>
          </ac:spMkLst>
        </pc:spChg>
        <pc:spChg chg="mod">
          <ac:chgData name="Juan Sebastián Giraldo" userId="2f39d921-1805-4fcf-9d80-fe66aeb20d18" providerId="ADAL" clId="{AA2DACD2-8492-4FDF-80C8-DF0025ECC2B8}" dt="2025-05-29T13:01:55.116" v="4316" actId="790"/>
          <ac:spMkLst>
            <pc:docMk/>
            <pc:sldMk cId="3284153360" sldId="2147483645"/>
            <ac:spMk id="38" creationId="{6A771F03-7FCF-68FB-952E-156B9C31CB99}"/>
          </ac:spMkLst>
        </pc:spChg>
        <pc:graphicFrameChg chg="add mod modGraphic">
          <ac:chgData name="Juan Sebastián Giraldo" userId="2f39d921-1805-4fcf-9d80-fe66aeb20d18" providerId="ADAL" clId="{AA2DACD2-8492-4FDF-80C8-DF0025ECC2B8}" dt="2025-05-29T15:09:43.268" v="4867" actId="13926"/>
          <ac:graphicFrameMkLst>
            <pc:docMk/>
            <pc:sldMk cId="3284153360" sldId="2147483645"/>
            <ac:graphicFrameMk id="4" creationId="{F9809889-8E29-5419-2FC5-424E52CDF15A}"/>
          </ac:graphicFrameMkLst>
        </pc:graphicFrameChg>
      </pc:sldChg>
      <pc:sldChg chg="modSp mod">
        <pc:chgData name="Juan Sebastián Giraldo" userId="2f39d921-1805-4fcf-9d80-fe66aeb20d18" providerId="ADAL" clId="{AA2DACD2-8492-4FDF-80C8-DF0025ECC2B8}" dt="2025-05-29T19:41:27.442" v="5134"/>
        <pc:sldMkLst>
          <pc:docMk/>
          <pc:sldMk cId="367700674" sldId="2147483646"/>
        </pc:sldMkLst>
        <pc:spChg chg="mod">
          <ac:chgData name="Juan Sebastián Giraldo" userId="2f39d921-1805-4fcf-9d80-fe66aeb20d18" providerId="ADAL" clId="{AA2DACD2-8492-4FDF-80C8-DF0025ECC2B8}" dt="2025-05-29T19:36:47.871" v="5094" actId="207"/>
          <ac:spMkLst>
            <pc:docMk/>
            <pc:sldMk cId="367700674" sldId="2147483646"/>
            <ac:spMk id="2" creationId="{F46F011D-A1F6-7421-7D87-C8354179A3DF}"/>
          </ac:spMkLst>
        </pc:spChg>
        <pc:spChg chg="mod">
          <ac:chgData name="Juan Sebastián Giraldo" userId="2f39d921-1805-4fcf-9d80-fe66aeb20d18" providerId="ADAL" clId="{AA2DACD2-8492-4FDF-80C8-DF0025ECC2B8}" dt="2025-05-29T13:01:55.116" v="4316" actId="790"/>
          <ac:spMkLst>
            <pc:docMk/>
            <pc:sldMk cId="367700674" sldId="2147483646"/>
            <ac:spMk id="7" creationId="{E912AAB6-84CC-1214-2779-FB8E8896E304}"/>
          </ac:spMkLst>
        </pc:spChg>
        <pc:spChg chg="mod">
          <ac:chgData name="Juan Sebastián Giraldo" userId="2f39d921-1805-4fcf-9d80-fe66aeb20d18" providerId="ADAL" clId="{AA2DACD2-8492-4FDF-80C8-DF0025ECC2B8}" dt="2025-05-29T13:01:55.116" v="4316" actId="790"/>
          <ac:spMkLst>
            <pc:docMk/>
            <pc:sldMk cId="367700674" sldId="2147483646"/>
            <ac:spMk id="8" creationId="{35D961B7-B56A-8718-1C4E-C678B300DCD2}"/>
          </ac:spMkLst>
        </pc:spChg>
        <pc:graphicFrameChg chg="modGraphic">
          <ac:chgData name="Juan Sebastián Giraldo" userId="2f39d921-1805-4fcf-9d80-fe66aeb20d18" providerId="ADAL" clId="{AA2DACD2-8492-4FDF-80C8-DF0025ECC2B8}" dt="2025-05-29T14:56:33.903" v="4860" actId="313"/>
          <ac:graphicFrameMkLst>
            <pc:docMk/>
            <pc:sldMk cId="367700674" sldId="2147483646"/>
            <ac:graphicFrameMk id="4" creationId="{6E24F98E-06C1-891E-3307-1BA577C179DC}"/>
          </ac:graphicFrameMkLst>
        </pc:graphicFrameChg>
        <pc:graphicFrameChg chg="modGraphic">
          <ac:chgData name="Juan Sebastián Giraldo" userId="2f39d921-1805-4fcf-9d80-fe66aeb20d18" providerId="ADAL" clId="{AA2DACD2-8492-4FDF-80C8-DF0025ECC2B8}" dt="2025-05-29T14:56:16.780" v="4856" actId="20577"/>
          <ac:graphicFrameMkLst>
            <pc:docMk/>
            <pc:sldMk cId="367700674" sldId="2147483646"/>
            <ac:graphicFrameMk id="5" creationId="{EB9D5944-0F0D-C0E6-C7A8-A217CF3E0DD3}"/>
          </ac:graphicFrameMkLst>
        </pc:graphicFrameChg>
        <pc:picChg chg="mod">
          <ac:chgData name="Juan Sebastián Giraldo" userId="2f39d921-1805-4fcf-9d80-fe66aeb20d18" providerId="ADAL" clId="{AA2DACD2-8492-4FDF-80C8-DF0025ECC2B8}" dt="2025-05-29T19:41:27.442" v="5134"/>
          <ac:picMkLst>
            <pc:docMk/>
            <pc:sldMk cId="367700674" sldId="2147483646"/>
            <ac:picMk id="1026" creationId="{9EA1C7CE-729F-EBE8-A3D7-BFDB026B0D6E}"/>
          </ac:picMkLst>
        </pc:picChg>
      </pc:sldChg>
      <pc:sldChg chg="modSp mod ord">
        <pc:chgData name="Juan Sebastián Giraldo" userId="2f39d921-1805-4fcf-9d80-fe66aeb20d18" providerId="ADAL" clId="{AA2DACD2-8492-4FDF-80C8-DF0025ECC2B8}" dt="2025-05-29T15:21:07.382" v="4903"/>
        <pc:sldMkLst>
          <pc:docMk/>
          <pc:sldMk cId="1495500634" sldId="2147483647"/>
        </pc:sldMkLst>
        <pc:spChg chg="mod">
          <ac:chgData name="Juan Sebastián Giraldo" userId="2f39d921-1805-4fcf-9d80-fe66aeb20d18" providerId="ADAL" clId="{AA2DACD2-8492-4FDF-80C8-DF0025ECC2B8}" dt="2025-05-29T13:01:55.116" v="4316" actId="790"/>
          <ac:spMkLst>
            <pc:docMk/>
            <pc:sldMk cId="1495500634" sldId="2147483647"/>
            <ac:spMk id="3" creationId="{020EE265-71C0-06E8-13B6-CB3BF6242DD0}"/>
          </ac:spMkLst>
        </pc:spChg>
      </pc:sldChg>
    </pc:docChg>
  </pc:docChgLst>
  <pc:docChgLst>
    <pc:chgData name="Juan Sebastián Giraldo" userId="S::juan.giraldo@stratesys-ts.com::2f39d921-1805-4fcf-9d80-fe66aeb20d18" providerId="AD" clId="Web-{BC002749-9C04-56E5-F784-11B35CB872A1}"/>
    <pc:docChg chg="addSld modSld">
      <pc:chgData name="Juan Sebastián Giraldo" userId="S::juan.giraldo@stratesys-ts.com::2f39d921-1805-4fcf-9d80-fe66aeb20d18" providerId="AD" clId="Web-{BC002749-9C04-56E5-F784-11B35CB872A1}" dt="2025-06-24T10:20:35.137" v="11" actId="20577"/>
      <pc:docMkLst>
        <pc:docMk/>
      </pc:docMkLst>
      <pc:sldChg chg="modSp">
        <pc:chgData name="Juan Sebastián Giraldo" userId="S::juan.giraldo@stratesys-ts.com::2f39d921-1805-4fcf-9d80-fe66aeb20d18" providerId="AD" clId="Web-{BC002749-9C04-56E5-F784-11B35CB872A1}" dt="2025-06-24T10:10:05.833" v="2" actId="20577"/>
        <pc:sldMkLst>
          <pc:docMk/>
          <pc:sldMk cId="3265842886" sldId="262"/>
        </pc:sldMkLst>
        <pc:spChg chg="mod">
          <ac:chgData name="Juan Sebastián Giraldo" userId="S::juan.giraldo@stratesys-ts.com::2f39d921-1805-4fcf-9d80-fe66aeb20d18" providerId="AD" clId="Web-{BC002749-9C04-56E5-F784-11B35CB872A1}" dt="2025-06-24T10:10:05.833" v="2" actId="20577"/>
          <ac:spMkLst>
            <pc:docMk/>
            <pc:sldMk cId="3265842886" sldId="262"/>
            <ac:spMk id="25" creationId="{6C1016B0-AB31-0EC2-B24D-3049F0C86CCC}"/>
          </ac:spMkLst>
        </pc:spChg>
      </pc:sldChg>
      <pc:sldChg chg="addSp modSp new">
        <pc:chgData name="Juan Sebastián Giraldo" userId="S::juan.giraldo@stratesys-ts.com::2f39d921-1805-4fcf-9d80-fe66aeb20d18" providerId="AD" clId="Web-{BC002749-9C04-56E5-F784-11B35CB872A1}" dt="2025-06-24T10:20:35.137" v="11" actId="20577"/>
        <pc:sldMkLst>
          <pc:docMk/>
          <pc:sldMk cId="3193837987" sldId="283"/>
        </pc:sldMkLst>
        <pc:spChg chg="add mod">
          <ac:chgData name="Juan Sebastián Giraldo" userId="S::juan.giraldo@stratesys-ts.com::2f39d921-1805-4fcf-9d80-fe66aeb20d18" providerId="AD" clId="Web-{BC002749-9C04-56E5-F784-11B35CB872A1}" dt="2025-06-24T10:20:35.137" v="11" actId="20577"/>
          <ac:spMkLst>
            <pc:docMk/>
            <pc:sldMk cId="3193837987" sldId="283"/>
            <ac:spMk id="3" creationId="{A2BF1F82-BA85-A854-CE8F-211F605EF834}"/>
          </ac:spMkLst>
        </pc:spChg>
        <pc:picChg chg="add">
          <ac:chgData name="Juan Sebastián Giraldo" userId="S::juan.giraldo@stratesys-ts.com::2f39d921-1805-4fcf-9d80-fe66aeb20d18" providerId="AD" clId="Web-{BC002749-9C04-56E5-F784-11B35CB872A1}" dt="2025-06-24T10:16:09.330" v="5"/>
          <ac:picMkLst>
            <pc:docMk/>
            <pc:sldMk cId="3193837987" sldId="283"/>
            <ac:picMk id="5" creationId="{7751D934-9B2E-D739-BD9F-F5EC488A5F83}"/>
          </ac:picMkLst>
        </pc:picChg>
        <pc:picChg chg="add">
          <ac:chgData name="Juan Sebastián Giraldo" userId="S::juan.giraldo@stratesys-ts.com::2f39d921-1805-4fcf-9d80-fe66aeb20d18" providerId="AD" clId="Web-{BC002749-9C04-56E5-F784-11B35CB872A1}" dt="2025-06-24T10:16:09.518" v="6"/>
          <ac:picMkLst>
            <pc:docMk/>
            <pc:sldMk cId="3193837987" sldId="283"/>
            <ac:picMk id="7" creationId="{CE219721-FA5B-55A3-8DC4-C5987BBB5E37}"/>
          </ac:picMkLst>
        </pc:picChg>
      </pc:sldChg>
    </pc:docChg>
  </pc:docChgLst>
  <pc:docChgLst>
    <pc:chgData name="Juan Sebastián Giraldo" userId="2f39d921-1805-4fcf-9d80-fe66aeb20d18" providerId="ADAL" clId="{78EFDDAD-E15C-480F-B693-4CBA2437E723}"/>
    <pc:docChg chg="undo custSel addSld delSld modSld sldOrd">
      <pc:chgData name="Juan Sebastián Giraldo" userId="2f39d921-1805-4fcf-9d80-fe66aeb20d18" providerId="ADAL" clId="{78EFDDAD-E15C-480F-B693-4CBA2437E723}" dt="2025-06-27T08:31:55.431" v="307"/>
      <pc:docMkLst>
        <pc:docMk/>
      </pc:docMkLst>
      <pc:sldChg chg="addSp delSp mod">
        <pc:chgData name="Juan Sebastián Giraldo" userId="2f39d921-1805-4fcf-9d80-fe66aeb20d18" providerId="ADAL" clId="{78EFDDAD-E15C-480F-B693-4CBA2437E723}" dt="2025-06-27T08:06:47.353" v="78" actId="21"/>
        <pc:sldMkLst>
          <pc:docMk/>
          <pc:sldMk cId="3265842886" sldId="262"/>
        </pc:sldMkLst>
        <pc:spChg chg="add del">
          <ac:chgData name="Juan Sebastián Giraldo" userId="2f39d921-1805-4fcf-9d80-fe66aeb20d18" providerId="ADAL" clId="{78EFDDAD-E15C-480F-B693-4CBA2437E723}" dt="2025-06-27T08:06:47.353" v="78" actId="21"/>
          <ac:spMkLst>
            <pc:docMk/>
            <pc:sldMk cId="3265842886" sldId="262"/>
            <ac:spMk id="2" creationId="{C6F7C54C-B33D-DC12-BDC3-64FF2FB2522B}"/>
          </ac:spMkLst>
        </pc:spChg>
      </pc:sldChg>
      <pc:sldChg chg="modSp mod">
        <pc:chgData name="Juan Sebastián Giraldo" userId="2f39d921-1805-4fcf-9d80-fe66aeb20d18" providerId="ADAL" clId="{78EFDDAD-E15C-480F-B693-4CBA2437E723}" dt="2025-06-27T08:09:56.421" v="143" actId="108"/>
        <pc:sldMkLst>
          <pc:docMk/>
          <pc:sldMk cId="3253122166" sldId="264"/>
        </pc:sldMkLst>
        <pc:spChg chg="mod">
          <ac:chgData name="Juan Sebastián Giraldo" userId="2f39d921-1805-4fcf-9d80-fe66aeb20d18" providerId="ADAL" clId="{78EFDDAD-E15C-480F-B693-4CBA2437E723}" dt="2025-06-27T08:09:47.584" v="140" actId="108"/>
          <ac:spMkLst>
            <pc:docMk/>
            <pc:sldMk cId="3253122166" sldId="264"/>
            <ac:spMk id="13" creationId="{4B1F8E9B-FFC0-210A-7EE5-890DE87D2D24}"/>
          </ac:spMkLst>
        </pc:spChg>
        <pc:spChg chg="mod">
          <ac:chgData name="Juan Sebastián Giraldo" userId="2f39d921-1805-4fcf-9d80-fe66aeb20d18" providerId="ADAL" clId="{78EFDDAD-E15C-480F-B693-4CBA2437E723}" dt="2025-06-27T08:09:56.421" v="143" actId="108"/>
          <ac:spMkLst>
            <pc:docMk/>
            <pc:sldMk cId="3253122166" sldId="264"/>
            <ac:spMk id="14" creationId="{E520801A-393D-053E-ADB1-A3958EB8C0D9}"/>
          </ac:spMkLst>
        </pc:spChg>
        <pc:spChg chg="mod">
          <ac:chgData name="Juan Sebastián Giraldo" userId="2f39d921-1805-4fcf-9d80-fe66aeb20d18" providerId="ADAL" clId="{78EFDDAD-E15C-480F-B693-4CBA2437E723}" dt="2025-06-27T08:09:41.258" v="139" actId="108"/>
          <ac:spMkLst>
            <pc:docMk/>
            <pc:sldMk cId="3253122166" sldId="264"/>
            <ac:spMk id="16" creationId="{6C08F157-7C4D-DBDE-55D5-1EA899A2F222}"/>
          </ac:spMkLst>
        </pc:spChg>
        <pc:spChg chg="mod">
          <ac:chgData name="Juan Sebastián Giraldo" userId="2f39d921-1805-4fcf-9d80-fe66aeb20d18" providerId="ADAL" clId="{78EFDDAD-E15C-480F-B693-4CBA2437E723}" dt="2025-06-27T08:09:54.968" v="142" actId="108"/>
          <ac:spMkLst>
            <pc:docMk/>
            <pc:sldMk cId="3253122166" sldId="264"/>
            <ac:spMk id="17" creationId="{035928A5-44AA-D558-7CC1-B10F91523A1B}"/>
          </ac:spMkLst>
        </pc:spChg>
        <pc:spChg chg="mod">
          <ac:chgData name="Juan Sebastián Giraldo" userId="2f39d921-1805-4fcf-9d80-fe66aeb20d18" providerId="ADAL" clId="{78EFDDAD-E15C-480F-B693-4CBA2437E723}" dt="2025-06-27T08:09:35.136" v="138" actId="108"/>
          <ac:spMkLst>
            <pc:docMk/>
            <pc:sldMk cId="3253122166" sldId="264"/>
            <ac:spMk id="44" creationId="{DD475950-BCC0-C87A-785D-32CA46D2B968}"/>
          </ac:spMkLst>
        </pc:spChg>
        <pc:spChg chg="mod">
          <ac:chgData name="Juan Sebastián Giraldo" userId="2f39d921-1805-4fcf-9d80-fe66aeb20d18" providerId="ADAL" clId="{78EFDDAD-E15C-480F-B693-4CBA2437E723}" dt="2025-06-27T08:09:53.790" v="141" actId="108"/>
          <ac:spMkLst>
            <pc:docMk/>
            <pc:sldMk cId="3253122166" sldId="264"/>
            <ac:spMk id="45" creationId="{094BD288-5FC4-E877-51E4-0FEAC9C500EE}"/>
          </ac:spMkLst>
        </pc:spChg>
      </pc:sldChg>
      <pc:sldChg chg="delSp mod">
        <pc:chgData name="Juan Sebastián Giraldo" userId="2f39d921-1805-4fcf-9d80-fe66aeb20d18" providerId="ADAL" clId="{78EFDDAD-E15C-480F-B693-4CBA2437E723}" dt="2025-06-27T08:24:56.058" v="242" actId="478"/>
        <pc:sldMkLst>
          <pc:docMk/>
          <pc:sldMk cId="3322648466" sldId="267"/>
        </pc:sldMkLst>
        <pc:picChg chg="del">
          <ac:chgData name="Juan Sebastián Giraldo" userId="2f39d921-1805-4fcf-9d80-fe66aeb20d18" providerId="ADAL" clId="{78EFDDAD-E15C-480F-B693-4CBA2437E723}" dt="2025-06-27T08:24:56.058" v="242" actId="478"/>
          <ac:picMkLst>
            <pc:docMk/>
            <pc:sldMk cId="3322648466" sldId="267"/>
            <ac:picMk id="4" creationId="{2EC1B346-7D03-83DF-5ACB-AC7C0FDD5684}"/>
          </ac:picMkLst>
        </pc:picChg>
      </pc:sldChg>
      <pc:sldChg chg="addSp modSp mod">
        <pc:chgData name="Juan Sebastián Giraldo" userId="2f39d921-1805-4fcf-9d80-fe66aeb20d18" providerId="ADAL" clId="{78EFDDAD-E15C-480F-B693-4CBA2437E723}" dt="2025-06-27T08:14:06.867" v="178"/>
        <pc:sldMkLst>
          <pc:docMk/>
          <pc:sldMk cId="2451584893" sldId="273"/>
        </pc:sldMkLst>
        <pc:spChg chg="mod">
          <ac:chgData name="Juan Sebastián Giraldo" userId="2f39d921-1805-4fcf-9d80-fe66aeb20d18" providerId="ADAL" clId="{78EFDDAD-E15C-480F-B693-4CBA2437E723}" dt="2025-06-27T08:12:43.606" v="152" actId="207"/>
          <ac:spMkLst>
            <pc:docMk/>
            <pc:sldMk cId="2451584893" sldId="273"/>
            <ac:spMk id="21" creationId="{843F4BAF-AFDF-2D20-1F6D-83A5B08B7ABD}"/>
          </ac:spMkLst>
        </pc:spChg>
        <pc:spChg chg="mod">
          <ac:chgData name="Juan Sebastián Giraldo" userId="2f39d921-1805-4fcf-9d80-fe66aeb20d18" providerId="ADAL" clId="{78EFDDAD-E15C-480F-B693-4CBA2437E723}" dt="2025-06-27T08:14:06.867" v="178"/>
          <ac:spMkLst>
            <pc:docMk/>
            <pc:sldMk cId="2451584893" sldId="273"/>
            <ac:spMk id="43" creationId="{A574FCD4-3585-7F9C-4586-C63599D2DA18}"/>
          </ac:spMkLst>
        </pc:spChg>
        <pc:picChg chg="add mod">
          <ac:chgData name="Juan Sebastián Giraldo" userId="2f39d921-1805-4fcf-9d80-fe66aeb20d18" providerId="ADAL" clId="{78EFDDAD-E15C-480F-B693-4CBA2437E723}" dt="2025-06-27T08:12:37.801" v="151" actId="1076"/>
          <ac:picMkLst>
            <pc:docMk/>
            <pc:sldMk cId="2451584893" sldId="273"/>
            <ac:picMk id="49" creationId="{74AEE0F7-C264-A3C4-8D51-4CC019DDA1BE}"/>
          </ac:picMkLst>
        </pc:picChg>
      </pc:sldChg>
      <pc:sldChg chg="add del mod modAnim modShow">
        <pc:chgData name="Juan Sebastián Giraldo" userId="2f39d921-1805-4fcf-9d80-fe66aeb20d18" providerId="ADAL" clId="{78EFDDAD-E15C-480F-B693-4CBA2437E723}" dt="2025-06-27T08:24:16.871" v="241" actId="729"/>
        <pc:sldMkLst>
          <pc:docMk/>
          <pc:sldMk cId="3737034632" sldId="276"/>
        </pc:sldMkLst>
      </pc:sldChg>
      <pc:sldChg chg="modSp mod">
        <pc:chgData name="Juan Sebastián Giraldo" userId="2f39d921-1805-4fcf-9d80-fe66aeb20d18" providerId="ADAL" clId="{78EFDDAD-E15C-480F-B693-4CBA2437E723}" dt="2025-06-27T08:27:26.174" v="299" actId="6549"/>
        <pc:sldMkLst>
          <pc:docMk/>
          <pc:sldMk cId="3920024040" sldId="277"/>
        </pc:sldMkLst>
        <pc:spChg chg="mod">
          <ac:chgData name="Juan Sebastián Giraldo" userId="2f39d921-1805-4fcf-9d80-fe66aeb20d18" providerId="ADAL" clId="{78EFDDAD-E15C-480F-B693-4CBA2437E723}" dt="2025-06-27T08:27:26.174" v="299" actId="6549"/>
          <ac:spMkLst>
            <pc:docMk/>
            <pc:sldMk cId="3920024040" sldId="277"/>
            <ac:spMk id="25" creationId="{C7C08D53-4B0E-23D2-A144-2A12AE398E88}"/>
          </ac:spMkLst>
        </pc:spChg>
      </pc:sldChg>
      <pc:sldChg chg="addSp delSp modSp mod">
        <pc:chgData name="Juan Sebastián Giraldo" userId="2f39d921-1805-4fcf-9d80-fe66aeb20d18" providerId="ADAL" clId="{78EFDDAD-E15C-480F-B693-4CBA2437E723}" dt="2025-06-27T08:19:29.318" v="202" actId="1076"/>
        <pc:sldMkLst>
          <pc:docMk/>
          <pc:sldMk cId="3164133037" sldId="278"/>
        </pc:sldMkLst>
        <pc:grpChg chg="del">
          <ac:chgData name="Juan Sebastián Giraldo" userId="2f39d921-1805-4fcf-9d80-fe66aeb20d18" providerId="ADAL" clId="{78EFDDAD-E15C-480F-B693-4CBA2437E723}" dt="2025-06-27T08:18:46.651" v="186" actId="478"/>
          <ac:grpSpMkLst>
            <pc:docMk/>
            <pc:sldMk cId="3164133037" sldId="278"/>
            <ac:grpSpMk id="13" creationId="{B3692275-B079-DD42-D750-146C77AE4710}"/>
          </ac:grpSpMkLst>
        </pc:grpChg>
        <pc:grpChg chg="del">
          <ac:chgData name="Juan Sebastián Giraldo" userId="2f39d921-1805-4fcf-9d80-fe66aeb20d18" providerId="ADAL" clId="{78EFDDAD-E15C-480F-B693-4CBA2437E723}" dt="2025-06-27T08:18:57.152" v="191" actId="478"/>
          <ac:grpSpMkLst>
            <pc:docMk/>
            <pc:sldMk cId="3164133037" sldId="278"/>
            <ac:grpSpMk id="35" creationId="{2161F8AA-07D2-8E41-31BC-667DF712B1E3}"/>
          </ac:grpSpMkLst>
        </pc:grpChg>
        <pc:picChg chg="add mod">
          <ac:chgData name="Juan Sebastián Giraldo" userId="2f39d921-1805-4fcf-9d80-fe66aeb20d18" providerId="ADAL" clId="{78EFDDAD-E15C-480F-B693-4CBA2437E723}" dt="2025-06-27T08:18:48.182" v="187" actId="1076"/>
          <ac:picMkLst>
            <pc:docMk/>
            <pc:sldMk cId="3164133037" sldId="278"/>
            <ac:picMk id="16" creationId="{CEAA0295-1BF1-9C7F-1506-5144B838C52A}"/>
          </ac:picMkLst>
        </pc:picChg>
        <pc:picChg chg="add mod">
          <ac:chgData name="Juan Sebastián Giraldo" userId="2f39d921-1805-4fcf-9d80-fe66aeb20d18" providerId="ADAL" clId="{78EFDDAD-E15C-480F-B693-4CBA2437E723}" dt="2025-06-27T08:19:12.323" v="194"/>
          <ac:picMkLst>
            <pc:docMk/>
            <pc:sldMk cId="3164133037" sldId="278"/>
            <ac:picMk id="32" creationId="{4E4EF7B8-3CE0-EA0C-768F-4802F9D9F742}"/>
          </ac:picMkLst>
        </pc:picChg>
        <pc:picChg chg="add mod">
          <ac:chgData name="Juan Sebastián Giraldo" userId="2f39d921-1805-4fcf-9d80-fe66aeb20d18" providerId="ADAL" clId="{78EFDDAD-E15C-480F-B693-4CBA2437E723}" dt="2025-06-27T08:18:58.853" v="192" actId="1076"/>
          <ac:picMkLst>
            <pc:docMk/>
            <pc:sldMk cId="3164133037" sldId="278"/>
            <ac:picMk id="33" creationId="{1AD2F2C6-CBB0-3DD3-037F-77E45CF47965}"/>
          </ac:picMkLst>
        </pc:picChg>
        <pc:picChg chg="add mod">
          <ac:chgData name="Juan Sebastián Giraldo" userId="2f39d921-1805-4fcf-9d80-fe66aeb20d18" providerId="ADAL" clId="{78EFDDAD-E15C-480F-B693-4CBA2437E723}" dt="2025-06-27T08:19:24.953" v="200" actId="1076"/>
          <ac:picMkLst>
            <pc:docMk/>
            <pc:sldMk cId="3164133037" sldId="278"/>
            <ac:picMk id="36" creationId="{AF3FEDCF-0855-7EED-82C3-D822CED22866}"/>
          </ac:picMkLst>
        </pc:picChg>
        <pc:picChg chg="del">
          <ac:chgData name="Juan Sebastián Giraldo" userId="2f39d921-1805-4fcf-9d80-fe66aeb20d18" providerId="ADAL" clId="{78EFDDAD-E15C-480F-B693-4CBA2437E723}" dt="2025-06-27T08:18:55.904" v="190" actId="478"/>
          <ac:picMkLst>
            <pc:docMk/>
            <pc:sldMk cId="3164133037" sldId="278"/>
            <ac:picMk id="37" creationId="{1C2BF40E-92E2-257B-41FF-76FC5649D2E0}"/>
          </ac:picMkLst>
        </pc:picChg>
        <pc:picChg chg="del">
          <ac:chgData name="Juan Sebastián Giraldo" userId="2f39d921-1805-4fcf-9d80-fe66aeb20d18" providerId="ADAL" clId="{78EFDDAD-E15C-480F-B693-4CBA2437E723}" dt="2025-06-27T08:18:43.196" v="184" actId="478"/>
          <ac:picMkLst>
            <pc:docMk/>
            <pc:sldMk cId="3164133037" sldId="278"/>
            <ac:picMk id="38" creationId="{058690EF-8391-7761-AF89-91C203A37738}"/>
          </ac:picMkLst>
        </pc:picChg>
        <pc:picChg chg="del topLvl">
          <ac:chgData name="Juan Sebastián Giraldo" userId="2f39d921-1805-4fcf-9d80-fe66aeb20d18" providerId="ADAL" clId="{78EFDDAD-E15C-480F-B693-4CBA2437E723}" dt="2025-06-27T08:18:46.651" v="186" actId="478"/>
          <ac:picMkLst>
            <pc:docMk/>
            <pc:sldMk cId="3164133037" sldId="278"/>
            <ac:picMk id="40" creationId="{C358E0BB-9F2D-7F82-F54D-6553BC16EA94}"/>
          </ac:picMkLst>
        </pc:picChg>
        <pc:picChg chg="del topLvl">
          <ac:chgData name="Juan Sebastián Giraldo" userId="2f39d921-1805-4fcf-9d80-fe66aeb20d18" providerId="ADAL" clId="{78EFDDAD-E15C-480F-B693-4CBA2437E723}" dt="2025-06-27T08:18:57.152" v="191" actId="478"/>
          <ac:picMkLst>
            <pc:docMk/>
            <pc:sldMk cId="3164133037" sldId="278"/>
            <ac:picMk id="41" creationId="{20D6A995-5823-D65D-F293-832C0EAB0EDA}"/>
          </ac:picMkLst>
        </pc:picChg>
        <pc:picChg chg="del topLvl">
          <ac:chgData name="Juan Sebastián Giraldo" userId="2f39d921-1805-4fcf-9d80-fe66aeb20d18" providerId="ADAL" clId="{78EFDDAD-E15C-480F-B693-4CBA2437E723}" dt="2025-06-27T08:19:18.337" v="196" actId="478"/>
          <ac:picMkLst>
            <pc:docMk/>
            <pc:sldMk cId="3164133037" sldId="278"/>
            <ac:picMk id="42" creationId="{30E90988-7288-53B4-14AD-994BC73A866C}"/>
          </ac:picMkLst>
        </pc:picChg>
        <pc:picChg chg="del topLvl">
          <ac:chgData name="Juan Sebastián Giraldo" userId="2f39d921-1805-4fcf-9d80-fe66aeb20d18" providerId="ADAL" clId="{78EFDDAD-E15C-480F-B693-4CBA2437E723}" dt="2025-06-27T08:19:17.178" v="195" actId="478"/>
          <ac:picMkLst>
            <pc:docMk/>
            <pc:sldMk cId="3164133037" sldId="278"/>
            <ac:picMk id="43" creationId="{53E65D23-A1E8-C1D1-B4E0-1BEE381565EF}"/>
          </ac:picMkLst>
        </pc:picChg>
        <pc:picChg chg="add mod">
          <ac:chgData name="Juan Sebastián Giraldo" userId="2f39d921-1805-4fcf-9d80-fe66aeb20d18" providerId="ADAL" clId="{78EFDDAD-E15C-480F-B693-4CBA2437E723}" dt="2025-06-27T08:18:44.942" v="185" actId="1076"/>
          <ac:picMkLst>
            <pc:docMk/>
            <pc:sldMk cId="3164133037" sldId="278"/>
            <ac:picMk id="1028" creationId="{90BEAABF-E376-48DD-C2FC-02833009401E}"/>
          </ac:picMkLst>
        </pc:picChg>
        <pc:picChg chg="add mod">
          <ac:chgData name="Juan Sebastián Giraldo" userId="2f39d921-1805-4fcf-9d80-fe66aeb20d18" providerId="ADAL" clId="{78EFDDAD-E15C-480F-B693-4CBA2437E723}" dt="2025-06-27T08:19:29.318" v="202" actId="1076"/>
          <ac:picMkLst>
            <pc:docMk/>
            <pc:sldMk cId="3164133037" sldId="278"/>
            <ac:picMk id="1030" creationId="{CEAFF0EC-BB12-67FE-154D-5A4F198B9D26}"/>
          </ac:picMkLst>
        </pc:picChg>
      </pc:sldChg>
      <pc:sldChg chg="ord">
        <pc:chgData name="Juan Sebastián Giraldo" userId="2f39d921-1805-4fcf-9d80-fe66aeb20d18" providerId="ADAL" clId="{78EFDDAD-E15C-480F-B693-4CBA2437E723}" dt="2025-06-27T08:06:21.190" v="72"/>
        <pc:sldMkLst>
          <pc:docMk/>
          <pc:sldMk cId="510654002" sldId="279"/>
        </pc:sldMkLst>
      </pc:sldChg>
      <pc:sldChg chg="addSp delSp modSp mod ord">
        <pc:chgData name="Juan Sebastián Giraldo" userId="2f39d921-1805-4fcf-9d80-fe66aeb20d18" providerId="ADAL" clId="{78EFDDAD-E15C-480F-B693-4CBA2437E723}" dt="2025-06-27T08:29:01.812" v="306" actId="1076"/>
        <pc:sldMkLst>
          <pc:docMk/>
          <pc:sldMk cId="3193837987" sldId="283"/>
        </pc:sldMkLst>
        <pc:spChg chg="add mod">
          <ac:chgData name="Juan Sebastián Giraldo" userId="2f39d921-1805-4fcf-9d80-fe66aeb20d18" providerId="ADAL" clId="{78EFDDAD-E15C-480F-B693-4CBA2437E723}" dt="2025-06-27T08:08:32.427" v="113" actId="1076"/>
          <ac:spMkLst>
            <pc:docMk/>
            <pc:sldMk cId="3193837987" sldId="283"/>
            <ac:spMk id="2" creationId="{AC22E640-E659-BD76-5CB7-1FB71A4D1D2C}"/>
          </ac:spMkLst>
        </pc:spChg>
        <pc:spChg chg="mod">
          <ac:chgData name="Juan Sebastián Giraldo" userId="2f39d921-1805-4fcf-9d80-fe66aeb20d18" providerId="ADAL" clId="{78EFDDAD-E15C-480F-B693-4CBA2437E723}" dt="2025-06-27T08:08:32.427" v="113" actId="1076"/>
          <ac:spMkLst>
            <pc:docMk/>
            <pc:sldMk cId="3193837987" sldId="283"/>
            <ac:spMk id="4" creationId="{AB703A68-9140-EF19-77FA-4C34083D53B3}"/>
          </ac:spMkLst>
        </pc:spChg>
        <pc:spChg chg="add mod">
          <ac:chgData name="Juan Sebastián Giraldo" userId="2f39d921-1805-4fcf-9d80-fe66aeb20d18" providerId="ADAL" clId="{78EFDDAD-E15C-480F-B693-4CBA2437E723}" dt="2025-06-27T08:07:35.377" v="90" actId="1076"/>
          <ac:spMkLst>
            <pc:docMk/>
            <pc:sldMk cId="3193837987" sldId="283"/>
            <ac:spMk id="6" creationId="{50E3A817-A7E0-63EF-90C8-F05011439B42}"/>
          </ac:spMkLst>
        </pc:spChg>
        <pc:spChg chg="add mod">
          <ac:chgData name="Juan Sebastián Giraldo" userId="2f39d921-1805-4fcf-9d80-fe66aeb20d18" providerId="ADAL" clId="{78EFDDAD-E15C-480F-B693-4CBA2437E723}" dt="2025-06-27T08:29:01.812" v="306" actId="1076"/>
          <ac:spMkLst>
            <pc:docMk/>
            <pc:sldMk cId="3193837987" sldId="283"/>
            <ac:spMk id="11" creationId="{F13C7A44-A5E2-5B5C-D9A9-5A10639C763A}"/>
          </ac:spMkLst>
        </pc:spChg>
        <pc:spChg chg="add del mod">
          <ac:chgData name="Juan Sebastián Giraldo" userId="2f39d921-1805-4fcf-9d80-fe66aeb20d18" providerId="ADAL" clId="{78EFDDAD-E15C-480F-B693-4CBA2437E723}" dt="2025-06-27T08:08:32.427" v="113" actId="1076"/>
          <ac:spMkLst>
            <pc:docMk/>
            <pc:sldMk cId="3193837987" sldId="283"/>
            <ac:spMk id="12" creationId="{4255C0AE-12FC-2CA5-AA71-2E5465268A05}"/>
          </ac:spMkLst>
        </pc:spChg>
        <pc:spChg chg="add mod">
          <ac:chgData name="Juan Sebastián Giraldo" userId="2f39d921-1805-4fcf-9d80-fe66aeb20d18" providerId="ADAL" clId="{78EFDDAD-E15C-480F-B693-4CBA2437E723}" dt="2025-06-27T08:28:57.477" v="304" actId="1076"/>
          <ac:spMkLst>
            <pc:docMk/>
            <pc:sldMk cId="3193837987" sldId="283"/>
            <ac:spMk id="13" creationId="{35F45A0B-ECDF-3AA1-35E3-D0BDA2D4C6EF}"/>
          </ac:spMkLst>
        </pc:spChg>
        <pc:spChg chg="add mod">
          <ac:chgData name="Juan Sebastián Giraldo" userId="2f39d921-1805-4fcf-9d80-fe66aeb20d18" providerId="ADAL" clId="{78EFDDAD-E15C-480F-B693-4CBA2437E723}" dt="2025-06-27T08:28:53.265" v="302" actId="1076"/>
          <ac:spMkLst>
            <pc:docMk/>
            <pc:sldMk cId="3193837987" sldId="283"/>
            <ac:spMk id="17" creationId="{0054E4FE-1D68-88B9-05E9-11DB7676ABCF}"/>
          </ac:spMkLst>
        </pc:spChg>
        <pc:spChg chg="add del mod">
          <ac:chgData name="Juan Sebastián Giraldo" userId="2f39d921-1805-4fcf-9d80-fe66aeb20d18" providerId="ADAL" clId="{78EFDDAD-E15C-480F-B693-4CBA2437E723}" dt="2025-06-27T08:08:32.427" v="113" actId="1076"/>
          <ac:spMkLst>
            <pc:docMk/>
            <pc:sldMk cId="3193837987" sldId="283"/>
            <ac:spMk id="18" creationId="{E0A4AA8C-1F82-947D-BD0C-589C294B34A9}"/>
          </ac:spMkLst>
        </pc:spChg>
        <pc:spChg chg="mod">
          <ac:chgData name="Juan Sebastián Giraldo" userId="2f39d921-1805-4fcf-9d80-fe66aeb20d18" providerId="ADAL" clId="{78EFDDAD-E15C-480F-B693-4CBA2437E723}" dt="2025-06-27T07:27:53.527" v="2" actId="6549"/>
          <ac:spMkLst>
            <pc:docMk/>
            <pc:sldMk cId="3193837987" sldId="283"/>
            <ac:spMk id="20" creationId="{1FDE82F8-CCC1-2A45-9AD1-CDE7025E39BD}"/>
          </ac:spMkLst>
        </pc:spChg>
        <pc:spChg chg="add del mod">
          <ac:chgData name="Juan Sebastián Giraldo" userId="2f39d921-1805-4fcf-9d80-fe66aeb20d18" providerId="ADAL" clId="{78EFDDAD-E15C-480F-B693-4CBA2437E723}" dt="2025-06-27T08:08:32.427" v="113" actId="1076"/>
          <ac:spMkLst>
            <pc:docMk/>
            <pc:sldMk cId="3193837987" sldId="283"/>
            <ac:spMk id="24" creationId="{6D4D71D0-A4BF-715A-77E7-81FFB412207B}"/>
          </ac:spMkLst>
        </pc:spChg>
        <pc:spChg chg="mod">
          <ac:chgData name="Juan Sebastián Giraldo" userId="2f39d921-1805-4fcf-9d80-fe66aeb20d18" providerId="ADAL" clId="{78EFDDAD-E15C-480F-B693-4CBA2437E723}" dt="2025-06-27T07:27:54.742" v="3" actId="6549"/>
          <ac:spMkLst>
            <pc:docMk/>
            <pc:sldMk cId="3193837987" sldId="283"/>
            <ac:spMk id="26" creationId="{1E6B7BCC-E093-1878-F09A-B4519476D565}"/>
          </ac:spMkLst>
        </pc:spChg>
        <pc:spChg chg="mod">
          <ac:chgData name="Juan Sebastián Giraldo" userId="2f39d921-1805-4fcf-9d80-fe66aeb20d18" providerId="ADAL" clId="{78EFDDAD-E15C-480F-B693-4CBA2437E723}" dt="2025-06-27T08:08:15.351" v="112" actId="14100"/>
          <ac:spMkLst>
            <pc:docMk/>
            <pc:sldMk cId="3193837987" sldId="283"/>
            <ac:spMk id="30" creationId="{C7B3812A-FF02-CEC7-CB8C-84B08494C7CA}"/>
          </ac:spMkLst>
        </pc:spChg>
        <pc:spChg chg="mod">
          <ac:chgData name="Juan Sebastián Giraldo" userId="2f39d921-1805-4fcf-9d80-fe66aeb20d18" providerId="ADAL" clId="{78EFDDAD-E15C-480F-B693-4CBA2437E723}" dt="2025-06-27T07:28:14.548" v="7" actId="6549"/>
          <ac:spMkLst>
            <pc:docMk/>
            <pc:sldMk cId="3193837987" sldId="283"/>
            <ac:spMk id="32" creationId="{D7986C1C-B5F1-1DBB-163E-875C766B20C5}"/>
          </ac:spMkLst>
        </pc:spChg>
        <pc:spChg chg="mod">
          <ac:chgData name="Juan Sebastián Giraldo" userId="2f39d921-1805-4fcf-9d80-fe66aeb20d18" providerId="ADAL" clId="{78EFDDAD-E15C-480F-B693-4CBA2437E723}" dt="2025-06-27T08:07:35.377" v="90" actId="1076"/>
          <ac:spMkLst>
            <pc:docMk/>
            <pc:sldMk cId="3193837987" sldId="283"/>
            <ac:spMk id="36" creationId="{DEAD121A-F06B-FC88-F213-282F9B5482F6}"/>
          </ac:spMkLst>
        </pc:spChg>
        <pc:spChg chg="mod">
          <ac:chgData name="Juan Sebastián Giraldo" userId="2f39d921-1805-4fcf-9d80-fe66aeb20d18" providerId="ADAL" clId="{78EFDDAD-E15C-480F-B693-4CBA2437E723}" dt="2025-06-27T07:29:10.611" v="21" actId="6549"/>
          <ac:spMkLst>
            <pc:docMk/>
            <pc:sldMk cId="3193837987" sldId="283"/>
            <ac:spMk id="38" creationId="{D550D651-775C-BB8D-E408-4361408DC488}"/>
          </ac:spMkLst>
        </pc:spChg>
        <pc:spChg chg="mod">
          <ac:chgData name="Juan Sebastián Giraldo" userId="2f39d921-1805-4fcf-9d80-fe66aeb20d18" providerId="ADAL" clId="{78EFDDAD-E15C-480F-B693-4CBA2437E723}" dt="2025-06-27T07:32:50.735" v="69" actId="14100"/>
          <ac:spMkLst>
            <pc:docMk/>
            <pc:sldMk cId="3193837987" sldId="283"/>
            <ac:spMk id="39" creationId="{FD063F6F-91CA-FED4-4B04-2F0EBCCB182F}"/>
          </ac:spMkLst>
        </pc:spChg>
        <pc:spChg chg="mod">
          <ac:chgData name="Juan Sebastián Giraldo" userId="2f39d921-1805-4fcf-9d80-fe66aeb20d18" providerId="ADAL" clId="{78EFDDAD-E15C-480F-B693-4CBA2437E723}" dt="2025-06-27T08:07:35.377" v="90" actId="1076"/>
          <ac:spMkLst>
            <pc:docMk/>
            <pc:sldMk cId="3193837987" sldId="283"/>
            <ac:spMk id="42" creationId="{1AF2619E-E952-3ED7-81BA-CE8FCC575D7F}"/>
          </ac:spMkLst>
        </pc:spChg>
        <pc:spChg chg="mod">
          <ac:chgData name="Juan Sebastián Giraldo" userId="2f39d921-1805-4fcf-9d80-fe66aeb20d18" providerId="ADAL" clId="{78EFDDAD-E15C-480F-B693-4CBA2437E723}" dt="2025-06-27T08:07:29.941" v="89" actId="1076"/>
          <ac:spMkLst>
            <pc:docMk/>
            <pc:sldMk cId="3193837987" sldId="283"/>
            <ac:spMk id="44" creationId="{9A8E96C9-DBCC-DE7B-F536-80004B12543F}"/>
          </ac:spMkLst>
        </pc:spChg>
        <pc:spChg chg="mod">
          <ac:chgData name="Juan Sebastián Giraldo" userId="2f39d921-1805-4fcf-9d80-fe66aeb20d18" providerId="ADAL" clId="{78EFDDAD-E15C-480F-B693-4CBA2437E723}" dt="2025-06-27T08:07:25.397" v="88" actId="1076"/>
          <ac:spMkLst>
            <pc:docMk/>
            <pc:sldMk cId="3193837987" sldId="283"/>
            <ac:spMk id="45" creationId="{ED01EB0C-3CEB-4F4B-C4DB-E2D7A8E40CB8}"/>
          </ac:spMkLst>
        </pc:spChg>
        <pc:grpChg chg="mod">
          <ac:chgData name="Juan Sebastián Giraldo" userId="2f39d921-1805-4fcf-9d80-fe66aeb20d18" providerId="ADAL" clId="{78EFDDAD-E15C-480F-B693-4CBA2437E723}" dt="2025-06-27T08:08:32.427" v="113" actId="1076"/>
          <ac:grpSpMkLst>
            <pc:docMk/>
            <pc:sldMk cId="3193837987" sldId="283"/>
            <ac:grpSpMk id="10" creationId="{8EA81130-B052-D154-1C68-BC45FD69329B}"/>
          </ac:grpSpMkLst>
        </pc:grpChg>
        <pc:grpChg chg="mod">
          <ac:chgData name="Juan Sebastián Giraldo" userId="2f39d921-1805-4fcf-9d80-fe66aeb20d18" providerId="ADAL" clId="{78EFDDAD-E15C-480F-B693-4CBA2437E723}" dt="2025-06-27T08:08:32.427" v="113" actId="1076"/>
          <ac:grpSpMkLst>
            <pc:docMk/>
            <pc:sldMk cId="3193837987" sldId="283"/>
            <ac:grpSpMk id="16" creationId="{A9BE151C-9F78-E992-2F0B-E04E27C4332C}"/>
          </ac:grpSpMkLst>
        </pc:grpChg>
        <pc:grpChg chg="mod">
          <ac:chgData name="Juan Sebastián Giraldo" userId="2f39d921-1805-4fcf-9d80-fe66aeb20d18" providerId="ADAL" clId="{78EFDDAD-E15C-480F-B693-4CBA2437E723}" dt="2025-06-27T08:08:32.427" v="113" actId="1076"/>
          <ac:grpSpMkLst>
            <pc:docMk/>
            <pc:sldMk cId="3193837987" sldId="283"/>
            <ac:grpSpMk id="22" creationId="{70993097-3DD6-D1B9-7252-5AC22F5F0962}"/>
          </ac:grpSpMkLst>
        </pc:grpChg>
        <pc:grpChg chg="mod">
          <ac:chgData name="Juan Sebastián Giraldo" userId="2f39d921-1805-4fcf-9d80-fe66aeb20d18" providerId="ADAL" clId="{78EFDDAD-E15C-480F-B693-4CBA2437E723}" dt="2025-06-27T08:08:32.427" v="113" actId="1076"/>
          <ac:grpSpMkLst>
            <pc:docMk/>
            <pc:sldMk cId="3193837987" sldId="283"/>
            <ac:grpSpMk id="28" creationId="{3135742C-54FF-D37E-3986-506660B941A1}"/>
          </ac:grpSpMkLst>
        </pc:grpChg>
        <pc:grpChg chg="mod">
          <ac:chgData name="Juan Sebastián Giraldo" userId="2f39d921-1805-4fcf-9d80-fe66aeb20d18" providerId="ADAL" clId="{78EFDDAD-E15C-480F-B693-4CBA2437E723}" dt="2025-06-27T08:08:12.653" v="111" actId="14100"/>
          <ac:grpSpMkLst>
            <pc:docMk/>
            <pc:sldMk cId="3193837987" sldId="283"/>
            <ac:grpSpMk id="34" creationId="{FF1EB7FD-DD43-1EE5-A918-E61720B93E00}"/>
          </ac:grpSpMkLst>
        </pc:grpChg>
        <pc:grpChg chg="mod">
          <ac:chgData name="Juan Sebastián Giraldo" userId="2f39d921-1805-4fcf-9d80-fe66aeb20d18" providerId="ADAL" clId="{78EFDDAD-E15C-480F-B693-4CBA2437E723}" dt="2025-06-27T08:07:35.377" v="90" actId="1076"/>
          <ac:grpSpMkLst>
            <pc:docMk/>
            <pc:sldMk cId="3193837987" sldId="283"/>
            <ac:grpSpMk id="40" creationId="{FCBA1556-6219-0DA1-814C-4D8BBC94E71D}"/>
          </ac:grpSpMkLst>
        </pc:grpChg>
        <pc:grpChg chg="mod">
          <ac:chgData name="Juan Sebastián Giraldo" userId="2f39d921-1805-4fcf-9d80-fe66aeb20d18" providerId="ADAL" clId="{78EFDDAD-E15C-480F-B693-4CBA2437E723}" dt="2025-06-27T08:07:35.377" v="90" actId="1076"/>
          <ac:grpSpMkLst>
            <pc:docMk/>
            <pc:sldMk cId="3193837987" sldId="283"/>
            <ac:grpSpMk id="46" creationId="{99890237-4A12-437B-3B22-4CDB11EF75E2}"/>
          </ac:grpSpMkLst>
        </pc:grpChg>
      </pc:sldChg>
      <pc:sldChg chg="add">
        <pc:chgData name="Juan Sebastián Giraldo" userId="2f39d921-1805-4fcf-9d80-fe66aeb20d18" providerId="ADAL" clId="{78EFDDAD-E15C-480F-B693-4CBA2437E723}" dt="2025-06-27T08:09:02.111" v="132"/>
        <pc:sldMkLst>
          <pc:docMk/>
          <pc:sldMk cId="446315717" sldId="284"/>
        </pc:sldMkLst>
      </pc:sldChg>
      <pc:sldChg chg="add del">
        <pc:chgData name="Juan Sebastián Giraldo" userId="2f39d921-1805-4fcf-9d80-fe66aeb20d18" providerId="ADAL" clId="{78EFDDAD-E15C-480F-B693-4CBA2437E723}" dt="2025-06-27T08:06:43.763" v="77"/>
        <pc:sldMkLst>
          <pc:docMk/>
          <pc:sldMk cId="3113566403" sldId="284"/>
        </pc:sldMkLst>
      </pc:sldChg>
      <pc:sldChg chg="add">
        <pc:chgData name="Juan Sebastián Giraldo" userId="2f39d921-1805-4fcf-9d80-fe66aeb20d18" providerId="ADAL" clId="{78EFDDAD-E15C-480F-B693-4CBA2437E723}" dt="2025-06-27T08:31:55.431" v="307"/>
        <pc:sldMkLst>
          <pc:docMk/>
          <pc:sldMk cId="1309968490" sldId="285"/>
        </pc:sldMkLst>
      </pc:sldChg>
      <pc:sldChg chg="addSp delSp modSp add mod modShow">
        <pc:chgData name="Juan Sebastián Giraldo" userId="2f39d921-1805-4fcf-9d80-fe66aeb20d18" providerId="ADAL" clId="{78EFDDAD-E15C-480F-B693-4CBA2437E723}" dt="2025-06-27T08:22:51.982" v="236" actId="20577"/>
        <pc:sldMkLst>
          <pc:docMk/>
          <pc:sldMk cId="582829659" sldId="293"/>
        </pc:sldMkLst>
        <pc:spChg chg="add mod">
          <ac:chgData name="Juan Sebastián Giraldo" userId="2f39d921-1805-4fcf-9d80-fe66aeb20d18" providerId="ADAL" clId="{78EFDDAD-E15C-480F-B693-4CBA2437E723}" dt="2025-06-27T08:21:50.982" v="209"/>
          <ac:spMkLst>
            <pc:docMk/>
            <pc:sldMk cId="582829659" sldId="293"/>
            <ac:spMk id="2" creationId="{EC6B40A6-4E8A-2938-B1D9-55B2F11501CE}"/>
          </ac:spMkLst>
        </pc:spChg>
        <pc:spChg chg="del">
          <ac:chgData name="Juan Sebastián Giraldo" userId="2f39d921-1805-4fcf-9d80-fe66aeb20d18" providerId="ADAL" clId="{78EFDDAD-E15C-480F-B693-4CBA2437E723}" dt="2025-06-27T08:21:50.461" v="208" actId="478"/>
          <ac:spMkLst>
            <pc:docMk/>
            <pc:sldMk cId="582829659" sldId="293"/>
            <ac:spMk id="7" creationId="{F2921B30-0FCA-736B-B838-973B0A6978EA}"/>
          </ac:spMkLst>
        </pc:spChg>
        <pc:spChg chg="add mod">
          <ac:chgData name="Juan Sebastián Giraldo" userId="2f39d921-1805-4fcf-9d80-fe66aeb20d18" providerId="ADAL" clId="{78EFDDAD-E15C-480F-B693-4CBA2437E723}" dt="2025-06-27T08:22:51.982" v="236" actId="20577"/>
          <ac:spMkLst>
            <pc:docMk/>
            <pc:sldMk cId="582829659" sldId="293"/>
            <ac:spMk id="10" creationId="{6779B0FA-A1B7-BD3C-9443-07CFBC57C32F}"/>
          </ac:spMkLst>
        </pc:spChg>
        <pc:picChg chg="del">
          <ac:chgData name="Juan Sebastián Giraldo" userId="2f39d921-1805-4fcf-9d80-fe66aeb20d18" providerId="ADAL" clId="{78EFDDAD-E15C-480F-B693-4CBA2437E723}" dt="2025-06-27T08:21:50.461" v="208" actId="478"/>
          <ac:picMkLst>
            <pc:docMk/>
            <pc:sldMk cId="582829659" sldId="293"/>
            <ac:picMk id="3" creationId="{43979135-453D-567A-5E40-B41E7CF1D011}"/>
          </ac:picMkLst>
        </pc:picChg>
        <pc:picChg chg="mod">
          <ac:chgData name="Juan Sebastián Giraldo" userId="2f39d921-1805-4fcf-9d80-fe66aeb20d18" providerId="ADAL" clId="{78EFDDAD-E15C-480F-B693-4CBA2437E723}" dt="2025-06-27T08:22:40.083" v="221" actId="1076"/>
          <ac:picMkLst>
            <pc:docMk/>
            <pc:sldMk cId="582829659" sldId="293"/>
            <ac:picMk id="4" creationId="{E08164AF-B5AE-EED5-05E9-D967C32D6696}"/>
          </ac:picMkLst>
        </pc:picChg>
        <pc:picChg chg="add mod">
          <ac:chgData name="Juan Sebastián Giraldo" userId="2f39d921-1805-4fcf-9d80-fe66aeb20d18" providerId="ADAL" clId="{78EFDDAD-E15C-480F-B693-4CBA2437E723}" dt="2025-06-27T08:21:50.982" v="209"/>
          <ac:picMkLst>
            <pc:docMk/>
            <pc:sldMk cId="582829659" sldId="293"/>
            <ac:picMk id="5" creationId="{93E17838-6F48-691C-BF69-AFE4561675EF}"/>
          </ac:picMkLst>
        </pc:picChg>
        <pc:picChg chg="add mod">
          <ac:chgData name="Juan Sebastián Giraldo" userId="2f39d921-1805-4fcf-9d80-fe66aeb20d18" providerId="ADAL" clId="{78EFDDAD-E15C-480F-B693-4CBA2437E723}" dt="2025-06-27T08:21:50.982" v="209"/>
          <ac:picMkLst>
            <pc:docMk/>
            <pc:sldMk cId="582829659" sldId="293"/>
            <ac:picMk id="6" creationId="{90B41730-4388-0CB4-44D9-5B9BB9FCCD17}"/>
          </ac:picMkLst>
        </pc:picChg>
        <pc:picChg chg="add mod">
          <ac:chgData name="Juan Sebastián Giraldo" userId="2f39d921-1805-4fcf-9d80-fe66aeb20d18" providerId="ADAL" clId="{78EFDDAD-E15C-480F-B693-4CBA2437E723}" dt="2025-06-27T08:21:50.982" v="209"/>
          <ac:picMkLst>
            <pc:docMk/>
            <pc:sldMk cId="582829659" sldId="293"/>
            <ac:picMk id="8" creationId="{E658865D-086F-63D2-7833-B93A0323DA4D}"/>
          </ac:picMkLst>
        </pc:picChg>
      </pc:sldChg>
      <pc:sldChg chg="addSp delSp modSp add mod">
        <pc:chgData name="Juan Sebastián Giraldo" userId="2f39d921-1805-4fcf-9d80-fe66aeb20d18" providerId="ADAL" clId="{78EFDDAD-E15C-480F-B693-4CBA2437E723}" dt="2025-06-27T08:24:11.387" v="240" actId="732"/>
        <pc:sldMkLst>
          <pc:docMk/>
          <pc:sldMk cId="3511119605" sldId="294"/>
        </pc:sldMkLst>
        <pc:spChg chg="add mod">
          <ac:chgData name="Juan Sebastián Giraldo" userId="2f39d921-1805-4fcf-9d80-fe66aeb20d18" providerId="ADAL" clId="{78EFDDAD-E15C-480F-B693-4CBA2437E723}" dt="2025-06-27T08:21:40.408" v="205"/>
          <ac:spMkLst>
            <pc:docMk/>
            <pc:sldMk cId="3511119605" sldId="294"/>
            <ac:spMk id="3" creationId="{479A2227-4673-CFCE-3C1A-E949F3BAAB64}"/>
          </ac:spMkLst>
        </pc:spChg>
        <pc:spChg chg="del">
          <ac:chgData name="Juan Sebastián Giraldo" userId="2f39d921-1805-4fcf-9d80-fe66aeb20d18" providerId="ADAL" clId="{78EFDDAD-E15C-480F-B693-4CBA2437E723}" dt="2025-06-27T08:21:40.039" v="204" actId="478"/>
          <ac:spMkLst>
            <pc:docMk/>
            <pc:sldMk cId="3511119605" sldId="294"/>
            <ac:spMk id="5" creationId="{0C68336A-4373-BAC9-051F-88483C685135}"/>
          </ac:spMkLst>
        </pc:spChg>
        <pc:spChg chg="add mod">
          <ac:chgData name="Juan Sebastián Giraldo" userId="2f39d921-1805-4fcf-9d80-fe66aeb20d18" providerId="ADAL" clId="{78EFDDAD-E15C-480F-B693-4CBA2437E723}" dt="2025-06-27T08:24:00.165" v="239" actId="20577"/>
          <ac:spMkLst>
            <pc:docMk/>
            <pc:sldMk cId="3511119605" sldId="294"/>
            <ac:spMk id="9" creationId="{A262DC44-B985-0630-12AA-11239C482F15}"/>
          </ac:spMkLst>
        </pc:spChg>
        <pc:spChg chg="del">
          <ac:chgData name="Juan Sebastián Giraldo" userId="2f39d921-1805-4fcf-9d80-fe66aeb20d18" providerId="ADAL" clId="{78EFDDAD-E15C-480F-B693-4CBA2437E723}" dt="2025-06-27T08:21:40.039" v="204" actId="478"/>
          <ac:spMkLst>
            <pc:docMk/>
            <pc:sldMk cId="3511119605" sldId="294"/>
            <ac:spMk id="66" creationId="{9A2D8B41-342E-6428-E8C1-CDA9C510C88A}"/>
          </ac:spMkLst>
        </pc:spChg>
        <pc:spChg chg="del">
          <ac:chgData name="Juan Sebastián Giraldo" userId="2f39d921-1805-4fcf-9d80-fe66aeb20d18" providerId="ADAL" clId="{78EFDDAD-E15C-480F-B693-4CBA2437E723}" dt="2025-06-27T08:21:40.039" v="204" actId="478"/>
          <ac:spMkLst>
            <pc:docMk/>
            <pc:sldMk cId="3511119605" sldId="294"/>
            <ac:spMk id="90" creationId="{62BCED75-1605-AF4B-5770-DFFEC8B84533}"/>
          </ac:spMkLst>
        </pc:spChg>
        <pc:picChg chg="del">
          <ac:chgData name="Juan Sebastián Giraldo" userId="2f39d921-1805-4fcf-9d80-fe66aeb20d18" providerId="ADAL" clId="{78EFDDAD-E15C-480F-B693-4CBA2437E723}" dt="2025-06-27T08:21:42.275" v="206" actId="478"/>
          <ac:picMkLst>
            <pc:docMk/>
            <pc:sldMk cId="3511119605" sldId="294"/>
            <ac:picMk id="2" creationId="{BAFBFF1B-F96D-5935-66A1-3623D8F6CF38}"/>
          </ac:picMkLst>
        </pc:picChg>
        <pc:picChg chg="mod modCrop">
          <ac:chgData name="Juan Sebastián Giraldo" userId="2f39d921-1805-4fcf-9d80-fe66aeb20d18" providerId="ADAL" clId="{78EFDDAD-E15C-480F-B693-4CBA2437E723}" dt="2025-06-27T08:24:11.387" v="240" actId="732"/>
          <ac:picMkLst>
            <pc:docMk/>
            <pc:sldMk cId="3511119605" sldId="294"/>
            <ac:picMk id="4" creationId="{03F108A7-734A-111C-5EB7-E0E589537D06}"/>
          </ac:picMkLst>
        </pc:picChg>
        <pc:picChg chg="add mod">
          <ac:chgData name="Juan Sebastián Giraldo" userId="2f39d921-1805-4fcf-9d80-fe66aeb20d18" providerId="ADAL" clId="{78EFDDAD-E15C-480F-B693-4CBA2437E723}" dt="2025-06-27T08:21:40.408" v="205"/>
          <ac:picMkLst>
            <pc:docMk/>
            <pc:sldMk cId="3511119605" sldId="294"/>
            <ac:picMk id="6" creationId="{66CEBF2E-D218-F388-D296-64BBEED9BDAA}"/>
          </ac:picMkLst>
        </pc:picChg>
        <pc:picChg chg="add mod">
          <ac:chgData name="Juan Sebastián Giraldo" userId="2f39d921-1805-4fcf-9d80-fe66aeb20d18" providerId="ADAL" clId="{78EFDDAD-E15C-480F-B693-4CBA2437E723}" dt="2025-06-27T08:21:40.408" v="205"/>
          <ac:picMkLst>
            <pc:docMk/>
            <pc:sldMk cId="3511119605" sldId="294"/>
            <ac:picMk id="7" creationId="{116E48EE-F18C-0B61-E722-49ECCBE48B44}"/>
          </ac:picMkLst>
        </pc:picChg>
        <pc:picChg chg="add mod">
          <ac:chgData name="Juan Sebastián Giraldo" userId="2f39d921-1805-4fcf-9d80-fe66aeb20d18" providerId="ADAL" clId="{78EFDDAD-E15C-480F-B693-4CBA2437E723}" dt="2025-06-27T08:21:40.408" v="205"/>
          <ac:picMkLst>
            <pc:docMk/>
            <pc:sldMk cId="3511119605" sldId="294"/>
            <ac:picMk id="8" creationId="{6DAD71EA-6521-45D4-507D-0FF95E15ACE2}"/>
          </ac:picMkLst>
        </pc:picChg>
      </pc:sldChg>
      <pc:sldChg chg="ord">
        <pc:chgData name="Juan Sebastián Giraldo" userId="2f39d921-1805-4fcf-9d80-fe66aeb20d18" providerId="ADAL" clId="{78EFDDAD-E15C-480F-B693-4CBA2437E723}" dt="2025-06-27T08:06:32.917" v="74"/>
        <pc:sldMkLst>
          <pc:docMk/>
          <pc:sldMk cId="488792753" sldId="7051"/>
        </pc:sldMkLst>
      </pc:sldChg>
      <pc:sldChg chg="ord">
        <pc:chgData name="Juan Sebastián Giraldo" userId="2f39d921-1805-4fcf-9d80-fe66aeb20d18" providerId="ADAL" clId="{78EFDDAD-E15C-480F-B693-4CBA2437E723}" dt="2025-06-27T08:06:21.190" v="72"/>
        <pc:sldMkLst>
          <pc:docMk/>
          <pc:sldMk cId="1983062878" sldId="2147483629"/>
        </pc:sldMkLst>
      </pc:sldChg>
    </pc:docChg>
  </pc:docChgLst>
  <pc:docChgLst>
    <pc:chgData name="Beatriz Miquel" userId="S::beatriz.miquel@stratesys-ts.com::693c9356-b0f6-45fc-95f7-6e543d7dabde" providerId="AD" clId="Web-{B4FA68A6-DCE0-3FCF-CF40-B71CDCE326CE}"/>
    <pc:docChg chg="addSld modSld">
      <pc:chgData name="Beatriz Miquel" userId="S::beatriz.miquel@stratesys-ts.com::693c9356-b0f6-45fc-95f7-6e543d7dabde" providerId="AD" clId="Web-{B4FA68A6-DCE0-3FCF-CF40-B71CDCE326CE}" dt="2025-05-28T18:27:27.681" v="621"/>
      <pc:docMkLst>
        <pc:docMk/>
      </pc:docMkLst>
      <pc:sldChg chg="addSp delSp modSp add replId">
        <pc:chgData name="Beatriz Miquel" userId="S::beatriz.miquel@stratesys-ts.com::693c9356-b0f6-45fc-95f7-6e543d7dabde" providerId="AD" clId="Web-{B4FA68A6-DCE0-3FCF-CF40-B71CDCE326CE}" dt="2025-05-28T18:20:43.105" v="430"/>
        <pc:sldMkLst>
          <pc:docMk/>
          <pc:sldMk cId="1437502704" sldId="256"/>
        </pc:sldMkLst>
        <pc:spChg chg="mod">
          <ac:chgData name="Beatriz Miquel" userId="S::beatriz.miquel@stratesys-ts.com::693c9356-b0f6-45fc-95f7-6e543d7dabde" providerId="AD" clId="Web-{B4FA68A6-DCE0-3FCF-CF40-B71CDCE326CE}" dt="2025-05-28T18:02:06.535" v="131" actId="20577"/>
          <ac:spMkLst>
            <pc:docMk/>
            <pc:sldMk cId="1437502704" sldId="256"/>
            <ac:spMk id="3" creationId="{5729C1D0-13D2-ED65-29CC-9E596D07C7EB}"/>
          </ac:spMkLst>
        </pc:spChg>
        <pc:graphicFrameChg chg="add mod modGraphic">
          <ac:chgData name="Beatriz Miquel" userId="S::beatriz.miquel@stratesys-ts.com::693c9356-b0f6-45fc-95f7-6e543d7dabde" providerId="AD" clId="Web-{B4FA68A6-DCE0-3FCF-CF40-B71CDCE326CE}" dt="2025-05-28T18:20:43.105" v="430"/>
          <ac:graphicFrameMkLst>
            <pc:docMk/>
            <pc:sldMk cId="1437502704" sldId="256"/>
            <ac:graphicFrameMk id="5" creationId="{CDE4CCA8-98EF-1905-C9D1-9F09A438D454}"/>
          </ac:graphicFrameMkLst>
        </pc:graphicFrameChg>
      </pc:sldChg>
      <pc:sldChg chg="addSp delSp modSp">
        <pc:chgData name="Beatriz Miquel" userId="S::beatriz.miquel@stratesys-ts.com::693c9356-b0f6-45fc-95f7-6e543d7dabde" providerId="AD" clId="Web-{B4FA68A6-DCE0-3FCF-CF40-B71CDCE326CE}" dt="2025-05-28T18:27:09.993" v="620" actId="20577"/>
        <pc:sldMkLst>
          <pc:docMk/>
          <pc:sldMk cId="4073311785" sldId="2147483628"/>
        </pc:sldMkLst>
        <pc:spChg chg="mod">
          <ac:chgData name="Beatriz Miquel" userId="S::beatriz.miquel@stratesys-ts.com::693c9356-b0f6-45fc-95f7-6e543d7dabde" providerId="AD" clId="Web-{B4FA68A6-DCE0-3FCF-CF40-B71CDCE326CE}" dt="2025-05-28T17:56:05.376" v="77" actId="1076"/>
          <ac:spMkLst>
            <pc:docMk/>
            <pc:sldMk cId="4073311785" sldId="2147483628"/>
            <ac:spMk id="41" creationId="{23D9B1E5-9214-E429-2AED-461DFA8863DF}"/>
          </ac:spMkLst>
        </pc:spChg>
        <pc:spChg chg="add mod">
          <ac:chgData name="Beatriz Miquel" userId="S::beatriz.miquel@stratesys-ts.com::693c9356-b0f6-45fc-95f7-6e543d7dabde" providerId="AD" clId="Web-{B4FA68A6-DCE0-3FCF-CF40-B71CDCE326CE}" dt="2025-05-28T18:22:45.609" v="437" actId="1076"/>
          <ac:spMkLst>
            <pc:docMk/>
            <pc:sldMk cId="4073311785" sldId="2147483628"/>
            <ac:spMk id="44" creationId="{F0D662FD-B286-FD82-DE2D-456ACAE540F2}"/>
          </ac:spMkLst>
        </pc:spChg>
        <pc:spChg chg="add mod">
          <ac:chgData name="Beatriz Miquel" userId="S::beatriz.miquel@stratesys-ts.com::693c9356-b0f6-45fc-95f7-6e543d7dabde" providerId="AD" clId="Web-{B4FA68A6-DCE0-3FCF-CF40-B71CDCE326CE}" dt="2025-05-28T18:23:55.190" v="475" actId="20577"/>
          <ac:spMkLst>
            <pc:docMk/>
            <pc:sldMk cId="4073311785" sldId="2147483628"/>
            <ac:spMk id="47" creationId="{C278D72C-E675-8F9E-FC12-69D0BD241E62}"/>
          </ac:spMkLst>
        </pc:spChg>
        <pc:spChg chg="add mod">
          <ac:chgData name="Beatriz Miquel" userId="S::beatriz.miquel@stratesys-ts.com::693c9356-b0f6-45fc-95f7-6e543d7dabde" providerId="AD" clId="Web-{B4FA68A6-DCE0-3FCF-CF40-B71CDCE326CE}" dt="2025-05-28T18:25:38.724" v="520" actId="20577"/>
          <ac:spMkLst>
            <pc:docMk/>
            <pc:sldMk cId="4073311785" sldId="2147483628"/>
            <ac:spMk id="48" creationId="{6250B7A2-E7BA-26D9-F45D-053CED6F277F}"/>
          </ac:spMkLst>
        </pc:spChg>
        <pc:spChg chg="add mod">
          <ac:chgData name="Beatriz Miquel" userId="S::beatriz.miquel@stratesys-ts.com::693c9356-b0f6-45fc-95f7-6e543d7dabde" providerId="AD" clId="Web-{B4FA68A6-DCE0-3FCF-CF40-B71CDCE326CE}" dt="2025-05-28T18:27:09.993" v="620" actId="20577"/>
          <ac:spMkLst>
            <pc:docMk/>
            <pc:sldMk cId="4073311785" sldId="2147483628"/>
            <ac:spMk id="51" creationId="{D9CC3D73-B6F1-F8DB-5C21-D666A8F9B5D5}"/>
          </ac:spMkLst>
        </pc:spChg>
        <pc:picChg chg="mod">
          <ac:chgData name="Beatriz Miquel" userId="S::beatriz.miquel@stratesys-ts.com::693c9356-b0f6-45fc-95f7-6e543d7dabde" providerId="AD" clId="Web-{B4FA68A6-DCE0-3FCF-CF40-B71CDCE326CE}" dt="2025-05-28T17:52:48.369" v="65" actId="1076"/>
          <ac:picMkLst>
            <pc:docMk/>
            <pc:sldMk cId="4073311785" sldId="2147483628"/>
            <ac:picMk id="32" creationId="{79148EB5-D39D-46BD-9F00-04CDA2B2F7B0}"/>
          </ac:picMkLst>
        </pc:picChg>
        <pc:picChg chg="mod">
          <ac:chgData name="Beatriz Miquel" userId="S::beatriz.miquel@stratesys-ts.com::693c9356-b0f6-45fc-95f7-6e543d7dabde" providerId="AD" clId="Web-{B4FA68A6-DCE0-3FCF-CF40-B71CDCE326CE}" dt="2025-05-28T17:56:58.159" v="84" actId="1076"/>
          <ac:picMkLst>
            <pc:docMk/>
            <pc:sldMk cId="4073311785" sldId="2147483628"/>
            <ac:picMk id="33" creationId="{8C3B2FE1-82F3-6DDD-35CC-0A6B031C72D3}"/>
          </ac:picMkLst>
        </pc:picChg>
        <pc:picChg chg="mod">
          <ac:chgData name="Beatriz Miquel" userId="S::beatriz.miquel@stratesys-ts.com::693c9356-b0f6-45fc-95f7-6e543d7dabde" providerId="AD" clId="Web-{B4FA68A6-DCE0-3FCF-CF40-B71CDCE326CE}" dt="2025-05-28T18:24:46.051" v="484" actId="1076"/>
          <ac:picMkLst>
            <pc:docMk/>
            <pc:sldMk cId="4073311785" sldId="2147483628"/>
            <ac:picMk id="35" creationId="{D7A6C9C4-AE11-50C1-CF18-26E514D1E956}"/>
          </ac:picMkLst>
        </pc:picChg>
        <pc:picChg chg="mod">
          <ac:chgData name="Beatriz Miquel" userId="S::beatriz.miquel@stratesys-ts.com::693c9356-b0f6-45fc-95f7-6e543d7dabde" providerId="AD" clId="Web-{B4FA68A6-DCE0-3FCF-CF40-B71CDCE326CE}" dt="2025-05-28T18:24:33.972" v="482" actId="1076"/>
          <ac:picMkLst>
            <pc:docMk/>
            <pc:sldMk cId="4073311785" sldId="2147483628"/>
            <ac:picMk id="36" creationId="{E60ACE6A-E895-4943-A2F1-3897F58D514C}"/>
          </ac:picMkLst>
        </pc:picChg>
        <pc:picChg chg="mod">
          <ac:chgData name="Beatriz Miquel" userId="S::beatriz.miquel@stratesys-ts.com::693c9356-b0f6-45fc-95f7-6e543d7dabde" providerId="AD" clId="Web-{B4FA68A6-DCE0-3FCF-CF40-B71CDCE326CE}" dt="2025-05-28T18:24:43.301" v="483" actId="1076"/>
          <ac:picMkLst>
            <pc:docMk/>
            <pc:sldMk cId="4073311785" sldId="2147483628"/>
            <ac:picMk id="37" creationId="{789AEA1A-B176-4077-746D-C42F83B35A4A}"/>
          </ac:picMkLst>
        </pc:picChg>
        <pc:picChg chg="mod">
          <ac:chgData name="Beatriz Miquel" userId="S::beatriz.miquel@stratesys-ts.com::693c9356-b0f6-45fc-95f7-6e543d7dabde" providerId="AD" clId="Web-{B4FA68A6-DCE0-3FCF-CF40-B71CDCE326CE}" dt="2025-05-28T17:56:15.017" v="79" actId="1076"/>
          <ac:picMkLst>
            <pc:docMk/>
            <pc:sldMk cId="4073311785" sldId="2147483628"/>
            <ac:picMk id="1026" creationId="{718224AE-D1B7-7D92-0FF3-5078367EAB14}"/>
          </ac:picMkLst>
        </pc:picChg>
        <pc:picChg chg="mod">
          <ac:chgData name="Beatriz Miquel" userId="S::beatriz.miquel@stratesys-ts.com::693c9356-b0f6-45fc-95f7-6e543d7dabde" providerId="AD" clId="Web-{B4FA68A6-DCE0-3FCF-CF40-B71CDCE326CE}" dt="2025-05-28T17:55:52.516" v="74" actId="1076"/>
          <ac:picMkLst>
            <pc:docMk/>
            <pc:sldMk cId="4073311785" sldId="2147483628"/>
            <ac:picMk id="1028" creationId="{05333BAD-DC9C-F2A1-E7A2-2511F47D38D6}"/>
          </ac:picMkLst>
        </pc:picChg>
        <pc:picChg chg="mod">
          <ac:chgData name="Beatriz Miquel" userId="S::beatriz.miquel@stratesys-ts.com::693c9356-b0f6-45fc-95f7-6e543d7dabde" providerId="AD" clId="Web-{B4FA68A6-DCE0-3FCF-CF40-B71CDCE326CE}" dt="2025-05-28T17:55:27.499" v="71" actId="1076"/>
          <ac:picMkLst>
            <pc:docMk/>
            <pc:sldMk cId="4073311785" sldId="2147483628"/>
            <ac:picMk id="1030" creationId="{61278536-A4DB-FF98-E9C3-57D80EBA536D}"/>
          </ac:picMkLst>
        </pc:picChg>
        <pc:picChg chg="mod">
          <ac:chgData name="Beatriz Miquel" userId="S::beatriz.miquel@stratesys-ts.com::693c9356-b0f6-45fc-95f7-6e543d7dabde" providerId="AD" clId="Web-{B4FA68A6-DCE0-3FCF-CF40-B71CDCE326CE}" dt="2025-05-28T17:55:32.703" v="72" actId="1076"/>
          <ac:picMkLst>
            <pc:docMk/>
            <pc:sldMk cId="4073311785" sldId="2147483628"/>
            <ac:picMk id="1032" creationId="{F15228AE-109D-F6EE-5A68-CB3A27C58E31}"/>
          </ac:picMkLst>
        </pc:picChg>
      </pc:sldChg>
      <pc:sldChg chg="addSp modSp mod modShow">
        <pc:chgData name="Beatriz Miquel" userId="S::beatriz.miquel@stratesys-ts.com::693c9356-b0f6-45fc-95f7-6e543d7dabde" providerId="AD" clId="Web-{B4FA68A6-DCE0-3FCF-CF40-B71CDCE326CE}" dt="2025-05-28T18:27:27.681" v="621"/>
        <pc:sldMkLst>
          <pc:docMk/>
          <pc:sldMk cId="3736789785" sldId="2147483639"/>
        </pc:sldMkLst>
        <pc:spChg chg="mod">
          <ac:chgData name="Beatriz Miquel" userId="S::beatriz.miquel@stratesys-ts.com::693c9356-b0f6-45fc-95f7-6e543d7dabde" providerId="AD" clId="Web-{B4FA68A6-DCE0-3FCF-CF40-B71CDCE326CE}" dt="2025-05-28T17:49:52.754" v="40" actId="20577"/>
          <ac:spMkLst>
            <pc:docMk/>
            <pc:sldMk cId="3736789785" sldId="2147483639"/>
            <ac:spMk id="3" creationId="{AA19C6CA-63AB-73CB-BFF2-511C51F28CB8}"/>
          </ac:spMkLst>
        </pc:spChg>
        <pc:graphicFrameChg chg="add mod modGraphic">
          <ac:chgData name="Beatriz Miquel" userId="S::beatriz.miquel@stratesys-ts.com::693c9356-b0f6-45fc-95f7-6e543d7dabde" providerId="AD" clId="Web-{B4FA68A6-DCE0-3FCF-CF40-B71CDCE326CE}" dt="2025-05-28T17:50:08.285" v="43" actId="1076"/>
          <ac:graphicFrameMkLst>
            <pc:docMk/>
            <pc:sldMk cId="3736789785" sldId="2147483639"/>
            <ac:graphicFrameMk id="4" creationId="{992B76CC-7ACA-8C8E-E901-DF2325DFABFC}"/>
          </ac:graphicFrameMkLst>
        </pc:graphicFrameChg>
      </pc:sldChg>
      <pc:sldChg chg="add replId">
        <pc:chgData name="Beatriz Miquel" userId="S::beatriz.miquel@stratesys-ts.com::693c9356-b0f6-45fc-95f7-6e543d7dabde" providerId="AD" clId="Web-{B4FA68A6-DCE0-3FCF-CF40-B71CDCE326CE}" dt="2025-05-28T17:49:35.097" v="0"/>
        <pc:sldMkLst>
          <pc:docMk/>
          <pc:sldMk cId="1495500634" sldId="2147483647"/>
        </pc:sldMkLst>
      </pc:sldChg>
    </pc:docChg>
  </pc:docChgLst>
  <pc:docChgLst>
    <pc:chgData name="Juan Sebastián Giraldo" userId="S::juan.giraldo@stratesys-ts.com::2f39d921-1805-4fcf-9d80-fe66aeb20d18" providerId="AD" clId="Web-{7A2F8355-424F-0C5A-7F1F-F8A875D0D501}"/>
    <pc:docChg chg="modSld sldOrd">
      <pc:chgData name="Juan Sebastián Giraldo" userId="S::juan.giraldo@stratesys-ts.com::2f39d921-1805-4fcf-9d80-fe66aeb20d18" providerId="AD" clId="Web-{7A2F8355-424F-0C5A-7F1F-F8A875D0D501}" dt="2025-06-25T16:47:48.583" v="195"/>
      <pc:docMkLst>
        <pc:docMk/>
      </pc:docMkLst>
      <pc:sldChg chg="mod modShow">
        <pc:chgData name="Juan Sebastián Giraldo" userId="S::juan.giraldo@stratesys-ts.com::2f39d921-1805-4fcf-9d80-fe66aeb20d18" providerId="AD" clId="Web-{7A2F8355-424F-0C5A-7F1F-F8A875D0D501}" dt="2025-06-25T16:47:48.021" v="192"/>
        <pc:sldMkLst>
          <pc:docMk/>
          <pc:sldMk cId="1437502704" sldId="256"/>
        </pc:sldMkLst>
      </pc:sldChg>
      <pc:sldChg chg="mod modShow">
        <pc:chgData name="Juan Sebastián Giraldo" userId="S::juan.giraldo@stratesys-ts.com::2f39d921-1805-4fcf-9d80-fe66aeb20d18" providerId="AD" clId="Web-{7A2F8355-424F-0C5A-7F1F-F8A875D0D501}" dt="2025-06-25T16:47:46.833" v="184"/>
        <pc:sldMkLst>
          <pc:docMk/>
          <pc:sldMk cId="3532529874" sldId="257"/>
        </pc:sldMkLst>
      </pc:sldChg>
      <pc:sldChg chg="mod modShow">
        <pc:chgData name="Juan Sebastián Giraldo" userId="S::juan.giraldo@stratesys-ts.com::2f39d921-1805-4fcf-9d80-fe66aeb20d18" providerId="AD" clId="Web-{7A2F8355-424F-0C5A-7F1F-F8A875D0D501}" dt="2025-06-25T16:47:46.724" v="182"/>
        <pc:sldMkLst>
          <pc:docMk/>
          <pc:sldMk cId="604471988" sldId="258"/>
        </pc:sldMkLst>
      </pc:sldChg>
      <pc:sldChg chg="mod modShow">
        <pc:chgData name="Juan Sebastián Giraldo" userId="S::juan.giraldo@stratesys-ts.com::2f39d921-1805-4fcf-9d80-fe66aeb20d18" providerId="AD" clId="Web-{7A2F8355-424F-0C5A-7F1F-F8A875D0D501}" dt="2025-06-25T16:47:48.208" v="194"/>
        <pc:sldMkLst>
          <pc:docMk/>
          <pc:sldMk cId="1037224496" sldId="259"/>
        </pc:sldMkLst>
      </pc:sldChg>
      <pc:sldChg chg="delSp modSp">
        <pc:chgData name="Juan Sebastián Giraldo" userId="S::juan.giraldo@stratesys-ts.com::2f39d921-1805-4fcf-9d80-fe66aeb20d18" providerId="AD" clId="Web-{7A2F8355-424F-0C5A-7F1F-F8A875D0D501}" dt="2025-06-25T16:30:00.358" v="52" actId="20577"/>
        <pc:sldMkLst>
          <pc:docMk/>
          <pc:sldMk cId="3265842886" sldId="262"/>
        </pc:sldMkLst>
        <pc:spChg chg="mod">
          <ac:chgData name="Juan Sebastián Giraldo" userId="S::juan.giraldo@stratesys-ts.com::2f39d921-1805-4fcf-9d80-fe66aeb20d18" providerId="AD" clId="Web-{7A2F8355-424F-0C5A-7F1F-F8A875D0D501}" dt="2025-06-25T16:30:00.358" v="52" actId="20577"/>
          <ac:spMkLst>
            <pc:docMk/>
            <pc:sldMk cId="3265842886" sldId="262"/>
            <ac:spMk id="26" creationId="{0C01B7B8-4BC3-E315-ADC1-FF2659B6D01E}"/>
          </ac:spMkLst>
        </pc:spChg>
        <pc:spChg chg="mod">
          <ac:chgData name="Juan Sebastián Giraldo" userId="S::juan.giraldo@stratesys-ts.com::2f39d921-1805-4fcf-9d80-fe66aeb20d18" providerId="AD" clId="Web-{7A2F8355-424F-0C5A-7F1F-F8A875D0D501}" dt="2025-06-25T16:29:54.702" v="50" actId="20577"/>
          <ac:spMkLst>
            <pc:docMk/>
            <pc:sldMk cId="3265842886" sldId="262"/>
            <ac:spMk id="32" creationId="{22AD949C-F413-A1D8-6268-6AFB5FC92EA6}"/>
          </ac:spMkLst>
        </pc:spChg>
      </pc:sldChg>
      <pc:sldChg chg="delSp modSp">
        <pc:chgData name="Juan Sebastián Giraldo" userId="S::juan.giraldo@stratesys-ts.com::2f39d921-1805-4fcf-9d80-fe66aeb20d18" providerId="AD" clId="Web-{7A2F8355-424F-0C5A-7F1F-F8A875D0D501}" dt="2025-06-25T16:10:21.379" v="11" actId="20577"/>
        <pc:sldMkLst>
          <pc:docMk/>
          <pc:sldMk cId="793329721" sldId="263"/>
        </pc:sldMkLst>
        <pc:spChg chg="mod">
          <ac:chgData name="Juan Sebastián Giraldo" userId="S::juan.giraldo@stratesys-ts.com::2f39d921-1805-4fcf-9d80-fe66aeb20d18" providerId="AD" clId="Web-{7A2F8355-424F-0C5A-7F1F-F8A875D0D501}" dt="2025-06-25T16:09:32.018" v="4" actId="20577"/>
          <ac:spMkLst>
            <pc:docMk/>
            <pc:sldMk cId="793329721" sldId="263"/>
            <ac:spMk id="2" creationId="{380A94E6-B6DC-CF23-CD05-090469FD46C3}"/>
          </ac:spMkLst>
        </pc:spChg>
        <pc:spChg chg="mod">
          <ac:chgData name="Juan Sebastián Giraldo" userId="S::juan.giraldo@stratesys-ts.com::2f39d921-1805-4fcf-9d80-fe66aeb20d18" providerId="AD" clId="Web-{7A2F8355-424F-0C5A-7F1F-F8A875D0D501}" dt="2025-06-25T16:10:21.379" v="11" actId="20577"/>
          <ac:spMkLst>
            <pc:docMk/>
            <pc:sldMk cId="793329721" sldId="263"/>
            <ac:spMk id="38" creationId="{11D906B7-EA79-DF17-3E53-7AB5868D2A00}"/>
          </ac:spMkLst>
        </pc:spChg>
      </pc:sldChg>
      <pc:sldChg chg="modSp">
        <pc:chgData name="Juan Sebastián Giraldo" userId="S::juan.giraldo@stratesys-ts.com::2f39d921-1805-4fcf-9d80-fe66aeb20d18" providerId="AD" clId="Web-{7A2F8355-424F-0C5A-7F1F-F8A875D0D501}" dt="2025-06-25T16:11:14.240" v="13" actId="20577"/>
        <pc:sldMkLst>
          <pc:docMk/>
          <pc:sldMk cId="3253122166" sldId="264"/>
        </pc:sldMkLst>
        <pc:spChg chg="mod">
          <ac:chgData name="Juan Sebastián Giraldo" userId="S::juan.giraldo@stratesys-ts.com::2f39d921-1805-4fcf-9d80-fe66aeb20d18" providerId="AD" clId="Web-{7A2F8355-424F-0C5A-7F1F-F8A875D0D501}" dt="2025-06-25T16:11:14.240" v="13" actId="20577"/>
          <ac:spMkLst>
            <pc:docMk/>
            <pc:sldMk cId="3253122166" sldId="264"/>
            <ac:spMk id="2" creationId="{40DAC20E-97BC-E0A5-1133-3BBE17A382DA}"/>
          </ac:spMkLst>
        </pc:spChg>
      </pc:sldChg>
      <pc:sldChg chg="addSp modSp">
        <pc:chgData name="Juan Sebastián Giraldo" userId="S::juan.giraldo@stratesys-ts.com::2f39d921-1805-4fcf-9d80-fe66aeb20d18" providerId="AD" clId="Web-{7A2F8355-424F-0C5A-7F1F-F8A875D0D501}" dt="2025-06-25T16:17:50.364" v="23"/>
        <pc:sldMkLst>
          <pc:docMk/>
          <pc:sldMk cId="3322648466" sldId="267"/>
        </pc:sldMkLst>
        <pc:spChg chg="add mod">
          <ac:chgData name="Juan Sebastián Giraldo" userId="S::juan.giraldo@stratesys-ts.com::2f39d921-1805-4fcf-9d80-fe66aeb20d18" providerId="AD" clId="Web-{7A2F8355-424F-0C5A-7F1F-F8A875D0D501}" dt="2025-06-25T16:17:41.160" v="22"/>
          <ac:spMkLst>
            <pc:docMk/>
            <pc:sldMk cId="3322648466" sldId="267"/>
            <ac:spMk id="3" creationId="{B86E4D20-3FF6-9204-8C07-9D90A8A5675D}"/>
          </ac:spMkLst>
        </pc:spChg>
        <pc:grpChg chg="add">
          <ac:chgData name="Juan Sebastián Giraldo" userId="S::juan.giraldo@stratesys-ts.com::2f39d921-1805-4fcf-9d80-fe66aeb20d18" providerId="AD" clId="Web-{7A2F8355-424F-0C5A-7F1F-F8A875D0D501}" dt="2025-06-25T16:17:50.364" v="23"/>
          <ac:grpSpMkLst>
            <pc:docMk/>
            <pc:sldMk cId="3322648466" sldId="267"/>
            <ac:grpSpMk id="9" creationId="{60F49377-2BF8-6BED-86A5-6BD03BC1DDAC}"/>
          </ac:grpSpMkLst>
        </pc:grpChg>
        <pc:picChg chg="mod modCrop">
          <ac:chgData name="Juan Sebastián Giraldo" userId="S::juan.giraldo@stratesys-ts.com::2f39d921-1805-4fcf-9d80-fe66aeb20d18" providerId="AD" clId="Web-{7A2F8355-424F-0C5A-7F1F-F8A875D0D501}" dt="2025-06-25T16:17:21.550" v="18"/>
          <ac:picMkLst>
            <pc:docMk/>
            <pc:sldMk cId="3322648466" sldId="267"/>
            <ac:picMk id="11" creationId="{9308EA78-24AA-1CBF-F915-651F51ABCB94}"/>
          </ac:picMkLst>
        </pc:picChg>
      </pc:sldChg>
      <pc:sldChg chg="delSp modSp">
        <pc:chgData name="Juan Sebastián Giraldo" userId="S::juan.giraldo@stratesys-ts.com::2f39d921-1805-4fcf-9d80-fe66aeb20d18" providerId="AD" clId="Web-{7A2F8355-424F-0C5A-7F1F-F8A875D0D501}" dt="2025-06-25T16:23:50.876" v="41" actId="20577"/>
        <pc:sldMkLst>
          <pc:docMk/>
          <pc:sldMk cId="1995941214" sldId="271"/>
        </pc:sldMkLst>
        <pc:spChg chg="mod">
          <ac:chgData name="Juan Sebastián Giraldo" userId="S::juan.giraldo@stratesys-ts.com::2f39d921-1805-4fcf-9d80-fe66aeb20d18" providerId="AD" clId="Web-{7A2F8355-424F-0C5A-7F1F-F8A875D0D501}" dt="2025-06-25T16:19:56.462" v="26" actId="20577"/>
          <ac:spMkLst>
            <pc:docMk/>
            <pc:sldMk cId="1995941214" sldId="271"/>
            <ac:spMk id="2" creationId="{5FCA9E8B-313B-12BE-319E-32D1C8C1A0CA}"/>
          </ac:spMkLst>
        </pc:spChg>
        <pc:spChg chg="mod">
          <ac:chgData name="Juan Sebastián Giraldo" userId="S::juan.giraldo@stratesys-ts.com::2f39d921-1805-4fcf-9d80-fe66aeb20d18" providerId="AD" clId="Web-{7A2F8355-424F-0C5A-7F1F-F8A875D0D501}" dt="2025-06-25T16:23:50.876" v="41" actId="20577"/>
          <ac:spMkLst>
            <pc:docMk/>
            <pc:sldMk cId="1995941214" sldId="271"/>
            <ac:spMk id="5" creationId="{2E825777-0D2D-DD3A-7753-3BD4FEAE61A4}"/>
          </ac:spMkLst>
        </pc:spChg>
        <pc:spChg chg="mod">
          <ac:chgData name="Juan Sebastián Giraldo" userId="S::juan.giraldo@stratesys-ts.com::2f39d921-1805-4fcf-9d80-fe66aeb20d18" providerId="AD" clId="Web-{7A2F8355-424F-0C5A-7F1F-F8A875D0D501}" dt="2025-06-25T16:23:45.611" v="39" actId="20577"/>
          <ac:spMkLst>
            <pc:docMk/>
            <pc:sldMk cId="1995941214" sldId="271"/>
            <ac:spMk id="9" creationId="{C1C57CC7-311C-C6E8-E263-EBE9FC293E14}"/>
          </ac:spMkLst>
        </pc:spChg>
        <pc:spChg chg="mod">
          <ac:chgData name="Juan Sebastián Giraldo" userId="S::juan.giraldo@stratesys-ts.com::2f39d921-1805-4fcf-9d80-fe66aeb20d18" providerId="AD" clId="Web-{7A2F8355-424F-0C5A-7F1F-F8A875D0D501}" dt="2025-06-25T16:23:48.173" v="40" actId="20577"/>
          <ac:spMkLst>
            <pc:docMk/>
            <pc:sldMk cId="1995941214" sldId="271"/>
            <ac:spMk id="25" creationId="{20D37F77-CF0C-F34E-DA20-9687577A17A5}"/>
          </ac:spMkLst>
        </pc:spChg>
        <pc:spChg chg="mod">
          <ac:chgData name="Juan Sebastián Giraldo" userId="S::juan.giraldo@stratesys-ts.com::2f39d921-1805-4fcf-9d80-fe66aeb20d18" providerId="AD" clId="Web-{7A2F8355-424F-0C5A-7F1F-F8A875D0D501}" dt="2025-06-25T16:23:33.829" v="31" actId="20577"/>
          <ac:spMkLst>
            <pc:docMk/>
            <pc:sldMk cId="1995941214" sldId="271"/>
            <ac:spMk id="31" creationId="{F306251D-95F6-7473-B311-D3EEB558DFBC}"/>
          </ac:spMkLst>
        </pc:spChg>
      </pc:sldChg>
      <pc:sldChg chg="mod ord modShow">
        <pc:chgData name="Juan Sebastián Giraldo" userId="S::juan.giraldo@stratesys-ts.com::2f39d921-1805-4fcf-9d80-fe66aeb20d18" providerId="AD" clId="Web-{7A2F8355-424F-0C5A-7F1F-F8A875D0D501}" dt="2025-06-25T16:47:42.333" v="166"/>
        <pc:sldMkLst>
          <pc:docMk/>
          <pc:sldMk cId="1111737334" sldId="272"/>
        </pc:sldMkLst>
      </pc:sldChg>
      <pc:sldChg chg="ord">
        <pc:chgData name="Juan Sebastián Giraldo" userId="S::juan.giraldo@stratesys-ts.com::2f39d921-1805-4fcf-9d80-fe66aeb20d18" providerId="AD" clId="Web-{7A2F8355-424F-0C5A-7F1F-F8A875D0D501}" dt="2025-06-25T16:26:11.053" v="43"/>
        <pc:sldMkLst>
          <pc:docMk/>
          <pc:sldMk cId="3850521874" sldId="274"/>
        </pc:sldMkLst>
      </pc:sldChg>
      <pc:sldChg chg="delSp modSp">
        <pc:chgData name="Juan Sebastián Giraldo" userId="S::juan.giraldo@stratesys-ts.com::2f39d921-1805-4fcf-9d80-fe66aeb20d18" providerId="AD" clId="Web-{7A2F8355-424F-0C5A-7F1F-F8A875D0D501}" dt="2025-06-25T16:27:56.635" v="47"/>
        <pc:sldMkLst>
          <pc:docMk/>
          <pc:sldMk cId="3920024040" sldId="277"/>
        </pc:sldMkLst>
        <pc:spChg chg="mod">
          <ac:chgData name="Juan Sebastián Giraldo" userId="S::juan.giraldo@stratesys-ts.com::2f39d921-1805-4fcf-9d80-fe66aeb20d18" providerId="AD" clId="Web-{7A2F8355-424F-0C5A-7F1F-F8A875D0D501}" dt="2025-06-25T16:27:55.572" v="46" actId="20577"/>
          <ac:spMkLst>
            <pc:docMk/>
            <pc:sldMk cId="3920024040" sldId="277"/>
            <ac:spMk id="25" creationId="{C7C08D53-4B0E-23D2-A144-2A12AE398E88}"/>
          </ac:spMkLst>
        </pc:spChg>
      </pc:sldChg>
      <pc:sldChg chg="mod modShow">
        <pc:chgData name="Juan Sebastián Giraldo" userId="S::juan.giraldo@stratesys-ts.com::2f39d921-1805-4fcf-9d80-fe66aeb20d18" providerId="AD" clId="Web-{7A2F8355-424F-0C5A-7F1F-F8A875D0D501}" dt="2025-06-25T16:47:46.646" v="181"/>
        <pc:sldMkLst>
          <pc:docMk/>
          <pc:sldMk cId="3921957214" sldId="281"/>
        </pc:sldMkLst>
      </pc:sldChg>
      <pc:sldChg chg="mod modShow">
        <pc:chgData name="Juan Sebastián Giraldo" userId="S::juan.giraldo@stratesys-ts.com::2f39d921-1805-4fcf-9d80-fe66aeb20d18" providerId="AD" clId="Web-{7A2F8355-424F-0C5A-7F1F-F8A875D0D501}" dt="2025-06-25T16:47:46.052" v="178"/>
        <pc:sldMkLst>
          <pc:docMk/>
          <pc:sldMk cId="2578471178" sldId="282"/>
        </pc:sldMkLst>
      </pc:sldChg>
      <pc:sldChg chg="addSp modSp">
        <pc:chgData name="Juan Sebastián Giraldo" userId="S::juan.giraldo@stratesys-ts.com::2f39d921-1805-4fcf-9d80-fe66aeb20d18" providerId="AD" clId="Web-{7A2F8355-424F-0C5A-7F1F-F8A875D0D501}" dt="2025-06-25T16:45:59.376" v="165" actId="14100"/>
        <pc:sldMkLst>
          <pc:docMk/>
          <pc:sldMk cId="3193837987" sldId="283"/>
        </pc:sldMkLst>
        <pc:spChg chg="mod">
          <ac:chgData name="Juan Sebastián Giraldo" userId="S::juan.giraldo@stratesys-ts.com::2f39d921-1805-4fcf-9d80-fe66aeb20d18" providerId="AD" clId="Web-{7A2F8355-424F-0C5A-7F1F-F8A875D0D501}" dt="2025-06-25T16:30:45.282" v="53" actId="20577"/>
          <ac:spMkLst>
            <pc:docMk/>
            <pc:sldMk cId="3193837987" sldId="283"/>
            <ac:spMk id="3" creationId="{A2BF1F82-BA85-A854-CE8F-211F605EF834}"/>
          </ac:spMkLst>
        </pc:spChg>
        <pc:spChg chg="add mod">
          <ac:chgData name="Juan Sebastián Giraldo" userId="S::juan.giraldo@stratesys-ts.com::2f39d921-1805-4fcf-9d80-fe66aeb20d18" providerId="AD" clId="Web-{7A2F8355-424F-0C5A-7F1F-F8A875D0D501}" dt="2025-06-25T16:31:41.659" v="138" actId="14100"/>
          <ac:spMkLst>
            <pc:docMk/>
            <pc:sldMk cId="3193837987" sldId="283"/>
            <ac:spMk id="4" creationId="{AB703A68-9140-EF19-77FA-4C34083D53B3}"/>
          </ac:spMkLst>
        </pc:spChg>
        <pc:spChg chg="mod">
          <ac:chgData name="Juan Sebastián Giraldo" userId="S::juan.giraldo@stratesys-ts.com::2f39d921-1805-4fcf-9d80-fe66aeb20d18" providerId="AD" clId="Web-{7A2F8355-424F-0C5A-7F1F-F8A875D0D501}" dt="2025-06-25T16:31:34.143" v="118"/>
          <ac:spMkLst>
            <pc:docMk/>
            <pc:sldMk cId="3193837987" sldId="283"/>
            <ac:spMk id="8" creationId="{F149EE24-455E-4C4C-A6E3-94B4A553F216}"/>
          </ac:spMkLst>
        </pc:spChg>
        <pc:spChg chg="mod">
          <ac:chgData name="Juan Sebastián Giraldo" userId="S::juan.giraldo@stratesys-ts.com::2f39d921-1805-4fcf-9d80-fe66aeb20d18" providerId="AD" clId="Web-{7A2F8355-424F-0C5A-7F1F-F8A875D0D501}" dt="2025-06-25T16:31:34.143" v="119"/>
          <ac:spMkLst>
            <pc:docMk/>
            <pc:sldMk cId="3193837987" sldId="283"/>
            <ac:spMk id="9" creationId="{1B8A7490-DBB8-3F44-1C5A-F03BBBDBC01D}"/>
          </ac:spMkLst>
        </pc:spChg>
        <pc:spChg chg="add mod">
          <ac:chgData name="Juan Sebastián Giraldo" userId="S::juan.giraldo@stratesys-ts.com::2f39d921-1805-4fcf-9d80-fe66aeb20d18" providerId="AD" clId="Web-{7A2F8355-424F-0C5A-7F1F-F8A875D0D501}" dt="2025-06-25T16:32:26.832" v="150" actId="14100"/>
          <ac:spMkLst>
            <pc:docMk/>
            <pc:sldMk cId="3193837987" sldId="283"/>
            <ac:spMk id="12" creationId="{4255C0AE-12FC-2CA5-AA71-2E5465268A05}"/>
          </ac:spMkLst>
        </pc:spChg>
        <pc:spChg chg="mod">
          <ac:chgData name="Juan Sebastián Giraldo" userId="S::juan.giraldo@stratesys-ts.com::2f39d921-1805-4fcf-9d80-fe66aeb20d18" providerId="AD" clId="Web-{7A2F8355-424F-0C5A-7F1F-F8A875D0D501}" dt="2025-06-25T16:31:34.143" v="121"/>
          <ac:spMkLst>
            <pc:docMk/>
            <pc:sldMk cId="3193837987" sldId="283"/>
            <ac:spMk id="14" creationId="{90515D6F-4577-ED70-AD56-F876F23D5D91}"/>
          </ac:spMkLst>
        </pc:spChg>
        <pc:spChg chg="mod">
          <ac:chgData name="Juan Sebastián Giraldo" userId="S::juan.giraldo@stratesys-ts.com::2f39d921-1805-4fcf-9d80-fe66aeb20d18" providerId="AD" clId="Web-{7A2F8355-424F-0C5A-7F1F-F8A875D0D501}" dt="2025-06-25T16:31:34.143" v="122"/>
          <ac:spMkLst>
            <pc:docMk/>
            <pc:sldMk cId="3193837987" sldId="283"/>
            <ac:spMk id="15" creationId="{63F59E47-1939-B051-7B1B-62D02CE0D1F2}"/>
          </ac:spMkLst>
        </pc:spChg>
        <pc:spChg chg="add mod">
          <ac:chgData name="Juan Sebastián Giraldo" userId="S::juan.giraldo@stratesys-ts.com::2f39d921-1805-4fcf-9d80-fe66aeb20d18" providerId="AD" clId="Web-{7A2F8355-424F-0C5A-7F1F-F8A875D0D501}" dt="2025-06-25T16:31:50.534" v="139" actId="14100"/>
          <ac:spMkLst>
            <pc:docMk/>
            <pc:sldMk cId="3193837987" sldId="283"/>
            <ac:spMk id="18" creationId="{E0A4AA8C-1F82-947D-BD0C-589C294B34A9}"/>
          </ac:spMkLst>
        </pc:spChg>
        <pc:spChg chg="mod">
          <ac:chgData name="Juan Sebastián Giraldo" userId="S::juan.giraldo@stratesys-ts.com::2f39d921-1805-4fcf-9d80-fe66aeb20d18" providerId="AD" clId="Web-{7A2F8355-424F-0C5A-7F1F-F8A875D0D501}" dt="2025-06-25T16:31:34.143" v="124"/>
          <ac:spMkLst>
            <pc:docMk/>
            <pc:sldMk cId="3193837987" sldId="283"/>
            <ac:spMk id="20" creationId="{1FDE82F8-CCC1-2A45-9AD1-CDE7025E39BD}"/>
          </ac:spMkLst>
        </pc:spChg>
        <pc:spChg chg="mod">
          <ac:chgData name="Juan Sebastián Giraldo" userId="S::juan.giraldo@stratesys-ts.com::2f39d921-1805-4fcf-9d80-fe66aeb20d18" providerId="AD" clId="Web-{7A2F8355-424F-0C5A-7F1F-F8A875D0D501}" dt="2025-06-25T16:31:34.143" v="125"/>
          <ac:spMkLst>
            <pc:docMk/>
            <pc:sldMk cId="3193837987" sldId="283"/>
            <ac:spMk id="21" creationId="{B611F1B0-BD5E-8FA0-F610-5F84573EFF21}"/>
          </ac:spMkLst>
        </pc:spChg>
        <pc:spChg chg="add mod">
          <ac:chgData name="Juan Sebastián Giraldo" userId="S::juan.giraldo@stratesys-ts.com::2f39d921-1805-4fcf-9d80-fe66aeb20d18" providerId="AD" clId="Web-{7A2F8355-424F-0C5A-7F1F-F8A875D0D501}" dt="2025-06-25T16:32:13.847" v="145" actId="1076"/>
          <ac:spMkLst>
            <pc:docMk/>
            <pc:sldMk cId="3193837987" sldId="283"/>
            <ac:spMk id="24" creationId="{6D4D71D0-A4BF-715A-77E7-81FFB412207B}"/>
          </ac:spMkLst>
        </pc:spChg>
        <pc:spChg chg="mod">
          <ac:chgData name="Juan Sebastián Giraldo" userId="S::juan.giraldo@stratesys-ts.com::2f39d921-1805-4fcf-9d80-fe66aeb20d18" providerId="AD" clId="Web-{7A2F8355-424F-0C5A-7F1F-F8A875D0D501}" dt="2025-06-25T16:31:34.143" v="127"/>
          <ac:spMkLst>
            <pc:docMk/>
            <pc:sldMk cId="3193837987" sldId="283"/>
            <ac:spMk id="26" creationId="{1E6B7BCC-E093-1878-F09A-B4519476D565}"/>
          </ac:spMkLst>
        </pc:spChg>
        <pc:spChg chg="mod">
          <ac:chgData name="Juan Sebastián Giraldo" userId="S::juan.giraldo@stratesys-ts.com::2f39d921-1805-4fcf-9d80-fe66aeb20d18" providerId="AD" clId="Web-{7A2F8355-424F-0C5A-7F1F-F8A875D0D501}" dt="2025-06-25T16:31:34.143" v="128"/>
          <ac:spMkLst>
            <pc:docMk/>
            <pc:sldMk cId="3193837987" sldId="283"/>
            <ac:spMk id="27" creationId="{AD7B8EE7-BA4D-476F-451D-DFF1073E34EA}"/>
          </ac:spMkLst>
        </pc:spChg>
        <pc:spChg chg="add mod">
          <ac:chgData name="Juan Sebastián Giraldo" userId="S::juan.giraldo@stratesys-ts.com::2f39d921-1805-4fcf-9d80-fe66aeb20d18" providerId="AD" clId="Web-{7A2F8355-424F-0C5A-7F1F-F8A875D0D501}" dt="2025-06-25T16:32:30.942" v="151" actId="14100"/>
          <ac:spMkLst>
            <pc:docMk/>
            <pc:sldMk cId="3193837987" sldId="283"/>
            <ac:spMk id="30" creationId="{C7B3812A-FF02-CEC7-CB8C-84B08494C7CA}"/>
          </ac:spMkLst>
        </pc:spChg>
        <pc:spChg chg="mod">
          <ac:chgData name="Juan Sebastián Giraldo" userId="S::juan.giraldo@stratesys-ts.com::2f39d921-1805-4fcf-9d80-fe66aeb20d18" providerId="AD" clId="Web-{7A2F8355-424F-0C5A-7F1F-F8A875D0D501}" dt="2025-06-25T16:32:34.707" v="152" actId="1076"/>
          <ac:spMkLst>
            <pc:docMk/>
            <pc:sldMk cId="3193837987" sldId="283"/>
            <ac:spMk id="32" creationId="{D7986C1C-B5F1-1DBB-163E-875C766B20C5}"/>
          </ac:spMkLst>
        </pc:spChg>
        <pc:spChg chg="mod">
          <ac:chgData name="Juan Sebastián Giraldo" userId="S::juan.giraldo@stratesys-ts.com::2f39d921-1805-4fcf-9d80-fe66aeb20d18" providerId="AD" clId="Web-{7A2F8355-424F-0C5A-7F1F-F8A875D0D501}" dt="2025-06-25T16:31:34.143" v="131"/>
          <ac:spMkLst>
            <pc:docMk/>
            <pc:sldMk cId="3193837987" sldId="283"/>
            <ac:spMk id="33" creationId="{E6625A72-F98E-2DB0-6463-567A619775F9}"/>
          </ac:spMkLst>
        </pc:spChg>
        <pc:spChg chg="add mod">
          <ac:chgData name="Juan Sebastián Giraldo" userId="S::juan.giraldo@stratesys-ts.com::2f39d921-1805-4fcf-9d80-fe66aeb20d18" providerId="AD" clId="Web-{7A2F8355-424F-0C5A-7F1F-F8A875D0D501}" dt="2025-06-25T16:41:12.679" v="160" actId="14100"/>
          <ac:spMkLst>
            <pc:docMk/>
            <pc:sldMk cId="3193837987" sldId="283"/>
            <ac:spMk id="36" creationId="{DEAD121A-F06B-FC88-F213-282F9B5482F6}"/>
          </ac:spMkLst>
        </pc:spChg>
        <pc:spChg chg="mod">
          <ac:chgData name="Juan Sebastián Giraldo" userId="S::juan.giraldo@stratesys-ts.com::2f39d921-1805-4fcf-9d80-fe66aeb20d18" providerId="AD" clId="Web-{7A2F8355-424F-0C5A-7F1F-F8A875D0D501}" dt="2025-06-25T16:41:15.757" v="161" actId="14100"/>
          <ac:spMkLst>
            <pc:docMk/>
            <pc:sldMk cId="3193837987" sldId="283"/>
            <ac:spMk id="38" creationId="{D550D651-775C-BB8D-E408-4361408DC488}"/>
          </ac:spMkLst>
        </pc:spChg>
        <pc:spChg chg="mod">
          <ac:chgData name="Juan Sebastián Giraldo" userId="S::juan.giraldo@stratesys-ts.com::2f39d921-1805-4fcf-9d80-fe66aeb20d18" providerId="AD" clId="Web-{7A2F8355-424F-0C5A-7F1F-F8A875D0D501}" dt="2025-06-25T16:31:34.158" v="134"/>
          <ac:spMkLst>
            <pc:docMk/>
            <pc:sldMk cId="3193837987" sldId="283"/>
            <ac:spMk id="39" creationId="{FD063F6F-91CA-FED4-4B04-2F0EBCCB182F}"/>
          </ac:spMkLst>
        </pc:spChg>
        <pc:spChg chg="add mod">
          <ac:chgData name="Juan Sebastián Giraldo" userId="S::juan.giraldo@stratesys-ts.com::2f39d921-1805-4fcf-9d80-fe66aeb20d18" providerId="AD" clId="Web-{7A2F8355-424F-0C5A-7F1F-F8A875D0D501}" dt="2025-06-25T16:45:59.376" v="165" actId="14100"/>
          <ac:spMkLst>
            <pc:docMk/>
            <pc:sldMk cId="3193837987" sldId="283"/>
            <ac:spMk id="42" creationId="{1AF2619E-E952-3ED7-81BA-CE8FCC575D7F}"/>
          </ac:spMkLst>
        </pc:spChg>
        <pc:spChg chg="mod">
          <ac:chgData name="Juan Sebastián Giraldo" userId="S::juan.giraldo@stratesys-ts.com::2f39d921-1805-4fcf-9d80-fe66aeb20d18" providerId="AD" clId="Web-{7A2F8355-424F-0C5A-7F1F-F8A875D0D501}" dt="2025-06-25T16:31:34.158" v="136"/>
          <ac:spMkLst>
            <pc:docMk/>
            <pc:sldMk cId="3193837987" sldId="283"/>
            <ac:spMk id="44" creationId="{9A8E96C9-DBCC-DE7B-F536-80004B12543F}"/>
          </ac:spMkLst>
        </pc:spChg>
        <pc:spChg chg="mod">
          <ac:chgData name="Juan Sebastián Giraldo" userId="S::juan.giraldo@stratesys-ts.com::2f39d921-1805-4fcf-9d80-fe66aeb20d18" providerId="AD" clId="Web-{7A2F8355-424F-0C5A-7F1F-F8A875D0D501}" dt="2025-06-25T16:31:34.565" v="137"/>
          <ac:spMkLst>
            <pc:docMk/>
            <pc:sldMk cId="3193837987" sldId="283"/>
            <ac:spMk id="45" creationId="{ED01EB0C-3CEB-4F4B-C4DB-E2D7A8E40CB8}"/>
          </ac:spMkLst>
        </pc:spChg>
        <pc:grpChg chg="add mod">
          <ac:chgData name="Juan Sebastián Giraldo" userId="S::juan.giraldo@stratesys-ts.com::2f39d921-1805-4fcf-9d80-fe66aeb20d18" providerId="AD" clId="Web-{7A2F8355-424F-0C5A-7F1F-F8A875D0D501}" dt="2025-06-25T16:31:27.736" v="83" actId="14100"/>
          <ac:grpSpMkLst>
            <pc:docMk/>
            <pc:sldMk cId="3193837987" sldId="283"/>
            <ac:grpSpMk id="10" creationId="{8EA81130-B052-D154-1C68-BC45FD69329B}"/>
          </ac:grpSpMkLst>
        </pc:grpChg>
        <pc:grpChg chg="add mod">
          <ac:chgData name="Juan Sebastián Giraldo" userId="S::juan.giraldo@stratesys-ts.com::2f39d921-1805-4fcf-9d80-fe66aeb20d18" providerId="AD" clId="Web-{7A2F8355-424F-0C5A-7F1F-F8A875D0D501}" dt="2025-06-25T16:32:02.300" v="143" actId="1076"/>
          <ac:grpSpMkLst>
            <pc:docMk/>
            <pc:sldMk cId="3193837987" sldId="283"/>
            <ac:grpSpMk id="16" creationId="{A9BE151C-9F78-E992-2F0B-E04E27C4332C}"/>
          </ac:grpSpMkLst>
        </pc:grpChg>
        <pc:grpChg chg="add mod">
          <ac:chgData name="Juan Sebastián Giraldo" userId="S::juan.giraldo@stratesys-ts.com::2f39d921-1805-4fcf-9d80-fe66aeb20d18" providerId="AD" clId="Web-{7A2F8355-424F-0C5A-7F1F-F8A875D0D501}" dt="2025-06-25T16:31:27.830" v="87" actId="14100"/>
          <ac:grpSpMkLst>
            <pc:docMk/>
            <pc:sldMk cId="3193837987" sldId="283"/>
            <ac:grpSpMk id="22" creationId="{70993097-3DD6-D1B9-7252-5AC22F5F0962}"/>
          </ac:grpSpMkLst>
        </pc:grpChg>
        <pc:grpChg chg="add mod">
          <ac:chgData name="Juan Sebastián Giraldo" userId="S::juan.giraldo@stratesys-ts.com::2f39d921-1805-4fcf-9d80-fe66aeb20d18" providerId="AD" clId="Web-{7A2F8355-424F-0C5A-7F1F-F8A875D0D501}" dt="2025-06-25T16:32:13.878" v="146" actId="1076"/>
          <ac:grpSpMkLst>
            <pc:docMk/>
            <pc:sldMk cId="3193837987" sldId="283"/>
            <ac:grpSpMk id="28" creationId="{3135742C-54FF-D37E-3986-506660B941A1}"/>
          </ac:grpSpMkLst>
        </pc:grpChg>
        <pc:grpChg chg="add mod">
          <ac:chgData name="Juan Sebastián Giraldo" userId="S::juan.giraldo@stratesys-ts.com::2f39d921-1805-4fcf-9d80-fe66aeb20d18" providerId="AD" clId="Web-{7A2F8355-424F-0C5A-7F1F-F8A875D0D501}" dt="2025-06-25T16:32:40.770" v="154" actId="1076"/>
          <ac:grpSpMkLst>
            <pc:docMk/>
            <pc:sldMk cId="3193837987" sldId="283"/>
            <ac:grpSpMk id="34" creationId="{FF1EB7FD-DD43-1EE5-A918-E61720B93E00}"/>
          </ac:grpSpMkLst>
        </pc:grpChg>
        <pc:grpChg chg="add mod">
          <ac:chgData name="Juan Sebastián Giraldo" userId="S::juan.giraldo@stratesys-ts.com::2f39d921-1805-4fcf-9d80-fe66aeb20d18" providerId="AD" clId="Web-{7A2F8355-424F-0C5A-7F1F-F8A875D0D501}" dt="2025-06-25T16:41:18.538" v="162" actId="14100"/>
          <ac:grpSpMkLst>
            <pc:docMk/>
            <pc:sldMk cId="3193837987" sldId="283"/>
            <ac:grpSpMk id="40" creationId="{FCBA1556-6219-0DA1-814C-4D8BBC94E71D}"/>
          </ac:grpSpMkLst>
        </pc:grpChg>
        <pc:grpChg chg="add mod">
          <ac:chgData name="Juan Sebastián Giraldo" userId="S::juan.giraldo@stratesys-ts.com::2f39d921-1805-4fcf-9d80-fe66aeb20d18" providerId="AD" clId="Web-{7A2F8355-424F-0C5A-7F1F-F8A875D0D501}" dt="2025-06-25T16:41:28.929" v="164" actId="1076"/>
          <ac:grpSpMkLst>
            <pc:docMk/>
            <pc:sldMk cId="3193837987" sldId="283"/>
            <ac:grpSpMk id="46" creationId="{99890237-4A12-437B-3B22-4CDB11EF75E2}"/>
          </ac:grpSpMkLst>
        </pc:grpChg>
      </pc:sldChg>
      <pc:sldChg chg="mod modShow">
        <pc:chgData name="Juan Sebastián Giraldo" userId="S::juan.giraldo@stratesys-ts.com::2f39d921-1805-4fcf-9d80-fe66aeb20d18" providerId="AD" clId="Web-{7A2F8355-424F-0C5A-7F1F-F8A875D0D501}" dt="2025-06-25T16:47:46.224" v="179"/>
        <pc:sldMkLst>
          <pc:docMk/>
          <pc:sldMk cId="3490650167" sldId="2146848955"/>
        </pc:sldMkLst>
      </pc:sldChg>
      <pc:sldChg chg="mod modShow">
        <pc:chgData name="Juan Sebastián Giraldo" userId="S::juan.giraldo@stratesys-ts.com::2f39d921-1805-4fcf-9d80-fe66aeb20d18" providerId="AD" clId="Web-{7A2F8355-424F-0C5A-7F1F-F8A875D0D501}" dt="2025-06-25T16:47:48.583" v="195"/>
        <pc:sldMkLst>
          <pc:docMk/>
          <pc:sldMk cId="997910258" sldId="2147479169"/>
        </pc:sldMkLst>
      </pc:sldChg>
      <pc:sldChg chg="mod modShow">
        <pc:chgData name="Juan Sebastián Giraldo" userId="S::juan.giraldo@stratesys-ts.com::2f39d921-1805-4fcf-9d80-fe66aeb20d18" providerId="AD" clId="Web-{7A2F8355-424F-0C5A-7F1F-F8A875D0D501}" dt="2025-06-25T16:47:44.099" v="167"/>
        <pc:sldMkLst>
          <pc:docMk/>
          <pc:sldMk cId="690403044" sldId="2147479848"/>
        </pc:sldMkLst>
      </pc:sldChg>
      <pc:sldChg chg="mod modShow">
        <pc:chgData name="Juan Sebastián Giraldo" userId="S::juan.giraldo@stratesys-ts.com::2f39d921-1805-4fcf-9d80-fe66aeb20d18" providerId="AD" clId="Web-{7A2F8355-424F-0C5A-7F1F-F8A875D0D501}" dt="2025-06-25T16:47:45.177" v="175"/>
        <pc:sldMkLst>
          <pc:docMk/>
          <pc:sldMk cId="792726629" sldId="2147479857"/>
        </pc:sldMkLst>
      </pc:sldChg>
      <pc:sldChg chg="mod modShow">
        <pc:chgData name="Juan Sebastián Giraldo" userId="S::juan.giraldo@stratesys-ts.com::2f39d921-1805-4fcf-9d80-fe66aeb20d18" providerId="AD" clId="Web-{7A2F8355-424F-0C5A-7F1F-F8A875D0D501}" dt="2025-06-25T16:47:47.333" v="185"/>
        <pc:sldMkLst>
          <pc:docMk/>
          <pc:sldMk cId="389785373" sldId="2147479870"/>
        </pc:sldMkLst>
      </pc:sldChg>
      <pc:sldChg chg="mod modShow">
        <pc:chgData name="Juan Sebastián Giraldo" userId="S::juan.giraldo@stratesys-ts.com::2f39d921-1805-4fcf-9d80-fe66aeb20d18" providerId="AD" clId="Web-{7A2F8355-424F-0C5A-7F1F-F8A875D0D501}" dt="2025-06-25T16:47:46.396" v="180"/>
        <pc:sldMkLst>
          <pc:docMk/>
          <pc:sldMk cId="59547596" sldId="2147483547"/>
        </pc:sldMkLst>
      </pc:sldChg>
      <pc:sldChg chg="mod modShow">
        <pc:chgData name="Juan Sebastián Giraldo" userId="S::juan.giraldo@stratesys-ts.com::2f39d921-1805-4fcf-9d80-fe66aeb20d18" providerId="AD" clId="Web-{7A2F8355-424F-0C5A-7F1F-F8A875D0D501}" dt="2025-06-25T16:47:47.427" v="186"/>
        <pc:sldMkLst>
          <pc:docMk/>
          <pc:sldMk cId="425399150" sldId="2147483614"/>
        </pc:sldMkLst>
      </pc:sldChg>
      <pc:sldChg chg="mod modShow">
        <pc:chgData name="Juan Sebastián Giraldo" userId="S::juan.giraldo@stratesys-ts.com::2f39d921-1805-4fcf-9d80-fe66aeb20d18" providerId="AD" clId="Web-{7A2F8355-424F-0C5A-7F1F-F8A875D0D501}" dt="2025-06-25T16:47:45.005" v="174"/>
        <pc:sldMkLst>
          <pc:docMk/>
          <pc:sldMk cId="1471242666" sldId="2147483618"/>
        </pc:sldMkLst>
      </pc:sldChg>
      <pc:sldChg chg="mod modShow">
        <pc:chgData name="Juan Sebastián Giraldo" userId="S::juan.giraldo@stratesys-ts.com::2f39d921-1805-4fcf-9d80-fe66aeb20d18" providerId="AD" clId="Web-{7A2F8355-424F-0C5A-7F1F-F8A875D0D501}" dt="2025-06-25T16:47:47.521" v="188"/>
        <pc:sldMkLst>
          <pc:docMk/>
          <pc:sldMk cId="3952087565" sldId="2147483621"/>
        </pc:sldMkLst>
      </pc:sldChg>
      <pc:sldChg chg="mod modShow">
        <pc:chgData name="Juan Sebastián Giraldo" userId="S::juan.giraldo@stratesys-ts.com::2f39d921-1805-4fcf-9d80-fe66aeb20d18" providerId="AD" clId="Web-{7A2F8355-424F-0C5A-7F1F-F8A875D0D501}" dt="2025-06-25T16:47:47.474" v="187"/>
        <pc:sldMkLst>
          <pc:docMk/>
          <pc:sldMk cId="3844352744" sldId="2147483622"/>
        </pc:sldMkLst>
      </pc:sldChg>
      <pc:sldChg chg="mod modShow">
        <pc:chgData name="Juan Sebastián Giraldo" userId="S::juan.giraldo@stratesys-ts.com::2f39d921-1805-4fcf-9d80-fe66aeb20d18" providerId="AD" clId="Web-{7A2F8355-424F-0C5A-7F1F-F8A875D0D501}" dt="2025-06-25T16:47:45.771" v="177"/>
        <pc:sldMkLst>
          <pc:docMk/>
          <pc:sldMk cId="4242746514" sldId="2147483627"/>
        </pc:sldMkLst>
      </pc:sldChg>
      <pc:sldChg chg="mod modShow">
        <pc:chgData name="Juan Sebastián Giraldo" userId="S::juan.giraldo@stratesys-ts.com::2f39d921-1805-4fcf-9d80-fe66aeb20d18" providerId="AD" clId="Web-{7A2F8355-424F-0C5A-7F1F-F8A875D0D501}" dt="2025-06-25T16:47:47.896" v="190"/>
        <pc:sldMkLst>
          <pc:docMk/>
          <pc:sldMk cId="4073311785" sldId="2147483628"/>
        </pc:sldMkLst>
      </pc:sldChg>
      <pc:sldChg chg="mod modShow">
        <pc:chgData name="Juan Sebastián Giraldo" userId="S::juan.giraldo@stratesys-ts.com::2f39d921-1805-4fcf-9d80-fe66aeb20d18" providerId="AD" clId="Web-{7A2F8355-424F-0C5A-7F1F-F8A875D0D501}" dt="2025-06-25T16:47:44.864" v="172"/>
        <pc:sldMkLst>
          <pc:docMk/>
          <pc:sldMk cId="2177597232" sldId="2147483631"/>
        </pc:sldMkLst>
      </pc:sldChg>
      <pc:sldChg chg="mod modShow">
        <pc:chgData name="Juan Sebastián Giraldo" userId="S::juan.giraldo@stratesys-ts.com::2f39d921-1805-4fcf-9d80-fe66aeb20d18" providerId="AD" clId="Web-{7A2F8355-424F-0C5A-7F1F-F8A875D0D501}" dt="2025-06-25T16:47:45.364" v="176"/>
        <pc:sldMkLst>
          <pc:docMk/>
          <pc:sldMk cId="2711351142" sldId="2147483632"/>
        </pc:sldMkLst>
      </pc:sldChg>
      <pc:sldChg chg="mod modShow">
        <pc:chgData name="Juan Sebastián Giraldo" userId="S::juan.giraldo@stratesys-ts.com::2f39d921-1805-4fcf-9d80-fe66aeb20d18" providerId="AD" clId="Web-{7A2F8355-424F-0C5A-7F1F-F8A875D0D501}" dt="2025-06-25T16:47:44.333" v="169"/>
        <pc:sldMkLst>
          <pc:docMk/>
          <pc:sldMk cId="2807532808" sldId="2147483635"/>
        </pc:sldMkLst>
      </pc:sldChg>
      <pc:sldChg chg="mod modShow">
        <pc:chgData name="Juan Sebastián Giraldo" userId="S::juan.giraldo@stratesys-ts.com::2f39d921-1805-4fcf-9d80-fe66aeb20d18" providerId="AD" clId="Web-{7A2F8355-424F-0C5A-7F1F-F8A875D0D501}" dt="2025-06-25T16:47:44.192" v="168"/>
        <pc:sldMkLst>
          <pc:docMk/>
          <pc:sldMk cId="1631264625" sldId="2147483637"/>
        </pc:sldMkLst>
      </pc:sldChg>
      <pc:sldChg chg="mod modShow">
        <pc:chgData name="Juan Sebastián Giraldo" userId="S::juan.giraldo@stratesys-ts.com::2f39d921-1805-4fcf-9d80-fe66aeb20d18" providerId="AD" clId="Web-{7A2F8355-424F-0C5A-7F1F-F8A875D0D501}" dt="2025-06-25T16:47:47.693" v="189"/>
        <pc:sldMkLst>
          <pc:docMk/>
          <pc:sldMk cId="1968056082" sldId="2147483638"/>
        </pc:sldMkLst>
      </pc:sldChg>
      <pc:sldChg chg="mod modShow">
        <pc:chgData name="Juan Sebastián Giraldo" userId="S::juan.giraldo@stratesys-ts.com::2f39d921-1805-4fcf-9d80-fe66aeb20d18" providerId="AD" clId="Web-{7A2F8355-424F-0C5A-7F1F-F8A875D0D501}" dt="2025-06-25T16:47:48.146" v="193"/>
        <pc:sldMkLst>
          <pc:docMk/>
          <pc:sldMk cId="3671480399" sldId="2147483640"/>
        </pc:sldMkLst>
      </pc:sldChg>
      <pc:sldChg chg="mod modShow">
        <pc:chgData name="Juan Sebastián Giraldo" userId="S::juan.giraldo@stratesys-ts.com::2f39d921-1805-4fcf-9d80-fe66aeb20d18" providerId="AD" clId="Web-{7A2F8355-424F-0C5A-7F1F-F8A875D0D501}" dt="2025-06-25T16:47:46.802" v="183"/>
        <pc:sldMkLst>
          <pc:docMk/>
          <pc:sldMk cId="1919684252" sldId="2147483642"/>
        </pc:sldMkLst>
      </pc:sldChg>
      <pc:sldChg chg="mod modShow">
        <pc:chgData name="Juan Sebastián Giraldo" userId="S::juan.giraldo@stratesys-ts.com::2f39d921-1805-4fcf-9d80-fe66aeb20d18" providerId="AD" clId="Web-{7A2F8355-424F-0C5A-7F1F-F8A875D0D501}" dt="2025-06-25T16:47:44.489" v="170"/>
        <pc:sldMkLst>
          <pc:docMk/>
          <pc:sldMk cId="4191510517" sldId="2147483643"/>
        </pc:sldMkLst>
      </pc:sldChg>
      <pc:sldChg chg="mod modShow">
        <pc:chgData name="Juan Sebastián Giraldo" userId="S::juan.giraldo@stratesys-ts.com::2f39d921-1805-4fcf-9d80-fe66aeb20d18" providerId="AD" clId="Web-{7A2F8355-424F-0C5A-7F1F-F8A875D0D501}" dt="2025-06-25T16:47:44.943" v="173"/>
        <pc:sldMkLst>
          <pc:docMk/>
          <pc:sldMk cId="3284153360" sldId="2147483645"/>
        </pc:sldMkLst>
      </pc:sldChg>
      <pc:sldChg chg="mod modShow">
        <pc:chgData name="Juan Sebastián Giraldo" userId="S::juan.giraldo@stratesys-ts.com::2f39d921-1805-4fcf-9d80-fe66aeb20d18" providerId="AD" clId="Web-{7A2F8355-424F-0C5A-7F1F-F8A875D0D501}" dt="2025-06-25T16:47:44.739" v="171"/>
        <pc:sldMkLst>
          <pc:docMk/>
          <pc:sldMk cId="367700674" sldId="2147483646"/>
        </pc:sldMkLst>
      </pc:sldChg>
      <pc:sldChg chg="mod modShow">
        <pc:chgData name="Juan Sebastián Giraldo" userId="S::juan.giraldo@stratesys-ts.com::2f39d921-1805-4fcf-9d80-fe66aeb20d18" providerId="AD" clId="Web-{7A2F8355-424F-0C5A-7F1F-F8A875D0D501}" dt="2025-06-25T16:47:47.943" v="191"/>
        <pc:sldMkLst>
          <pc:docMk/>
          <pc:sldMk cId="1495500634" sldId="2147483647"/>
        </pc:sldMkLst>
      </pc:sldChg>
    </pc:docChg>
  </pc:docChgLst>
  <pc:docChgLst>
    <pc:chgData name="Beatriz Miquel" userId="S::beatriz.miquel@stratesys-ts.com::693c9356-b0f6-45fc-95f7-6e543d7dabde" providerId="AD" clId="Web-{36E344C4-28D6-726F-5825-E11A90D2A812}"/>
    <pc:docChg chg="delSld">
      <pc:chgData name="Beatriz Miquel" userId="S::beatriz.miquel@stratesys-ts.com::693c9356-b0f6-45fc-95f7-6e543d7dabde" providerId="AD" clId="Web-{36E344C4-28D6-726F-5825-E11A90D2A812}" dt="2025-05-26T12:38:26.554" v="1"/>
      <pc:docMkLst>
        <pc:docMk/>
      </pc:docMkLst>
      <pc:sldChg chg="del">
        <pc:chgData name="Beatriz Miquel" userId="S::beatriz.miquel@stratesys-ts.com::693c9356-b0f6-45fc-95f7-6e543d7dabde" providerId="AD" clId="Web-{36E344C4-28D6-726F-5825-E11A90D2A812}" dt="2025-05-26T12:38:21.335" v="0"/>
        <pc:sldMkLst>
          <pc:docMk/>
          <pc:sldMk cId="2911095764" sldId="2147483619"/>
        </pc:sldMkLst>
      </pc:sldChg>
      <pc:sldChg chg="del">
        <pc:chgData name="Beatriz Miquel" userId="S::beatriz.miquel@stratesys-ts.com::693c9356-b0f6-45fc-95f7-6e543d7dabde" providerId="AD" clId="Web-{36E344C4-28D6-726F-5825-E11A90D2A812}" dt="2025-05-26T12:38:26.554" v="1"/>
        <pc:sldMkLst>
          <pc:docMk/>
          <pc:sldMk cId="1818580517" sldId="2147483620"/>
        </pc:sldMkLst>
      </pc:sldChg>
    </pc:docChg>
  </pc:docChgLst>
  <pc:docChgLst>
    <pc:chgData name="Victor Sierra González" userId="7947fe3e-a6ce-46fe-a522-458a190ebddf" providerId="ADAL" clId="{EBBDCAB6-AB04-47FB-8754-A1DEC5329018}"/>
    <pc:docChg chg="undo custSel addSld delSld modSld">
      <pc:chgData name="Victor Sierra González" userId="7947fe3e-a6ce-46fe-a522-458a190ebddf" providerId="ADAL" clId="{EBBDCAB6-AB04-47FB-8754-A1DEC5329018}" dt="2025-05-22T15:12:49.804" v="171" actId="255"/>
      <pc:docMkLst>
        <pc:docMk/>
      </pc:docMkLst>
      <pc:sldChg chg="add">
        <pc:chgData name="Victor Sierra González" userId="7947fe3e-a6ce-46fe-a522-458a190ebddf" providerId="ADAL" clId="{EBBDCAB6-AB04-47FB-8754-A1DEC5329018}" dt="2025-05-22T14:30:35.451" v="0"/>
        <pc:sldMkLst>
          <pc:docMk/>
          <pc:sldMk cId="4123738794" sldId="268"/>
        </pc:sldMkLst>
      </pc:sldChg>
      <pc:sldChg chg="addSp delSp modSp add mod">
        <pc:chgData name="Victor Sierra González" userId="7947fe3e-a6ce-46fe-a522-458a190ebddf" providerId="ADAL" clId="{EBBDCAB6-AB04-47FB-8754-A1DEC5329018}" dt="2025-05-22T15:04:37.747" v="165" actId="14734"/>
        <pc:sldMkLst>
          <pc:docMk/>
          <pc:sldMk cId="1379408851" sldId="280"/>
        </pc:sldMkLst>
        <pc:graphicFrameChg chg="mod modGraphic">
          <ac:chgData name="Victor Sierra González" userId="7947fe3e-a6ce-46fe-a522-458a190ebddf" providerId="ADAL" clId="{EBBDCAB6-AB04-47FB-8754-A1DEC5329018}" dt="2025-05-22T15:04:37.747" v="165" actId="14734"/>
          <ac:graphicFrameMkLst>
            <pc:docMk/>
            <pc:sldMk cId="1379408851" sldId="280"/>
            <ac:graphicFrameMk id="5" creationId="{1129C7D4-D749-BBCD-15D8-1C209F958587}"/>
          </ac:graphicFrameMkLst>
        </pc:graphicFrameChg>
        <pc:picChg chg="mod">
          <ac:chgData name="Victor Sierra González" userId="7947fe3e-a6ce-46fe-a522-458a190ebddf" providerId="ADAL" clId="{EBBDCAB6-AB04-47FB-8754-A1DEC5329018}" dt="2025-05-22T15:00:50.517" v="162" actId="1076"/>
          <ac:picMkLst>
            <pc:docMk/>
            <pc:sldMk cId="1379408851" sldId="280"/>
            <ac:picMk id="12" creationId="{49CFDBDD-7759-EF5A-6709-1440BA61CCDB}"/>
          </ac:picMkLst>
        </pc:picChg>
      </pc:sldChg>
      <pc:sldChg chg="addSp delSp modSp add mod">
        <pc:chgData name="Victor Sierra González" userId="7947fe3e-a6ce-46fe-a522-458a190ebddf" providerId="ADAL" clId="{EBBDCAB6-AB04-47FB-8754-A1DEC5329018}" dt="2025-05-22T14:59:07.922" v="142"/>
        <pc:sldMkLst>
          <pc:docMk/>
          <pc:sldMk cId="2578471178" sldId="282"/>
        </pc:sldMkLst>
      </pc:sldChg>
      <pc:sldChg chg="addSp delSp modSp add del">
        <pc:chgData name="Victor Sierra González" userId="7947fe3e-a6ce-46fe-a522-458a190ebddf" providerId="ADAL" clId="{EBBDCAB6-AB04-47FB-8754-A1DEC5329018}" dt="2025-05-22T14:54:48.609" v="64" actId="47"/>
        <pc:sldMkLst>
          <pc:docMk/>
          <pc:sldMk cId="3706235280" sldId="283"/>
        </pc:sldMkLst>
      </pc:sldChg>
      <pc:sldChg chg="addSp delSp modSp add del mod">
        <pc:chgData name="Victor Sierra González" userId="7947fe3e-a6ce-46fe-a522-458a190ebddf" providerId="ADAL" clId="{EBBDCAB6-AB04-47FB-8754-A1DEC5329018}" dt="2025-05-22T15:12:49.804" v="171" actId="255"/>
        <pc:sldMkLst>
          <pc:docMk/>
          <pc:sldMk cId="3490650167" sldId="2146848955"/>
        </pc:sldMkLst>
        <pc:spChg chg="mod">
          <ac:chgData name="Victor Sierra González" userId="7947fe3e-a6ce-46fe-a522-458a190ebddf" providerId="ADAL" clId="{EBBDCAB6-AB04-47FB-8754-A1DEC5329018}" dt="2025-05-22T14:53:26.788" v="63" actId="255"/>
          <ac:spMkLst>
            <pc:docMk/>
            <pc:sldMk cId="3490650167" sldId="2146848955"/>
            <ac:spMk id="4" creationId="{0CB452B5-1F42-AEF1-3FC9-79307197D549}"/>
          </ac:spMkLst>
        </pc:spChg>
        <pc:spChg chg="mod">
          <ac:chgData name="Victor Sierra González" userId="7947fe3e-a6ce-46fe-a522-458a190ebddf" providerId="ADAL" clId="{EBBDCAB6-AB04-47FB-8754-A1DEC5329018}" dt="2025-05-22T14:53:02.505" v="37" actId="20577"/>
          <ac:spMkLst>
            <pc:docMk/>
            <pc:sldMk cId="3490650167" sldId="2146848955"/>
            <ac:spMk id="5" creationId="{A0DED334-7EE7-1231-71F5-67441D270FBE}"/>
          </ac:spMkLst>
        </pc:spChg>
        <pc:spChg chg="mod">
          <ac:chgData name="Victor Sierra González" userId="7947fe3e-a6ce-46fe-a522-458a190ebddf" providerId="ADAL" clId="{EBBDCAB6-AB04-47FB-8754-A1DEC5329018}" dt="2025-05-22T14:51:02.122" v="10" actId="207"/>
          <ac:spMkLst>
            <pc:docMk/>
            <pc:sldMk cId="3490650167" sldId="2146848955"/>
            <ac:spMk id="7" creationId="{1857EA36-F26C-607B-FA4A-90F7B48B4887}"/>
          </ac:spMkLst>
        </pc:spChg>
        <pc:spChg chg="mod">
          <ac:chgData name="Victor Sierra González" userId="7947fe3e-a6ce-46fe-a522-458a190ebddf" providerId="ADAL" clId="{EBBDCAB6-AB04-47FB-8754-A1DEC5329018}" dt="2025-05-22T14:53:06.581" v="46" actId="20577"/>
          <ac:spMkLst>
            <pc:docMk/>
            <pc:sldMk cId="3490650167" sldId="2146848955"/>
            <ac:spMk id="8" creationId="{7BDB557D-C5DA-4537-D853-3004244BFE44}"/>
          </ac:spMkLst>
        </pc:spChg>
        <pc:spChg chg="mod">
          <ac:chgData name="Victor Sierra González" userId="7947fe3e-a6ce-46fe-a522-458a190ebddf" providerId="ADAL" clId="{EBBDCAB6-AB04-47FB-8754-A1DEC5329018}" dt="2025-05-22T14:51:02.122" v="10" actId="207"/>
          <ac:spMkLst>
            <pc:docMk/>
            <pc:sldMk cId="3490650167" sldId="2146848955"/>
            <ac:spMk id="10" creationId="{9F6DE6E6-078A-94D8-956A-5D882D51C207}"/>
          </ac:spMkLst>
        </pc:spChg>
        <pc:spChg chg="mod">
          <ac:chgData name="Victor Sierra González" userId="7947fe3e-a6ce-46fe-a522-458a190ebddf" providerId="ADAL" clId="{EBBDCAB6-AB04-47FB-8754-A1DEC5329018}" dt="2025-05-22T14:53:16.900" v="62" actId="14100"/>
          <ac:spMkLst>
            <pc:docMk/>
            <pc:sldMk cId="3490650167" sldId="2146848955"/>
            <ac:spMk id="12" creationId="{9929F61E-2A82-41F4-A91F-7F229B67701C}"/>
          </ac:spMkLst>
        </pc:spChg>
        <pc:spChg chg="mod">
          <ac:chgData name="Victor Sierra González" userId="7947fe3e-a6ce-46fe-a522-458a190ebddf" providerId="ADAL" clId="{EBBDCAB6-AB04-47FB-8754-A1DEC5329018}" dt="2025-05-22T15:12:49.804" v="171" actId="255"/>
          <ac:spMkLst>
            <pc:docMk/>
            <pc:sldMk cId="3490650167" sldId="2146848955"/>
            <ac:spMk id="34" creationId="{6DAC8B2A-FBAB-3A24-C6AD-27E197499905}"/>
          </ac:spMkLst>
        </pc:spChg>
        <pc:spChg chg="mod">
          <ac:chgData name="Victor Sierra González" userId="7947fe3e-a6ce-46fe-a522-458a190ebddf" providerId="ADAL" clId="{EBBDCAB6-AB04-47FB-8754-A1DEC5329018}" dt="2025-05-22T14:51:02.122" v="10" actId="207"/>
          <ac:spMkLst>
            <pc:docMk/>
            <pc:sldMk cId="3490650167" sldId="2146848955"/>
            <ac:spMk id="3346" creationId="{00000000-0000-0000-0000-000000000000}"/>
          </ac:spMkLst>
        </pc:spChg>
        <pc:spChg chg="mod">
          <ac:chgData name="Victor Sierra González" userId="7947fe3e-a6ce-46fe-a522-458a190ebddf" providerId="ADAL" clId="{EBBDCAB6-AB04-47FB-8754-A1DEC5329018}" dt="2025-05-22T14:51:02.122" v="10" actId="207"/>
          <ac:spMkLst>
            <pc:docMk/>
            <pc:sldMk cId="3490650167" sldId="2146848955"/>
            <ac:spMk id="3347" creationId="{00000000-0000-0000-0000-000000000000}"/>
          </ac:spMkLst>
        </pc:spChg>
      </pc:sldChg>
      <pc:sldChg chg="addSp delSp modSp add mod modNotesTx">
        <pc:chgData name="Victor Sierra González" userId="7947fe3e-a6ce-46fe-a522-458a190ebddf" providerId="ADAL" clId="{EBBDCAB6-AB04-47FB-8754-A1DEC5329018}" dt="2025-05-22T15:06:20.469" v="168"/>
        <pc:sldMkLst>
          <pc:docMk/>
          <pc:sldMk cId="59547596" sldId="2147483547"/>
        </pc:sldMkLst>
      </pc:sldChg>
      <pc:sldChg chg="add">
        <pc:chgData name="Victor Sierra González" userId="7947fe3e-a6ce-46fe-a522-458a190ebddf" providerId="ADAL" clId="{EBBDCAB6-AB04-47FB-8754-A1DEC5329018}" dt="2025-05-22T14:30:35.451" v="0"/>
        <pc:sldMkLst>
          <pc:docMk/>
          <pc:sldMk cId="1910018372" sldId="2147483626"/>
        </pc:sldMkLst>
      </pc:sldChg>
      <pc:sldChg chg="addSp delSp modSp add">
        <pc:chgData name="Victor Sierra González" userId="7947fe3e-a6ce-46fe-a522-458a190ebddf" providerId="ADAL" clId="{EBBDCAB6-AB04-47FB-8754-A1DEC5329018}" dt="2025-05-22T15:00:29.351" v="160" actId="1076"/>
        <pc:sldMkLst>
          <pc:docMk/>
          <pc:sldMk cId="4242746514" sldId="2147483627"/>
        </pc:sldMkLst>
        <pc:spChg chg="add mod">
          <ac:chgData name="Victor Sierra González" userId="7947fe3e-a6ce-46fe-a522-458a190ebddf" providerId="ADAL" clId="{EBBDCAB6-AB04-47FB-8754-A1DEC5329018}" dt="2025-05-22T14:59:37.698" v="152"/>
          <ac:spMkLst>
            <pc:docMk/>
            <pc:sldMk cId="4242746514" sldId="2147483627"/>
            <ac:spMk id="4" creationId="{07CF9890-99A2-AFFE-CF05-DCE2889F1513}"/>
          </ac:spMkLst>
        </pc:spChg>
        <pc:picChg chg="add mod">
          <ac:chgData name="Victor Sierra González" userId="7947fe3e-a6ce-46fe-a522-458a190ebddf" providerId="ADAL" clId="{EBBDCAB6-AB04-47FB-8754-A1DEC5329018}" dt="2025-05-22T15:00:29.351" v="160" actId="1076"/>
          <ac:picMkLst>
            <pc:docMk/>
            <pc:sldMk cId="4242746514" sldId="2147483627"/>
            <ac:picMk id="3" creationId="{D6322C45-40F3-E678-D4DE-9D6520D37289}"/>
          </ac:picMkLst>
        </pc:picChg>
        <pc:picChg chg="add mod">
          <ac:chgData name="Victor Sierra González" userId="7947fe3e-a6ce-46fe-a522-458a190ebddf" providerId="ADAL" clId="{EBBDCAB6-AB04-47FB-8754-A1DEC5329018}" dt="2025-05-22T14:59:37.698" v="152"/>
          <ac:picMkLst>
            <pc:docMk/>
            <pc:sldMk cId="4242746514" sldId="2147483627"/>
            <ac:picMk id="10" creationId="{3EBD21D6-BC0F-D011-B09C-93A7CEBD88BB}"/>
          </ac:picMkLst>
        </pc:picChg>
      </pc:sldChg>
      <pc:sldChg chg="add del">
        <pc:chgData name="Victor Sierra González" userId="7947fe3e-a6ce-46fe-a522-458a190ebddf" providerId="ADAL" clId="{EBBDCAB6-AB04-47FB-8754-A1DEC5329018}" dt="2025-05-22T14:56:27.742" v="77"/>
        <pc:sldMkLst>
          <pc:docMk/>
          <pc:sldMk cId="4264131874" sldId="2147483628"/>
        </pc:sldMkLst>
      </pc:sldChg>
    </pc:docChg>
  </pc:docChgLst>
  <pc:docChgLst>
    <pc:chgData name="Beatriz Miquel" userId="S::beatriz.miquel@stratesys-ts.com::693c9356-b0f6-45fc-95f7-6e543d7dabde" providerId="AD" clId="Web-{B8B192F7-1790-4AE3-D091-1874B3E52E8E}"/>
    <pc:docChg chg="addSld modSld">
      <pc:chgData name="Beatriz Miquel" userId="S::beatriz.miquel@stratesys-ts.com::693c9356-b0f6-45fc-95f7-6e543d7dabde" providerId="AD" clId="Web-{B8B192F7-1790-4AE3-D091-1874B3E52E8E}" dt="2025-05-26T20:33:44.553" v="207" actId="1076"/>
      <pc:docMkLst>
        <pc:docMk/>
      </pc:docMkLst>
      <pc:sldChg chg="addSp delSp modSp add replId">
        <pc:chgData name="Beatriz Miquel" userId="S::beatriz.miquel@stratesys-ts.com::693c9356-b0f6-45fc-95f7-6e543d7dabde" providerId="AD" clId="Web-{B8B192F7-1790-4AE3-D091-1874B3E52E8E}" dt="2025-05-26T20:33:44.553" v="207" actId="1076"/>
        <pc:sldMkLst>
          <pc:docMk/>
          <pc:sldMk cId="4073311785" sldId="2147483628"/>
        </pc:sldMkLst>
        <pc:spChg chg="add mod">
          <ac:chgData name="Beatriz Miquel" userId="S::beatriz.miquel@stratesys-ts.com::693c9356-b0f6-45fc-95f7-6e543d7dabde" providerId="AD" clId="Web-{B8B192F7-1790-4AE3-D091-1874B3E52E8E}" dt="2025-05-26T20:33:44.538" v="206" actId="1076"/>
          <ac:spMkLst>
            <pc:docMk/>
            <pc:sldMk cId="4073311785" sldId="2147483628"/>
            <ac:spMk id="4" creationId="{5DE27B87-05C1-1455-FF5D-CDCA6301891D}"/>
          </ac:spMkLst>
        </pc:spChg>
        <pc:spChg chg="mod">
          <ac:chgData name="Beatriz Miquel" userId="S::beatriz.miquel@stratesys-ts.com::693c9356-b0f6-45fc-95f7-6e543d7dabde" providerId="AD" clId="Web-{B8B192F7-1790-4AE3-D091-1874B3E52E8E}" dt="2025-05-26T20:33:44.335" v="192" actId="1076"/>
          <ac:spMkLst>
            <pc:docMk/>
            <pc:sldMk cId="4073311785" sldId="2147483628"/>
            <ac:spMk id="6" creationId="{9B56713A-8E1D-5F13-F621-8E3FFDDC6884}"/>
          </ac:spMkLst>
        </pc:spChg>
        <pc:spChg chg="mod">
          <ac:chgData name="Beatriz Miquel" userId="S::beatriz.miquel@stratesys-ts.com::693c9356-b0f6-45fc-95f7-6e543d7dabde" providerId="AD" clId="Web-{B8B192F7-1790-4AE3-D091-1874B3E52E8E}" dt="2025-05-26T20:33:44.366" v="194" actId="1076"/>
          <ac:spMkLst>
            <pc:docMk/>
            <pc:sldMk cId="4073311785" sldId="2147483628"/>
            <ac:spMk id="8" creationId="{F21AB7D3-65D0-362C-FB99-7B07D84A065A}"/>
          </ac:spMkLst>
        </pc:spChg>
        <pc:spChg chg="add mod">
          <ac:chgData name="Beatriz Miquel" userId="S::beatriz.miquel@stratesys-ts.com::693c9356-b0f6-45fc-95f7-6e543d7dabde" providerId="AD" clId="Web-{B8B192F7-1790-4AE3-D091-1874B3E52E8E}" dt="2025-05-26T20:33:44.397" v="196" actId="1076"/>
          <ac:spMkLst>
            <pc:docMk/>
            <pc:sldMk cId="4073311785" sldId="2147483628"/>
            <ac:spMk id="10" creationId="{D6FEB606-7D2E-977B-79F1-E6BF6D4EE2BE}"/>
          </ac:spMkLst>
        </pc:spChg>
        <pc:spChg chg="mod">
          <ac:chgData name="Beatriz Miquel" userId="S::beatriz.miquel@stratesys-ts.com::693c9356-b0f6-45fc-95f7-6e543d7dabde" providerId="AD" clId="Web-{B8B192F7-1790-4AE3-D091-1874B3E52E8E}" dt="2025-05-26T20:33:44.413" v="197" actId="1076"/>
          <ac:spMkLst>
            <pc:docMk/>
            <pc:sldMk cId="4073311785" sldId="2147483628"/>
            <ac:spMk id="11" creationId="{AC7DD32D-E263-3338-6501-3A8A49DDE29F}"/>
          </ac:spMkLst>
        </pc:spChg>
        <pc:spChg chg="mod">
          <ac:chgData name="Beatriz Miquel" userId="S::beatriz.miquel@stratesys-ts.com::693c9356-b0f6-45fc-95f7-6e543d7dabde" providerId="AD" clId="Web-{B8B192F7-1790-4AE3-D091-1874B3E52E8E}" dt="2025-05-26T20:33:44.444" v="199" actId="1076"/>
          <ac:spMkLst>
            <pc:docMk/>
            <pc:sldMk cId="4073311785" sldId="2147483628"/>
            <ac:spMk id="14" creationId="{FCDCFF38-DCD6-C5A4-7B5F-AD38E0DBA728}"/>
          </ac:spMkLst>
        </pc:spChg>
        <pc:spChg chg="add">
          <ac:chgData name="Beatriz Miquel" userId="S::beatriz.miquel@stratesys-ts.com::693c9356-b0f6-45fc-95f7-6e543d7dabde" providerId="AD" clId="Web-{B8B192F7-1790-4AE3-D091-1874B3E52E8E}" dt="2025-05-26T19:51:45.547" v="17"/>
          <ac:spMkLst>
            <pc:docMk/>
            <pc:sldMk cId="4073311785" sldId="2147483628"/>
            <ac:spMk id="21" creationId="{3E457E16-863A-2B5C-B6B1-C06413A2ED95}"/>
          </ac:spMkLst>
        </pc:spChg>
        <pc:spChg chg="add">
          <ac:chgData name="Beatriz Miquel" userId="S::beatriz.miquel@stratesys-ts.com::693c9356-b0f6-45fc-95f7-6e543d7dabde" providerId="AD" clId="Web-{B8B192F7-1790-4AE3-D091-1874B3E52E8E}" dt="2025-05-26T19:51:45.547" v="17"/>
          <ac:spMkLst>
            <pc:docMk/>
            <pc:sldMk cId="4073311785" sldId="2147483628"/>
            <ac:spMk id="22" creationId="{0A9FC3B7-7841-8E30-4ADE-08F37BE54F7C}"/>
          </ac:spMkLst>
        </pc:spChg>
        <pc:spChg chg="add">
          <ac:chgData name="Beatriz Miquel" userId="S::beatriz.miquel@stratesys-ts.com::693c9356-b0f6-45fc-95f7-6e543d7dabde" providerId="AD" clId="Web-{B8B192F7-1790-4AE3-D091-1874B3E52E8E}" dt="2025-05-26T19:51:45.547" v="17"/>
          <ac:spMkLst>
            <pc:docMk/>
            <pc:sldMk cId="4073311785" sldId="2147483628"/>
            <ac:spMk id="23" creationId="{44052CAA-6692-1878-B730-B6C3B1B25BFC}"/>
          </ac:spMkLst>
        </pc:spChg>
        <pc:spChg chg="add">
          <ac:chgData name="Beatriz Miquel" userId="S::beatriz.miquel@stratesys-ts.com::693c9356-b0f6-45fc-95f7-6e543d7dabde" providerId="AD" clId="Web-{B8B192F7-1790-4AE3-D091-1874B3E52E8E}" dt="2025-05-26T19:51:45.547" v="17"/>
          <ac:spMkLst>
            <pc:docMk/>
            <pc:sldMk cId="4073311785" sldId="2147483628"/>
            <ac:spMk id="24" creationId="{95F5E446-59D1-017B-7A6A-D99C6C845A1D}"/>
          </ac:spMkLst>
        </pc:spChg>
        <pc:spChg chg="add">
          <ac:chgData name="Beatriz Miquel" userId="S::beatriz.miquel@stratesys-ts.com::693c9356-b0f6-45fc-95f7-6e543d7dabde" providerId="AD" clId="Web-{B8B192F7-1790-4AE3-D091-1874B3E52E8E}" dt="2025-05-26T19:51:45.547" v="17"/>
          <ac:spMkLst>
            <pc:docMk/>
            <pc:sldMk cId="4073311785" sldId="2147483628"/>
            <ac:spMk id="25" creationId="{6D57266A-FF8D-D34F-A2C3-EE617DF1A7E7}"/>
          </ac:spMkLst>
        </pc:spChg>
        <pc:spChg chg="add">
          <ac:chgData name="Beatriz Miquel" userId="S::beatriz.miquel@stratesys-ts.com::693c9356-b0f6-45fc-95f7-6e543d7dabde" providerId="AD" clId="Web-{B8B192F7-1790-4AE3-D091-1874B3E52E8E}" dt="2025-05-26T19:51:45.547" v="17"/>
          <ac:spMkLst>
            <pc:docMk/>
            <pc:sldMk cId="4073311785" sldId="2147483628"/>
            <ac:spMk id="26" creationId="{28AA2BA6-E3F8-1465-01D6-996144C052E2}"/>
          </ac:spMkLst>
        </pc:spChg>
        <pc:spChg chg="add">
          <ac:chgData name="Beatriz Miquel" userId="S::beatriz.miquel@stratesys-ts.com::693c9356-b0f6-45fc-95f7-6e543d7dabde" providerId="AD" clId="Web-{B8B192F7-1790-4AE3-D091-1874B3E52E8E}" dt="2025-05-26T19:51:45.547" v="17"/>
          <ac:spMkLst>
            <pc:docMk/>
            <pc:sldMk cId="4073311785" sldId="2147483628"/>
            <ac:spMk id="27" creationId="{988A8CE6-A170-D4DB-8C39-EEAF4B7338A5}"/>
          </ac:spMkLst>
        </pc:spChg>
        <pc:spChg chg="add">
          <ac:chgData name="Beatriz Miquel" userId="S::beatriz.miquel@stratesys-ts.com::693c9356-b0f6-45fc-95f7-6e543d7dabde" providerId="AD" clId="Web-{B8B192F7-1790-4AE3-D091-1874B3E52E8E}" dt="2025-05-26T19:51:45.547" v="17"/>
          <ac:spMkLst>
            <pc:docMk/>
            <pc:sldMk cId="4073311785" sldId="2147483628"/>
            <ac:spMk id="28" creationId="{6E37D334-E61B-7F25-F5F2-B1241E1F7C61}"/>
          </ac:spMkLst>
        </pc:spChg>
        <pc:spChg chg="mod">
          <ac:chgData name="Beatriz Miquel" userId="S::beatriz.miquel@stratesys-ts.com::693c9356-b0f6-45fc-95f7-6e543d7dabde" providerId="AD" clId="Web-{B8B192F7-1790-4AE3-D091-1874B3E52E8E}" dt="2025-05-26T20:29:52.220" v="22" actId="20577"/>
          <ac:spMkLst>
            <pc:docMk/>
            <pc:sldMk cId="4073311785" sldId="2147483628"/>
            <ac:spMk id="29" creationId="{0E741B32-41F6-5FDF-965E-83ADA24ED02C}"/>
          </ac:spMkLst>
        </pc:spChg>
        <pc:spChg chg="add mod">
          <ac:chgData name="Beatriz Miquel" userId="S::beatriz.miquel@stratesys-ts.com::693c9356-b0f6-45fc-95f7-6e543d7dabde" providerId="AD" clId="Web-{B8B192F7-1790-4AE3-D091-1874B3E52E8E}" dt="2025-05-26T20:33:44.553" v="207" actId="1076"/>
          <ac:spMkLst>
            <pc:docMk/>
            <pc:sldMk cId="4073311785" sldId="2147483628"/>
            <ac:spMk id="31" creationId="{A3AA7DBC-298C-DC6A-5A63-660662D778C0}"/>
          </ac:spMkLst>
        </pc:spChg>
        <pc:grpChg chg="mod">
          <ac:chgData name="Beatriz Miquel" userId="S::beatriz.miquel@stratesys-ts.com::693c9356-b0f6-45fc-95f7-6e543d7dabde" providerId="AD" clId="Web-{B8B192F7-1790-4AE3-D091-1874B3E52E8E}" dt="2025-05-26T20:33:44.303" v="190" actId="1076"/>
          <ac:grpSpMkLst>
            <pc:docMk/>
            <pc:sldMk cId="4073311785" sldId="2147483628"/>
            <ac:grpSpMk id="3" creationId="{6F7A2E96-7483-47FD-018D-621AA5BBA2E0}"/>
          </ac:grpSpMkLst>
        </pc:grpChg>
        <pc:grpChg chg="mod">
          <ac:chgData name="Beatriz Miquel" userId="S::beatriz.miquel@stratesys-ts.com::693c9356-b0f6-45fc-95f7-6e543d7dabde" providerId="AD" clId="Web-{B8B192F7-1790-4AE3-D091-1874B3E52E8E}" dt="2025-05-26T20:33:44.319" v="191" actId="1076"/>
          <ac:grpSpMkLst>
            <pc:docMk/>
            <pc:sldMk cId="4073311785" sldId="2147483628"/>
            <ac:grpSpMk id="5" creationId="{6F50EBA6-4972-4BF1-9B9C-60DC1C0F09EC}"/>
          </ac:grpSpMkLst>
        </pc:grpChg>
        <pc:grpChg chg="mod">
          <ac:chgData name="Beatriz Miquel" userId="S::beatriz.miquel@stratesys-ts.com::693c9356-b0f6-45fc-95f7-6e543d7dabde" providerId="AD" clId="Web-{B8B192F7-1790-4AE3-D091-1874B3E52E8E}" dt="2025-05-26T20:33:44.350" v="193" actId="1076"/>
          <ac:grpSpMkLst>
            <pc:docMk/>
            <pc:sldMk cId="4073311785" sldId="2147483628"/>
            <ac:grpSpMk id="7" creationId="{9A41D6D6-7D01-D067-1047-56B454423140}"/>
          </ac:grpSpMkLst>
        </pc:grpChg>
        <pc:grpChg chg="mod">
          <ac:chgData name="Beatriz Miquel" userId="S::beatriz.miquel@stratesys-ts.com::693c9356-b0f6-45fc-95f7-6e543d7dabde" providerId="AD" clId="Web-{B8B192F7-1790-4AE3-D091-1874B3E52E8E}" dt="2025-05-26T20:33:44.381" v="195" actId="1076"/>
          <ac:grpSpMkLst>
            <pc:docMk/>
            <pc:sldMk cId="4073311785" sldId="2147483628"/>
            <ac:grpSpMk id="9" creationId="{432914F2-22C5-6452-175E-53931347D63E}"/>
          </ac:grpSpMkLst>
        </pc:grpChg>
        <pc:grpChg chg="mod">
          <ac:chgData name="Beatriz Miquel" userId="S::beatriz.miquel@stratesys-ts.com::693c9356-b0f6-45fc-95f7-6e543d7dabde" providerId="AD" clId="Web-{B8B192F7-1790-4AE3-D091-1874B3E52E8E}" dt="2025-05-26T20:33:44.428" v="198" actId="1076"/>
          <ac:grpSpMkLst>
            <pc:docMk/>
            <pc:sldMk cId="4073311785" sldId="2147483628"/>
            <ac:grpSpMk id="13" creationId="{11A31A44-355D-63A0-72B2-497000AF2AFE}"/>
          </ac:grpSpMkLst>
        </pc:grpChg>
        <pc:picChg chg="mod">
          <ac:chgData name="Beatriz Miquel" userId="S::beatriz.miquel@stratesys-ts.com::693c9356-b0f6-45fc-95f7-6e543d7dabde" providerId="AD" clId="Web-{B8B192F7-1790-4AE3-D091-1874B3E52E8E}" dt="2025-05-26T20:33:44.460" v="200" actId="1076"/>
          <ac:picMkLst>
            <pc:docMk/>
            <pc:sldMk cId="4073311785" sldId="2147483628"/>
            <ac:picMk id="15" creationId="{13EDE9A9-A37C-E081-81F7-1BECCC8152FA}"/>
          </ac:picMkLst>
        </pc:picChg>
        <pc:picChg chg="mod">
          <ac:chgData name="Beatriz Miquel" userId="S::beatriz.miquel@stratesys-ts.com::693c9356-b0f6-45fc-95f7-6e543d7dabde" providerId="AD" clId="Web-{B8B192F7-1790-4AE3-D091-1874B3E52E8E}" dt="2025-05-26T20:33:44.475" v="201" actId="1076"/>
          <ac:picMkLst>
            <pc:docMk/>
            <pc:sldMk cId="4073311785" sldId="2147483628"/>
            <ac:picMk id="16" creationId="{60B89EE2-B6E0-EB83-7637-D51090B6243E}"/>
          </ac:picMkLst>
        </pc:picChg>
        <pc:picChg chg="mod">
          <ac:chgData name="Beatriz Miquel" userId="S::beatriz.miquel@stratesys-ts.com::693c9356-b0f6-45fc-95f7-6e543d7dabde" providerId="AD" clId="Web-{B8B192F7-1790-4AE3-D091-1874B3E52E8E}" dt="2025-05-26T20:33:44.491" v="202" actId="1076"/>
          <ac:picMkLst>
            <pc:docMk/>
            <pc:sldMk cId="4073311785" sldId="2147483628"/>
            <ac:picMk id="17" creationId="{3165BCE7-F8D8-C80E-6777-90D1556A97DF}"/>
          </ac:picMkLst>
        </pc:picChg>
        <pc:picChg chg="mod">
          <ac:chgData name="Beatriz Miquel" userId="S::beatriz.miquel@stratesys-ts.com::693c9356-b0f6-45fc-95f7-6e543d7dabde" providerId="AD" clId="Web-{B8B192F7-1790-4AE3-D091-1874B3E52E8E}" dt="2025-05-26T20:33:44.506" v="203" actId="1076"/>
          <ac:picMkLst>
            <pc:docMk/>
            <pc:sldMk cId="4073311785" sldId="2147483628"/>
            <ac:picMk id="18" creationId="{490E7797-1D49-BF67-E1B7-9AA55978ABC8}"/>
          </ac:picMkLst>
        </pc:picChg>
        <pc:picChg chg="mod">
          <ac:chgData name="Beatriz Miquel" userId="S::beatriz.miquel@stratesys-ts.com::693c9356-b0f6-45fc-95f7-6e543d7dabde" providerId="AD" clId="Web-{B8B192F7-1790-4AE3-D091-1874B3E52E8E}" dt="2025-05-26T20:33:44.522" v="204" actId="1076"/>
          <ac:picMkLst>
            <pc:docMk/>
            <pc:sldMk cId="4073311785" sldId="2147483628"/>
            <ac:picMk id="19" creationId="{B7E95390-4BF5-DC7F-E4AF-5239F9243B5B}"/>
          </ac:picMkLst>
        </pc:picChg>
        <pc:picChg chg="mod">
          <ac:chgData name="Beatriz Miquel" userId="S::beatriz.miquel@stratesys-ts.com::693c9356-b0f6-45fc-95f7-6e543d7dabde" providerId="AD" clId="Web-{B8B192F7-1790-4AE3-D091-1874B3E52E8E}" dt="2025-05-26T20:33:44.522" v="205" actId="1076"/>
          <ac:picMkLst>
            <pc:docMk/>
            <pc:sldMk cId="4073311785" sldId="2147483628"/>
            <ac:picMk id="20" creationId="{78C39A7E-AE5C-4107-3A51-2A543D3AB580}"/>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pieChart>
        <c:varyColors val="1"/>
        <c:ser>
          <c:idx val="0"/>
          <c:order val="0"/>
          <c:tx>
            <c:strRef>
              <c:f>Hoja1!$B$1</c:f>
              <c:strCache>
                <c:ptCount val="1"/>
                <c:pt idx="0">
                  <c:v>Ventas</c:v>
                </c:pt>
              </c:strCache>
            </c:strRef>
          </c:tx>
          <c:dPt>
            <c:idx val="0"/>
            <c:bubble3D val="0"/>
            <c:spPr>
              <a:solidFill>
                <a:schemeClr val="accent3">
                  <a:shade val="65000"/>
                </a:schemeClr>
              </a:solidFill>
              <a:ln w="19050">
                <a:solidFill>
                  <a:schemeClr val="lt1"/>
                </a:solidFill>
              </a:ln>
              <a:effectLst/>
            </c:spPr>
            <c:extLst>
              <c:ext xmlns:c16="http://schemas.microsoft.com/office/drawing/2014/chart" uri="{C3380CC4-5D6E-409C-BE32-E72D297353CC}">
                <c16:uniqueId val="{00000001-21C8-424C-8D8E-197A143996FA}"/>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21C8-424C-8D8E-197A143996FA}"/>
              </c:ext>
            </c:extLst>
          </c:dPt>
          <c:dPt>
            <c:idx val="2"/>
            <c:bubble3D val="0"/>
            <c:spPr>
              <a:solidFill>
                <a:schemeClr val="accent3">
                  <a:tint val="65000"/>
                </a:schemeClr>
              </a:solidFill>
              <a:ln w="19050">
                <a:solidFill>
                  <a:schemeClr val="lt1"/>
                </a:solidFill>
              </a:ln>
              <a:effectLst/>
            </c:spPr>
            <c:extLst>
              <c:ext xmlns:c16="http://schemas.microsoft.com/office/drawing/2014/chart" uri="{C3380CC4-5D6E-409C-BE32-E72D297353CC}">
                <c16:uniqueId val="{00000005-21C8-424C-8D8E-197A143996FA}"/>
              </c:ext>
            </c:extLst>
          </c:dPt>
          <c:cat>
            <c:strRef>
              <c:f>Hoja1!$A$2:$A$4</c:f>
              <c:strCache>
                <c:ptCount val="3"/>
                <c:pt idx="0">
                  <c:v>OK</c:v>
                </c:pt>
                <c:pt idx="1">
                  <c:v>KO</c:v>
                </c:pt>
                <c:pt idx="2">
                  <c:v>Pending</c:v>
                </c:pt>
              </c:strCache>
            </c:strRef>
          </c:cat>
          <c:val>
            <c:numRef>
              <c:f>Hoja1!$B$2:$B$4</c:f>
              <c:numCache>
                <c:formatCode>General</c:formatCode>
                <c:ptCount val="3"/>
                <c:pt idx="0">
                  <c:v>9</c:v>
                </c:pt>
                <c:pt idx="1">
                  <c:v>1</c:v>
                </c:pt>
                <c:pt idx="2">
                  <c:v>1</c:v>
                </c:pt>
              </c:numCache>
            </c:numRef>
          </c:val>
          <c:extLst>
            <c:ext xmlns:c16="http://schemas.microsoft.com/office/drawing/2014/chart" uri="{C3380CC4-5D6E-409C-BE32-E72D297353CC}">
              <c16:uniqueId val="{00000000-1CFC-4196-8A21-EA4FF7305C34}"/>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62724175762411105"/>
          <c:y val="0.32319140279678338"/>
          <c:w val="0.23124712127261832"/>
          <c:h val="0.41404209057424263"/>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pieChart>
        <c:varyColors val="1"/>
        <c:ser>
          <c:idx val="0"/>
          <c:order val="0"/>
          <c:tx>
            <c:strRef>
              <c:f>Hoja1!$B$1</c:f>
              <c:strCache>
                <c:ptCount val="1"/>
                <c:pt idx="0">
                  <c:v>Ventas</c:v>
                </c:pt>
              </c:strCache>
            </c:strRef>
          </c:tx>
          <c:dPt>
            <c:idx val="0"/>
            <c:bubble3D val="0"/>
            <c:spPr>
              <a:solidFill>
                <a:schemeClr val="accent3">
                  <a:shade val="65000"/>
                </a:schemeClr>
              </a:solidFill>
              <a:ln w="19050">
                <a:solidFill>
                  <a:schemeClr val="lt1"/>
                </a:solidFill>
              </a:ln>
              <a:effectLst/>
            </c:spPr>
            <c:extLst>
              <c:ext xmlns:c16="http://schemas.microsoft.com/office/drawing/2014/chart" uri="{C3380CC4-5D6E-409C-BE32-E72D297353CC}">
                <c16:uniqueId val="{00000001-F162-447E-ACFE-B60C91B2A5E2}"/>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F162-447E-ACFE-B60C91B2A5E2}"/>
              </c:ext>
            </c:extLst>
          </c:dPt>
          <c:dPt>
            <c:idx val="2"/>
            <c:bubble3D val="0"/>
            <c:spPr>
              <a:solidFill>
                <a:schemeClr val="accent3">
                  <a:tint val="65000"/>
                </a:schemeClr>
              </a:solidFill>
              <a:ln w="19050">
                <a:solidFill>
                  <a:schemeClr val="lt1"/>
                </a:solidFill>
              </a:ln>
              <a:effectLst/>
            </c:spPr>
            <c:extLst>
              <c:ext xmlns:c16="http://schemas.microsoft.com/office/drawing/2014/chart" uri="{C3380CC4-5D6E-409C-BE32-E72D297353CC}">
                <c16:uniqueId val="{00000005-F162-447E-ACFE-B60C91B2A5E2}"/>
              </c:ext>
            </c:extLst>
          </c:dPt>
          <c:cat>
            <c:strRef>
              <c:f>Hoja1!$A$2:$A$4</c:f>
              <c:strCache>
                <c:ptCount val="3"/>
                <c:pt idx="0">
                  <c:v>OK</c:v>
                </c:pt>
                <c:pt idx="1">
                  <c:v>KO</c:v>
                </c:pt>
                <c:pt idx="2">
                  <c:v>Pending</c:v>
                </c:pt>
              </c:strCache>
            </c:strRef>
          </c:cat>
          <c:val>
            <c:numRef>
              <c:f>Hoja1!$B$2:$B$4</c:f>
              <c:numCache>
                <c:formatCode>General</c:formatCode>
                <c:ptCount val="3"/>
                <c:pt idx="0">
                  <c:v>29</c:v>
                </c:pt>
                <c:pt idx="1">
                  <c:v>1</c:v>
                </c:pt>
                <c:pt idx="2">
                  <c:v>6</c:v>
                </c:pt>
              </c:numCache>
            </c:numRef>
          </c:val>
          <c:extLst>
            <c:ext xmlns:c16="http://schemas.microsoft.com/office/drawing/2014/chart" uri="{C3380CC4-5D6E-409C-BE32-E72D297353CC}">
              <c16:uniqueId val="{00000006-F162-447E-ACFE-B60C91B2A5E2}"/>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62724175762411105"/>
          <c:y val="0.32319140279678338"/>
          <c:w val="0.23124712127261832"/>
          <c:h val="0.41404209057424263"/>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olors1.xml><?xml version="1.0" encoding="utf-8"?>
<cs:colorStyle xmlns:cs="http://schemas.microsoft.com/office/drawing/2012/chartStyle" xmlns:a="http://schemas.openxmlformats.org/drawingml/2006/main" meth="withinLinear" id="16">
  <a:schemeClr val="accent3"/>
</cs:colorStyle>
</file>

<file path=ppt/charts/colors2.xml><?xml version="1.0" encoding="utf-8"?>
<cs:colorStyle xmlns:cs="http://schemas.microsoft.com/office/drawing/2012/chartStyle" xmlns:a="http://schemas.openxmlformats.org/drawingml/2006/main" meth="withinLinear" id="16">
  <a:schemeClr val="accent3"/>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2BA6A3B-84E3-4432-AB54-A7EF8F2E9AF0}" type="doc">
      <dgm:prSet loTypeId="urn:microsoft.com/office/officeart/2005/8/layout/pList1" loCatId="list" qsTypeId="urn:microsoft.com/office/officeart/2005/8/quickstyle/simple1" qsCatId="simple" csTypeId="urn:microsoft.com/office/officeart/2005/8/colors/accent1_2" csCatId="accent1" phldr="0"/>
      <dgm:spPr/>
      <dgm:t>
        <a:bodyPr/>
        <a:lstStyle/>
        <a:p>
          <a:endParaRPr lang="en-GB"/>
        </a:p>
      </dgm:t>
    </dgm:pt>
    <dgm:pt modelId="{8983807C-E9AB-4920-B4C9-D1496045AC7B}">
      <dgm:prSet phldrT="[Texto]" phldr="1"/>
      <dgm:spPr/>
      <dgm:t>
        <a:bodyPr/>
        <a:lstStyle/>
        <a:p>
          <a:endParaRPr lang="en-GB" noProof="0"/>
        </a:p>
      </dgm:t>
    </dgm:pt>
    <dgm:pt modelId="{1FB48C48-93D3-4DCD-8680-A5C17DBA0E4D}" type="parTrans" cxnId="{88512A41-B60B-4EC7-92EF-1150E5FAB6FE}">
      <dgm:prSet/>
      <dgm:spPr/>
      <dgm:t>
        <a:bodyPr/>
        <a:lstStyle/>
        <a:p>
          <a:endParaRPr lang="en-GB"/>
        </a:p>
      </dgm:t>
    </dgm:pt>
    <dgm:pt modelId="{01D6B814-766E-4454-A4FC-E5085DDE0983}" type="sibTrans" cxnId="{88512A41-B60B-4EC7-92EF-1150E5FAB6FE}">
      <dgm:prSet/>
      <dgm:spPr/>
      <dgm:t>
        <a:bodyPr/>
        <a:lstStyle/>
        <a:p>
          <a:endParaRPr lang="en-GB"/>
        </a:p>
      </dgm:t>
    </dgm:pt>
    <dgm:pt modelId="{B467813F-2097-4A30-9927-60FFF047BD8E}">
      <dgm:prSet phldrT="[Texto]" phldr="1"/>
      <dgm:spPr/>
      <dgm:t>
        <a:bodyPr/>
        <a:lstStyle/>
        <a:p>
          <a:endParaRPr lang="en-GB" noProof="0"/>
        </a:p>
      </dgm:t>
    </dgm:pt>
    <dgm:pt modelId="{7C32E1F6-39F3-4299-B9E2-791608B6812D}" type="parTrans" cxnId="{048DBEA0-DF62-4A98-A1CE-2A7A03F1AF7D}">
      <dgm:prSet/>
      <dgm:spPr/>
      <dgm:t>
        <a:bodyPr/>
        <a:lstStyle/>
        <a:p>
          <a:endParaRPr lang="en-GB"/>
        </a:p>
      </dgm:t>
    </dgm:pt>
    <dgm:pt modelId="{4F8BE3E7-D4A0-4AB2-9A8A-AC77895022A4}" type="sibTrans" cxnId="{048DBEA0-DF62-4A98-A1CE-2A7A03F1AF7D}">
      <dgm:prSet/>
      <dgm:spPr/>
      <dgm:t>
        <a:bodyPr/>
        <a:lstStyle/>
        <a:p>
          <a:endParaRPr lang="en-GB"/>
        </a:p>
      </dgm:t>
    </dgm:pt>
    <dgm:pt modelId="{C2D10F62-72C3-4778-B24A-2D55A2F5671B}">
      <dgm:prSet phldrT="[Texto]" phldr="1"/>
      <dgm:spPr/>
      <dgm:t>
        <a:bodyPr/>
        <a:lstStyle/>
        <a:p>
          <a:endParaRPr lang="en-GB" noProof="0"/>
        </a:p>
      </dgm:t>
    </dgm:pt>
    <dgm:pt modelId="{3CA87AC9-1E6E-4DAE-A2BE-71EBF4AEDB70}" type="parTrans" cxnId="{59B149CA-D3E8-4955-9322-080DC5719CAA}">
      <dgm:prSet/>
      <dgm:spPr/>
      <dgm:t>
        <a:bodyPr/>
        <a:lstStyle/>
        <a:p>
          <a:endParaRPr lang="en-GB"/>
        </a:p>
      </dgm:t>
    </dgm:pt>
    <dgm:pt modelId="{8E645703-AD74-41C2-86F1-8315041F3C51}" type="sibTrans" cxnId="{59B149CA-D3E8-4955-9322-080DC5719CAA}">
      <dgm:prSet/>
      <dgm:spPr/>
      <dgm:t>
        <a:bodyPr/>
        <a:lstStyle/>
        <a:p>
          <a:endParaRPr lang="en-GB"/>
        </a:p>
      </dgm:t>
    </dgm:pt>
    <dgm:pt modelId="{80D305FF-C1BC-4E06-B53F-EB20FEB6CB64}">
      <dgm:prSet phldrT="[Texto]" phldr="1"/>
      <dgm:spPr/>
      <dgm:t>
        <a:bodyPr/>
        <a:lstStyle/>
        <a:p>
          <a:endParaRPr lang="en-GB" noProof="0"/>
        </a:p>
      </dgm:t>
    </dgm:pt>
    <dgm:pt modelId="{859551F2-0B78-4A2A-B727-F9FEA466CB27}" type="parTrans" cxnId="{E825F113-5D28-4CD8-BBC4-A63108A5F5BD}">
      <dgm:prSet/>
      <dgm:spPr/>
      <dgm:t>
        <a:bodyPr/>
        <a:lstStyle/>
        <a:p>
          <a:endParaRPr lang="en-GB"/>
        </a:p>
      </dgm:t>
    </dgm:pt>
    <dgm:pt modelId="{FDB0EE56-D15A-4C0E-AF67-C52458D9B231}" type="sibTrans" cxnId="{E825F113-5D28-4CD8-BBC4-A63108A5F5BD}">
      <dgm:prSet/>
      <dgm:spPr/>
      <dgm:t>
        <a:bodyPr/>
        <a:lstStyle/>
        <a:p>
          <a:endParaRPr lang="en-GB"/>
        </a:p>
      </dgm:t>
    </dgm:pt>
    <dgm:pt modelId="{A516E7BF-2194-4E94-9E59-1CDDAD7A10E1}" type="pres">
      <dgm:prSet presAssocID="{32BA6A3B-84E3-4432-AB54-A7EF8F2E9AF0}" presName="Name0" presStyleCnt="0">
        <dgm:presLayoutVars>
          <dgm:dir/>
          <dgm:resizeHandles val="exact"/>
        </dgm:presLayoutVars>
      </dgm:prSet>
      <dgm:spPr/>
    </dgm:pt>
    <dgm:pt modelId="{576737D8-C10F-4EE2-AAE8-50660E6DEE52}" type="pres">
      <dgm:prSet presAssocID="{8983807C-E9AB-4920-B4C9-D1496045AC7B}" presName="compNode" presStyleCnt="0"/>
      <dgm:spPr/>
    </dgm:pt>
    <dgm:pt modelId="{09429313-2650-4276-A106-97AAFCBF8431}" type="pres">
      <dgm:prSet presAssocID="{8983807C-E9AB-4920-B4C9-D1496045AC7B}" presName="pictRect" presStyleLbl="node1" presStyleIdx="0" presStyleCnt="4"/>
      <dgm:spPr/>
    </dgm:pt>
    <dgm:pt modelId="{F71C18E6-E389-4A15-AE2E-C2479FDD1207}" type="pres">
      <dgm:prSet presAssocID="{8983807C-E9AB-4920-B4C9-D1496045AC7B}" presName="textRect" presStyleLbl="revTx" presStyleIdx="0" presStyleCnt="4">
        <dgm:presLayoutVars>
          <dgm:bulletEnabled val="1"/>
        </dgm:presLayoutVars>
      </dgm:prSet>
      <dgm:spPr/>
    </dgm:pt>
    <dgm:pt modelId="{6F889528-2DB1-4EFF-8DA5-97E982E93603}" type="pres">
      <dgm:prSet presAssocID="{01D6B814-766E-4454-A4FC-E5085DDE0983}" presName="sibTrans" presStyleLbl="sibTrans2D1" presStyleIdx="0" presStyleCnt="0"/>
      <dgm:spPr/>
    </dgm:pt>
    <dgm:pt modelId="{6EC38052-31FF-4119-A1A5-19393ADD049A}" type="pres">
      <dgm:prSet presAssocID="{B467813F-2097-4A30-9927-60FFF047BD8E}" presName="compNode" presStyleCnt="0"/>
      <dgm:spPr/>
    </dgm:pt>
    <dgm:pt modelId="{BDE8F980-71E0-4273-81BE-498985D5B0FE}" type="pres">
      <dgm:prSet presAssocID="{B467813F-2097-4A30-9927-60FFF047BD8E}" presName="pictRect" presStyleLbl="node1" presStyleIdx="1" presStyleCnt="4"/>
      <dgm:spPr/>
    </dgm:pt>
    <dgm:pt modelId="{46271B03-E06D-44EB-BA87-A2EA5F73A29E}" type="pres">
      <dgm:prSet presAssocID="{B467813F-2097-4A30-9927-60FFF047BD8E}" presName="textRect" presStyleLbl="revTx" presStyleIdx="1" presStyleCnt="4">
        <dgm:presLayoutVars>
          <dgm:bulletEnabled val="1"/>
        </dgm:presLayoutVars>
      </dgm:prSet>
      <dgm:spPr/>
    </dgm:pt>
    <dgm:pt modelId="{DCDBFC85-AFC5-4BA0-99CA-F31124B57DF1}" type="pres">
      <dgm:prSet presAssocID="{4F8BE3E7-D4A0-4AB2-9A8A-AC77895022A4}" presName="sibTrans" presStyleLbl="sibTrans2D1" presStyleIdx="0" presStyleCnt="0"/>
      <dgm:spPr/>
    </dgm:pt>
    <dgm:pt modelId="{7867481B-4226-4FAE-8F70-3FA8D83A9A03}" type="pres">
      <dgm:prSet presAssocID="{C2D10F62-72C3-4778-B24A-2D55A2F5671B}" presName="compNode" presStyleCnt="0"/>
      <dgm:spPr/>
    </dgm:pt>
    <dgm:pt modelId="{DADCAB13-2534-43B3-ACBD-B5ED3B037386}" type="pres">
      <dgm:prSet presAssocID="{C2D10F62-72C3-4778-B24A-2D55A2F5671B}" presName="pictRect" presStyleLbl="node1" presStyleIdx="2" presStyleCnt="4"/>
      <dgm:spPr/>
    </dgm:pt>
    <dgm:pt modelId="{7D823C4F-5F95-4DE4-8F06-DB2A4371B5FE}" type="pres">
      <dgm:prSet presAssocID="{C2D10F62-72C3-4778-B24A-2D55A2F5671B}" presName="textRect" presStyleLbl="revTx" presStyleIdx="2" presStyleCnt="4">
        <dgm:presLayoutVars>
          <dgm:bulletEnabled val="1"/>
        </dgm:presLayoutVars>
      </dgm:prSet>
      <dgm:spPr/>
    </dgm:pt>
    <dgm:pt modelId="{63809DC7-A6F3-41BC-84A8-46263797C0E0}" type="pres">
      <dgm:prSet presAssocID="{8E645703-AD74-41C2-86F1-8315041F3C51}" presName="sibTrans" presStyleLbl="sibTrans2D1" presStyleIdx="0" presStyleCnt="0"/>
      <dgm:spPr/>
    </dgm:pt>
    <dgm:pt modelId="{DB78DC04-5F05-4955-A591-DF07D3BE30D6}" type="pres">
      <dgm:prSet presAssocID="{80D305FF-C1BC-4E06-B53F-EB20FEB6CB64}" presName="compNode" presStyleCnt="0"/>
      <dgm:spPr/>
    </dgm:pt>
    <dgm:pt modelId="{B5B4CC09-18C8-4203-A8B8-34F6B50D95C4}" type="pres">
      <dgm:prSet presAssocID="{80D305FF-C1BC-4E06-B53F-EB20FEB6CB64}" presName="pictRect" presStyleLbl="node1" presStyleIdx="3" presStyleCnt="4"/>
      <dgm:spPr/>
    </dgm:pt>
    <dgm:pt modelId="{BCEC2710-F629-4F49-A09B-9322AA44BB5D}" type="pres">
      <dgm:prSet presAssocID="{80D305FF-C1BC-4E06-B53F-EB20FEB6CB64}" presName="textRect" presStyleLbl="revTx" presStyleIdx="3" presStyleCnt="4">
        <dgm:presLayoutVars>
          <dgm:bulletEnabled val="1"/>
        </dgm:presLayoutVars>
      </dgm:prSet>
      <dgm:spPr/>
    </dgm:pt>
  </dgm:ptLst>
  <dgm:cxnLst>
    <dgm:cxn modelId="{D53CD812-FD22-4DD7-8CBB-875D3D380790}" type="presOf" srcId="{80D305FF-C1BC-4E06-B53F-EB20FEB6CB64}" destId="{BCEC2710-F629-4F49-A09B-9322AA44BB5D}" srcOrd="0" destOrd="0" presId="urn:microsoft.com/office/officeart/2005/8/layout/pList1"/>
    <dgm:cxn modelId="{E825F113-5D28-4CD8-BBC4-A63108A5F5BD}" srcId="{32BA6A3B-84E3-4432-AB54-A7EF8F2E9AF0}" destId="{80D305FF-C1BC-4E06-B53F-EB20FEB6CB64}" srcOrd="3" destOrd="0" parTransId="{859551F2-0B78-4A2A-B727-F9FEA466CB27}" sibTransId="{FDB0EE56-D15A-4C0E-AF67-C52458D9B231}"/>
    <dgm:cxn modelId="{FF2A3226-F509-4D83-96A5-D95228BE1C62}" type="presOf" srcId="{C2D10F62-72C3-4778-B24A-2D55A2F5671B}" destId="{7D823C4F-5F95-4DE4-8F06-DB2A4371B5FE}" srcOrd="0" destOrd="0" presId="urn:microsoft.com/office/officeart/2005/8/layout/pList1"/>
    <dgm:cxn modelId="{88512A41-B60B-4EC7-92EF-1150E5FAB6FE}" srcId="{32BA6A3B-84E3-4432-AB54-A7EF8F2E9AF0}" destId="{8983807C-E9AB-4920-B4C9-D1496045AC7B}" srcOrd="0" destOrd="0" parTransId="{1FB48C48-93D3-4DCD-8680-A5C17DBA0E4D}" sibTransId="{01D6B814-766E-4454-A4FC-E5085DDE0983}"/>
    <dgm:cxn modelId="{51A95449-7661-4502-814C-09A9A5F92141}" type="presOf" srcId="{01D6B814-766E-4454-A4FC-E5085DDE0983}" destId="{6F889528-2DB1-4EFF-8DA5-97E982E93603}" srcOrd="0" destOrd="0" presId="urn:microsoft.com/office/officeart/2005/8/layout/pList1"/>
    <dgm:cxn modelId="{0A8B8F4A-8A34-44A2-AF5B-30825542A6B9}" type="presOf" srcId="{8E645703-AD74-41C2-86F1-8315041F3C51}" destId="{63809DC7-A6F3-41BC-84A8-46263797C0E0}" srcOrd="0" destOrd="0" presId="urn:microsoft.com/office/officeart/2005/8/layout/pList1"/>
    <dgm:cxn modelId="{762F639D-CE3A-4764-BCB0-5CDFF31BBF6A}" type="presOf" srcId="{8983807C-E9AB-4920-B4C9-D1496045AC7B}" destId="{F71C18E6-E389-4A15-AE2E-C2479FDD1207}" srcOrd="0" destOrd="0" presId="urn:microsoft.com/office/officeart/2005/8/layout/pList1"/>
    <dgm:cxn modelId="{048DBEA0-DF62-4A98-A1CE-2A7A03F1AF7D}" srcId="{32BA6A3B-84E3-4432-AB54-A7EF8F2E9AF0}" destId="{B467813F-2097-4A30-9927-60FFF047BD8E}" srcOrd="1" destOrd="0" parTransId="{7C32E1F6-39F3-4299-B9E2-791608B6812D}" sibTransId="{4F8BE3E7-D4A0-4AB2-9A8A-AC77895022A4}"/>
    <dgm:cxn modelId="{2EFF66C4-26E8-4D3F-9373-EDAC4E579AC2}" type="presOf" srcId="{B467813F-2097-4A30-9927-60FFF047BD8E}" destId="{46271B03-E06D-44EB-BA87-A2EA5F73A29E}" srcOrd="0" destOrd="0" presId="urn:microsoft.com/office/officeart/2005/8/layout/pList1"/>
    <dgm:cxn modelId="{59B149CA-D3E8-4955-9322-080DC5719CAA}" srcId="{32BA6A3B-84E3-4432-AB54-A7EF8F2E9AF0}" destId="{C2D10F62-72C3-4778-B24A-2D55A2F5671B}" srcOrd="2" destOrd="0" parTransId="{3CA87AC9-1E6E-4DAE-A2BE-71EBF4AEDB70}" sibTransId="{8E645703-AD74-41C2-86F1-8315041F3C51}"/>
    <dgm:cxn modelId="{457C76E6-079C-41AD-AF72-48CBD7823220}" type="presOf" srcId="{32BA6A3B-84E3-4432-AB54-A7EF8F2E9AF0}" destId="{A516E7BF-2194-4E94-9E59-1CDDAD7A10E1}" srcOrd="0" destOrd="0" presId="urn:microsoft.com/office/officeart/2005/8/layout/pList1"/>
    <dgm:cxn modelId="{DA495EFD-7F77-42FE-9BF5-8B5D91936A6A}" type="presOf" srcId="{4F8BE3E7-D4A0-4AB2-9A8A-AC77895022A4}" destId="{DCDBFC85-AFC5-4BA0-99CA-F31124B57DF1}" srcOrd="0" destOrd="0" presId="urn:microsoft.com/office/officeart/2005/8/layout/pList1"/>
    <dgm:cxn modelId="{3164E19B-783D-4A1C-A0E2-ABB3869135E2}" type="presParOf" srcId="{A516E7BF-2194-4E94-9E59-1CDDAD7A10E1}" destId="{576737D8-C10F-4EE2-AAE8-50660E6DEE52}" srcOrd="0" destOrd="0" presId="urn:microsoft.com/office/officeart/2005/8/layout/pList1"/>
    <dgm:cxn modelId="{F4924BF5-DA32-429A-B6C9-6A81FC594191}" type="presParOf" srcId="{576737D8-C10F-4EE2-AAE8-50660E6DEE52}" destId="{09429313-2650-4276-A106-97AAFCBF8431}" srcOrd="0" destOrd="0" presId="urn:microsoft.com/office/officeart/2005/8/layout/pList1"/>
    <dgm:cxn modelId="{48BC6A21-EBDA-418F-95FE-66BB5B1A6825}" type="presParOf" srcId="{576737D8-C10F-4EE2-AAE8-50660E6DEE52}" destId="{F71C18E6-E389-4A15-AE2E-C2479FDD1207}" srcOrd="1" destOrd="0" presId="urn:microsoft.com/office/officeart/2005/8/layout/pList1"/>
    <dgm:cxn modelId="{A0C51E2E-A04B-4665-BD0C-4B09A816E6E5}" type="presParOf" srcId="{A516E7BF-2194-4E94-9E59-1CDDAD7A10E1}" destId="{6F889528-2DB1-4EFF-8DA5-97E982E93603}" srcOrd="1" destOrd="0" presId="urn:microsoft.com/office/officeart/2005/8/layout/pList1"/>
    <dgm:cxn modelId="{CC07056B-0D66-4B42-B4F5-F8CBD0E080BC}" type="presParOf" srcId="{A516E7BF-2194-4E94-9E59-1CDDAD7A10E1}" destId="{6EC38052-31FF-4119-A1A5-19393ADD049A}" srcOrd="2" destOrd="0" presId="urn:microsoft.com/office/officeart/2005/8/layout/pList1"/>
    <dgm:cxn modelId="{E6E75310-2D21-46D1-BDCE-B36A90513336}" type="presParOf" srcId="{6EC38052-31FF-4119-A1A5-19393ADD049A}" destId="{BDE8F980-71E0-4273-81BE-498985D5B0FE}" srcOrd="0" destOrd="0" presId="urn:microsoft.com/office/officeart/2005/8/layout/pList1"/>
    <dgm:cxn modelId="{185446D9-BA8C-4A49-AD81-9C890FAE98BF}" type="presParOf" srcId="{6EC38052-31FF-4119-A1A5-19393ADD049A}" destId="{46271B03-E06D-44EB-BA87-A2EA5F73A29E}" srcOrd="1" destOrd="0" presId="urn:microsoft.com/office/officeart/2005/8/layout/pList1"/>
    <dgm:cxn modelId="{08A3F327-FC54-431E-90CC-95730A3637B9}" type="presParOf" srcId="{A516E7BF-2194-4E94-9E59-1CDDAD7A10E1}" destId="{DCDBFC85-AFC5-4BA0-99CA-F31124B57DF1}" srcOrd="3" destOrd="0" presId="urn:microsoft.com/office/officeart/2005/8/layout/pList1"/>
    <dgm:cxn modelId="{026A3FF0-D683-47B9-A8FC-AF898699F736}" type="presParOf" srcId="{A516E7BF-2194-4E94-9E59-1CDDAD7A10E1}" destId="{7867481B-4226-4FAE-8F70-3FA8D83A9A03}" srcOrd="4" destOrd="0" presId="urn:microsoft.com/office/officeart/2005/8/layout/pList1"/>
    <dgm:cxn modelId="{E3114306-47DC-40BF-9E0E-376EA58E71DA}" type="presParOf" srcId="{7867481B-4226-4FAE-8F70-3FA8D83A9A03}" destId="{DADCAB13-2534-43B3-ACBD-B5ED3B037386}" srcOrd="0" destOrd="0" presId="urn:microsoft.com/office/officeart/2005/8/layout/pList1"/>
    <dgm:cxn modelId="{363D8CE3-BAA5-4F53-A5D3-15A341F57487}" type="presParOf" srcId="{7867481B-4226-4FAE-8F70-3FA8D83A9A03}" destId="{7D823C4F-5F95-4DE4-8F06-DB2A4371B5FE}" srcOrd="1" destOrd="0" presId="urn:microsoft.com/office/officeart/2005/8/layout/pList1"/>
    <dgm:cxn modelId="{392BD40F-4E0F-454E-BA80-B2177E30BD19}" type="presParOf" srcId="{A516E7BF-2194-4E94-9E59-1CDDAD7A10E1}" destId="{63809DC7-A6F3-41BC-84A8-46263797C0E0}" srcOrd="5" destOrd="0" presId="urn:microsoft.com/office/officeart/2005/8/layout/pList1"/>
    <dgm:cxn modelId="{D54114D8-72BB-47CE-A55B-708832C3DE27}" type="presParOf" srcId="{A516E7BF-2194-4E94-9E59-1CDDAD7A10E1}" destId="{DB78DC04-5F05-4955-A591-DF07D3BE30D6}" srcOrd="6" destOrd="0" presId="urn:microsoft.com/office/officeart/2005/8/layout/pList1"/>
    <dgm:cxn modelId="{F5D68FA3-F25B-4AEF-AAFC-193E64A3AD1C}" type="presParOf" srcId="{DB78DC04-5F05-4955-A591-DF07D3BE30D6}" destId="{B5B4CC09-18C8-4203-A8B8-34F6B50D95C4}" srcOrd="0" destOrd="0" presId="urn:microsoft.com/office/officeart/2005/8/layout/pList1"/>
    <dgm:cxn modelId="{08F49556-EA23-4E34-8184-664AE405C2E7}" type="presParOf" srcId="{DB78DC04-5F05-4955-A591-DF07D3BE30D6}" destId="{BCEC2710-F629-4F49-A09B-9322AA44BB5D}" srcOrd="1" destOrd="0" presId="urn:microsoft.com/office/officeart/2005/8/layout/p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429313-2650-4276-A106-97AAFCBF8431}">
      <dsp:nvSpPr>
        <dsp:cNvPr id="0" name=""/>
        <dsp:cNvSpPr/>
      </dsp:nvSpPr>
      <dsp:spPr>
        <a:xfrm>
          <a:off x="520356" y="1386"/>
          <a:ext cx="2067621" cy="142459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71C18E6-E389-4A15-AE2E-C2479FDD1207}">
      <dsp:nvSpPr>
        <dsp:cNvPr id="0" name=""/>
        <dsp:cNvSpPr/>
      </dsp:nvSpPr>
      <dsp:spPr>
        <a:xfrm>
          <a:off x="520356" y="1425977"/>
          <a:ext cx="2067621" cy="7670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6032" tIns="256032" rIns="256032" bIns="0" numCol="1" spcCol="1270" anchor="t" anchorCtr="0">
          <a:noAutofit/>
        </a:bodyPr>
        <a:lstStyle/>
        <a:p>
          <a:pPr marL="0" lvl="0" indent="0" algn="ctr" defTabSz="1600200">
            <a:lnSpc>
              <a:spcPct val="90000"/>
            </a:lnSpc>
            <a:spcBef>
              <a:spcPct val="0"/>
            </a:spcBef>
            <a:spcAft>
              <a:spcPct val="35000"/>
            </a:spcAft>
            <a:buNone/>
          </a:pPr>
          <a:endParaRPr lang="en-GB" sz="3600" kern="1200" noProof="0"/>
        </a:p>
      </dsp:txBody>
      <dsp:txXfrm>
        <a:off x="520356" y="1425977"/>
        <a:ext cx="2067621" cy="767087"/>
      </dsp:txXfrm>
    </dsp:sp>
    <dsp:sp modelId="{BDE8F980-71E0-4273-81BE-498985D5B0FE}">
      <dsp:nvSpPr>
        <dsp:cNvPr id="0" name=""/>
        <dsp:cNvSpPr/>
      </dsp:nvSpPr>
      <dsp:spPr>
        <a:xfrm>
          <a:off x="2794827" y="1386"/>
          <a:ext cx="2067621" cy="142459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6271B03-E06D-44EB-BA87-A2EA5F73A29E}">
      <dsp:nvSpPr>
        <dsp:cNvPr id="0" name=""/>
        <dsp:cNvSpPr/>
      </dsp:nvSpPr>
      <dsp:spPr>
        <a:xfrm>
          <a:off x="2794827" y="1425977"/>
          <a:ext cx="2067621" cy="7670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6032" tIns="256032" rIns="256032" bIns="0" numCol="1" spcCol="1270" anchor="t" anchorCtr="0">
          <a:noAutofit/>
        </a:bodyPr>
        <a:lstStyle/>
        <a:p>
          <a:pPr marL="0" lvl="0" indent="0" algn="ctr" defTabSz="1600200">
            <a:lnSpc>
              <a:spcPct val="90000"/>
            </a:lnSpc>
            <a:spcBef>
              <a:spcPct val="0"/>
            </a:spcBef>
            <a:spcAft>
              <a:spcPct val="35000"/>
            </a:spcAft>
            <a:buNone/>
          </a:pPr>
          <a:endParaRPr lang="en-GB" sz="3600" kern="1200" noProof="0"/>
        </a:p>
      </dsp:txBody>
      <dsp:txXfrm>
        <a:off x="2794827" y="1425977"/>
        <a:ext cx="2067621" cy="767087"/>
      </dsp:txXfrm>
    </dsp:sp>
    <dsp:sp modelId="{DADCAB13-2534-43B3-ACBD-B5ED3B037386}">
      <dsp:nvSpPr>
        <dsp:cNvPr id="0" name=""/>
        <dsp:cNvSpPr/>
      </dsp:nvSpPr>
      <dsp:spPr>
        <a:xfrm>
          <a:off x="520356" y="2399827"/>
          <a:ext cx="2067621" cy="142459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D823C4F-5F95-4DE4-8F06-DB2A4371B5FE}">
      <dsp:nvSpPr>
        <dsp:cNvPr id="0" name=""/>
        <dsp:cNvSpPr/>
      </dsp:nvSpPr>
      <dsp:spPr>
        <a:xfrm>
          <a:off x="520356" y="3824418"/>
          <a:ext cx="2067621" cy="7670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6032" tIns="256032" rIns="256032" bIns="0" numCol="1" spcCol="1270" anchor="t" anchorCtr="0">
          <a:noAutofit/>
        </a:bodyPr>
        <a:lstStyle/>
        <a:p>
          <a:pPr marL="0" lvl="0" indent="0" algn="ctr" defTabSz="1600200">
            <a:lnSpc>
              <a:spcPct val="90000"/>
            </a:lnSpc>
            <a:spcBef>
              <a:spcPct val="0"/>
            </a:spcBef>
            <a:spcAft>
              <a:spcPct val="35000"/>
            </a:spcAft>
            <a:buNone/>
          </a:pPr>
          <a:endParaRPr lang="en-GB" sz="3600" kern="1200" noProof="0"/>
        </a:p>
      </dsp:txBody>
      <dsp:txXfrm>
        <a:off x="520356" y="3824418"/>
        <a:ext cx="2067621" cy="767087"/>
      </dsp:txXfrm>
    </dsp:sp>
    <dsp:sp modelId="{B5B4CC09-18C8-4203-A8B8-34F6B50D95C4}">
      <dsp:nvSpPr>
        <dsp:cNvPr id="0" name=""/>
        <dsp:cNvSpPr/>
      </dsp:nvSpPr>
      <dsp:spPr>
        <a:xfrm>
          <a:off x="2794827" y="2399827"/>
          <a:ext cx="2067621" cy="142459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CEC2710-F629-4F49-A09B-9322AA44BB5D}">
      <dsp:nvSpPr>
        <dsp:cNvPr id="0" name=""/>
        <dsp:cNvSpPr/>
      </dsp:nvSpPr>
      <dsp:spPr>
        <a:xfrm>
          <a:off x="2794827" y="3824418"/>
          <a:ext cx="2067621" cy="7670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6032" tIns="256032" rIns="256032" bIns="0" numCol="1" spcCol="1270" anchor="t" anchorCtr="0">
          <a:noAutofit/>
        </a:bodyPr>
        <a:lstStyle/>
        <a:p>
          <a:pPr marL="0" lvl="0" indent="0" algn="ctr" defTabSz="1600200">
            <a:lnSpc>
              <a:spcPct val="90000"/>
            </a:lnSpc>
            <a:spcBef>
              <a:spcPct val="0"/>
            </a:spcBef>
            <a:spcAft>
              <a:spcPct val="35000"/>
            </a:spcAft>
            <a:buNone/>
          </a:pPr>
          <a:endParaRPr lang="en-GB" sz="3600" kern="1200" noProof="0"/>
        </a:p>
      </dsp:txBody>
      <dsp:txXfrm>
        <a:off x="2794827" y="3824418"/>
        <a:ext cx="2067621" cy="767087"/>
      </dsp:txXfrm>
    </dsp:sp>
  </dsp:spTree>
</dsp:drawing>
</file>

<file path=ppt/diagrams/layout1.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627063"/>
          </a:xfrm>
          <a:prstGeom prst="rect">
            <a:avLst/>
          </a:prstGeom>
        </p:spPr>
        <p:txBody>
          <a:bodyPr vert="horz" lIns="91440" tIns="45720" rIns="91440" bIns="45720" rtlCol="0"/>
          <a:lstStyle>
            <a:lvl1pPr algn="l">
              <a:defRPr sz="1200"/>
            </a:lvl1pPr>
          </a:lstStyle>
          <a:p>
            <a:endParaRPr lang="es-ES"/>
          </a:p>
        </p:txBody>
      </p:sp>
      <p:sp>
        <p:nvSpPr>
          <p:cNvPr id="3" name="2 Marcador de fecha"/>
          <p:cNvSpPr>
            <a:spLocks noGrp="1"/>
          </p:cNvSpPr>
          <p:nvPr>
            <p:ph type="dt" sz="quarter" idx="1"/>
          </p:nvPr>
        </p:nvSpPr>
        <p:spPr>
          <a:xfrm>
            <a:off x="3884613" y="0"/>
            <a:ext cx="2971800" cy="627063"/>
          </a:xfrm>
          <a:prstGeom prst="rect">
            <a:avLst/>
          </a:prstGeom>
        </p:spPr>
        <p:txBody>
          <a:bodyPr vert="horz" lIns="91440" tIns="45720" rIns="91440" bIns="45720" rtlCol="0"/>
          <a:lstStyle>
            <a:lvl1pPr algn="r">
              <a:defRPr sz="1200"/>
            </a:lvl1pPr>
          </a:lstStyle>
          <a:p>
            <a:fld id="{80D34FD3-663C-481A-B1D2-8DF739117FF3}" type="datetimeFigureOut">
              <a:rPr lang="es-ES" smtClean="0"/>
              <a:pPr/>
              <a:t>27/06/2025</a:t>
            </a:fld>
            <a:endParaRPr lang="es-ES"/>
          </a:p>
        </p:txBody>
      </p:sp>
      <p:sp>
        <p:nvSpPr>
          <p:cNvPr id="4" name="3 Marcador de pie de página"/>
          <p:cNvSpPr>
            <a:spLocks noGrp="1"/>
          </p:cNvSpPr>
          <p:nvPr>
            <p:ph type="ftr" sz="quarter" idx="2"/>
          </p:nvPr>
        </p:nvSpPr>
        <p:spPr>
          <a:xfrm>
            <a:off x="0" y="11923713"/>
            <a:ext cx="2971800" cy="628650"/>
          </a:xfrm>
          <a:prstGeom prst="rect">
            <a:avLst/>
          </a:prstGeom>
        </p:spPr>
        <p:txBody>
          <a:bodyPr vert="horz" lIns="91440" tIns="45720" rIns="91440" bIns="45720" rtlCol="0" anchor="b"/>
          <a:lstStyle>
            <a:lvl1pPr algn="l">
              <a:defRPr sz="1200"/>
            </a:lvl1pPr>
          </a:lstStyle>
          <a:p>
            <a:endParaRPr lang="es-ES"/>
          </a:p>
        </p:txBody>
      </p:sp>
    </p:spTree>
    <p:extLst>
      <p:ext uri="{BB962C8B-B14F-4D97-AF65-F5344CB8AC3E}">
        <p14:creationId xmlns:p14="http://schemas.microsoft.com/office/powerpoint/2010/main" val="77274313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627698"/>
          </a:xfrm>
          <a:prstGeom prst="rect">
            <a:avLst/>
          </a:prstGeom>
        </p:spPr>
        <p:txBody>
          <a:bodyPr vert="horz" lIns="91440" tIns="45720" rIns="91440" bIns="45720" rtlCol="0"/>
          <a:lstStyle>
            <a:lvl1pPr algn="l">
              <a:defRPr sz="1200"/>
            </a:lvl1pPr>
          </a:lstStyle>
          <a:p>
            <a:endParaRPr lang="es-ES"/>
          </a:p>
        </p:txBody>
      </p:sp>
      <p:sp>
        <p:nvSpPr>
          <p:cNvPr id="3" name="2 Marcador de fecha"/>
          <p:cNvSpPr>
            <a:spLocks noGrp="1"/>
          </p:cNvSpPr>
          <p:nvPr>
            <p:ph type="dt" idx="1"/>
          </p:nvPr>
        </p:nvSpPr>
        <p:spPr>
          <a:xfrm>
            <a:off x="3884613" y="0"/>
            <a:ext cx="2971800" cy="627698"/>
          </a:xfrm>
          <a:prstGeom prst="rect">
            <a:avLst/>
          </a:prstGeom>
        </p:spPr>
        <p:txBody>
          <a:bodyPr vert="horz" lIns="91440" tIns="45720" rIns="91440" bIns="45720" rtlCol="0"/>
          <a:lstStyle>
            <a:lvl1pPr algn="r">
              <a:defRPr sz="1200"/>
            </a:lvl1pPr>
          </a:lstStyle>
          <a:p>
            <a:fld id="{934782E8-EFC1-4858-BBD6-85B98C264A6F}" type="datetimeFigureOut">
              <a:rPr lang="es-ES" smtClean="0"/>
              <a:pPr/>
              <a:t>27/06/2025</a:t>
            </a:fld>
            <a:endParaRPr lang="es-ES"/>
          </a:p>
        </p:txBody>
      </p:sp>
      <p:sp>
        <p:nvSpPr>
          <p:cNvPr id="4" name="3 Marcador de imagen de diapositiva"/>
          <p:cNvSpPr>
            <a:spLocks noGrp="1" noRot="1" noChangeAspect="1"/>
          </p:cNvSpPr>
          <p:nvPr>
            <p:ph type="sldImg" idx="2"/>
          </p:nvPr>
        </p:nvSpPr>
        <p:spPr>
          <a:xfrm>
            <a:off x="-755650" y="941388"/>
            <a:ext cx="8369300" cy="4708525"/>
          </a:xfrm>
          <a:prstGeom prst="rect">
            <a:avLst/>
          </a:prstGeom>
          <a:noFill/>
          <a:ln w="12700">
            <a:solidFill>
              <a:prstClr val="black"/>
            </a:solidFill>
          </a:ln>
        </p:spPr>
        <p:txBody>
          <a:bodyPr vert="horz" lIns="91440" tIns="45720" rIns="91440" bIns="45720" rtlCol="0" anchor="ctr"/>
          <a:lstStyle/>
          <a:p>
            <a:endParaRPr lang="es-ES"/>
          </a:p>
        </p:txBody>
      </p:sp>
      <p:sp>
        <p:nvSpPr>
          <p:cNvPr id="5" name="4 Marcador de notas"/>
          <p:cNvSpPr>
            <a:spLocks noGrp="1"/>
          </p:cNvSpPr>
          <p:nvPr>
            <p:ph type="body" sz="quarter" idx="3"/>
          </p:nvPr>
        </p:nvSpPr>
        <p:spPr>
          <a:xfrm>
            <a:off x="685800" y="5963126"/>
            <a:ext cx="5486400" cy="5649278"/>
          </a:xfrm>
          <a:prstGeom prst="rect">
            <a:avLst/>
          </a:prstGeom>
        </p:spPr>
        <p:txBody>
          <a:bodyPr vert="horz" lIns="91440" tIns="45720" rIns="91440" bIns="45720" rtlCol="0">
            <a:norm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5 Marcador de pie de página"/>
          <p:cNvSpPr>
            <a:spLocks noGrp="1"/>
          </p:cNvSpPr>
          <p:nvPr>
            <p:ph type="ftr" sz="quarter" idx="4"/>
          </p:nvPr>
        </p:nvSpPr>
        <p:spPr>
          <a:xfrm>
            <a:off x="0" y="11924073"/>
            <a:ext cx="2971800" cy="627698"/>
          </a:xfrm>
          <a:prstGeom prst="rect">
            <a:avLst/>
          </a:prstGeom>
        </p:spPr>
        <p:txBody>
          <a:bodyPr vert="horz" lIns="91440" tIns="45720" rIns="91440" bIns="45720" rtlCol="0" anchor="b"/>
          <a:lstStyle>
            <a:lvl1pPr algn="l">
              <a:defRPr sz="1200"/>
            </a:lvl1pPr>
          </a:lstStyle>
          <a:p>
            <a:endParaRPr lang="es-ES"/>
          </a:p>
        </p:txBody>
      </p:sp>
      <p:sp>
        <p:nvSpPr>
          <p:cNvPr id="7" name="6 Marcador de número de diapositiva"/>
          <p:cNvSpPr>
            <a:spLocks noGrp="1"/>
          </p:cNvSpPr>
          <p:nvPr>
            <p:ph type="sldNum" sz="quarter" idx="5"/>
          </p:nvPr>
        </p:nvSpPr>
        <p:spPr>
          <a:xfrm>
            <a:off x="3884613" y="11924073"/>
            <a:ext cx="2971800" cy="627698"/>
          </a:xfrm>
          <a:prstGeom prst="rect">
            <a:avLst/>
          </a:prstGeom>
        </p:spPr>
        <p:txBody>
          <a:bodyPr vert="horz" lIns="91440" tIns="45720" rIns="91440" bIns="45720" rtlCol="0" anchor="b"/>
          <a:lstStyle>
            <a:lvl1pPr algn="r">
              <a:defRPr sz="1200"/>
            </a:lvl1pPr>
          </a:lstStyle>
          <a:p>
            <a:fld id="{08EFAA48-0AD5-4BCB-8C10-3E1E098ED445}" type="slidenum">
              <a:rPr lang="es-ES" smtClean="0"/>
              <a:pPr/>
              <a:t>‹Nº›</a:t>
            </a:fld>
            <a:endParaRPr lang="es-ES"/>
          </a:p>
        </p:txBody>
      </p:sp>
    </p:spTree>
    <p:extLst>
      <p:ext uri="{BB962C8B-B14F-4D97-AF65-F5344CB8AC3E}">
        <p14:creationId xmlns:p14="http://schemas.microsoft.com/office/powerpoint/2010/main" val="1351820597"/>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stratesys-ts.eu10.hcs.cloud.sap/sap/fpa/ui/app.html#/story2&amp;/s2/F4913D8163A754E09667F6E9E5B613F4/?mode=view" TargetMode="External"/><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stratesys-ts.eu10.hcs.cloud.sap/sap/fpa/ui/app.html#/story2&amp;/s2/F4913D8163A754E09667F6E9E5B613F4/?mode=view"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E6199F-670E-395B-6E81-F75DE3C5359C}"/>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D014B3E9-FDAD-2B1A-D5A3-765D6F59C8A5}"/>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FDC777DE-DA43-B61F-C942-44210F1AA5DD}"/>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6AEE40D4-E8A0-12B4-0E13-CF5813EDAFA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B9A84A-733A-0C47-AC2B-F0C70F83A7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20049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17084B-61C1-CC0C-B444-10FBD83B95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94E791-223E-C80F-6AFF-97BFD8A6A812}"/>
              </a:ext>
            </a:extLst>
          </p:cNvPr>
          <p:cNvSpPr>
            <a:spLocks noGrp="1" noRot="1" noChangeAspect="1"/>
          </p:cNvSpPr>
          <p:nvPr>
            <p:ph type="sldImg"/>
          </p:nvPr>
        </p:nvSpPr>
        <p:spPr>
          <a:xfrm>
            <a:off x="87313" y="746125"/>
            <a:ext cx="6615112" cy="3722688"/>
          </a:xfrm>
        </p:spPr>
      </p:sp>
      <p:sp>
        <p:nvSpPr>
          <p:cNvPr id="3" name="Notes Placeholder 2">
            <a:extLst>
              <a:ext uri="{FF2B5EF4-FFF2-40B4-BE49-F238E27FC236}">
                <a16:creationId xmlns:a16="http://schemas.microsoft.com/office/drawing/2014/main" id="{CDECE2A4-9653-597D-4190-4FF89A8B0FB3}"/>
              </a:ext>
            </a:extLst>
          </p:cNvPr>
          <p:cNvSpPr>
            <a:spLocks noGrp="1"/>
          </p:cNvSpPr>
          <p:nvPr>
            <p:ph type="body" idx="1"/>
          </p:nvPr>
        </p:nvSpPr>
        <p:spPr/>
        <p:txBody>
          <a:bodyPr/>
          <a:lstStyle/>
          <a:p>
            <a:endParaRPr lang="es-ES_tradnl"/>
          </a:p>
        </p:txBody>
      </p:sp>
      <p:sp>
        <p:nvSpPr>
          <p:cNvPr id="4" name="Slide Number Placeholder 3">
            <a:extLst>
              <a:ext uri="{FF2B5EF4-FFF2-40B4-BE49-F238E27FC236}">
                <a16:creationId xmlns:a16="http://schemas.microsoft.com/office/drawing/2014/main" id="{0876D882-AE10-84B2-92DA-195ACA507F71}"/>
              </a:ext>
            </a:extLst>
          </p:cNvPr>
          <p:cNvSpPr>
            <a:spLocks noGrp="1"/>
          </p:cNvSpPr>
          <p:nvPr>
            <p:ph type="sldNum" sz="quarter" idx="10"/>
          </p:nvPr>
        </p:nvSpPr>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294088FB-87AA-43E5-ABD7-0C0309A0A45B}" type="slidenum">
              <a:rPr kumimoji="0" lang="en-US" sz="1800" b="0" i="0" u="none" strike="noStrike" kern="0" cap="none" spc="0" normalizeH="0" baseline="0" noProof="0" smtClean="0">
                <a:ln>
                  <a:noFill/>
                </a:ln>
                <a:solidFill>
                  <a:srgbClr val="000000"/>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srgbClr val="000000"/>
              </a:solidFill>
              <a:effectLst/>
              <a:uLnTx/>
              <a:uFillTx/>
              <a:latin typeface="Calibri"/>
              <a:cs typeface="Calibri"/>
              <a:sym typeface="Calibri"/>
            </a:endParaRPr>
          </a:p>
        </p:txBody>
      </p:sp>
    </p:spTree>
    <p:extLst>
      <p:ext uri="{BB962C8B-B14F-4D97-AF65-F5344CB8AC3E}">
        <p14:creationId xmlns:p14="http://schemas.microsoft.com/office/powerpoint/2010/main" val="38109743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F525D0-2E9D-4D43-24D1-B02C44602040}"/>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19A4150-0877-1606-A673-7AB7B7227152}"/>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B2CC1A81-4887-6BA1-D836-350136346F71}"/>
              </a:ext>
            </a:extLst>
          </p:cNvPr>
          <p:cNvSpPr>
            <a:spLocks noGrp="1"/>
          </p:cNvSpPr>
          <p:nvPr>
            <p:ph type="body" idx="1"/>
          </p:nvPr>
        </p:nvSpPr>
        <p:spPr/>
        <p:txBody>
          <a:bodyPr/>
          <a:lstStyle/>
          <a:p>
            <a:endParaRPr lang="en-GB"/>
          </a:p>
        </p:txBody>
      </p:sp>
      <p:sp>
        <p:nvSpPr>
          <p:cNvPr id="4" name="Marcador de número de diapositiva 3">
            <a:extLst>
              <a:ext uri="{FF2B5EF4-FFF2-40B4-BE49-F238E27FC236}">
                <a16:creationId xmlns:a16="http://schemas.microsoft.com/office/drawing/2014/main" id="{42067931-ED9B-43D1-7296-46967A96FE15}"/>
              </a:ext>
            </a:extLst>
          </p:cNvPr>
          <p:cNvSpPr>
            <a:spLocks noGrp="1"/>
          </p:cNvSpPr>
          <p:nvPr>
            <p:ph type="sldNum" sz="quarter" idx="5"/>
          </p:nvPr>
        </p:nvSpPr>
        <p:spPr/>
        <p:txBody>
          <a:bodyPr/>
          <a:lstStyle/>
          <a:p>
            <a:fld id="{08EFAA48-0AD5-4BCB-8C10-3E1E098ED445}" type="slidenum">
              <a:rPr lang="es-ES" smtClean="0"/>
              <a:pPr/>
              <a:t>14</a:t>
            </a:fld>
            <a:endParaRPr lang="es-ES"/>
          </a:p>
        </p:txBody>
      </p:sp>
    </p:spTree>
    <p:extLst>
      <p:ext uri="{BB962C8B-B14F-4D97-AF65-F5344CB8AC3E}">
        <p14:creationId xmlns:p14="http://schemas.microsoft.com/office/powerpoint/2010/main" val="4130908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EB5819-02C8-9770-C7C8-D561E53D8D6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F98AA61-7548-2279-556A-1B2321389C15}"/>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5AB519A6-A12E-8AA0-3283-B8A383920F39}"/>
              </a:ext>
            </a:extLst>
          </p:cNvPr>
          <p:cNvSpPr>
            <a:spLocks noGrp="1"/>
          </p:cNvSpPr>
          <p:nvPr>
            <p:ph type="body" idx="1"/>
          </p:nvPr>
        </p:nvSpPr>
        <p:spPr/>
        <p:txBody>
          <a:bodyPr>
            <a:normAutofit/>
          </a:bodyPr>
          <a:lstStyle/>
          <a:p>
            <a:pPr>
              <a:buNone/>
            </a:pPr>
            <a:r>
              <a:rPr lang="en-GB" b="1"/>
              <a:t>2.1 Identidad y </a:t>
            </a:r>
            <a:r>
              <a:rPr lang="en-GB" b="1" err="1"/>
              <a:t>seguridad</a:t>
            </a:r>
            <a:endParaRPr lang="en-GB" b="1"/>
          </a:p>
          <a:p>
            <a:pPr>
              <a:buFont typeface="Arial" panose="020B0604020202020204" pitchFamily="34" charset="0"/>
              <a:buChar char="•"/>
            </a:pPr>
            <a:r>
              <a:rPr lang="en-GB" b="1"/>
              <a:t>IAS + Azure AD</a:t>
            </a:r>
            <a:r>
              <a:rPr lang="en-GB"/>
              <a:t>: tutorial </a:t>
            </a:r>
            <a:r>
              <a:rPr lang="en-GB" err="1"/>
              <a:t>oficial</a:t>
            </a:r>
            <a:r>
              <a:rPr lang="en-GB"/>
              <a:t> de </a:t>
            </a:r>
            <a:r>
              <a:rPr lang="en-GB" err="1"/>
              <a:t>federación</a:t>
            </a:r>
            <a:r>
              <a:rPr lang="en-GB"/>
              <a:t> SAML/OIDC.</a:t>
            </a:r>
          </a:p>
          <a:p>
            <a:pPr>
              <a:buFont typeface="Arial" panose="020B0604020202020204" pitchFamily="34" charset="0"/>
              <a:buChar char="•"/>
            </a:pPr>
            <a:r>
              <a:rPr lang="en-GB" b="1"/>
              <a:t>IPS</a:t>
            </a:r>
            <a:r>
              <a:rPr lang="en-GB"/>
              <a:t>: drivers SCIM para Datasphere </a:t>
            </a:r>
            <a:r>
              <a:rPr lang="en-GB" err="1"/>
              <a:t>listos</a:t>
            </a:r>
            <a:r>
              <a:rPr lang="en-GB"/>
              <a:t> out-of-the-box.</a:t>
            </a:r>
          </a:p>
          <a:p>
            <a:pPr>
              <a:buFont typeface="Arial" panose="020B0604020202020204" pitchFamily="34" charset="0"/>
              <a:buChar char="•"/>
            </a:pPr>
            <a:r>
              <a:rPr lang="en-GB" b="1"/>
              <a:t>XSUAA</a:t>
            </a:r>
            <a:r>
              <a:rPr lang="en-GB"/>
              <a:t>: </a:t>
            </a:r>
            <a:r>
              <a:rPr lang="en-GB" err="1"/>
              <a:t>gestiona</a:t>
            </a:r>
            <a:r>
              <a:rPr lang="en-GB"/>
              <a:t> scopes/roles para </a:t>
            </a:r>
            <a:r>
              <a:rPr lang="en-GB" err="1"/>
              <a:t>microservicios</a:t>
            </a:r>
            <a:r>
              <a:rPr lang="en-GB"/>
              <a:t> CAP o Node.</a:t>
            </a:r>
          </a:p>
          <a:p>
            <a:pPr>
              <a:buNone/>
            </a:pPr>
            <a:r>
              <a:rPr lang="en-GB" b="1"/>
              <a:t>2.2 Front-end</a:t>
            </a:r>
          </a:p>
          <a:p>
            <a:pPr>
              <a:buFont typeface="Arial" panose="020B0604020202020204" pitchFamily="34" charset="0"/>
              <a:buChar char="•"/>
            </a:pPr>
            <a:r>
              <a:rPr lang="en-GB" b="1"/>
              <a:t>Build Work Zone AE ↔ Teams</a:t>
            </a:r>
            <a:r>
              <a:rPr lang="en-GB"/>
              <a:t>: </a:t>
            </a:r>
            <a:r>
              <a:rPr lang="en-GB" err="1"/>
              <a:t>integración</a:t>
            </a:r>
            <a:r>
              <a:rPr lang="en-GB"/>
              <a:t> </a:t>
            </a:r>
            <a:r>
              <a:rPr lang="en-GB" err="1"/>
              <a:t>guiada</a:t>
            </a:r>
            <a:r>
              <a:rPr lang="en-GB"/>
              <a:t> </a:t>
            </a:r>
            <a:r>
              <a:rPr lang="en-GB" err="1"/>
              <a:t>en</a:t>
            </a:r>
            <a:r>
              <a:rPr lang="en-GB"/>
              <a:t> la </a:t>
            </a:r>
            <a:r>
              <a:rPr lang="en-GB" err="1"/>
              <a:t>consola</a:t>
            </a:r>
            <a:r>
              <a:rPr lang="en-GB"/>
              <a:t>.</a:t>
            </a:r>
          </a:p>
          <a:p>
            <a:pPr>
              <a:buFont typeface="Arial" panose="020B0604020202020204" pitchFamily="34" charset="0"/>
              <a:buChar char="•"/>
            </a:pPr>
            <a:r>
              <a:rPr lang="en-GB" b="1"/>
              <a:t>Build Apps</a:t>
            </a:r>
            <a:r>
              <a:rPr lang="en-GB"/>
              <a:t>: </a:t>
            </a:r>
            <a:r>
              <a:rPr lang="en-GB" err="1"/>
              <a:t>ejemplos</a:t>
            </a:r>
            <a:r>
              <a:rPr lang="en-GB"/>
              <a:t> de </a:t>
            </a:r>
            <a:r>
              <a:rPr lang="en-GB" err="1"/>
              <a:t>tarjetas</a:t>
            </a:r>
            <a:r>
              <a:rPr lang="en-GB"/>
              <a:t> </a:t>
            </a:r>
            <a:r>
              <a:rPr lang="en-GB" err="1"/>
              <a:t>adaptativas</a:t>
            </a:r>
            <a:r>
              <a:rPr lang="en-GB"/>
              <a:t> </a:t>
            </a:r>
            <a:r>
              <a:rPr lang="en-GB" err="1"/>
              <a:t>disparadas</a:t>
            </a:r>
            <a:r>
              <a:rPr lang="en-GB"/>
              <a:t> </a:t>
            </a:r>
            <a:r>
              <a:rPr lang="en-GB" err="1"/>
              <a:t>desde</a:t>
            </a:r>
            <a:r>
              <a:rPr lang="en-GB"/>
              <a:t> Build Apps a Teams.</a:t>
            </a:r>
          </a:p>
          <a:p>
            <a:pPr>
              <a:buNone/>
            </a:pPr>
            <a:r>
              <a:rPr lang="en-GB" b="1"/>
              <a:t>2.3 </a:t>
            </a:r>
            <a:r>
              <a:rPr lang="en-GB" b="1" err="1"/>
              <a:t>Automatización</a:t>
            </a:r>
            <a:endParaRPr lang="en-GB" b="1"/>
          </a:p>
          <a:p>
            <a:pPr>
              <a:buFont typeface="Arial" panose="020B0604020202020204" pitchFamily="34" charset="0"/>
              <a:buChar char="•"/>
            </a:pPr>
            <a:r>
              <a:rPr lang="en-GB" b="1"/>
              <a:t>SAP Build Process Automation</a:t>
            </a:r>
            <a:r>
              <a:rPr lang="en-GB"/>
              <a:t>: APIs REST/Events + Task </a:t>
            </a:r>
            <a:r>
              <a:rPr lang="en-GB" err="1"/>
              <a:t>Center</a:t>
            </a:r>
            <a:r>
              <a:rPr lang="en-GB"/>
              <a:t>.</a:t>
            </a:r>
          </a:p>
          <a:p>
            <a:pPr>
              <a:buNone/>
            </a:pPr>
            <a:r>
              <a:rPr lang="en-GB" b="1"/>
              <a:t>2.4 </a:t>
            </a:r>
            <a:r>
              <a:rPr lang="en-GB" b="1" err="1"/>
              <a:t>Integración</a:t>
            </a:r>
            <a:endParaRPr lang="en-GB" b="1"/>
          </a:p>
          <a:p>
            <a:pPr>
              <a:buFont typeface="Arial" panose="020B0604020202020204" pitchFamily="34" charset="0"/>
              <a:buChar char="•"/>
            </a:pPr>
            <a:r>
              <a:rPr lang="en-GB" b="1"/>
              <a:t>Cloud Integration</a:t>
            </a:r>
            <a:r>
              <a:rPr lang="en-GB"/>
              <a:t> consume APIs OData de Datasphere con OAuth2.</a:t>
            </a:r>
          </a:p>
          <a:p>
            <a:pPr>
              <a:buFont typeface="Arial" panose="020B0604020202020204" pitchFamily="34" charset="0"/>
              <a:buChar char="•"/>
            </a:pPr>
            <a:r>
              <a:rPr lang="en-GB" b="1"/>
              <a:t>API Management</a:t>
            </a:r>
            <a:r>
              <a:rPr lang="en-GB"/>
              <a:t> para </a:t>
            </a:r>
            <a:r>
              <a:rPr lang="en-GB" err="1"/>
              <a:t>exponer</a:t>
            </a:r>
            <a:r>
              <a:rPr lang="en-GB"/>
              <a:t> SCIM/audit; </a:t>
            </a:r>
            <a:r>
              <a:rPr lang="en-GB" err="1"/>
              <a:t>buenas</a:t>
            </a:r>
            <a:r>
              <a:rPr lang="en-GB"/>
              <a:t> </a:t>
            </a:r>
            <a:r>
              <a:rPr lang="en-GB" err="1"/>
              <a:t>prácticas</a:t>
            </a:r>
            <a:r>
              <a:rPr lang="en-GB"/>
              <a:t> </a:t>
            </a:r>
            <a:r>
              <a:rPr lang="en-GB" err="1"/>
              <a:t>en</a:t>
            </a:r>
            <a:r>
              <a:rPr lang="en-GB"/>
              <a:t> KBA.</a:t>
            </a:r>
          </a:p>
          <a:p>
            <a:pPr>
              <a:buFont typeface="Arial" panose="020B0604020202020204" pitchFamily="34" charset="0"/>
              <a:buChar char="•"/>
            </a:pPr>
            <a:r>
              <a:rPr lang="en-GB" b="1"/>
              <a:t>Advanced Event Mesh</a:t>
            </a:r>
            <a:r>
              <a:rPr lang="en-GB"/>
              <a:t>: backbone </a:t>
            </a:r>
            <a:r>
              <a:rPr lang="en-GB" err="1"/>
              <a:t>asíncrono</a:t>
            </a:r>
            <a:r>
              <a:rPr lang="en-GB"/>
              <a:t> para “</a:t>
            </a:r>
            <a:r>
              <a:rPr lang="en-GB" err="1"/>
              <a:t>AccessApproved</a:t>
            </a:r>
            <a:r>
              <a:rPr lang="en-GB"/>
              <a:t>”.</a:t>
            </a:r>
          </a:p>
          <a:p>
            <a:pPr>
              <a:buNone/>
            </a:pPr>
            <a:r>
              <a:rPr lang="en-GB" b="1"/>
              <a:t>2.5 Datos</a:t>
            </a:r>
          </a:p>
          <a:p>
            <a:pPr>
              <a:buFont typeface="Arial" panose="020B0604020202020204" pitchFamily="34" charset="0"/>
              <a:buChar char="•"/>
            </a:pPr>
            <a:r>
              <a:rPr lang="en-GB" b="1"/>
              <a:t>Datasphere + SCIM</a:t>
            </a:r>
            <a:r>
              <a:rPr lang="en-GB"/>
              <a:t> </a:t>
            </a:r>
            <a:r>
              <a:rPr lang="en-GB" err="1"/>
              <a:t>confirmado</a:t>
            </a:r>
            <a:r>
              <a:rPr lang="en-GB"/>
              <a:t>; </a:t>
            </a:r>
            <a:r>
              <a:rPr lang="en-GB" err="1"/>
              <a:t>grupos</a:t>
            </a:r>
            <a:r>
              <a:rPr lang="en-GB"/>
              <a:t> </a:t>
            </a:r>
            <a:r>
              <a:rPr lang="en-GB" err="1"/>
              <a:t>aún</a:t>
            </a:r>
            <a:r>
              <a:rPr lang="en-GB"/>
              <a:t> </a:t>
            </a:r>
            <a:r>
              <a:rPr lang="en-GB" err="1"/>
              <a:t>en</a:t>
            </a:r>
            <a:r>
              <a:rPr lang="en-GB"/>
              <a:t> roadmap.</a:t>
            </a:r>
          </a:p>
          <a:p>
            <a:pPr>
              <a:buFont typeface="Arial" panose="020B0604020202020204" pitchFamily="34" charset="0"/>
              <a:buChar char="•"/>
            </a:pPr>
            <a:r>
              <a:rPr lang="en-GB" b="1"/>
              <a:t>HANA Cloud (logs)</a:t>
            </a:r>
            <a:r>
              <a:rPr lang="en-GB"/>
              <a:t>: </a:t>
            </a:r>
            <a:r>
              <a:rPr lang="en-GB" err="1"/>
              <a:t>opcional</a:t>
            </a:r>
            <a:r>
              <a:rPr lang="en-GB"/>
              <a:t>, no hay </a:t>
            </a:r>
            <a:r>
              <a:rPr lang="en-GB" err="1"/>
              <a:t>incompatibilidades</a:t>
            </a:r>
            <a:r>
              <a:rPr lang="en-GB"/>
              <a:t>.</a:t>
            </a:r>
          </a:p>
          <a:p>
            <a:pPr>
              <a:buNone/>
            </a:pPr>
            <a:r>
              <a:rPr lang="en-GB" b="1"/>
              <a:t>2.6 </a:t>
            </a:r>
            <a:r>
              <a:rPr lang="en-GB" b="1" err="1"/>
              <a:t>Gobierno</a:t>
            </a:r>
            <a:r>
              <a:rPr lang="en-GB" b="1"/>
              <a:t> &amp; Ops</a:t>
            </a:r>
          </a:p>
          <a:p>
            <a:pPr>
              <a:buFont typeface="Arial" panose="020B0604020202020204" pitchFamily="34" charset="0"/>
              <a:buChar char="•"/>
            </a:pPr>
            <a:r>
              <a:rPr lang="en-GB" b="1"/>
              <a:t>Cloud ALM</a:t>
            </a:r>
            <a:r>
              <a:rPr lang="en-GB"/>
              <a:t> </a:t>
            </a:r>
            <a:r>
              <a:rPr lang="en-GB" err="1"/>
              <a:t>cubre</a:t>
            </a:r>
            <a:r>
              <a:rPr lang="en-GB"/>
              <a:t> </a:t>
            </a:r>
            <a:r>
              <a:rPr lang="en-GB" err="1"/>
              <a:t>iFlows</a:t>
            </a:r>
            <a:r>
              <a:rPr lang="en-GB"/>
              <a:t> y workflows; vista Integration &amp; Exception Monitoring.</a:t>
            </a:r>
          </a:p>
          <a:p>
            <a:pPr>
              <a:buFont typeface="Arial" panose="020B0604020202020204" pitchFamily="34" charset="0"/>
              <a:buChar char="•"/>
            </a:pPr>
            <a:r>
              <a:rPr lang="en-GB" b="1"/>
              <a:t>Alert Notification → Teams</a:t>
            </a:r>
            <a:r>
              <a:rPr lang="en-GB"/>
              <a:t> </a:t>
            </a:r>
            <a:r>
              <a:rPr lang="en-GB" err="1"/>
              <a:t>vía</a:t>
            </a:r>
            <a:r>
              <a:rPr lang="en-GB"/>
              <a:t> webhook </a:t>
            </a:r>
            <a:r>
              <a:rPr lang="en-GB" err="1"/>
              <a:t>nativo</a:t>
            </a:r>
            <a:r>
              <a:rPr lang="en-GB"/>
              <a:t>.</a:t>
            </a:r>
          </a:p>
          <a:p>
            <a:pPr>
              <a:buFont typeface="Arial" panose="020B0604020202020204" pitchFamily="34" charset="0"/>
              <a:buChar char="•"/>
            </a:pPr>
            <a:r>
              <a:rPr lang="en-GB" b="1"/>
              <a:t>Transport Management Service</a:t>
            </a:r>
            <a:r>
              <a:rPr lang="en-GB"/>
              <a:t> integrable con GitHub Actions para CI/CD.</a:t>
            </a:r>
          </a:p>
          <a:p>
            <a:endParaRPr lang="en-GB"/>
          </a:p>
        </p:txBody>
      </p:sp>
      <p:sp>
        <p:nvSpPr>
          <p:cNvPr id="4" name="Marcador de número de diapositiva 3">
            <a:extLst>
              <a:ext uri="{FF2B5EF4-FFF2-40B4-BE49-F238E27FC236}">
                <a16:creationId xmlns:a16="http://schemas.microsoft.com/office/drawing/2014/main" id="{686A4D78-0BE7-ED5A-DA26-45846CA6353F}"/>
              </a:ext>
            </a:extLst>
          </p:cNvPr>
          <p:cNvSpPr>
            <a:spLocks noGrp="1"/>
          </p:cNvSpPr>
          <p:nvPr>
            <p:ph type="sldNum" sz="quarter" idx="5"/>
          </p:nvPr>
        </p:nvSpPr>
        <p:spPr/>
        <p:txBody>
          <a:bodyPr/>
          <a:lstStyle/>
          <a:p>
            <a:fld id="{08EFAA48-0AD5-4BCB-8C10-3E1E098ED445}" type="slidenum">
              <a:rPr lang="es-ES" smtClean="0"/>
              <a:pPr/>
              <a:t>15</a:t>
            </a:fld>
            <a:endParaRPr lang="es-ES"/>
          </a:p>
        </p:txBody>
      </p:sp>
    </p:spTree>
    <p:extLst>
      <p:ext uri="{BB962C8B-B14F-4D97-AF65-F5344CB8AC3E}">
        <p14:creationId xmlns:p14="http://schemas.microsoft.com/office/powerpoint/2010/main" val="19423416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3E4D96-791E-5B52-8EC1-0DE44190F57B}"/>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9033286-2A93-3D6D-9245-B1E2D811C1F9}"/>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0B2F6DC7-7B3F-75C9-254B-88234876CDD4}"/>
              </a:ext>
            </a:extLst>
          </p:cNvPr>
          <p:cNvSpPr>
            <a:spLocks noGrp="1"/>
          </p:cNvSpPr>
          <p:nvPr>
            <p:ph type="body" idx="1"/>
          </p:nvPr>
        </p:nvSpPr>
        <p:spPr/>
        <p:txBody>
          <a:bodyPr/>
          <a:lstStyle/>
          <a:p>
            <a:endParaRPr lang="en-GB"/>
          </a:p>
        </p:txBody>
      </p:sp>
      <p:sp>
        <p:nvSpPr>
          <p:cNvPr id="4" name="Marcador de número de diapositiva 3">
            <a:extLst>
              <a:ext uri="{FF2B5EF4-FFF2-40B4-BE49-F238E27FC236}">
                <a16:creationId xmlns:a16="http://schemas.microsoft.com/office/drawing/2014/main" id="{49B2D922-D071-4B49-05A8-2963FFFAD21C}"/>
              </a:ext>
            </a:extLst>
          </p:cNvPr>
          <p:cNvSpPr>
            <a:spLocks noGrp="1"/>
          </p:cNvSpPr>
          <p:nvPr>
            <p:ph type="sldNum" sz="quarter" idx="5"/>
          </p:nvPr>
        </p:nvSpPr>
        <p:spPr/>
        <p:txBody>
          <a:bodyPr/>
          <a:lstStyle/>
          <a:p>
            <a:fld id="{08EFAA48-0AD5-4BCB-8C10-3E1E098ED445}" type="slidenum">
              <a:rPr lang="es-ES" smtClean="0"/>
              <a:pPr/>
              <a:t>16</a:t>
            </a:fld>
            <a:endParaRPr lang="es-ES"/>
          </a:p>
        </p:txBody>
      </p:sp>
    </p:spTree>
    <p:extLst>
      <p:ext uri="{BB962C8B-B14F-4D97-AF65-F5344CB8AC3E}">
        <p14:creationId xmlns:p14="http://schemas.microsoft.com/office/powerpoint/2010/main" val="30179593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1D7DD8-4C2F-E210-CBE5-9E123FCAC5D3}"/>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5D33D62-716A-3BF7-319D-D88719FC2762}"/>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C7499C6D-B66A-71FD-17D9-CD53F99D9EEA}"/>
              </a:ext>
            </a:extLst>
          </p:cNvPr>
          <p:cNvSpPr>
            <a:spLocks noGrp="1"/>
          </p:cNvSpPr>
          <p:nvPr>
            <p:ph type="body" idx="1"/>
          </p:nvPr>
        </p:nvSpPr>
        <p:spPr/>
        <p:txBody>
          <a:bodyPr/>
          <a:lstStyle/>
          <a:p>
            <a:endParaRPr lang="en-GB"/>
          </a:p>
        </p:txBody>
      </p:sp>
      <p:sp>
        <p:nvSpPr>
          <p:cNvPr id="4" name="Marcador de número de diapositiva 3">
            <a:extLst>
              <a:ext uri="{FF2B5EF4-FFF2-40B4-BE49-F238E27FC236}">
                <a16:creationId xmlns:a16="http://schemas.microsoft.com/office/drawing/2014/main" id="{3445ABA5-1A82-C2C9-15B0-890C68AA1361}"/>
              </a:ext>
            </a:extLst>
          </p:cNvPr>
          <p:cNvSpPr>
            <a:spLocks noGrp="1"/>
          </p:cNvSpPr>
          <p:nvPr>
            <p:ph type="sldNum" sz="quarter" idx="5"/>
          </p:nvPr>
        </p:nvSpPr>
        <p:spPr/>
        <p:txBody>
          <a:bodyPr/>
          <a:lstStyle/>
          <a:p>
            <a:fld id="{08EFAA48-0AD5-4BCB-8C10-3E1E098ED445}" type="slidenum">
              <a:rPr lang="es-ES" smtClean="0"/>
              <a:pPr/>
              <a:t>17</a:t>
            </a:fld>
            <a:endParaRPr lang="es-ES"/>
          </a:p>
        </p:txBody>
      </p:sp>
    </p:spTree>
    <p:extLst>
      <p:ext uri="{BB962C8B-B14F-4D97-AF65-F5344CB8AC3E}">
        <p14:creationId xmlns:p14="http://schemas.microsoft.com/office/powerpoint/2010/main" val="24080628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59A591-BF05-0BC1-1E59-B4112FEECBB3}"/>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8AAEECD0-424A-C219-E790-3C3F812A16ED}"/>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DEE9112E-89D8-867F-1B04-3C1CB85EEA21}"/>
              </a:ext>
            </a:extLst>
          </p:cNvPr>
          <p:cNvSpPr>
            <a:spLocks noGrp="1"/>
          </p:cNvSpPr>
          <p:nvPr>
            <p:ph type="body" idx="1"/>
          </p:nvPr>
        </p:nvSpPr>
        <p:spPr/>
        <p:txBody>
          <a:bodyPr/>
          <a:lstStyle/>
          <a:p>
            <a:endParaRPr lang="en-GB"/>
          </a:p>
        </p:txBody>
      </p:sp>
      <p:sp>
        <p:nvSpPr>
          <p:cNvPr id="4" name="Marcador de número de diapositiva 3">
            <a:extLst>
              <a:ext uri="{FF2B5EF4-FFF2-40B4-BE49-F238E27FC236}">
                <a16:creationId xmlns:a16="http://schemas.microsoft.com/office/drawing/2014/main" id="{E134A822-E2C7-06B1-CC01-889E641FDB11}"/>
              </a:ext>
            </a:extLst>
          </p:cNvPr>
          <p:cNvSpPr>
            <a:spLocks noGrp="1"/>
          </p:cNvSpPr>
          <p:nvPr>
            <p:ph type="sldNum" sz="quarter" idx="5"/>
          </p:nvPr>
        </p:nvSpPr>
        <p:spPr/>
        <p:txBody>
          <a:bodyPr/>
          <a:lstStyle/>
          <a:p>
            <a:fld id="{08EFAA48-0AD5-4BCB-8C10-3E1E098ED445}" type="slidenum">
              <a:rPr lang="es-ES" smtClean="0"/>
              <a:pPr/>
              <a:t>18</a:t>
            </a:fld>
            <a:endParaRPr lang="es-ES"/>
          </a:p>
        </p:txBody>
      </p:sp>
    </p:spTree>
    <p:extLst>
      <p:ext uri="{BB962C8B-B14F-4D97-AF65-F5344CB8AC3E}">
        <p14:creationId xmlns:p14="http://schemas.microsoft.com/office/powerpoint/2010/main" val="38252158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F30E6C-D86B-424B-036E-E6CDC30F993A}"/>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13425AF-866C-9A24-CE4E-07D4A4849D55}"/>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3AE2C46F-15E5-AFCD-3550-EE83BCCDACD1}"/>
              </a:ext>
            </a:extLst>
          </p:cNvPr>
          <p:cNvSpPr>
            <a:spLocks noGrp="1"/>
          </p:cNvSpPr>
          <p:nvPr>
            <p:ph type="body" idx="1"/>
          </p:nvPr>
        </p:nvSpPr>
        <p:spPr/>
        <p:txBody>
          <a:bodyPr/>
          <a:lstStyle/>
          <a:p>
            <a:endParaRPr lang="en-GB"/>
          </a:p>
        </p:txBody>
      </p:sp>
      <p:sp>
        <p:nvSpPr>
          <p:cNvPr id="4" name="Marcador de número de diapositiva 3">
            <a:extLst>
              <a:ext uri="{FF2B5EF4-FFF2-40B4-BE49-F238E27FC236}">
                <a16:creationId xmlns:a16="http://schemas.microsoft.com/office/drawing/2014/main" id="{F812EFA9-E8E4-6175-0870-858580B3A791}"/>
              </a:ext>
            </a:extLst>
          </p:cNvPr>
          <p:cNvSpPr>
            <a:spLocks noGrp="1"/>
          </p:cNvSpPr>
          <p:nvPr>
            <p:ph type="sldNum" sz="quarter" idx="5"/>
          </p:nvPr>
        </p:nvSpPr>
        <p:spPr/>
        <p:txBody>
          <a:bodyPr/>
          <a:lstStyle/>
          <a:p>
            <a:fld id="{08EFAA48-0AD5-4BCB-8C10-3E1E098ED445}" type="slidenum">
              <a:rPr lang="es-ES" smtClean="0"/>
              <a:pPr/>
              <a:t>19</a:t>
            </a:fld>
            <a:endParaRPr lang="es-ES"/>
          </a:p>
        </p:txBody>
      </p:sp>
    </p:spTree>
    <p:extLst>
      <p:ext uri="{BB962C8B-B14F-4D97-AF65-F5344CB8AC3E}">
        <p14:creationId xmlns:p14="http://schemas.microsoft.com/office/powerpoint/2010/main" val="37787133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dirty="0"/>
          </a:p>
        </p:txBody>
      </p:sp>
      <p:sp>
        <p:nvSpPr>
          <p:cNvPr id="4" name="Marcador de número de diapositiva 3"/>
          <p:cNvSpPr>
            <a:spLocks noGrp="1"/>
          </p:cNvSpPr>
          <p:nvPr>
            <p:ph type="sldNum" sz="quarter" idx="5"/>
          </p:nvPr>
        </p:nvSpPr>
        <p:spPr/>
        <p:txBody>
          <a:bodyPr/>
          <a:lstStyle/>
          <a:p>
            <a:fld id="{08EFAA48-0AD5-4BCB-8C10-3E1E098ED445}" type="slidenum">
              <a:rPr lang="es-ES" smtClean="0"/>
              <a:pPr/>
              <a:t>20</a:t>
            </a:fld>
            <a:endParaRPr lang="es-ES"/>
          </a:p>
        </p:txBody>
      </p:sp>
    </p:spTree>
    <p:extLst>
      <p:ext uri="{BB962C8B-B14F-4D97-AF65-F5344CB8AC3E}">
        <p14:creationId xmlns:p14="http://schemas.microsoft.com/office/powerpoint/2010/main" val="22375898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B9A84A-733A-0C47-AC2B-F0C70F83A7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43060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a:t>Bolitas de Iván </a:t>
            </a:r>
            <a:r>
              <a:rPr lang="es-ES" err="1"/>
              <a:t>Piñar</a:t>
            </a:r>
            <a:r>
              <a:rPr lang="es-ES"/>
              <a:t> o Juan </a:t>
            </a: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B9A84A-733A-0C47-AC2B-F0C70F83A7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45389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2F8A2E-8209-D676-3FB0-826A5D834F95}"/>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4903B711-D51A-B58F-8434-62947DE48B23}"/>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CF91ACF5-9FF1-33D1-BE61-43D9C9337394}"/>
              </a:ext>
            </a:extLst>
          </p:cNvPr>
          <p:cNvSpPr>
            <a:spLocks noGrp="1"/>
          </p:cNvSpPr>
          <p:nvPr>
            <p:ph type="body" idx="1"/>
          </p:nvPr>
        </p:nvSpPr>
        <p:spPr/>
        <p:txBody>
          <a:bodyPr/>
          <a:lstStyle/>
          <a:p>
            <a:endParaRPr lang="en-GB"/>
          </a:p>
        </p:txBody>
      </p:sp>
      <p:sp>
        <p:nvSpPr>
          <p:cNvPr id="4" name="Marcador de número de diapositiva 3">
            <a:extLst>
              <a:ext uri="{FF2B5EF4-FFF2-40B4-BE49-F238E27FC236}">
                <a16:creationId xmlns:a16="http://schemas.microsoft.com/office/drawing/2014/main" id="{F532C226-8CC7-9018-E9AC-015FD575798B}"/>
              </a:ext>
            </a:extLst>
          </p:cNvPr>
          <p:cNvSpPr>
            <a:spLocks noGrp="1"/>
          </p:cNvSpPr>
          <p:nvPr>
            <p:ph type="sldNum" sz="quarter" idx="5"/>
          </p:nvPr>
        </p:nvSpPr>
        <p:spPr/>
        <p:txBody>
          <a:bodyPr/>
          <a:lstStyle/>
          <a:p>
            <a:fld id="{08EFAA48-0AD5-4BCB-8C10-3E1E098ED445}" type="slidenum">
              <a:rPr lang="es-ES" smtClean="0"/>
              <a:pPr/>
              <a:t>2</a:t>
            </a:fld>
            <a:endParaRPr lang="es-ES"/>
          </a:p>
        </p:txBody>
      </p:sp>
    </p:spTree>
    <p:extLst>
      <p:ext uri="{BB962C8B-B14F-4D97-AF65-F5344CB8AC3E}">
        <p14:creationId xmlns:p14="http://schemas.microsoft.com/office/powerpoint/2010/main" val="11001630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A7CE32-EDBD-3448-A2CC-C6F3F998BF05}"/>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07123FA4-68A3-CA5C-4FDC-70DEA11BA292}"/>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89752F1-2E22-4FF5-02CE-A8FAEFA6B4FE}"/>
              </a:ext>
            </a:extLst>
          </p:cNvPr>
          <p:cNvSpPr>
            <a:spLocks noGrp="1"/>
          </p:cNvSpPr>
          <p:nvPr>
            <p:ph type="body" idx="1"/>
          </p:nvPr>
        </p:nvSpPr>
        <p:spPr/>
        <p:txBody>
          <a:bodyPr/>
          <a:lstStyle/>
          <a:p>
            <a:endParaRPr lang="en-GB"/>
          </a:p>
        </p:txBody>
      </p:sp>
      <p:sp>
        <p:nvSpPr>
          <p:cNvPr id="4" name="Marcador de número de diapositiva 3">
            <a:extLst>
              <a:ext uri="{FF2B5EF4-FFF2-40B4-BE49-F238E27FC236}">
                <a16:creationId xmlns:a16="http://schemas.microsoft.com/office/drawing/2014/main" id="{142ABA6C-1E51-5D7B-29EE-0F14E53AC85E}"/>
              </a:ext>
            </a:extLst>
          </p:cNvPr>
          <p:cNvSpPr>
            <a:spLocks noGrp="1"/>
          </p:cNvSpPr>
          <p:nvPr>
            <p:ph type="sldNum" sz="quarter" idx="5"/>
          </p:nvPr>
        </p:nvSpPr>
        <p:spPr/>
        <p:txBody>
          <a:bodyPr/>
          <a:lstStyle/>
          <a:p>
            <a:fld id="{08EFAA48-0AD5-4BCB-8C10-3E1E098ED445}" type="slidenum">
              <a:rPr lang="es-ES" smtClean="0"/>
              <a:pPr/>
              <a:t>27</a:t>
            </a:fld>
            <a:endParaRPr lang="es-ES"/>
          </a:p>
        </p:txBody>
      </p:sp>
    </p:spTree>
    <p:extLst>
      <p:ext uri="{BB962C8B-B14F-4D97-AF65-F5344CB8AC3E}">
        <p14:creationId xmlns:p14="http://schemas.microsoft.com/office/powerpoint/2010/main" val="36599820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CFB781-BB04-0E9C-3F10-59B0C344D70B}"/>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7789F206-6D03-82DF-4C69-C865BDBE06E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8C8F9DFD-423F-4029-AD72-FC33E546820E}"/>
              </a:ext>
            </a:extLst>
          </p:cNvPr>
          <p:cNvSpPr>
            <a:spLocks noGrp="1"/>
          </p:cNvSpPr>
          <p:nvPr>
            <p:ph type="body" idx="1"/>
          </p:nvPr>
        </p:nvSpPr>
        <p:spPr/>
        <p:txBody>
          <a:bodyPr/>
          <a:lstStyle/>
          <a:p>
            <a:endParaRPr lang="en-GB"/>
          </a:p>
        </p:txBody>
      </p:sp>
      <p:sp>
        <p:nvSpPr>
          <p:cNvPr id="4" name="Marcador de número de diapositiva 3">
            <a:extLst>
              <a:ext uri="{FF2B5EF4-FFF2-40B4-BE49-F238E27FC236}">
                <a16:creationId xmlns:a16="http://schemas.microsoft.com/office/drawing/2014/main" id="{718AF36E-F271-02F8-7C70-76122BA1C9C6}"/>
              </a:ext>
            </a:extLst>
          </p:cNvPr>
          <p:cNvSpPr>
            <a:spLocks noGrp="1"/>
          </p:cNvSpPr>
          <p:nvPr>
            <p:ph type="sldNum" sz="quarter" idx="5"/>
          </p:nvPr>
        </p:nvSpPr>
        <p:spPr/>
        <p:txBody>
          <a:bodyPr/>
          <a:lstStyle/>
          <a:p>
            <a:fld id="{08EFAA48-0AD5-4BCB-8C10-3E1E098ED445}" type="slidenum">
              <a:rPr lang="es-ES" smtClean="0"/>
              <a:pPr/>
              <a:t>28</a:t>
            </a:fld>
            <a:endParaRPr lang="es-ES"/>
          </a:p>
        </p:txBody>
      </p:sp>
    </p:spTree>
    <p:extLst>
      <p:ext uri="{BB962C8B-B14F-4D97-AF65-F5344CB8AC3E}">
        <p14:creationId xmlns:p14="http://schemas.microsoft.com/office/powerpoint/2010/main" val="17066511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2AEB32-023D-9725-D3E3-BB8930170126}"/>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7BA7CBDF-F062-37BA-FA45-B27816FA6186}"/>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FAE1876B-DF12-7633-ABCA-65ACBFEDD0A5}"/>
              </a:ext>
            </a:extLst>
          </p:cNvPr>
          <p:cNvSpPr>
            <a:spLocks noGrp="1"/>
          </p:cNvSpPr>
          <p:nvPr>
            <p:ph type="body" idx="1"/>
          </p:nvPr>
        </p:nvSpPr>
        <p:spPr/>
        <p:txBody>
          <a:bodyPr/>
          <a:lstStyle/>
          <a:p>
            <a:endParaRPr lang="en-GB"/>
          </a:p>
        </p:txBody>
      </p:sp>
      <p:sp>
        <p:nvSpPr>
          <p:cNvPr id="4" name="Marcador de número de diapositiva 3">
            <a:extLst>
              <a:ext uri="{FF2B5EF4-FFF2-40B4-BE49-F238E27FC236}">
                <a16:creationId xmlns:a16="http://schemas.microsoft.com/office/drawing/2014/main" id="{4FAD0A9C-95C6-0B5D-5DF5-8BE6D26DE41E}"/>
              </a:ext>
            </a:extLst>
          </p:cNvPr>
          <p:cNvSpPr>
            <a:spLocks noGrp="1"/>
          </p:cNvSpPr>
          <p:nvPr>
            <p:ph type="sldNum" sz="quarter" idx="5"/>
          </p:nvPr>
        </p:nvSpPr>
        <p:spPr/>
        <p:txBody>
          <a:bodyPr/>
          <a:lstStyle/>
          <a:p>
            <a:fld id="{08EFAA48-0AD5-4BCB-8C10-3E1E098ED445}" type="slidenum">
              <a:rPr lang="es-ES" smtClean="0"/>
              <a:pPr/>
              <a:t>29</a:t>
            </a:fld>
            <a:endParaRPr lang="es-ES"/>
          </a:p>
        </p:txBody>
      </p:sp>
    </p:spTree>
    <p:extLst>
      <p:ext uri="{BB962C8B-B14F-4D97-AF65-F5344CB8AC3E}">
        <p14:creationId xmlns:p14="http://schemas.microsoft.com/office/powerpoint/2010/main" val="23026833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7E05D0-4ABF-D386-1093-76698AF9C5A8}"/>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D735318F-EF9B-626E-6049-5543324EE8A1}"/>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882279F2-2D3D-2041-C072-E176497F9012}"/>
              </a:ext>
            </a:extLst>
          </p:cNvPr>
          <p:cNvSpPr>
            <a:spLocks noGrp="1"/>
          </p:cNvSpPr>
          <p:nvPr>
            <p:ph type="body" idx="1"/>
          </p:nvPr>
        </p:nvSpPr>
        <p:spPr/>
        <p:txBody>
          <a:bodyPr/>
          <a:lstStyle/>
          <a:p>
            <a:endParaRPr lang="en-GB"/>
          </a:p>
        </p:txBody>
      </p:sp>
      <p:sp>
        <p:nvSpPr>
          <p:cNvPr id="4" name="Marcador de número de diapositiva 3">
            <a:extLst>
              <a:ext uri="{FF2B5EF4-FFF2-40B4-BE49-F238E27FC236}">
                <a16:creationId xmlns:a16="http://schemas.microsoft.com/office/drawing/2014/main" id="{08A88B1D-7A60-444F-5B0D-5716FD83A62B}"/>
              </a:ext>
            </a:extLst>
          </p:cNvPr>
          <p:cNvSpPr>
            <a:spLocks noGrp="1"/>
          </p:cNvSpPr>
          <p:nvPr>
            <p:ph type="sldNum" sz="quarter" idx="5"/>
          </p:nvPr>
        </p:nvSpPr>
        <p:spPr/>
        <p:txBody>
          <a:bodyPr/>
          <a:lstStyle/>
          <a:p>
            <a:fld id="{08EFAA48-0AD5-4BCB-8C10-3E1E098ED445}" type="slidenum">
              <a:rPr lang="es-ES" smtClean="0"/>
              <a:pPr/>
              <a:t>30</a:t>
            </a:fld>
            <a:endParaRPr lang="es-ES"/>
          </a:p>
        </p:txBody>
      </p:sp>
    </p:spTree>
    <p:extLst>
      <p:ext uri="{BB962C8B-B14F-4D97-AF65-F5344CB8AC3E}">
        <p14:creationId xmlns:p14="http://schemas.microsoft.com/office/powerpoint/2010/main" val="38266842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EA3FED-D6D6-4291-B3A6-06CE2411FFB0}"/>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45B075E6-7E33-5015-7061-7360F706C9D8}"/>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8A8BDCA8-7426-6BA5-48C7-6EDF1A4CF823}"/>
              </a:ext>
            </a:extLst>
          </p:cNvPr>
          <p:cNvSpPr>
            <a:spLocks noGrp="1"/>
          </p:cNvSpPr>
          <p:nvPr>
            <p:ph type="body" idx="1"/>
          </p:nvPr>
        </p:nvSpPr>
        <p:spPr/>
        <p:txBody>
          <a:bodyPr/>
          <a:lstStyle/>
          <a:p>
            <a:endParaRPr lang="en-GB"/>
          </a:p>
        </p:txBody>
      </p:sp>
      <p:sp>
        <p:nvSpPr>
          <p:cNvPr id="4" name="Marcador de número de diapositiva 3">
            <a:extLst>
              <a:ext uri="{FF2B5EF4-FFF2-40B4-BE49-F238E27FC236}">
                <a16:creationId xmlns:a16="http://schemas.microsoft.com/office/drawing/2014/main" id="{52AE2734-C35B-8C5B-D21C-B9C876600A42}"/>
              </a:ext>
            </a:extLst>
          </p:cNvPr>
          <p:cNvSpPr>
            <a:spLocks noGrp="1"/>
          </p:cNvSpPr>
          <p:nvPr>
            <p:ph type="sldNum" sz="quarter" idx="5"/>
          </p:nvPr>
        </p:nvSpPr>
        <p:spPr/>
        <p:txBody>
          <a:bodyPr/>
          <a:lstStyle/>
          <a:p>
            <a:fld id="{08EFAA48-0AD5-4BCB-8C10-3E1E098ED445}" type="slidenum">
              <a:rPr lang="es-ES" smtClean="0"/>
              <a:pPr/>
              <a:t>32</a:t>
            </a:fld>
            <a:endParaRPr lang="es-ES"/>
          </a:p>
        </p:txBody>
      </p:sp>
    </p:spTree>
    <p:extLst>
      <p:ext uri="{BB962C8B-B14F-4D97-AF65-F5344CB8AC3E}">
        <p14:creationId xmlns:p14="http://schemas.microsoft.com/office/powerpoint/2010/main" val="95977950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6AF278-726C-A89F-C24E-65BED2D49AD0}"/>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7726E9F4-EF22-99DF-978B-FE593A3DC0DB}"/>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2B352182-EAFC-0930-F07D-B9820516AEA3}"/>
              </a:ext>
            </a:extLst>
          </p:cNvPr>
          <p:cNvSpPr>
            <a:spLocks noGrp="1"/>
          </p:cNvSpPr>
          <p:nvPr>
            <p:ph type="body" idx="1"/>
          </p:nvPr>
        </p:nvSpPr>
        <p:spPr/>
        <p:txBody>
          <a:bodyPr/>
          <a:lstStyle/>
          <a:p>
            <a:endParaRPr lang="en-GB"/>
          </a:p>
        </p:txBody>
      </p:sp>
      <p:sp>
        <p:nvSpPr>
          <p:cNvPr id="4" name="Marcador de número de diapositiva 3">
            <a:extLst>
              <a:ext uri="{FF2B5EF4-FFF2-40B4-BE49-F238E27FC236}">
                <a16:creationId xmlns:a16="http://schemas.microsoft.com/office/drawing/2014/main" id="{2AE56D87-A989-3D0D-1655-99B7CB62E804}"/>
              </a:ext>
            </a:extLst>
          </p:cNvPr>
          <p:cNvSpPr>
            <a:spLocks noGrp="1"/>
          </p:cNvSpPr>
          <p:nvPr>
            <p:ph type="sldNum" sz="quarter" idx="5"/>
          </p:nvPr>
        </p:nvSpPr>
        <p:spPr/>
        <p:txBody>
          <a:bodyPr/>
          <a:lstStyle/>
          <a:p>
            <a:fld id="{08EFAA48-0AD5-4BCB-8C10-3E1E098ED445}" type="slidenum">
              <a:rPr lang="es-ES" smtClean="0"/>
              <a:pPr/>
              <a:t>33</a:t>
            </a:fld>
            <a:endParaRPr lang="es-ES"/>
          </a:p>
        </p:txBody>
      </p:sp>
    </p:spTree>
    <p:extLst>
      <p:ext uri="{BB962C8B-B14F-4D97-AF65-F5344CB8AC3E}">
        <p14:creationId xmlns:p14="http://schemas.microsoft.com/office/powerpoint/2010/main" val="327021222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08EFAA48-0AD5-4BCB-8C10-3E1E098ED445}" type="slidenum">
              <a:rPr lang="es-ES" smtClean="0"/>
              <a:pPr/>
              <a:t>34</a:t>
            </a:fld>
            <a:endParaRPr lang="es-ES"/>
          </a:p>
        </p:txBody>
      </p:sp>
    </p:spTree>
    <p:extLst>
      <p:ext uri="{BB962C8B-B14F-4D97-AF65-F5344CB8AC3E}">
        <p14:creationId xmlns:p14="http://schemas.microsoft.com/office/powerpoint/2010/main" val="17433263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b="1"/>
              <a:t>Bea &amp; </a:t>
            </a:r>
            <a:r>
              <a:rPr lang="es-ES" b="1" err="1"/>
              <a:t>ToniDefinir</a:t>
            </a:r>
            <a:r>
              <a:rPr lang="es-ES" b="1"/>
              <a:t> el servicio “</a:t>
            </a:r>
            <a:r>
              <a:rPr lang="es-ES" b="1" err="1"/>
              <a:t>Advisory</a:t>
            </a:r>
            <a:r>
              <a:rPr lang="es-ES" b="1"/>
              <a:t> &amp; Quality Control”</a:t>
            </a:r>
            <a:br>
              <a:rPr lang="es-ES"/>
            </a:br>
            <a:r>
              <a:rPr lang="es-ES"/>
              <a:t>- Descripción breve del servicio.</a:t>
            </a:r>
            <a:br>
              <a:rPr lang="es-ES"/>
            </a:br>
            <a:r>
              <a:rPr lang="es-ES"/>
              <a:t>- Beneficios tangibles (estandarización, riesgo ↓, coste de retrabajo ↓).</a:t>
            </a:r>
            <a:br>
              <a:rPr lang="es-ES"/>
            </a:br>
            <a:r>
              <a:rPr lang="es-ES"/>
              <a:t>- Roles implicados (consultor senior 2 días/</a:t>
            </a:r>
            <a:r>
              <a:rPr lang="es-ES" err="1"/>
              <a:t>sem</a:t>
            </a:r>
            <a:r>
              <a:rPr lang="es-ES"/>
              <a:t>, cliente SME, comité de diseño).</a:t>
            </a:r>
            <a:br>
              <a:rPr lang="es-ES"/>
            </a:br>
            <a:r>
              <a:rPr lang="es-ES"/>
              <a:t>- Proceso: </a:t>
            </a:r>
            <a:r>
              <a:rPr lang="es-ES" i="1" err="1"/>
              <a:t>Setup</a:t>
            </a:r>
            <a:r>
              <a:rPr lang="es-ES"/>
              <a:t> inicial → revisión periódica de diseños → informe quincenal.</a:t>
            </a:r>
            <a:br>
              <a:rPr lang="es-ES"/>
            </a:br>
            <a:r>
              <a:rPr lang="es-ES"/>
              <a:t>- Buenas prácticas que auditamos (nomenclatura, capas, </a:t>
            </a:r>
            <a:r>
              <a:rPr lang="es-ES" err="1"/>
              <a:t>spaces</a:t>
            </a:r>
            <a:r>
              <a:rPr lang="es-ES"/>
              <a:t>, políticas SAP).▸ Inspiraos en los </a:t>
            </a:r>
            <a:r>
              <a:rPr lang="es-ES" err="1"/>
              <a:t>advisory</a:t>
            </a:r>
            <a:r>
              <a:rPr lang="es-ES"/>
              <a:t> de </a:t>
            </a:r>
            <a:r>
              <a:rPr lang="es-ES" err="1"/>
              <a:t>Planning</a:t>
            </a:r>
            <a:r>
              <a:rPr lang="es-ES"/>
              <a:t> y S/4 que ya tenemos.</a:t>
            </a:r>
            <a:br>
              <a:rPr lang="es-ES"/>
            </a:br>
            <a:r>
              <a:rPr lang="es-ES"/>
              <a:t>▸ Pedid a Miguel/Arturo plantillas de “</a:t>
            </a:r>
            <a:r>
              <a:rPr lang="es-ES" err="1"/>
              <a:t>Design</a:t>
            </a:r>
            <a:r>
              <a:rPr lang="es-ES"/>
              <a:t> </a:t>
            </a:r>
            <a:r>
              <a:rPr lang="es-ES" err="1"/>
              <a:t>Review</a:t>
            </a:r>
            <a:r>
              <a:rPr lang="es-ES"/>
              <a:t> Log”.</a:t>
            </a:r>
            <a:endParaRPr lang="en-GB"/>
          </a:p>
        </p:txBody>
      </p:sp>
      <p:sp>
        <p:nvSpPr>
          <p:cNvPr id="4" name="Marcador de número de diapositiva 3"/>
          <p:cNvSpPr>
            <a:spLocks noGrp="1"/>
          </p:cNvSpPr>
          <p:nvPr>
            <p:ph type="sldNum" sz="quarter" idx="5"/>
          </p:nvPr>
        </p:nvSpPr>
        <p:spPr/>
        <p:txBody>
          <a:bodyPr/>
          <a:lstStyle/>
          <a:p>
            <a:fld id="{08EFAA48-0AD5-4BCB-8C10-3E1E098ED445}" type="slidenum">
              <a:rPr lang="es-ES" smtClean="0"/>
              <a:pPr/>
              <a:t>35</a:t>
            </a:fld>
            <a:endParaRPr lang="es-ES"/>
          </a:p>
        </p:txBody>
      </p:sp>
    </p:spTree>
    <p:extLst>
      <p:ext uri="{BB962C8B-B14F-4D97-AF65-F5344CB8AC3E}">
        <p14:creationId xmlns:p14="http://schemas.microsoft.com/office/powerpoint/2010/main" val="14184879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GB" b="1"/>
              <a:t>Bea &amp; </a:t>
            </a:r>
            <a:r>
              <a:rPr lang="en-GB" b="1" err="1"/>
              <a:t>ToniVisuales</a:t>
            </a:r>
            <a:r>
              <a:rPr lang="en-GB" b="1"/>
              <a:t> del </a:t>
            </a:r>
            <a:r>
              <a:rPr lang="en-GB" b="1" err="1"/>
              <a:t>servicio</a:t>
            </a:r>
            <a:br>
              <a:rPr lang="en-GB"/>
            </a:br>
            <a:r>
              <a:rPr lang="en-GB"/>
              <a:t>- Foto/</a:t>
            </a:r>
            <a:r>
              <a:rPr lang="en-GB" err="1"/>
              <a:t>plantilla</a:t>
            </a:r>
            <a:r>
              <a:rPr lang="en-GB"/>
              <a:t> </a:t>
            </a:r>
            <a:r>
              <a:rPr lang="en-GB" err="1"/>
              <a:t>ejemplo</a:t>
            </a:r>
            <a:r>
              <a:rPr lang="en-GB"/>
              <a:t> de </a:t>
            </a:r>
            <a:r>
              <a:rPr lang="en-GB" i="1"/>
              <a:t>Design Review</a:t>
            </a:r>
            <a:r>
              <a:rPr lang="en-GB"/>
              <a:t> </a:t>
            </a:r>
            <a:r>
              <a:rPr lang="en-GB" err="1"/>
              <a:t>marcada</a:t>
            </a:r>
            <a:r>
              <a:rPr lang="en-GB"/>
              <a:t> con </a:t>
            </a:r>
            <a:r>
              <a:rPr lang="en-GB" err="1"/>
              <a:t>comentarios</a:t>
            </a:r>
            <a:r>
              <a:rPr lang="en-GB"/>
              <a:t> (“</a:t>
            </a:r>
            <a:r>
              <a:rPr lang="en-GB" err="1"/>
              <a:t>nomenclatura</a:t>
            </a:r>
            <a:r>
              <a:rPr lang="en-GB"/>
              <a:t> </a:t>
            </a:r>
            <a:r>
              <a:rPr lang="en-GB" err="1"/>
              <a:t>incorrecta</a:t>
            </a:r>
            <a:r>
              <a:rPr lang="en-GB"/>
              <a:t>”, etc.).</a:t>
            </a:r>
            <a:br>
              <a:rPr lang="en-GB"/>
            </a:br>
            <a:r>
              <a:rPr lang="en-GB"/>
              <a:t>- </a:t>
            </a:r>
            <a:r>
              <a:rPr lang="en-GB" err="1"/>
              <a:t>Gráfico</a:t>
            </a:r>
            <a:r>
              <a:rPr lang="en-GB"/>
              <a:t> simple de “</a:t>
            </a:r>
            <a:r>
              <a:rPr lang="en-GB" err="1"/>
              <a:t>ciclo</a:t>
            </a:r>
            <a:r>
              <a:rPr lang="en-GB"/>
              <a:t> de </a:t>
            </a:r>
            <a:r>
              <a:rPr lang="en-GB" err="1"/>
              <a:t>mejora</a:t>
            </a:r>
            <a:r>
              <a:rPr lang="en-GB"/>
              <a:t> continua” (Entradas → </a:t>
            </a:r>
            <a:r>
              <a:rPr lang="en-GB" err="1"/>
              <a:t>Revisión</a:t>
            </a:r>
            <a:r>
              <a:rPr lang="en-GB"/>
              <a:t> → Feedback → </a:t>
            </a:r>
            <a:r>
              <a:rPr lang="en-GB" err="1"/>
              <a:t>Remediación</a:t>
            </a:r>
            <a:r>
              <a:rPr lang="en-GB"/>
              <a:t>).▸ </a:t>
            </a:r>
            <a:r>
              <a:rPr lang="en-GB" err="1"/>
              <a:t>Reutilizad</a:t>
            </a:r>
            <a:r>
              <a:rPr lang="en-GB"/>
              <a:t> </a:t>
            </a:r>
            <a:r>
              <a:rPr lang="en-GB" err="1"/>
              <a:t>capturas</a:t>
            </a:r>
            <a:r>
              <a:rPr lang="en-GB"/>
              <a:t> de </a:t>
            </a:r>
            <a:r>
              <a:rPr lang="en-GB" err="1"/>
              <a:t>proyectos</a:t>
            </a:r>
            <a:r>
              <a:rPr lang="en-GB"/>
              <a:t> BW → DS or Planning; </a:t>
            </a:r>
            <a:r>
              <a:rPr lang="en-GB" err="1"/>
              <a:t>si</a:t>
            </a:r>
            <a:r>
              <a:rPr lang="en-GB"/>
              <a:t> no </a:t>
            </a:r>
            <a:r>
              <a:rPr lang="en-GB" err="1"/>
              <a:t>existen</a:t>
            </a:r>
            <a:r>
              <a:rPr lang="en-GB"/>
              <a:t>, mock-up </a:t>
            </a:r>
            <a:r>
              <a:rPr lang="en-GB" err="1"/>
              <a:t>rápido</a:t>
            </a:r>
            <a:r>
              <a:rPr lang="en-GB"/>
              <a:t> </a:t>
            </a:r>
            <a:r>
              <a:rPr lang="en-GB" err="1"/>
              <a:t>en</a:t>
            </a:r>
            <a:r>
              <a:rPr lang="en-GB"/>
              <a:t> PPT.</a:t>
            </a:r>
          </a:p>
        </p:txBody>
      </p:sp>
      <p:sp>
        <p:nvSpPr>
          <p:cNvPr id="4" name="Marcador de número de diapositiva 3"/>
          <p:cNvSpPr>
            <a:spLocks noGrp="1"/>
          </p:cNvSpPr>
          <p:nvPr>
            <p:ph type="sldNum" sz="quarter" idx="5"/>
          </p:nvPr>
        </p:nvSpPr>
        <p:spPr/>
        <p:txBody>
          <a:bodyPr/>
          <a:lstStyle/>
          <a:p>
            <a:fld id="{08EFAA48-0AD5-4BCB-8C10-3E1E098ED445}" type="slidenum">
              <a:rPr lang="es-ES" smtClean="0"/>
              <a:pPr/>
              <a:t>36</a:t>
            </a:fld>
            <a:endParaRPr lang="es-ES"/>
          </a:p>
        </p:txBody>
      </p:sp>
    </p:spTree>
    <p:extLst>
      <p:ext uri="{BB962C8B-B14F-4D97-AF65-F5344CB8AC3E}">
        <p14:creationId xmlns:p14="http://schemas.microsoft.com/office/powerpoint/2010/main" val="159598459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GB" b="1"/>
              <a:t>Bea &amp; </a:t>
            </a:r>
            <a:r>
              <a:rPr lang="en-GB" b="1" err="1"/>
              <a:t>ToniTabla</a:t>
            </a:r>
            <a:r>
              <a:rPr lang="en-GB" b="1"/>
              <a:t> de </a:t>
            </a:r>
            <a:r>
              <a:rPr lang="en-GB" b="1" err="1"/>
              <a:t>módulos</a:t>
            </a:r>
            <a:r>
              <a:rPr lang="en-GB" b="1"/>
              <a:t> (</a:t>
            </a:r>
            <a:r>
              <a:rPr lang="en-GB" b="1" err="1"/>
              <a:t>ya</a:t>
            </a:r>
            <a:r>
              <a:rPr lang="en-GB" b="1"/>
              <a:t> </a:t>
            </a:r>
            <a:r>
              <a:rPr lang="en-GB" b="1" err="1"/>
              <a:t>está</a:t>
            </a:r>
            <a:r>
              <a:rPr lang="en-GB" b="1"/>
              <a:t>)</a:t>
            </a:r>
            <a:br>
              <a:rPr lang="en-GB"/>
            </a:br>
            <a:r>
              <a:rPr lang="en-GB" err="1"/>
              <a:t>Revisar</a:t>
            </a:r>
            <a:r>
              <a:rPr lang="en-GB"/>
              <a:t> </a:t>
            </a:r>
            <a:r>
              <a:rPr lang="en-GB" err="1"/>
              <a:t>texto</a:t>
            </a:r>
            <a:r>
              <a:rPr lang="en-GB"/>
              <a:t>, </a:t>
            </a:r>
            <a:r>
              <a:rPr lang="en-GB" err="1"/>
              <a:t>afinar</a:t>
            </a:r>
            <a:r>
              <a:rPr lang="en-GB"/>
              <a:t>: </a:t>
            </a:r>
            <a:br>
              <a:rPr lang="en-GB"/>
            </a:br>
            <a:r>
              <a:rPr lang="en-GB"/>
              <a:t>1. Datasphere Quality Sprint (4-6 </a:t>
            </a:r>
            <a:r>
              <a:rPr lang="en-GB" err="1"/>
              <a:t>semanas</a:t>
            </a:r>
            <a:r>
              <a:rPr lang="en-GB"/>
              <a:t>)</a:t>
            </a:r>
            <a:br>
              <a:rPr lang="en-GB"/>
            </a:br>
            <a:r>
              <a:rPr lang="en-GB"/>
              <a:t>2. Architecture &amp; Integration Workshop</a:t>
            </a:r>
            <a:br>
              <a:rPr lang="en-GB"/>
            </a:br>
            <a:r>
              <a:rPr lang="en-GB"/>
              <a:t>3. </a:t>
            </a:r>
            <a:r>
              <a:rPr lang="en-GB" err="1"/>
              <a:t>Acompañamiento</a:t>
            </a:r>
            <a:r>
              <a:rPr lang="en-GB"/>
              <a:t> continuo (Advisory)▸ </a:t>
            </a:r>
            <a:r>
              <a:rPr lang="en-GB" err="1"/>
              <a:t>Añadid</a:t>
            </a:r>
            <a:r>
              <a:rPr lang="en-GB"/>
              <a:t> </a:t>
            </a:r>
            <a:r>
              <a:rPr lang="en-GB" err="1"/>
              <a:t>una</a:t>
            </a:r>
            <a:r>
              <a:rPr lang="en-GB"/>
              <a:t> fila “Quick Pilot” (4-5 </a:t>
            </a:r>
            <a:r>
              <a:rPr lang="en-GB" err="1"/>
              <a:t>semanas</a:t>
            </a:r>
            <a:r>
              <a:rPr lang="en-GB"/>
              <a:t>) con </a:t>
            </a:r>
            <a:r>
              <a:rPr lang="en-GB" err="1"/>
              <a:t>rango</a:t>
            </a:r>
            <a:r>
              <a:rPr lang="en-GB"/>
              <a:t> de </a:t>
            </a:r>
            <a:r>
              <a:rPr lang="en-GB" err="1"/>
              <a:t>tiempo</a:t>
            </a:r>
            <a:r>
              <a:rPr lang="en-GB"/>
              <a:t>, no de </a:t>
            </a:r>
            <a:r>
              <a:rPr lang="en-GB" err="1"/>
              <a:t>jornadas</a:t>
            </a:r>
            <a:r>
              <a:rPr lang="en-GB"/>
              <a:t>.</a:t>
            </a:r>
          </a:p>
        </p:txBody>
      </p:sp>
      <p:sp>
        <p:nvSpPr>
          <p:cNvPr id="4" name="Marcador de número de diapositiva 3"/>
          <p:cNvSpPr>
            <a:spLocks noGrp="1"/>
          </p:cNvSpPr>
          <p:nvPr>
            <p:ph type="sldNum" sz="quarter" idx="5"/>
          </p:nvPr>
        </p:nvSpPr>
        <p:spPr/>
        <p:txBody>
          <a:bodyPr/>
          <a:lstStyle/>
          <a:p>
            <a:fld id="{08EFAA48-0AD5-4BCB-8C10-3E1E098ED445}" type="slidenum">
              <a:rPr lang="es-ES" smtClean="0"/>
              <a:pPr/>
              <a:t>37</a:t>
            </a:fld>
            <a:endParaRPr lang="es-ES"/>
          </a:p>
        </p:txBody>
      </p:sp>
    </p:spTree>
    <p:extLst>
      <p:ext uri="{BB962C8B-B14F-4D97-AF65-F5344CB8AC3E}">
        <p14:creationId xmlns:p14="http://schemas.microsoft.com/office/powerpoint/2010/main" val="481096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B58955-0443-08D8-1EAC-3B6FD8450C3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6E91545C-5CCD-E0D8-3218-CF88DA0F6148}"/>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35F7A513-007F-4D6F-E27D-71A4242DD3C1}"/>
              </a:ext>
            </a:extLst>
          </p:cNvPr>
          <p:cNvSpPr>
            <a:spLocks noGrp="1"/>
          </p:cNvSpPr>
          <p:nvPr>
            <p:ph type="body" idx="1"/>
          </p:nvPr>
        </p:nvSpPr>
        <p:spPr/>
        <p:txBody>
          <a:bodyPr/>
          <a:lstStyle/>
          <a:p>
            <a:r>
              <a:rPr lang="en-GB" err="1"/>
              <a:t>Mejorar</a:t>
            </a:r>
            <a:r>
              <a:rPr lang="en-GB"/>
              <a:t> la </a:t>
            </a:r>
            <a:r>
              <a:rPr lang="en-GB" err="1"/>
              <a:t>diagramación</a:t>
            </a:r>
            <a:endParaRPr lang="en-GB"/>
          </a:p>
        </p:txBody>
      </p:sp>
      <p:sp>
        <p:nvSpPr>
          <p:cNvPr id="4" name="Marcador de número de diapositiva 3">
            <a:extLst>
              <a:ext uri="{FF2B5EF4-FFF2-40B4-BE49-F238E27FC236}">
                <a16:creationId xmlns:a16="http://schemas.microsoft.com/office/drawing/2014/main" id="{73A86071-0962-763A-C47F-B0FD875CA98E}"/>
              </a:ext>
            </a:extLst>
          </p:cNvPr>
          <p:cNvSpPr>
            <a:spLocks noGrp="1"/>
          </p:cNvSpPr>
          <p:nvPr>
            <p:ph type="sldNum" sz="quarter" idx="5"/>
          </p:nvPr>
        </p:nvSpPr>
        <p:spPr/>
        <p:txBody>
          <a:bodyPr/>
          <a:lstStyle/>
          <a:p>
            <a:fld id="{08EFAA48-0AD5-4BCB-8C10-3E1E098ED445}" type="slidenum">
              <a:rPr lang="es-ES" smtClean="0"/>
              <a:pPr/>
              <a:t>3</a:t>
            </a:fld>
            <a:endParaRPr lang="es-ES"/>
          </a:p>
        </p:txBody>
      </p:sp>
    </p:spTree>
    <p:extLst>
      <p:ext uri="{BB962C8B-B14F-4D97-AF65-F5344CB8AC3E}">
        <p14:creationId xmlns:p14="http://schemas.microsoft.com/office/powerpoint/2010/main" val="208389521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b="1" err="1"/>
              <a:t>JuanVisión</a:t>
            </a:r>
            <a:r>
              <a:rPr lang="es-ES" b="1"/>
              <a:t> global de Data Governance</a:t>
            </a:r>
            <a:br>
              <a:rPr lang="es-ES"/>
            </a:br>
            <a:r>
              <a:rPr lang="es-ES"/>
              <a:t>- Panteón con los 6 bloques clásicos (Política, Catálogo, Calidad, Linaje, Seguridad, Uso/</a:t>
            </a:r>
            <a:r>
              <a:rPr lang="es-ES" err="1"/>
              <a:t>FinOps</a:t>
            </a:r>
            <a:r>
              <a:rPr lang="es-ES"/>
              <a:t>).</a:t>
            </a:r>
            <a:br>
              <a:rPr lang="es-ES"/>
            </a:br>
            <a:r>
              <a:rPr lang="es-ES"/>
              <a:t>- Resaltar los que le duelen a </a:t>
            </a:r>
            <a:r>
              <a:rPr lang="es-ES" err="1"/>
              <a:t>Simon</a:t>
            </a:r>
            <a:r>
              <a:rPr lang="es-ES"/>
              <a:t> (linaje, calidad, seguridad).▸ Puedes reusar el “panteón” de </a:t>
            </a:r>
            <a:r>
              <a:rPr lang="es-ES" err="1"/>
              <a:t>Ortifrut</a:t>
            </a:r>
            <a:r>
              <a:rPr lang="es-ES"/>
              <a:t> / Envases.</a:t>
            </a:r>
            <a:endParaRPr lang="en-GB"/>
          </a:p>
        </p:txBody>
      </p:sp>
      <p:sp>
        <p:nvSpPr>
          <p:cNvPr id="4" name="Marcador de número de diapositiva 3"/>
          <p:cNvSpPr>
            <a:spLocks noGrp="1"/>
          </p:cNvSpPr>
          <p:nvPr>
            <p:ph type="sldNum" sz="quarter" idx="5"/>
          </p:nvPr>
        </p:nvSpPr>
        <p:spPr/>
        <p:txBody>
          <a:bodyPr/>
          <a:lstStyle/>
          <a:p>
            <a:fld id="{08EFAA48-0AD5-4BCB-8C10-3E1E098ED445}" type="slidenum">
              <a:rPr lang="es-ES" smtClean="0"/>
              <a:pPr/>
              <a:t>38</a:t>
            </a:fld>
            <a:endParaRPr lang="es-ES"/>
          </a:p>
        </p:txBody>
      </p:sp>
    </p:spTree>
    <p:extLst>
      <p:ext uri="{BB962C8B-B14F-4D97-AF65-F5344CB8AC3E}">
        <p14:creationId xmlns:p14="http://schemas.microsoft.com/office/powerpoint/2010/main" val="352308740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GB" err="1"/>
              <a:t>Mejorar</a:t>
            </a:r>
            <a:r>
              <a:rPr lang="en-GB"/>
              <a:t> la </a:t>
            </a:r>
            <a:r>
              <a:rPr lang="en-GB" err="1"/>
              <a:t>diagramación</a:t>
            </a:r>
            <a:endParaRPr lang="en-GB"/>
          </a:p>
        </p:txBody>
      </p:sp>
      <p:sp>
        <p:nvSpPr>
          <p:cNvPr id="4" name="Marcador de número de diapositiva 3"/>
          <p:cNvSpPr>
            <a:spLocks noGrp="1"/>
          </p:cNvSpPr>
          <p:nvPr>
            <p:ph type="sldNum" sz="quarter" idx="5"/>
          </p:nvPr>
        </p:nvSpPr>
        <p:spPr/>
        <p:txBody>
          <a:bodyPr/>
          <a:lstStyle/>
          <a:p>
            <a:fld id="{08EFAA48-0AD5-4BCB-8C10-3E1E098ED445}" type="slidenum">
              <a:rPr lang="es-ES" smtClean="0"/>
              <a:pPr/>
              <a:t>40</a:t>
            </a:fld>
            <a:endParaRPr lang="es-ES"/>
          </a:p>
        </p:txBody>
      </p:sp>
    </p:spTree>
    <p:extLst>
      <p:ext uri="{BB962C8B-B14F-4D97-AF65-F5344CB8AC3E}">
        <p14:creationId xmlns:p14="http://schemas.microsoft.com/office/powerpoint/2010/main" val="35096351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7313" y="746125"/>
            <a:ext cx="6615112" cy="3722688"/>
          </a:xfrm>
        </p:spPr>
      </p:sp>
      <p:sp>
        <p:nvSpPr>
          <p:cNvPr id="3" name="Notes Placeholder 2"/>
          <p:cNvSpPr>
            <a:spLocks noGrp="1"/>
          </p:cNvSpPr>
          <p:nvPr>
            <p:ph type="body" idx="1"/>
          </p:nvPr>
        </p:nvSpPr>
        <p:spPr/>
        <p:txBody>
          <a:bodyPr/>
          <a:lstStyle/>
          <a:p>
            <a:endParaRPr lang="es-ES_tradnl"/>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294088FB-87AA-43E5-ABD7-0C0309A0A45B}" type="slidenum">
              <a:rPr kumimoji="0" lang="en-US" sz="1800" b="0" i="0" u="none" strike="noStrike" kern="0" cap="none" spc="0" normalizeH="0" baseline="0" noProof="0" smtClean="0">
                <a:ln>
                  <a:noFill/>
                </a:ln>
                <a:solidFill>
                  <a:srgbClr val="000000"/>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41</a:t>
            </a:fld>
            <a:endParaRPr kumimoji="0" lang="en-US" sz="1800" b="0" i="0" u="none" strike="noStrike" kern="0" cap="none" spc="0" normalizeH="0" baseline="0" noProof="0">
              <a:ln>
                <a:noFill/>
              </a:ln>
              <a:solidFill>
                <a:srgbClr val="000000"/>
              </a:solidFill>
              <a:effectLst/>
              <a:uLnTx/>
              <a:uFillTx/>
              <a:latin typeface="Calibri"/>
              <a:cs typeface="Calibri"/>
              <a:sym typeface="Calibri"/>
            </a:endParaRPr>
          </a:p>
        </p:txBody>
      </p:sp>
    </p:spTree>
    <p:extLst>
      <p:ext uri="{BB962C8B-B14F-4D97-AF65-F5344CB8AC3E}">
        <p14:creationId xmlns:p14="http://schemas.microsoft.com/office/powerpoint/2010/main" val="51461838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buNone/>
            </a:pPr>
            <a:r>
              <a:rPr lang="es-ES" b="1"/>
              <a:t>🔄 ¿Qué es el linaje de datos según DMBOK2?</a:t>
            </a:r>
          </a:p>
          <a:p>
            <a:pPr>
              <a:buNone/>
            </a:pPr>
            <a:r>
              <a:rPr lang="es-ES"/>
              <a:t>DMBOK2 (especialmente en los capítulos de </a:t>
            </a:r>
            <a:r>
              <a:rPr lang="es-ES" b="1" err="1"/>
              <a:t>Metadata</a:t>
            </a:r>
            <a:r>
              <a:rPr lang="es-ES" b="1"/>
              <a:t> Management</a:t>
            </a:r>
            <a:r>
              <a:rPr lang="es-ES"/>
              <a:t> y </a:t>
            </a:r>
            <a:r>
              <a:rPr lang="es-ES" b="1"/>
              <a:t>Data </a:t>
            </a:r>
            <a:r>
              <a:rPr lang="es-ES" b="1" err="1"/>
              <a:t>Integration</a:t>
            </a:r>
            <a:r>
              <a:rPr lang="es-ES"/>
              <a:t>) presenta el linaje como una pieza </a:t>
            </a:r>
            <a:r>
              <a:rPr lang="es-ES" b="1"/>
              <a:t>crítica para la transparencia, trazabilidad y confianza</a:t>
            </a:r>
            <a:r>
              <a:rPr lang="es-ES"/>
              <a:t> en los datos. Incluye:</a:t>
            </a:r>
          </a:p>
          <a:p>
            <a:pPr>
              <a:buFont typeface="Arial" panose="020B0604020202020204" pitchFamily="34" charset="0"/>
              <a:buChar char="•"/>
            </a:pPr>
            <a:r>
              <a:rPr lang="es-ES" b="1"/>
              <a:t>Orígenes</a:t>
            </a:r>
            <a:r>
              <a:rPr lang="es-ES"/>
              <a:t> (de dónde proviene un dato)</a:t>
            </a:r>
          </a:p>
          <a:p>
            <a:pPr>
              <a:buFont typeface="Arial" panose="020B0604020202020204" pitchFamily="34" charset="0"/>
              <a:buChar char="•"/>
            </a:pPr>
            <a:r>
              <a:rPr lang="es-ES" b="1"/>
              <a:t>Transformaciones</a:t>
            </a:r>
            <a:r>
              <a:rPr lang="es-ES"/>
              <a:t> (cómo se modifica o calcula)</a:t>
            </a:r>
          </a:p>
          <a:p>
            <a:pPr>
              <a:buFont typeface="Arial" panose="020B0604020202020204" pitchFamily="34" charset="0"/>
              <a:buChar char="•"/>
            </a:pPr>
            <a:r>
              <a:rPr lang="es-ES" b="1"/>
              <a:t>Destino</a:t>
            </a:r>
            <a:r>
              <a:rPr lang="es-ES"/>
              <a:t> (dónde se consume o presenta)</a:t>
            </a:r>
          </a:p>
          <a:p>
            <a:pPr>
              <a:buFont typeface="Arial" panose="020B0604020202020204" pitchFamily="34" charset="0"/>
              <a:buChar char="•"/>
            </a:pPr>
            <a:r>
              <a:rPr lang="es-ES"/>
              <a:t>Puede abarcar niveles técnicos (ETL, columnas, tablas), lógicos (reglas de negocio), y de usuario final (</a:t>
            </a:r>
            <a:r>
              <a:rPr lang="es-ES" err="1"/>
              <a:t>dashboards</a:t>
            </a:r>
            <a:r>
              <a:rPr lang="es-ES"/>
              <a:t>, reportes).</a:t>
            </a:r>
          </a:p>
          <a:p>
            <a:pPr>
              <a:buNone/>
            </a:pPr>
            <a:r>
              <a:rPr lang="es-ES" b="1"/>
              <a:t>🧭 ¿Cómo lo presentarías en una diapositiva?</a:t>
            </a:r>
          </a:p>
          <a:p>
            <a:pPr>
              <a:buNone/>
            </a:pPr>
            <a:r>
              <a:rPr lang="es-ES" b="1"/>
              <a:t>🔍 Linaje: Trazabilidad como motor de confianza</a:t>
            </a:r>
          </a:p>
          <a:p>
            <a:pPr>
              <a:buNone/>
            </a:pPr>
            <a:r>
              <a:rPr lang="es-ES" b="1"/>
              <a:t>Visualizamos y documentamos cómo los datos viajan, se transforman y se conectan a lo largo de todo su ciclo de vida.</a:t>
            </a:r>
            <a:endParaRPr lang="es-ES"/>
          </a:p>
          <a:p>
            <a:pPr>
              <a:buFont typeface="Arial" panose="020B0604020202020204" pitchFamily="34" charset="0"/>
              <a:buChar char="•"/>
            </a:pPr>
            <a:r>
              <a:rPr lang="es-ES"/>
              <a:t>Representación completa del flujo de datos: origen, transformación, destino.</a:t>
            </a:r>
          </a:p>
          <a:p>
            <a:pPr>
              <a:buFont typeface="Arial" panose="020B0604020202020204" pitchFamily="34" charset="0"/>
              <a:buChar char="•"/>
            </a:pPr>
            <a:r>
              <a:rPr lang="es-ES"/>
              <a:t>Vista multidimensional: técnica (sistemas y columnas) + lógica (reglas) + de negocio (consumos).</a:t>
            </a:r>
          </a:p>
          <a:p>
            <a:pPr>
              <a:buFont typeface="Arial" panose="020B0604020202020204" pitchFamily="34" charset="0"/>
              <a:buChar char="•"/>
            </a:pPr>
            <a:r>
              <a:rPr lang="es-ES"/>
              <a:t>Apoyo al análisis de impacto, auditorías, resolución de errores y confianza del usuario final.</a:t>
            </a:r>
          </a:p>
          <a:p>
            <a:r>
              <a:rPr lang="es-ES"/>
              <a:t>🎯 </a:t>
            </a:r>
            <a:r>
              <a:rPr lang="es-ES" b="1"/>
              <a:t>Objetivo:</a:t>
            </a:r>
            <a:r>
              <a:rPr lang="es-ES"/>
              <a:t> Dar visibilidad y contexto a cada dato, habilitando decisiones informadas y gestión proactiva del cambio.</a:t>
            </a:r>
          </a:p>
          <a:p>
            <a:endParaRPr lang="en-GB"/>
          </a:p>
        </p:txBody>
      </p:sp>
      <p:sp>
        <p:nvSpPr>
          <p:cNvPr id="4" name="Marcador de número de diapositiva 3"/>
          <p:cNvSpPr>
            <a:spLocks noGrp="1"/>
          </p:cNvSpPr>
          <p:nvPr>
            <p:ph type="sldNum" sz="quarter" idx="5"/>
          </p:nvPr>
        </p:nvSpPr>
        <p:spPr/>
        <p:txBody>
          <a:bodyPr/>
          <a:lstStyle/>
          <a:p>
            <a:fld id="{0DB9A84A-733A-0C47-AC2B-F0C70F83A7E9}" type="slidenum">
              <a:rPr lang="en-US" smtClean="0"/>
              <a:t>42</a:t>
            </a:fld>
            <a:endParaRPr lang="en-US"/>
          </a:p>
        </p:txBody>
      </p:sp>
    </p:spTree>
    <p:extLst>
      <p:ext uri="{BB962C8B-B14F-4D97-AF65-F5344CB8AC3E}">
        <p14:creationId xmlns:p14="http://schemas.microsoft.com/office/powerpoint/2010/main" val="360811599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7313" y="746125"/>
            <a:ext cx="6615112" cy="3722688"/>
          </a:xfrm>
        </p:spPr>
      </p:sp>
      <p:sp>
        <p:nvSpPr>
          <p:cNvPr id="3" name="Notes Placeholder 2"/>
          <p:cNvSpPr>
            <a:spLocks noGrp="1"/>
          </p:cNvSpPr>
          <p:nvPr>
            <p:ph type="body" idx="1"/>
          </p:nvPr>
        </p:nvSpPr>
        <p:spPr/>
        <p:txBody>
          <a:bodyPr/>
          <a:lstStyle/>
          <a:p>
            <a:endParaRPr lang="es-ES_tradnl"/>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294088FB-87AA-43E5-ABD7-0C0309A0A45B}" type="slidenum">
              <a:rPr kumimoji="0" lang="en-US" sz="1400" b="0" i="0" u="none" strike="noStrike" kern="0" cap="none" spc="0" normalizeH="0" baseline="0" noProof="0" smtClean="0">
                <a:ln>
                  <a:noFill/>
                </a:ln>
                <a:solidFill>
                  <a:srgbClr val="000000"/>
                </a:solidFill>
                <a:effectLst/>
                <a:uLnTx/>
                <a:uFillTx/>
                <a:latin typeface="Arial"/>
                <a:ea typeface="+mn-ea"/>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46</a:t>
            </a:fld>
            <a:endParaRPr kumimoji="0" lang="en-US"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141693750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32"/>
        <p:cNvGrpSpPr/>
        <p:nvPr/>
      </p:nvGrpSpPr>
      <p:grpSpPr>
        <a:xfrm>
          <a:off x="0" y="0"/>
          <a:ext cx="0" cy="0"/>
          <a:chOff x="0" y="0"/>
          <a:chExt cx="0" cy="0"/>
        </a:xfrm>
      </p:grpSpPr>
      <p:sp>
        <p:nvSpPr>
          <p:cNvPr id="3333" name="Google Shape;3333;g30e148d11da_7_119: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334" name="Google Shape;3334;g30e148d11da_7_11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3794483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32"/>
        <p:cNvGrpSpPr/>
        <p:nvPr/>
      </p:nvGrpSpPr>
      <p:grpSpPr>
        <a:xfrm>
          <a:off x="0" y="0"/>
          <a:ext cx="0" cy="0"/>
          <a:chOff x="0" y="0"/>
          <a:chExt cx="0" cy="0"/>
        </a:xfrm>
      </p:grpSpPr>
      <p:sp>
        <p:nvSpPr>
          <p:cNvPr id="3333" name="Google Shape;3333;g30e148d11da_7_119: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a:hlinkClick r:id="rId3"/>
              </a:rPr>
              <a:t>Supplier </a:t>
            </a:r>
            <a:r>
              <a:rPr lang="en-US" err="1">
                <a:hlinkClick r:id="rId3"/>
              </a:rPr>
              <a:t>DataQuality</a:t>
            </a:r>
            <a:r>
              <a:rPr lang="en-US">
                <a:hlinkClick r:id="rId3"/>
              </a:rPr>
              <a:t> - Stories - SAP Analytics Cloud</a:t>
            </a:r>
            <a:endParaRPr/>
          </a:p>
        </p:txBody>
      </p:sp>
      <p:sp>
        <p:nvSpPr>
          <p:cNvPr id="3334" name="Google Shape;3334;g30e148d11da_7_11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8206047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3E10C2-F8EC-0B0D-9889-2EF0DD56F2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3E621E-13EB-B143-451C-F1D5373FD34C}"/>
              </a:ext>
            </a:extLst>
          </p:cNvPr>
          <p:cNvSpPr>
            <a:spLocks noGrp="1" noRot="1" noChangeAspect="1"/>
          </p:cNvSpPr>
          <p:nvPr>
            <p:ph type="sldImg"/>
          </p:nvPr>
        </p:nvSpPr>
        <p:spPr>
          <a:xfrm>
            <a:off x="87313" y="746125"/>
            <a:ext cx="6615112" cy="3722688"/>
          </a:xfrm>
        </p:spPr>
      </p:sp>
      <p:sp>
        <p:nvSpPr>
          <p:cNvPr id="3" name="Notes Placeholder 2">
            <a:extLst>
              <a:ext uri="{FF2B5EF4-FFF2-40B4-BE49-F238E27FC236}">
                <a16:creationId xmlns:a16="http://schemas.microsoft.com/office/drawing/2014/main" id="{AEAA8F85-A52A-4700-C1C4-6B0DEAC2D309}"/>
              </a:ext>
            </a:extLst>
          </p:cNvPr>
          <p:cNvSpPr>
            <a:spLocks noGrp="1"/>
          </p:cNvSpPr>
          <p:nvPr>
            <p:ph type="body" idx="1"/>
          </p:nvPr>
        </p:nvSpPr>
        <p:spPr/>
        <p:txBody>
          <a:bodyPr/>
          <a:lstStyle/>
          <a:p>
            <a:pPr>
              <a:buNone/>
            </a:pPr>
            <a:r>
              <a:rPr lang="es-ES" b="1"/>
              <a:t>🔐 Seguridad: Tres productos clave</a:t>
            </a:r>
          </a:p>
          <a:p>
            <a:pPr>
              <a:buNone/>
            </a:pPr>
            <a:r>
              <a:rPr lang="es-ES" b="1"/>
              <a:t>1. Gestión de Accesos (Access Management)</a:t>
            </a:r>
          </a:p>
          <a:p>
            <a:pPr>
              <a:buNone/>
            </a:pPr>
            <a:r>
              <a:rPr lang="es-ES"/>
              <a:t>Capacidad para definir, asignar y gestionar derechos de acceso mediante modelos RBAC y ABAC:</a:t>
            </a:r>
          </a:p>
          <a:p>
            <a:pPr>
              <a:buFont typeface="Arial" panose="020B0604020202020204" pitchFamily="34" charset="0"/>
              <a:buChar char="•"/>
            </a:pPr>
            <a:r>
              <a:rPr lang="es-ES"/>
              <a:t>Asignación dinámica de permisos según rol, función o atributos (hora, ubicación, sensibilidad del dato...).</a:t>
            </a:r>
          </a:p>
          <a:p>
            <a:pPr>
              <a:buFont typeface="Arial" panose="020B0604020202020204" pitchFamily="34" charset="0"/>
              <a:buChar char="•"/>
            </a:pPr>
            <a:r>
              <a:rPr lang="es-ES"/>
              <a:t>Interoperabilidad con herramientas de identidad y single </a:t>
            </a:r>
            <a:r>
              <a:rPr lang="es-ES" err="1"/>
              <a:t>sign-on</a:t>
            </a:r>
            <a:r>
              <a:rPr lang="es-ES"/>
              <a:t> (SSO).</a:t>
            </a:r>
          </a:p>
          <a:p>
            <a:pPr>
              <a:buFont typeface="Arial" panose="020B0604020202020204" pitchFamily="34" charset="0"/>
              <a:buChar char="•"/>
            </a:pPr>
            <a:r>
              <a:rPr lang="es-ES"/>
              <a:t>Trazabilidad de accesos y decisiones de autorización.</a:t>
            </a:r>
          </a:p>
          <a:p>
            <a:pPr>
              <a:buNone/>
            </a:pPr>
            <a:r>
              <a:rPr lang="es-ES"/>
              <a:t>🎯 </a:t>
            </a:r>
            <a:r>
              <a:rPr lang="es-ES" b="1"/>
              <a:t>Objetivo:</a:t>
            </a:r>
            <a:r>
              <a:rPr lang="es-ES"/>
              <a:t> Garantizar el acceso correcto al dato correcto por el perfil correcto, minimizando el riesgo operativo y habilitando el autoservicio seguro.</a:t>
            </a:r>
          </a:p>
          <a:p>
            <a:pPr>
              <a:buNone/>
            </a:pPr>
            <a:r>
              <a:rPr lang="es-ES" b="1"/>
              <a:t>2. Controles de Uso y Consumo (</a:t>
            </a:r>
            <a:r>
              <a:rPr lang="es-ES" b="1" err="1"/>
              <a:t>Consumption</a:t>
            </a:r>
            <a:r>
              <a:rPr lang="es-ES" b="1"/>
              <a:t> &amp; </a:t>
            </a:r>
            <a:r>
              <a:rPr lang="es-ES" b="1" err="1"/>
              <a:t>Usage</a:t>
            </a:r>
            <a:r>
              <a:rPr lang="es-ES" b="1"/>
              <a:t> </a:t>
            </a:r>
            <a:r>
              <a:rPr lang="es-ES" b="1" err="1"/>
              <a:t>Controls</a:t>
            </a:r>
            <a:r>
              <a:rPr lang="es-ES" b="1"/>
              <a:t>)</a:t>
            </a:r>
          </a:p>
          <a:p>
            <a:pPr>
              <a:buNone/>
            </a:pPr>
            <a:r>
              <a:rPr lang="es-ES"/>
              <a:t>Supervisión y restricción del uso de datos y herramientas:</a:t>
            </a:r>
          </a:p>
          <a:p>
            <a:pPr>
              <a:buFont typeface="Arial" panose="020B0604020202020204" pitchFamily="34" charset="0"/>
              <a:buChar char="•"/>
            </a:pPr>
            <a:r>
              <a:rPr lang="es-ES"/>
              <a:t>Políticas sobre lectura, modificación, exportación, combinación o persistencia de datos.</a:t>
            </a:r>
          </a:p>
          <a:p>
            <a:pPr>
              <a:buFont typeface="Arial" panose="020B0604020202020204" pitchFamily="34" charset="0"/>
              <a:buChar char="•"/>
            </a:pPr>
            <a:r>
              <a:rPr lang="es-ES"/>
              <a:t>Límites de frecuencia o volumen de consumo (</a:t>
            </a:r>
            <a:r>
              <a:rPr lang="es-ES" err="1"/>
              <a:t>rate</a:t>
            </a:r>
            <a:r>
              <a:rPr lang="es-ES"/>
              <a:t> </a:t>
            </a:r>
            <a:r>
              <a:rPr lang="es-ES" err="1"/>
              <a:t>limiting</a:t>
            </a:r>
            <a:r>
              <a:rPr lang="es-ES"/>
              <a:t>, </a:t>
            </a:r>
            <a:r>
              <a:rPr lang="es-ES" err="1"/>
              <a:t>quota</a:t>
            </a:r>
            <a:r>
              <a:rPr lang="es-ES"/>
              <a:t>, etc.).</a:t>
            </a:r>
          </a:p>
          <a:p>
            <a:pPr>
              <a:buFont typeface="Arial" panose="020B0604020202020204" pitchFamily="34" charset="0"/>
              <a:buChar char="•"/>
            </a:pPr>
            <a:r>
              <a:rPr lang="es-ES"/>
              <a:t>Auditoría de eventos y comportamiento inusual (ej. consultas masivas o fuera de horario).</a:t>
            </a:r>
          </a:p>
          <a:p>
            <a:pPr>
              <a:buNone/>
            </a:pPr>
            <a:r>
              <a:rPr lang="es-ES"/>
              <a:t>🎯 </a:t>
            </a:r>
            <a:r>
              <a:rPr lang="es-ES" b="1"/>
              <a:t>Objetivo:</a:t>
            </a:r>
            <a:r>
              <a:rPr lang="es-ES"/>
              <a:t> Asegurar un uso responsable y eficiente del dato sin fricciones para los usuarios.</a:t>
            </a:r>
          </a:p>
          <a:p>
            <a:pPr>
              <a:buNone/>
            </a:pPr>
            <a:r>
              <a:rPr lang="es-ES" b="1"/>
              <a:t>3. Apoyo al Cumplimiento Normativo (</a:t>
            </a:r>
            <a:r>
              <a:rPr lang="es-ES" b="1" err="1"/>
              <a:t>Compliance</a:t>
            </a:r>
            <a:r>
              <a:rPr lang="es-ES" b="1"/>
              <a:t> </a:t>
            </a:r>
            <a:r>
              <a:rPr lang="es-ES" b="1" err="1"/>
              <a:t>Support</a:t>
            </a:r>
            <a:r>
              <a:rPr lang="es-ES" b="1"/>
              <a:t>)</a:t>
            </a:r>
          </a:p>
          <a:p>
            <a:pPr>
              <a:buNone/>
            </a:pPr>
            <a:r>
              <a:rPr lang="es-ES"/>
              <a:t>Automatización de requisitos regulatorios sin comprometer la agilidad:</a:t>
            </a:r>
          </a:p>
          <a:p>
            <a:pPr>
              <a:buFont typeface="Arial" panose="020B0604020202020204" pitchFamily="34" charset="0"/>
              <a:buChar char="•"/>
            </a:pPr>
            <a:r>
              <a:rPr lang="es-ES"/>
              <a:t>Eliminación programada o </a:t>
            </a:r>
            <a:r>
              <a:rPr lang="es-ES" err="1"/>
              <a:t>anonimización</a:t>
            </a:r>
            <a:r>
              <a:rPr lang="es-ES"/>
              <a:t> de datos personales (ej. RGPD, CCPA).</a:t>
            </a:r>
          </a:p>
          <a:p>
            <a:pPr>
              <a:buFont typeface="Arial" panose="020B0604020202020204" pitchFamily="34" charset="0"/>
              <a:buChar char="•"/>
            </a:pPr>
            <a:r>
              <a:rPr lang="es-ES"/>
              <a:t>Registro y justificación del ciclo de vida del dato (data </a:t>
            </a:r>
            <a:r>
              <a:rPr lang="es-ES" err="1"/>
              <a:t>retention</a:t>
            </a:r>
            <a:r>
              <a:rPr lang="es-ES"/>
              <a:t> </a:t>
            </a:r>
            <a:r>
              <a:rPr lang="es-ES" err="1"/>
              <a:t>policies</a:t>
            </a:r>
            <a:r>
              <a:rPr lang="es-ES"/>
              <a:t>).</a:t>
            </a:r>
          </a:p>
          <a:p>
            <a:pPr>
              <a:buFont typeface="Arial" panose="020B0604020202020204" pitchFamily="34" charset="0"/>
              <a:buChar char="•"/>
            </a:pPr>
            <a:r>
              <a:rPr lang="es-ES"/>
              <a:t>Evidencias de acceso, tratamiento y eliminación ante auditorías.</a:t>
            </a:r>
          </a:p>
          <a:p>
            <a:r>
              <a:rPr lang="es-ES"/>
              <a:t>🎯 </a:t>
            </a:r>
            <a:r>
              <a:rPr lang="es-ES" b="1"/>
              <a:t>Objetivo:</a:t>
            </a:r>
            <a:r>
              <a:rPr lang="es-ES"/>
              <a:t> Facilitar el cumplimiento normativo desde la arquitectura, con bajo impacto operativo.</a:t>
            </a:r>
          </a:p>
          <a:p>
            <a:endParaRPr lang="es-ES_tradnl"/>
          </a:p>
        </p:txBody>
      </p:sp>
      <p:sp>
        <p:nvSpPr>
          <p:cNvPr id="4" name="Slide Number Placeholder 3">
            <a:extLst>
              <a:ext uri="{FF2B5EF4-FFF2-40B4-BE49-F238E27FC236}">
                <a16:creationId xmlns:a16="http://schemas.microsoft.com/office/drawing/2014/main" id="{CD047423-05A2-8EC2-B271-B7D02C975890}"/>
              </a:ext>
            </a:extLst>
          </p:cNvPr>
          <p:cNvSpPr>
            <a:spLocks noGrp="1"/>
          </p:cNvSpPr>
          <p:nvPr>
            <p:ph type="sldNum" sz="quarter" idx="10"/>
          </p:nvPr>
        </p:nvSpPr>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294088FB-87AA-43E5-ABD7-0C0309A0A45B}" type="slidenum">
              <a:rPr kumimoji="0" lang="en-US" sz="1800" b="0" i="0" u="none" strike="noStrike" kern="0" cap="none" spc="0" normalizeH="0" baseline="0" noProof="0" smtClean="0">
                <a:ln>
                  <a:noFill/>
                </a:ln>
                <a:solidFill>
                  <a:srgbClr val="000000"/>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49</a:t>
            </a:fld>
            <a:endParaRPr kumimoji="0" lang="en-US" sz="1800" b="0" i="0" u="none" strike="noStrike" kern="0" cap="none" spc="0" normalizeH="0" baseline="0" noProof="0">
              <a:ln>
                <a:noFill/>
              </a:ln>
              <a:solidFill>
                <a:srgbClr val="000000"/>
              </a:solidFill>
              <a:effectLst/>
              <a:uLnTx/>
              <a:uFillTx/>
              <a:latin typeface="Calibri"/>
              <a:cs typeface="Calibri"/>
              <a:sym typeface="Calibri"/>
            </a:endParaRPr>
          </a:p>
        </p:txBody>
      </p:sp>
    </p:spTree>
    <p:extLst>
      <p:ext uri="{BB962C8B-B14F-4D97-AF65-F5344CB8AC3E}">
        <p14:creationId xmlns:p14="http://schemas.microsoft.com/office/powerpoint/2010/main" val="325101178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5378F0-6BD2-EAEB-7590-DD3FB56CA5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0BE6C3-B41C-4547-0730-A72CB41BBEF6}"/>
              </a:ext>
            </a:extLst>
          </p:cNvPr>
          <p:cNvSpPr>
            <a:spLocks noGrp="1" noRot="1" noChangeAspect="1"/>
          </p:cNvSpPr>
          <p:nvPr>
            <p:ph type="sldImg"/>
          </p:nvPr>
        </p:nvSpPr>
        <p:spPr>
          <a:xfrm>
            <a:off x="87313" y="746125"/>
            <a:ext cx="6615112" cy="3722688"/>
          </a:xfrm>
        </p:spPr>
      </p:sp>
      <p:sp>
        <p:nvSpPr>
          <p:cNvPr id="3" name="Notes Placeholder 2">
            <a:extLst>
              <a:ext uri="{FF2B5EF4-FFF2-40B4-BE49-F238E27FC236}">
                <a16:creationId xmlns:a16="http://schemas.microsoft.com/office/drawing/2014/main" id="{606851BD-5EC3-AA16-DB07-3AD7CCB0B761}"/>
              </a:ext>
            </a:extLst>
          </p:cNvPr>
          <p:cNvSpPr>
            <a:spLocks noGrp="1"/>
          </p:cNvSpPr>
          <p:nvPr>
            <p:ph type="body" idx="1"/>
          </p:nvPr>
        </p:nvSpPr>
        <p:spPr/>
        <p:txBody>
          <a:bodyPr/>
          <a:lstStyle/>
          <a:p>
            <a:pPr>
              <a:buNone/>
            </a:pPr>
            <a:r>
              <a:rPr lang="es-ES" b="1"/>
              <a:t>🔐 Seguridad: Tres productos clave</a:t>
            </a:r>
          </a:p>
          <a:p>
            <a:pPr>
              <a:buNone/>
            </a:pPr>
            <a:r>
              <a:rPr lang="es-ES" b="1"/>
              <a:t>1. Gestión de Accesos (Access Management)</a:t>
            </a:r>
          </a:p>
          <a:p>
            <a:pPr>
              <a:buNone/>
            </a:pPr>
            <a:r>
              <a:rPr lang="es-ES"/>
              <a:t>Capacidad para definir, asignar y gestionar derechos de acceso mediante modelos RBAC y ABAC:</a:t>
            </a:r>
          </a:p>
          <a:p>
            <a:pPr>
              <a:buFont typeface="Arial" panose="020B0604020202020204" pitchFamily="34" charset="0"/>
              <a:buChar char="•"/>
            </a:pPr>
            <a:r>
              <a:rPr lang="es-ES"/>
              <a:t>Asignación dinámica de permisos según rol, función o atributos (hora, ubicación, sensibilidad del dato...).</a:t>
            </a:r>
          </a:p>
          <a:p>
            <a:pPr>
              <a:buFont typeface="Arial" panose="020B0604020202020204" pitchFamily="34" charset="0"/>
              <a:buChar char="•"/>
            </a:pPr>
            <a:r>
              <a:rPr lang="es-ES"/>
              <a:t>Interoperabilidad con herramientas de identidad y single </a:t>
            </a:r>
            <a:r>
              <a:rPr lang="es-ES" err="1"/>
              <a:t>sign-on</a:t>
            </a:r>
            <a:r>
              <a:rPr lang="es-ES"/>
              <a:t> (SSO).</a:t>
            </a:r>
          </a:p>
          <a:p>
            <a:pPr>
              <a:buFont typeface="Arial" panose="020B0604020202020204" pitchFamily="34" charset="0"/>
              <a:buChar char="•"/>
            </a:pPr>
            <a:r>
              <a:rPr lang="es-ES"/>
              <a:t>Trazabilidad de accesos y decisiones de autorización.</a:t>
            </a:r>
          </a:p>
          <a:p>
            <a:pPr>
              <a:buNone/>
            </a:pPr>
            <a:r>
              <a:rPr lang="es-ES"/>
              <a:t>🎯 </a:t>
            </a:r>
            <a:r>
              <a:rPr lang="es-ES" b="1"/>
              <a:t>Objetivo:</a:t>
            </a:r>
            <a:r>
              <a:rPr lang="es-ES"/>
              <a:t> Garantizar el acceso correcto al dato correcto por el perfil correcto, minimizando el riesgo operativo y habilitando el autoservicio seguro.</a:t>
            </a:r>
          </a:p>
          <a:p>
            <a:pPr>
              <a:buNone/>
            </a:pPr>
            <a:r>
              <a:rPr lang="es-ES" b="1"/>
              <a:t>2. Controles de Uso y Consumo (</a:t>
            </a:r>
            <a:r>
              <a:rPr lang="es-ES" b="1" err="1"/>
              <a:t>Consumption</a:t>
            </a:r>
            <a:r>
              <a:rPr lang="es-ES" b="1"/>
              <a:t> &amp; </a:t>
            </a:r>
            <a:r>
              <a:rPr lang="es-ES" b="1" err="1"/>
              <a:t>Usage</a:t>
            </a:r>
            <a:r>
              <a:rPr lang="es-ES" b="1"/>
              <a:t> </a:t>
            </a:r>
            <a:r>
              <a:rPr lang="es-ES" b="1" err="1"/>
              <a:t>Controls</a:t>
            </a:r>
            <a:r>
              <a:rPr lang="es-ES" b="1"/>
              <a:t>)</a:t>
            </a:r>
          </a:p>
          <a:p>
            <a:pPr>
              <a:buNone/>
            </a:pPr>
            <a:r>
              <a:rPr lang="es-ES"/>
              <a:t>Supervisión y restricción del uso de datos y herramientas:</a:t>
            </a:r>
          </a:p>
          <a:p>
            <a:pPr>
              <a:buFont typeface="Arial" panose="020B0604020202020204" pitchFamily="34" charset="0"/>
              <a:buChar char="•"/>
            </a:pPr>
            <a:r>
              <a:rPr lang="es-ES"/>
              <a:t>Políticas sobre lectura, modificación, exportación, combinación o persistencia de datos.</a:t>
            </a:r>
          </a:p>
          <a:p>
            <a:pPr>
              <a:buFont typeface="Arial" panose="020B0604020202020204" pitchFamily="34" charset="0"/>
              <a:buChar char="•"/>
            </a:pPr>
            <a:r>
              <a:rPr lang="es-ES"/>
              <a:t>Límites de frecuencia o volumen de consumo (</a:t>
            </a:r>
            <a:r>
              <a:rPr lang="es-ES" err="1"/>
              <a:t>rate</a:t>
            </a:r>
            <a:r>
              <a:rPr lang="es-ES"/>
              <a:t> </a:t>
            </a:r>
            <a:r>
              <a:rPr lang="es-ES" err="1"/>
              <a:t>limiting</a:t>
            </a:r>
            <a:r>
              <a:rPr lang="es-ES"/>
              <a:t>, </a:t>
            </a:r>
            <a:r>
              <a:rPr lang="es-ES" err="1"/>
              <a:t>quota</a:t>
            </a:r>
            <a:r>
              <a:rPr lang="es-ES"/>
              <a:t>, etc.).</a:t>
            </a:r>
          </a:p>
          <a:p>
            <a:pPr>
              <a:buFont typeface="Arial" panose="020B0604020202020204" pitchFamily="34" charset="0"/>
              <a:buChar char="•"/>
            </a:pPr>
            <a:r>
              <a:rPr lang="es-ES"/>
              <a:t>Auditoría de eventos y comportamiento inusual (ej. consultas masivas o fuera de horario).</a:t>
            </a:r>
          </a:p>
          <a:p>
            <a:pPr>
              <a:buNone/>
            </a:pPr>
            <a:r>
              <a:rPr lang="es-ES"/>
              <a:t>🎯 </a:t>
            </a:r>
            <a:r>
              <a:rPr lang="es-ES" b="1"/>
              <a:t>Objetivo:</a:t>
            </a:r>
            <a:r>
              <a:rPr lang="es-ES"/>
              <a:t> Asegurar un uso responsable y eficiente del dato sin fricciones para los usuarios.</a:t>
            </a:r>
          </a:p>
          <a:p>
            <a:pPr>
              <a:buNone/>
            </a:pPr>
            <a:r>
              <a:rPr lang="es-ES" b="1"/>
              <a:t>3. Apoyo al Cumplimiento Normativo (</a:t>
            </a:r>
            <a:r>
              <a:rPr lang="es-ES" b="1" err="1"/>
              <a:t>Compliance</a:t>
            </a:r>
            <a:r>
              <a:rPr lang="es-ES" b="1"/>
              <a:t> </a:t>
            </a:r>
            <a:r>
              <a:rPr lang="es-ES" b="1" err="1"/>
              <a:t>Support</a:t>
            </a:r>
            <a:r>
              <a:rPr lang="es-ES" b="1"/>
              <a:t>)</a:t>
            </a:r>
          </a:p>
          <a:p>
            <a:pPr>
              <a:buNone/>
            </a:pPr>
            <a:r>
              <a:rPr lang="es-ES"/>
              <a:t>Automatización de requisitos regulatorios sin comprometer la agilidad:</a:t>
            </a:r>
          </a:p>
          <a:p>
            <a:pPr>
              <a:buFont typeface="Arial" panose="020B0604020202020204" pitchFamily="34" charset="0"/>
              <a:buChar char="•"/>
            </a:pPr>
            <a:r>
              <a:rPr lang="es-ES"/>
              <a:t>Eliminación programada o </a:t>
            </a:r>
            <a:r>
              <a:rPr lang="es-ES" err="1"/>
              <a:t>anonimización</a:t>
            </a:r>
            <a:r>
              <a:rPr lang="es-ES"/>
              <a:t> de datos personales (ej. RGPD, CCPA).</a:t>
            </a:r>
          </a:p>
          <a:p>
            <a:pPr>
              <a:buFont typeface="Arial" panose="020B0604020202020204" pitchFamily="34" charset="0"/>
              <a:buChar char="•"/>
            </a:pPr>
            <a:r>
              <a:rPr lang="es-ES"/>
              <a:t>Registro y justificación del ciclo de vida del dato (data </a:t>
            </a:r>
            <a:r>
              <a:rPr lang="es-ES" err="1"/>
              <a:t>retention</a:t>
            </a:r>
            <a:r>
              <a:rPr lang="es-ES"/>
              <a:t> </a:t>
            </a:r>
            <a:r>
              <a:rPr lang="es-ES" err="1"/>
              <a:t>policies</a:t>
            </a:r>
            <a:r>
              <a:rPr lang="es-ES"/>
              <a:t>).</a:t>
            </a:r>
          </a:p>
          <a:p>
            <a:pPr>
              <a:buFont typeface="Arial" panose="020B0604020202020204" pitchFamily="34" charset="0"/>
              <a:buChar char="•"/>
            </a:pPr>
            <a:r>
              <a:rPr lang="es-ES"/>
              <a:t>Evidencias de acceso, tratamiento y eliminación ante auditorías.</a:t>
            </a:r>
          </a:p>
          <a:p>
            <a:r>
              <a:rPr lang="es-ES"/>
              <a:t>🎯 </a:t>
            </a:r>
            <a:r>
              <a:rPr lang="es-ES" b="1"/>
              <a:t>Objetivo:</a:t>
            </a:r>
            <a:r>
              <a:rPr lang="es-ES"/>
              <a:t> Facilitar el cumplimiento normativo desde la arquitectura, con bajo impacto operativo.</a:t>
            </a:r>
          </a:p>
          <a:p>
            <a:endParaRPr lang="es-ES_tradnl"/>
          </a:p>
        </p:txBody>
      </p:sp>
      <p:sp>
        <p:nvSpPr>
          <p:cNvPr id="4" name="Slide Number Placeholder 3">
            <a:extLst>
              <a:ext uri="{FF2B5EF4-FFF2-40B4-BE49-F238E27FC236}">
                <a16:creationId xmlns:a16="http://schemas.microsoft.com/office/drawing/2014/main" id="{D8425BA4-F675-7B3C-F600-D430CDCB883F}"/>
              </a:ext>
            </a:extLst>
          </p:cNvPr>
          <p:cNvSpPr>
            <a:spLocks noGrp="1"/>
          </p:cNvSpPr>
          <p:nvPr>
            <p:ph type="sldNum" sz="quarter" idx="10"/>
          </p:nvPr>
        </p:nvSpPr>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294088FB-87AA-43E5-ABD7-0C0309A0A45B}" type="slidenum">
              <a:rPr kumimoji="0" lang="en-US" sz="1800" b="0" i="0" u="none" strike="noStrike" kern="0" cap="none" spc="0" normalizeH="0" baseline="0" noProof="0" smtClean="0">
                <a:ln>
                  <a:noFill/>
                </a:ln>
                <a:solidFill>
                  <a:srgbClr val="000000"/>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50</a:t>
            </a:fld>
            <a:endParaRPr kumimoji="0" lang="en-US" sz="1800" b="0" i="0" u="none" strike="noStrike" kern="0" cap="none" spc="0" normalizeH="0" baseline="0" noProof="0">
              <a:ln>
                <a:noFill/>
              </a:ln>
              <a:solidFill>
                <a:srgbClr val="000000"/>
              </a:solidFill>
              <a:effectLst/>
              <a:uLnTx/>
              <a:uFillTx/>
              <a:latin typeface="Calibri"/>
              <a:cs typeface="Calibri"/>
              <a:sym typeface="Calibri"/>
            </a:endParaRPr>
          </a:p>
        </p:txBody>
      </p:sp>
    </p:spTree>
    <p:extLst>
      <p:ext uri="{BB962C8B-B14F-4D97-AF65-F5344CB8AC3E}">
        <p14:creationId xmlns:p14="http://schemas.microsoft.com/office/powerpoint/2010/main" val="18214336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82B4F5-F3C5-8EBB-8703-077103A6C1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DFD27F-F908-F53F-49CB-00889222A701}"/>
              </a:ext>
            </a:extLst>
          </p:cNvPr>
          <p:cNvSpPr>
            <a:spLocks noGrp="1" noRot="1" noChangeAspect="1"/>
          </p:cNvSpPr>
          <p:nvPr>
            <p:ph type="sldImg"/>
          </p:nvPr>
        </p:nvSpPr>
        <p:spPr>
          <a:xfrm>
            <a:off x="87313" y="746125"/>
            <a:ext cx="6615112" cy="3722688"/>
          </a:xfrm>
        </p:spPr>
      </p:sp>
      <p:sp>
        <p:nvSpPr>
          <p:cNvPr id="3" name="Notes Placeholder 2">
            <a:extLst>
              <a:ext uri="{FF2B5EF4-FFF2-40B4-BE49-F238E27FC236}">
                <a16:creationId xmlns:a16="http://schemas.microsoft.com/office/drawing/2014/main" id="{142EDCB7-0C84-4237-D551-FC99E5D546C8}"/>
              </a:ext>
            </a:extLst>
          </p:cNvPr>
          <p:cNvSpPr>
            <a:spLocks noGrp="1"/>
          </p:cNvSpPr>
          <p:nvPr>
            <p:ph type="body" idx="1"/>
          </p:nvPr>
        </p:nvSpPr>
        <p:spPr/>
        <p:txBody>
          <a:bodyPr/>
          <a:lstStyle/>
          <a:p>
            <a:pPr>
              <a:buNone/>
            </a:pPr>
            <a:r>
              <a:rPr lang="es-ES" b="1"/>
              <a:t>🔐 Seguridad: Tres productos clave</a:t>
            </a:r>
          </a:p>
          <a:p>
            <a:pPr>
              <a:buNone/>
            </a:pPr>
            <a:r>
              <a:rPr lang="es-ES" b="1"/>
              <a:t>1. Gestión de Accesos (Access Management)</a:t>
            </a:r>
          </a:p>
          <a:p>
            <a:pPr>
              <a:buNone/>
            </a:pPr>
            <a:r>
              <a:rPr lang="es-ES"/>
              <a:t>Capacidad para definir, asignar y gestionar derechos de acceso mediante modelos RBAC y ABAC:</a:t>
            </a:r>
          </a:p>
          <a:p>
            <a:pPr>
              <a:buFont typeface="Arial" panose="020B0604020202020204" pitchFamily="34" charset="0"/>
              <a:buChar char="•"/>
            </a:pPr>
            <a:r>
              <a:rPr lang="es-ES"/>
              <a:t>Asignación dinámica de permisos según rol, función o atributos (hora, ubicación, sensibilidad del dato...).</a:t>
            </a:r>
          </a:p>
          <a:p>
            <a:pPr>
              <a:buFont typeface="Arial" panose="020B0604020202020204" pitchFamily="34" charset="0"/>
              <a:buChar char="•"/>
            </a:pPr>
            <a:r>
              <a:rPr lang="es-ES"/>
              <a:t>Interoperabilidad con herramientas de identidad y single </a:t>
            </a:r>
            <a:r>
              <a:rPr lang="es-ES" err="1"/>
              <a:t>sign-on</a:t>
            </a:r>
            <a:r>
              <a:rPr lang="es-ES"/>
              <a:t> (SSO).</a:t>
            </a:r>
          </a:p>
          <a:p>
            <a:pPr>
              <a:buFont typeface="Arial" panose="020B0604020202020204" pitchFamily="34" charset="0"/>
              <a:buChar char="•"/>
            </a:pPr>
            <a:r>
              <a:rPr lang="es-ES"/>
              <a:t>Trazabilidad de accesos y decisiones de autorización.</a:t>
            </a:r>
          </a:p>
          <a:p>
            <a:pPr>
              <a:buNone/>
            </a:pPr>
            <a:r>
              <a:rPr lang="es-ES"/>
              <a:t>🎯 </a:t>
            </a:r>
            <a:r>
              <a:rPr lang="es-ES" b="1"/>
              <a:t>Objetivo:</a:t>
            </a:r>
            <a:r>
              <a:rPr lang="es-ES"/>
              <a:t> Garantizar el acceso correcto al dato correcto por el perfil correcto, minimizando el riesgo operativo y habilitando el autoservicio seguro.</a:t>
            </a:r>
          </a:p>
          <a:p>
            <a:pPr>
              <a:buNone/>
            </a:pPr>
            <a:r>
              <a:rPr lang="es-ES" b="1"/>
              <a:t>2. Controles de Uso y Consumo (</a:t>
            </a:r>
            <a:r>
              <a:rPr lang="es-ES" b="1" err="1"/>
              <a:t>Consumption</a:t>
            </a:r>
            <a:r>
              <a:rPr lang="es-ES" b="1"/>
              <a:t> &amp; </a:t>
            </a:r>
            <a:r>
              <a:rPr lang="es-ES" b="1" err="1"/>
              <a:t>Usage</a:t>
            </a:r>
            <a:r>
              <a:rPr lang="es-ES" b="1"/>
              <a:t> </a:t>
            </a:r>
            <a:r>
              <a:rPr lang="es-ES" b="1" err="1"/>
              <a:t>Controls</a:t>
            </a:r>
            <a:r>
              <a:rPr lang="es-ES" b="1"/>
              <a:t>)</a:t>
            </a:r>
          </a:p>
          <a:p>
            <a:pPr>
              <a:buNone/>
            </a:pPr>
            <a:r>
              <a:rPr lang="es-ES"/>
              <a:t>Supervisión y restricción del uso de datos y herramientas:</a:t>
            </a:r>
          </a:p>
          <a:p>
            <a:pPr>
              <a:buFont typeface="Arial" panose="020B0604020202020204" pitchFamily="34" charset="0"/>
              <a:buChar char="•"/>
            </a:pPr>
            <a:r>
              <a:rPr lang="es-ES"/>
              <a:t>Políticas sobre lectura, modificación, exportación, combinación o persistencia de datos.</a:t>
            </a:r>
          </a:p>
          <a:p>
            <a:pPr>
              <a:buFont typeface="Arial" panose="020B0604020202020204" pitchFamily="34" charset="0"/>
              <a:buChar char="•"/>
            </a:pPr>
            <a:r>
              <a:rPr lang="es-ES"/>
              <a:t>Límites de frecuencia o volumen de consumo (</a:t>
            </a:r>
            <a:r>
              <a:rPr lang="es-ES" err="1"/>
              <a:t>rate</a:t>
            </a:r>
            <a:r>
              <a:rPr lang="es-ES"/>
              <a:t> </a:t>
            </a:r>
            <a:r>
              <a:rPr lang="es-ES" err="1"/>
              <a:t>limiting</a:t>
            </a:r>
            <a:r>
              <a:rPr lang="es-ES"/>
              <a:t>, </a:t>
            </a:r>
            <a:r>
              <a:rPr lang="es-ES" err="1"/>
              <a:t>quota</a:t>
            </a:r>
            <a:r>
              <a:rPr lang="es-ES"/>
              <a:t>, etc.).</a:t>
            </a:r>
          </a:p>
          <a:p>
            <a:pPr>
              <a:buFont typeface="Arial" panose="020B0604020202020204" pitchFamily="34" charset="0"/>
              <a:buChar char="•"/>
            </a:pPr>
            <a:r>
              <a:rPr lang="es-ES"/>
              <a:t>Auditoría de eventos y comportamiento inusual (ej. consultas masivas o fuera de horario).</a:t>
            </a:r>
          </a:p>
          <a:p>
            <a:pPr>
              <a:buNone/>
            </a:pPr>
            <a:r>
              <a:rPr lang="es-ES"/>
              <a:t>🎯 </a:t>
            </a:r>
            <a:r>
              <a:rPr lang="es-ES" b="1"/>
              <a:t>Objetivo:</a:t>
            </a:r>
            <a:r>
              <a:rPr lang="es-ES"/>
              <a:t> Asegurar un uso responsable y eficiente del dato sin fricciones para los usuarios.</a:t>
            </a:r>
          </a:p>
          <a:p>
            <a:pPr>
              <a:buNone/>
            </a:pPr>
            <a:r>
              <a:rPr lang="es-ES" b="1"/>
              <a:t>3. Apoyo al Cumplimiento Normativo (</a:t>
            </a:r>
            <a:r>
              <a:rPr lang="es-ES" b="1" err="1"/>
              <a:t>Compliance</a:t>
            </a:r>
            <a:r>
              <a:rPr lang="es-ES" b="1"/>
              <a:t> </a:t>
            </a:r>
            <a:r>
              <a:rPr lang="es-ES" b="1" err="1"/>
              <a:t>Support</a:t>
            </a:r>
            <a:r>
              <a:rPr lang="es-ES" b="1"/>
              <a:t>)</a:t>
            </a:r>
          </a:p>
          <a:p>
            <a:pPr>
              <a:buNone/>
            </a:pPr>
            <a:r>
              <a:rPr lang="es-ES"/>
              <a:t>Automatización de requisitos regulatorios sin comprometer la agilidad:</a:t>
            </a:r>
          </a:p>
          <a:p>
            <a:pPr>
              <a:buFont typeface="Arial" panose="020B0604020202020204" pitchFamily="34" charset="0"/>
              <a:buChar char="•"/>
            </a:pPr>
            <a:r>
              <a:rPr lang="es-ES"/>
              <a:t>Eliminación programada o </a:t>
            </a:r>
            <a:r>
              <a:rPr lang="es-ES" err="1"/>
              <a:t>anonimización</a:t>
            </a:r>
            <a:r>
              <a:rPr lang="es-ES"/>
              <a:t> de datos personales (ej. RGPD, CCPA).</a:t>
            </a:r>
          </a:p>
          <a:p>
            <a:pPr>
              <a:buFont typeface="Arial" panose="020B0604020202020204" pitchFamily="34" charset="0"/>
              <a:buChar char="•"/>
            </a:pPr>
            <a:r>
              <a:rPr lang="es-ES"/>
              <a:t>Registro y justificación del ciclo de vida del dato (data </a:t>
            </a:r>
            <a:r>
              <a:rPr lang="es-ES" err="1"/>
              <a:t>retention</a:t>
            </a:r>
            <a:r>
              <a:rPr lang="es-ES"/>
              <a:t> </a:t>
            </a:r>
            <a:r>
              <a:rPr lang="es-ES" err="1"/>
              <a:t>policies</a:t>
            </a:r>
            <a:r>
              <a:rPr lang="es-ES"/>
              <a:t>).</a:t>
            </a:r>
          </a:p>
          <a:p>
            <a:pPr>
              <a:buFont typeface="Arial" panose="020B0604020202020204" pitchFamily="34" charset="0"/>
              <a:buChar char="•"/>
            </a:pPr>
            <a:r>
              <a:rPr lang="es-ES"/>
              <a:t>Evidencias de acceso, tratamiento y eliminación ante auditorías.</a:t>
            </a:r>
          </a:p>
          <a:p>
            <a:r>
              <a:rPr lang="es-ES"/>
              <a:t>🎯 </a:t>
            </a:r>
            <a:r>
              <a:rPr lang="es-ES" b="1"/>
              <a:t>Objetivo:</a:t>
            </a:r>
            <a:r>
              <a:rPr lang="es-ES"/>
              <a:t> Facilitar el cumplimiento normativo desde la arquitectura, con bajo impacto operativo.</a:t>
            </a:r>
          </a:p>
          <a:p>
            <a:endParaRPr lang="es-ES_tradnl"/>
          </a:p>
        </p:txBody>
      </p:sp>
      <p:sp>
        <p:nvSpPr>
          <p:cNvPr id="4" name="Slide Number Placeholder 3">
            <a:extLst>
              <a:ext uri="{FF2B5EF4-FFF2-40B4-BE49-F238E27FC236}">
                <a16:creationId xmlns:a16="http://schemas.microsoft.com/office/drawing/2014/main" id="{D8D8FCFB-FB7F-9191-5ABE-44DFDD6205EA}"/>
              </a:ext>
            </a:extLst>
          </p:cNvPr>
          <p:cNvSpPr>
            <a:spLocks noGrp="1"/>
          </p:cNvSpPr>
          <p:nvPr>
            <p:ph type="sldNum" sz="quarter" idx="10"/>
          </p:nvPr>
        </p:nvSpPr>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294088FB-87AA-43E5-ABD7-0C0309A0A45B}" type="slidenum">
              <a:rPr kumimoji="0" lang="en-US" sz="1800" b="0" i="0" u="none" strike="noStrike" kern="0" cap="none" spc="0" normalizeH="0" baseline="0" noProof="0" smtClean="0">
                <a:ln>
                  <a:noFill/>
                </a:ln>
                <a:solidFill>
                  <a:srgbClr val="000000"/>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52</a:t>
            </a:fld>
            <a:endParaRPr kumimoji="0" lang="en-US" sz="1800" b="0" i="0" u="none" strike="noStrike" kern="0" cap="none" spc="0" normalizeH="0" baseline="0" noProof="0">
              <a:ln>
                <a:noFill/>
              </a:ln>
              <a:solidFill>
                <a:srgbClr val="000000"/>
              </a:solidFill>
              <a:effectLst/>
              <a:uLnTx/>
              <a:uFillTx/>
              <a:latin typeface="Calibri"/>
              <a:cs typeface="Calibri"/>
              <a:sym typeface="Calibri"/>
            </a:endParaRPr>
          </a:p>
        </p:txBody>
      </p:sp>
    </p:spTree>
    <p:extLst>
      <p:ext uri="{BB962C8B-B14F-4D97-AF65-F5344CB8AC3E}">
        <p14:creationId xmlns:p14="http://schemas.microsoft.com/office/powerpoint/2010/main" val="7973126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C5FBF3-E787-321D-0858-CA27A24BF92F}"/>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4451EF3F-C839-8D33-C9EF-E815FC994013}"/>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6A19CC2B-A444-6584-4895-DC4F5E04B6E8}"/>
              </a:ext>
            </a:extLst>
          </p:cNvPr>
          <p:cNvSpPr>
            <a:spLocks noGrp="1"/>
          </p:cNvSpPr>
          <p:nvPr>
            <p:ph type="body" idx="1"/>
          </p:nvPr>
        </p:nvSpPr>
        <p:spPr/>
        <p:txBody>
          <a:bodyPr/>
          <a:lstStyle/>
          <a:p>
            <a:endParaRPr lang="en-GB"/>
          </a:p>
        </p:txBody>
      </p:sp>
      <p:sp>
        <p:nvSpPr>
          <p:cNvPr id="4" name="Marcador de número de diapositiva 3">
            <a:extLst>
              <a:ext uri="{FF2B5EF4-FFF2-40B4-BE49-F238E27FC236}">
                <a16:creationId xmlns:a16="http://schemas.microsoft.com/office/drawing/2014/main" id="{AD62F1D1-484C-8DBB-C201-A2AC58ECED2C}"/>
              </a:ext>
            </a:extLst>
          </p:cNvPr>
          <p:cNvSpPr>
            <a:spLocks noGrp="1"/>
          </p:cNvSpPr>
          <p:nvPr>
            <p:ph type="sldNum" sz="quarter" idx="5"/>
          </p:nvPr>
        </p:nvSpPr>
        <p:spPr/>
        <p:txBody>
          <a:bodyPr/>
          <a:lstStyle/>
          <a:p>
            <a:fld id="{08EFAA48-0AD5-4BCB-8C10-3E1E098ED445}" type="slidenum">
              <a:rPr lang="es-ES" smtClean="0"/>
              <a:pPr/>
              <a:t>4</a:t>
            </a:fld>
            <a:endParaRPr lang="es-ES"/>
          </a:p>
        </p:txBody>
      </p:sp>
    </p:spTree>
    <p:extLst>
      <p:ext uri="{BB962C8B-B14F-4D97-AF65-F5344CB8AC3E}">
        <p14:creationId xmlns:p14="http://schemas.microsoft.com/office/powerpoint/2010/main" val="232039184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defTabSz="609630" fontAlgn="base" hangingPunct="0">
              <a:lnSpc>
                <a:spcPts val="1267"/>
              </a:lnSpc>
            </a:pPr>
            <a:r>
              <a:rPr lang="en-GB" sz="1200" kern="0" noProof="0">
                <a:latin typeface="Quattrocento Sans" panose="020B0502050000020003" pitchFamily="34" charset="0"/>
                <a:cs typeface="Calibri"/>
              </a:rPr>
              <a:t>Primero algo </a:t>
            </a:r>
            <a:r>
              <a:rPr lang="en-GB" sz="1200" kern="0" noProof="0" err="1">
                <a:latin typeface="Quattrocento Sans" panose="020B0502050000020003" pitchFamily="34" charset="0"/>
                <a:cs typeface="Calibri"/>
              </a:rPr>
              <a:t>pequeño</a:t>
            </a:r>
            <a:r>
              <a:rPr lang="en-GB" sz="1200" kern="0" noProof="0">
                <a:latin typeface="Quattrocento Sans" panose="020B0502050000020003" pitchFamily="34" charset="0"/>
                <a:cs typeface="Calibri"/>
              </a:rPr>
              <a:t> </a:t>
            </a:r>
            <a:r>
              <a:rPr lang="en-GB" sz="1200" kern="0" noProof="0" err="1">
                <a:latin typeface="Quattrocento Sans" panose="020B0502050000020003" pitchFamily="34" charset="0"/>
                <a:cs typeface="Calibri"/>
              </a:rPr>
              <a:t>tipo</a:t>
            </a:r>
            <a:r>
              <a:rPr lang="en-GB" sz="1200" kern="0" noProof="0">
                <a:latin typeface="Quattrocento Sans" panose="020B0502050000020003" pitchFamily="34" charset="0"/>
                <a:cs typeface="Calibri"/>
              </a:rPr>
              <a:t> Pilot, luego </a:t>
            </a:r>
            <a:r>
              <a:rPr lang="en-GB" sz="1200" kern="0" noProof="0" err="1">
                <a:latin typeface="Quattrocento Sans" panose="020B0502050000020003" pitchFamily="34" charset="0"/>
                <a:cs typeface="Calibri"/>
              </a:rPr>
              <a:t>escalarlo</a:t>
            </a:r>
            <a:endParaRPr lang="en-GB" sz="1200" kern="0" noProof="0">
              <a:latin typeface="Quattrocento Sans" panose="020B0502050000020003" pitchFamily="34" charset="0"/>
              <a:cs typeface="Calibri"/>
            </a:endParaRPr>
          </a:p>
          <a:p>
            <a:pPr marL="285750" indent="-285750" algn="just" defTabSz="609630" fontAlgn="base" hangingPunct="0">
              <a:lnSpc>
                <a:spcPts val="1267"/>
              </a:lnSpc>
              <a:buFontTx/>
              <a:buChar char="-"/>
            </a:pPr>
            <a:r>
              <a:rPr lang="en-GB" sz="1200" kern="0" err="1">
                <a:latin typeface="Quattrocento Sans" panose="020B0502050000020003" pitchFamily="34" charset="0"/>
                <a:cs typeface="Calibri"/>
              </a:rPr>
              <a:t>ejemplo</a:t>
            </a:r>
            <a:r>
              <a:rPr lang="en-GB" sz="1200" kern="0">
                <a:latin typeface="Quattrocento Sans" panose="020B0502050000020003" pitchFamily="34" charset="0"/>
                <a:cs typeface="Calibri"/>
              </a:rPr>
              <a:t>: 1 Sistema y un </a:t>
            </a:r>
            <a:r>
              <a:rPr lang="en-GB" sz="1200" kern="0" err="1">
                <a:latin typeface="Quattrocento Sans" panose="020B0502050000020003" pitchFamily="34" charset="0"/>
                <a:cs typeface="Calibri"/>
              </a:rPr>
              <a:t>área</a:t>
            </a:r>
            <a:r>
              <a:rPr lang="en-GB" sz="1200" kern="0">
                <a:latin typeface="Quattrocento Sans" panose="020B0502050000020003" pitchFamily="34" charset="0"/>
                <a:cs typeface="Calibri"/>
              </a:rPr>
              <a:t> functional y </a:t>
            </a:r>
            <a:r>
              <a:rPr lang="en-GB" sz="1200" kern="0" err="1">
                <a:latin typeface="Quattrocento Sans" panose="020B0502050000020003" pitchFamily="34" charset="0"/>
                <a:cs typeface="Calibri"/>
              </a:rPr>
              <a:t>pocos</a:t>
            </a:r>
            <a:r>
              <a:rPr lang="en-GB" sz="1200" kern="0">
                <a:latin typeface="Quattrocento Sans" panose="020B0502050000020003" pitchFamily="34" charset="0"/>
                <a:cs typeface="Calibri"/>
              </a:rPr>
              <a:t> </a:t>
            </a:r>
            <a:r>
              <a:rPr lang="en-GB" sz="1200" kern="0" err="1">
                <a:latin typeface="Quattrocento Sans" panose="020B0502050000020003" pitchFamily="34" charset="0"/>
                <a:cs typeface="Calibri"/>
              </a:rPr>
              <a:t>usuarios</a:t>
            </a:r>
            <a:endParaRPr lang="en-GB" sz="1200" kern="0">
              <a:latin typeface="Quattrocento Sans" panose="020B0502050000020003" pitchFamily="34" charset="0"/>
              <a:cs typeface="Calibri"/>
            </a:endParaRPr>
          </a:p>
          <a:p>
            <a:pPr algn="just" defTabSz="609630" fontAlgn="base" hangingPunct="0">
              <a:lnSpc>
                <a:spcPts val="1267"/>
              </a:lnSpc>
            </a:pPr>
            <a:endParaRPr lang="en-GB" sz="1200" kern="0" noProof="0">
              <a:latin typeface="Quattrocento Sans" panose="020B0502050000020003" pitchFamily="34" charset="0"/>
              <a:cs typeface="Calibri"/>
            </a:endParaRPr>
          </a:p>
          <a:p>
            <a:pPr algn="just" defTabSz="609630" fontAlgn="base" hangingPunct="0">
              <a:lnSpc>
                <a:spcPts val="1267"/>
              </a:lnSpc>
            </a:pPr>
            <a:r>
              <a:rPr lang="en-GB" sz="1200" kern="0" err="1">
                <a:latin typeface="Quattrocento Sans" panose="020B0502050000020003" pitchFamily="34" charset="0"/>
                <a:cs typeface="Calibri"/>
              </a:rPr>
              <a:t>Ejecución</a:t>
            </a:r>
            <a:r>
              <a:rPr lang="en-GB" sz="1200" kern="0">
                <a:latin typeface="Quattrocento Sans" panose="020B0502050000020003" pitchFamily="34" charset="0"/>
                <a:cs typeface="Calibri"/>
              </a:rPr>
              <a:t> </a:t>
            </a:r>
            <a:r>
              <a:rPr lang="en-GB" sz="1200" kern="0" err="1">
                <a:latin typeface="Quattrocento Sans" panose="020B0502050000020003" pitchFamily="34" charset="0"/>
                <a:cs typeface="Calibri"/>
              </a:rPr>
              <a:t>tipo</a:t>
            </a:r>
            <a:r>
              <a:rPr lang="en-GB" sz="1200" kern="0">
                <a:latin typeface="Quattrocento Sans" panose="020B0502050000020003" pitchFamily="34" charset="0"/>
                <a:cs typeface="Calibri"/>
              </a:rPr>
              <a:t> </a:t>
            </a:r>
            <a:r>
              <a:rPr lang="en-GB" sz="1200" kern="0" err="1">
                <a:latin typeface="Quattrocento Sans" panose="020B0502050000020003" pitchFamily="34" charset="0"/>
                <a:cs typeface="Calibri"/>
              </a:rPr>
              <a:t>QuickWins</a:t>
            </a:r>
            <a:endParaRPr lang="en-GB" sz="1200" kern="0">
              <a:latin typeface="Quattrocento Sans" panose="020B0502050000020003" pitchFamily="34" charset="0"/>
              <a:cs typeface="Calibri"/>
            </a:endParaRPr>
          </a:p>
          <a:p>
            <a:pPr marL="285750" indent="-285750" algn="just" defTabSz="609630" fontAlgn="base" hangingPunct="0">
              <a:lnSpc>
                <a:spcPts val="1267"/>
              </a:lnSpc>
              <a:buFontTx/>
              <a:buChar char="-"/>
            </a:pPr>
            <a:r>
              <a:rPr lang="en-GB" sz="1200" kern="0" noProof="0">
                <a:latin typeface="Quattrocento Sans" panose="020B0502050000020003" pitchFamily="34" charset="0"/>
                <a:cs typeface="Calibri"/>
              </a:rPr>
              <a:t>Se </a:t>
            </a:r>
            <a:r>
              <a:rPr lang="en-GB" sz="1200" kern="0" noProof="0" err="1">
                <a:latin typeface="Quattrocento Sans" panose="020B0502050000020003" pitchFamily="34" charset="0"/>
                <a:cs typeface="Calibri"/>
              </a:rPr>
              <a:t>valora</a:t>
            </a:r>
            <a:r>
              <a:rPr lang="en-GB" sz="1200" kern="0" noProof="0">
                <a:latin typeface="Quattrocento Sans" panose="020B0502050000020003" pitchFamily="34" charset="0"/>
                <a:cs typeface="Calibri"/>
              </a:rPr>
              <a:t> </a:t>
            </a:r>
            <a:r>
              <a:rPr lang="en-GB" sz="1200" kern="0" noProof="0" err="1">
                <a:latin typeface="Quattrocento Sans" panose="020B0502050000020003" pitchFamily="34" charset="0"/>
                <a:cs typeface="Calibri"/>
              </a:rPr>
              <a:t>el</a:t>
            </a:r>
            <a:r>
              <a:rPr lang="en-GB" sz="1200" kern="0" noProof="0">
                <a:latin typeface="Quattrocento Sans" panose="020B0502050000020003" pitchFamily="34" charset="0"/>
                <a:cs typeface="Calibri"/>
              </a:rPr>
              <a:t> quick win</a:t>
            </a:r>
          </a:p>
          <a:p>
            <a:pPr marL="285750" indent="-285750" algn="just" defTabSz="609630" fontAlgn="base" hangingPunct="0">
              <a:lnSpc>
                <a:spcPts val="1267"/>
              </a:lnSpc>
              <a:buFontTx/>
              <a:buChar char="-"/>
            </a:pPr>
            <a:r>
              <a:rPr lang="en-GB" sz="1200" kern="0" err="1">
                <a:latin typeface="Quattrocento Sans" panose="020B0502050000020003" pitchFamily="34" charset="0"/>
                <a:cs typeface="Calibri"/>
              </a:rPr>
              <a:t>Qué</a:t>
            </a:r>
            <a:r>
              <a:rPr lang="en-GB" sz="1200" kern="0">
                <a:latin typeface="Quattrocento Sans" panose="020B0502050000020003" pitchFamily="34" charset="0"/>
                <a:cs typeface="Calibri"/>
              </a:rPr>
              <a:t> es </a:t>
            </a:r>
            <a:r>
              <a:rPr lang="en-GB" sz="1200" kern="0" err="1">
                <a:latin typeface="Quattrocento Sans" panose="020B0502050000020003" pitchFamily="34" charset="0"/>
                <a:cs typeface="Calibri"/>
              </a:rPr>
              <a:t>el</a:t>
            </a:r>
            <a:r>
              <a:rPr lang="en-GB" sz="1200" kern="0">
                <a:latin typeface="Quattrocento Sans" panose="020B0502050000020003" pitchFamily="34" charset="0"/>
                <a:cs typeface="Calibri"/>
              </a:rPr>
              <a:t> quick win (1 area functional, 1 Sistema)</a:t>
            </a:r>
            <a:endParaRPr lang="en-GB" sz="1200" kern="0" noProof="0">
              <a:latin typeface="Quattrocento Sans" panose="020B0502050000020003" pitchFamily="34" charset="0"/>
              <a:cs typeface="Calibri"/>
            </a:endParaRPr>
          </a:p>
          <a:p>
            <a:endParaRPr lang="en-GB"/>
          </a:p>
        </p:txBody>
      </p:sp>
      <p:sp>
        <p:nvSpPr>
          <p:cNvPr id="4" name="Marcador de número de diapositiva 3"/>
          <p:cNvSpPr>
            <a:spLocks noGrp="1"/>
          </p:cNvSpPr>
          <p:nvPr>
            <p:ph type="sldNum" sz="quarter" idx="5"/>
          </p:nvPr>
        </p:nvSpPr>
        <p:spPr/>
        <p:txBody>
          <a:bodyPr/>
          <a:lstStyle/>
          <a:p>
            <a:fld id="{08EFAA48-0AD5-4BCB-8C10-3E1E098ED445}" type="slidenum">
              <a:rPr lang="es-ES" smtClean="0"/>
              <a:pPr/>
              <a:t>53</a:t>
            </a:fld>
            <a:endParaRPr lang="es-ES"/>
          </a:p>
        </p:txBody>
      </p:sp>
    </p:spTree>
    <p:extLst>
      <p:ext uri="{BB962C8B-B14F-4D97-AF65-F5344CB8AC3E}">
        <p14:creationId xmlns:p14="http://schemas.microsoft.com/office/powerpoint/2010/main" val="200821445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7313" y="746125"/>
            <a:ext cx="6615112" cy="3722688"/>
          </a:xfrm>
        </p:spPr>
      </p:sp>
      <p:sp>
        <p:nvSpPr>
          <p:cNvPr id="3" name="Notes Placeholder 2"/>
          <p:cNvSpPr>
            <a:spLocks noGrp="1"/>
          </p:cNvSpPr>
          <p:nvPr>
            <p:ph type="body" idx="1"/>
          </p:nvPr>
        </p:nvSpPr>
        <p:spPr/>
        <p:txBody>
          <a:bodyPr/>
          <a:lstStyle/>
          <a:p>
            <a:endParaRPr lang="es-ES_tradnl"/>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294088FB-87AA-43E5-ABD7-0C0309A0A45B}" type="slidenum">
              <a:rPr kumimoji="0" lang="en-US" sz="1800" b="0" i="0" u="none" strike="noStrike" kern="0" cap="none" spc="0" normalizeH="0" baseline="0" noProof="0" smtClean="0">
                <a:ln>
                  <a:noFill/>
                </a:ln>
                <a:solidFill>
                  <a:srgbClr val="000000"/>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55</a:t>
            </a:fld>
            <a:endParaRPr kumimoji="0" lang="en-US" sz="1800" b="0" i="0" u="none" strike="noStrike" kern="0" cap="none" spc="0" normalizeH="0" baseline="0" noProof="0">
              <a:ln>
                <a:noFill/>
              </a:ln>
              <a:solidFill>
                <a:srgbClr val="000000"/>
              </a:solidFill>
              <a:effectLst/>
              <a:uLnTx/>
              <a:uFillTx/>
              <a:latin typeface="Calibri"/>
              <a:cs typeface="Calibri"/>
              <a:sym typeface="Calibri"/>
            </a:endParaRPr>
          </a:p>
        </p:txBody>
      </p:sp>
    </p:spTree>
    <p:extLst>
      <p:ext uri="{BB962C8B-B14F-4D97-AF65-F5344CB8AC3E}">
        <p14:creationId xmlns:p14="http://schemas.microsoft.com/office/powerpoint/2010/main" val="414995587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b="1" err="1"/>
              <a:t>ea</a:t>
            </a:r>
            <a:r>
              <a:rPr lang="es-ES" b="1"/>
              <a:t> &amp; </a:t>
            </a:r>
            <a:r>
              <a:rPr lang="es-ES" b="1" err="1"/>
              <a:t>ToniMódulos</a:t>
            </a:r>
            <a:r>
              <a:rPr lang="es-ES" b="1"/>
              <a:t> 3.1 &amp; 3.2</a:t>
            </a:r>
            <a:r>
              <a:rPr lang="es-ES"/>
              <a:t> (tabla ya creada).</a:t>
            </a:r>
            <a:br>
              <a:rPr lang="es-ES"/>
            </a:br>
            <a:r>
              <a:rPr lang="es-ES"/>
              <a:t>- Añade “PILOTO 4-6 semanas” en Quick </a:t>
            </a:r>
            <a:r>
              <a:rPr lang="es-ES" err="1"/>
              <a:t>Proof</a:t>
            </a:r>
            <a:r>
              <a:rPr lang="es-ES"/>
              <a:t>.</a:t>
            </a:r>
            <a:endParaRPr lang="en-GB"/>
          </a:p>
        </p:txBody>
      </p:sp>
      <p:sp>
        <p:nvSpPr>
          <p:cNvPr id="4" name="Marcador de número de diapositiva 3"/>
          <p:cNvSpPr>
            <a:spLocks noGrp="1"/>
          </p:cNvSpPr>
          <p:nvPr>
            <p:ph type="sldNum" sz="quarter" idx="5"/>
          </p:nvPr>
        </p:nvSpPr>
        <p:spPr/>
        <p:txBody>
          <a:bodyPr/>
          <a:lstStyle/>
          <a:p>
            <a:fld id="{08EFAA48-0AD5-4BCB-8C10-3E1E098ED445}" type="slidenum">
              <a:rPr lang="es-ES" smtClean="0"/>
              <a:pPr/>
              <a:t>57</a:t>
            </a:fld>
            <a:endParaRPr lang="es-ES"/>
          </a:p>
        </p:txBody>
      </p:sp>
    </p:spTree>
    <p:extLst>
      <p:ext uri="{BB962C8B-B14F-4D97-AF65-F5344CB8AC3E}">
        <p14:creationId xmlns:p14="http://schemas.microsoft.com/office/powerpoint/2010/main" val="333338097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GB" b="1" err="1"/>
              <a:t>JuanDashboard</a:t>
            </a:r>
            <a:r>
              <a:rPr lang="en-GB" b="1"/>
              <a:t> de </a:t>
            </a:r>
            <a:r>
              <a:rPr lang="en-GB" b="1" err="1"/>
              <a:t>Seguridad</a:t>
            </a:r>
            <a:r>
              <a:rPr lang="en-GB" b="1"/>
              <a:t> (Iberdrola)</a:t>
            </a:r>
            <a:br>
              <a:rPr lang="en-GB"/>
            </a:br>
            <a:r>
              <a:rPr lang="en-GB"/>
              <a:t>- 1 </a:t>
            </a:r>
            <a:r>
              <a:rPr lang="en-GB" err="1"/>
              <a:t>captura</a:t>
            </a:r>
            <a:r>
              <a:rPr lang="en-GB"/>
              <a:t> real + 3 insights que </a:t>
            </a:r>
            <a:r>
              <a:rPr lang="en-GB" err="1"/>
              <a:t>resuelven</a:t>
            </a:r>
            <a:r>
              <a:rPr lang="en-GB"/>
              <a:t> (users sin </a:t>
            </a:r>
            <a:r>
              <a:rPr lang="en-GB" err="1"/>
              <a:t>rol</a:t>
            </a:r>
            <a:r>
              <a:rPr lang="en-GB"/>
              <a:t>, roles </a:t>
            </a:r>
            <a:r>
              <a:rPr lang="en-GB" err="1"/>
              <a:t>huérfanos</a:t>
            </a:r>
            <a:r>
              <a:rPr lang="en-GB"/>
              <a:t>, </a:t>
            </a:r>
            <a:r>
              <a:rPr lang="en-GB" err="1"/>
              <a:t>SoD</a:t>
            </a:r>
            <a:r>
              <a:rPr lang="en-GB"/>
              <a:t>).▸ </a:t>
            </a:r>
            <a:r>
              <a:rPr lang="en-GB" err="1"/>
              <a:t>Extrae</a:t>
            </a:r>
            <a:r>
              <a:rPr lang="en-GB"/>
              <a:t> </a:t>
            </a:r>
            <a:r>
              <a:rPr lang="en-GB" err="1"/>
              <a:t>pantallazo</a:t>
            </a:r>
            <a:r>
              <a:rPr lang="en-GB"/>
              <a:t> </a:t>
            </a:r>
            <a:r>
              <a:rPr lang="en-GB" err="1"/>
              <a:t>alta</a:t>
            </a:r>
            <a:r>
              <a:rPr lang="en-GB"/>
              <a:t> res del </a:t>
            </a:r>
            <a:r>
              <a:rPr lang="en-GB" err="1"/>
              <a:t>modelo</a:t>
            </a:r>
            <a:r>
              <a:rPr lang="en-GB"/>
              <a:t> Iberdrola.</a:t>
            </a:r>
          </a:p>
        </p:txBody>
      </p:sp>
      <p:sp>
        <p:nvSpPr>
          <p:cNvPr id="4" name="Marcador de número de diapositiva 3"/>
          <p:cNvSpPr>
            <a:spLocks noGrp="1"/>
          </p:cNvSpPr>
          <p:nvPr>
            <p:ph type="sldNum" sz="quarter" idx="5"/>
          </p:nvPr>
        </p:nvSpPr>
        <p:spPr/>
        <p:txBody>
          <a:bodyPr/>
          <a:lstStyle/>
          <a:p>
            <a:fld id="{08EFAA48-0AD5-4BCB-8C10-3E1E098ED445}" type="slidenum">
              <a:rPr lang="es-ES" smtClean="0"/>
              <a:pPr/>
              <a:t>58</a:t>
            </a:fld>
            <a:endParaRPr lang="es-ES"/>
          </a:p>
        </p:txBody>
      </p:sp>
    </p:spTree>
    <p:extLst>
      <p:ext uri="{BB962C8B-B14F-4D97-AF65-F5344CB8AC3E}">
        <p14:creationId xmlns:p14="http://schemas.microsoft.com/office/powerpoint/2010/main" val="201255849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GB" b="1"/>
              <a:t>Juan &amp; </a:t>
            </a:r>
            <a:r>
              <a:rPr lang="en-GB" b="1" err="1"/>
              <a:t>MiguelArquitectura</a:t>
            </a:r>
            <a:r>
              <a:rPr lang="en-GB" b="1"/>
              <a:t> de </a:t>
            </a:r>
            <a:r>
              <a:rPr lang="en-GB" b="1" err="1"/>
              <a:t>automatización</a:t>
            </a:r>
            <a:r>
              <a:rPr lang="en-GB" b="1"/>
              <a:t> de </a:t>
            </a:r>
            <a:r>
              <a:rPr lang="en-GB" b="1" err="1"/>
              <a:t>accesos</a:t>
            </a:r>
            <a:br>
              <a:rPr lang="en-GB"/>
            </a:br>
            <a:r>
              <a:rPr lang="en-GB"/>
              <a:t>- </a:t>
            </a:r>
            <a:r>
              <a:rPr lang="en-GB" err="1"/>
              <a:t>Diagrama</a:t>
            </a:r>
            <a:r>
              <a:rPr lang="en-GB"/>
              <a:t> simple: SAC (form) → BTP Workflow → API/CLI Datasphere (roles) → SAC refresh.</a:t>
            </a:r>
            <a:br>
              <a:rPr lang="en-GB"/>
            </a:br>
            <a:r>
              <a:rPr lang="en-GB"/>
              <a:t>- </a:t>
            </a:r>
            <a:r>
              <a:rPr lang="en-GB" err="1"/>
              <a:t>Componentes</a:t>
            </a:r>
            <a:r>
              <a:rPr lang="en-GB"/>
              <a:t>: Workflow Service, Destination, Kyma/API, CLI DS.</a:t>
            </a:r>
            <a:br>
              <a:rPr lang="en-GB"/>
            </a:br>
            <a:r>
              <a:rPr lang="en-GB"/>
              <a:t>- </a:t>
            </a:r>
            <a:r>
              <a:rPr lang="en-GB" err="1"/>
              <a:t>Incluye</a:t>
            </a:r>
            <a:r>
              <a:rPr lang="en-GB"/>
              <a:t> </a:t>
            </a:r>
            <a:r>
              <a:rPr lang="en-GB" err="1"/>
              <a:t>propuesta</a:t>
            </a:r>
            <a:r>
              <a:rPr lang="en-GB"/>
              <a:t> de “Pilot Access Flow” (</a:t>
            </a:r>
            <a:r>
              <a:rPr lang="en-GB" err="1"/>
              <a:t>ventas</a:t>
            </a:r>
            <a:r>
              <a:rPr lang="en-GB"/>
              <a:t>, 4-5 </a:t>
            </a:r>
            <a:r>
              <a:rPr lang="en-GB" err="1"/>
              <a:t>sem</a:t>
            </a:r>
            <a:r>
              <a:rPr lang="en-GB"/>
              <a:t>).▸ Habla con Tiago para </a:t>
            </a:r>
            <a:r>
              <a:rPr lang="en-GB" err="1"/>
              <a:t>validar</a:t>
            </a:r>
            <a:r>
              <a:rPr lang="en-GB"/>
              <a:t> </a:t>
            </a:r>
            <a:r>
              <a:rPr lang="en-GB" err="1"/>
              <a:t>piezas</a:t>
            </a:r>
            <a:r>
              <a:rPr lang="en-GB"/>
              <a:t> BTP.</a:t>
            </a:r>
          </a:p>
        </p:txBody>
      </p:sp>
      <p:sp>
        <p:nvSpPr>
          <p:cNvPr id="4" name="Marcador de número de diapositiva 3"/>
          <p:cNvSpPr>
            <a:spLocks noGrp="1"/>
          </p:cNvSpPr>
          <p:nvPr>
            <p:ph type="sldNum" sz="quarter" idx="5"/>
          </p:nvPr>
        </p:nvSpPr>
        <p:spPr/>
        <p:txBody>
          <a:bodyPr/>
          <a:lstStyle/>
          <a:p>
            <a:fld id="{08EFAA48-0AD5-4BCB-8C10-3E1E098ED445}" type="slidenum">
              <a:rPr lang="es-ES" smtClean="0"/>
              <a:pPr/>
              <a:t>59</a:t>
            </a:fld>
            <a:endParaRPr lang="es-ES"/>
          </a:p>
        </p:txBody>
      </p:sp>
    </p:spTree>
    <p:extLst>
      <p:ext uri="{BB962C8B-B14F-4D97-AF65-F5344CB8AC3E}">
        <p14:creationId xmlns:p14="http://schemas.microsoft.com/office/powerpoint/2010/main" val="290994364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b="1" err="1"/>
              <a:t>JuanTabla</a:t>
            </a:r>
            <a:r>
              <a:rPr lang="es-ES" b="1"/>
              <a:t> módulos 4 &amp; 5 (ya puesta)</a:t>
            </a:r>
            <a:br>
              <a:rPr lang="es-ES"/>
            </a:br>
            <a:r>
              <a:rPr lang="es-ES"/>
              <a:t>- Añadir rango “4-5 semanas – MVP” al POC de automatización.</a:t>
            </a:r>
            <a:br>
              <a:rPr lang="es-ES"/>
            </a:br>
            <a:r>
              <a:rPr lang="es-ES"/>
              <a:t>- </a:t>
            </a:r>
            <a:r>
              <a:rPr lang="es-ES" err="1"/>
              <a:t>Checklist</a:t>
            </a:r>
            <a:r>
              <a:rPr lang="es-ES"/>
              <a:t> de éxitos de UX (mismo KPI en SAC y </a:t>
            </a:r>
            <a:r>
              <a:rPr lang="es-ES" err="1"/>
              <a:t>Power</a:t>
            </a:r>
            <a:r>
              <a:rPr lang="es-ES"/>
              <a:t> BI).</a:t>
            </a:r>
            <a:endParaRPr lang="en-GB"/>
          </a:p>
        </p:txBody>
      </p:sp>
      <p:sp>
        <p:nvSpPr>
          <p:cNvPr id="4" name="Marcador de número de diapositiva 3"/>
          <p:cNvSpPr>
            <a:spLocks noGrp="1"/>
          </p:cNvSpPr>
          <p:nvPr>
            <p:ph type="sldNum" sz="quarter" idx="5"/>
          </p:nvPr>
        </p:nvSpPr>
        <p:spPr/>
        <p:txBody>
          <a:bodyPr/>
          <a:lstStyle/>
          <a:p>
            <a:fld id="{08EFAA48-0AD5-4BCB-8C10-3E1E098ED445}" type="slidenum">
              <a:rPr lang="es-ES" smtClean="0"/>
              <a:pPr/>
              <a:t>61</a:t>
            </a:fld>
            <a:endParaRPr lang="es-ES"/>
          </a:p>
        </p:txBody>
      </p:sp>
    </p:spTree>
    <p:extLst>
      <p:ext uri="{BB962C8B-B14F-4D97-AF65-F5344CB8AC3E}">
        <p14:creationId xmlns:p14="http://schemas.microsoft.com/office/powerpoint/2010/main" val="318400200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C61CED-D603-AC7C-EB1C-9FAF7DD69EFF}"/>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BB9B701B-A7F3-BD1D-B17D-59EC83568FF6}"/>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3C5DA22C-EE1B-85D6-374E-F80772CB71C6}"/>
              </a:ext>
            </a:extLst>
          </p:cNvPr>
          <p:cNvSpPr>
            <a:spLocks noGrp="1"/>
          </p:cNvSpPr>
          <p:nvPr>
            <p:ph type="body" idx="1"/>
          </p:nvPr>
        </p:nvSpPr>
        <p:spPr/>
        <p:txBody>
          <a:bodyPr>
            <a:normAutofit fontScale="77500" lnSpcReduction="20000"/>
          </a:bodyPr>
          <a:lstStyle/>
          <a:p>
            <a:r>
              <a:rPr lang="es-ES" b="1" err="1"/>
              <a:t>JuanTabla</a:t>
            </a:r>
            <a:r>
              <a:rPr lang="es-ES" b="1"/>
              <a:t> módulos 4 &amp; 5 (ya puesta)</a:t>
            </a:r>
            <a:br>
              <a:rPr lang="es-ES"/>
            </a:br>
            <a:r>
              <a:rPr lang="es-ES"/>
              <a:t>- Añadir rango “4-5 semanas – MVP” al POC de automatización.</a:t>
            </a:r>
            <a:br>
              <a:rPr lang="es-ES"/>
            </a:br>
            <a:r>
              <a:rPr lang="es-ES"/>
              <a:t>- </a:t>
            </a:r>
            <a:r>
              <a:rPr lang="es-ES" err="1"/>
              <a:t>Checklist</a:t>
            </a:r>
            <a:r>
              <a:rPr lang="es-ES"/>
              <a:t> de éxitos de UX (mismo KPI en SAC y </a:t>
            </a:r>
            <a:r>
              <a:rPr lang="es-ES" err="1"/>
              <a:t>Power</a:t>
            </a:r>
            <a:r>
              <a:rPr lang="es-ES"/>
              <a:t> BI).</a:t>
            </a:r>
          </a:p>
          <a:p>
            <a:endParaRPr lang="es-ES"/>
          </a:p>
          <a:p>
            <a:endParaRPr lang="es-ES"/>
          </a:p>
          <a:p>
            <a:endParaRPr lang="es-ES"/>
          </a:p>
          <a:p>
            <a:pPr>
              <a:buNone/>
            </a:pPr>
            <a:r>
              <a:rPr lang="es-ES" b="1"/>
              <a:t>✅ Coincidencias claras con buenas prácticas:</a:t>
            </a:r>
          </a:p>
          <a:p>
            <a:pPr>
              <a:buFont typeface="+mj-lt"/>
              <a:buAutoNum type="arabicPeriod"/>
            </a:pPr>
            <a:r>
              <a:rPr lang="es-ES" b="1" err="1"/>
              <a:t>Chatbot</a:t>
            </a:r>
            <a:r>
              <a:rPr lang="es-ES" b="1"/>
              <a:t> </a:t>
            </a:r>
            <a:r>
              <a:rPr lang="es-ES" b="1" err="1"/>
              <a:t>User</a:t>
            </a:r>
            <a:r>
              <a:rPr lang="es-ES" b="1"/>
              <a:t> </a:t>
            </a:r>
            <a:r>
              <a:rPr lang="es-ES" b="1" err="1"/>
              <a:t>Request</a:t>
            </a:r>
            <a:r>
              <a:rPr lang="es-ES" b="1"/>
              <a:t> (MS </a:t>
            </a:r>
            <a:r>
              <a:rPr lang="es-ES" b="1" err="1"/>
              <a:t>Teams</a:t>
            </a:r>
            <a:r>
              <a:rPr lang="es-ES" b="1"/>
              <a:t>)</a:t>
            </a:r>
            <a:endParaRPr lang="es-ES"/>
          </a:p>
          <a:p>
            <a:pPr marL="742950" lvl="1" indent="-285750">
              <a:buFont typeface="+mj-lt"/>
              <a:buAutoNum type="arabicPeriod"/>
            </a:pPr>
            <a:r>
              <a:rPr lang="es-ES"/>
              <a:t>✔️ Representa una buena entrada de solicitud, sobre todo si usas MS </a:t>
            </a:r>
            <a:r>
              <a:rPr lang="es-ES" err="1"/>
              <a:t>Teams</a:t>
            </a:r>
            <a:r>
              <a:rPr lang="es-ES"/>
              <a:t> integrado con SAP CAI (</a:t>
            </a:r>
            <a:r>
              <a:rPr lang="es-ES" err="1"/>
              <a:t>Conversational</a:t>
            </a:r>
            <a:r>
              <a:rPr lang="es-ES"/>
              <a:t> AI) o SAP </a:t>
            </a:r>
            <a:r>
              <a:rPr lang="es-ES" err="1"/>
              <a:t>Build</a:t>
            </a:r>
            <a:r>
              <a:rPr lang="es-ES"/>
              <a:t> </a:t>
            </a:r>
            <a:r>
              <a:rPr lang="es-ES" err="1"/>
              <a:t>Process</a:t>
            </a:r>
            <a:r>
              <a:rPr lang="es-ES"/>
              <a:t> </a:t>
            </a:r>
            <a:r>
              <a:rPr lang="es-ES" err="1"/>
              <a:t>Automation</a:t>
            </a:r>
            <a:r>
              <a:rPr lang="es-ES"/>
              <a:t>.</a:t>
            </a:r>
          </a:p>
          <a:p>
            <a:pPr marL="742950" lvl="1" indent="-285750">
              <a:buFont typeface="+mj-lt"/>
              <a:buAutoNum type="arabicPeriod"/>
            </a:pPr>
            <a:r>
              <a:rPr lang="es-ES"/>
              <a:t>👉 </a:t>
            </a:r>
            <a:r>
              <a:rPr lang="es-ES" i="1"/>
              <a:t>Asegúrate de que el </a:t>
            </a:r>
            <a:r>
              <a:rPr lang="es-ES" i="1" err="1"/>
              <a:t>bot</a:t>
            </a:r>
            <a:r>
              <a:rPr lang="es-ES" i="1"/>
              <a:t> esté conectado con SAP BTP mediante canales seguros como OAuth2 y tenga permisos definidos para iniciar flujos de trabajo.</a:t>
            </a:r>
            <a:endParaRPr lang="es-ES"/>
          </a:p>
          <a:p>
            <a:pPr>
              <a:buFont typeface="+mj-lt"/>
              <a:buAutoNum type="arabicPeriod"/>
            </a:pPr>
            <a:r>
              <a:rPr lang="es-ES" b="1" err="1"/>
              <a:t>Approval</a:t>
            </a:r>
            <a:r>
              <a:rPr lang="es-ES" b="1"/>
              <a:t> </a:t>
            </a:r>
            <a:r>
              <a:rPr lang="es-ES" b="1" err="1"/>
              <a:t>Workflow</a:t>
            </a:r>
            <a:r>
              <a:rPr lang="es-ES" b="1"/>
              <a:t> </a:t>
            </a:r>
            <a:r>
              <a:rPr lang="es-ES" b="1" err="1"/>
              <a:t>Activation</a:t>
            </a:r>
            <a:r>
              <a:rPr lang="es-ES" b="1"/>
              <a:t> (SAP BTP)</a:t>
            </a:r>
            <a:endParaRPr lang="es-ES"/>
          </a:p>
          <a:p>
            <a:pPr marL="742950" lvl="1" indent="-285750">
              <a:buFont typeface="+mj-lt"/>
              <a:buAutoNum type="arabicPeriod"/>
            </a:pPr>
            <a:r>
              <a:rPr lang="es-ES"/>
              <a:t>✔️ Usar SAP </a:t>
            </a:r>
            <a:r>
              <a:rPr lang="es-ES" err="1"/>
              <a:t>Workflow</a:t>
            </a:r>
            <a:r>
              <a:rPr lang="es-ES"/>
              <a:t> Management (o ahora parte de SAP </a:t>
            </a:r>
            <a:r>
              <a:rPr lang="es-ES" err="1"/>
              <a:t>Build</a:t>
            </a:r>
            <a:r>
              <a:rPr lang="es-ES"/>
              <a:t> </a:t>
            </a:r>
            <a:r>
              <a:rPr lang="es-ES" err="1"/>
              <a:t>Process</a:t>
            </a:r>
            <a:r>
              <a:rPr lang="es-ES"/>
              <a:t> </a:t>
            </a:r>
            <a:r>
              <a:rPr lang="es-ES" err="1"/>
              <a:t>Automation</a:t>
            </a:r>
            <a:r>
              <a:rPr lang="es-ES"/>
              <a:t>) es el enfoque adecuado.</a:t>
            </a:r>
          </a:p>
          <a:p>
            <a:pPr marL="742950" lvl="1" indent="-285750">
              <a:buFont typeface="+mj-lt"/>
              <a:buAutoNum type="arabicPeriod"/>
            </a:pPr>
            <a:r>
              <a:rPr lang="es-ES"/>
              <a:t>👉 </a:t>
            </a:r>
            <a:r>
              <a:rPr lang="es-ES" i="1"/>
              <a:t>Valida que el </a:t>
            </a:r>
            <a:r>
              <a:rPr lang="es-ES" i="1" err="1"/>
              <a:t>workflow</a:t>
            </a:r>
            <a:r>
              <a:rPr lang="es-ES" i="1"/>
              <a:t> esté modelado para múltiples aprobadores o reglas condicionales si aplica por tipo de acceso.</a:t>
            </a:r>
            <a:endParaRPr lang="es-ES"/>
          </a:p>
          <a:p>
            <a:pPr>
              <a:buFont typeface="+mj-lt"/>
              <a:buAutoNum type="arabicPeriod"/>
            </a:pPr>
            <a:r>
              <a:rPr lang="es-ES" b="1" err="1"/>
              <a:t>Approval</a:t>
            </a:r>
            <a:r>
              <a:rPr lang="es-ES" b="1"/>
              <a:t> </a:t>
            </a:r>
            <a:r>
              <a:rPr lang="es-ES" b="1" err="1"/>
              <a:t>Process</a:t>
            </a:r>
            <a:r>
              <a:rPr lang="es-ES" b="1"/>
              <a:t> </a:t>
            </a:r>
            <a:r>
              <a:rPr lang="es-ES" b="1" err="1"/>
              <a:t>Completion</a:t>
            </a:r>
            <a:endParaRPr lang="es-ES"/>
          </a:p>
          <a:p>
            <a:pPr marL="742950" lvl="1" indent="-285750">
              <a:buFont typeface="+mj-lt"/>
              <a:buAutoNum type="arabicPeriod"/>
            </a:pPr>
            <a:r>
              <a:rPr lang="es-ES"/>
              <a:t>✔️ Bien definido. Este es el punto clave para el "gatillo" de provisión de acceso.</a:t>
            </a:r>
          </a:p>
          <a:p>
            <a:pPr marL="742950" lvl="1" indent="-285750">
              <a:buFont typeface="+mj-lt"/>
              <a:buAutoNum type="arabicPeriod"/>
            </a:pPr>
            <a:r>
              <a:rPr lang="es-ES"/>
              <a:t>❗ </a:t>
            </a:r>
            <a:r>
              <a:rPr lang="es-ES" i="1"/>
              <a:t>Hay un pequeño error ortográfico: “</a:t>
            </a:r>
            <a:r>
              <a:rPr lang="es-ES" i="1" err="1"/>
              <a:t>completition</a:t>
            </a:r>
            <a:r>
              <a:rPr lang="es-ES" i="1"/>
              <a:t>” debería ser “</a:t>
            </a:r>
            <a:r>
              <a:rPr lang="es-ES" i="1" err="1"/>
              <a:t>completion</a:t>
            </a:r>
            <a:r>
              <a:rPr lang="es-ES" i="1"/>
              <a:t>”.</a:t>
            </a:r>
            <a:endParaRPr lang="es-ES"/>
          </a:p>
          <a:p>
            <a:pPr>
              <a:buFont typeface="+mj-lt"/>
              <a:buAutoNum type="arabicPeriod"/>
            </a:pPr>
            <a:r>
              <a:rPr lang="es-ES" b="1"/>
              <a:t>API </a:t>
            </a:r>
            <a:r>
              <a:rPr lang="es-ES" b="1" err="1"/>
              <a:t>User</a:t>
            </a:r>
            <a:r>
              <a:rPr lang="es-ES" b="1"/>
              <a:t> Access </a:t>
            </a:r>
            <a:r>
              <a:rPr lang="es-ES" b="1" err="1"/>
              <a:t>Provision</a:t>
            </a:r>
            <a:r>
              <a:rPr lang="es-ES" b="1"/>
              <a:t> (SAP Datasphere)</a:t>
            </a:r>
            <a:endParaRPr lang="es-ES"/>
          </a:p>
          <a:p>
            <a:pPr marL="742950" lvl="1" indent="-285750">
              <a:buFont typeface="+mj-lt"/>
              <a:buAutoNum type="arabicPeriod"/>
            </a:pPr>
            <a:r>
              <a:rPr lang="es-ES"/>
              <a:t>✔️ Este es el corazón del proceso: usar las </a:t>
            </a:r>
            <a:r>
              <a:rPr lang="es-ES" err="1"/>
              <a:t>APIs</a:t>
            </a:r>
            <a:r>
              <a:rPr lang="es-ES"/>
              <a:t> de SAP Datasphere para otorgar permisos (roles, espacios, vistas).</a:t>
            </a:r>
          </a:p>
          <a:p>
            <a:pPr marL="742950" lvl="1" indent="-285750">
              <a:buFont typeface="+mj-lt"/>
              <a:buAutoNum type="arabicPeriod"/>
            </a:pPr>
            <a:r>
              <a:rPr lang="es-ES"/>
              <a:t>👉 </a:t>
            </a:r>
            <a:r>
              <a:rPr lang="es-ES" i="1"/>
              <a:t>Confirma que estés usando </a:t>
            </a:r>
            <a:r>
              <a:rPr lang="es-ES" i="1" err="1"/>
              <a:t>APIs</a:t>
            </a:r>
            <a:r>
              <a:rPr lang="es-ES" i="1"/>
              <a:t> autenticadas por OAuth y aplicando políticas RBAC correctas.</a:t>
            </a:r>
            <a:endParaRPr lang="es-ES"/>
          </a:p>
          <a:p>
            <a:pPr>
              <a:buFont typeface="+mj-lt"/>
              <a:buAutoNum type="arabicPeriod"/>
            </a:pPr>
            <a:r>
              <a:rPr lang="es-ES" b="1" err="1"/>
              <a:t>User</a:t>
            </a:r>
            <a:r>
              <a:rPr lang="es-ES" b="1"/>
              <a:t> </a:t>
            </a:r>
            <a:r>
              <a:rPr lang="es-ES" b="1" err="1"/>
              <a:t>Notification</a:t>
            </a:r>
            <a:r>
              <a:rPr lang="es-ES" b="1"/>
              <a:t> (MS </a:t>
            </a:r>
            <a:r>
              <a:rPr lang="es-ES" b="1" err="1"/>
              <a:t>Teams</a:t>
            </a:r>
            <a:r>
              <a:rPr lang="es-ES" b="1"/>
              <a:t>)</a:t>
            </a:r>
            <a:endParaRPr lang="es-ES"/>
          </a:p>
          <a:p>
            <a:pPr marL="742950" lvl="1" indent="-285750">
              <a:buFont typeface="+mj-lt"/>
              <a:buAutoNum type="arabicPeriod"/>
            </a:pPr>
            <a:r>
              <a:rPr lang="es-ES"/>
              <a:t>✔️ Correcto, el usuario debe ser notificado una vez tenga acceso.</a:t>
            </a:r>
          </a:p>
          <a:p>
            <a:pPr marL="742950" lvl="1" indent="-285750">
              <a:buFont typeface="+mj-lt"/>
              <a:buAutoNum type="arabicPeriod"/>
            </a:pPr>
            <a:r>
              <a:rPr lang="es-ES"/>
              <a:t>👉 </a:t>
            </a:r>
            <a:r>
              <a:rPr lang="es-ES" i="1"/>
              <a:t>Puedes usar SAP BTP </a:t>
            </a:r>
            <a:r>
              <a:rPr lang="es-ES" i="1" err="1"/>
              <a:t>destinations</a:t>
            </a:r>
            <a:r>
              <a:rPr lang="es-ES" i="1"/>
              <a:t> o </a:t>
            </a:r>
            <a:r>
              <a:rPr lang="es-ES" i="1" err="1"/>
              <a:t>Webhooks</a:t>
            </a:r>
            <a:r>
              <a:rPr lang="es-ES" i="1"/>
              <a:t> para esto desde el </a:t>
            </a:r>
            <a:r>
              <a:rPr lang="es-ES" i="1" err="1"/>
              <a:t>workflow</a:t>
            </a:r>
            <a:r>
              <a:rPr lang="es-ES" i="1"/>
              <a:t>.</a:t>
            </a:r>
            <a:endParaRPr lang="es-ES"/>
          </a:p>
          <a:p>
            <a:pPr>
              <a:buFont typeface="+mj-lt"/>
              <a:buAutoNum type="arabicPeriod"/>
            </a:pPr>
            <a:r>
              <a:rPr lang="es-ES" b="1"/>
              <a:t>Access </a:t>
            </a:r>
            <a:r>
              <a:rPr lang="es-ES" b="1" err="1"/>
              <a:t>Allowed</a:t>
            </a:r>
            <a:r>
              <a:rPr lang="es-ES" b="1"/>
              <a:t> (SAP Analytics Cloud + Datasphere)</a:t>
            </a:r>
            <a:endParaRPr lang="es-ES"/>
          </a:p>
          <a:p>
            <a:pPr marL="742950" lvl="1" indent="-285750">
              <a:buFont typeface="+mj-lt"/>
              <a:buAutoNum type="arabicPeriod"/>
            </a:pPr>
            <a:r>
              <a:rPr lang="es-ES"/>
              <a:t>✔️ Bien representado como objetivo final. Asumes que el usuario accede a datos desde SAC luego de tener los permisos desde Datasphere.</a:t>
            </a:r>
          </a:p>
          <a:p>
            <a:pPr>
              <a:buNone/>
            </a:pPr>
            <a:r>
              <a:rPr lang="es-ES" b="1"/>
              <a:t>🔍 Qué podrías complementar o verificar:</a:t>
            </a:r>
          </a:p>
          <a:p>
            <a:pPr>
              <a:buFont typeface="Arial" panose="020B0604020202020204" pitchFamily="34" charset="0"/>
              <a:buChar char="•"/>
            </a:pPr>
            <a:r>
              <a:rPr lang="es-ES" b="1"/>
              <a:t>¿Dónde se valida la identidad del usuario?</a:t>
            </a:r>
            <a:br>
              <a:rPr lang="es-ES"/>
            </a:br>
            <a:r>
              <a:rPr lang="es-ES"/>
              <a:t>La autenticación/autorización inicial (por ejemplo, mediante SAP </a:t>
            </a:r>
            <a:r>
              <a:rPr lang="es-ES" err="1"/>
              <a:t>Identity</a:t>
            </a:r>
            <a:r>
              <a:rPr lang="es-ES"/>
              <a:t> </a:t>
            </a:r>
            <a:r>
              <a:rPr lang="es-ES" err="1"/>
              <a:t>Authentication</a:t>
            </a:r>
            <a:r>
              <a:rPr lang="es-ES"/>
              <a:t> Service - IAS o Azure AD) no se ve reflejada.</a:t>
            </a:r>
          </a:p>
          <a:p>
            <a:pPr>
              <a:buFont typeface="Arial" panose="020B0604020202020204" pitchFamily="34" charset="0"/>
              <a:buChar char="•"/>
            </a:pPr>
            <a:r>
              <a:rPr lang="es-ES" b="1"/>
              <a:t>Trazabilidad / Auditoría del proceso:</a:t>
            </a:r>
            <a:br>
              <a:rPr lang="es-ES"/>
            </a:br>
            <a:r>
              <a:rPr lang="es-ES"/>
              <a:t>Considera agregar un paso o componente para </a:t>
            </a:r>
            <a:r>
              <a:rPr lang="es-ES" err="1"/>
              <a:t>logging</a:t>
            </a:r>
            <a:r>
              <a:rPr lang="es-ES"/>
              <a:t> y cumplimiento normativo, especialmente si manejas datos sensibles.</a:t>
            </a:r>
          </a:p>
          <a:p>
            <a:pPr>
              <a:buFont typeface="Arial" panose="020B0604020202020204" pitchFamily="34" charset="0"/>
              <a:buChar char="•"/>
            </a:pPr>
            <a:r>
              <a:rPr lang="es-ES" b="1"/>
              <a:t>Mecanismo de integración entre MS </a:t>
            </a:r>
            <a:r>
              <a:rPr lang="es-ES" b="1" err="1"/>
              <a:t>Teams</a:t>
            </a:r>
            <a:r>
              <a:rPr lang="es-ES" b="1"/>
              <a:t> y SAP BTP:</a:t>
            </a:r>
            <a:br>
              <a:rPr lang="es-ES"/>
            </a:br>
            <a:r>
              <a:rPr lang="es-ES"/>
              <a:t>Aunque usas </a:t>
            </a:r>
            <a:r>
              <a:rPr lang="es-ES" err="1"/>
              <a:t>Teams</a:t>
            </a:r>
            <a:r>
              <a:rPr lang="es-ES"/>
              <a:t>, no se especifica si estás usando SAP CAI, </a:t>
            </a:r>
            <a:r>
              <a:rPr lang="es-ES" err="1"/>
              <a:t>Power</a:t>
            </a:r>
            <a:r>
              <a:rPr lang="es-ES"/>
              <a:t> </a:t>
            </a:r>
            <a:r>
              <a:rPr lang="es-ES" err="1"/>
              <a:t>Automate</a:t>
            </a:r>
            <a:r>
              <a:rPr lang="es-ES"/>
              <a:t>, o un </a:t>
            </a:r>
            <a:r>
              <a:rPr lang="es-ES" err="1"/>
              <a:t>webhook</a:t>
            </a:r>
            <a:r>
              <a:rPr lang="es-ES"/>
              <a:t> directamente. Vale la pena especificarlo.</a:t>
            </a:r>
          </a:p>
          <a:p>
            <a:pPr>
              <a:buFont typeface="Arial" panose="020B0604020202020204" pitchFamily="34" charset="0"/>
              <a:buChar char="•"/>
            </a:pPr>
            <a:r>
              <a:rPr lang="es-ES" b="1" err="1"/>
              <a:t>Fallback</a:t>
            </a:r>
            <a:r>
              <a:rPr lang="es-ES" b="1"/>
              <a:t> / Manejo de errores:</a:t>
            </a:r>
            <a:br>
              <a:rPr lang="es-ES"/>
            </a:br>
            <a:r>
              <a:rPr lang="es-ES"/>
              <a:t>¿Qué pasa si el API </a:t>
            </a:r>
            <a:r>
              <a:rPr lang="es-ES" err="1"/>
              <a:t>call</a:t>
            </a:r>
            <a:r>
              <a:rPr lang="es-ES"/>
              <a:t> a Datasphere falla? Agrega una ruta para reintentos o alerta.</a:t>
            </a:r>
          </a:p>
          <a:p>
            <a:pPr>
              <a:buNone/>
            </a:pPr>
            <a:r>
              <a:rPr lang="es-ES" b="1"/>
              <a:t>📌 Sugerencia visual:</a:t>
            </a:r>
          </a:p>
          <a:p>
            <a:r>
              <a:rPr lang="es-ES"/>
              <a:t>Podrías insertar una capa transversal que diga algo como “</a:t>
            </a:r>
            <a:r>
              <a:rPr lang="es-ES" err="1"/>
              <a:t>Identity</a:t>
            </a:r>
            <a:r>
              <a:rPr lang="es-ES"/>
              <a:t> &amp; Security </a:t>
            </a:r>
            <a:r>
              <a:rPr lang="es-ES" err="1"/>
              <a:t>Layer</a:t>
            </a:r>
            <a:r>
              <a:rPr lang="es-ES"/>
              <a:t> (IAS, Roles, OAuth)” o un pequeño ícono de seguridad al pie del flujo para reflejar la gestión de identidades y permisos.</a:t>
            </a:r>
          </a:p>
          <a:p>
            <a:endParaRPr lang="en-GB"/>
          </a:p>
        </p:txBody>
      </p:sp>
      <p:sp>
        <p:nvSpPr>
          <p:cNvPr id="4" name="Marcador de número de diapositiva 3">
            <a:extLst>
              <a:ext uri="{FF2B5EF4-FFF2-40B4-BE49-F238E27FC236}">
                <a16:creationId xmlns:a16="http://schemas.microsoft.com/office/drawing/2014/main" id="{1133139C-738D-52D4-E9D2-798D527A3A7D}"/>
              </a:ext>
            </a:extLst>
          </p:cNvPr>
          <p:cNvSpPr>
            <a:spLocks noGrp="1"/>
          </p:cNvSpPr>
          <p:nvPr>
            <p:ph type="sldNum" sz="quarter" idx="5"/>
          </p:nvPr>
        </p:nvSpPr>
        <p:spPr/>
        <p:txBody>
          <a:bodyPr/>
          <a:lstStyle/>
          <a:p>
            <a:fld id="{08EFAA48-0AD5-4BCB-8C10-3E1E098ED445}" type="slidenum">
              <a:rPr lang="es-ES" smtClean="0"/>
              <a:pPr/>
              <a:t>63</a:t>
            </a:fld>
            <a:endParaRPr lang="es-ES"/>
          </a:p>
        </p:txBody>
      </p:sp>
    </p:spTree>
    <p:extLst>
      <p:ext uri="{BB962C8B-B14F-4D97-AF65-F5344CB8AC3E}">
        <p14:creationId xmlns:p14="http://schemas.microsoft.com/office/powerpoint/2010/main" val="173158763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08EFAA48-0AD5-4BCB-8C10-3E1E098ED445}" type="slidenum">
              <a:rPr lang="es-ES" smtClean="0"/>
              <a:pPr/>
              <a:t>67</a:t>
            </a:fld>
            <a:endParaRPr lang="es-ES"/>
          </a:p>
        </p:txBody>
      </p:sp>
    </p:spTree>
    <p:extLst>
      <p:ext uri="{BB962C8B-B14F-4D97-AF65-F5344CB8AC3E}">
        <p14:creationId xmlns:p14="http://schemas.microsoft.com/office/powerpoint/2010/main" val="16374869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08EFAA48-0AD5-4BCB-8C10-3E1E098ED445}" type="slidenum">
              <a:rPr lang="es-ES" smtClean="0"/>
              <a:pPr/>
              <a:t>68</a:t>
            </a:fld>
            <a:endParaRPr lang="es-ES"/>
          </a:p>
        </p:txBody>
      </p:sp>
    </p:spTree>
    <p:extLst>
      <p:ext uri="{BB962C8B-B14F-4D97-AF65-F5344CB8AC3E}">
        <p14:creationId xmlns:p14="http://schemas.microsoft.com/office/powerpoint/2010/main" val="25049310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EFAA48-0AD5-4BCB-8C10-3E1E098ED445}" type="slidenum">
              <a:rPr kumimoji="0" lang="es-E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s-E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04931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5C2E28-CEEE-94A2-7432-DB8EB1066FFC}"/>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5D406924-C267-3BDB-4265-E91E691D7D26}"/>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575E2236-6E9B-9897-B4A3-BA816CB48254}"/>
              </a:ext>
            </a:extLst>
          </p:cNvPr>
          <p:cNvSpPr>
            <a:spLocks noGrp="1"/>
          </p:cNvSpPr>
          <p:nvPr>
            <p:ph type="body" idx="1"/>
          </p:nvPr>
        </p:nvSpPr>
        <p:spPr/>
        <p:txBody>
          <a:bodyPr/>
          <a:lstStyle/>
          <a:p>
            <a:endParaRPr lang="en-GB"/>
          </a:p>
        </p:txBody>
      </p:sp>
      <p:sp>
        <p:nvSpPr>
          <p:cNvPr id="4" name="Marcador de número de diapositiva 3">
            <a:extLst>
              <a:ext uri="{FF2B5EF4-FFF2-40B4-BE49-F238E27FC236}">
                <a16:creationId xmlns:a16="http://schemas.microsoft.com/office/drawing/2014/main" id="{B03BB7EB-CD09-7AEA-124C-AC2433924D74}"/>
              </a:ext>
            </a:extLst>
          </p:cNvPr>
          <p:cNvSpPr>
            <a:spLocks noGrp="1"/>
          </p:cNvSpPr>
          <p:nvPr>
            <p:ph type="sldNum" sz="quarter" idx="5"/>
          </p:nvPr>
        </p:nvSpPr>
        <p:spPr/>
        <p:txBody>
          <a:bodyPr/>
          <a:lstStyle/>
          <a:p>
            <a:fld id="{08EFAA48-0AD5-4BCB-8C10-3E1E098ED445}" type="slidenum">
              <a:rPr lang="es-ES" smtClean="0"/>
              <a:pPr/>
              <a:t>5</a:t>
            </a:fld>
            <a:endParaRPr lang="es-ES"/>
          </a:p>
        </p:txBody>
      </p:sp>
    </p:spTree>
    <p:extLst>
      <p:ext uri="{BB962C8B-B14F-4D97-AF65-F5344CB8AC3E}">
        <p14:creationId xmlns:p14="http://schemas.microsoft.com/office/powerpoint/2010/main" val="342780035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EFAA48-0AD5-4BCB-8C10-3E1E098ED445}" type="slidenum">
              <a:rPr kumimoji="0" lang="es-E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s-E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5475680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EFAA48-0AD5-4BCB-8C10-3E1E098ED445}" type="slidenum">
              <a:rPr kumimoji="0" lang="es-E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s-E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3009152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EFAA48-0AD5-4BCB-8C10-3E1E098ED445}" type="slidenum">
              <a:rPr kumimoji="0" lang="es-E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s-E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4038231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EFAA48-0AD5-4BCB-8C10-3E1E098ED445}" type="slidenum">
              <a:rPr kumimoji="0" lang="es-E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s-E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9724066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EFAA48-0AD5-4BCB-8C10-3E1E098ED445}" type="slidenum">
              <a:rPr kumimoji="0" lang="es-E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s-E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020298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_tradnl"/>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B5D622-894E-A04F-A419-97B4ECA69149}"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7198170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B09AA4-B970-73DF-40FE-F7CA6019C9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42BAEBB-545F-6ED9-D4F4-55D358C13383}"/>
              </a:ext>
            </a:extLst>
          </p:cNvPr>
          <p:cNvSpPr>
            <a:spLocks noGrp="1" noRot="1" noChangeAspect="1"/>
          </p:cNvSpPr>
          <p:nvPr>
            <p:ph type="sldImg"/>
          </p:nvPr>
        </p:nvSpPr>
        <p:spPr>
          <a:xfrm>
            <a:off x="87313" y="746125"/>
            <a:ext cx="6615112" cy="3722688"/>
          </a:xfrm>
        </p:spPr>
      </p:sp>
      <p:sp>
        <p:nvSpPr>
          <p:cNvPr id="3" name="Notes Placeholder 2">
            <a:extLst>
              <a:ext uri="{FF2B5EF4-FFF2-40B4-BE49-F238E27FC236}">
                <a16:creationId xmlns:a16="http://schemas.microsoft.com/office/drawing/2014/main" id="{1E9974E7-529D-0D97-51E5-1965CF64AB60}"/>
              </a:ext>
            </a:extLst>
          </p:cNvPr>
          <p:cNvSpPr>
            <a:spLocks noGrp="1"/>
          </p:cNvSpPr>
          <p:nvPr>
            <p:ph type="body" idx="1"/>
          </p:nvPr>
        </p:nvSpPr>
        <p:spPr/>
        <p:txBody>
          <a:bodyPr/>
          <a:lstStyle/>
          <a:p>
            <a:endParaRPr lang="es-ES_tradnl"/>
          </a:p>
        </p:txBody>
      </p:sp>
      <p:sp>
        <p:nvSpPr>
          <p:cNvPr id="4" name="Slide Number Placeholder 3">
            <a:extLst>
              <a:ext uri="{FF2B5EF4-FFF2-40B4-BE49-F238E27FC236}">
                <a16:creationId xmlns:a16="http://schemas.microsoft.com/office/drawing/2014/main" id="{67719BC5-24C9-DB23-402F-3D4CDFD4DC39}"/>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294088FB-87AA-43E5-ABD7-0C0309A0A45B}" type="slidenum">
              <a:rPr kumimoji="0" lang="en-US"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8</a:t>
            </a:fld>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5762574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32">
          <a:extLst>
            <a:ext uri="{FF2B5EF4-FFF2-40B4-BE49-F238E27FC236}">
              <a16:creationId xmlns:a16="http://schemas.microsoft.com/office/drawing/2014/main" id="{45073B08-952E-F8BE-7336-184F8103C8B8}"/>
            </a:ext>
          </a:extLst>
        </p:cNvPr>
        <p:cNvGrpSpPr/>
        <p:nvPr/>
      </p:nvGrpSpPr>
      <p:grpSpPr>
        <a:xfrm>
          <a:off x="0" y="0"/>
          <a:ext cx="0" cy="0"/>
          <a:chOff x="0" y="0"/>
          <a:chExt cx="0" cy="0"/>
        </a:xfrm>
      </p:grpSpPr>
      <p:sp>
        <p:nvSpPr>
          <p:cNvPr id="3333" name="Google Shape;3333;g30e148d11da_7_119:notes">
            <a:extLst>
              <a:ext uri="{FF2B5EF4-FFF2-40B4-BE49-F238E27FC236}">
                <a16:creationId xmlns:a16="http://schemas.microsoft.com/office/drawing/2014/main" id="{64BD63A7-90AE-7487-99AB-B5328AB9C333}"/>
              </a:ext>
            </a:extLst>
          </p:cNvPr>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334" name="Google Shape;3334;g30e148d11da_7_119:notes">
            <a:extLst>
              <a:ext uri="{FF2B5EF4-FFF2-40B4-BE49-F238E27FC236}">
                <a16:creationId xmlns:a16="http://schemas.microsoft.com/office/drawing/2014/main" id="{192EFB57-0898-9D59-8C5D-7C4A4BF9C17C}"/>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55055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32">
          <a:extLst>
            <a:ext uri="{FF2B5EF4-FFF2-40B4-BE49-F238E27FC236}">
              <a16:creationId xmlns:a16="http://schemas.microsoft.com/office/drawing/2014/main" id="{C36226A1-9A69-FB4F-C600-50BFF79330D6}"/>
            </a:ext>
          </a:extLst>
        </p:cNvPr>
        <p:cNvGrpSpPr/>
        <p:nvPr/>
      </p:nvGrpSpPr>
      <p:grpSpPr>
        <a:xfrm>
          <a:off x="0" y="0"/>
          <a:ext cx="0" cy="0"/>
          <a:chOff x="0" y="0"/>
          <a:chExt cx="0" cy="0"/>
        </a:xfrm>
      </p:grpSpPr>
      <p:sp>
        <p:nvSpPr>
          <p:cNvPr id="3333" name="Google Shape;3333;g30e148d11da_7_119:notes">
            <a:extLst>
              <a:ext uri="{FF2B5EF4-FFF2-40B4-BE49-F238E27FC236}">
                <a16:creationId xmlns:a16="http://schemas.microsoft.com/office/drawing/2014/main" id="{CB4F23B1-991E-2E93-F87B-A4C86CF7C3D7}"/>
              </a:ext>
            </a:extLst>
          </p:cNvPr>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a:hlinkClick r:id="rId3"/>
              </a:rPr>
              <a:t>Supplier </a:t>
            </a:r>
            <a:r>
              <a:rPr lang="en-US" err="1">
                <a:hlinkClick r:id="rId3"/>
              </a:rPr>
              <a:t>DataQuality</a:t>
            </a:r>
            <a:r>
              <a:rPr lang="en-US">
                <a:hlinkClick r:id="rId3"/>
              </a:rPr>
              <a:t> - Stories - SAP Analytics Cloud</a:t>
            </a:r>
            <a:endParaRPr/>
          </a:p>
        </p:txBody>
      </p:sp>
      <p:sp>
        <p:nvSpPr>
          <p:cNvPr id="3334" name="Google Shape;3334;g30e148d11da_7_119:notes">
            <a:extLst>
              <a:ext uri="{FF2B5EF4-FFF2-40B4-BE49-F238E27FC236}">
                <a16:creationId xmlns:a16="http://schemas.microsoft.com/office/drawing/2014/main" id="{E6A5132B-20B6-3EE6-DA01-B7F10862527D}"/>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484761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537987-FA8D-2683-ADD1-2B6569EB00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5659E1A-A4EE-AF81-16F5-707B328000DA}"/>
              </a:ext>
            </a:extLst>
          </p:cNvPr>
          <p:cNvSpPr>
            <a:spLocks noGrp="1" noRot="1" noChangeAspect="1"/>
          </p:cNvSpPr>
          <p:nvPr>
            <p:ph type="sldImg"/>
          </p:nvPr>
        </p:nvSpPr>
        <p:spPr>
          <a:xfrm>
            <a:off x="87313" y="746125"/>
            <a:ext cx="6615112" cy="3722688"/>
          </a:xfrm>
        </p:spPr>
      </p:sp>
      <p:sp>
        <p:nvSpPr>
          <p:cNvPr id="3" name="Notes Placeholder 2">
            <a:extLst>
              <a:ext uri="{FF2B5EF4-FFF2-40B4-BE49-F238E27FC236}">
                <a16:creationId xmlns:a16="http://schemas.microsoft.com/office/drawing/2014/main" id="{81C722CC-43A9-6478-44DF-C34AA156A834}"/>
              </a:ext>
            </a:extLst>
          </p:cNvPr>
          <p:cNvSpPr>
            <a:spLocks noGrp="1"/>
          </p:cNvSpPr>
          <p:nvPr>
            <p:ph type="body" idx="1"/>
          </p:nvPr>
        </p:nvSpPr>
        <p:spPr/>
        <p:txBody>
          <a:bodyPr/>
          <a:lstStyle/>
          <a:p>
            <a:pPr>
              <a:buNone/>
            </a:pPr>
            <a:r>
              <a:rPr lang="es-ES" b="1"/>
              <a:t>🔐 Seguridad: Tres productos clave</a:t>
            </a:r>
          </a:p>
          <a:p>
            <a:pPr>
              <a:buNone/>
            </a:pPr>
            <a:r>
              <a:rPr lang="es-ES" b="1"/>
              <a:t>1. Gestión de Accesos (Access Management)</a:t>
            </a:r>
          </a:p>
          <a:p>
            <a:pPr>
              <a:buNone/>
            </a:pPr>
            <a:r>
              <a:rPr lang="es-ES"/>
              <a:t>Capacidad para definir, asignar y gestionar derechos de acceso mediante modelos RBAC y ABAC:</a:t>
            </a:r>
          </a:p>
          <a:p>
            <a:pPr>
              <a:buFont typeface="Arial" panose="020B0604020202020204" pitchFamily="34" charset="0"/>
              <a:buChar char="•"/>
            </a:pPr>
            <a:r>
              <a:rPr lang="es-ES"/>
              <a:t>Asignación dinámica de permisos según rol, función o atributos (hora, ubicación, sensibilidad del dato...).</a:t>
            </a:r>
          </a:p>
          <a:p>
            <a:pPr>
              <a:buFont typeface="Arial" panose="020B0604020202020204" pitchFamily="34" charset="0"/>
              <a:buChar char="•"/>
            </a:pPr>
            <a:r>
              <a:rPr lang="es-ES"/>
              <a:t>Interoperabilidad con herramientas de identidad y single </a:t>
            </a:r>
            <a:r>
              <a:rPr lang="es-ES" err="1"/>
              <a:t>sign-on</a:t>
            </a:r>
            <a:r>
              <a:rPr lang="es-ES"/>
              <a:t> (SSO).</a:t>
            </a:r>
          </a:p>
          <a:p>
            <a:pPr>
              <a:buFont typeface="Arial" panose="020B0604020202020204" pitchFamily="34" charset="0"/>
              <a:buChar char="•"/>
            </a:pPr>
            <a:r>
              <a:rPr lang="es-ES"/>
              <a:t>Trazabilidad de accesos y decisiones de autorización.</a:t>
            </a:r>
          </a:p>
          <a:p>
            <a:pPr>
              <a:buNone/>
            </a:pPr>
            <a:r>
              <a:rPr lang="es-ES"/>
              <a:t>🎯 </a:t>
            </a:r>
            <a:r>
              <a:rPr lang="es-ES" b="1"/>
              <a:t>Objetivo:</a:t>
            </a:r>
            <a:r>
              <a:rPr lang="es-ES"/>
              <a:t> Garantizar el acceso correcto al dato correcto por el perfil correcto, minimizando el riesgo operativo y habilitando el autoservicio seguro.</a:t>
            </a:r>
          </a:p>
          <a:p>
            <a:pPr>
              <a:buNone/>
            </a:pPr>
            <a:r>
              <a:rPr lang="es-ES" b="1"/>
              <a:t>2. Controles de Uso y Consumo (</a:t>
            </a:r>
            <a:r>
              <a:rPr lang="es-ES" b="1" err="1"/>
              <a:t>Consumption</a:t>
            </a:r>
            <a:r>
              <a:rPr lang="es-ES" b="1"/>
              <a:t> &amp; </a:t>
            </a:r>
            <a:r>
              <a:rPr lang="es-ES" b="1" err="1"/>
              <a:t>Usage</a:t>
            </a:r>
            <a:r>
              <a:rPr lang="es-ES" b="1"/>
              <a:t> </a:t>
            </a:r>
            <a:r>
              <a:rPr lang="es-ES" b="1" err="1"/>
              <a:t>Controls</a:t>
            </a:r>
            <a:r>
              <a:rPr lang="es-ES" b="1"/>
              <a:t>)</a:t>
            </a:r>
          </a:p>
          <a:p>
            <a:pPr>
              <a:buNone/>
            </a:pPr>
            <a:r>
              <a:rPr lang="es-ES"/>
              <a:t>Supervisión y restricción del uso de datos y herramientas:</a:t>
            </a:r>
          </a:p>
          <a:p>
            <a:pPr>
              <a:buFont typeface="Arial" panose="020B0604020202020204" pitchFamily="34" charset="0"/>
              <a:buChar char="•"/>
            </a:pPr>
            <a:r>
              <a:rPr lang="es-ES"/>
              <a:t>Políticas sobre lectura, modificación, exportación, combinación o persistencia de datos.</a:t>
            </a:r>
          </a:p>
          <a:p>
            <a:pPr>
              <a:buFont typeface="Arial" panose="020B0604020202020204" pitchFamily="34" charset="0"/>
              <a:buChar char="•"/>
            </a:pPr>
            <a:r>
              <a:rPr lang="es-ES"/>
              <a:t>Límites de frecuencia o volumen de consumo (</a:t>
            </a:r>
            <a:r>
              <a:rPr lang="es-ES" err="1"/>
              <a:t>rate</a:t>
            </a:r>
            <a:r>
              <a:rPr lang="es-ES"/>
              <a:t> </a:t>
            </a:r>
            <a:r>
              <a:rPr lang="es-ES" err="1"/>
              <a:t>limiting</a:t>
            </a:r>
            <a:r>
              <a:rPr lang="es-ES"/>
              <a:t>, </a:t>
            </a:r>
            <a:r>
              <a:rPr lang="es-ES" err="1"/>
              <a:t>quota</a:t>
            </a:r>
            <a:r>
              <a:rPr lang="es-ES"/>
              <a:t>, etc.).</a:t>
            </a:r>
          </a:p>
          <a:p>
            <a:pPr>
              <a:buFont typeface="Arial" panose="020B0604020202020204" pitchFamily="34" charset="0"/>
              <a:buChar char="•"/>
            </a:pPr>
            <a:r>
              <a:rPr lang="es-ES"/>
              <a:t>Auditoría de eventos y comportamiento inusual (ej. consultas masivas o fuera de horario).</a:t>
            </a:r>
          </a:p>
          <a:p>
            <a:pPr>
              <a:buNone/>
            </a:pPr>
            <a:r>
              <a:rPr lang="es-ES"/>
              <a:t>🎯 </a:t>
            </a:r>
            <a:r>
              <a:rPr lang="es-ES" b="1"/>
              <a:t>Objetivo:</a:t>
            </a:r>
            <a:r>
              <a:rPr lang="es-ES"/>
              <a:t> Asegurar un uso responsable y eficiente del dato sin fricciones para los usuarios.</a:t>
            </a:r>
          </a:p>
          <a:p>
            <a:pPr>
              <a:buNone/>
            </a:pPr>
            <a:r>
              <a:rPr lang="es-ES" b="1"/>
              <a:t>3. Apoyo al Cumplimiento Normativo (</a:t>
            </a:r>
            <a:r>
              <a:rPr lang="es-ES" b="1" err="1"/>
              <a:t>Compliance</a:t>
            </a:r>
            <a:r>
              <a:rPr lang="es-ES" b="1"/>
              <a:t> </a:t>
            </a:r>
            <a:r>
              <a:rPr lang="es-ES" b="1" err="1"/>
              <a:t>Support</a:t>
            </a:r>
            <a:r>
              <a:rPr lang="es-ES" b="1"/>
              <a:t>)</a:t>
            </a:r>
          </a:p>
          <a:p>
            <a:pPr>
              <a:buNone/>
            </a:pPr>
            <a:r>
              <a:rPr lang="es-ES"/>
              <a:t>Automatización de requisitos regulatorios sin comprometer la agilidad:</a:t>
            </a:r>
          </a:p>
          <a:p>
            <a:pPr>
              <a:buFont typeface="Arial" panose="020B0604020202020204" pitchFamily="34" charset="0"/>
              <a:buChar char="•"/>
            </a:pPr>
            <a:r>
              <a:rPr lang="es-ES"/>
              <a:t>Eliminación programada o </a:t>
            </a:r>
            <a:r>
              <a:rPr lang="es-ES" err="1"/>
              <a:t>anonimización</a:t>
            </a:r>
            <a:r>
              <a:rPr lang="es-ES"/>
              <a:t> de datos personales (ej. RGPD, CCPA).</a:t>
            </a:r>
          </a:p>
          <a:p>
            <a:pPr>
              <a:buFont typeface="Arial" panose="020B0604020202020204" pitchFamily="34" charset="0"/>
              <a:buChar char="•"/>
            </a:pPr>
            <a:r>
              <a:rPr lang="es-ES"/>
              <a:t>Registro y justificación del ciclo de vida del dato (data </a:t>
            </a:r>
            <a:r>
              <a:rPr lang="es-ES" err="1"/>
              <a:t>retention</a:t>
            </a:r>
            <a:r>
              <a:rPr lang="es-ES"/>
              <a:t> </a:t>
            </a:r>
            <a:r>
              <a:rPr lang="es-ES" err="1"/>
              <a:t>policies</a:t>
            </a:r>
            <a:r>
              <a:rPr lang="es-ES"/>
              <a:t>).</a:t>
            </a:r>
          </a:p>
          <a:p>
            <a:pPr>
              <a:buFont typeface="Arial" panose="020B0604020202020204" pitchFamily="34" charset="0"/>
              <a:buChar char="•"/>
            </a:pPr>
            <a:r>
              <a:rPr lang="es-ES"/>
              <a:t>Evidencias de acceso, tratamiento y eliminación ante auditorías.</a:t>
            </a:r>
          </a:p>
          <a:p>
            <a:r>
              <a:rPr lang="es-ES"/>
              <a:t>🎯 </a:t>
            </a:r>
            <a:r>
              <a:rPr lang="es-ES" b="1"/>
              <a:t>Objetivo:</a:t>
            </a:r>
            <a:r>
              <a:rPr lang="es-ES"/>
              <a:t> Facilitar el cumplimiento normativo desde la arquitectura, con bajo impacto operativo.</a:t>
            </a:r>
          </a:p>
          <a:p>
            <a:endParaRPr lang="es-ES_tradnl"/>
          </a:p>
        </p:txBody>
      </p:sp>
      <p:sp>
        <p:nvSpPr>
          <p:cNvPr id="4" name="Slide Number Placeholder 3">
            <a:extLst>
              <a:ext uri="{FF2B5EF4-FFF2-40B4-BE49-F238E27FC236}">
                <a16:creationId xmlns:a16="http://schemas.microsoft.com/office/drawing/2014/main" id="{56586A65-FCD9-B658-C2E7-74D1F55AFEC1}"/>
              </a:ext>
            </a:extLst>
          </p:cNvPr>
          <p:cNvSpPr>
            <a:spLocks noGrp="1"/>
          </p:cNvSpPr>
          <p:nvPr>
            <p:ph type="sldNum" sz="quarter" idx="10"/>
          </p:nvPr>
        </p:nvSpPr>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294088FB-87AA-43E5-ABD7-0C0309A0A45B}" type="slidenum">
              <a:rPr kumimoji="0" lang="en-US" sz="1800" b="0" i="0" u="none" strike="noStrike" kern="0" cap="none" spc="0" normalizeH="0" baseline="0" noProof="0" smtClean="0">
                <a:ln>
                  <a:noFill/>
                </a:ln>
                <a:solidFill>
                  <a:srgbClr val="000000"/>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12</a:t>
            </a:fld>
            <a:endParaRPr kumimoji="0" lang="en-US" sz="1800" b="0" i="0" u="none" strike="noStrike" kern="0" cap="none" spc="0" normalizeH="0" baseline="0" noProof="0">
              <a:ln>
                <a:noFill/>
              </a:ln>
              <a:solidFill>
                <a:srgbClr val="000000"/>
              </a:solidFill>
              <a:effectLst/>
              <a:uLnTx/>
              <a:uFillTx/>
              <a:latin typeface="Calibri"/>
              <a:cs typeface="Calibri"/>
              <a:sym typeface="Calibri"/>
            </a:endParaRPr>
          </a:p>
        </p:txBody>
      </p:sp>
    </p:spTree>
    <p:extLst>
      <p:ext uri="{BB962C8B-B14F-4D97-AF65-F5344CB8AC3E}">
        <p14:creationId xmlns:p14="http://schemas.microsoft.com/office/powerpoint/2010/main" val="41268752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2.xml"/><Relationship Id="rId5" Type="http://schemas.openxmlformats.org/officeDocument/2006/relationships/image" Target="../media/image14.png"/><Relationship Id="rId4" Type="http://schemas.openxmlformats.org/officeDocument/2006/relationships/image" Target="../media/image13.pn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2.xml"/><Relationship Id="rId5" Type="http://schemas.openxmlformats.org/officeDocument/2006/relationships/image" Target="../media/image19.png"/><Relationship Id="rId4" Type="http://schemas.openxmlformats.org/officeDocument/2006/relationships/image" Target="../media/image13.pn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2.xml"/><Relationship Id="rId5" Type="http://schemas.openxmlformats.org/officeDocument/2006/relationships/image" Target="../media/image14.png"/><Relationship Id="rId4" Type="http://schemas.openxmlformats.org/officeDocument/2006/relationships/image" Target="../media/image13.png"/></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2.xml"/><Relationship Id="rId5" Type="http://schemas.openxmlformats.org/officeDocument/2006/relationships/image" Target="../media/image14.png"/><Relationship Id="rId4" Type="http://schemas.openxmlformats.org/officeDocument/2006/relationships/image" Target="../media/image13.png"/></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12.xml"/><Relationship Id="rId5" Type="http://schemas.openxmlformats.org/officeDocument/2006/relationships/image" Target="../media/image14.png"/><Relationship Id="rId4" Type="http://schemas.openxmlformats.org/officeDocument/2006/relationships/image" Target="../media/image13.png"/></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3.png"/><Relationship Id="rId1" Type="http://schemas.openxmlformats.org/officeDocument/2006/relationships/slideMaster" Target="../slideMasters/slideMaster1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r -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40680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radecimiento">
    <p:spTree>
      <p:nvGrpSpPr>
        <p:cNvPr id="1" name=""/>
        <p:cNvGrpSpPr/>
        <p:nvPr/>
      </p:nvGrpSpPr>
      <p:grpSpPr>
        <a:xfrm>
          <a:off x="0" y="0"/>
          <a:ext cx="0" cy="0"/>
          <a:chOff x="0" y="0"/>
          <a:chExt cx="0" cy="0"/>
        </a:xfrm>
      </p:grpSpPr>
      <p:sp>
        <p:nvSpPr>
          <p:cNvPr id="23" name="22 Marcador de texto"/>
          <p:cNvSpPr>
            <a:spLocks noGrp="1"/>
          </p:cNvSpPr>
          <p:nvPr>
            <p:ph type="body" sz="quarter" idx="23"/>
          </p:nvPr>
        </p:nvSpPr>
        <p:spPr>
          <a:xfrm>
            <a:off x="423986" y="1320801"/>
            <a:ext cx="11344031" cy="5151940"/>
          </a:xfrm>
        </p:spPr>
        <p:txBody>
          <a:bodyPr>
            <a:noAutofit/>
          </a:bodyPr>
          <a:lstStyle>
            <a:lvl5pPr marL="846138" indent="-158750">
              <a:buClr>
                <a:schemeClr val="accent1">
                  <a:lumMod val="90000"/>
                </a:schemeClr>
              </a:buClr>
              <a:tabLst/>
              <a:defRPr/>
            </a:lvl5pPr>
            <a:lvl6pPr marL="1111250" indent="-141288">
              <a:tabLst/>
              <a:defRPr/>
            </a:lvl6pPr>
            <a:lvl7pPr>
              <a:defRPr/>
            </a:lvl7pPr>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a:p>
            <a:pPr lvl="4"/>
            <a:r>
              <a:rPr lang="es-ES" noProof="0"/>
              <a:t>Quinto nivel</a:t>
            </a:r>
          </a:p>
          <a:p>
            <a:pPr lvl="5"/>
            <a:r>
              <a:rPr lang="es-ES" noProof="0"/>
              <a:t>- </a:t>
            </a:r>
            <a:r>
              <a:rPr lang="es-ES" noProof="0" err="1"/>
              <a:t>bhhh</a:t>
            </a:r>
            <a:endParaRPr lang="es-ES" noProof="0"/>
          </a:p>
        </p:txBody>
      </p:sp>
      <p:sp>
        <p:nvSpPr>
          <p:cNvPr id="92" name="27 Título"/>
          <p:cNvSpPr>
            <a:spLocks noGrp="1"/>
          </p:cNvSpPr>
          <p:nvPr userDrawn="1">
            <p:ph type="title" hasCustomPrompt="1"/>
          </p:nvPr>
        </p:nvSpPr>
        <p:spPr>
          <a:xfrm>
            <a:off x="1235961" y="334929"/>
            <a:ext cx="8936800" cy="518277"/>
          </a:xfrm>
        </p:spPr>
        <p:txBody>
          <a:bodyPr>
            <a:noAutofit/>
          </a:bodyPr>
          <a:lstStyle>
            <a:lvl1pPr>
              <a:defRPr sz="2000">
                <a:solidFill>
                  <a:schemeClr val="tx1"/>
                </a:solidFill>
              </a:defRPr>
            </a:lvl1pPr>
          </a:lstStyle>
          <a:p>
            <a:r>
              <a:rPr lang="es-ES"/>
              <a:t>Título</a:t>
            </a:r>
            <a:endParaRPr lang="en-US"/>
          </a:p>
        </p:txBody>
      </p:sp>
      <p:sp>
        <p:nvSpPr>
          <p:cNvPr id="8" name="Freeform 11"/>
          <p:cNvSpPr>
            <a:spLocks noEditPoints="1"/>
          </p:cNvSpPr>
          <p:nvPr userDrawn="1"/>
        </p:nvSpPr>
        <p:spPr bwMode="auto">
          <a:xfrm>
            <a:off x="420731" y="410705"/>
            <a:ext cx="476071" cy="398596"/>
          </a:xfrm>
          <a:custGeom>
            <a:avLst/>
            <a:gdLst/>
            <a:ahLst/>
            <a:cxnLst>
              <a:cxn ang="0">
                <a:pos x="1339" y="3429"/>
              </a:cxn>
              <a:cxn ang="0">
                <a:pos x="1614" y="3513"/>
              </a:cxn>
              <a:cxn ang="0">
                <a:pos x="1819" y="2989"/>
              </a:cxn>
              <a:cxn ang="0">
                <a:pos x="1006" y="2951"/>
              </a:cxn>
              <a:cxn ang="0">
                <a:pos x="1142" y="3203"/>
              </a:cxn>
              <a:cxn ang="0">
                <a:pos x="1669" y="2642"/>
              </a:cxn>
              <a:cxn ang="0">
                <a:pos x="953" y="2290"/>
              </a:cxn>
              <a:cxn ang="0">
                <a:pos x="669" y="2799"/>
              </a:cxn>
              <a:cxn ang="0">
                <a:pos x="1179" y="2515"/>
              </a:cxn>
              <a:cxn ang="0">
                <a:pos x="1043" y="2262"/>
              </a:cxn>
              <a:cxn ang="0">
                <a:pos x="268" y="2358"/>
              </a:cxn>
              <a:cxn ang="0">
                <a:pos x="542" y="2442"/>
              </a:cxn>
              <a:cxn ang="0">
                <a:pos x="625" y="2040"/>
              </a:cxn>
              <a:cxn ang="0">
                <a:pos x="321" y="1949"/>
              </a:cxn>
              <a:cxn ang="0">
                <a:pos x="771" y="1918"/>
              </a:cxn>
              <a:cxn ang="0">
                <a:pos x="1088" y="2085"/>
              </a:cxn>
              <a:cxn ang="0">
                <a:pos x="1421" y="2342"/>
              </a:cxn>
              <a:cxn ang="0">
                <a:pos x="1826" y="2542"/>
              </a:cxn>
              <a:cxn ang="0">
                <a:pos x="1999" y="2898"/>
              </a:cxn>
              <a:cxn ang="0">
                <a:pos x="2031" y="3346"/>
              </a:cxn>
              <a:cxn ang="0">
                <a:pos x="2225" y="3780"/>
              </a:cxn>
              <a:cxn ang="0">
                <a:pos x="2183" y="3448"/>
              </a:cxn>
              <a:cxn ang="0">
                <a:pos x="2325" y="3340"/>
              </a:cxn>
              <a:cxn ang="0">
                <a:pos x="2593" y="3412"/>
              </a:cxn>
              <a:cxn ang="0">
                <a:pos x="2551" y="3080"/>
              </a:cxn>
              <a:cxn ang="0">
                <a:pos x="2693" y="2972"/>
              </a:cxn>
              <a:cxn ang="0">
                <a:pos x="3006" y="2998"/>
              </a:cxn>
              <a:cxn ang="0">
                <a:pos x="2907" y="2667"/>
              </a:cxn>
              <a:cxn ang="0">
                <a:pos x="3137" y="2677"/>
              </a:cxn>
              <a:cxn ang="0">
                <a:pos x="3403" y="2535"/>
              </a:cxn>
              <a:cxn ang="0">
                <a:pos x="2103" y="1761"/>
              </a:cxn>
              <a:cxn ang="0">
                <a:pos x="1633" y="1804"/>
              </a:cxn>
              <a:cxn ang="0">
                <a:pos x="1412" y="897"/>
              </a:cxn>
              <a:cxn ang="0">
                <a:pos x="2158" y="383"/>
              </a:cxn>
              <a:cxn ang="0">
                <a:pos x="1745" y="1664"/>
              </a:cxn>
              <a:cxn ang="0">
                <a:pos x="2020" y="1559"/>
              </a:cxn>
              <a:cxn ang="0">
                <a:pos x="2248" y="821"/>
              </a:cxn>
              <a:cxn ang="0">
                <a:pos x="3230" y="1751"/>
              </a:cxn>
              <a:cxn ang="0">
                <a:pos x="3140" y="996"/>
              </a:cxn>
              <a:cxn ang="0">
                <a:pos x="2330" y="330"/>
              </a:cxn>
              <a:cxn ang="0">
                <a:pos x="3429" y="1247"/>
              </a:cxn>
              <a:cxn ang="0">
                <a:pos x="3871" y="1022"/>
              </a:cxn>
              <a:cxn ang="0">
                <a:pos x="3351" y="1937"/>
              </a:cxn>
              <a:cxn ang="0">
                <a:pos x="3570" y="2626"/>
              </a:cxn>
              <a:cxn ang="0">
                <a:pos x="3214" y="2884"/>
              </a:cxn>
              <a:cxn ang="0">
                <a:pos x="2953" y="3241"/>
              </a:cxn>
              <a:cxn ang="0">
                <a:pos x="2708" y="3549"/>
              </a:cxn>
              <a:cxn ang="0">
                <a:pos x="2432" y="3814"/>
              </a:cxn>
              <a:cxn ang="0">
                <a:pos x="1996" y="3964"/>
              </a:cxn>
              <a:cxn ang="0">
                <a:pos x="1412" y="3730"/>
              </a:cxn>
              <a:cxn ang="0">
                <a:pos x="1157" y="3383"/>
              </a:cxn>
              <a:cxn ang="0">
                <a:pos x="815" y="3144"/>
              </a:cxn>
              <a:cxn ang="0">
                <a:pos x="513" y="2892"/>
              </a:cxn>
              <a:cxn ang="0">
                <a:pos x="258" y="2624"/>
              </a:cxn>
              <a:cxn ang="0">
                <a:pos x="112" y="2195"/>
              </a:cxn>
              <a:cxn ang="0">
                <a:pos x="1000" y="410"/>
              </a:cxn>
              <a:cxn ang="0">
                <a:pos x="2100" y="209"/>
              </a:cxn>
              <a:cxn ang="0">
                <a:pos x="2804" y="11"/>
              </a:cxn>
            </a:cxnLst>
            <a:rect l="0" t="0" r="r" b="b"/>
            <a:pathLst>
              <a:path w="3871" h="3989">
                <a:moveTo>
                  <a:pt x="1758" y="2977"/>
                </a:moveTo>
                <a:lnTo>
                  <a:pt x="1726" y="2979"/>
                </a:lnTo>
                <a:lnTo>
                  <a:pt x="1696" y="2989"/>
                </a:lnTo>
                <a:lnTo>
                  <a:pt x="1668" y="3004"/>
                </a:lnTo>
                <a:lnTo>
                  <a:pt x="1642" y="3024"/>
                </a:lnTo>
                <a:lnTo>
                  <a:pt x="1384" y="3283"/>
                </a:lnTo>
                <a:lnTo>
                  <a:pt x="1363" y="3308"/>
                </a:lnTo>
                <a:lnTo>
                  <a:pt x="1349" y="3336"/>
                </a:lnTo>
                <a:lnTo>
                  <a:pt x="1339" y="3367"/>
                </a:lnTo>
                <a:lnTo>
                  <a:pt x="1336" y="3398"/>
                </a:lnTo>
                <a:lnTo>
                  <a:pt x="1339" y="3429"/>
                </a:lnTo>
                <a:lnTo>
                  <a:pt x="1349" y="3459"/>
                </a:lnTo>
                <a:lnTo>
                  <a:pt x="1363" y="3487"/>
                </a:lnTo>
                <a:lnTo>
                  <a:pt x="1384" y="3513"/>
                </a:lnTo>
                <a:lnTo>
                  <a:pt x="1410" y="3534"/>
                </a:lnTo>
                <a:lnTo>
                  <a:pt x="1438" y="3549"/>
                </a:lnTo>
                <a:lnTo>
                  <a:pt x="1468" y="3558"/>
                </a:lnTo>
                <a:lnTo>
                  <a:pt x="1499" y="3560"/>
                </a:lnTo>
                <a:lnTo>
                  <a:pt x="1530" y="3558"/>
                </a:lnTo>
                <a:lnTo>
                  <a:pt x="1561" y="3549"/>
                </a:lnTo>
                <a:lnTo>
                  <a:pt x="1589" y="3535"/>
                </a:lnTo>
                <a:lnTo>
                  <a:pt x="1614" y="3513"/>
                </a:lnTo>
                <a:lnTo>
                  <a:pt x="1873" y="3255"/>
                </a:lnTo>
                <a:lnTo>
                  <a:pt x="1893" y="3229"/>
                </a:lnTo>
                <a:lnTo>
                  <a:pt x="1909" y="3201"/>
                </a:lnTo>
                <a:lnTo>
                  <a:pt x="1918" y="3171"/>
                </a:lnTo>
                <a:lnTo>
                  <a:pt x="1920" y="3139"/>
                </a:lnTo>
                <a:lnTo>
                  <a:pt x="1918" y="3108"/>
                </a:lnTo>
                <a:lnTo>
                  <a:pt x="1909" y="3078"/>
                </a:lnTo>
                <a:lnTo>
                  <a:pt x="1893" y="3050"/>
                </a:lnTo>
                <a:lnTo>
                  <a:pt x="1873" y="3024"/>
                </a:lnTo>
                <a:lnTo>
                  <a:pt x="1847" y="3004"/>
                </a:lnTo>
                <a:lnTo>
                  <a:pt x="1819" y="2989"/>
                </a:lnTo>
                <a:lnTo>
                  <a:pt x="1789" y="2979"/>
                </a:lnTo>
                <a:lnTo>
                  <a:pt x="1758" y="2977"/>
                </a:lnTo>
                <a:close/>
                <a:moveTo>
                  <a:pt x="1509" y="2510"/>
                </a:moveTo>
                <a:lnTo>
                  <a:pt x="1478" y="2514"/>
                </a:lnTo>
                <a:lnTo>
                  <a:pt x="1447" y="2522"/>
                </a:lnTo>
                <a:lnTo>
                  <a:pt x="1419" y="2538"/>
                </a:lnTo>
                <a:lnTo>
                  <a:pt x="1394" y="2558"/>
                </a:lnTo>
                <a:lnTo>
                  <a:pt x="1285" y="2667"/>
                </a:lnTo>
                <a:lnTo>
                  <a:pt x="1285" y="2667"/>
                </a:lnTo>
                <a:lnTo>
                  <a:pt x="1027" y="2926"/>
                </a:lnTo>
                <a:lnTo>
                  <a:pt x="1006" y="2951"/>
                </a:lnTo>
                <a:lnTo>
                  <a:pt x="990" y="2979"/>
                </a:lnTo>
                <a:lnTo>
                  <a:pt x="982" y="3010"/>
                </a:lnTo>
                <a:lnTo>
                  <a:pt x="979" y="3041"/>
                </a:lnTo>
                <a:lnTo>
                  <a:pt x="982" y="3072"/>
                </a:lnTo>
                <a:lnTo>
                  <a:pt x="990" y="3102"/>
                </a:lnTo>
                <a:lnTo>
                  <a:pt x="1006" y="3130"/>
                </a:lnTo>
                <a:lnTo>
                  <a:pt x="1027" y="3156"/>
                </a:lnTo>
                <a:lnTo>
                  <a:pt x="1051" y="3177"/>
                </a:lnTo>
                <a:lnTo>
                  <a:pt x="1079" y="3191"/>
                </a:lnTo>
                <a:lnTo>
                  <a:pt x="1110" y="3201"/>
                </a:lnTo>
                <a:lnTo>
                  <a:pt x="1142" y="3203"/>
                </a:lnTo>
                <a:lnTo>
                  <a:pt x="1173" y="3201"/>
                </a:lnTo>
                <a:lnTo>
                  <a:pt x="1204" y="3191"/>
                </a:lnTo>
                <a:lnTo>
                  <a:pt x="1232" y="3177"/>
                </a:lnTo>
                <a:lnTo>
                  <a:pt x="1257" y="3156"/>
                </a:lnTo>
                <a:lnTo>
                  <a:pt x="1516" y="2898"/>
                </a:lnTo>
                <a:lnTo>
                  <a:pt x="1624" y="2789"/>
                </a:lnTo>
                <a:lnTo>
                  <a:pt x="1645" y="2764"/>
                </a:lnTo>
                <a:lnTo>
                  <a:pt x="1659" y="2736"/>
                </a:lnTo>
                <a:lnTo>
                  <a:pt x="1669" y="2705"/>
                </a:lnTo>
                <a:lnTo>
                  <a:pt x="1673" y="2674"/>
                </a:lnTo>
                <a:lnTo>
                  <a:pt x="1669" y="2642"/>
                </a:lnTo>
                <a:lnTo>
                  <a:pt x="1659" y="2611"/>
                </a:lnTo>
                <a:lnTo>
                  <a:pt x="1645" y="2583"/>
                </a:lnTo>
                <a:lnTo>
                  <a:pt x="1624" y="2558"/>
                </a:lnTo>
                <a:lnTo>
                  <a:pt x="1600" y="2538"/>
                </a:lnTo>
                <a:lnTo>
                  <a:pt x="1572" y="2522"/>
                </a:lnTo>
                <a:lnTo>
                  <a:pt x="1541" y="2514"/>
                </a:lnTo>
                <a:lnTo>
                  <a:pt x="1509" y="2510"/>
                </a:lnTo>
                <a:close/>
                <a:moveTo>
                  <a:pt x="1043" y="2262"/>
                </a:moveTo>
                <a:lnTo>
                  <a:pt x="1011" y="2265"/>
                </a:lnTo>
                <a:lnTo>
                  <a:pt x="981" y="2274"/>
                </a:lnTo>
                <a:lnTo>
                  <a:pt x="953" y="2290"/>
                </a:lnTo>
                <a:lnTo>
                  <a:pt x="928" y="2309"/>
                </a:lnTo>
                <a:lnTo>
                  <a:pt x="669" y="2569"/>
                </a:lnTo>
                <a:lnTo>
                  <a:pt x="669" y="2569"/>
                </a:lnTo>
                <a:lnTo>
                  <a:pt x="649" y="2593"/>
                </a:lnTo>
                <a:lnTo>
                  <a:pt x="633" y="2621"/>
                </a:lnTo>
                <a:lnTo>
                  <a:pt x="625" y="2652"/>
                </a:lnTo>
                <a:lnTo>
                  <a:pt x="621" y="2683"/>
                </a:lnTo>
                <a:lnTo>
                  <a:pt x="625" y="2716"/>
                </a:lnTo>
                <a:lnTo>
                  <a:pt x="633" y="2747"/>
                </a:lnTo>
                <a:lnTo>
                  <a:pt x="649" y="2775"/>
                </a:lnTo>
                <a:lnTo>
                  <a:pt x="669" y="2799"/>
                </a:lnTo>
                <a:lnTo>
                  <a:pt x="694" y="2820"/>
                </a:lnTo>
                <a:lnTo>
                  <a:pt x="722" y="2834"/>
                </a:lnTo>
                <a:lnTo>
                  <a:pt x="753" y="2844"/>
                </a:lnTo>
                <a:lnTo>
                  <a:pt x="784" y="2847"/>
                </a:lnTo>
                <a:lnTo>
                  <a:pt x="816" y="2844"/>
                </a:lnTo>
                <a:lnTo>
                  <a:pt x="847" y="2834"/>
                </a:lnTo>
                <a:lnTo>
                  <a:pt x="875" y="2820"/>
                </a:lnTo>
                <a:lnTo>
                  <a:pt x="900" y="2799"/>
                </a:lnTo>
                <a:lnTo>
                  <a:pt x="1099" y="2599"/>
                </a:lnTo>
                <a:lnTo>
                  <a:pt x="1159" y="2541"/>
                </a:lnTo>
                <a:lnTo>
                  <a:pt x="1179" y="2515"/>
                </a:lnTo>
                <a:lnTo>
                  <a:pt x="1194" y="2486"/>
                </a:lnTo>
                <a:lnTo>
                  <a:pt x="1204" y="2457"/>
                </a:lnTo>
                <a:lnTo>
                  <a:pt x="1206" y="2425"/>
                </a:lnTo>
                <a:lnTo>
                  <a:pt x="1204" y="2393"/>
                </a:lnTo>
                <a:lnTo>
                  <a:pt x="1194" y="2364"/>
                </a:lnTo>
                <a:lnTo>
                  <a:pt x="1179" y="2335"/>
                </a:lnTo>
                <a:lnTo>
                  <a:pt x="1159" y="2309"/>
                </a:lnTo>
                <a:lnTo>
                  <a:pt x="1133" y="2290"/>
                </a:lnTo>
                <a:lnTo>
                  <a:pt x="1106" y="2274"/>
                </a:lnTo>
                <a:lnTo>
                  <a:pt x="1076" y="2265"/>
                </a:lnTo>
                <a:lnTo>
                  <a:pt x="1043" y="2262"/>
                </a:lnTo>
                <a:close/>
                <a:moveTo>
                  <a:pt x="563" y="2028"/>
                </a:moveTo>
                <a:lnTo>
                  <a:pt x="531" y="2032"/>
                </a:lnTo>
                <a:lnTo>
                  <a:pt x="501" y="2040"/>
                </a:lnTo>
                <a:lnTo>
                  <a:pt x="473" y="2055"/>
                </a:lnTo>
                <a:lnTo>
                  <a:pt x="448" y="2075"/>
                </a:lnTo>
                <a:lnTo>
                  <a:pt x="312" y="2212"/>
                </a:lnTo>
                <a:lnTo>
                  <a:pt x="291" y="2237"/>
                </a:lnTo>
                <a:lnTo>
                  <a:pt x="276" y="2265"/>
                </a:lnTo>
                <a:lnTo>
                  <a:pt x="268" y="2296"/>
                </a:lnTo>
                <a:lnTo>
                  <a:pt x="264" y="2326"/>
                </a:lnTo>
                <a:lnTo>
                  <a:pt x="268" y="2358"/>
                </a:lnTo>
                <a:lnTo>
                  <a:pt x="276" y="2387"/>
                </a:lnTo>
                <a:lnTo>
                  <a:pt x="291" y="2416"/>
                </a:lnTo>
                <a:lnTo>
                  <a:pt x="312" y="2442"/>
                </a:lnTo>
                <a:lnTo>
                  <a:pt x="337" y="2463"/>
                </a:lnTo>
                <a:lnTo>
                  <a:pt x="365" y="2477"/>
                </a:lnTo>
                <a:lnTo>
                  <a:pt x="396" y="2486"/>
                </a:lnTo>
                <a:lnTo>
                  <a:pt x="427" y="2490"/>
                </a:lnTo>
                <a:lnTo>
                  <a:pt x="458" y="2486"/>
                </a:lnTo>
                <a:lnTo>
                  <a:pt x="488" y="2477"/>
                </a:lnTo>
                <a:lnTo>
                  <a:pt x="516" y="2463"/>
                </a:lnTo>
                <a:lnTo>
                  <a:pt x="542" y="2442"/>
                </a:lnTo>
                <a:lnTo>
                  <a:pt x="678" y="2306"/>
                </a:lnTo>
                <a:lnTo>
                  <a:pt x="699" y="2281"/>
                </a:lnTo>
                <a:lnTo>
                  <a:pt x="714" y="2253"/>
                </a:lnTo>
                <a:lnTo>
                  <a:pt x="722" y="2223"/>
                </a:lnTo>
                <a:lnTo>
                  <a:pt x="726" y="2191"/>
                </a:lnTo>
                <a:lnTo>
                  <a:pt x="722" y="2158"/>
                </a:lnTo>
                <a:lnTo>
                  <a:pt x="714" y="2129"/>
                </a:lnTo>
                <a:lnTo>
                  <a:pt x="699" y="2101"/>
                </a:lnTo>
                <a:lnTo>
                  <a:pt x="678" y="2075"/>
                </a:lnTo>
                <a:lnTo>
                  <a:pt x="653" y="2055"/>
                </a:lnTo>
                <a:lnTo>
                  <a:pt x="625" y="2040"/>
                </a:lnTo>
                <a:lnTo>
                  <a:pt x="594" y="2032"/>
                </a:lnTo>
                <a:lnTo>
                  <a:pt x="563" y="2028"/>
                </a:lnTo>
                <a:close/>
                <a:moveTo>
                  <a:pt x="1023" y="625"/>
                </a:moveTo>
                <a:lnTo>
                  <a:pt x="217" y="1430"/>
                </a:lnTo>
                <a:lnTo>
                  <a:pt x="324" y="1538"/>
                </a:lnTo>
                <a:lnTo>
                  <a:pt x="336" y="1553"/>
                </a:lnTo>
                <a:lnTo>
                  <a:pt x="345" y="1571"/>
                </a:lnTo>
                <a:lnTo>
                  <a:pt x="349" y="1591"/>
                </a:lnTo>
                <a:lnTo>
                  <a:pt x="349" y="1610"/>
                </a:lnTo>
                <a:lnTo>
                  <a:pt x="315" y="1954"/>
                </a:lnTo>
                <a:lnTo>
                  <a:pt x="321" y="1949"/>
                </a:lnTo>
                <a:lnTo>
                  <a:pt x="354" y="1918"/>
                </a:lnTo>
                <a:lnTo>
                  <a:pt x="392" y="1894"/>
                </a:lnTo>
                <a:lnTo>
                  <a:pt x="432" y="1874"/>
                </a:lnTo>
                <a:lnTo>
                  <a:pt x="474" y="1860"/>
                </a:lnTo>
                <a:lnTo>
                  <a:pt x="518" y="1851"/>
                </a:lnTo>
                <a:lnTo>
                  <a:pt x="563" y="1849"/>
                </a:lnTo>
                <a:lnTo>
                  <a:pt x="608" y="1851"/>
                </a:lnTo>
                <a:lnTo>
                  <a:pt x="652" y="1860"/>
                </a:lnTo>
                <a:lnTo>
                  <a:pt x="694" y="1874"/>
                </a:lnTo>
                <a:lnTo>
                  <a:pt x="733" y="1894"/>
                </a:lnTo>
                <a:lnTo>
                  <a:pt x="771" y="1918"/>
                </a:lnTo>
                <a:lnTo>
                  <a:pt x="805" y="1949"/>
                </a:lnTo>
                <a:lnTo>
                  <a:pt x="831" y="1978"/>
                </a:lnTo>
                <a:lnTo>
                  <a:pt x="854" y="2010"/>
                </a:lnTo>
                <a:lnTo>
                  <a:pt x="872" y="2043"/>
                </a:lnTo>
                <a:lnTo>
                  <a:pt x="887" y="2078"/>
                </a:lnTo>
                <a:lnTo>
                  <a:pt x="897" y="2116"/>
                </a:lnTo>
                <a:lnTo>
                  <a:pt x="932" y="2101"/>
                </a:lnTo>
                <a:lnTo>
                  <a:pt x="967" y="2091"/>
                </a:lnTo>
                <a:lnTo>
                  <a:pt x="1005" y="2085"/>
                </a:lnTo>
                <a:lnTo>
                  <a:pt x="1043" y="2083"/>
                </a:lnTo>
                <a:lnTo>
                  <a:pt x="1088" y="2085"/>
                </a:lnTo>
                <a:lnTo>
                  <a:pt x="1132" y="2095"/>
                </a:lnTo>
                <a:lnTo>
                  <a:pt x="1174" y="2108"/>
                </a:lnTo>
                <a:lnTo>
                  <a:pt x="1215" y="2128"/>
                </a:lnTo>
                <a:lnTo>
                  <a:pt x="1251" y="2153"/>
                </a:lnTo>
                <a:lnTo>
                  <a:pt x="1285" y="2183"/>
                </a:lnTo>
                <a:lnTo>
                  <a:pt x="1313" y="2214"/>
                </a:lnTo>
                <a:lnTo>
                  <a:pt x="1335" y="2247"/>
                </a:lnTo>
                <a:lnTo>
                  <a:pt x="1355" y="2282"/>
                </a:lnTo>
                <a:lnTo>
                  <a:pt x="1368" y="2319"/>
                </a:lnTo>
                <a:lnTo>
                  <a:pt x="1379" y="2357"/>
                </a:lnTo>
                <a:lnTo>
                  <a:pt x="1421" y="2342"/>
                </a:lnTo>
                <a:lnTo>
                  <a:pt x="1464" y="2334"/>
                </a:lnTo>
                <a:lnTo>
                  <a:pt x="1509" y="2331"/>
                </a:lnTo>
                <a:lnTo>
                  <a:pt x="1555" y="2334"/>
                </a:lnTo>
                <a:lnTo>
                  <a:pt x="1598" y="2343"/>
                </a:lnTo>
                <a:lnTo>
                  <a:pt x="1640" y="2357"/>
                </a:lnTo>
                <a:lnTo>
                  <a:pt x="1680" y="2376"/>
                </a:lnTo>
                <a:lnTo>
                  <a:pt x="1718" y="2402"/>
                </a:lnTo>
                <a:lnTo>
                  <a:pt x="1752" y="2431"/>
                </a:lnTo>
                <a:lnTo>
                  <a:pt x="1781" y="2465"/>
                </a:lnTo>
                <a:lnTo>
                  <a:pt x="1806" y="2503"/>
                </a:lnTo>
                <a:lnTo>
                  <a:pt x="1826" y="2542"/>
                </a:lnTo>
                <a:lnTo>
                  <a:pt x="1840" y="2585"/>
                </a:lnTo>
                <a:lnTo>
                  <a:pt x="1848" y="2628"/>
                </a:lnTo>
                <a:lnTo>
                  <a:pt x="1852" y="2674"/>
                </a:lnTo>
                <a:lnTo>
                  <a:pt x="1848" y="2719"/>
                </a:lnTo>
                <a:lnTo>
                  <a:pt x="1840" y="2762"/>
                </a:lnTo>
                <a:lnTo>
                  <a:pt x="1826" y="2804"/>
                </a:lnTo>
                <a:lnTo>
                  <a:pt x="1864" y="2814"/>
                </a:lnTo>
                <a:lnTo>
                  <a:pt x="1901" y="2828"/>
                </a:lnTo>
                <a:lnTo>
                  <a:pt x="1936" y="2847"/>
                </a:lnTo>
                <a:lnTo>
                  <a:pt x="1969" y="2870"/>
                </a:lnTo>
                <a:lnTo>
                  <a:pt x="1999" y="2898"/>
                </a:lnTo>
                <a:lnTo>
                  <a:pt x="2031" y="2933"/>
                </a:lnTo>
                <a:lnTo>
                  <a:pt x="2055" y="2971"/>
                </a:lnTo>
                <a:lnTo>
                  <a:pt x="2075" y="3011"/>
                </a:lnTo>
                <a:lnTo>
                  <a:pt x="2089" y="3052"/>
                </a:lnTo>
                <a:lnTo>
                  <a:pt x="2097" y="3096"/>
                </a:lnTo>
                <a:lnTo>
                  <a:pt x="2100" y="3139"/>
                </a:lnTo>
                <a:lnTo>
                  <a:pt x="2097" y="3183"/>
                </a:lnTo>
                <a:lnTo>
                  <a:pt x="2089" y="3227"/>
                </a:lnTo>
                <a:lnTo>
                  <a:pt x="2075" y="3268"/>
                </a:lnTo>
                <a:lnTo>
                  <a:pt x="2055" y="3308"/>
                </a:lnTo>
                <a:lnTo>
                  <a:pt x="2031" y="3346"/>
                </a:lnTo>
                <a:lnTo>
                  <a:pt x="2001" y="3381"/>
                </a:lnTo>
                <a:lnTo>
                  <a:pt x="1814" y="3566"/>
                </a:lnTo>
                <a:lnTo>
                  <a:pt x="2008" y="3760"/>
                </a:lnTo>
                <a:lnTo>
                  <a:pt x="2031" y="3780"/>
                </a:lnTo>
                <a:lnTo>
                  <a:pt x="2057" y="3794"/>
                </a:lnTo>
                <a:lnTo>
                  <a:pt x="2085" y="3804"/>
                </a:lnTo>
                <a:lnTo>
                  <a:pt x="2114" y="3809"/>
                </a:lnTo>
                <a:lnTo>
                  <a:pt x="2143" y="3809"/>
                </a:lnTo>
                <a:lnTo>
                  <a:pt x="2171" y="3804"/>
                </a:lnTo>
                <a:lnTo>
                  <a:pt x="2199" y="3794"/>
                </a:lnTo>
                <a:lnTo>
                  <a:pt x="2225" y="3780"/>
                </a:lnTo>
                <a:lnTo>
                  <a:pt x="2249" y="3760"/>
                </a:lnTo>
                <a:lnTo>
                  <a:pt x="2270" y="3733"/>
                </a:lnTo>
                <a:lnTo>
                  <a:pt x="2286" y="3704"/>
                </a:lnTo>
                <a:lnTo>
                  <a:pt x="2295" y="3672"/>
                </a:lnTo>
                <a:lnTo>
                  <a:pt x="2299" y="3640"/>
                </a:lnTo>
                <a:lnTo>
                  <a:pt x="2295" y="3605"/>
                </a:lnTo>
                <a:lnTo>
                  <a:pt x="2286" y="3574"/>
                </a:lnTo>
                <a:lnTo>
                  <a:pt x="2270" y="3545"/>
                </a:lnTo>
                <a:lnTo>
                  <a:pt x="2249" y="3519"/>
                </a:lnTo>
                <a:lnTo>
                  <a:pt x="2198" y="3468"/>
                </a:lnTo>
                <a:lnTo>
                  <a:pt x="2183" y="3448"/>
                </a:lnTo>
                <a:lnTo>
                  <a:pt x="2174" y="3426"/>
                </a:lnTo>
                <a:lnTo>
                  <a:pt x="2171" y="3404"/>
                </a:lnTo>
                <a:lnTo>
                  <a:pt x="2174" y="3381"/>
                </a:lnTo>
                <a:lnTo>
                  <a:pt x="2183" y="3359"/>
                </a:lnTo>
                <a:lnTo>
                  <a:pt x="2198" y="3340"/>
                </a:lnTo>
                <a:lnTo>
                  <a:pt x="2216" y="3325"/>
                </a:lnTo>
                <a:lnTo>
                  <a:pt x="2238" y="3317"/>
                </a:lnTo>
                <a:lnTo>
                  <a:pt x="2261" y="3314"/>
                </a:lnTo>
                <a:lnTo>
                  <a:pt x="2283" y="3317"/>
                </a:lnTo>
                <a:lnTo>
                  <a:pt x="2305" y="3325"/>
                </a:lnTo>
                <a:lnTo>
                  <a:pt x="2325" y="3340"/>
                </a:lnTo>
                <a:lnTo>
                  <a:pt x="2376" y="3391"/>
                </a:lnTo>
                <a:lnTo>
                  <a:pt x="2376" y="3392"/>
                </a:lnTo>
                <a:lnTo>
                  <a:pt x="2376" y="3392"/>
                </a:lnTo>
                <a:lnTo>
                  <a:pt x="2399" y="3412"/>
                </a:lnTo>
                <a:lnTo>
                  <a:pt x="2425" y="3426"/>
                </a:lnTo>
                <a:lnTo>
                  <a:pt x="2453" y="3436"/>
                </a:lnTo>
                <a:lnTo>
                  <a:pt x="2482" y="3441"/>
                </a:lnTo>
                <a:lnTo>
                  <a:pt x="2511" y="3441"/>
                </a:lnTo>
                <a:lnTo>
                  <a:pt x="2539" y="3436"/>
                </a:lnTo>
                <a:lnTo>
                  <a:pt x="2567" y="3426"/>
                </a:lnTo>
                <a:lnTo>
                  <a:pt x="2593" y="3412"/>
                </a:lnTo>
                <a:lnTo>
                  <a:pt x="2617" y="3392"/>
                </a:lnTo>
                <a:lnTo>
                  <a:pt x="2638" y="3365"/>
                </a:lnTo>
                <a:lnTo>
                  <a:pt x="2654" y="3336"/>
                </a:lnTo>
                <a:lnTo>
                  <a:pt x="2663" y="3305"/>
                </a:lnTo>
                <a:lnTo>
                  <a:pt x="2667" y="3272"/>
                </a:lnTo>
                <a:lnTo>
                  <a:pt x="2663" y="3238"/>
                </a:lnTo>
                <a:lnTo>
                  <a:pt x="2654" y="3206"/>
                </a:lnTo>
                <a:lnTo>
                  <a:pt x="2638" y="3177"/>
                </a:lnTo>
                <a:lnTo>
                  <a:pt x="2617" y="3151"/>
                </a:lnTo>
                <a:lnTo>
                  <a:pt x="2566" y="3099"/>
                </a:lnTo>
                <a:lnTo>
                  <a:pt x="2551" y="3080"/>
                </a:lnTo>
                <a:lnTo>
                  <a:pt x="2542" y="3058"/>
                </a:lnTo>
                <a:lnTo>
                  <a:pt x="2539" y="3035"/>
                </a:lnTo>
                <a:lnTo>
                  <a:pt x="2542" y="3013"/>
                </a:lnTo>
                <a:lnTo>
                  <a:pt x="2551" y="2991"/>
                </a:lnTo>
                <a:lnTo>
                  <a:pt x="2566" y="2972"/>
                </a:lnTo>
                <a:lnTo>
                  <a:pt x="2584" y="2957"/>
                </a:lnTo>
                <a:lnTo>
                  <a:pt x="2606" y="2949"/>
                </a:lnTo>
                <a:lnTo>
                  <a:pt x="2629" y="2946"/>
                </a:lnTo>
                <a:lnTo>
                  <a:pt x="2651" y="2949"/>
                </a:lnTo>
                <a:lnTo>
                  <a:pt x="2673" y="2957"/>
                </a:lnTo>
                <a:lnTo>
                  <a:pt x="2693" y="2972"/>
                </a:lnTo>
                <a:lnTo>
                  <a:pt x="2744" y="3023"/>
                </a:lnTo>
                <a:lnTo>
                  <a:pt x="2767" y="3044"/>
                </a:lnTo>
                <a:lnTo>
                  <a:pt x="2794" y="3058"/>
                </a:lnTo>
                <a:lnTo>
                  <a:pt x="2821" y="3068"/>
                </a:lnTo>
                <a:lnTo>
                  <a:pt x="2850" y="3073"/>
                </a:lnTo>
                <a:lnTo>
                  <a:pt x="2879" y="3073"/>
                </a:lnTo>
                <a:lnTo>
                  <a:pt x="2907" y="3068"/>
                </a:lnTo>
                <a:lnTo>
                  <a:pt x="2935" y="3058"/>
                </a:lnTo>
                <a:lnTo>
                  <a:pt x="2961" y="3044"/>
                </a:lnTo>
                <a:lnTo>
                  <a:pt x="2985" y="3023"/>
                </a:lnTo>
                <a:lnTo>
                  <a:pt x="3006" y="2998"/>
                </a:lnTo>
                <a:lnTo>
                  <a:pt x="3022" y="2968"/>
                </a:lnTo>
                <a:lnTo>
                  <a:pt x="3031" y="2937"/>
                </a:lnTo>
                <a:lnTo>
                  <a:pt x="3035" y="2903"/>
                </a:lnTo>
                <a:lnTo>
                  <a:pt x="3031" y="2870"/>
                </a:lnTo>
                <a:lnTo>
                  <a:pt x="3022" y="2838"/>
                </a:lnTo>
                <a:lnTo>
                  <a:pt x="3006" y="2809"/>
                </a:lnTo>
                <a:lnTo>
                  <a:pt x="2985" y="2782"/>
                </a:lnTo>
                <a:lnTo>
                  <a:pt x="2934" y="2731"/>
                </a:lnTo>
                <a:lnTo>
                  <a:pt x="2919" y="2713"/>
                </a:lnTo>
                <a:lnTo>
                  <a:pt x="2911" y="2691"/>
                </a:lnTo>
                <a:lnTo>
                  <a:pt x="2907" y="2667"/>
                </a:lnTo>
                <a:lnTo>
                  <a:pt x="2911" y="2646"/>
                </a:lnTo>
                <a:lnTo>
                  <a:pt x="2919" y="2624"/>
                </a:lnTo>
                <a:lnTo>
                  <a:pt x="2934" y="2604"/>
                </a:lnTo>
                <a:lnTo>
                  <a:pt x="2952" y="2589"/>
                </a:lnTo>
                <a:lnTo>
                  <a:pt x="2974" y="2581"/>
                </a:lnTo>
                <a:lnTo>
                  <a:pt x="2997" y="2579"/>
                </a:lnTo>
                <a:lnTo>
                  <a:pt x="3019" y="2581"/>
                </a:lnTo>
                <a:lnTo>
                  <a:pt x="3041" y="2589"/>
                </a:lnTo>
                <a:lnTo>
                  <a:pt x="3061" y="2604"/>
                </a:lnTo>
                <a:lnTo>
                  <a:pt x="3112" y="2655"/>
                </a:lnTo>
                <a:lnTo>
                  <a:pt x="3137" y="2677"/>
                </a:lnTo>
                <a:lnTo>
                  <a:pt x="3167" y="2693"/>
                </a:lnTo>
                <a:lnTo>
                  <a:pt x="3198" y="2703"/>
                </a:lnTo>
                <a:lnTo>
                  <a:pt x="3232" y="2705"/>
                </a:lnTo>
                <a:lnTo>
                  <a:pt x="3265" y="2703"/>
                </a:lnTo>
                <a:lnTo>
                  <a:pt x="3298" y="2693"/>
                </a:lnTo>
                <a:lnTo>
                  <a:pt x="3327" y="2677"/>
                </a:lnTo>
                <a:lnTo>
                  <a:pt x="3353" y="2655"/>
                </a:lnTo>
                <a:lnTo>
                  <a:pt x="3375" y="2630"/>
                </a:lnTo>
                <a:lnTo>
                  <a:pt x="3390" y="2600"/>
                </a:lnTo>
                <a:lnTo>
                  <a:pt x="3399" y="2569"/>
                </a:lnTo>
                <a:lnTo>
                  <a:pt x="3403" y="2535"/>
                </a:lnTo>
                <a:lnTo>
                  <a:pt x="3399" y="2502"/>
                </a:lnTo>
                <a:lnTo>
                  <a:pt x="3390" y="2470"/>
                </a:lnTo>
                <a:lnTo>
                  <a:pt x="3375" y="2441"/>
                </a:lnTo>
                <a:lnTo>
                  <a:pt x="3353" y="2414"/>
                </a:lnTo>
                <a:lnTo>
                  <a:pt x="2228" y="1291"/>
                </a:lnTo>
                <a:lnTo>
                  <a:pt x="2204" y="1543"/>
                </a:lnTo>
                <a:lnTo>
                  <a:pt x="2197" y="1593"/>
                </a:lnTo>
                <a:lnTo>
                  <a:pt x="2181" y="1641"/>
                </a:lnTo>
                <a:lnTo>
                  <a:pt x="2160" y="1684"/>
                </a:lnTo>
                <a:lnTo>
                  <a:pt x="2135" y="1725"/>
                </a:lnTo>
                <a:lnTo>
                  <a:pt x="2103" y="1761"/>
                </a:lnTo>
                <a:lnTo>
                  <a:pt x="2068" y="1793"/>
                </a:lnTo>
                <a:lnTo>
                  <a:pt x="2029" y="1821"/>
                </a:lnTo>
                <a:lnTo>
                  <a:pt x="1986" y="1842"/>
                </a:lnTo>
                <a:lnTo>
                  <a:pt x="1941" y="1859"/>
                </a:lnTo>
                <a:lnTo>
                  <a:pt x="1893" y="1868"/>
                </a:lnTo>
                <a:lnTo>
                  <a:pt x="1843" y="1872"/>
                </a:lnTo>
                <a:lnTo>
                  <a:pt x="1808" y="1870"/>
                </a:lnTo>
                <a:lnTo>
                  <a:pt x="1760" y="1862"/>
                </a:lnTo>
                <a:lnTo>
                  <a:pt x="1715" y="1849"/>
                </a:lnTo>
                <a:lnTo>
                  <a:pt x="1672" y="1829"/>
                </a:lnTo>
                <a:lnTo>
                  <a:pt x="1633" y="1804"/>
                </a:lnTo>
                <a:lnTo>
                  <a:pt x="1595" y="1775"/>
                </a:lnTo>
                <a:lnTo>
                  <a:pt x="1562" y="1739"/>
                </a:lnTo>
                <a:lnTo>
                  <a:pt x="1534" y="1700"/>
                </a:lnTo>
                <a:lnTo>
                  <a:pt x="1512" y="1659"/>
                </a:lnTo>
                <a:lnTo>
                  <a:pt x="1495" y="1614"/>
                </a:lnTo>
                <a:lnTo>
                  <a:pt x="1485" y="1569"/>
                </a:lnTo>
                <a:lnTo>
                  <a:pt x="1480" y="1521"/>
                </a:lnTo>
                <a:lnTo>
                  <a:pt x="1481" y="1474"/>
                </a:lnTo>
                <a:lnTo>
                  <a:pt x="1538" y="902"/>
                </a:lnTo>
                <a:lnTo>
                  <a:pt x="1474" y="897"/>
                </a:lnTo>
                <a:lnTo>
                  <a:pt x="1412" y="897"/>
                </a:lnTo>
                <a:lnTo>
                  <a:pt x="1349" y="901"/>
                </a:lnTo>
                <a:lnTo>
                  <a:pt x="1341" y="902"/>
                </a:lnTo>
                <a:lnTo>
                  <a:pt x="1317" y="900"/>
                </a:lnTo>
                <a:lnTo>
                  <a:pt x="1294" y="890"/>
                </a:lnTo>
                <a:lnTo>
                  <a:pt x="1274" y="875"/>
                </a:lnTo>
                <a:lnTo>
                  <a:pt x="1023" y="625"/>
                </a:lnTo>
                <a:close/>
                <a:moveTo>
                  <a:pt x="2330" y="330"/>
                </a:moveTo>
                <a:lnTo>
                  <a:pt x="2284" y="336"/>
                </a:lnTo>
                <a:lnTo>
                  <a:pt x="2241" y="346"/>
                </a:lnTo>
                <a:lnTo>
                  <a:pt x="2198" y="361"/>
                </a:lnTo>
                <a:lnTo>
                  <a:pt x="2158" y="383"/>
                </a:lnTo>
                <a:lnTo>
                  <a:pt x="2119" y="409"/>
                </a:lnTo>
                <a:lnTo>
                  <a:pt x="2082" y="441"/>
                </a:lnTo>
                <a:lnTo>
                  <a:pt x="1728" y="796"/>
                </a:lnTo>
                <a:lnTo>
                  <a:pt x="1661" y="1491"/>
                </a:lnTo>
                <a:lnTo>
                  <a:pt x="1659" y="1520"/>
                </a:lnTo>
                <a:lnTo>
                  <a:pt x="1663" y="1548"/>
                </a:lnTo>
                <a:lnTo>
                  <a:pt x="1672" y="1576"/>
                </a:lnTo>
                <a:lnTo>
                  <a:pt x="1684" y="1602"/>
                </a:lnTo>
                <a:lnTo>
                  <a:pt x="1701" y="1625"/>
                </a:lnTo>
                <a:lnTo>
                  <a:pt x="1722" y="1647"/>
                </a:lnTo>
                <a:lnTo>
                  <a:pt x="1745" y="1664"/>
                </a:lnTo>
                <a:lnTo>
                  <a:pt x="1769" y="1677"/>
                </a:lnTo>
                <a:lnTo>
                  <a:pt x="1797" y="1687"/>
                </a:lnTo>
                <a:lnTo>
                  <a:pt x="1825" y="1692"/>
                </a:lnTo>
                <a:lnTo>
                  <a:pt x="1858" y="1692"/>
                </a:lnTo>
                <a:lnTo>
                  <a:pt x="1890" y="1686"/>
                </a:lnTo>
                <a:lnTo>
                  <a:pt x="1920" y="1676"/>
                </a:lnTo>
                <a:lnTo>
                  <a:pt x="1947" y="1660"/>
                </a:lnTo>
                <a:lnTo>
                  <a:pt x="1971" y="1639"/>
                </a:lnTo>
                <a:lnTo>
                  <a:pt x="1992" y="1616"/>
                </a:lnTo>
                <a:lnTo>
                  <a:pt x="2008" y="1589"/>
                </a:lnTo>
                <a:lnTo>
                  <a:pt x="2020" y="1559"/>
                </a:lnTo>
                <a:lnTo>
                  <a:pt x="2026" y="1526"/>
                </a:lnTo>
                <a:lnTo>
                  <a:pt x="2089" y="869"/>
                </a:lnTo>
                <a:lnTo>
                  <a:pt x="2096" y="846"/>
                </a:lnTo>
                <a:lnTo>
                  <a:pt x="2107" y="826"/>
                </a:lnTo>
                <a:lnTo>
                  <a:pt x="2122" y="808"/>
                </a:lnTo>
                <a:lnTo>
                  <a:pt x="2141" y="796"/>
                </a:lnTo>
                <a:lnTo>
                  <a:pt x="2164" y="790"/>
                </a:lnTo>
                <a:lnTo>
                  <a:pt x="2187" y="789"/>
                </a:lnTo>
                <a:lnTo>
                  <a:pt x="2211" y="794"/>
                </a:lnTo>
                <a:lnTo>
                  <a:pt x="2231" y="805"/>
                </a:lnTo>
                <a:lnTo>
                  <a:pt x="2248" y="821"/>
                </a:lnTo>
                <a:lnTo>
                  <a:pt x="2260" y="840"/>
                </a:lnTo>
                <a:lnTo>
                  <a:pt x="2267" y="862"/>
                </a:lnTo>
                <a:lnTo>
                  <a:pt x="2269" y="886"/>
                </a:lnTo>
                <a:lnTo>
                  <a:pt x="2252" y="1063"/>
                </a:lnTo>
                <a:lnTo>
                  <a:pt x="2258" y="1068"/>
                </a:lnTo>
                <a:lnTo>
                  <a:pt x="2264" y="1072"/>
                </a:lnTo>
                <a:lnTo>
                  <a:pt x="2270" y="1078"/>
                </a:lnTo>
                <a:lnTo>
                  <a:pt x="3141" y="1949"/>
                </a:lnTo>
                <a:lnTo>
                  <a:pt x="3176" y="1884"/>
                </a:lnTo>
                <a:lnTo>
                  <a:pt x="3206" y="1818"/>
                </a:lnTo>
                <a:lnTo>
                  <a:pt x="3230" y="1751"/>
                </a:lnTo>
                <a:lnTo>
                  <a:pt x="3249" y="1682"/>
                </a:lnTo>
                <a:lnTo>
                  <a:pt x="3263" y="1612"/>
                </a:lnTo>
                <a:lnTo>
                  <a:pt x="3270" y="1542"/>
                </a:lnTo>
                <a:lnTo>
                  <a:pt x="3273" y="1471"/>
                </a:lnTo>
                <a:lnTo>
                  <a:pt x="3270" y="1401"/>
                </a:lnTo>
                <a:lnTo>
                  <a:pt x="3262" y="1330"/>
                </a:lnTo>
                <a:lnTo>
                  <a:pt x="3247" y="1260"/>
                </a:lnTo>
                <a:lnTo>
                  <a:pt x="3229" y="1192"/>
                </a:lnTo>
                <a:lnTo>
                  <a:pt x="3204" y="1124"/>
                </a:lnTo>
                <a:lnTo>
                  <a:pt x="3174" y="1059"/>
                </a:lnTo>
                <a:lnTo>
                  <a:pt x="3140" y="996"/>
                </a:lnTo>
                <a:lnTo>
                  <a:pt x="3100" y="935"/>
                </a:lnTo>
                <a:lnTo>
                  <a:pt x="3055" y="878"/>
                </a:lnTo>
                <a:lnTo>
                  <a:pt x="3003" y="823"/>
                </a:lnTo>
                <a:lnTo>
                  <a:pt x="2622" y="441"/>
                </a:lnTo>
                <a:lnTo>
                  <a:pt x="2585" y="409"/>
                </a:lnTo>
                <a:lnTo>
                  <a:pt x="2548" y="383"/>
                </a:lnTo>
                <a:lnTo>
                  <a:pt x="2506" y="361"/>
                </a:lnTo>
                <a:lnTo>
                  <a:pt x="2464" y="346"/>
                </a:lnTo>
                <a:lnTo>
                  <a:pt x="2420" y="336"/>
                </a:lnTo>
                <a:lnTo>
                  <a:pt x="2375" y="330"/>
                </a:lnTo>
                <a:lnTo>
                  <a:pt x="2330" y="330"/>
                </a:lnTo>
                <a:close/>
                <a:moveTo>
                  <a:pt x="2847" y="215"/>
                </a:moveTo>
                <a:lnTo>
                  <a:pt x="2749" y="314"/>
                </a:lnTo>
                <a:lnTo>
                  <a:pt x="3130" y="695"/>
                </a:lnTo>
                <a:lnTo>
                  <a:pt x="3186" y="756"/>
                </a:lnTo>
                <a:lnTo>
                  <a:pt x="3236" y="819"/>
                </a:lnTo>
                <a:lnTo>
                  <a:pt x="3281" y="885"/>
                </a:lnTo>
                <a:lnTo>
                  <a:pt x="3321" y="953"/>
                </a:lnTo>
                <a:lnTo>
                  <a:pt x="3357" y="1024"/>
                </a:lnTo>
                <a:lnTo>
                  <a:pt x="3386" y="1097"/>
                </a:lnTo>
                <a:lnTo>
                  <a:pt x="3409" y="1172"/>
                </a:lnTo>
                <a:lnTo>
                  <a:pt x="3429" y="1247"/>
                </a:lnTo>
                <a:lnTo>
                  <a:pt x="3654" y="1022"/>
                </a:lnTo>
                <a:lnTo>
                  <a:pt x="2847" y="215"/>
                </a:lnTo>
                <a:close/>
                <a:moveTo>
                  <a:pt x="2847" y="0"/>
                </a:moveTo>
                <a:lnTo>
                  <a:pt x="2847" y="0"/>
                </a:lnTo>
                <a:lnTo>
                  <a:pt x="2871" y="2"/>
                </a:lnTo>
                <a:lnTo>
                  <a:pt x="2891" y="11"/>
                </a:lnTo>
                <a:lnTo>
                  <a:pt x="2911" y="25"/>
                </a:lnTo>
                <a:lnTo>
                  <a:pt x="3844" y="958"/>
                </a:lnTo>
                <a:lnTo>
                  <a:pt x="3859" y="977"/>
                </a:lnTo>
                <a:lnTo>
                  <a:pt x="3867" y="999"/>
                </a:lnTo>
                <a:lnTo>
                  <a:pt x="3871" y="1022"/>
                </a:lnTo>
                <a:lnTo>
                  <a:pt x="3867" y="1045"/>
                </a:lnTo>
                <a:lnTo>
                  <a:pt x="3859" y="1067"/>
                </a:lnTo>
                <a:lnTo>
                  <a:pt x="3844" y="1085"/>
                </a:lnTo>
                <a:lnTo>
                  <a:pt x="3454" y="1476"/>
                </a:lnTo>
                <a:lnTo>
                  <a:pt x="3452" y="1477"/>
                </a:lnTo>
                <a:lnTo>
                  <a:pt x="3449" y="1555"/>
                </a:lnTo>
                <a:lnTo>
                  <a:pt x="3441" y="1634"/>
                </a:lnTo>
                <a:lnTo>
                  <a:pt x="3426" y="1711"/>
                </a:lnTo>
                <a:lnTo>
                  <a:pt x="3407" y="1788"/>
                </a:lnTo>
                <a:lnTo>
                  <a:pt x="3381" y="1863"/>
                </a:lnTo>
                <a:lnTo>
                  <a:pt x="3351" y="1937"/>
                </a:lnTo>
                <a:lnTo>
                  <a:pt x="3313" y="2010"/>
                </a:lnTo>
                <a:lnTo>
                  <a:pt x="3271" y="2079"/>
                </a:lnTo>
                <a:lnTo>
                  <a:pt x="3480" y="2287"/>
                </a:lnTo>
                <a:lnTo>
                  <a:pt x="3510" y="2323"/>
                </a:lnTo>
                <a:lnTo>
                  <a:pt x="3536" y="2360"/>
                </a:lnTo>
                <a:lnTo>
                  <a:pt x="3557" y="2401"/>
                </a:lnTo>
                <a:lnTo>
                  <a:pt x="3570" y="2445"/>
                </a:lnTo>
                <a:lnTo>
                  <a:pt x="3580" y="2488"/>
                </a:lnTo>
                <a:lnTo>
                  <a:pt x="3582" y="2535"/>
                </a:lnTo>
                <a:lnTo>
                  <a:pt x="3580" y="2581"/>
                </a:lnTo>
                <a:lnTo>
                  <a:pt x="3570" y="2626"/>
                </a:lnTo>
                <a:lnTo>
                  <a:pt x="3557" y="2669"/>
                </a:lnTo>
                <a:lnTo>
                  <a:pt x="3536" y="2710"/>
                </a:lnTo>
                <a:lnTo>
                  <a:pt x="3510" y="2748"/>
                </a:lnTo>
                <a:lnTo>
                  <a:pt x="3480" y="2782"/>
                </a:lnTo>
                <a:lnTo>
                  <a:pt x="3446" y="2814"/>
                </a:lnTo>
                <a:lnTo>
                  <a:pt x="3407" y="2838"/>
                </a:lnTo>
                <a:lnTo>
                  <a:pt x="3366" y="2859"/>
                </a:lnTo>
                <a:lnTo>
                  <a:pt x="3324" y="2873"/>
                </a:lnTo>
                <a:lnTo>
                  <a:pt x="3279" y="2882"/>
                </a:lnTo>
                <a:lnTo>
                  <a:pt x="3232" y="2885"/>
                </a:lnTo>
                <a:lnTo>
                  <a:pt x="3214" y="2884"/>
                </a:lnTo>
                <a:lnTo>
                  <a:pt x="3214" y="2903"/>
                </a:lnTo>
                <a:lnTo>
                  <a:pt x="3212" y="2949"/>
                </a:lnTo>
                <a:lnTo>
                  <a:pt x="3202" y="2994"/>
                </a:lnTo>
                <a:lnTo>
                  <a:pt x="3187" y="3037"/>
                </a:lnTo>
                <a:lnTo>
                  <a:pt x="3168" y="3078"/>
                </a:lnTo>
                <a:lnTo>
                  <a:pt x="3142" y="3116"/>
                </a:lnTo>
                <a:lnTo>
                  <a:pt x="3112" y="3151"/>
                </a:lnTo>
                <a:lnTo>
                  <a:pt x="3076" y="3182"/>
                </a:lnTo>
                <a:lnTo>
                  <a:pt x="3037" y="3207"/>
                </a:lnTo>
                <a:lnTo>
                  <a:pt x="2996" y="3228"/>
                </a:lnTo>
                <a:lnTo>
                  <a:pt x="2953" y="3241"/>
                </a:lnTo>
                <a:lnTo>
                  <a:pt x="2910" y="3250"/>
                </a:lnTo>
                <a:lnTo>
                  <a:pt x="2864" y="3253"/>
                </a:lnTo>
                <a:lnTo>
                  <a:pt x="2846" y="3252"/>
                </a:lnTo>
                <a:lnTo>
                  <a:pt x="2846" y="3272"/>
                </a:lnTo>
                <a:lnTo>
                  <a:pt x="2844" y="3317"/>
                </a:lnTo>
                <a:lnTo>
                  <a:pt x="2834" y="3362"/>
                </a:lnTo>
                <a:lnTo>
                  <a:pt x="2819" y="3406"/>
                </a:lnTo>
                <a:lnTo>
                  <a:pt x="2800" y="3446"/>
                </a:lnTo>
                <a:lnTo>
                  <a:pt x="2774" y="3484"/>
                </a:lnTo>
                <a:lnTo>
                  <a:pt x="2744" y="3519"/>
                </a:lnTo>
                <a:lnTo>
                  <a:pt x="2708" y="3549"/>
                </a:lnTo>
                <a:lnTo>
                  <a:pt x="2671" y="3575"/>
                </a:lnTo>
                <a:lnTo>
                  <a:pt x="2630" y="3594"/>
                </a:lnTo>
                <a:lnTo>
                  <a:pt x="2587" y="3609"/>
                </a:lnTo>
                <a:lnTo>
                  <a:pt x="2543" y="3618"/>
                </a:lnTo>
                <a:lnTo>
                  <a:pt x="2496" y="3621"/>
                </a:lnTo>
                <a:lnTo>
                  <a:pt x="2477" y="3620"/>
                </a:lnTo>
                <a:lnTo>
                  <a:pt x="2478" y="3640"/>
                </a:lnTo>
                <a:lnTo>
                  <a:pt x="2475" y="3686"/>
                </a:lnTo>
                <a:lnTo>
                  <a:pt x="2466" y="3730"/>
                </a:lnTo>
                <a:lnTo>
                  <a:pt x="2451" y="3774"/>
                </a:lnTo>
                <a:lnTo>
                  <a:pt x="2432" y="3814"/>
                </a:lnTo>
                <a:lnTo>
                  <a:pt x="2406" y="3852"/>
                </a:lnTo>
                <a:lnTo>
                  <a:pt x="2376" y="3887"/>
                </a:lnTo>
                <a:lnTo>
                  <a:pt x="2339" y="3919"/>
                </a:lnTo>
                <a:lnTo>
                  <a:pt x="2300" y="3944"/>
                </a:lnTo>
                <a:lnTo>
                  <a:pt x="2260" y="3964"/>
                </a:lnTo>
                <a:lnTo>
                  <a:pt x="2216" y="3978"/>
                </a:lnTo>
                <a:lnTo>
                  <a:pt x="2172" y="3987"/>
                </a:lnTo>
                <a:lnTo>
                  <a:pt x="2128" y="3989"/>
                </a:lnTo>
                <a:lnTo>
                  <a:pt x="2083" y="3987"/>
                </a:lnTo>
                <a:lnTo>
                  <a:pt x="2040" y="3978"/>
                </a:lnTo>
                <a:lnTo>
                  <a:pt x="1996" y="3964"/>
                </a:lnTo>
                <a:lnTo>
                  <a:pt x="1955" y="3944"/>
                </a:lnTo>
                <a:lnTo>
                  <a:pt x="1916" y="3919"/>
                </a:lnTo>
                <a:lnTo>
                  <a:pt x="1880" y="3887"/>
                </a:lnTo>
                <a:lnTo>
                  <a:pt x="1686" y="3692"/>
                </a:lnTo>
                <a:lnTo>
                  <a:pt x="1681" y="3687"/>
                </a:lnTo>
                <a:lnTo>
                  <a:pt x="1639" y="3710"/>
                </a:lnTo>
                <a:lnTo>
                  <a:pt x="1594" y="3727"/>
                </a:lnTo>
                <a:lnTo>
                  <a:pt x="1546" y="3737"/>
                </a:lnTo>
                <a:lnTo>
                  <a:pt x="1499" y="3741"/>
                </a:lnTo>
                <a:lnTo>
                  <a:pt x="1456" y="3737"/>
                </a:lnTo>
                <a:lnTo>
                  <a:pt x="1412" y="3730"/>
                </a:lnTo>
                <a:lnTo>
                  <a:pt x="1371" y="3715"/>
                </a:lnTo>
                <a:lnTo>
                  <a:pt x="1330" y="3696"/>
                </a:lnTo>
                <a:lnTo>
                  <a:pt x="1293" y="3671"/>
                </a:lnTo>
                <a:lnTo>
                  <a:pt x="1257" y="3641"/>
                </a:lnTo>
                <a:lnTo>
                  <a:pt x="1229" y="3609"/>
                </a:lnTo>
                <a:lnTo>
                  <a:pt x="1206" y="3575"/>
                </a:lnTo>
                <a:lnTo>
                  <a:pt x="1187" y="3538"/>
                </a:lnTo>
                <a:lnTo>
                  <a:pt x="1172" y="3501"/>
                </a:lnTo>
                <a:lnTo>
                  <a:pt x="1163" y="3462"/>
                </a:lnTo>
                <a:lnTo>
                  <a:pt x="1157" y="3423"/>
                </a:lnTo>
                <a:lnTo>
                  <a:pt x="1157" y="3383"/>
                </a:lnTo>
                <a:lnTo>
                  <a:pt x="1142" y="3384"/>
                </a:lnTo>
                <a:lnTo>
                  <a:pt x="1096" y="3380"/>
                </a:lnTo>
                <a:lnTo>
                  <a:pt x="1053" y="3372"/>
                </a:lnTo>
                <a:lnTo>
                  <a:pt x="1011" y="3357"/>
                </a:lnTo>
                <a:lnTo>
                  <a:pt x="971" y="3337"/>
                </a:lnTo>
                <a:lnTo>
                  <a:pt x="933" y="3313"/>
                </a:lnTo>
                <a:lnTo>
                  <a:pt x="900" y="3283"/>
                </a:lnTo>
                <a:lnTo>
                  <a:pt x="872" y="3251"/>
                </a:lnTo>
                <a:lnTo>
                  <a:pt x="848" y="3217"/>
                </a:lnTo>
                <a:lnTo>
                  <a:pt x="830" y="3182"/>
                </a:lnTo>
                <a:lnTo>
                  <a:pt x="815" y="3144"/>
                </a:lnTo>
                <a:lnTo>
                  <a:pt x="805" y="3105"/>
                </a:lnTo>
                <a:lnTo>
                  <a:pt x="800" y="3066"/>
                </a:lnTo>
                <a:lnTo>
                  <a:pt x="800" y="3026"/>
                </a:lnTo>
                <a:lnTo>
                  <a:pt x="784" y="3026"/>
                </a:lnTo>
                <a:lnTo>
                  <a:pt x="739" y="3023"/>
                </a:lnTo>
                <a:lnTo>
                  <a:pt x="696" y="3015"/>
                </a:lnTo>
                <a:lnTo>
                  <a:pt x="653" y="3000"/>
                </a:lnTo>
                <a:lnTo>
                  <a:pt x="614" y="2981"/>
                </a:lnTo>
                <a:lnTo>
                  <a:pt x="576" y="2956"/>
                </a:lnTo>
                <a:lnTo>
                  <a:pt x="542" y="2926"/>
                </a:lnTo>
                <a:lnTo>
                  <a:pt x="513" y="2892"/>
                </a:lnTo>
                <a:lnTo>
                  <a:pt x="487" y="2855"/>
                </a:lnTo>
                <a:lnTo>
                  <a:pt x="468" y="2815"/>
                </a:lnTo>
                <a:lnTo>
                  <a:pt x="454" y="2772"/>
                </a:lnTo>
                <a:lnTo>
                  <a:pt x="445" y="2728"/>
                </a:lnTo>
                <a:lnTo>
                  <a:pt x="442" y="2683"/>
                </a:lnTo>
                <a:lnTo>
                  <a:pt x="442" y="2669"/>
                </a:lnTo>
                <a:lnTo>
                  <a:pt x="427" y="2669"/>
                </a:lnTo>
                <a:lnTo>
                  <a:pt x="384" y="2666"/>
                </a:lnTo>
                <a:lnTo>
                  <a:pt x="340" y="2658"/>
                </a:lnTo>
                <a:lnTo>
                  <a:pt x="298" y="2643"/>
                </a:lnTo>
                <a:lnTo>
                  <a:pt x="258" y="2624"/>
                </a:lnTo>
                <a:lnTo>
                  <a:pt x="220" y="2599"/>
                </a:lnTo>
                <a:lnTo>
                  <a:pt x="185" y="2569"/>
                </a:lnTo>
                <a:lnTo>
                  <a:pt x="155" y="2533"/>
                </a:lnTo>
                <a:lnTo>
                  <a:pt x="129" y="2494"/>
                </a:lnTo>
                <a:lnTo>
                  <a:pt x="109" y="2454"/>
                </a:lnTo>
                <a:lnTo>
                  <a:pt x="96" y="2412"/>
                </a:lnTo>
                <a:lnTo>
                  <a:pt x="88" y="2368"/>
                </a:lnTo>
                <a:lnTo>
                  <a:pt x="85" y="2324"/>
                </a:lnTo>
                <a:lnTo>
                  <a:pt x="89" y="2280"/>
                </a:lnTo>
                <a:lnTo>
                  <a:pt x="97" y="2236"/>
                </a:lnTo>
                <a:lnTo>
                  <a:pt x="112" y="2195"/>
                </a:lnTo>
                <a:lnTo>
                  <a:pt x="167" y="1634"/>
                </a:lnTo>
                <a:lnTo>
                  <a:pt x="27" y="1494"/>
                </a:lnTo>
                <a:lnTo>
                  <a:pt x="12" y="1475"/>
                </a:lnTo>
                <a:lnTo>
                  <a:pt x="3" y="1454"/>
                </a:lnTo>
                <a:lnTo>
                  <a:pt x="0" y="1430"/>
                </a:lnTo>
                <a:lnTo>
                  <a:pt x="3" y="1407"/>
                </a:lnTo>
                <a:lnTo>
                  <a:pt x="12" y="1386"/>
                </a:lnTo>
                <a:lnTo>
                  <a:pt x="27" y="1366"/>
                </a:lnTo>
                <a:lnTo>
                  <a:pt x="960" y="433"/>
                </a:lnTo>
                <a:lnTo>
                  <a:pt x="978" y="420"/>
                </a:lnTo>
                <a:lnTo>
                  <a:pt x="1000" y="410"/>
                </a:lnTo>
                <a:lnTo>
                  <a:pt x="1023" y="408"/>
                </a:lnTo>
                <a:lnTo>
                  <a:pt x="1046" y="410"/>
                </a:lnTo>
                <a:lnTo>
                  <a:pt x="1067" y="420"/>
                </a:lnTo>
                <a:lnTo>
                  <a:pt x="1087" y="433"/>
                </a:lnTo>
                <a:lnTo>
                  <a:pt x="1372" y="720"/>
                </a:lnTo>
                <a:lnTo>
                  <a:pt x="1460" y="718"/>
                </a:lnTo>
                <a:lnTo>
                  <a:pt x="1547" y="723"/>
                </a:lnTo>
                <a:lnTo>
                  <a:pt x="1955" y="314"/>
                </a:lnTo>
                <a:lnTo>
                  <a:pt x="2002" y="274"/>
                </a:lnTo>
                <a:lnTo>
                  <a:pt x="2049" y="238"/>
                </a:lnTo>
                <a:lnTo>
                  <a:pt x="2100" y="209"/>
                </a:lnTo>
                <a:lnTo>
                  <a:pt x="2154" y="186"/>
                </a:lnTo>
                <a:lnTo>
                  <a:pt x="2209" y="169"/>
                </a:lnTo>
                <a:lnTo>
                  <a:pt x="2265" y="157"/>
                </a:lnTo>
                <a:lnTo>
                  <a:pt x="2322" y="151"/>
                </a:lnTo>
                <a:lnTo>
                  <a:pt x="2379" y="151"/>
                </a:lnTo>
                <a:lnTo>
                  <a:pt x="2437" y="157"/>
                </a:lnTo>
                <a:lnTo>
                  <a:pt x="2493" y="168"/>
                </a:lnTo>
                <a:lnTo>
                  <a:pt x="2548" y="185"/>
                </a:lnTo>
                <a:lnTo>
                  <a:pt x="2601" y="208"/>
                </a:lnTo>
                <a:lnTo>
                  <a:pt x="2784" y="25"/>
                </a:lnTo>
                <a:lnTo>
                  <a:pt x="2804" y="11"/>
                </a:lnTo>
                <a:lnTo>
                  <a:pt x="2824" y="2"/>
                </a:lnTo>
                <a:lnTo>
                  <a:pt x="2847"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ES" sz="1800"/>
          </a:p>
        </p:txBody>
      </p:sp>
      <p:sp>
        <p:nvSpPr>
          <p:cNvPr id="2" name="Marcador de número de diapositiva 1"/>
          <p:cNvSpPr>
            <a:spLocks noGrp="1"/>
          </p:cNvSpPr>
          <p:nvPr>
            <p:ph type="sldNum" sz="quarter" idx="24"/>
          </p:nvPr>
        </p:nvSpPr>
        <p:spPr/>
        <p:txBody>
          <a:bodyPr/>
          <a:lstStyle/>
          <a:p>
            <a:pPr marL="7938" algn="ctr" fontAlgn="base">
              <a:spcAft>
                <a:spcPct val="0"/>
              </a:spcAft>
              <a:buClr>
                <a:srgbClr val="505150"/>
              </a:buClr>
              <a:buSzPct val="88000"/>
            </a:pPr>
            <a:fld id="{B90C96D8-0395-4AF3-8A78-0E88AEC6FB3C}" type="slidenum">
              <a:rPr lang="es-ES" smtClean="0"/>
              <a:pPr marL="7938" algn="ctr" fontAlgn="base">
                <a:spcAft>
                  <a:spcPct val="0"/>
                </a:spcAft>
                <a:buClr>
                  <a:srgbClr val="505150"/>
                </a:buClr>
                <a:buSzPct val="88000"/>
              </a:pPr>
              <a:t>‹Nº›</a:t>
            </a:fld>
            <a:endParaRPr lang="es-ES"/>
          </a:p>
        </p:txBody>
      </p:sp>
    </p:spTree>
    <p:extLst>
      <p:ext uri="{BB962C8B-B14F-4D97-AF65-F5344CB8AC3E}">
        <p14:creationId xmlns:p14="http://schemas.microsoft.com/office/powerpoint/2010/main" val="2788245412"/>
      </p:ext>
    </p:extLst>
  </p:cSld>
  <p:clrMapOvr>
    <a:masterClrMapping/>
  </p:clrMapOvr>
  <p:transition spd="slow"/>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str - solo titulo">
    <p:spTree>
      <p:nvGrpSpPr>
        <p:cNvPr id="1" name=""/>
        <p:cNvGrpSpPr/>
        <p:nvPr/>
      </p:nvGrpSpPr>
      <p:grpSpPr>
        <a:xfrm>
          <a:off x="0" y="0"/>
          <a:ext cx="0" cy="0"/>
          <a:chOff x="0" y="0"/>
          <a:chExt cx="0" cy="0"/>
        </a:xfrm>
      </p:grpSpPr>
      <p:sp>
        <p:nvSpPr>
          <p:cNvPr id="3" name="Rectangle 1">
            <a:extLst>
              <a:ext uri="{FF2B5EF4-FFF2-40B4-BE49-F238E27FC236}">
                <a16:creationId xmlns:a16="http://schemas.microsoft.com/office/drawing/2014/main" id="{B106266E-5B1B-C15D-71DD-4C641D76FB79}"/>
              </a:ext>
            </a:extLst>
          </p:cNvPr>
          <p:cNvSpPr/>
          <p:nvPr userDrawn="1"/>
        </p:nvSpPr>
        <p:spPr>
          <a:xfrm>
            <a:off x="0" y="1320692"/>
            <a:ext cx="12192000" cy="5257117"/>
          </a:xfrm>
          <a:prstGeom prst="rect">
            <a:avLst/>
          </a:prstGeom>
          <a:gradFill>
            <a:gsLst>
              <a:gs pos="0">
                <a:srgbClr val="BBF3F0">
                  <a:alpha val="61961"/>
                </a:srgbClr>
              </a:gs>
              <a:gs pos="73000">
                <a:srgbClr val="54AFC8">
                  <a:alpha val="31765"/>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latin typeface="Century Gothic" panose="020B0502020202020204" pitchFamily="34" charset="0"/>
            </a:endParaRPr>
          </a:p>
        </p:txBody>
      </p:sp>
      <p:sp>
        <p:nvSpPr>
          <p:cNvPr id="2" name="Título 1">
            <a:extLst>
              <a:ext uri="{FF2B5EF4-FFF2-40B4-BE49-F238E27FC236}">
                <a16:creationId xmlns:a16="http://schemas.microsoft.com/office/drawing/2014/main" id="{06DDE8FC-D7A6-4741-B4E6-95DC363B1FF4}"/>
              </a:ext>
            </a:extLst>
          </p:cNvPr>
          <p:cNvSpPr>
            <a:spLocks noGrp="1"/>
          </p:cNvSpPr>
          <p:nvPr>
            <p:ph type="title" hasCustomPrompt="1"/>
          </p:nvPr>
        </p:nvSpPr>
        <p:spPr>
          <a:xfrm>
            <a:off x="347502" y="379055"/>
            <a:ext cx="10515600" cy="410599"/>
          </a:xfrm>
          <a:prstGeom prst="rect">
            <a:avLst/>
          </a:prstGeom>
        </p:spPr>
        <p:txBody>
          <a:bodyPr/>
          <a:lstStyle>
            <a:lvl1pPr>
              <a:defRPr kumimoji="0" lang="es-ES" sz="2668" b="1" i="0" u="none" strike="noStrike" kern="0" cap="none" spc="0" normalizeH="0" baseline="0" dirty="0">
                <a:ln>
                  <a:noFill/>
                </a:ln>
                <a:solidFill>
                  <a:srgbClr val="303031"/>
                </a:solidFill>
                <a:effectLst/>
                <a:uLnTx/>
                <a:uFillTx/>
                <a:latin typeface="Montserrat" panose="00000500000000000000" pitchFamily="2" charset="0"/>
                <a:cs typeface="Calibri"/>
              </a:defRPr>
            </a:lvl1pPr>
          </a:lstStyle>
          <a:p>
            <a:pPr marL="7701" marR="0" lvl="0" indent="0" defTabSz="554492" eaLnBrk="1" fontAlgn="auto" latinLnBrk="0" hangingPunct="1">
              <a:lnSpc>
                <a:spcPct val="100000"/>
              </a:lnSpc>
              <a:spcBef>
                <a:spcPts val="58"/>
              </a:spcBef>
              <a:spcAft>
                <a:spcPts val="0"/>
              </a:spcAft>
              <a:buClrTx/>
              <a:buSzTx/>
              <a:buFontTx/>
              <a:buNone/>
              <a:tabLst/>
              <a:defRPr/>
            </a:pPr>
            <a:r>
              <a:rPr lang="es-ES"/>
              <a:t>Haga clic para modificar el estilo de título del patrón </a:t>
            </a:r>
          </a:p>
        </p:txBody>
      </p:sp>
      <p:sp>
        <p:nvSpPr>
          <p:cNvPr id="5" name="Marcador de texto 4">
            <a:extLst>
              <a:ext uri="{FF2B5EF4-FFF2-40B4-BE49-F238E27FC236}">
                <a16:creationId xmlns:a16="http://schemas.microsoft.com/office/drawing/2014/main" id="{2746BAC4-EB8F-5CCD-3AE3-796CDCC7D856}"/>
              </a:ext>
            </a:extLst>
          </p:cNvPr>
          <p:cNvSpPr>
            <a:spLocks noGrp="1"/>
          </p:cNvSpPr>
          <p:nvPr>
            <p:ph type="body" sz="quarter" idx="10"/>
          </p:nvPr>
        </p:nvSpPr>
        <p:spPr>
          <a:xfrm>
            <a:off x="347546" y="933782"/>
            <a:ext cx="10515556" cy="417987"/>
          </a:xfrm>
          <a:prstGeom prst="rect">
            <a:avLst/>
          </a:prstGeom>
        </p:spPr>
        <p:txBody>
          <a:bodyPr/>
          <a:lstStyle>
            <a:lvl1pPr marL="0" indent="0">
              <a:buNone/>
              <a:defRPr sz="1940">
                <a:solidFill>
                  <a:srgbClr val="0575E6"/>
                </a:solidFill>
                <a:latin typeface="Montserrat" panose="00000500000000000000" pitchFamily="2" charset="0"/>
              </a:defRPr>
            </a:lvl1pPr>
          </a:lstStyle>
          <a:p>
            <a:pPr lvl="0"/>
            <a:r>
              <a:rPr lang="es-ES"/>
              <a:t>Haga clic para modificar los estilos de texto del patrón</a:t>
            </a:r>
          </a:p>
        </p:txBody>
      </p:sp>
    </p:spTree>
    <p:extLst>
      <p:ext uri="{BB962C8B-B14F-4D97-AF65-F5344CB8AC3E}">
        <p14:creationId xmlns:p14="http://schemas.microsoft.com/office/powerpoint/2010/main" val="1817014757"/>
      </p:ext>
    </p:extLst>
  </p:cSld>
  <p:clrMapOvr>
    <a:masterClrMapping/>
  </p:clrMapOvr>
  <p:extLst>
    <p:ext uri="{DCECCB84-F9BA-43D5-87BE-67443E8EF086}">
      <p15:sldGuideLst xmlns:p15="http://schemas.microsoft.com/office/powerpoint/2012/main">
        <p15:guide id="1" orient="horz" pos="595">
          <p15:clr>
            <a:srgbClr val="FBAE40"/>
          </p15:clr>
        </p15:guide>
        <p15:guide id="2" pos="279">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_str - solo ti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6DDE8FC-D7A6-4741-B4E6-95DC363B1FF4}"/>
              </a:ext>
            </a:extLst>
          </p:cNvPr>
          <p:cNvSpPr>
            <a:spLocks noGrp="1"/>
          </p:cNvSpPr>
          <p:nvPr>
            <p:ph type="title" hasCustomPrompt="1"/>
          </p:nvPr>
        </p:nvSpPr>
        <p:spPr>
          <a:xfrm>
            <a:off x="347502" y="379055"/>
            <a:ext cx="10515600" cy="410599"/>
          </a:xfrm>
          <a:prstGeom prst="rect">
            <a:avLst/>
          </a:prstGeom>
        </p:spPr>
        <p:txBody>
          <a:bodyPr/>
          <a:lstStyle>
            <a:lvl1pPr>
              <a:defRPr kumimoji="0" lang="es-ES" sz="2668" b="1" i="0" u="none" strike="noStrike" kern="0" cap="none" spc="0" normalizeH="0" baseline="0" dirty="0">
                <a:ln>
                  <a:noFill/>
                </a:ln>
                <a:solidFill>
                  <a:srgbClr val="303031"/>
                </a:solidFill>
                <a:effectLst/>
                <a:uLnTx/>
                <a:uFillTx/>
                <a:latin typeface="Montserrat" panose="00000500000000000000" pitchFamily="2" charset="0"/>
                <a:cs typeface="Calibri"/>
              </a:defRPr>
            </a:lvl1pPr>
          </a:lstStyle>
          <a:p>
            <a:pPr marL="7701" marR="0" lvl="0" indent="0" defTabSz="554492" eaLnBrk="1" fontAlgn="auto" latinLnBrk="0" hangingPunct="1">
              <a:lnSpc>
                <a:spcPct val="100000"/>
              </a:lnSpc>
              <a:spcBef>
                <a:spcPts val="58"/>
              </a:spcBef>
              <a:spcAft>
                <a:spcPts val="0"/>
              </a:spcAft>
              <a:buClrTx/>
              <a:buSzTx/>
              <a:buFontTx/>
              <a:buNone/>
              <a:tabLst/>
              <a:defRPr/>
            </a:pPr>
            <a:r>
              <a:rPr lang="es-ES"/>
              <a:t>Haga clic para modificar el estilo de título del patrón </a:t>
            </a:r>
          </a:p>
        </p:txBody>
      </p:sp>
      <p:sp>
        <p:nvSpPr>
          <p:cNvPr id="4" name="Rectangle 1">
            <a:extLst>
              <a:ext uri="{FF2B5EF4-FFF2-40B4-BE49-F238E27FC236}">
                <a16:creationId xmlns:a16="http://schemas.microsoft.com/office/drawing/2014/main" id="{57767391-9E65-5CCA-95BC-B3BDA4CA51D2}"/>
              </a:ext>
            </a:extLst>
          </p:cNvPr>
          <p:cNvSpPr/>
          <p:nvPr userDrawn="1"/>
        </p:nvSpPr>
        <p:spPr>
          <a:xfrm>
            <a:off x="0" y="2141190"/>
            <a:ext cx="12192000" cy="4447492"/>
          </a:xfrm>
          <a:prstGeom prst="rect">
            <a:avLst/>
          </a:prstGeom>
          <a:gradFill>
            <a:gsLst>
              <a:gs pos="0">
                <a:srgbClr val="BBF3F0">
                  <a:alpha val="61961"/>
                </a:srgbClr>
              </a:gs>
              <a:gs pos="73000">
                <a:srgbClr val="54AFC8">
                  <a:alpha val="31765"/>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54492" eaLnBrk="1" fontAlgn="auto" latinLnBrk="0" hangingPunct="1">
              <a:lnSpc>
                <a:spcPct val="100000"/>
              </a:lnSpc>
              <a:spcBef>
                <a:spcPts val="0"/>
              </a:spcBef>
              <a:spcAft>
                <a:spcPts val="0"/>
              </a:spcAft>
              <a:buClrTx/>
              <a:buSzTx/>
              <a:buFontTx/>
              <a:buNone/>
              <a:tabLst/>
              <a:defRPr/>
            </a:pPr>
            <a:endParaRPr kumimoji="0" lang="en-US" sz="1092" b="0" i="0" u="none" strike="noStrike" kern="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7" name="Marcador de texto 6">
            <a:extLst>
              <a:ext uri="{FF2B5EF4-FFF2-40B4-BE49-F238E27FC236}">
                <a16:creationId xmlns:a16="http://schemas.microsoft.com/office/drawing/2014/main" id="{0A25B325-B845-5289-1BAC-F9167B3F30DD}"/>
              </a:ext>
            </a:extLst>
          </p:cNvPr>
          <p:cNvSpPr>
            <a:spLocks noGrp="1"/>
          </p:cNvSpPr>
          <p:nvPr>
            <p:ph type="body" sz="quarter" idx="11"/>
          </p:nvPr>
        </p:nvSpPr>
        <p:spPr>
          <a:xfrm>
            <a:off x="347545" y="1381196"/>
            <a:ext cx="11496910" cy="554493"/>
          </a:xfrm>
          <a:prstGeom prst="rect">
            <a:avLst/>
          </a:prstGeom>
        </p:spPr>
        <p:txBody>
          <a:bodyPr/>
          <a:lstStyle>
            <a:lvl1pPr marL="0" indent="0">
              <a:buNone/>
              <a:defRPr sz="1455">
                <a:latin typeface="Montserrat" panose="00000500000000000000" pitchFamily="2" charset="0"/>
              </a:defRPr>
            </a:lvl1pPr>
          </a:lstStyle>
          <a:p>
            <a:pPr lvl="0"/>
            <a:r>
              <a:rPr lang="es-ES"/>
              <a:t>Haga clic para modificar los estilos de texto del patrón</a:t>
            </a:r>
          </a:p>
        </p:txBody>
      </p:sp>
      <p:sp>
        <p:nvSpPr>
          <p:cNvPr id="8" name="Marcador de texto 4">
            <a:extLst>
              <a:ext uri="{FF2B5EF4-FFF2-40B4-BE49-F238E27FC236}">
                <a16:creationId xmlns:a16="http://schemas.microsoft.com/office/drawing/2014/main" id="{2DE5426A-7992-3EF3-CD77-12A2D6C06179}"/>
              </a:ext>
            </a:extLst>
          </p:cNvPr>
          <p:cNvSpPr>
            <a:spLocks noGrp="1"/>
          </p:cNvSpPr>
          <p:nvPr>
            <p:ph type="body" sz="quarter" idx="10"/>
          </p:nvPr>
        </p:nvSpPr>
        <p:spPr>
          <a:xfrm>
            <a:off x="347546" y="933782"/>
            <a:ext cx="10515556" cy="417987"/>
          </a:xfrm>
          <a:prstGeom prst="rect">
            <a:avLst/>
          </a:prstGeom>
        </p:spPr>
        <p:txBody>
          <a:bodyPr/>
          <a:lstStyle>
            <a:lvl1pPr marL="0" indent="0">
              <a:buNone/>
              <a:defRPr sz="1940">
                <a:solidFill>
                  <a:srgbClr val="0575E6"/>
                </a:solidFill>
                <a:latin typeface="Montserrat" panose="00000500000000000000" pitchFamily="2" charset="0"/>
              </a:defRPr>
            </a:lvl1pPr>
          </a:lstStyle>
          <a:p>
            <a:pPr lvl="0"/>
            <a:r>
              <a:rPr lang="es-ES"/>
              <a:t>Haga clic para modificar los estilos de texto del patrón</a:t>
            </a:r>
          </a:p>
        </p:txBody>
      </p:sp>
    </p:spTree>
    <p:extLst>
      <p:ext uri="{BB962C8B-B14F-4D97-AF65-F5344CB8AC3E}">
        <p14:creationId xmlns:p14="http://schemas.microsoft.com/office/powerpoint/2010/main" val="2341374685"/>
      </p:ext>
    </p:extLst>
  </p:cSld>
  <p:clrMapOvr>
    <a:masterClrMapping/>
  </p:clrMapOvr>
  <p:extLst>
    <p:ext uri="{DCECCB84-F9BA-43D5-87BE-67443E8EF086}">
      <p15:sldGuideLst xmlns:p15="http://schemas.microsoft.com/office/powerpoint/2012/main">
        <p15:guide id="1" orient="horz" pos="595">
          <p15:clr>
            <a:srgbClr val="FBAE40"/>
          </p15:clr>
        </p15:guide>
        <p15:guide id="2" pos="279">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ítulo y objetos">
    <p:bg>
      <p:bgPr>
        <a:solidFill>
          <a:srgbClr val="E5FBFA">
            <a:alpha val="76078"/>
          </a:srgbClr>
        </a:solidFill>
        <a:effectLst/>
      </p:bgPr>
    </p:bg>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9B1200B5-9013-CA04-A331-56AAD249C82D}"/>
              </a:ext>
            </a:extLst>
          </p:cNvPr>
          <p:cNvSpPr>
            <a:spLocks noGrp="1"/>
          </p:cNvSpPr>
          <p:nvPr>
            <p:ph type="title" hasCustomPrompt="1"/>
          </p:nvPr>
        </p:nvSpPr>
        <p:spPr>
          <a:xfrm>
            <a:off x="347502" y="379055"/>
            <a:ext cx="10515600" cy="410599"/>
          </a:xfrm>
          <a:prstGeom prst="rect">
            <a:avLst/>
          </a:prstGeom>
        </p:spPr>
        <p:txBody>
          <a:bodyPr/>
          <a:lstStyle>
            <a:lvl1pPr>
              <a:defRPr kumimoji="0" lang="es-ES" sz="2668" b="1" i="0" u="none" strike="noStrike" kern="0" cap="none" spc="0" normalizeH="0" baseline="0" dirty="0">
                <a:ln>
                  <a:noFill/>
                </a:ln>
                <a:solidFill>
                  <a:srgbClr val="303031"/>
                </a:solidFill>
                <a:effectLst/>
                <a:uLnTx/>
                <a:uFillTx/>
                <a:latin typeface="Montserrat" panose="00000500000000000000" pitchFamily="2" charset="0"/>
                <a:cs typeface="Calibri"/>
              </a:defRPr>
            </a:lvl1pPr>
          </a:lstStyle>
          <a:p>
            <a:pPr marL="7701" marR="0" lvl="0" indent="0" defTabSz="554492" eaLnBrk="1" fontAlgn="auto" latinLnBrk="0" hangingPunct="1">
              <a:lnSpc>
                <a:spcPct val="100000"/>
              </a:lnSpc>
              <a:spcBef>
                <a:spcPts val="58"/>
              </a:spcBef>
              <a:spcAft>
                <a:spcPts val="0"/>
              </a:spcAft>
              <a:buClrTx/>
              <a:buSzTx/>
              <a:buFontTx/>
              <a:buNone/>
              <a:tabLst/>
              <a:defRPr/>
            </a:pPr>
            <a:r>
              <a:rPr lang="es-ES"/>
              <a:t>Haga clic para modificar el estilo de título del patrón </a:t>
            </a:r>
          </a:p>
        </p:txBody>
      </p:sp>
      <p:sp>
        <p:nvSpPr>
          <p:cNvPr id="9" name="Marcador de texto 6">
            <a:extLst>
              <a:ext uri="{FF2B5EF4-FFF2-40B4-BE49-F238E27FC236}">
                <a16:creationId xmlns:a16="http://schemas.microsoft.com/office/drawing/2014/main" id="{BA06EBE8-A6C0-9398-7F97-D6C5E1EFB350}"/>
              </a:ext>
            </a:extLst>
          </p:cNvPr>
          <p:cNvSpPr>
            <a:spLocks noGrp="1"/>
          </p:cNvSpPr>
          <p:nvPr>
            <p:ph type="body" sz="quarter" idx="11"/>
          </p:nvPr>
        </p:nvSpPr>
        <p:spPr>
          <a:xfrm>
            <a:off x="347545" y="1381196"/>
            <a:ext cx="11496910" cy="554493"/>
          </a:xfrm>
          <a:prstGeom prst="rect">
            <a:avLst/>
          </a:prstGeom>
        </p:spPr>
        <p:txBody>
          <a:bodyPr/>
          <a:lstStyle>
            <a:lvl1pPr marL="0" indent="0">
              <a:buNone/>
              <a:defRPr sz="1455">
                <a:latin typeface="Montserrat" panose="00000500000000000000" pitchFamily="2" charset="0"/>
              </a:defRPr>
            </a:lvl1pPr>
          </a:lstStyle>
          <a:p>
            <a:pPr lvl="0"/>
            <a:r>
              <a:rPr lang="es-ES"/>
              <a:t>Haga clic para modificar los estilos de texto del patrón</a:t>
            </a:r>
          </a:p>
        </p:txBody>
      </p:sp>
      <p:sp>
        <p:nvSpPr>
          <p:cNvPr id="10" name="Marcador de texto 4">
            <a:extLst>
              <a:ext uri="{FF2B5EF4-FFF2-40B4-BE49-F238E27FC236}">
                <a16:creationId xmlns:a16="http://schemas.microsoft.com/office/drawing/2014/main" id="{B16B52D0-F2DD-6DEE-2D16-1CF6EFBABCFA}"/>
              </a:ext>
            </a:extLst>
          </p:cNvPr>
          <p:cNvSpPr>
            <a:spLocks noGrp="1"/>
          </p:cNvSpPr>
          <p:nvPr>
            <p:ph type="body" sz="quarter" idx="10"/>
          </p:nvPr>
        </p:nvSpPr>
        <p:spPr>
          <a:xfrm>
            <a:off x="347546" y="933782"/>
            <a:ext cx="10515556" cy="417987"/>
          </a:xfrm>
          <a:prstGeom prst="rect">
            <a:avLst/>
          </a:prstGeom>
        </p:spPr>
        <p:txBody>
          <a:bodyPr/>
          <a:lstStyle>
            <a:lvl1pPr marL="0" indent="0">
              <a:buNone/>
              <a:defRPr sz="1940">
                <a:solidFill>
                  <a:srgbClr val="0575E6"/>
                </a:solidFill>
                <a:latin typeface="Montserrat" panose="00000500000000000000" pitchFamily="2" charset="0"/>
              </a:defRPr>
            </a:lvl1pPr>
          </a:lstStyle>
          <a:p>
            <a:pPr lvl="0"/>
            <a:r>
              <a:rPr lang="es-ES"/>
              <a:t>Haga clic para modificar los estilos de texto del patrón</a:t>
            </a:r>
          </a:p>
        </p:txBody>
      </p:sp>
    </p:spTree>
    <p:extLst>
      <p:ext uri="{BB962C8B-B14F-4D97-AF65-F5344CB8AC3E}">
        <p14:creationId xmlns:p14="http://schemas.microsoft.com/office/powerpoint/2010/main" val="171244703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5" name="Título 1">
            <a:extLst>
              <a:ext uri="{FF2B5EF4-FFF2-40B4-BE49-F238E27FC236}">
                <a16:creationId xmlns:a16="http://schemas.microsoft.com/office/drawing/2014/main" id="{ECEA4A9A-4730-7A0D-2410-66B8A5569951}"/>
              </a:ext>
            </a:extLst>
          </p:cNvPr>
          <p:cNvSpPr>
            <a:spLocks noGrp="1"/>
          </p:cNvSpPr>
          <p:nvPr>
            <p:ph type="title" hasCustomPrompt="1"/>
          </p:nvPr>
        </p:nvSpPr>
        <p:spPr>
          <a:xfrm>
            <a:off x="347502" y="379055"/>
            <a:ext cx="10515600" cy="410599"/>
          </a:xfrm>
          <a:prstGeom prst="rect">
            <a:avLst/>
          </a:prstGeom>
        </p:spPr>
        <p:txBody>
          <a:bodyPr/>
          <a:lstStyle>
            <a:lvl1pPr>
              <a:defRPr kumimoji="0" lang="es-ES" sz="2668" b="1" i="0" u="none" strike="noStrike" kern="0" cap="none" spc="0" normalizeH="0" baseline="0" dirty="0">
                <a:ln>
                  <a:noFill/>
                </a:ln>
                <a:solidFill>
                  <a:srgbClr val="303031"/>
                </a:solidFill>
                <a:effectLst/>
                <a:uLnTx/>
                <a:uFillTx/>
                <a:latin typeface="Montserrat" panose="00000500000000000000" pitchFamily="2" charset="0"/>
                <a:cs typeface="Calibri"/>
              </a:defRPr>
            </a:lvl1pPr>
          </a:lstStyle>
          <a:p>
            <a:pPr marL="7701" marR="0" lvl="0" indent="0" defTabSz="554492" eaLnBrk="1" fontAlgn="auto" latinLnBrk="0" hangingPunct="1">
              <a:lnSpc>
                <a:spcPct val="100000"/>
              </a:lnSpc>
              <a:spcBef>
                <a:spcPts val="58"/>
              </a:spcBef>
              <a:spcAft>
                <a:spcPts val="0"/>
              </a:spcAft>
              <a:buClrTx/>
              <a:buSzTx/>
              <a:buFontTx/>
              <a:buNone/>
              <a:tabLst/>
              <a:defRPr/>
            </a:pPr>
            <a:r>
              <a:rPr lang="es-ES"/>
              <a:t>Haga clic para modificar el estilo de título del patrón </a:t>
            </a:r>
          </a:p>
        </p:txBody>
      </p:sp>
      <p:sp>
        <p:nvSpPr>
          <p:cNvPr id="7" name="Marcador de texto 4">
            <a:extLst>
              <a:ext uri="{FF2B5EF4-FFF2-40B4-BE49-F238E27FC236}">
                <a16:creationId xmlns:a16="http://schemas.microsoft.com/office/drawing/2014/main" id="{F9C7259A-EE85-C786-CF65-64E91C638522}"/>
              </a:ext>
            </a:extLst>
          </p:cNvPr>
          <p:cNvSpPr>
            <a:spLocks noGrp="1"/>
          </p:cNvSpPr>
          <p:nvPr>
            <p:ph type="body" sz="quarter" idx="10"/>
          </p:nvPr>
        </p:nvSpPr>
        <p:spPr>
          <a:xfrm>
            <a:off x="347546" y="933782"/>
            <a:ext cx="10515556" cy="417987"/>
          </a:xfrm>
          <a:prstGeom prst="rect">
            <a:avLst/>
          </a:prstGeom>
        </p:spPr>
        <p:txBody>
          <a:bodyPr/>
          <a:lstStyle>
            <a:lvl1pPr marL="0" indent="0">
              <a:buNone/>
              <a:defRPr sz="1940">
                <a:solidFill>
                  <a:srgbClr val="0575E6"/>
                </a:solidFill>
                <a:latin typeface="Montserrat" panose="00000500000000000000" pitchFamily="2" charset="0"/>
              </a:defRPr>
            </a:lvl1pPr>
          </a:lstStyle>
          <a:p>
            <a:pPr lvl="0"/>
            <a:r>
              <a:rPr lang="es-ES"/>
              <a:t>Haga clic para modificar los estilos de texto del patrón</a:t>
            </a:r>
          </a:p>
        </p:txBody>
      </p:sp>
    </p:spTree>
    <p:extLst>
      <p:ext uri="{BB962C8B-B14F-4D97-AF65-F5344CB8AC3E}">
        <p14:creationId xmlns:p14="http://schemas.microsoft.com/office/powerpoint/2010/main" val="286021028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09B071E-CB80-518B-5E3F-43F7D0DC9A58}"/>
              </a:ext>
            </a:extLst>
          </p:cNvPr>
          <p:cNvSpPr>
            <a:spLocks noGrp="1"/>
          </p:cNvSpPr>
          <p:nvPr>
            <p:ph type="title" hasCustomPrompt="1"/>
          </p:nvPr>
        </p:nvSpPr>
        <p:spPr>
          <a:xfrm>
            <a:off x="347502" y="379055"/>
            <a:ext cx="10515600" cy="410599"/>
          </a:xfrm>
          <a:prstGeom prst="rect">
            <a:avLst/>
          </a:prstGeom>
        </p:spPr>
        <p:txBody>
          <a:bodyPr/>
          <a:lstStyle>
            <a:lvl1pPr>
              <a:defRPr kumimoji="0" lang="es-ES" sz="2668" b="1" i="0" u="none" strike="noStrike" kern="0" cap="none" spc="0" normalizeH="0" baseline="0" dirty="0">
                <a:ln>
                  <a:noFill/>
                </a:ln>
                <a:solidFill>
                  <a:srgbClr val="303031"/>
                </a:solidFill>
                <a:effectLst/>
                <a:uLnTx/>
                <a:uFillTx/>
                <a:latin typeface="Montserrat" panose="00000500000000000000" pitchFamily="2" charset="0"/>
                <a:cs typeface="Calibri"/>
              </a:defRPr>
            </a:lvl1pPr>
          </a:lstStyle>
          <a:p>
            <a:pPr marL="7701" marR="0" lvl="0" indent="0" defTabSz="554492" eaLnBrk="1" fontAlgn="auto" latinLnBrk="0" hangingPunct="1">
              <a:lnSpc>
                <a:spcPct val="100000"/>
              </a:lnSpc>
              <a:spcBef>
                <a:spcPts val="58"/>
              </a:spcBef>
              <a:spcAft>
                <a:spcPts val="0"/>
              </a:spcAft>
              <a:buClrTx/>
              <a:buSzTx/>
              <a:buFontTx/>
              <a:buNone/>
              <a:tabLst/>
              <a:defRPr/>
            </a:pPr>
            <a:r>
              <a:rPr lang="es-ES"/>
              <a:t>Haga clic para modificar el estilo de título del patrón </a:t>
            </a:r>
          </a:p>
        </p:txBody>
      </p:sp>
      <p:sp>
        <p:nvSpPr>
          <p:cNvPr id="4" name="Marcador de texto 6">
            <a:extLst>
              <a:ext uri="{FF2B5EF4-FFF2-40B4-BE49-F238E27FC236}">
                <a16:creationId xmlns:a16="http://schemas.microsoft.com/office/drawing/2014/main" id="{F93926D1-28DB-3C93-FFFC-24C1263130BB}"/>
              </a:ext>
            </a:extLst>
          </p:cNvPr>
          <p:cNvSpPr>
            <a:spLocks noGrp="1"/>
          </p:cNvSpPr>
          <p:nvPr>
            <p:ph type="body" sz="quarter" idx="11"/>
          </p:nvPr>
        </p:nvSpPr>
        <p:spPr>
          <a:xfrm>
            <a:off x="347545" y="1381196"/>
            <a:ext cx="11496910" cy="554493"/>
          </a:xfrm>
          <a:prstGeom prst="rect">
            <a:avLst/>
          </a:prstGeom>
        </p:spPr>
        <p:txBody>
          <a:bodyPr/>
          <a:lstStyle>
            <a:lvl1pPr marL="0" indent="0">
              <a:buNone/>
              <a:defRPr sz="1455">
                <a:latin typeface="Montserrat" panose="00000500000000000000" pitchFamily="2" charset="0"/>
              </a:defRPr>
            </a:lvl1pPr>
          </a:lstStyle>
          <a:p>
            <a:pPr lvl="0"/>
            <a:r>
              <a:rPr lang="es-ES"/>
              <a:t>Haga clic para modificar los estilos de texto del patrón</a:t>
            </a:r>
          </a:p>
        </p:txBody>
      </p:sp>
      <p:sp>
        <p:nvSpPr>
          <p:cNvPr id="7" name="Marcador de texto 4">
            <a:extLst>
              <a:ext uri="{FF2B5EF4-FFF2-40B4-BE49-F238E27FC236}">
                <a16:creationId xmlns:a16="http://schemas.microsoft.com/office/drawing/2014/main" id="{34A92A4D-85AE-3ACD-5AAE-4D8A87FE6B26}"/>
              </a:ext>
            </a:extLst>
          </p:cNvPr>
          <p:cNvSpPr>
            <a:spLocks noGrp="1"/>
          </p:cNvSpPr>
          <p:nvPr>
            <p:ph type="body" sz="quarter" idx="10"/>
          </p:nvPr>
        </p:nvSpPr>
        <p:spPr>
          <a:xfrm>
            <a:off x="347546" y="933782"/>
            <a:ext cx="10515556" cy="417987"/>
          </a:xfrm>
          <a:prstGeom prst="rect">
            <a:avLst/>
          </a:prstGeom>
        </p:spPr>
        <p:txBody>
          <a:bodyPr/>
          <a:lstStyle>
            <a:lvl1pPr marL="0" indent="0">
              <a:buNone/>
              <a:defRPr sz="1940">
                <a:solidFill>
                  <a:srgbClr val="0575E6"/>
                </a:solidFill>
                <a:latin typeface="Montserrat" panose="00000500000000000000" pitchFamily="2" charset="0"/>
              </a:defRPr>
            </a:lvl1pPr>
          </a:lstStyle>
          <a:p>
            <a:pPr lvl="0"/>
            <a:r>
              <a:rPr lang="es-ES"/>
              <a:t>Haga clic para modificar los estilos de texto del patrón</a:t>
            </a:r>
          </a:p>
        </p:txBody>
      </p:sp>
    </p:spTree>
    <p:extLst>
      <p:ext uri="{BB962C8B-B14F-4D97-AF65-F5344CB8AC3E}">
        <p14:creationId xmlns:p14="http://schemas.microsoft.com/office/powerpoint/2010/main" val="346874204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str - en blanco (sin número)">
    <p:bg>
      <p:bgPr>
        <a:gradFill>
          <a:gsLst>
            <a:gs pos="0">
              <a:schemeClr val="bg1">
                <a:lumMod val="95000"/>
              </a:schemeClr>
            </a:gs>
            <a:gs pos="91000">
              <a:srgbClr val="AAD8E4"/>
            </a:gs>
          </a:gsLst>
          <a:lin ang="2700000" scaled="0"/>
        </a:gra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8335789-5C43-EB0F-99EB-4EAB5B04CD70}"/>
              </a:ext>
            </a:extLst>
          </p:cNvPr>
          <p:cNvSpPr>
            <a:spLocks noGrp="1"/>
          </p:cNvSpPr>
          <p:nvPr>
            <p:ph type="title" hasCustomPrompt="1"/>
          </p:nvPr>
        </p:nvSpPr>
        <p:spPr>
          <a:xfrm>
            <a:off x="347502" y="379055"/>
            <a:ext cx="10515600" cy="410599"/>
          </a:xfrm>
          <a:prstGeom prst="rect">
            <a:avLst/>
          </a:prstGeom>
        </p:spPr>
        <p:txBody>
          <a:bodyPr/>
          <a:lstStyle>
            <a:lvl1pPr>
              <a:defRPr kumimoji="0" lang="es-ES" sz="2668" b="1" i="0" u="none" strike="noStrike" kern="0" cap="none" spc="0" normalizeH="0" baseline="0" dirty="0">
                <a:ln>
                  <a:noFill/>
                </a:ln>
                <a:solidFill>
                  <a:srgbClr val="303031"/>
                </a:solidFill>
                <a:effectLst/>
                <a:uLnTx/>
                <a:uFillTx/>
                <a:latin typeface="Montserrat" panose="00000500000000000000" pitchFamily="2" charset="0"/>
                <a:cs typeface="Calibri"/>
              </a:defRPr>
            </a:lvl1pPr>
          </a:lstStyle>
          <a:p>
            <a:pPr marL="7701" marR="0" lvl="0" indent="0" defTabSz="554492" eaLnBrk="1" fontAlgn="auto" latinLnBrk="0" hangingPunct="1">
              <a:lnSpc>
                <a:spcPct val="100000"/>
              </a:lnSpc>
              <a:spcBef>
                <a:spcPts val="58"/>
              </a:spcBef>
              <a:spcAft>
                <a:spcPts val="0"/>
              </a:spcAft>
              <a:buClrTx/>
              <a:buSzTx/>
              <a:buFontTx/>
              <a:buNone/>
              <a:tabLst/>
              <a:defRPr/>
            </a:pPr>
            <a:r>
              <a:rPr lang="es-ES"/>
              <a:t>Haga clic para modificar el estilo de título del patrón </a:t>
            </a:r>
          </a:p>
        </p:txBody>
      </p:sp>
      <p:sp>
        <p:nvSpPr>
          <p:cNvPr id="4" name="Marcador de texto 4">
            <a:extLst>
              <a:ext uri="{FF2B5EF4-FFF2-40B4-BE49-F238E27FC236}">
                <a16:creationId xmlns:a16="http://schemas.microsoft.com/office/drawing/2014/main" id="{97846868-BABB-4917-4946-30887BC0B6FE}"/>
              </a:ext>
            </a:extLst>
          </p:cNvPr>
          <p:cNvSpPr>
            <a:spLocks noGrp="1"/>
          </p:cNvSpPr>
          <p:nvPr>
            <p:ph type="body" sz="quarter" idx="10"/>
          </p:nvPr>
        </p:nvSpPr>
        <p:spPr>
          <a:xfrm>
            <a:off x="347546" y="933782"/>
            <a:ext cx="10515556" cy="417987"/>
          </a:xfrm>
          <a:prstGeom prst="rect">
            <a:avLst/>
          </a:prstGeom>
        </p:spPr>
        <p:txBody>
          <a:bodyPr/>
          <a:lstStyle>
            <a:lvl1pPr marL="0" indent="0">
              <a:buNone/>
              <a:defRPr sz="1940">
                <a:solidFill>
                  <a:srgbClr val="0575E6"/>
                </a:solidFill>
                <a:latin typeface="Montserrat" panose="00000500000000000000" pitchFamily="2" charset="0"/>
              </a:defRPr>
            </a:lvl1pPr>
          </a:lstStyle>
          <a:p>
            <a:pPr lvl="0"/>
            <a:r>
              <a:rPr lang="es-ES"/>
              <a:t>Haga clic para modificar los estilos de texto del patrón</a:t>
            </a:r>
          </a:p>
        </p:txBody>
      </p:sp>
    </p:spTree>
    <p:extLst>
      <p:ext uri="{BB962C8B-B14F-4D97-AF65-F5344CB8AC3E}">
        <p14:creationId xmlns:p14="http://schemas.microsoft.com/office/powerpoint/2010/main" val="164390546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str - en blanco (sin número)">
    <p:bg>
      <p:bgPr>
        <a:gradFill>
          <a:gsLst>
            <a:gs pos="0">
              <a:schemeClr val="bg1">
                <a:lumMod val="95000"/>
              </a:schemeClr>
            </a:gs>
            <a:gs pos="91000">
              <a:srgbClr val="AAD8E4"/>
            </a:gs>
          </a:gsLst>
          <a:lin ang="2700000" scaled="0"/>
        </a:gra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8335789-5C43-EB0F-99EB-4EAB5B04CD70}"/>
              </a:ext>
            </a:extLst>
          </p:cNvPr>
          <p:cNvSpPr>
            <a:spLocks noGrp="1"/>
          </p:cNvSpPr>
          <p:nvPr>
            <p:ph type="title" hasCustomPrompt="1"/>
          </p:nvPr>
        </p:nvSpPr>
        <p:spPr>
          <a:xfrm>
            <a:off x="347502" y="379055"/>
            <a:ext cx="10515600" cy="410599"/>
          </a:xfrm>
          <a:prstGeom prst="rect">
            <a:avLst/>
          </a:prstGeom>
        </p:spPr>
        <p:txBody>
          <a:bodyPr/>
          <a:lstStyle>
            <a:lvl1pPr>
              <a:defRPr kumimoji="0" lang="es-ES" sz="2668" b="1" i="0" u="none" strike="noStrike" kern="0" cap="none" spc="0" normalizeH="0" baseline="0" dirty="0">
                <a:ln>
                  <a:noFill/>
                </a:ln>
                <a:solidFill>
                  <a:srgbClr val="303031"/>
                </a:solidFill>
                <a:effectLst/>
                <a:uLnTx/>
                <a:uFillTx/>
                <a:latin typeface="Montserrat" panose="00000500000000000000" pitchFamily="2" charset="0"/>
                <a:cs typeface="Calibri"/>
              </a:defRPr>
            </a:lvl1pPr>
          </a:lstStyle>
          <a:p>
            <a:pPr marL="7701" marR="0" lvl="0" indent="0" defTabSz="554492" eaLnBrk="1" fontAlgn="auto" latinLnBrk="0" hangingPunct="1">
              <a:lnSpc>
                <a:spcPct val="100000"/>
              </a:lnSpc>
              <a:spcBef>
                <a:spcPts val="58"/>
              </a:spcBef>
              <a:spcAft>
                <a:spcPts val="0"/>
              </a:spcAft>
              <a:buClrTx/>
              <a:buSzTx/>
              <a:buFontTx/>
              <a:buNone/>
              <a:tabLst/>
              <a:defRPr/>
            </a:pPr>
            <a:r>
              <a:rPr lang="es-ES"/>
              <a:t>Haga clic para modificar el estilo de título del patrón </a:t>
            </a:r>
          </a:p>
        </p:txBody>
      </p:sp>
      <p:sp>
        <p:nvSpPr>
          <p:cNvPr id="4" name="Oval 23">
            <a:extLst>
              <a:ext uri="{FF2B5EF4-FFF2-40B4-BE49-F238E27FC236}">
                <a16:creationId xmlns:a16="http://schemas.microsoft.com/office/drawing/2014/main" id="{83A37FBC-0EE3-DEB6-8C23-454468DF21A6}"/>
              </a:ext>
            </a:extLst>
          </p:cNvPr>
          <p:cNvSpPr>
            <a:spLocks noChangeAspect="1" noChangeArrowheads="1"/>
          </p:cNvSpPr>
          <p:nvPr userDrawn="1"/>
        </p:nvSpPr>
        <p:spPr bwMode="auto">
          <a:xfrm>
            <a:off x="-482427" y="4142358"/>
            <a:ext cx="2309369" cy="2315638"/>
          </a:xfrm>
          <a:prstGeom prst="ellipse">
            <a:avLst/>
          </a:prstGeom>
          <a:gradFill flip="none" rotWithShape="1">
            <a:gsLst>
              <a:gs pos="100000">
                <a:srgbClr val="427EC6">
                  <a:alpha val="97000"/>
                </a:srgbClr>
              </a:gs>
              <a:gs pos="23000">
                <a:srgbClr val="A9C4E5"/>
              </a:gs>
            </a:gsLst>
            <a:path path="circle">
              <a:fillToRect r="100000" b="100000"/>
            </a:path>
            <a:tileRect l="-100000" t="-100000"/>
          </a:gradFill>
          <a:ln w="12700" cap="flat" cmpd="sng" algn="ctr">
            <a:noFill/>
            <a:prstDash val="solid"/>
            <a:miter lim="800000"/>
          </a:ln>
          <a:effectLst/>
        </p:spPr>
        <p:txBody>
          <a:bodyPr rtlCol="0" anchor="ctr"/>
          <a:lstStyle/>
          <a:p>
            <a:pPr marL="0" marR="0" lvl="0" indent="0" algn="ctr" defTabSz="457179" rtl="0" eaLnBrk="1" fontAlgn="auto" latinLnBrk="0" hangingPunct="1">
              <a:lnSpc>
                <a:spcPct val="100000"/>
              </a:lnSpc>
              <a:spcBef>
                <a:spcPts val="0"/>
              </a:spcBef>
              <a:spcAft>
                <a:spcPts val="0"/>
              </a:spcAft>
              <a:buClrTx/>
              <a:buSzTx/>
              <a:buFontTx/>
              <a:buNone/>
              <a:tabLst/>
              <a:defRPr/>
            </a:pPr>
            <a:endParaRPr kumimoji="0" lang="ru-UA" sz="900" b="0" i="0" u="none" strike="noStrike" kern="1200" cap="none" spc="0" normalizeH="0" baseline="0" noProof="0">
              <a:ln>
                <a:noFill/>
              </a:ln>
              <a:solidFill>
                <a:prstClr val="white"/>
              </a:solidFill>
              <a:effectLst/>
              <a:uLnTx/>
              <a:uFillTx/>
              <a:latin typeface="Montserrat"/>
              <a:ea typeface="+mn-ea"/>
              <a:cs typeface="+mn-cs"/>
              <a:sym typeface="Helvetica Neue"/>
            </a:endParaRPr>
          </a:p>
        </p:txBody>
      </p:sp>
      <p:sp>
        <p:nvSpPr>
          <p:cNvPr id="5" name="Oval 23">
            <a:extLst>
              <a:ext uri="{FF2B5EF4-FFF2-40B4-BE49-F238E27FC236}">
                <a16:creationId xmlns:a16="http://schemas.microsoft.com/office/drawing/2014/main" id="{703679D9-0E8F-CF9B-71B8-E7D72791C183}"/>
              </a:ext>
            </a:extLst>
          </p:cNvPr>
          <p:cNvSpPr>
            <a:spLocks noChangeAspect="1" noChangeArrowheads="1"/>
          </p:cNvSpPr>
          <p:nvPr userDrawn="1"/>
        </p:nvSpPr>
        <p:spPr bwMode="auto">
          <a:xfrm>
            <a:off x="10260407" y="-681241"/>
            <a:ext cx="2586282" cy="2593303"/>
          </a:xfrm>
          <a:prstGeom prst="ellipse">
            <a:avLst/>
          </a:prstGeom>
          <a:gradFill flip="none" rotWithShape="1">
            <a:gsLst>
              <a:gs pos="100000">
                <a:srgbClr val="75A0D5">
                  <a:alpha val="96863"/>
                </a:srgbClr>
              </a:gs>
              <a:gs pos="23000">
                <a:srgbClr val="D5E3F3"/>
              </a:gs>
            </a:gsLst>
            <a:path path="circle">
              <a:fillToRect r="100000" b="100000"/>
            </a:path>
            <a:tileRect l="-100000" t="-100000"/>
          </a:gradFill>
          <a:ln w="12700" cap="flat" cmpd="sng" algn="ctr">
            <a:noFill/>
            <a:prstDash val="solid"/>
            <a:miter lim="800000"/>
          </a:ln>
          <a:effectLst/>
        </p:spPr>
        <p:txBody>
          <a:bodyPr rtlCol="0" anchor="ctr"/>
          <a:lstStyle/>
          <a:p>
            <a:pPr marL="0" marR="0" lvl="0" indent="0" algn="ctr" defTabSz="457179" rtl="0" eaLnBrk="1" fontAlgn="auto" latinLnBrk="0" hangingPunct="1">
              <a:lnSpc>
                <a:spcPct val="100000"/>
              </a:lnSpc>
              <a:spcBef>
                <a:spcPts val="0"/>
              </a:spcBef>
              <a:spcAft>
                <a:spcPts val="0"/>
              </a:spcAft>
              <a:buClrTx/>
              <a:buSzTx/>
              <a:buFontTx/>
              <a:buNone/>
              <a:tabLst/>
              <a:defRPr/>
            </a:pPr>
            <a:endParaRPr kumimoji="0" lang="ru-UA" sz="900" b="0" i="0" u="none" strike="noStrike" kern="1200" cap="none" spc="0" normalizeH="0" baseline="0" noProof="0">
              <a:ln>
                <a:noFill/>
              </a:ln>
              <a:solidFill>
                <a:prstClr val="white"/>
              </a:solidFill>
              <a:effectLst/>
              <a:uLnTx/>
              <a:uFillTx/>
              <a:latin typeface="Montserrat"/>
              <a:ea typeface="+mn-ea"/>
              <a:cs typeface="+mn-cs"/>
              <a:sym typeface="Helvetica Neue"/>
            </a:endParaRPr>
          </a:p>
        </p:txBody>
      </p:sp>
      <p:sp>
        <p:nvSpPr>
          <p:cNvPr id="6" name="Oval 23">
            <a:extLst>
              <a:ext uri="{FF2B5EF4-FFF2-40B4-BE49-F238E27FC236}">
                <a16:creationId xmlns:a16="http://schemas.microsoft.com/office/drawing/2014/main" id="{70425216-200A-3FDB-7F81-27A2264FB04E}"/>
              </a:ext>
            </a:extLst>
          </p:cNvPr>
          <p:cNvSpPr>
            <a:spLocks noChangeAspect="1" noChangeArrowheads="1"/>
          </p:cNvSpPr>
          <p:nvPr userDrawn="1"/>
        </p:nvSpPr>
        <p:spPr bwMode="auto">
          <a:xfrm>
            <a:off x="11290327" y="5095641"/>
            <a:ext cx="1528198" cy="1532347"/>
          </a:xfrm>
          <a:prstGeom prst="ellipse">
            <a:avLst/>
          </a:prstGeom>
          <a:gradFill flip="none" rotWithShape="1">
            <a:gsLst>
              <a:gs pos="100000">
                <a:srgbClr val="427EC6">
                  <a:alpha val="97000"/>
                </a:srgbClr>
              </a:gs>
              <a:gs pos="23000">
                <a:srgbClr val="A9C4E5"/>
              </a:gs>
            </a:gsLst>
            <a:path path="circle">
              <a:fillToRect r="100000" b="100000"/>
            </a:path>
            <a:tileRect l="-100000" t="-100000"/>
          </a:gradFill>
          <a:ln w="12700" cap="flat" cmpd="sng" algn="ctr">
            <a:noFill/>
            <a:prstDash val="solid"/>
            <a:miter lim="800000"/>
          </a:ln>
          <a:effectLst/>
        </p:spPr>
        <p:txBody>
          <a:bodyPr rtlCol="0" anchor="ctr"/>
          <a:lstStyle/>
          <a:p>
            <a:pPr marL="0" marR="0" lvl="0" indent="0" algn="ctr" defTabSz="457179" rtl="0" eaLnBrk="1" fontAlgn="auto" latinLnBrk="0" hangingPunct="1">
              <a:lnSpc>
                <a:spcPct val="100000"/>
              </a:lnSpc>
              <a:spcBef>
                <a:spcPts val="0"/>
              </a:spcBef>
              <a:spcAft>
                <a:spcPts val="0"/>
              </a:spcAft>
              <a:buClrTx/>
              <a:buSzTx/>
              <a:buFontTx/>
              <a:buNone/>
              <a:tabLst/>
              <a:defRPr/>
            </a:pPr>
            <a:endParaRPr kumimoji="0" lang="ru-UA" sz="900" b="0" i="0" u="none" strike="noStrike" kern="1200" cap="none" spc="0" normalizeH="0" baseline="0" noProof="0">
              <a:ln>
                <a:noFill/>
              </a:ln>
              <a:solidFill>
                <a:prstClr val="white"/>
              </a:solidFill>
              <a:effectLst/>
              <a:uLnTx/>
              <a:uFillTx/>
              <a:latin typeface="Montserrat"/>
              <a:ea typeface="+mn-ea"/>
              <a:cs typeface="+mn-cs"/>
              <a:sym typeface="Helvetica Neue"/>
            </a:endParaRPr>
          </a:p>
        </p:txBody>
      </p:sp>
      <p:sp>
        <p:nvSpPr>
          <p:cNvPr id="7" name="Marcador de texto 4">
            <a:extLst>
              <a:ext uri="{FF2B5EF4-FFF2-40B4-BE49-F238E27FC236}">
                <a16:creationId xmlns:a16="http://schemas.microsoft.com/office/drawing/2014/main" id="{AC392035-E66E-D5F9-58ED-44250CB6BD3E}"/>
              </a:ext>
            </a:extLst>
          </p:cNvPr>
          <p:cNvSpPr>
            <a:spLocks noGrp="1"/>
          </p:cNvSpPr>
          <p:nvPr>
            <p:ph type="body" sz="quarter" idx="10"/>
          </p:nvPr>
        </p:nvSpPr>
        <p:spPr>
          <a:xfrm>
            <a:off x="347546" y="933782"/>
            <a:ext cx="10515556" cy="417987"/>
          </a:xfrm>
          <a:prstGeom prst="rect">
            <a:avLst/>
          </a:prstGeom>
        </p:spPr>
        <p:txBody>
          <a:bodyPr/>
          <a:lstStyle>
            <a:lvl1pPr marL="0" indent="0">
              <a:buNone/>
              <a:defRPr sz="1940">
                <a:solidFill>
                  <a:srgbClr val="0575E6"/>
                </a:solidFill>
                <a:latin typeface="Montserrat" panose="00000500000000000000" pitchFamily="2" charset="0"/>
              </a:defRPr>
            </a:lvl1pPr>
          </a:lstStyle>
          <a:p>
            <a:pPr lvl="0"/>
            <a:r>
              <a:rPr lang="es-ES"/>
              <a:t>Haga clic para modificar los estilos de texto del patrón</a:t>
            </a:r>
          </a:p>
        </p:txBody>
      </p:sp>
    </p:spTree>
    <p:extLst>
      <p:ext uri="{BB962C8B-B14F-4D97-AF65-F5344CB8AC3E}">
        <p14:creationId xmlns:p14="http://schemas.microsoft.com/office/powerpoint/2010/main" val="50429080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str - en blanco (sin número)">
    <p:bg>
      <p:bgPr>
        <a:gradFill>
          <a:gsLst>
            <a:gs pos="0">
              <a:schemeClr val="bg1">
                <a:lumMod val="95000"/>
              </a:schemeClr>
            </a:gs>
            <a:gs pos="91000">
              <a:srgbClr val="AAD8E4"/>
            </a:gs>
          </a:gsLst>
          <a:lin ang="2700000" scaled="0"/>
        </a:gradFill>
        <a:effectLst/>
      </p:bgPr>
    </p:bg>
    <p:spTree>
      <p:nvGrpSpPr>
        <p:cNvPr id="1" name=""/>
        <p:cNvGrpSpPr/>
        <p:nvPr/>
      </p:nvGrpSpPr>
      <p:grpSpPr>
        <a:xfrm>
          <a:off x="0" y="0"/>
          <a:ext cx="0" cy="0"/>
          <a:chOff x="0" y="0"/>
          <a:chExt cx="0" cy="0"/>
        </a:xfrm>
      </p:grpSpPr>
      <p:sp>
        <p:nvSpPr>
          <p:cNvPr id="7" name="Oval 23">
            <a:extLst>
              <a:ext uri="{FF2B5EF4-FFF2-40B4-BE49-F238E27FC236}">
                <a16:creationId xmlns:a16="http://schemas.microsoft.com/office/drawing/2014/main" id="{0E3CBC47-6817-D469-D169-BFC71456D2CD}"/>
              </a:ext>
            </a:extLst>
          </p:cNvPr>
          <p:cNvSpPr>
            <a:spLocks noChangeAspect="1" noChangeArrowheads="1"/>
          </p:cNvSpPr>
          <p:nvPr userDrawn="1"/>
        </p:nvSpPr>
        <p:spPr bwMode="auto">
          <a:xfrm>
            <a:off x="4428879" y="-464252"/>
            <a:ext cx="2586282" cy="2593303"/>
          </a:xfrm>
          <a:prstGeom prst="ellipse">
            <a:avLst/>
          </a:prstGeom>
          <a:gradFill flip="none" rotWithShape="1">
            <a:gsLst>
              <a:gs pos="100000">
                <a:srgbClr val="75A0D5">
                  <a:alpha val="96863"/>
                </a:srgbClr>
              </a:gs>
              <a:gs pos="23000">
                <a:srgbClr val="D5E3F3"/>
              </a:gs>
            </a:gsLst>
            <a:path path="circle">
              <a:fillToRect r="100000" b="100000"/>
            </a:path>
            <a:tileRect l="-100000" t="-100000"/>
          </a:gradFill>
          <a:ln w="12700" cap="flat" cmpd="sng" algn="ctr">
            <a:noFill/>
            <a:prstDash val="solid"/>
            <a:miter lim="800000"/>
          </a:ln>
          <a:effectLst/>
        </p:spPr>
        <p:txBody>
          <a:bodyPr rtlCol="0" anchor="ctr"/>
          <a:lstStyle/>
          <a:p>
            <a:pPr marL="0" marR="0" lvl="0" indent="0" algn="ctr" defTabSz="457179" rtl="0" eaLnBrk="1" fontAlgn="auto" latinLnBrk="0" hangingPunct="1">
              <a:lnSpc>
                <a:spcPct val="100000"/>
              </a:lnSpc>
              <a:spcBef>
                <a:spcPts val="0"/>
              </a:spcBef>
              <a:spcAft>
                <a:spcPts val="0"/>
              </a:spcAft>
              <a:buClrTx/>
              <a:buSzTx/>
              <a:buFontTx/>
              <a:buNone/>
              <a:tabLst/>
              <a:defRPr/>
            </a:pPr>
            <a:endParaRPr kumimoji="0" lang="ru-UA" sz="900" b="0" i="0" u="none" strike="noStrike" kern="1200" cap="none" spc="0" normalizeH="0" baseline="0" noProof="0">
              <a:ln>
                <a:noFill/>
              </a:ln>
              <a:solidFill>
                <a:prstClr val="white"/>
              </a:solidFill>
              <a:effectLst/>
              <a:uLnTx/>
              <a:uFillTx/>
              <a:latin typeface="Montserrat"/>
              <a:ea typeface="+mn-ea"/>
              <a:cs typeface="+mn-cs"/>
              <a:sym typeface="Helvetica Neue"/>
            </a:endParaRPr>
          </a:p>
        </p:txBody>
      </p:sp>
      <p:sp>
        <p:nvSpPr>
          <p:cNvPr id="8" name="Oval 23">
            <a:extLst>
              <a:ext uri="{FF2B5EF4-FFF2-40B4-BE49-F238E27FC236}">
                <a16:creationId xmlns:a16="http://schemas.microsoft.com/office/drawing/2014/main" id="{6328BBC6-4B78-2C75-8421-8A65A568A2E8}"/>
              </a:ext>
            </a:extLst>
          </p:cNvPr>
          <p:cNvSpPr>
            <a:spLocks noChangeAspect="1" noChangeArrowheads="1"/>
          </p:cNvSpPr>
          <p:nvPr userDrawn="1"/>
        </p:nvSpPr>
        <p:spPr bwMode="auto">
          <a:xfrm>
            <a:off x="11108242" y="5710325"/>
            <a:ext cx="1528198" cy="1532347"/>
          </a:xfrm>
          <a:prstGeom prst="ellipse">
            <a:avLst/>
          </a:prstGeom>
          <a:gradFill flip="none" rotWithShape="1">
            <a:gsLst>
              <a:gs pos="100000">
                <a:srgbClr val="427EC6">
                  <a:alpha val="97000"/>
                </a:srgbClr>
              </a:gs>
              <a:gs pos="23000">
                <a:srgbClr val="A9C4E5"/>
              </a:gs>
            </a:gsLst>
            <a:path path="circle">
              <a:fillToRect r="100000" b="100000"/>
            </a:path>
            <a:tileRect l="-100000" t="-100000"/>
          </a:gradFill>
          <a:ln w="12700" cap="flat" cmpd="sng" algn="ctr">
            <a:noFill/>
            <a:prstDash val="solid"/>
            <a:miter lim="800000"/>
          </a:ln>
          <a:effectLst/>
        </p:spPr>
        <p:txBody>
          <a:bodyPr rtlCol="0" anchor="ctr"/>
          <a:lstStyle/>
          <a:p>
            <a:pPr marL="0" marR="0" lvl="0" indent="0" algn="ctr" defTabSz="457179" rtl="0" eaLnBrk="1" fontAlgn="auto" latinLnBrk="0" hangingPunct="1">
              <a:lnSpc>
                <a:spcPct val="100000"/>
              </a:lnSpc>
              <a:spcBef>
                <a:spcPts val="0"/>
              </a:spcBef>
              <a:spcAft>
                <a:spcPts val="0"/>
              </a:spcAft>
              <a:buClrTx/>
              <a:buSzTx/>
              <a:buFontTx/>
              <a:buNone/>
              <a:tabLst/>
              <a:defRPr/>
            </a:pPr>
            <a:endParaRPr kumimoji="0" lang="ru-UA" sz="900" b="0" i="0" u="none" strike="noStrike" kern="1200" cap="none" spc="0" normalizeH="0" baseline="0" noProof="0">
              <a:ln>
                <a:noFill/>
              </a:ln>
              <a:solidFill>
                <a:prstClr val="white"/>
              </a:solidFill>
              <a:effectLst/>
              <a:uLnTx/>
              <a:uFillTx/>
              <a:latin typeface="Montserrat"/>
              <a:ea typeface="+mn-ea"/>
              <a:cs typeface="+mn-cs"/>
              <a:sym typeface="Helvetica Neue"/>
            </a:endParaRPr>
          </a:p>
        </p:txBody>
      </p:sp>
      <p:sp>
        <p:nvSpPr>
          <p:cNvPr id="2" name="Título 1">
            <a:extLst>
              <a:ext uri="{FF2B5EF4-FFF2-40B4-BE49-F238E27FC236}">
                <a16:creationId xmlns:a16="http://schemas.microsoft.com/office/drawing/2014/main" id="{C8335789-5C43-EB0F-99EB-4EAB5B04CD70}"/>
              </a:ext>
            </a:extLst>
          </p:cNvPr>
          <p:cNvSpPr>
            <a:spLocks noGrp="1"/>
          </p:cNvSpPr>
          <p:nvPr>
            <p:ph type="title" hasCustomPrompt="1"/>
          </p:nvPr>
        </p:nvSpPr>
        <p:spPr>
          <a:xfrm>
            <a:off x="347502" y="379055"/>
            <a:ext cx="10515600" cy="410599"/>
          </a:xfrm>
          <a:prstGeom prst="rect">
            <a:avLst/>
          </a:prstGeom>
        </p:spPr>
        <p:txBody>
          <a:bodyPr/>
          <a:lstStyle>
            <a:lvl1pPr>
              <a:defRPr kumimoji="0" lang="es-ES" sz="2668" b="1" i="0" u="none" strike="noStrike" kern="0" cap="none" spc="0" normalizeH="0" baseline="0" dirty="0">
                <a:ln>
                  <a:noFill/>
                </a:ln>
                <a:solidFill>
                  <a:srgbClr val="303031"/>
                </a:solidFill>
                <a:effectLst/>
                <a:uLnTx/>
                <a:uFillTx/>
                <a:latin typeface="Montserrat" panose="00000500000000000000" pitchFamily="2" charset="0"/>
                <a:cs typeface="Calibri"/>
              </a:defRPr>
            </a:lvl1pPr>
          </a:lstStyle>
          <a:p>
            <a:pPr marL="7701" marR="0" lvl="0" indent="0" defTabSz="554492" eaLnBrk="1" fontAlgn="auto" latinLnBrk="0" hangingPunct="1">
              <a:lnSpc>
                <a:spcPct val="100000"/>
              </a:lnSpc>
              <a:spcBef>
                <a:spcPts val="58"/>
              </a:spcBef>
              <a:spcAft>
                <a:spcPts val="0"/>
              </a:spcAft>
              <a:buClrTx/>
              <a:buSzTx/>
              <a:buFontTx/>
              <a:buNone/>
              <a:tabLst/>
              <a:defRPr/>
            </a:pPr>
            <a:r>
              <a:rPr lang="es-ES"/>
              <a:t>Haga clic para modificar el estilo de título del patrón </a:t>
            </a:r>
          </a:p>
        </p:txBody>
      </p:sp>
      <p:sp>
        <p:nvSpPr>
          <p:cNvPr id="9" name="Marcador de texto 4">
            <a:extLst>
              <a:ext uri="{FF2B5EF4-FFF2-40B4-BE49-F238E27FC236}">
                <a16:creationId xmlns:a16="http://schemas.microsoft.com/office/drawing/2014/main" id="{6EC91BD2-00C0-6B27-C333-85BC3C2EB94C}"/>
              </a:ext>
            </a:extLst>
          </p:cNvPr>
          <p:cNvSpPr>
            <a:spLocks noGrp="1"/>
          </p:cNvSpPr>
          <p:nvPr>
            <p:ph type="body" sz="quarter" idx="10"/>
          </p:nvPr>
        </p:nvSpPr>
        <p:spPr>
          <a:xfrm>
            <a:off x="347546" y="933782"/>
            <a:ext cx="10515556" cy="417987"/>
          </a:xfrm>
          <a:prstGeom prst="rect">
            <a:avLst/>
          </a:prstGeom>
        </p:spPr>
        <p:txBody>
          <a:bodyPr/>
          <a:lstStyle>
            <a:lvl1pPr marL="0" indent="0">
              <a:buNone/>
              <a:defRPr sz="1940">
                <a:solidFill>
                  <a:srgbClr val="0575E6"/>
                </a:solidFill>
                <a:latin typeface="Montserrat" panose="00000500000000000000" pitchFamily="2" charset="0"/>
              </a:defRPr>
            </a:lvl1pPr>
          </a:lstStyle>
          <a:p>
            <a:pPr lvl="0"/>
            <a:r>
              <a:rPr lang="es-ES"/>
              <a:t>Haga clic para modificar los estilos de texto del patrón</a:t>
            </a:r>
          </a:p>
        </p:txBody>
      </p:sp>
    </p:spTree>
    <p:extLst>
      <p:ext uri="{BB962C8B-B14F-4D97-AF65-F5344CB8AC3E}">
        <p14:creationId xmlns:p14="http://schemas.microsoft.com/office/powerpoint/2010/main" val="51476444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3_str - en blanco (sin número)">
    <p:bg>
      <p:bgPr>
        <a:gradFill>
          <a:gsLst>
            <a:gs pos="0">
              <a:schemeClr val="bg1">
                <a:lumMod val="95000"/>
              </a:schemeClr>
            </a:gs>
            <a:gs pos="91000">
              <a:srgbClr val="AAD8E4"/>
            </a:gs>
          </a:gsLst>
          <a:lin ang="2700000" scaled="0"/>
        </a:gra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8335789-5C43-EB0F-99EB-4EAB5B04CD70}"/>
              </a:ext>
            </a:extLst>
          </p:cNvPr>
          <p:cNvSpPr>
            <a:spLocks noGrp="1"/>
          </p:cNvSpPr>
          <p:nvPr>
            <p:ph type="title" hasCustomPrompt="1"/>
          </p:nvPr>
        </p:nvSpPr>
        <p:spPr>
          <a:xfrm>
            <a:off x="347502" y="379055"/>
            <a:ext cx="10515600" cy="410599"/>
          </a:xfrm>
          <a:prstGeom prst="rect">
            <a:avLst/>
          </a:prstGeom>
        </p:spPr>
        <p:txBody>
          <a:bodyPr/>
          <a:lstStyle>
            <a:lvl1pPr>
              <a:defRPr kumimoji="0" lang="es-ES" sz="2668" b="1" i="0" u="none" strike="noStrike" kern="0" cap="none" spc="0" normalizeH="0" baseline="0" dirty="0">
                <a:ln>
                  <a:noFill/>
                </a:ln>
                <a:solidFill>
                  <a:srgbClr val="303031"/>
                </a:solidFill>
                <a:effectLst/>
                <a:uLnTx/>
                <a:uFillTx/>
                <a:latin typeface="Montserrat" panose="00000500000000000000" pitchFamily="2" charset="0"/>
                <a:cs typeface="Calibri"/>
              </a:defRPr>
            </a:lvl1pPr>
          </a:lstStyle>
          <a:p>
            <a:pPr marL="7701" marR="0" lvl="0" indent="0" defTabSz="554492" eaLnBrk="1" fontAlgn="auto" latinLnBrk="0" hangingPunct="1">
              <a:lnSpc>
                <a:spcPct val="100000"/>
              </a:lnSpc>
              <a:spcBef>
                <a:spcPts val="58"/>
              </a:spcBef>
              <a:spcAft>
                <a:spcPts val="0"/>
              </a:spcAft>
              <a:buClrTx/>
              <a:buSzTx/>
              <a:buFontTx/>
              <a:buNone/>
              <a:tabLst/>
              <a:defRPr/>
            </a:pPr>
            <a:r>
              <a:rPr lang="es-ES"/>
              <a:t>Haga clic para modificar el estilo de título del patrón </a:t>
            </a:r>
          </a:p>
        </p:txBody>
      </p:sp>
      <p:sp>
        <p:nvSpPr>
          <p:cNvPr id="4" name="Oval 23">
            <a:extLst>
              <a:ext uri="{FF2B5EF4-FFF2-40B4-BE49-F238E27FC236}">
                <a16:creationId xmlns:a16="http://schemas.microsoft.com/office/drawing/2014/main" id="{019AA8FC-0829-FC1B-7800-78F8219FCF98}"/>
              </a:ext>
            </a:extLst>
          </p:cNvPr>
          <p:cNvSpPr>
            <a:spLocks noChangeAspect="1" noChangeArrowheads="1"/>
          </p:cNvSpPr>
          <p:nvPr userDrawn="1"/>
        </p:nvSpPr>
        <p:spPr bwMode="auto">
          <a:xfrm>
            <a:off x="-600929" y="3872721"/>
            <a:ext cx="2586282" cy="2593303"/>
          </a:xfrm>
          <a:prstGeom prst="ellipse">
            <a:avLst/>
          </a:prstGeom>
          <a:gradFill flip="none" rotWithShape="1">
            <a:gsLst>
              <a:gs pos="100000">
                <a:srgbClr val="75A0D5">
                  <a:alpha val="96863"/>
                </a:srgbClr>
              </a:gs>
              <a:gs pos="23000">
                <a:srgbClr val="D5E3F3"/>
              </a:gs>
            </a:gsLst>
            <a:path path="circle">
              <a:fillToRect r="100000" b="100000"/>
            </a:path>
            <a:tileRect l="-100000" t="-100000"/>
          </a:gradFill>
          <a:ln w="12700" cap="flat" cmpd="sng" algn="ctr">
            <a:noFill/>
            <a:prstDash val="solid"/>
            <a:miter lim="800000"/>
          </a:ln>
          <a:effectLst/>
        </p:spPr>
        <p:txBody>
          <a:bodyPr rtlCol="0" anchor="ctr"/>
          <a:lstStyle/>
          <a:p>
            <a:pPr marL="0" marR="0" lvl="0" indent="0" algn="ctr" defTabSz="457179" rtl="0" eaLnBrk="1" fontAlgn="auto" latinLnBrk="0" hangingPunct="1">
              <a:lnSpc>
                <a:spcPct val="100000"/>
              </a:lnSpc>
              <a:spcBef>
                <a:spcPts val="0"/>
              </a:spcBef>
              <a:spcAft>
                <a:spcPts val="0"/>
              </a:spcAft>
              <a:buClrTx/>
              <a:buSzTx/>
              <a:buFontTx/>
              <a:buNone/>
              <a:tabLst/>
              <a:defRPr/>
            </a:pPr>
            <a:endParaRPr kumimoji="0" lang="ru-UA" sz="900" b="0" i="0" u="none" strike="noStrike" kern="1200" cap="none" spc="0" normalizeH="0" baseline="0" noProof="0">
              <a:ln>
                <a:noFill/>
              </a:ln>
              <a:solidFill>
                <a:prstClr val="white"/>
              </a:solidFill>
              <a:effectLst/>
              <a:uLnTx/>
              <a:uFillTx/>
              <a:latin typeface="Montserrat"/>
              <a:ea typeface="+mn-ea"/>
              <a:cs typeface="+mn-cs"/>
              <a:sym typeface="Helvetica Neue"/>
            </a:endParaRPr>
          </a:p>
        </p:txBody>
      </p:sp>
      <p:sp>
        <p:nvSpPr>
          <p:cNvPr id="5" name="Oval 23">
            <a:extLst>
              <a:ext uri="{FF2B5EF4-FFF2-40B4-BE49-F238E27FC236}">
                <a16:creationId xmlns:a16="http://schemas.microsoft.com/office/drawing/2014/main" id="{6D2C1CAD-63DE-322D-A7AC-B0B10FE1AB7A}"/>
              </a:ext>
            </a:extLst>
          </p:cNvPr>
          <p:cNvSpPr>
            <a:spLocks noChangeAspect="1" noChangeArrowheads="1"/>
          </p:cNvSpPr>
          <p:nvPr userDrawn="1"/>
        </p:nvSpPr>
        <p:spPr bwMode="auto">
          <a:xfrm>
            <a:off x="11329274" y="-535305"/>
            <a:ext cx="1528198" cy="1532347"/>
          </a:xfrm>
          <a:prstGeom prst="ellipse">
            <a:avLst/>
          </a:prstGeom>
          <a:gradFill flip="none" rotWithShape="1">
            <a:gsLst>
              <a:gs pos="100000">
                <a:srgbClr val="427EC6">
                  <a:alpha val="97000"/>
                </a:srgbClr>
              </a:gs>
              <a:gs pos="23000">
                <a:srgbClr val="A9C4E5"/>
              </a:gs>
            </a:gsLst>
            <a:path path="circle">
              <a:fillToRect r="100000" b="100000"/>
            </a:path>
            <a:tileRect l="-100000" t="-100000"/>
          </a:gradFill>
          <a:ln w="12700" cap="flat" cmpd="sng" algn="ctr">
            <a:noFill/>
            <a:prstDash val="solid"/>
            <a:miter lim="800000"/>
          </a:ln>
          <a:effectLst/>
        </p:spPr>
        <p:txBody>
          <a:bodyPr rtlCol="0" anchor="ctr"/>
          <a:lstStyle/>
          <a:p>
            <a:pPr marL="0" marR="0" lvl="0" indent="0" algn="ctr" defTabSz="457179" rtl="0" eaLnBrk="1" fontAlgn="auto" latinLnBrk="0" hangingPunct="1">
              <a:lnSpc>
                <a:spcPct val="100000"/>
              </a:lnSpc>
              <a:spcBef>
                <a:spcPts val="0"/>
              </a:spcBef>
              <a:spcAft>
                <a:spcPts val="0"/>
              </a:spcAft>
              <a:buClrTx/>
              <a:buSzTx/>
              <a:buFontTx/>
              <a:buNone/>
              <a:tabLst/>
              <a:defRPr/>
            </a:pPr>
            <a:endParaRPr kumimoji="0" lang="ru-UA" sz="900" b="0" i="0" u="none" strike="noStrike" kern="1200" cap="none" spc="0" normalizeH="0" baseline="0" noProof="0">
              <a:ln>
                <a:noFill/>
              </a:ln>
              <a:solidFill>
                <a:prstClr val="white"/>
              </a:solidFill>
              <a:effectLst/>
              <a:uLnTx/>
              <a:uFillTx/>
              <a:latin typeface="Montserrat"/>
              <a:ea typeface="+mn-ea"/>
              <a:cs typeface="+mn-cs"/>
              <a:sym typeface="Helvetica Neue"/>
            </a:endParaRPr>
          </a:p>
        </p:txBody>
      </p:sp>
      <p:sp>
        <p:nvSpPr>
          <p:cNvPr id="6" name="Marcador de texto 4">
            <a:extLst>
              <a:ext uri="{FF2B5EF4-FFF2-40B4-BE49-F238E27FC236}">
                <a16:creationId xmlns:a16="http://schemas.microsoft.com/office/drawing/2014/main" id="{4AE954B1-0466-598A-8EB9-3456FB446E7E}"/>
              </a:ext>
            </a:extLst>
          </p:cNvPr>
          <p:cNvSpPr>
            <a:spLocks noGrp="1"/>
          </p:cNvSpPr>
          <p:nvPr>
            <p:ph type="body" sz="quarter" idx="10"/>
          </p:nvPr>
        </p:nvSpPr>
        <p:spPr>
          <a:xfrm>
            <a:off x="347546" y="933782"/>
            <a:ext cx="10515556" cy="417987"/>
          </a:xfrm>
          <a:prstGeom prst="rect">
            <a:avLst/>
          </a:prstGeom>
        </p:spPr>
        <p:txBody>
          <a:bodyPr/>
          <a:lstStyle>
            <a:lvl1pPr marL="0" indent="0">
              <a:buNone/>
              <a:defRPr sz="1940">
                <a:solidFill>
                  <a:srgbClr val="0575E6"/>
                </a:solidFill>
                <a:latin typeface="Montserrat" panose="00000500000000000000" pitchFamily="2" charset="0"/>
              </a:defRPr>
            </a:lvl1pPr>
          </a:lstStyle>
          <a:p>
            <a:pPr lvl="0"/>
            <a:r>
              <a:rPr lang="es-ES"/>
              <a:t>Haga clic para modificar los estilos de texto del patrón</a:t>
            </a:r>
          </a:p>
        </p:txBody>
      </p:sp>
    </p:spTree>
    <p:extLst>
      <p:ext uri="{BB962C8B-B14F-4D97-AF65-F5344CB8AC3E}">
        <p14:creationId xmlns:p14="http://schemas.microsoft.com/office/powerpoint/2010/main" val="142834105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4_str - en blanco (sin número)">
    <p:bg>
      <p:bgPr>
        <a:gradFill>
          <a:gsLst>
            <a:gs pos="0">
              <a:schemeClr val="bg1">
                <a:lumMod val="95000"/>
              </a:schemeClr>
            </a:gs>
            <a:gs pos="91000">
              <a:srgbClr val="AAD8E4"/>
            </a:gs>
          </a:gsLst>
          <a:lin ang="2700000" scaled="0"/>
        </a:gra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8335789-5C43-EB0F-99EB-4EAB5B04CD70}"/>
              </a:ext>
            </a:extLst>
          </p:cNvPr>
          <p:cNvSpPr>
            <a:spLocks noGrp="1"/>
          </p:cNvSpPr>
          <p:nvPr>
            <p:ph type="title" hasCustomPrompt="1"/>
          </p:nvPr>
        </p:nvSpPr>
        <p:spPr>
          <a:xfrm>
            <a:off x="347502" y="379055"/>
            <a:ext cx="10515600" cy="410599"/>
          </a:xfrm>
          <a:prstGeom prst="rect">
            <a:avLst/>
          </a:prstGeom>
        </p:spPr>
        <p:txBody>
          <a:bodyPr/>
          <a:lstStyle>
            <a:lvl1pPr>
              <a:defRPr kumimoji="0" lang="es-ES" sz="2668" b="1" i="0" u="none" strike="noStrike" kern="0" cap="none" spc="0" normalizeH="0" baseline="0" dirty="0">
                <a:ln>
                  <a:noFill/>
                </a:ln>
                <a:solidFill>
                  <a:srgbClr val="303031"/>
                </a:solidFill>
                <a:effectLst/>
                <a:uLnTx/>
                <a:uFillTx/>
                <a:latin typeface="Montserrat" panose="00000500000000000000" pitchFamily="2" charset="0"/>
                <a:cs typeface="Calibri"/>
              </a:defRPr>
            </a:lvl1pPr>
          </a:lstStyle>
          <a:p>
            <a:pPr marL="7701" marR="0" lvl="0" indent="0" defTabSz="554492" eaLnBrk="1" fontAlgn="auto" latinLnBrk="0" hangingPunct="1">
              <a:lnSpc>
                <a:spcPct val="100000"/>
              </a:lnSpc>
              <a:spcBef>
                <a:spcPts val="58"/>
              </a:spcBef>
              <a:spcAft>
                <a:spcPts val="0"/>
              </a:spcAft>
              <a:buClrTx/>
              <a:buSzTx/>
              <a:buFontTx/>
              <a:buNone/>
              <a:tabLst/>
              <a:defRPr/>
            </a:pPr>
            <a:r>
              <a:rPr lang="es-ES"/>
              <a:t>Haga clic para modificar el estilo de título del patrón </a:t>
            </a:r>
          </a:p>
        </p:txBody>
      </p:sp>
      <p:sp>
        <p:nvSpPr>
          <p:cNvPr id="4" name="Oval 23">
            <a:extLst>
              <a:ext uri="{FF2B5EF4-FFF2-40B4-BE49-F238E27FC236}">
                <a16:creationId xmlns:a16="http://schemas.microsoft.com/office/drawing/2014/main" id="{019AA8FC-0829-FC1B-7800-78F8219FCF98}"/>
              </a:ext>
            </a:extLst>
          </p:cNvPr>
          <p:cNvSpPr>
            <a:spLocks noChangeAspect="1" noChangeArrowheads="1"/>
          </p:cNvSpPr>
          <p:nvPr userDrawn="1"/>
        </p:nvSpPr>
        <p:spPr bwMode="auto">
          <a:xfrm>
            <a:off x="-1293141" y="697977"/>
            <a:ext cx="2586282" cy="2593303"/>
          </a:xfrm>
          <a:prstGeom prst="ellipse">
            <a:avLst/>
          </a:prstGeom>
          <a:gradFill flip="none" rotWithShape="1">
            <a:gsLst>
              <a:gs pos="100000">
                <a:srgbClr val="75A0D5">
                  <a:alpha val="96863"/>
                </a:srgbClr>
              </a:gs>
              <a:gs pos="23000">
                <a:srgbClr val="D5E3F3"/>
              </a:gs>
            </a:gsLst>
            <a:path path="circle">
              <a:fillToRect r="100000" b="100000"/>
            </a:path>
            <a:tileRect l="-100000" t="-100000"/>
          </a:gradFill>
          <a:ln w="12700" cap="flat" cmpd="sng" algn="ctr">
            <a:noFill/>
            <a:prstDash val="solid"/>
            <a:miter lim="800000"/>
          </a:ln>
          <a:effectLst/>
        </p:spPr>
        <p:txBody>
          <a:bodyPr rtlCol="0" anchor="ctr"/>
          <a:lstStyle/>
          <a:p>
            <a:pPr marL="0" marR="0" lvl="0" indent="0" algn="ctr" defTabSz="457179" rtl="0" eaLnBrk="1" fontAlgn="auto" latinLnBrk="0" hangingPunct="1">
              <a:lnSpc>
                <a:spcPct val="100000"/>
              </a:lnSpc>
              <a:spcBef>
                <a:spcPts val="0"/>
              </a:spcBef>
              <a:spcAft>
                <a:spcPts val="0"/>
              </a:spcAft>
              <a:buClrTx/>
              <a:buSzTx/>
              <a:buFontTx/>
              <a:buNone/>
              <a:tabLst/>
              <a:defRPr/>
            </a:pPr>
            <a:endParaRPr kumimoji="0" lang="ru-UA" sz="900" b="0" i="0" u="none" strike="noStrike" kern="1200" cap="none" spc="0" normalizeH="0" baseline="0" noProof="0">
              <a:ln>
                <a:noFill/>
              </a:ln>
              <a:solidFill>
                <a:prstClr val="white"/>
              </a:solidFill>
              <a:effectLst/>
              <a:uLnTx/>
              <a:uFillTx/>
              <a:latin typeface="Montserrat"/>
              <a:ea typeface="+mn-ea"/>
              <a:cs typeface="+mn-cs"/>
              <a:sym typeface="Helvetica Neue"/>
            </a:endParaRPr>
          </a:p>
        </p:txBody>
      </p:sp>
      <p:sp>
        <p:nvSpPr>
          <p:cNvPr id="5" name="Oval 23">
            <a:extLst>
              <a:ext uri="{FF2B5EF4-FFF2-40B4-BE49-F238E27FC236}">
                <a16:creationId xmlns:a16="http://schemas.microsoft.com/office/drawing/2014/main" id="{6D2C1CAD-63DE-322D-A7AC-B0B10FE1AB7A}"/>
              </a:ext>
            </a:extLst>
          </p:cNvPr>
          <p:cNvSpPr>
            <a:spLocks noChangeAspect="1" noChangeArrowheads="1"/>
          </p:cNvSpPr>
          <p:nvPr userDrawn="1"/>
        </p:nvSpPr>
        <p:spPr bwMode="auto">
          <a:xfrm>
            <a:off x="11329274" y="-535305"/>
            <a:ext cx="1528198" cy="1532347"/>
          </a:xfrm>
          <a:prstGeom prst="ellipse">
            <a:avLst/>
          </a:prstGeom>
          <a:gradFill flip="none" rotWithShape="1">
            <a:gsLst>
              <a:gs pos="100000">
                <a:srgbClr val="427EC6">
                  <a:alpha val="97000"/>
                </a:srgbClr>
              </a:gs>
              <a:gs pos="23000">
                <a:srgbClr val="A9C4E5"/>
              </a:gs>
            </a:gsLst>
            <a:path path="circle">
              <a:fillToRect r="100000" b="100000"/>
            </a:path>
            <a:tileRect l="-100000" t="-100000"/>
          </a:gradFill>
          <a:ln w="12700" cap="flat" cmpd="sng" algn="ctr">
            <a:noFill/>
            <a:prstDash val="solid"/>
            <a:miter lim="800000"/>
          </a:ln>
          <a:effectLst/>
        </p:spPr>
        <p:txBody>
          <a:bodyPr rtlCol="0" anchor="ctr"/>
          <a:lstStyle/>
          <a:p>
            <a:pPr marL="0" marR="0" lvl="0" indent="0" algn="ctr" defTabSz="457179" rtl="0" eaLnBrk="1" fontAlgn="auto" latinLnBrk="0" hangingPunct="1">
              <a:lnSpc>
                <a:spcPct val="100000"/>
              </a:lnSpc>
              <a:spcBef>
                <a:spcPts val="0"/>
              </a:spcBef>
              <a:spcAft>
                <a:spcPts val="0"/>
              </a:spcAft>
              <a:buClrTx/>
              <a:buSzTx/>
              <a:buFontTx/>
              <a:buNone/>
              <a:tabLst/>
              <a:defRPr/>
            </a:pPr>
            <a:endParaRPr kumimoji="0" lang="ru-UA" sz="900" b="0" i="0" u="none" strike="noStrike" kern="1200" cap="none" spc="0" normalizeH="0" baseline="0" noProof="0">
              <a:ln>
                <a:noFill/>
              </a:ln>
              <a:solidFill>
                <a:prstClr val="white"/>
              </a:solidFill>
              <a:effectLst/>
              <a:uLnTx/>
              <a:uFillTx/>
              <a:latin typeface="Montserrat"/>
              <a:ea typeface="+mn-ea"/>
              <a:cs typeface="+mn-cs"/>
              <a:sym typeface="Helvetica Neue"/>
            </a:endParaRPr>
          </a:p>
        </p:txBody>
      </p:sp>
      <p:sp>
        <p:nvSpPr>
          <p:cNvPr id="6" name="Marcador de texto 4">
            <a:extLst>
              <a:ext uri="{FF2B5EF4-FFF2-40B4-BE49-F238E27FC236}">
                <a16:creationId xmlns:a16="http://schemas.microsoft.com/office/drawing/2014/main" id="{4AE954B1-0466-598A-8EB9-3456FB446E7E}"/>
              </a:ext>
            </a:extLst>
          </p:cNvPr>
          <p:cNvSpPr>
            <a:spLocks noGrp="1"/>
          </p:cNvSpPr>
          <p:nvPr>
            <p:ph type="body" sz="quarter" idx="10"/>
          </p:nvPr>
        </p:nvSpPr>
        <p:spPr>
          <a:xfrm>
            <a:off x="347546" y="933782"/>
            <a:ext cx="10515556" cy="417987"/>
          </a:xfrm>
          <a:prstGeom prst="rect">
            <a:avLst/>
          </a:prstGeom>
        </p:spPr>
        <p:txBody>
          <a:bodyPr/>
          <a:lstStyle>
            <a:lvl1pPr marL="0" indent="0">
              <a:buNone/>
              <a:defRPr sz="1940">
                <a:solidFill>
                  <a:srgbClr val="0575E6"/>
                </a:solidFill>
                <a:latin typeface="Montserrat" panose="00000500000000000000" pitchFamily="2" charset="0"/>
              </a:defRPr>
            </a:lvl1pPr>
          </a:lstStyle>
          <a:p>
            <a:pPr lvl="0"/>
            <a:r>
              <a:rPr lang="es-ES"/>
              <a:t>Haga clic para modificar los estilos de texto del patrón</a:t>
            </a:r>
          </a:p>
        </p:txBody>
      </p:sp>
    </p:spTree>
    <p:extLst>
      <p:ext uri="{BB962C8B-B14F-4D97-AF65-F5344CB8AC3E}">
        <p14:creationId xmlns:p14="http://schemas.microsoft.com/office/powerpoint/2010/main" val="38506381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troducción">
    <p:spTree>
      <p:nvGrpSpPr>
        <p:cNvPr id="1" name=""/>
        <p:cNvGrpSpPr/>
        <p:nvPr/>
      </p:nvGrpSpPr>
      <p:grpSpPr>
        <a:xfrm>
          <a:off x="0" y="0"/>
          <a:ext cx="0" cy="0"/>
          <a:chOff x="0" y="0"/>
          <a:chExt cx="0" cy="0"/>
        </a:xfrm>
      </p:grpSpPr>
      <p:sp>
        <p:nvSpPr>
          <p:cNvPr id="23" name="22 Marcador de texto"/>
          <p:cNvSpPr>
            <a:spLocks noGrp="1"/>
          </p:cNvSpPr>
          <p:nvPr>
            <p:ph type="body" sz="quarter" idx="23" hasCustomPrompt="1"/>
          </p:nvPr>
        </p:nvSpPr>
        <p:spPr>
          <a:xfrm>
            <a:off x="423986" y="1320801"/>
            <a:ext cx="11344031" cy="5151940"/>
          </a:xfrm>
        </p:spPr>
        <p:txBody>
          <a:bodyPr>
            <a:noAutofit/>
          </a:bodyPr>
          <a:lstStyle>
            <a:lvl4pPr marL="625475" marR="0" indent="-144463" algn="l" defTabSz="914400" rtl="0" eaLnBrk="1" fontAlgn="auto" latinLnBrk="0" hangingPunct="1">
              <a:lnSpc>
                <a:spcPct val="100000"/>
              </a:lnSpc>
              <a:spcBef>
                <a:spcPts val="0"/>
              </a:spcBef>
              <a:spcAft>
                <a:spcPts val="200"/>
              </a:spcAft>
              <a:buClr>
                <a:srgbClr val="494949"/>
              </a:buClr>
              <a:buSzTx/>
              <a:buFont typeface="Arial" pitchFamily="34" charset="0"/>
              <a:buChar char="•"/>
              <a:tabLst/>
              <a:defRPr/>
            </a:lvl4pPr>
            <a:lvl5pPr marL="858838" marR="0" indent="-171450" algn="l" defTabSz="914400" rtl="0" eaLnBrk="1" fontAlgn="auto" latinLnBrk="0" hangingPunct="1">
              <a:lnSpc>
                <a:spcPct val="100000"/>
              </a:lnSpc>
              <a:spcBef>
                <a:spcPts val="0"/>
              </a:spcBef>
              <a:spcAft>
                <a:spcPts val="200"/>
              </a:spcAft>
              <a:buClr>
                <a:srgbClr val="FF9900"/>
              </a:buClr>
              <a:buSzTx/>
              <a:buFont typeface="Arial" pitchFamily="34" charset="0"/>
              <a:buChar char="•"/>
              <a:tabLst/>
              <a:defRPr kumimoji="0" lang="es-ES" sz="1100" b="0" i="0" u="none" strike="noStrike" kern="1200" cap="none" spc="0" normalizeH="0" baseline="0" noProof="0" dirty="0" smtClean="0">
                <a:ln>
                  <a:noFill/>
                </a:ln>
                <a:solidFill>
                  <a:schemeClr val="tx1"/>
                </a:solidFill>
                <a:effectLst/>
                <a:uLnTx/>
                <a:uFillTx/>
                <a:latin typeface="+mn-lt"/>
                <a:ea typeface="+mn-ea"/>
                <a:cs typeface="+mn-cs"/>
              </a:defRPr>
            </a:lvl5pPr>
            <a:lvl6pPr marL="969962" marR="0" indent="0" algn="l" defTabSz="914400" rtl="0" eaLnBrk="1" fontAlgn="auto" latinLnBrk="0" hangingPunct="1">
              <a:lnSpc>
                <a:spcPct val="100000"/>
              </a:lnSpc>
              <a:spcBef>
                <a:spcPct val="20000"/>
              </a:spcBef>
              <a:spcAft>
                <a:spcPts val="0"/>
              </a:spcAft>
              <a:buClrTx/>
              <a:buSzTx/>
              <a:buFontTx/>
              <a:buNone/>
              <a:tabLst/>
              <a:defRPr kumimoji="0" lang="es-ES" sz="1100" b="0" i="0" u="none" strike="noStrike" kern="1200" cap="none" spc="0" normalizeH="0" baseline="0" noProof="0" dirty="0" smtClean="0">
                <a:ln>
                  <a:noFill/>
                </a:ln>
                <a:solidFill>
                  <a:schemeClr val="tx1"/>
                </a:solidFill>
                <a:effectLst/>
                <a:uLnTx/>
                <a:uFillTx/>
                <a:latin typeface="+mn-lt"/>
                <a:ea typeface="+mn-ea"/>
                <a:cs typeface="+mn-cs"/>
              </a:defRPr>
            </a:lvl6pPr>
            <a:lvl7pPr>
              <a:defRPr/>
            </a:lvl7pPr>
          </a:lstStyle>
          <a:p>
            <a:pPr lvl="0"/>
            <a:r>
              <a:rPr lang="es-ES" noProof="0"/>
              <a:t>Haga clic para modificar el estilo de texto del patrón</a:t>
            </a:r>
          </a:p>
          <a:p>
            <a:pPr lvl="1"/>
            <a:r>
              <a:rPr lang="es-ES" noProof="0"/>
              <a:t>Segundo nivel</a:t>
            </a:r>
          </a:p>
          <a:p>
            <a:pPr lvl="2"/>
            <a:r>
              <a:rPr lang="es-ES" noProof="0"/>
              <a:t>Tercer nivel</a:t>
            </a:r>
          </a:p>
          <a:p>
            <a:pPr marL="625475" marR="0" lvl="3" indent="-144463" algn="l" defTabSz="914400" rtl="0" eaLnBrk="1" fontAlgn="auto" latinLnBrk="0" hangingPunct="1">
              <a:lnSpc>
                <a:spcPct val="100000"/>
              </a:lnSpc>
              <a:spcBef>
                <a:spcPts val="0"/>
              </a:spcBef>
              <a:spcAft>
                <a:spcPts val="200"/>
              </a:spcAft>
              <a:buClr>
                <a:srgbClr val="494949"/>
              </a:buClr>
              <a:buSzTx/>
              <a:buFont typeface="Arial" pitchFamily="34" charset="0"/>
              <a:buChar char="•"/>
              <a:tabLst/>
              <a:defRPr/>
            </a:pPr>
            <a:r>
              <a:rPr lang="es-ES" noProof="0"/>
              <a:t>Cuarto nivel</a:t>
            </a:r>
            <a:endParaRPr kumimoji="0" lang="es-ES" sz="1100" b="0" i="0" u="none" strike="noStrike" kern="1200" cap="none" spc="0" normalizeH="0" baseline="0" noProof="0">
              <a:ln>
                <a:noFill/>
              </a:ln>
              <a:solidFill>
                <a:srgbClr val="494949"/>
              </a:solidFill>
              <a:effectLst/>
              <a:uLnTx/>
              <a:uFillTx/>
              <a:latin typeface="+mn-lt"/>
              <a:ea typeface="+mn-ea"/>
              <a:cs typeface="+mn-cs"/>
            </a:endParaRPr>
          </a:p>
          <a:p>
            <a:pPr marL="846138" marR="0" lvl="4" indent="-158750" algn="l" defTabSz="914400" rtl="0" eaLnBrk="1" fontAlgn="auto" latinLnBrk="0" hangingPunct="1">
              <a:lnSpc>
                <a:spcPct val="100000"/>
              </a:lnSpc>
              <a:spcBef>
                <a:spcPts val="0"/>
              </a:spcBef>
              <a:spcAft>
                <a:spcPts val="200"/>
              </a:spcAft>
              <a:buClr>
                <a:schemeClr val="accent1">
                  <a:lumMod val="90000"/>
                </a:schemeClr>
              </a:buClr>
              <a:buSzTx/>
              <a:buFont typeface="Arial" pitchFamily="34" charset="0"/>
              <a:buChar char="•"/>
              <a:tabLst/>
              <a:defRPr/>
            </a:pPr>
            <a:r>
              <a:rPr kumimoji="0" lang="es-ES" sz="1100" b="0" i="0" u="none" strike="noStrike" kern="1200" cap="none" spc="0" normalizeH="0" baseline="0" noProof="0">
                <a:ln>
                  <a:noFill/>
                </a:ln>
                <a:solidFill>
                  <a:srgbClr val="494949"/>
                </a:solidFill>
                <a:effectLst/>
                <a:uLnTx/>
                <a:uFillTx/>
                <a:latin typeface="+mn-lt"/>
                <a:ea typeface="+mn-ea"/>
                <a:cs typeface="+mn-cs"/>
              </a:rPr>
              <a:t>Quinto nivel</a:t>
            </a:r>
          </a:p>
          <a:p>
            <a:pPr marL="1111250" marR="0" lvl="5" indent="-141288" algn="l" defTabSz="914400" rtl="0" eaLnBrk="1" fontAlgn="auto" latinLnBrk="0" hangingPunct="1">
              <a:lnSpc>
                <a:spcPct val="100000"/>
              </a:lnSpc>
              <a:spcBef>
                <a:spcPct val="20000"/>
              </a:spcBef>
              <a:spcAft>
                <a:spcPts val="0"/>
              </a:spcAft>
              <a:buClrTx/>
              <a:buSzTx/>
              <a:buFontTx/>
              <a:buNone/>
              <a:tabLst/>
              <a:defRPr/>
            </a:pPr>
            <a:r>
              <a:rPr kumimoji="0" lang="es-ES" sz="1100" b="0" i="0" u="none" strike="noStrike" kern="1200" cap="none" spc="0" normalizeH="0" baseline="0" noProof="0">
                <a:ln>
                  <a:noFill/>
                </a:ln>
                <a:solidFill>
                  <a:srgbClr val="494949"/>
                </a:solidFill>
                <a:effectLst/>
                <a:uLnTx/>
                <a:uFillTx/>
                <a:latin typeface="+mn-lt"/>
                <a:ea typeface="+mn-ea"/>
                <a:cs typeface="+mn-cs"/>
              </a:rPr>
              <a:t>- </a:t>
            </a:r>
            <a:r>
              <a:rPr kumimoji="0" lang="es-ES" sz="1100" b="0" i="0" u="none" strike="noStrike" kern="1200" cap="none" spc="0" normalizeH="0" baseline="0" noProof="0" err="1">
                <a:ln>
                  <a:noFill/>
                </a:ln>
                <a:solidFill>
                  <a:srgbClr val="494949"/>
                </a:solidFill>
                <a:effectLst/>
                <a:uLnTx/>
                <a:uFillTx/>
                <a:latin typeface="+mn-lt"/>
                <a:ea typeface="+mn-ea"/>
                <a:cs typeface="+mn-cs"/>
              </a:rPr>
              <a:t>bhhh</a:t>
            </a:r>
            <a:endParaRPr kumimoji="0" lang="es-ES" sz="1100" b="0" i="0" u="none" strike="noStrike" kern="1200" cap="none" spc="0" normalizeH="0" baseline="0" noProof="0">
              <a:ln>
                <a:noFill/>
              </a:ln>
              <a:solidFill>
                <a:srgbClr val="494949"/>
              </a:solidFill>
              <a:effectLst/>
              <a:uLnTx/>
              <a:uFillTx/>
              <a:latin typeface="+mn-lt"/>
              <a:ea typeface="+mn-ea"/>
              <a:cs typeface="+mn-cs"/>
            </a:endParaRPr>
          </a:p>
        </p:txBody>
      </p:sp>
      <p:sp>
        <p:nvSpPr>
          <p:cNvPr id="92" name="27 Título"/>
          <p:cNvSpPr>
            <a:spLocks noGrp="1"/>
          </p:cNvSpPr>
          <p:nvPr userDrawn="1">
            <p:ph type="title" hasCustomPrompt="1"/>
          </p:nvPr>
        </p:nvSpPr>
        <p:spPr>
          <a:xfrm>
            <a:off x="1235961" y="334929"/>
            <a:ext cx="8936800" cy="518277"/>
          </a:xfrm>
        </p:spPr>
        <p:txBody>
          <a:bodyPr>
            <a:noAutofit/>
          </a:bodyPr>
          <a:lstStyle>
            <a:lvl1pPr>
              <a:defRPr sz="2000">
                <a:solidFill>
                  <a:schemeClr val="tx1"/>
                </a:solidFill>
              </a:defRPr>
            </a:lvl1pPr>
          </a:lstStyle>
          <a:p>
            <a:r>
              <a:rPr lang="es-ES"/>
              <a:t>Título</a:t>
            </a:r>
            <a:endParaRPr lang="en-US"/>
          </a:p>
        </p:txBody>
      </p:sp>
      <p:sp>
        <p:nvSpPr>
          <p:cNvPr id="6" name="21 CuadroTexto"/>
          <p:cNvSpPr txBox="1"/>
          <p:nvPr userDrawn="1"/>
        </p:nvSpPr>
        <p:spPr>
          <a:xfrm>
            <a:off x="1192823" y="19050"/>
            <a:ext cx="8988270" cy="248400"/>
          </a:xfrm>
          <a:prstGeom prst="rect">
            <a:avLst/>
          </a:prstGeom>
        </p:spPr>
        <p:txBody>
          <a:bodyPr vert="horz" lIns="0" tIns="0" rIns="0" bIns="0" rtlCol="0" anchor="ctr">
            <a:noAutofit/>
          </a:bodyPr>
          <a:lstStyle/>
          <a:p>
            <a:pPr marL="144000" marR="0" lvl="0" indent="0" algn="l" defTabSz="914400" rtl="0" eaLnBrk="1" fontAlgn="base" latinLnBrk="0" hangingPunct="1">
              <a:lnSpc>
                <a:spcPct val="100000"/>
              </a:lnSpc>
              <a:spcBef>
                <a:spcPts val="600"/>
              </a:spcBef>
              <a:spcAft>
                <a:spcPts val="300"/>
              </a:spcAft>
              <a:buClr>
                <a:srgbClr val="505150"/>
              </a:buClr>
              <a:buSzPct val="88000"/>
              <a:buFont typeface="Arial" pitchFamily="34" charset="0"/>
              <a:buNone/>
              <a:tabLst>
                <a:tab pos="1346200" algn="l"/>
              </a:tabLst>
              <a:defRPr/>
            </a:pPr>
            <a:r>
              <a:rPr kumimoji="0" lang="es-ES" sz="1050" b="0" i="0" u="none" strike="noStrike" kern="1200" cap="none" spc="0" normalizeH="0" baseline="0" noProof="0">
                <a:ln>
                  <a:noFill/>
                </a:ln>
                <a:solidFill>
                  <a:schemeClr val="tx1"/>
                </a:solidFill>
                <a:effectLst/>
                <a:uLnTx/>
                <a:uFillTx/>
                <a:latin typeface="+mn-lt"/>
                <a:ea typeface="+mn-ea"/>
                <a:cs typeface="+mn-cs"/>
                <a:sym typeface="Droid Sans" charset="0"/>
              </a:rPr>
              <a:t>Introducción</a:t>
            </a:r>
          </a:p>
        </p:txBody>
      </p:sp>
      <p:sp>
        <p:nvSpPr>
          <p:cNvPr id="7" name="26 Marcador de contenido"/>
          <p:cNvSpPr>
            <a:spLocks noGrp="1"/>
          </p:cNvSpPr>
          <p:nvPr>
            <p:ph sz="quarter" idx="26" hasCustomPrompt="1"/>
          </p:nvPr>
        </p:nvSpPr>
        <p:spPr>
          <a:xfrm>
            <a:off x="1192823" y="863255"/>
            <a:ext cx="8988270" cy="225425"/>
          </a:xfrm>
        </p:spPr>
        <p:txBody>
          <a:bodyPr anchor="ctr">
            <a:noAutofit/>
          </a:bodyPr>
          <a:lstStyle>
            <a:lvl1pPr marL="144000">
              <a:defRPr sz="1000" cap="all" spc="300" baseline="0">
                <a:solidFill>
                  <a:schemeClr val="tx1"/>
                </a:solidFill>
              </a:defRPr>
            </a:lvl1pPr>
            <a:lvl7pPr>
              <a:defRPr>
                <a:solidFill>
                  <a:schemeClr val="tx1">
                    <a:lumMod val="50000"/>
                    <a:lumOff val="50000"/>
                  </a:schemeClr>
                </a:solidFill>
              </a:defRPr>
            </a:lvl7pPr>
          </a:lstStyle>
          <a:p>
            <a:pPr lvl="0"/>
            <a:r>
              <a:rPr lang="es-ES"/>
              <a:t>Subtítulo</a:t>
            </a:r>
            <a:endParaRPr lang="en-US"/>
          </a:p>
        </p:txBody>
      </p:sp>
      <p:sp>
        <p:nvSpPr>
          <p:cNvPr id="9" name="Shape 3609"/>
          <p:cNvSpPr/>
          <p:nvPr userDrawn="1"/>
        </p:nvSpPr>
        <p:spPr>
          <a:xfrm>
            <a:off x="458569" y="431515"/>
            <a:ext cx="403446" cy="327798"/>
          </a:xfrm>
          <a:custGeom>
            <a:avLst/>
            <a:gdLst/>
            <a:ahLst/>
            <a:cxnLst>
              <a:cxn ang="0">
                <a:pos x="wd2" y="hd2"/>
              </a:cxn>
              <a:cxn ang="5400000">
                <a:pos x="wd2" y="hd2"/>
              </a:cxn>
              <a:cxn ang="10800000">
                <a:pos x="wd2" y="hd2"/>
              </a:cxn>
              <a:cxn ang="16200000">
                <a:pos x="wd2" y="hd2"/>
              </a:cxn>
            </a:cxnLst>
            <a:rect l="0" t="0" r="r" b="b"/>
            <a:pathLst>
              <a:path w="21600" h="21600" extrusionOk="0">
                <a:moveTo>
                  <a:pt x="4418" y="11782"/>
                </a:moveTo>
                <a:lnTo>
                  <a:pt x="14236" y="11782"/>
                </a:lnTo>
                <a:cubicBezTo>
                  <a:pt x="14507" y="11782"/>
                  <a:pt x="14727" y="11562"/>
                  <a:pt x="14727" y="11291"/>
                </a:cubicBezTo>
                <a:cubicBezTo>
                  <a:pt x="14727" y="11020"/>
                  <a:pt x="14507" y="10800"/>
                  <a:pt x="14236" y="10800"/>
                </a:cubicBezTo>
                <a:lnTo>
                  <a:pt x="4418" y="10800"/>
                </a:lnTo>
                <a:cubicBezTo>
                  <a:pt x="4147" y="10800"/>
                  <a:pt x="3927" y="11020"/>
                  <a:pt x="3927" y="11291"/>
                </a:cubicBezTo>
                <a:cubicBezTo>
                  <a:pt x="3927" y="11562"/>
                  <a:pt x="4147" y="11782"/>
                  <a:pt x="4418" y="11782"/>
                </a:cubicBezTo>
                <a:moveTo>
                  <a:pt x="20618" y="20618"/>
                </a:moveTo>
                <a:lnTo>
                  <a:pt x="5891" y="20618"/>
                </a:lnTo>
                <a:lnTo>
                  <a:pt x="5891" y="16200"/>
                </a:lnTo>
                <a:cubicBezTo>
                  <a:pt x="5891" y="15929"/>
                  <a:pt x="5671" y="15709"/>
                  <a:pt x="5400" y="15709"/>
                </a:cubicBezTo>
                <a:lnTo>
                  <a:pt x="982" y="15709"/>
                </a:lnTo>
                <a:lnTo>
                  <a:pt x="982" y="982"/>
                </a:lnTo>
                <a:lnTo>
                  <a:pt x="20618" y="982"/>
                </a:lnTo>
                <a:cubicBezTo>
                  <a:pt x="20618" y="982"/>
                  <a:pt x="20618" y="20618"/>
                  <a:pt x="20618" y="20618"/>
                </a:cubicBezTo>
                <a:close/>
                <a:moveTo>
                  <a:pt x="4909" y="20127"/>
                </a:moveTo>
                <a:lnTo>
                  <a:pt x="1473" y="16691"/>
                </a:lnTo>
                <a:lnTo>
                  <a:pt x="4909" y="16691"/>
                </a:lnTo>
                <a:cubicBezTo>
                  <a:pt x="4909" y="16691"/>
                  <a:pt x="4909" y="20127"/>
                  <a:pt x="4909" y="20127"/>
                </a:cubicBezTo>
                <a:close/>
                <a:moveTo>
                  <a:pt x="20618" y="0"/>
                </a:moveTo>
                <a:lnTo>
                  <a:pt x="982" y="0"/>
                </a:lnTo>
                <a:cubicBezTo>
                  <a:pt x="440" y="0"/>
                  <a:pt x="0" y="440"/>
                  <a:pt x="0" y="982"/>
                </a:cubicBezTo>
                <a:lnTo>
                  <a:pt x="0" y="16691"/>
                </a:lnTo>
                <a:lnTo>
                  <a:pt x="4909" y="21600"/>
                </a:lnTo>
                <a:lnTo>
                  <a:pt x="20618" y="21600"/>
                </a:lnTo>
                <a:cubicBezTo>
                  <a:pt x="21160" y="21600"/>
                  <a:pt x="21600" y="21161"/>
                  <a:pt x="21600" y="20618"/>
                </a:cubicBezTo>
                <a:lnTo>
                  <a:pt x="21600" y="982"/>
                </a:lnTo>
                <a:cubicBezTo>
                  <a:pt x="21600" y="440"/>
                  <a:pt x="21160" y="0"/>
                  <a:pt x="20618" y="0"/>
                </a:cubicBezTo>
                <a:moveTo>
                  <a:pt x="4418" y="8836"/>
                </a:moveTo>
                <a:lnTo>
                  <a:pt x="17182" y="8836"/>
                </a:lnTo>
                <a:cubicBezTo>
                  <a:pt x="17453" y="8836"/>
                  <a:pt x="17673" y="8617"/>
                  <a:pt x="17673" y="8345"/>
                </a:cubicBezTo>
                <a:cubicBezTo>
                  <a:pt x="17673" y="8075"/>
                  <a:pt x="17453" y="7855"/>
                  <a:pt x="17182" y="7855"/>
                </a:cubicBezTo>
                <a:lnTo>
                  <a:pt x="4418" y="7855"/>
                </a:lnTo>
                <a:cubicBezTo>
                  <a:pt x="4147" y="7855"/>
                  <a:pt x="3927" y="8075"/>
                  <a:pt x="3927" y="8345"/>
                </a:cubicBezTo>
                <a:cubicBezTo>
                  <a:pt x="3927" y="8617"/>
                  <a:pt x="4147" y="8836"/>
                  <a:pt x="4418" y="8836"/>
                </a:cubicBezTo>
                <a:moveTo>
                  <a:pt x="4418" y="5891"/>
                </a:moveTo>
                <a:lnTo>
                  <a:pt x="10309" y="5891"/>
                </a:lnTo>
                <a:cubicBezTo>
                  <a:pt x="10580" y="5891"/>
                  <a:pt x="10800" y="5672"/>
                  <a:pt x="10800" y="5400"/>
                </a:cubicBezTo>
                <a:cubicBezTo>
                  <a:pt x="10800" y="5129"/>
                  <a:pt x="10580" y="4909"/>
                  <a:pt x="10309" y="4909"/>
                </a:cubicBezTo>
                <a:lnTo>
                  <a:pt x="4418" y="4909"/>
                </a:lnTo>
                <a:cubicBezTo>
                  <a:pt x="4147" y="4909"/>
                  <a:pt x="3927" y="5129"/>
                  <a:pt x="3927" y="5400"/>
                </a:cubicBezTo>
                <a:cubicBezTo>
                  <a:pt x="3927" y="5672"/>
                  <a:pt x="4147" y="5891"/>
                  <a:pt x="4418" y="5891"/>
                </a:cubicBezTo>
              </a:path>
            </a:pathLst>
          </a:custGeom>
          <a:solidFill>
            <a:schemeClr val="tx1"/>
          </a:solidFill>
          <a:ln w="12700">
            <a:miter lim="400000"/>
          </a:ln>
        </p:spPr>
        <p:txBody>
          <a:bodyPr lIns="38100" tIns="38100" rIns="38100" bIns="38100" anchor="ctr"/>
          <a:lstStyle/>
          <a:p>
            <a:endParaRPr sz="1800">
              <a:solidFill>
                <a:prstClr val="black"/>
              </a:solidFill>
            </a:endParaRPr>
          </a:p>
        </p:txBody>
      </p:sp>
      <p:sp>
        <p:nvSpPr>
          <p:cNvPr id="2" name="Marcador de número de diapositiva 1"/>
          <p:cNvSpPr>
            <a:spLocks noGrp="1"/>
          </p:cNvSpPr>
          <p:nvPr>
            <p:ph type="sldNum" sz="quarter" idx="27"/>
          </p:nvPr>
        </p:nvSpPr>
        <p:spPr/>
        <p:txBody>
          <a:bodyPr/>
          <a:lstStyle/>
          <a:p>
            <a:pPr marL="7938" algn="ctr" fontAlgn="base">
              <a:spcAft>
                <a:spcPct val="0"/>
              </a:spcAft>
              <a:buClr>
                <a:srgbClr val="505150"/>
              </a:buClr>
              <a:buSzPct val="88000"/>
            </a:pPr>
            <a:fld id="{B90C96D8-0395-4AF3-8A78-0E88AEC6FB3C}" type="slidenum">
              <a:rPr lang="es-ES" smtClean="0"/>
              <a:pPr marL="7938" algn="ctr" fontAlgn="base">
                <a:spcAft>
                  <a:spcPct val="0"/>
                </a:spcAft>
                <a:buClr>
                  <a:srgbClr val="505150"/>
                </a:buClr>
                <a:buSzPct val="88000"/>
              </a:pPr>
              <a:t>‹Nº›</a:t>
            </a:fld>
            <a:endParaRPr lang="es-ES"/>
          </a:p>
        </p:txBody>
      </p:sp>
    </p:spTree>
    <p:extLst>
      <p:ext uri="{BB962C8B-B14F-4D97-AF65-F5344CB8AC3E}">
        <p14:creationId xmlns:p14="http://schemas.microsoft.com/office/powerpoint/2010/main" val="1803795866"/>
      </p:ext>
    </p:extLst>
  </p:cSld>
  <p:clrMapOvr>
    <a:masterClrMapping/>
  </p:clrMapOvr>
  <p:transition spd="slow"/>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emplate Propuesta 2022 - Portada">
    <p:spTree>
      <p:nvGrpSpPr>
        <p:cNvPr id="1" name=""/>
        <p:cNvGrpSpPr/>
        <p:nvPr/>
      </p:nvGrpSpPr>
      <p:grpSpPr>
        <a:xfrm>
          <a:off x="0" y="0"/>
          <a:ext cx="0" cy="0"/>
          <a:chOff x="0" y="0"/>
          <a:chExt cx="0" cy="0"/>
        </a:xfrm>
      </p:grpSpPr>
      <p:pic>
        <p:nvPicPr>
          <p:cNvPr id="15" name="Imagen 14">
            <a:extLst>
              <a:ext uri="{FF2B5EF4-FFF2-40B4-BE49-F238E27FC236}">
                <a16:creationId xmlns:a16="http://schemas.microsoft.com/office/drawing/2014/main" id="{D646C6E6-9416-2F4A-96B0-0D940E14D88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3866302"/>
          </a:xfrm>
          <a:prstGeom prst="rect">
            <a:avLst/>
          </a:prstGeom>
        </p:spPr>
      </p:pic>
      <p:sp>
        <p:nvSpPr>
          <p:cNvPr id="16" name="Rectangle 24">
            <a:extLst>
              <a:ext uri="{FF2B5EF4-FFF2-40B4-BE49-F238E27FC236}">
                <a16:creationId xmlns:a16="http://schemas.microsoft.com/office/drawing/2014/main" id="{A6A5844C-635D-0141-9317-E938D282690F}"/>
              </a:ext>
            </a:extLst>
          </p:cNvPr>
          <p:cNvSpPr/>
          <p:nvPr userDrawn="1"/>
        </p:nvSpPr>
        <p:spPr>
          <a:xfrm>
            <a:off x="0" y="0"/>
            <a:ext cx="12192000" cy="3866303"/>
          </a:xfrm>
          <a:prstGeom prst="rect">
            <a:avLst/>
          </a:prstGeom>
          <a:solidFill>
            <a:schemeClr val="bg1">
              <a:alpha val="15015"/>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1" i="0" u="none" strike="noStrike" kern="1200" cap="none" spc="300" normalizeH="0" baseline="0" noProof="0">
              <a:ln>
                <a:noFill/>
              </a:ln>
              <a:solidFill>
                <a:srgbClr val="FFFFFF"/>
              </a:solidFill>
              <a:effectLst/>
              <a:uLnTx/>
              <a:uFillTx/>
              <a:latin typeface="Arial" panose="020B0604020202020204"/>
              <a:ea typeface="+mn-ea"/>
              <a:cs typeface="+mn-cs"/>
            </a:endParaRPr>
          </a:p>
        </p:txBody>
      </p:sp>
      <p:sp>
        <p:nvSpPr>
          <p:cNvPr id="403" name="Marcador de título 2"/>
          <p:cNvSpPr>
            <a:spLocks noGrp="1"/>
          </p:cNvSpPr>
          <p:nvPr userDrawn="1">
            <p:ph type="title" hasCustomPrompt="1"/>
          </p:nvPr>
        </p:nvSpPr>
        <p:spPr>
          <a:xfrm>
            <a:off x="2897206" y="4253125"/>
            <a:ext cx="8782184" cy="1400153"/>
          </a:xfrm>
          <a:prstGeom prst="rect">
            <a:avLst/>
          </a:prstGeom>
        </p:spPr>
        <p:txBody>
          <a:bodyPr vert="horz" lIns="91440" tIns="45720" rIns="91440" bIns="45720" rtlCol="0" anchor="ctr">
            <a:noAutofit/>
          </a:bodyPr>
          <a:lstStyle>
            <a:lvl1pPr>
              <a:defRPr sz="3200" b="1" spc="0">
                <a:solidFill>
                  <a:schemeClr val="tx2"/>
                </a:solidFill>
                <a:latin typeface="+mj-lt"/>
              </a:defRPr>
            </a:lvl1pPr>
          </a:lstStyle>
          <a:p>
            <a:r>
              <a:rPr lang="es-ES_tradnl"/>
              <a:t>Nombre del Proyecto</a:t>
            </a:r>
            <a:endParaRPr lang="en-US"/>
          </a:p>
        </p:txBody>
      </p:sp>
      <p:sp>
        <p:nvSpPr>
          <p:cNvPr id="413" name="Marcador de texto 412"/>
          <p:cNvSpPr>
            <a:spLocks noGrp="1"/>
          </p:cNvSpPr>
          <p:nvPr userDrawn="1">
            <p:ph type="body" sz="quarter" idx="10" hasCustomPrompt="1"/>
          </p:nvPr>
        </p:nvSpPr>
        <p:spPr>
          <a:xfrm>
            <a:off x="2897204" y="5863739"/>
            <a:ext cx="8782185" cy="329838"/>
          </a:xfrm>
          <a:prstGeom prst="rect">
            <a:avLst/>
          </a:prstGeom>
        </p:spPr>
        <p:txBody>
          <a:bodyPr>
            <a:noAutofit/>
          </a:bodyPr>
          <a:lstStyle>
            <a:lvl1pPr>
              <a:defRPr sz="1400">
                <a:solidFill>
                  <a:schemeClr val="tx2"/>
                </a:solidFill>
              </a:defRPr>
            </a:lvl1pPr>
          </a:lstStyle>
          <a:p>
            <a:pPr lvl="0"/>
            <a:r>
              <a:rPr lang="es-ES_tradnl"/>
              <a:t>Fecha</a:t>
            </a:r>
            <a:endParaRPr lang="en-US"/>
          </a:p>
        </p:txBody>
      </p:sp>
      <p:cxnSp>
        <p:nvCxnSpPr>
          <p:cNvPr id="25" name="Conector recto 24"/>
          <p:cNvCxnSpPr>
            <a:cxnSpLocks/>
          </p:cNvCxnSpPr>
          <p:nvPr userDrawn="1"/>
        </p:nvCxnSpPr>
        <p:spPr>
          <a:xfrm>
            <a:off x="2897204" y="5778222"/>
            <a:ext cx="878218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7" name="Grupo 16">
            <a:extLst>
              <a:ext uri="{FF2B5EF4-FFF2-40B4-BE49-F238E27FC236}">
                <a16:creationId xmlns:a16="http://schemas.microsoft.com/office/drawing/2014/main" id="{C91D9E2C-4D0F-E44F-971D-01B1105F7012}"/>
              </a:ext>
            </a:extLst>
          </p:cNvPr>
          <p:cNvGrpSpPr/>
          <p:nvPr userDrawn="1"/>
        </p:nvGrpSpPr>
        <p:grpSpPr>
          <a:xfrm>
            <a:off x="4273148" y="300065"/>
            <a:ext cx="3645704" cy="3266172"/>
            <a:chOff x="3703034" y="585609"/>
            <a:chExt cx="4785933" cy="4287699"/>
          </a:xfrm>
        </p:grpSpPr>
        <p:sp>
          <p:nvSpPr>
            <p:cNvPr id="18" name="Rectangle 24">
              <a:extLst>
                <a:ext uri="{FF2B5EF4-FFF2-40B4-BE49-F238E27FC236}">
                  <a16:creationId xmlns:a16="http://schemas.microsoft.com/office/drawing/2014/main" id="{DA370FB5-977C-4447-AF1E-B3E8C19AE42A}"/>
                </a:ext>
              </a:extLst>
            </p:cNvPr>
            <p:cNvSpPr/>
            <p:nvPr/>
          </p:nvSpPr>
          <p:spPr>
            <a:xfrm>
              <a:off x="3952151" y="585609"/>
              <a:ext cx="4287699" cy="4287699"/>
            </a:xfrm>
            <a:prstGeom prst="rect">
              <a:avLst/>
            </a:prstGeom>
            <a:solidFill>
              <a:schemeClr val="bg1">
                <a:alpha val="76000"/>
              </a:schemeClr>
            </a:solid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1" i="0" u="none" strike="noStrike" kern="1200" cap="none" spc="300" normalizeH="0" baseline="0" noProof="0">
                <a:ln>
                  <a:noFill/>
                </a:ln>
                <a:solidFill>
                  <a:srgbClr val="FFFFFF"/>
                </a:solidFill>
                <a:effectLst/>
                <a:uLnTx/>
                <a:uFillTx/>
                <a:latin typeface="Arial" panose="020B0604020202020204"/>
                <a:ea typeface="+mn-ea"/>
                <a:cs typeface="+mn-cs"/>
              </a:endParaRPr>
            </a:p>
          </p:txBody>
        </p:sp>
        <p:sp>
          <p:nvSpPr>
            <p:cNvPr id="19" name="Rectángulo 18">
              <a:extLst>
                <a:ext uri="{FF2B5EF4-FFF2-40B4-BE49-F238E27FC236}">
                  <a16:creationId xmlns:a16="http://schemas.microsoft.com/office/drawing/2014/main" id="{D075A748-6544-4F4D-85F0-8259B5DCF908}"/>
                </a:ext>
              </a:extLst>
            </p:cNvPr>
            <p:cNvSpPr/>
            <p:nvPr/>
          </p:nvSpPr>
          <p:spPr>
            <a:xfrm>
              <a:off x="3703034" y="1623072"/>
              <a:ext cx="4785933" cy="606055"/>
            </a:xfrm>
            <a:prstGeom prst="rect">
              <a:avLst/>
            </a:prstGeom>
          </p:spPr>
          <p:txBody>
            <a:bodyPr wrap="square" anchor="ctr">
              <a:spAutoFit/>
            </a:bodyPr>
            <a:lstStyle/>
            <a:p>
              <a:pPr lvl="0" algn="ctr">
                <a:defRPr/>
              </a:pPr>
              <a:r>
                <a:rPr lang="es-ES" sz="1200" b="1" spc="300">
                  <a:solidFill>
                    <a:schemeClr val="tx2"/>
                  </a:solidFill>
                  <a:latin typeface="Arial" panose="020B0604020202020204" pitchFamily="34" charset="0"/>
                  <a:cs typeface="Arial" panose="020B0604020202020204" pitchFamily="34" charset="0"/>
                </a:rPr>
                <a:t>HUB TECNOLÓGICO</a:t>
              </a:r>
              <a:br>
                <a:rPr lang="es-ES" sz="1200" b="1" spc="300">
                  <a:solidFill>
                    <a:schemeClr val="tx2"/>
                  </a:solidFill>
                  <a:latin typeface="Arial" panose="020B0604020202020204" pitchFamily="34" charset="0"/>
                  <a:cs typeface="Arial" panose="020B0604020202020204" pitchFamily="34" charset="0"/>
                </a:rPr>
              </a:br>
              <a:r>
                <a:rPr lang="es-ES" sz="1200" b="1" spc="300">
                  <a:solidFill>
                    <a:schemeClr val="tx2"/>
                  </a:solidFill>
                  <a:latin typeface="Arial" panose="020B0604020202020204" pitchFamily="34" charset="0"/>
                  <a:cs typeface="Arial" panose="020B0604020202020204" pitchFamily="34" charset="0"/>
                </a:rPr>
                <a:t>EUROPA-AMÉRICA</a:t>
              </a:r>
            </a:p>
          </p:txBody>
        </p:sp>
        <p:sp>
          <p:nvSpPr>
            <p:cNvPr id="20" name="Rectángulo 19">
              <a:extLst>
                <a:ext uri="{FF2B5EF4-FFF2-40B4-BE49-F238E27FC236}">
                  <a16:creationId xmlns:a16="http://schemas.microsoft.com/office/drawing/2014/main" id="{2FD8A460-347A-C342-B730-1802619B4E7E}"/>
                </a:ext>
              </a:extLst>
            </p:cNvPr>
            <p:cNvSpPr/>
            <p:nvPr/>
          </p:nvSpPr>
          <p:spPr>
            <a:xfrm>
              <a:off x="3952150" y="2720840"/>
              <a:ext cx="4250135" cy="1818166"/>
            </a:xfrm>
            <a:prstGeom prst="rect">
              <a:avLst/>
            </a:prstGeom>
          </p:spPr>
          <p:txBody>
            <a:bodyPr wrap="square">
              <a:spAutoFit/>
            </a:bodyPr>
            <a:lstStyle/>
            <a:p>
              <a:pPr lvl="0" algn="ctr">
                <a:spcAft>
                  <a:spcPts val="300"/>
                </a:spcAft>
                <a:defRPr/>
              </a:pPr>
              <a:r>
                <a:rPr lang="es-ES_tradnl" sz="2800" b="1">
                  <a:solidFill>
                    <a:schemeClr val="tx2"/>
                  </a:solidFill>
                </a:rPr>
                <a:t>Propuesta de Colaboración Profesional</a:t>
              </a:r>
            </a:p>
          </p:txBody>
        </p:sp>
        <p:cxnSp>
          <p:nvCxnSpPr>
            <p:cNvPr id="21" name="Conector recto 20">
              <a:extLst>
                <a:ext uri="{FF2B5EF4-FFF2-40B4-BE49-F238E27FC236}">
                  <a16:creationId xmlns:a16="http://schemas.microsoft.com/office/drawing/2014/main" id="{2718DE35-73EB-9447-912D-5E90D8113B79}"/>
                </a:ext>
              </a:extLst>
            </p:cNvPr>
            <p:cNvCxnSpPr>
              <a:cxnSpLocks/>
            </p:cNvCxnSpPr>
            <p:nvPr/>
          </p:nvCxnSpPr>
          <p:spPr>
            <a:xfrm>
              <a:off x="4334773" y="2497048"/>
              <a:ext cx="3522456" cy="0"/>
            </a:xfrm>
            <a:prstGeom prst="line">
              <a:avLst/>
            </a:prstGeom>
            <a:ln w="15875"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23" name="Forma libre 22">
              <a:extLst>
                <a:ext uri="{FF2B5EF4-FFF2-40B4-BE49-F238E27FC236}">
                  <a16:creationId xmlns:a16="http://schemas.microsoft.com/office/drawing/2014/main" id="{3AD6B6D9-5053-854B-8DA5-D229DFD39B98}"/>
                </a:ext>
              </a:extLst>
            </p:cNvPr>
            <p:cNvSpPr/>
            <p:nvPr/>
          </p:nvSpPr>
          <p:spPr>
            <a:xfrm>
              <a:off x="5123744" y="954677"/>
              <a:ext cx="1944509" cy="448718"/>
            </a:xfrm>
            <a:custGeom>
              <a:avLst/>
              <a:gdLst>
                <a:gd name="connsiteX0" fmla="*/ 2305336 w 6124670"/>
                <a:gd name="connsiteY0" fmla="*/ 651766 h 1413343"/>
                <a:gd name="connsiteX1" fmla="*/ 2176082 w 6124670"/>
                <a:gd name="connsiteY1" fmla="*/ 694862 h 1413343"/>
                <a:gd name="connsiteX2" fmla="*/ 2099882 w 6124670"/>
                <a:gd name="connsiteY2" fmla="*/ 711416 h 1413343"/>
                <a:gd name="connsiteX3" fmla="*/ 2013681 w 6124670"/>
                <a:gd name="connsiteY3" fmla="*/ 754512 h 1413343"/>
                <a:gd name="connsiteX4" fmla="*/ 1990440 w 6124670"/>
                <a:gd name="connsiteY4" fmla="*/ 827385 h 1413343"/>
                <a:gd name="connsiteX5" fmla="*/ 2020348 w 6124670"/>
                <a:gd name="connsiteY5" fmla="*/ 906822 h 1413343"/>
                <a:gd name="connsiteX6" fmla="*/ 2106073 w 6124670"/>
                <a:gd name="connsiteY6" fmla="*/ 933269 h 1413343"/>
                <a:gd name="connsiteX7" fmla="*/ 2251900 w 6124670"/>
                <a:gd name="connsiteY7" fmla="*/ 880375 h 1413343"/>
                <a:gd name="connsiteX8" fmla="*/ 2304955 w 6124670"/>
                <a:gd name="connsiteY8" fmla="*/ 734629 h 1413343"/>
                <a:gd name="connsiteX9" fmla="*/ 3393473 w 6124670"/>
                <a:gd name="connsiteY9" fmla="*/ 386722 h 1413343"/>
                <a:gd name="connsiteX10" fmla="*/ 3274315 w 6124670"/>
                <a:gd name="connsiteY10" fmla="*/ 433052 h 1413343"/>
                <a:gd name="connsiteX11" fmla="*/ 3224404 w 6124670"/>
                <a:gd name="connsiteY11" fmla="*/ 565479 h 1413343"/>
                <a:gd name="connsiteX12" fmla="*/ 3562637 w 6124670"/>
                <a:gd name="connsiteY12" fmla="*/ 565479 h 1413343"/>
                <a:gd name="connsiteX13" fmla="*/ 3516155 w 6124670"/>
                <a:gd name="connsiteY13" fmla="*/ 433052 h 1413343"/>
                <a:gd name="connsiteX14" fmla="*/ 3393473 w 6124670"/>
                <a:gd name="connsiteY14" fmla="*/ 386722 h 1413343"/>
                <a:gd name="connsiteX15" fmla="*/ 4552474 w 6124670"/>
                <a:gd name="connsiteY15" fmla="*/ 214433 h 1413343"/>
                <a:gd name="connsiteX16" fmla="*/ 4807839 w 6124670"/>
                <a:gd name="connsiteY16" fmla="*/ 214433 h 1413343"/>
                <a:gd name="connsiteX17" fmla="*/ 4986910 w 6124670"/>
                <a:gd name="connsiteY17" fmla="*/ 837089 h 1413343"/>
                <a:gd name="connsiteX18" fmla="*/ 5142739 w 6124670"/>
                <a:gd name="connsiteY18" fmla="*/ 293966 h 1413343"/>
                <a:gd name="connsiteX19" fmla="*/ 5248847 w 6124670"/>
                <a:gd name="connsiteY19" fmla="*/ 214433 h 1413343"/>
                <a:gd name="connsiteX20" fmla="*/ 5407914 w 6124670"/>
                <a:gd name="connsiteY20" fmla="*/ 214433 h 1413343"/>
                <a:gd name="connsiteX21" fmla="*/ 5069681 w 6124670"/>
                <a:gd name="connsiteY21" fmla="*/ 1217912 h 1413343"/>
                <a:gd name="connsiteX22" fmla="*/ 4970146 w 6124670"/>
                <a:gd name="connsiteY22" fmla="*/ 1373552 h 1413343"/>
                <a:gd name="connsiteX23" fmla="*/ 4774597 w 6124670"/>
                <a:gd name="connsiteY23" fmla="*/ 1413318 h 1413343"/>
                <a:gd name="connsiteX24" fmla="*/ 4751737 w 6124670"/>
                <a:gd name="connsiteY24" fmla="*/ 1413318 h 1413343"/>
                <a:gd name="connsiteX25" fmla="*/ 4677918 w 6124670"/>
                <a:gd name="connsiteY25" fmla="*/ 1412558 h 1413343"/>
                <a:gd name="connsiteX26" fmla="*/ 4677918 w 6124670"/>
                <a:gd name="connsiteY26" fmla="*/ 1224572 h 1413343"/>
                <a:gd name="connsiteX27" fmla="*/ 4741164 w 6124670"/>
                <a:gd name="connsiteY27" fmla="*/ 1224572 h 1413343"/>
                <a:gd name="connsiteX28" fmla="*/ 4845939 w 6124670"/>
                <a:gd name="connsiteY28" fmla="*/ 1193082 h 1413343"/>
                <a:gd name="connsiteX29" fmla="*/ 4860893 w 6124670"/>
                <a:gd name="connsiteY29" fmla="*/ 1092050 h 1413343"/>
                <a:gd name="connsiteX30" fmla="*/ 1721739 w 6124670"/>
                <a:gd name="connsiteY30" fmla="*/ 214433 h 1413343"/>
                <a:gd name="connsiteX31" fmla="*/ 1754982 w 6124670"/>
                <a:gd name="connsiteY31" fmla="*/ 214433 h 1413343"/>
                <a:gd name="connsiteX32" fmla="*/ 1754982 w 6124670"/>
                <a:gd name="connsiteY32" fmla="*/ 449605 h 1413343"/>
                <a:gd name="connsiteX33" fmla="*/ 1678782 w 6124670"/>
                <a:gd name="connsiteY33" fmla="*/ 449605 h 1413343"/>
                <a:gd name="connsiteX34" fmla="*/ 1535907 w 6124670"/>
                <a:gd name="connsiteY34" fmla="*/ 495936 h 1413343"/>
                <a:gd name="connsiteX35" fmla="*/ 1489520 w 6124670"/>
                <a:gd name="connsiteY35" fmla="*/ 641682 h 1413343"/>
                <a:gd name="connsiteX36" fmla="*/ 1489520 w 6124670"/>
                <a:gd name="connsiteY36" fmla="*/ 1095379 h 1413343"/>
                <a:gd name="connsiteX37" fmla="*/ 1257205 w 6124670"/>
                <a:gd name="connsiteY37" fmla="*/ 1095379 h 1413343"/>
                <a:gd name="connsiteX38" fmla="*/ 1257205 w 6124670"/>
                <a:gd name="connsiteY38" fmla="*/ 668225 h 1413343"/>
                <a:gd name="connsiteX39" fmla="*/ 1295305 w 6124670"/>
                <a:gd name="connsiteY39" fmla="*/ 451223 h 1413343"/>
                <a:gd name="connsiteX40" fmla="*/ 1400080 w 6124670"/>
                <a:gd name="connsiteY40" fmla="*/ 310519 h 1413343"/>
                <a:gd name="connsiteX41" fmla="*/ 1547622 w 6124670"/>
                <a:gd name="connsiteY41" fmla="*/ 237646 h 1413343"/>
                <a:gd name="connsiteX42" fmla="*/ 1721739 w 6124670"/>
                <a:gd name="connsiteY42" fmla="*/ 214433 h 1413343"/>
                <a:gd name="connsiteX43" fmla="*/ 5716715 w 6124670"/>
                <a:gd name="connsiteY43" fmla="*/ 194645 h 1413343"/>
                <a:gd name="connsiteX44" fmla="*/ 5991892 w 6124670"/>
                <a:gd name="connsiteY44" fmla="*/ 270753 h 1413343"/>
                <a:gd name="connsiteX45" fmla="*/ 6094762 w 6124670"/>
                <a:gd name="connsiteY45" fmla="*/ 486042 h 1413343"/>
                <a:gd name="connsiteX46" fmla="*/ 5951887 w 6124670"/>
                <a:gd name="connsiteY46" fmla="*/ 486042 h 1413343"/>
                <a:gd name="connsiteX47" fmla="*/ 5855684 w 6124670"/>
                <a:gd name="connsiteY47" fmla="*/ 429722 h 1413343"/>
                <a:gd name="connsiteX48" fmla="*/ 5829205 w 6124670"/>
                <a:gd name="connsiteY48" fmla="*/ 403275 h 1413343"/>
                <a:gd name="connsiteX49" fmla="*/ 5719762 w 6124670"/>
                <a:gd name="connsiteY49" fmla="*/ 373403 h 1413343"/>
                <a:gd name="connsiteX50" fmla="*/ 5620322 w 6124670"/>
                <a:gd name="connsiteY50" fmla="*/ 393286 h 1413343"/>
                <a:gd name="connsiteX51" fmla="*/ 5590413 w 6124670"/>
                <a:gd name="connsiteY51" fmla="*/ 452935 h 1413343"/>
                <a:gd name="connsiteX52" fmla="*/ 5762816 w 6124670"/>
                <a:gd name="connsiteY52" fmla="*/ 542362 h 1413343"/>
                <a:gd name="connsiteX53" fmla="*/ 5797678 w 6124670"/>
                <a:gd name="connsiteY53" fmla="*/ 551875 h 1413343"/>
                <a:gd name="connsiteX54" fmla="*/ 5826253 w 6124670"/>
                <a:gd name="connsiteY54" fmla="*/ 555205 h 1413343"/>
                <a:gd name="connsiteX55" fmla="*/ 6061615 w 6124670"/>
                <a:gd name="connsiteY55" fmla="*/ 654525 h 1413343"/>
                <a:gd name="connsiteX56" fmla="*/ 6124670 w 6124670"/>
                <a:gd name="connsiteY56" fmla="*/ 813495 h 1413343"/>
                <a:gd name="connsiteX57" fmla="*/ 6018562 w 6124670"/>
                <a:gd name="connsiteY57" fmla="*/ 1038679 h 1413343"/>
                <a:gd name="connsiteX58" fmla="*/ 5720144 w 6124670"/>
                <a:gd name="connsiteY58" fmla="*/ 1111552 h 1413343"/>
                <a:gd name="connsiteX59" fmla="*/ 5438298 w 6124670"/>
                <a:gd name="connsiteY59" fmla="*/ 1035444 h 1413343"/>
                <a:gd name="connsiteX60" fmla="*/ 5342096 w 6124670"/>
                <a:gd name="connsiteY60" fmla="*/ 813495 h 1413343"/>
                <a:gd name="connsiteX61" fmla="*/ 5342287 w 6124670"/>
                <a:gd name="connsiteY61" fmla="*/ 803982 h 1413343"/>
                <a:gd name="connsiteX62" fmla="*/ 5567839 w 6124670"/>
                <a:gd name="connsiteY62" fmla="*/ 803982 h 1413343"/>
                <a:gd name="connsiteX63" fmla="*/ 5617559 w 6124670"/>
                <a:gd name="connsiteY63" fmla="*/ 903302 h 1413343"/>
                <a:gd name="connsiteX64" fmla="*/ 5750148 w 6124670"/>
                <a:gd name="connsiteY64" fmla="*/ 936409 h 1413343"/>
                <a:gd name="connsiteX65" fmla="*/ 5852922 w 6124670"/>
                <a:gd name="connsiteY65" fmla="*/ 913196 h 1413343"/>
                <a:gd name="connsiteX66" fmla="*/ 5892737 w 6124670"/>
                <a:gd name="connsiteY66" fmla="*/ 850312 h 1413343"/>
                <a:gd name="connsiteX67" fmla="*/ 5753481 w 6124670"/>
                <a:gd name="connsiteY67" fmla="*/ 760886 h 1413343"/>
                <a:gd name="connsiteX68" fmla="*/ 5663946 w 6124670"/>
                <a:gd name="connsiteY68" fmla="*/ 741003 h 1413343"/>
                <a:gd name="connsiteX69" fmla="*/ 5428584 w 6124670"/>
                <a:gd name="connsiteY69" fmla="*/ 638352 h 1413343"/>
                <a:gd name="connsiteX70" fmla="*/ 5361909 w 6124670"/>
                <a:gd name="connsiteY70" fmla="*/ 479383 h 1413343"/>
                <a:gd name="connsiteX71" fmla="*/ 5458111 w 6124670"/>
                <a:gd name="connsiteY71" fmla="*/ 270753 h 1413343"/>
                <a:gd name="connsiteX72" fmla="*/ 5716715 w 6124670"/>
                <a:gd name="connsiteY72" fmla="*/ 194645 h 1413343"/>
                <a:gd name="connsiteX73" fmla="*/ 4192239 w 6124670"/>
                <a:gd name="connsiteY73" fmla="*/ 194645 h 1413343"/>
                <a:gd name="connsiteX74" fmla="*/ 4467416 w 6124670"/>
                <a:gd name="connsiteY74" fmla="*/ 270753 h 1413343"/>
                <a:gd name="connsiteX75" fmla="*/ 4570190 w 6124670"/>
                <a:gd name="connsiteY75" fmla="*/ 486042 h 1413343"/>
                <a:gd name="connsiteX76" fmla="*/ 4427315 w 6124670"/>
                <a:gd name="connsiteY76" fmla="*/ 486042 h 1413343"/>
                <a:gd name="connsiteX77" fmla="*/ 4331589 w 6124670"/>
                <a:gd name="connsiteY77" fmla="*/ 429722 h 1413343"/>
                <a:gd name="connsiteX78" fmla="*/ 4305015 w 6124670"/>
                <a:gd name="connsiteY78" fmla="*/ 403275 h 1413343"/>
                <a:gd name="connsiteX79" fmla="*/ 4195667 w 6124670"/>
                <a:gd name="connsiteY79" fmla="*/ 373403 h 1413343"/>
                <a:gd name="connsiteX80" fmla="*/ 4096132 w 6124670"/>
                <a:gd name="connsiteY80" fmla="*/ 393286 h 1413343"/>
                <a:gd name="connsiteX81" fmla="*/ 4066318 w 6124670"/>
                <a:gd name="connsiteY81" fmla="*/ 452935 h 1413343"/>
                <a:gd name="connsiteX82" fmla="*/ 4238721 w 6124670"/>
                <a:gd name="connsiteY82" fmla="*/ 542362 h 1413343"/>
                <a:gd name="connsiteX83" fmla="*/ 4273582 w 6124670"/>
                <a:gd name="connsiteY83" fmla="*/ 551875 h 1413343"/>
                <a:gd name="connsiteX84" fmla="*/ 4301681 w 6124670"/>
                <a:gd name="connsiteY84" fmla="*/ 555205 h 1413343"/>
                <a:gd name="connsiteX85" fmla="*/ 4537139 w 6124670"/>
                <a:gd name="connsiteY85" fmla="*/ 654525 h 1413343"/>
                <a:gd name="connsiteX86" fmla="*/ 4600099 w 6124670"/>
                <a:gd name="connsiteY86" fmla="*/ 813495 h 1413343"/>
                <a:gd name="connsiteX87" fmla="*/ 4494086 w 6124670"/>
                <a:gd name="connsiteY87" fmla="*/ 1038679 h 1413343"/>
                <a:gd name="connsiteX88" fmla="*/ 4195667 w 6124670"/>
                <a:gd name="connsiteY88" fmla="*/ 1111552 h 1413343"/>
                <a:gd name="connsiteX89" fmla="*/ 3913823 w 6124670"/>
                <a:gd name="connsiteY89" fmla="*/ 1035444 h 1413343"/>
                <a:gd name="connsiteX90" fmla="*/ 3817620 w 6124670"/>
                <a:gd name="connsiteY90" fmla="*/ 813495 h 1413343"/>
                <a:gd name="connsiteX91" fmla="*/ 3817906 w 6124670"/>
                <a:gd name="connsiteY91" fmla="*/ 803982 h 1413343"/>
                <a:gd name="connsiteX92" fmla="*/ 4043363 w 6124670"/>
                <a:gd name="connsiteY92" fmla="*/ 803982 h 1413343"/>
                <a:gd name="connsiteX93" fmla="*/ 4093084 w 6124670"/>
                <a:gd name="connsiteY93" fmla="*/ 903302 h 1413343"/>
                <a:gd name="connsiteX94" fmla="*/ 4225767 w 6124670"/>
                <a:gd name="connsiteY94" fmla="*/ 936409 h 1413343"/>
                <a:gd name="connsiteX95" fmla="*/ 4328541 w 6124670"/>
                <a:gd name="connsiteY95" fmla="*/ 913196 h 1413343"/>
                <a:gd name="connsiteX96" fmla="*/ 4368356 w 6124670"/>
                <a:gd name="connsiteY96" fmla="*/ 850312 h 1413343"/>
                <a:gd name="connsiteX97" fmla="*/ 4229100 w 6124670"/>
                <a:gd name="connsiteY97" fmla="*/ 760886 h 1413343"/>
                <a:gd name="connsiteX98" fmla="*/ 4139566 w 6124670"/>
                <a:gd name="connsiteY98" fmla="*/ 741003 h 1413343"/>
                <a:gd name="connsiteX99" fmla="*/ 3904107 w 6124670"/>
                <a:gd name="connsiteY99" fmla="*/ 638352 h 1413343"/>
                <a:gd name="connsiteX100" fmla="*/ 3837432 w 6124670"/>
                <a:gd name="connsiteY100" fmla="*/ 479383 h 1413343"/>
                <a:gd name="connsiteX101" fmla="*/ 3933540 w 6124670"/>
                <a:gd name="connsiteY101" fmla="*/ 270753 h 1413343"/>
                <a:gd name="connsiteX102" fmla="*/ 4192239 w 6124670"/>
                <a:gd name="connsiteY102" fmla="*/ 194645 h 1413343"/>
                <a:gd name="connsiteX103" fmla="*/ 3386901 w 6124670"/>
                <a:gd name="connsiteY103" fmla="*/ 194645 h 1413343"/>
                <a:gd name="connsiteX104" fmla="*/ 3695225 w 6124670"/>
                <a:gd name="connsiteY104" fmla="*/ 313849 h 1413343"/>
                <a:gd name="connsiteX105" fmla="*/ 3801333 w 6124670"/>
                <a:gd name="connsiteY105" fmla="*/ 654906 h 1413343"/>
                <a:gd name="connsiteX106" fmla="*/ 3801333 w 6124670"/>
                <a:gd name="connsiteY106" fmla="*/ 691342 h 1413343"/>
                <a:gd name="connsiteX107" fmla="*/ 3797999 w 6124670"/>
                <a:gd name="connsiteY107" fmla="*/ 714555 h 1413343"/>
                <a:gd name="connsiteX108" fmla="*/ 3224404 w 6124670"/>
                <a:gd name="connsiteY108" fmla="*/ 714555 h 1413343"/>
                <a:gd name="connsiteX109" fmla="*/ 3274124 w 6124670"/>
                <a:gd name="connsiteY109" fmla="*/ 866771 h 1413343"/>
                <a:gd name="connsiteX110" fmla="*/ 3403474 w 6124670"/>
                <a:gd name="connsiteY110" fmla="*/ 919761 h 1413343"/>
                <a:gd name="connsiteX111" fmla="*/ 3499581 w 6124670"/>
                <a:gd name="connsiteY111" fmla="*/ 896643 h 1413343"/>
                <a:gd name="connsiteX112" fmla="*/ 3517869 w 6124670"/>
                <a:gd name="connsiteY112" fmla="*/ 885036 h 1413343"/>
                <a:gd name="connsiteX113" fmla="*/ 3536062 w 6124670"/>
                <a:gd name="connsiteY113" fmla="*/ 866771 h 1413343"/>
                <a:gd name="connsiteX114" fmla="*/ 3560923 w 6124670"/>
                <a:gd name="connsiteY114" fmla="*/ 840323 h 1413343"/>
                <a:gd name="connsiteX115" fmla="*/ 3622264 w 6124670"/>
                <a:gd name="connsiteY115" fmla="*/ 823865 h 1413343"/>
                <a:gd name="connsiteX116" fmla="*/ 3788094 w 6124670"/>
                <a:gd name="connsiteY116" fmla="*/ 823865 h 1413343"/>
                <a:gd name="connsiteX117" fmla="*/ 3648838 w 6124670"/>
                <a:gd name="connsiteY117" fmla="*/ 1035825 h 1413343"/>
                <a:gd name="connsiteX118" fmla="*/ 3390139 w 6124670"/>
                <a:gd name="connsiteY118" fmla="*/ 1111932 h 1413343"/>
                <a:gd name="connsiteX119" fmla="*/ 3094864 w 6124670"/>
                <a:gd name="connsiteY119" fmla="*/ 989399 h 1413343"/>
                <a:gd name="connsiteX120" fmla="*/ 2988851 w 6124670"/>
                <a:gd name="connsiteY120" fmla="*/ 648342 h 1413343"/>
                <a:gd name="connsiteX121" fmla="*/ 3091626 w 6124670"/>
                <a:gd name="connsiteY121" fmla="*/ 317178 h 1413343"/>
                <a:gd name="connsiteX122" fmla="*/ 3386901 w 6124670"/>
                <a:gd name="connsiteY122" fmla="*/ 194645 h 1413343"/>
                <a:gd name="connsiteX123" fmla="*/ 2146078 w 6124670"/>
                <a:gd name="connsiteY123" fmla="*/ 194645 h 1413343"/>
                <a:gd name="connsiteX124" fmla="*/ 2424684 w 6124670"/>
                <a:gd name="connsiteY124" fmla="*/ 257529 h 1413343"/>
                <a:gd name="connsiteX125" fmla="*/ 2520792 w 6124670"/>
                <a:gd name="connsiteY125" fmla="*/ 442946 h 1413343"/>
                <a:gd name="connsiteX126" fmla="*/ 2520792 w 6124670"/>
                <a:gd name="connsiteY126" fmla="*/ 744332 h 1413343"/>
                <a:gd name="connsiteX127" fmla="*/ 2473167 w 6124670"/>
                <a:gd name="connsiteY127" fmla="*/ 951345 h 1413343"/>
                <a:gd name="connsiteX128" fmla="*/ 2358391 w 6124670"/>
                <a:gd name="connsiteY128" fmla="*/ 1059133 h 1413343"/>
                <a:gd name="connsiteX129" fmla="*/ 2210848 w 6124670"/>
                <a:gd name="connsiteY129" fmla="*/ 1103846 h 1413343"/>
                <a:gd name="connsiteX130" fmla="*/ 2073307 w 6124670"/>
                <a:gd name="connsiteY130" fmla="*/ 1112123 h 1413343"/>
                <a:gd name="connsiteX131" fmla="*/ 1864614 w 6124670"/>
                <a:gd name="connsiteY131" fmla="*/ 1047336 h 1413343"/>
                <a:gd name="connsiteX132" fmla="*/ 1775079 w 6124670"/>
                <a:gd name="connsiteY132" fmla="*/ 833759 h 1413343"/>
                <a:gd name="connsiteX133" fmla="*/ 1856328 w 6124670"/>
                <a:gd name="connsiteY133" fmla="*/ 635023 h 1413343"/>
                <a:gd name="connsiteX134" fmla="*/ 2063496 w 6124670"/>
                <a:gd name="connsiteY134" fmla="*/ 555586 h 1413343"/>
                <a:gd name="connsiteX135" fmla="*/ 2103311 w 6124670"/>
                <a:gd name="connsiteY135" fmla="*/ 550638 h 1413343"/>
                <a:gd name="connsiteX136" fmla="*/ 2156365 w 6124670"/>
                <a:gd name="connsiteY136" fmla="*/ 542362 h 1413343"/>
                <a:gd name="connsiteX137" fmla="*/ 2302288 w 6124670"/>
                <a:gd name="connsiteY137" fmla="*/ 456265 h 1413343"/>
                <a:gd name="connsiteX138" fmla="*/ 2250853 w 6124670"/>
                <a:gd name="connsiteY138" fmla="*/ 391669 h 1413343"/>
                <a:gd name="connsiteX139" fmla="*/ 2156365 w 6124670"/>
                <a:gd name="connsiteY139" fmla="*/ 376732 h 1413343"/>
                <a:gd name="connsiteX140" fmla="*/ 2073497 w 6124670"/>
                <a:gd name="connsiteY140" fmla="*/ 389956 h 1413343"/>
                <a:gd name="connsiteX141" fmla="*/ 2020443 w 6124670"/>
                <a:gd name="connsiteY141" fmla="*/ 439712 h 1413343"/>
                <a:gd name="connsiteX142" fmla="*/ 1797939 w 6124670"/>
                <a:gd name="connsiteY142" fmla="*/ 439712 h 1413343"/>
                <a:gd name="connsiteX143" fmla="*/ 1890808 w 6124670"/>
                <a:gd name="connsiteY143" fmla="*/ 270753 h 1413343"/>
                <a:gd name="connsiteX144" fmla="*/ 2146078 w 6124670"/>
                <a:gd name="connsiteY144" fmla="*/ 194645 h 1413343"/>
                <a:gd name="connsiteX145" fmla="*/ 374523 w 6124670"/>
                <a:gd name="connsiteY145" fmla="*/ 194645 h 1413343"/>
                <a:gd name="connsiteX146" fmla="*/ 649796 w 6124670"/>
                <a:gd name="connsiteY146" fmla="*/ 270753 h 1413343"/>
                <a:gd name="connsiteX147" fmla="*/ 752570 w 6124670"/>
                <a:gd name="connsiteY147" fmla="*/ 486042 h 1413343"/>
                <a:gd name="connsiteX148" fmla="*/ 609695 w 6124670"/>
                <a:gd name="connsiteY148" fmla="*/ 486042 h 1413343"/>
                <a:gd name="connsiteX149" fmla="*/ 513493 w 6124670"/>
                <a:gd name="connsiteY149" fmla="*/ 429722 h 1413343"/>
                <a:gd name="connsiteX150" fmla="*/ 487013 w 6124670"/>
                <a:gd name="connsiteY150" fmla="*/ 403275 h 1413343"/>
                <a:gd name="connsiteX151" fmla="*/ 377571 w 6124670"/>
                <a:gd name="connsiteY151" fmla="*/ 373403 h 1413343"/>
                <a:gd name="connsiteX152" fmla="*/ 278130 w 6124670"/>
                <a:gd name="connsiteY152" fmla="*/ 393286 h 1413343"/>
                <a:gd name="connsiteX153" fmla="*/ 248317 w 6124670"/>
                <a:gd name="connsiteY153" fmla="*/ 452935 h 1413343"/>
                <a:gd name="connsiteX154" fmla="*/ 420719 w 6124670"/>
                <a:gd name="connsiteY154" fmla="*/ 542362 h 1413343"/>
                <a:gd name="connsiteX155" fmla="*/ 455486 w 6124670"/>
                <a:gd name="connsiteY155" fmla="*/ 551875 h 1413343"/>
                <a:gd name="connsiteX156" fmla="*/ 484061 w 6124670"/>
                <a:gd name="connsiteY156" fmla="*/ 555205 h 1413343"/>
                <a:gd name="connsiteX157" fmla="*/ 719519 w 6124670"/>
                <a:gd name="connsiteY157" fmla="*/ 654525 h 1413343"/>
                <a:gd name="connsiteX158" fmla="*/ 782479 w 6124670"/>
                <a:gd name="connsiteY158" fmla="*/ 813495 h 1413343"/>
                <a:gd name="connsiteX159" fmla="*/ 676370 w 6124670"/>
                <a:gd name="connsiteY159" fmla="*/ 1038679 h 1413343"/>
                <a:gd name="connsiteX160" fmla="*/ 377952 w 6124670"/>
                <a:gd name="connsiteY160" fmla="*/ 1111552 h 1413343"/>
                <a:gd name="connsiteX161" fmla="*/ 96108 w 6124670"/>
                <a:gd name="connsiteY161" fmla="*/ 1035444 h 1413343"/>
                <a:gd name="connsiteX162" fmla="*/ 0 w 6124670"/>
                <a:gd name="connsiteY162" fmla="*/ 813495 h 1413343"/>
                <a:gd name="connsiteX163" fmla="*/ 286 w 6124670"/>
                <a:gd name="connsiteY163" fmla="*/ 803982 h 1413343"/>
                <a:gd name="connsiteX164" fmla="*/ 225743 w 6124670"/>
                <a:gd name="connsiteY164" fmla="*/ 803982 h 1413343"/>
                <a:gd name="connsiteX165" fmla="*/ 275463 w 6124670"/>
                <a:gd name="connsiteY165" fmla="*/ 903302 h 1413343"/>
                <a:gd name="connsiteX166" fmla="*/ 408051 w 6124670"/>
                <a:gd name="connsiteY166" fmla="*/ 936409 h 1413343"/>
                <a:gd name="connsiteX167" fmla="*/ 510921 w 6124670"/>
                <a:gd name="connsiteY167" fmla="*/ 913196 h 1413343"/>
                <a:gd name="connsiteX168" fmla="*/ 550640 w 6124670"/>
                <a:gd name="connsiteY168" fmla="*/ 850312 h 1413343"/>
                <a:gd name="connsiteX169" fmla="*/ 411385 w 6124670"/>
                <a:gd name="connsiteY169" fmla="*/ 760886 h 1413343"/>
                <a:gd name="connsiteX170" fmla="*/ 321850 w 6124670"/>
                <a:gd name="connsiteY170" fmla="*/ 741003 h 1413343"/>
                <a:gd name="connsiteX171" fmla="*/ 86487 w 6124670"/>
                <a:gd name="connsiteY171" fmla="*/ 638352 h 1413343"/>
                <a:gd name="connsiteX172" fmla="*/ 19812 w 6124670"/>
                <a:gd name="connsiteY172" fmla="*/ 479383 h 1413343"/>
                <a:gd name="connsiteX173" fmla="*/ 115919 w 6124670"/>
                <a:gd name="connsiteY173" fmla="*/ 270753 h 1413343"/>
                <a:gd name="connsiteX174" fmla="*/ 374523 w 6124670"/>
                <a:gd name="connsiteY174" fmla="*/ 194645 h 1413343"/>
                <a:gd name="connsiteX175" fmla="*/ 2575750 w 6124670"/>
                <a:gd name="connsiteY175" fmla="*/ 0 h 1413343"/>
                <a:gd name="connsiteX176" fmla="*/ 2799779 w 6124670"/>
                <a:gd name="connsiteY176" fmla="*/ 0 h 1413343"/>
                <a:gd name="connsiteX177" fmla="*/ 2799779 w 6124670"/>
                <a:gd name="connsiteY177" fmla="*/ 221949 h 1413343"/>
                <a:gd name="connsiteX178" fmla="*/ 2958084 w 6124670"/>
                <a:gd name="connsiteY178" fmla="*/ 221949 h 1413343"/>
                <a:gd name="connsiteX179" fmla="*/ 2958084 w 6124670"/>
                <a:gd name="connsiteY179" fmla="*/ 420399 h 1413343"/>
                <a:gd name="connsiteX180" fmla="*/ 2800159 w 6124670"/>
                <a:gd name="connsiteY180" fmla="*/ 420399 h 1413343"/>
                <a:gd name="connsiteX181" fmla="*/ 2800159 w 6124670"/>
                <a:gd name="connsiteY181" fmla="*/ 728921 h 1413343"/>
                <a:gd name="connsiteX182" fmla="*/ 2841784 w 6124670"/>
                <a:gd name="connsiteY182" fmla="*/ 857828 h 1413343"/>
                <a:gd name="connsiteX183" fmla="*/ 2968276 w 6124670"/>
                <a:gd name="connsiteY183" fmla="*/ 889984 h 1413343"/>
                <a:gd name="connsiteX184" fmla="*/ 2968276 w 6124670"/>
                <a:gd name="connsiteY184" fmla="*/ 1093667 h 1413343"/>
                <a:gd name="connsiteX185" fmla="*/ 2798064 w 6124670"/>
                <a:gd name="connsiteY185" fmla="*/ 1081870 h 1413343"/>
                <a:gd name="connsiteX186" fmla="*/ 2675858 w 6124670"/>
                <a:gd name="connsiteY186" fmla="*/ 1010614 h 1413343"/>
                <a:gd name="connsiteX187" fmla="*/ 2601183 w 6124670"/>
                <a:gd name="connsiteY187" fmla="*/ 889413 h 1413343"/>
                <a:gd name="connsiteX188" fmla="*/ 2575750 w 6124670"/>
                <a:gd name="connsiteY188" fmla="*/ 727684 h 1413343"/>
                <a:gd name="connsiteX189" fmla="*/ 824770 w 6124670"/>
                <a:gd name="connsiteY189" fmla="*/ 0 h 1413343"/>
                <a:gd name="connsiteX190" fmla="*/ 1048893 w 6124670"/>
                <a:gd name="connsiteY190" fmla="*/ 0 h 1413343"/>
                <a:gd name="connsiteX191" fmla="*/ 1048893 w 6124670"/>
                <a:gd name="connsiteY191" fmla="*/ 221949 h 1413343"/>
                <a:gd name="connsiteX192" fmla="*/ 1206723 w 6124670"/>
                <a:gd name="connsiteY192" fmla="*/ 221949 h 1413343"/>
                <a:gd name="connsiteX193" fmla="*/ 1206723 w 6124670"/>
                <a:gd name="connsiteY193" fmla="*/ 420399 h 1413343"/>
                <a:gd name="connsiteX194" fmla="*/ 1048417 w 6124670"/>
                <a:gd name="connsiteY194" fmla="*/ 420399 h 1413343"/>
                <a:gd name="connsiteX195" fmla="*/ 1048417 w 6124670"/>
                <a:gd name="connsiteY195" fmla="*/ 728921 h 1413343"/>
                <a:gd name="connsiteX196" fmla="*/ 1089946 w 6124670"/>
                <a:gd name="connsiteY196" fmla="*/ 857828 h 1413343"/>
                <a:gd name="connsiteX197" fmla="*/ 1216915 w 6124670"/>
                <a:gd name="connsiteY197" fmla="*/ 890174 h 1413343"/>
                <a:gd name="connsiteX198" fmla="*/ 1216915 w 6124670"/>
                <a:gd name="connsiteY198" fmla="*/ 1093667 h 1413343"/>
                <a:gd name="connsiteX199" fmla="*/ 1047179 w 6124670"/>
                <a:gd name="connsiteY199" fmla="*/ 1081870 h 1413343"/>
                <a:gd name="connsiteX200" fmla="*/ 924973 w 6124670"/>
                <a:gd name="connsiteY200" fmla="*/ 1010614 h 1413343"/>
                <a:gd name="connsiteX201" fmla="*/ 850202 w 6124670"/>
                <a:gd name="connsiteY201" fmla="*/ 889413 h 1413343"/>
                <a:gd name="connsiteX202" fmla="*/ 824770 w 6124670"/>
                <a:gd name="connsiteY202" fmla="*/ 727684 h 1413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6124670" h="1413343">
                  <a:moveTo>
                    <a:pt x="2305336" y="651766"/>
                  </a:moveTo>
                  <a:cubicBezTo>
                    <a:pt x="2263969" y="670831"/>
                    <a:pt x="2220620" y="685282"/>
                    <a:pt x="2176082" y="694862"/>
                  </a:cubicBezTo>
                  <a:lnTo>
                    <a:pt x="2099882" y="711416"/>
                  </a:lnTo>
                  <a:cubicBezTo>
                    <a:pt x="2060067" y="722547"/>
                    <a:pt x="2031397" y="736817"/>
                    <a:pt x="2013681" y="754512"/>
                  </a:cubicBezTo>
                  <a:cubicBezTo>
                    <a:pt x="1999060" y="776060"/>
                    <a:pt x="1990992" y="801366"/>
                    <a:pt x="1990440" y="827385"/>
                  </a:cubicBezTo>
                  <a:cubicBezTo>
                    <a:pt x="1989058" y="856848"/>
                    <a:pt x="1999869" y="885569"/>
                    <a:pt x="2020348" y="906822"/>
                  </a:cubicBezTo>
                  <a:cubicBezTo>
                    <a:pt x="2040255" y="924517"/>
                    <a:pt x="2068926" y="933269"/>
                    <a:pt x="2106073" y="933269"/>
                  </a:cubicBezTo>
                  <a:cubicBezTo>
                    <a:pt x="2167919" y="933269"/>
                    <a:pt x="2216535" y="915641"/>
                    <a:pt x="2251900" y="880375"/>
                  </a:cubicBezTo>
                  <a:cubicBezTo>
                    <a:pt x="2287267" y="845108"/>
                    <a:pt x="2304955" y="796533"/>
                    <a:pt x="2304955" y="734629"/>
                  </a:cubicBezTo>
                  <a:close/>
                  <a:moveTo>
                    <a:pt x="3393473" y="386722"/>
                  </a:moveTo>
                  <a:cubicBezTo>
                    <a:pt x="3349077" y="385180"/>
                    <a:pt x="3305986" y="401934"/>
                    <a:pt x="3274315" y="433052"/>
                  </a:cubicBezTo>
                  <a:cubicBezTo>
                    <a:pt x="3243263" y="463999"/>
                    <a:pt x="3226623" y="508142"/>
                    <a:pt x="3224404" y="565479"/>
                  </a:cubicBezTo>
                  <a:lnTo>
                    <a:pt x="3562637" y="565479"/>
                  </a:lnTo>
                  <a:cubicBezTo>
                    <a:pt x="3558131" y="505925"/>
                    <a:pt x="3542634" y="461783"/>
                    <a:pt x="3516155" y="433052"/>
                  </a:cubicBezTo>
                  <a:cubicBezTo>
                    <a:pt x="3487513" y="402162"/>
                    <a:pt x="3446622" y="386722"/>
                    <a:pt x="3393473" y="386722"/>
                  </a:cubicBezTo>
                  <a:close/>
                  <a:moveTo>
                    <a:pt x="4552474" y="214433"/>
                  </a:moveTo>
                  <a:lnTo>
                    <a:pt x="4807839" y="214433"/>
                  </a:lnTo>
                  <a:lnTo>
                    <a:pt x="4986910" y="837089"/>
                  </a:lnTo>
                  <a:lnTo>
                    <a:pt x="5142739" y="293966"/>
                  </a:lnTo>
                  <a:cubicBezTo>
                    <a:pt x="5155978" y="241004"/>
                    <a:pt x="5191411" y="214500"/>
                    <a:pt x="5248847" y="214433"/>
                  </a:cubicBezTo>
                  <a:lnTo>
                    <a:pt x="5407914" y="214433"/>
                  </a:lnTo>
                  <a:lnTo>
                    <a:pt x="5069681" y="1217912"/>
                  </a:lnTo>
                  <a:cubicBezTo>
                    <a:pt x="5043106" y="1290785"/>
                    <a:pt x="5009959" y="1342662"/>
                    <a:pt x="4970146" y="1373552"/>
                  </a:cubicBezTo>
                  <a:cubicBezTo>
                    <a:pt x="4930426" y="1400124"/>
                    <a:pt x="4865180" y="1413385"/>
                    <a:pt x="4774597" y="1413318"/>
                  </a:cubicBezTo>
                  <a:lnTo>
                    <a:pt x="4751737" y="1413318"/>
                  </a:lnTo>
                  <a:cubicBezTo>
                    <a:pt x="4742403" y="1413509"/>
                    <a:pt x="4684586" y="1412558"/>
                    <a:pt x="4677918" y="1412558"/>
                  </a:cubicBezTo>
                  <a:lnTo>
                    <a:pt x="4677918" y="1224572"/>
                  </a:lnTo>
                  <a:lnTo>
                    <a:pt x="4741164" y="1224572"/>
                  </a:lnTo>
                  <a:cubicBezTo>
                    <a:pt x="4785646" y="1224572"/>
                    <a:pt x="4820507" y="1214078"/>
                    <a:pt x="4845939" y="1193082"/>
                  </a:cubicBezTo>
                  <a:cubicBezTo>
                    <a:pt x="4871371" y="1172057"/>
                    <a:pt x="4876323" y="1138475"/>
                    <a:pt x="4860893" y="1092050"/>
                  </a:cubicBezTo>
                  <a:close/>
                  <a:moveTo>
                    <a:pt x="1721739" y="214433"/>
                  </a:moveTo>
                  <a:lnTo>
                    <a:pt x="1754982" y="214433"/>
                  </a:lnTo>
                  <a:lnTo>
                    <a:pt x="1754982" y="449605"/>
                  </a:lnTo>
                  <a:lnTo>
                    <a:pt x="1678782" y="449605"/>
                  </a:lnTo>
                  <a:cubicBezTo>
                    <a:pt x="1614583" y="449605"/>
                    <a:pt x="1566958" y="465046"/>
                    <a:pt x="1535907" y="495936"/>
                  </a:cubicBezTo>
                  <a:cubicBezTo>
                    <a:pt x="1504855" y="526826"/>
                    <a:pt x="1489396" y="575402"/>
                    <a:pt x="1489520" y="641682"/>
                  </a:cubicBezTo>
                  <a:lnTo>
                    <a:pt x="1489520" y="1095379"/>
                  </a:lnTo>
                  <a:lnTo>
                    <a:pt x="1257205" y="1095379"/>
                  </a:lnTo>
                  <a:lnTo>
                    <a:pt x="1257205" y="668225"/>
                  </a:lnTo>
                  <a:cubicBezTo>
                    <a:pt x="1257205" y="582033"/>
                    <a:pt x="1269902" y="509702"/>
                    <a:pt x="1295305" y="451223"/>
                  </a:cubicBezTo>
                  <a:cubicBezTo>
                    <a:pt x="1318051" y="396397"/>
                    <a:pt x="1354046" y="348049"/>
                    <a:pt x="1400080" y="310519"/>
                  </a:cubicBezTo>
                  <a:cubicBezTo>
                    <a:pt x="1443829" y="276527"/>
                    <a:pt x="1494016" y="251735"/>
                    <a:pt x="1547622" y="237646"/>
                  </a:cubicBezTo>
                  <a:cubicBezTo>
                    <a:pt x="1604354" y="222148"/>
                    <a:pt x="1662923" y="214347"/>
                    <a:pt x="1721739" y="214433"/>
                  </a:cubicBezTo>
                  <a:close/>
                  <a:moveTo>
                    <a:pt x="5716715" y="194645"/>
                  </a:moveTo>
                  <a:cubicBezTo>
                    <a:pt x="5831586" y="194645"/>
                    <a:pt x="5923312" y="220017"/>
                    <a:pt x="5991892" y="270753"/>
                  </a:cubicBezTo>
                  <a:cubicBezTo>
                    <a:pt x="6055995" y="326054"/>
                    <a:pt x="6090285" y="397824"/>
                    <a:pt x="6094762" y="486042"/>
                  </a:cubicBezTo>
                  <a:lnTo>
                    <a:pt x="5951887" y="486042"/>
                  </a:lnTo>
                  <a:cubicBezTo>
                    <a:pt x="5911691" y="487127"/>
                    <a:pt x="5874353" y="465284"/>
                    <a:pt x="5855684" y="429722"/>
                  </a:cubicBezTo>
                  <a:lnTo>
                    <a:pt x="5829205" y="403275"/>
                  </a:lnTo>
                  <a:cubicBezTo>
                    <a:pt x="5802630" y="383420"/>
                    <a:pt x="5766149" y="373469"/>
                    <a:pt x="5719762" y="373403"/>
                  </a:cubicBezTo>
                  <a:cubicBezTo>
                    <a:pt x="5675280" y="373403"/>
                    <a:pt x="5642134" y="380034"/>
                    <a:pt x="5620322" y="393286"/>
                  </a:cubicBezTo>
                  <a:cubicBezTo>
                    <a:pt x="5600414" y="406386"/>
                    <a:pt x="5588984" y="429142"/>
                    <a:pt x="5590413" y="452935"/>
                  </a:cubicBezTo>
                  <a:cubicBezTo>
                    <a:pt x="5590413" y="488259"/>
                    <a:pt x="5647848" y="518074"/>
                    <a:pt x="5762816" y="542362"/>
                  </a:cubicBezTo>
                  <a:cubicBezTo>
                    <a:pt x="5774245" y="546148"/>
                    <a:pt x="5785867" y="549325"/>
                    <a:pt x="5797678" y="551875"/>
                  </a:cubicBezTo>
                  <a:cubicBezTo>
                    <a:pt x="5807012" y="554073"/>
                    <a:pt x="5816632" y="555195"/>
                    <a:pt x="5826253" y="555205"/>
                  </a:cubicBezTo>
                  <a:cubicBezTo>
                    <a:pt x="5938933" y="583935"/>
                    <a:pt x="6017323" y="617042"/>
                    <a:pt x="6061615" y="654525"/>
                  </a:cubicBezTo>
                  <a:cubicBezTo>
                    <a:pt x="6103620" y="694292"/>
                    <a:pt x="6124575" y="747282"/>
                    <a:pt x="6124670" y="813495"/>
                  </a:cubicBezTo>
                  <a:cubicBezTo>
                    <a:pt x="6124670" y="910723"/>
                    <a:pt x="6089333" y="985784"/>
                    <a:pt x="6018562" y="1038679"/>
                  </a:cubicBezTo>
                  <a:cubicBezTo>
                    <a:pt x="5952268" y="1087321"/>
                    <a:pt x="5852826" y="1111619"/>
                    <a:pt x="5720144" y="1111552"/>
                  </a:cubicBezTo>
                  <a:cubicBezTo>
                    <a:pt x="5594128" y="1111552"/>
                    <a:pt x="5500117" y="1086180"/>
                    <a:pt x="5438298" y="1035444"/>
                  </a:cubicBezTo>
                  <a:cubicBezTo>
                    <a:pt x="5374195" y="984709"/>
                    <a:pt x="5342096" y="910723"/>
                    <a:pt x="5342096" y="813495"/>
                  </a:cubicBezTo>
                  <a:lnTo>
                    <a:pt x="5342287" y="803982"/>
                  </a:lnTo>
                  <a:lnTo>
                    <a:pt x="5567839" y="803982"/>
                  </a:lnTo>
                  <a:cubicBezTo>
                    <a:pt x="5569934" y="848124"/>
                    <a:pt x="5586889" y="881326"/>
                    <a:pt x="5617559" y="903302"/>
                  </a:cubicBezTo>
                  <a:cubicBezTo>
                    <a:pt x="5650706" y="925469"/>
                    <a:pt x="5694902" y="936409"/>
                    <a:pt x="5750148" y="936409"/>
                  </a:cubicBezTo>
                  <a:cubicBezTo>
                    <a:pt x="5785771" y="937379"/>
                    <a:pt x="5821109" y="929398"/>
                    <a:pt x="5852922" y="913196"/>
                  </a:cubicBezTo>
                  <a:cubicBezTo>
                    <a:pt x="5879497" y="897784"/>
                    <a:pt x="5892737" y="876826"/>
                    <a:pt x="5892737" y="850312"/>
                  </a:cubicBezTo>
                  <a:cubicBezTo>
                    <a:pt x="5892737" y="810546"/>
                    <a:pt x="5846350" y="780740"/>
                    <a:pt x="5753481" y="760886"/>
                  </a:cubicBezTo>
                  <a:cubicBezTo>
                    <a:pt x="5723191" y="756472"/>
                    <a:pt x="5693283" y="749831"/>
                    <a:pt x="5663946" y="741003"/>
                  </a:cubicBezTo>
                  <a:cubicBezTo>
                    <a:pt x="5546788" y="712396"/>
                    <a:pt x="5468302" y="678185"/>
                    <a:pt x="5428584" y="638352"/>
                  </a:cubicBezTo>
                  <a:cubicBezTo>
                    <a:pt x="5384102" y="598710"/>
                    <a:pt x="5361909" y="545720"/>
                    <a:pt x="5361909" y="479383"/>
                  </a:cubicBezTo>
                  <a:cubicBezTo>
                    <a:pt x="5360384" y="398813"/>
                    <a:pt x="5395817" y="321964"/>
                    <a:pt x="5458111" y="270753"/>
                  </a:cubicBezTo>
                  <a:cubicBezTo>
                    <a:pt x="5524405" y="220017"/>
                    <a:pt x="5610606" y="194645"/>
                    <a:pt x="5716715" y="194645"/>
                  </a:cubicBezTo>
                  <a:close/>
                  <a:moveTo>
                    <a:pt x="4192239" y="194645"/>
                  </a:moveTo>
                  <a:cubicBezTo>
                    <a:pt x="4307110" y="194645"/>
                    <a:pt x="4398836" y="220017"/>
                    <a:pt x="4467416" y="270753"/>
                  </a:cubicBezTo>
                  <a:cubicBezTo>
                    <a:pt x="4531519" y="326054"/>
                    <a:pt x="4565809" y="397824"/>
                    <a:pt x="4570190" y="486042"/>
                  </a:cubicBezTo>
                  <a:lnTo>
                    <a:pt x="4427315" y="486042"/>
                  </a:lnTo>
                  <a:cubicBezTo>
                    <a:pt x="4387244" y="487098"/>
                    <a:pt x="4350087" y="465236"/>
                    <a:pt x="4331589" y="429722"/>
                  </a:cubicBezTo>
                  <a:lnTo>
                    <a:pt x="4305015" y="403275"/>
                  </a:lnTo>
                  <a:cubicBezTo>
                    <a:pt x="4278535" y="383420"/>
                    <a:pt x="4242083" y="373469"/>
                    <a:pt x="4195667" y="373403"/>
                  </a:cubicBezTo>
                  <a:cubicBezTo>
                    <a:pt x="4151214" y="373403"/>
                    <a:pt x="4118039" y="380034"/>
                    <a:pt x="4096132" y="393286"/>
                  </a:cubicBezTo>
                  <a:cubicBezTo>
                    <a:pt x="4076224" y="406415"/>
                    <a:pt x="4064861" y="429161"/>
                    <a:pt x="4066318" y="452935"/>
                  </a:cubicBezTo>
                  <a:cubicBezTo>
                    <a:pt x="4066318" y="488259"/>
                    <a:pt x="4123782" y="518074"/>
                    <a:pt x="4238721" y="542362"/>
                  </a:cubicBezTo>
                  <a:cubicBezTo>
                    <a:pt x="4250160" y="546167"/>
                    <a:pt x="4261799" y="549335"/>
                    <a:pt x="4273582" y="551875"/>
                  </a:cubicBezTo>
                  <a:cubicBezTo>
                    <a:pt x="4282793" y="554044"/>
                    <a:pt x="4292223" y="555157"/>
                    <a:pt x="4301681" y="555205"/>
                  </a:cubicBezTo>
                  <a:cubicBezTo>
                    <a:pt x="4414457" y="583935"/>
                    <a:pt x="4492943" y="617042"/>
                    <a:pt x="4537139" y="654525"/>
                  </a:cubicBezTo>
                  <a:cubicBezTo>
                    <a:pt x="4579144" y="694292"/>
                    <a:pt x="4600099" y="747282"/>
                    <a:pt x="4600099" y="813495"/>
                  </a:cubicBezTo>
                  <a:cubicBezTo>
                    <a:pt x="4600099" y="910723"/>
                    <a:pt x="4564761" y="985784"/>
                    <a:pt x="4494086" y="1038679"/>
                  </a:cubicBezTo>
                  <a:cubicBezTo>
                    <a:pt x="4427668" y="1087321"/>
                    <a:pt x="4328189" y="1111619"/>
                    <a:pt x="4195667" y="1111552"/>
                  </a:cubicBezTo>
                  <a:cubicBezTo>
                    <a:pt x="4069623" y="1111552"/>
                    <a:pt x="3975669" y="1086180"/>
                    <a:pt x="3913823" y="1035444"/>
                  </a:cubicBezTo>
                  <a:cubicBezTo>
                    <a:pt x="3849625" y="984709"/>
                    <a:pt x="3817554" y="910723"/>
                    <a:pt x="3817620" y="813495"/>
                  </a:cubicBezTo>
                  <a:lnTo>
                    <a:pt x="3817906" y="803982"/>
                  </a:lnTo>
                  <a:lnTo>
                    <a:pt x="4043363" y="803982"/>
                  </a:lnTo>
                  <a:cubicBezTo>
                    <a:pt x="4045553" y="848124"/>
                    <a:pt x="4062413" y="881326"/>
                    <a:pt x="4093084" y="903302"/>
                  </a:cubicBezTo>
                  <a:cubicBezTo>
                    <a:pt x="4126326" y="925469"/>
                    <a:pt x="4170522" y="936409"/>
                    <a:pt x="4225767" y="936409"/>
                  </a:cubicBezTo>
                  <a:cubicBezTo>
                    <a:pt x="4261428" y="937379"/>
                    <a:pt x="4296766" y="929398"/>
                    <a:pt x="4328541" y="913196"/>
                  </a:cubicBezTo>
                  <a:cubicBezTo>
                    <a:pt x="4355021" y="897784"/>
                    <a:pt x="4368356" y="876855"/>
                    <a:pt x="4368356" y="850312"/>
                  </a:cubicBezTo>
                  <a:cubicBezTo>
                    <a:pt x="4368356" y="810546"/>
                    <a:pt x="4321940" y="780740"/>
                    <a:pt x="4229100" y="760886"/>
                  </a:cubicBezTo>
                  <a:cubicBezTo>
                    <a:pt x="4198802" y="756472"/>
                    <a:pt x="4168874" y="749831"/>
                    <a:pt x="4139566" y="741003"/>
                  </a:cubicBezTo>
                  <a:cubicBezTo>
                    <a:pt x="4022284" y="712396"/>
                    <a:pt x="3943798" y="678185"/>
                    <a:pt x="3904107" y="638352"/>
                  </a:cubicBezTo>
                  <a:cubicBezTo>
                    <a:pt x="3859654" y="598710"/>
                    <a:pt x="3837432" y="545720"/>
                    <a:pt x="3837432" y="479383"/>
                  </a:cubicBezTo>
                  <a:cubicBezTo>
                    <a:pt x="3835918" y="398832"/>
                    <a:pt x="3871313" y="322011"/>
                    <a:pt x="3933540" y="270753"/>
                  </a:cubicBezTo>
                  <a:cubicBezTo>
                    <a:pt x="3999957" y="220017"/>
                    <a:pt x="4086197" y="194645"/>
                    <a:pt x="4192239" y="194645"/>
                  </a:cubicBezTo>
                  <a:close/>
                  <a:moveTo>
                    <a:pt x="3386901" y="194645"/>
                  </a:moveTo>
                  <a:cubicBezTo>
                    <a:pt x="3519488" y="194645"/>
                    <a:pt x="3622264" y="234383"/>
                    <a:pt x="3695225" y="313849"/>
                  </a:cubicBezTo>
                  <a:cubicBezTo>
                    <a:pt x="3765967" y="395541"/>
                    <a:pt x="3801333" y="509226"/>
                    <a:pt x="3801333" y="654906"/>
                  </a:cubicBezTo>
                  <a:lnTo>
                    <a:pt x="3801333" y="691342"/>
                  </a:lnTo>
                  <a:cubicBezTo>
                    <a:pt x="3801838" y="699229"/>
                    <a:pt x="3800704" y="707135"/>
                    <a:pt x="3797999" y="714555"/>
                  </a:cubicBezTo>
                  <a:lnTo>
                    <a:pt x="3224404" y="714555"/>
                  </a:lnTo>
                  <a:cubicBezTo>
                    <a:pt x="3226623" y="783052"/>
                    <a:pt x="3243197" y="833787"/>
                    <a:pt x="3274124" y="866771"/>
                  </a:cubicBezTo>
                  <a:cubicBezTo>
                    <a:pt x="3302766" y="902161"/>
                    <a:pt x="3345876" y="919827"/>
                    <a:pt x="3403474" y="919761"/>
                  </a:cubicBezTo>
                  <a:cubicBezTo>
                    <a:pt x="3437002" y="920750"/>
                    <a:pt x="3470187" y="912768"/>
                    <a:pt x="3499581" y="896643"/>
                  </a:cubicBezTo>
                  <a:cubicBezTo>
                    <a:pt x="3506515" y="894274"/>
                    <a:pt x="3512783" y="890297"/>
                    <a:pt x="3517869" y="885036"/>
                  </a:cubicBezTo>
                  <a:lnTo>
                    <a:pt x="3536062" y="866771"/>
                  </a:lnTo>
                  <a:cubicBezTo>
                    <a:pt x="3541967" y="855992"/>
                    <a:pt x="3550521" y="846887"/>
                    <a:pt x="3560923" y="840323"/>
                  </a:cubicBezTo>
                  <a:cubicBezTo>
                    <a:pt x="3579000" y="828250"/>
                    <a:pt x="3600565" y="822466"/>
                    <a:pt x="3622264" y="823865"/>
                  </a:cubicBezTo>
                  <a:lnTo>
                    <a:pt x="3788094" y="823865"/>
                  </a:lnTo>
                  <a:cubicBezTo>
                    <a:pt x="3763710" y="916526"/>
                    <a:pt x="3717294" y="987182"/>
                    <a:pt x="3648838" y="1035825"/>
                  </a:cubicBezTo>
                  <a:cubicBezTo>
                    <a:pt x="3580258" y="1086560"/>
                    <a:pt x="3494028" y="1111932"/>
                    <a:pt x="3390139" y="1111932"/>
                  </a:cubicBezTo>
                  <a:cubicBezTo>
                    <a:pt x="3264219" y="1111932"/>
                    <a:pt x="3165797" y="1071091"/>
                    <a:pt x="3094864" y="989399"/>
                  </a:cubicBezTo>
                  <a:cubicBezTo>
                    <a:pt x="3024188" y="909933"/>
                    <a:pt x="2988851" y="796247"/>
                    <a:pt x="2988851" y="648342"/>
                  </a:cubicBezTo>
                  <a:cubicBezTo>
                    <a:pt x="2988851" y="507095"/>
                    <a:pt x="3023112" y="396711"/>
                    <a:pt x="3091626" y="317178"/>
                  </a:cubicBezTo>
                  <a:cubicBezTo>
                    <a:pt x="3162301" y="235486"/>
                    <a:pt x="3260723" y="194645"/>
                    <a:pt x="3386901" y="194645"/>
                  </a:cubicBezTo>
                  <a:close/>
                  <a:moveTo>
                    <a:pt x="2146078" y="194645"/>
                  </a:moveTo>
                  <a:cubicBezTo>
                    <a:pt x="2269903" y="194645"/>
                    <a:pt x="2362772" y="215603"/>
                    <a:pt x="2424684" y="257529"/>
                  </a:cubicBezTo>
                  <a:cubicBezTo>
                    <a:pt x="2488816" y="301928"/>
                    <a:pt x="2520858" y="363728"/>
                    <a:pt x="2520792" y="442946"/>
                  </a:cubicBezTo>
                  <a:lnTo>
                    <a:pt x="2520792" y="744332"/>
                  </a:lnTo>
                  <a:cubicBezTo>
                    <a:pt x="2520792" y="832684"/>
                    <a:pt x="2504914" y="901685"/>
                    <a:pt x="2473167" y="951345"/>
                  </a:cubicBezTo>
                  <a:cubicBezTo>
                    <a:pt x="2445477" y="997067"/>
                    <a:pt x="2405777" y="1034341"/>
                    <a:pt x="2358391" y="1059133"/>
                  </a:cubicBezTo>
                  <a:cubicBezTo>
                    <a:pt x="2312508" y="1083297"/>
                    <a:pt x="2262435" y="1098471"/>
                    <a:pt x="2210848" y="1103846"/>
                  </a:cubicBezTo>
                  <a:cubicBezTo>
                    <a:pt x="2165176" y="1109002"/>
                    <a:pt x="2119265" y="1111761"/>
                    <a:pt x="2073307" y="1112123"/>
                  </a:cubicBezTo>
                  <a:cubicBezTo>
                    <a:pt x="1998574" y="1113559"/>
                    <a:pt x="1925374" y="1090831"/>
                    <a:pt x="1864614" y="1047336"/>
                  </a:cubicBezTo>
                  <a:cubicBezTo>
                    <a:pt x="1804921" y="1004335"/>
                    <a:pt x="1775079" y="933146"/>
                    <a:pt x="1775079" y="833759"/>
                  </a:cubicBezTo>
                  <a:cubicBezTo>
                    <a:pt x="1775079" y="741031"/>
                    <a:pt x="1802159" y="674789"/>
                    <a:pt x="1856328" y="635023"/>
                  </a:cubicBezTo>
                  <a:cubicBezTo>
                    <a:pt x="1910496" y="595256"/>
                    <a:pt x="1979553" y="568781"/>
                    <a:pt x="2063496" y="555586"/>
                  </a:cubicBezTo>
                  <a:cubicBezTo>
                    <a:pt x="2076908" y="555319"/>
                    <a:pt x="2090242" y="553664"/>
                    <a:pt x="2103311" y="550638"/>
                  </a:cubicBezTo>
                  <a:cubicBezTo>
                    <a:pt x="2120846" y="546976"/>
                    <a:pt x="2138553" y="544217"/>
                    <a:pt x="2156365" y="542362"/>
                  </a:cubicBezTo>
                  <a:cubicBezTo>
                    <a:pt x="2253644" y="529167"/>
                    <a:pt x="2302288" y="500474"/>
                    <a:pt x="2302288" y="456265"/>
                  </a:cubicBezTo>
                  <a:cubicBezTo>
                    <a:pt x="2302288" y="423158"/>
                    <a:pt x="2285143" y="401629"/>
                    <a:pt x="2250853" y="391669"/>
                  </a:cubicBezTo>
                  <a:cubicBezTo>
                    <a:pt x="2220220" y="382260"/>
                    <a:pt x="2188407" y="377237"/>
                    <a:pt x="2156365" y="376732"/>
                  </a:cubicBezTo>
                  <a:cubicBezTo>
                    <a:pt x="2128181" y="376314"/>
                    <a:pt x="2100149" y="380785"/>
                    <a:pt x="2073497" y="389956"/>
                  </a:cubicBezTo>
                  <a:cubicBezTo>
                    <a:pt x="2049618" y="398395"/>
                    <a:pt x="2030378" y="416442"/>
                    <a:pt x="2020443" y="439712"/>
                  </a:cubicBezTo>
                  <a:lnTo>
                    <a:pt x="1797939" y="439712"/>
                  </a:lnTo>
                  <a:cubicBezTo>
                    <a:pt x="1805626" y="373441"/>
                    <a:pt x="1838954" y="312802"/>
                    <a:pt x="1890808" y="270753"/>
                  </a:cubicBezTo>
                  <a:cubicBezTo>
                    <a:pt x="1950501" y="220017"/>
                    <a:pt x="2035588" y="194645"/>
                    <a:pt x="2146078" y="194645"/>
                  </a:cubicBezTo>
                  <a:close/>
                  <a:moveTo>
                    <a:pt x="374523" y="194645"/>
                  </a:moveTo>
                  <a:cubicBezTo>
                    <a:pt x="489462" y="194645"/>
                    <a:pt x="581216" y="220017"/>
                    <a:pt x="649796" y="270753"/>
                  </a:cubicBezTo>
                  <a:cubicBezTo>
                    <a:pt x="713927" y="326054"/>
                    <a:pt x="748189" y="397824"/>
                    <a:pt x="752570" y="486042"/>
                  </a:cubicBezTo>
                  <a:lnTo>
                    <a:pt x="609695" y="486042"/>
                  </a:lnTo>
                  <a:cubicBezTo>
                    <a:pt x="569500" y="487127"/>
                    <a:pt x="532181" y="465284"/>
                    <a:pt x="513493" y="429722"/>
                  </a:cubicBezTo>
                  <a:cubicBezTo>
                    <a:pt x="504634" y="420970"/>
                    <a:pt x="495776" y="412122"/>
                    <a:pt x="487013" y="403275"/>
                  </a:cubicBezTo>
                  <a:cubicBezTo>
                    <a:pt x="460534" y="383420"/>
                    <a:pt x="424053" y="373469"/>
                    <a:pt x="377571" y="373403"/>
                  </a:cubicBezTo>
                  <a:cubicBezTo>
                    <a:pt x="333118" y="373403"/>
                    <a:pt x="299971" y="380034"/>
                    <a:pt x="278130" y="393286"/>
                  </a:cubicBezTo>
                  <a:cubicBezTo>
                    <a:pt x="258223" y="406415"/>
                    <a:pt x="246859" y="429161"/>
                    <a:pt x="248317" y="452935"/>
                  </a:cubicBezTo>
                  <a:cubicBezTo>
                    <a:pt x="248317" y="488259"/>
                    <a:pt x="305781" y="518074"/>
                    <a:pt x="420719" y="542362"/>
                  </a:cubicBezTo>
                  <a:cubicBezTo>
                    <a:pt x="432130" y="546148"/>
                    <a:pt x="443732" y="549325"/>
                    <a:pt x="455486" y="551875"/>
                  </a:cubicBezTo>
                  <a:cubicBezTo>
                    <a:pt x="464849" y="554073"/>
                    <a:pt x="474440" y="555186"/>
                    <a:pt x="484061" y="555205"/>
                  </a:cubicBezTo>
                  <a:cubicBezTo>
                    <a:pt x="596837" y="583935"/>
                    <a:pt x="675323" y="617042"/>
                    <a:pt x="719519" y="654525"/>
                  </a:cubicBezTo>
                  <a:cubicBezTo>
                    <a:pt x="761429" y="694292"/>
                    <a:pt x="782412" y="747282"/>
                    <a:pt x="782479" y="813495"/>
                  </a:cubicBezTo>
                  <a:cubicBezTo>
                    <a:pt x="782479" y="910723"/>
                    <a:pt x="747113" y="985784"/>
                    <a:pt x="676370" y="1038679"/>
                  </a:cubicBezTo>
                  <a:cubicBezTo>
                    <a:pt x="610076" y="1087321"/>
                    <a:pt x="510607" y="1111619"/>
                    <a:pt x="377952" y="1111552"/>
                  </a:cubicBezTo>
                  <a:cubicBezTo>
                    <a:pt x="251908" y="1111552"/>
                    <a:pt x="157953" y="1086180"/>
                    <a:pt x="96108" y="1035444"/>
                  </a:cubicBezTo>
                  <a:cubicBezTo>
                    <a:pt x="31975" y="984709"/>
                    <a:pt x="-67" y="910723"/>
                    <a:pt x="0" y="813495"/>
                  </a:cubicBezTo>
                  <a:lnTo>
                    <a:pt x="286" y="803982"/>
                  </a:lnTo>
                  <a:lnTo>
                    <a:pt x="225743" y="803982"/>
                  </a:lnTo>
                  <a:cubicBezTo>
                    <a:pt x="227933" y="848124"/>
                    <a:pt x="244793" y="881326"/>
                    <a:pt x="275463" y="903302"/>
                  </a:cubicBezTo>
                  <a:cubicBezTo>
                    <a:pt x="308610" y="925469"/>
                    <a:pt x="352806" y="936409"/>
                    <a:pt x="408051" y="936409"/>
                  </a:cubicBezTo>
                  <a:cubicBezTo>
                    <a:pt x="443742" y="937379"/>
                    <a:pt x="479108" y="929398"/>
                    <a:pt x="510921" y="913196"/>
                  </a:cubicBezTo>
                  <a:cubicBezTo>
                    <a:pt x="537400" y="897784"/>
                    <a:pt x="550640" y="876826"/>
                    <a:pt x="550640" y="850312"/>
                  </a:cubicBezTo>
                  <a:cubicBezTo>
                    <a:pt x="550640" y="810546"/>
                    <a:pt x="504225" y="780740"/>
                    <a:pt x="411385" y="760886"/>
                  </a:cubicBezTo>
                  <a:cubicBezTo>
                    <a:pt x="381095" y="756462"/>
                    <a:pt x="351168" y="749822"/>
                    <a:pt x="321850" y="741003"/>
                  </a:cubicBezTo>
                  <a:cubicBezTo>
                    <a:pt x="204692" y="712396"/>
                    <a:pt x="126235" y="678185"/>
                    <a:pt x="86487" y="638352"/>
                  </a:cubicBezTo>
                  <a:cubicBezTo>
                    <a:pt x="42034" y="598710"/>
                    <a:pt x="19812" y="545720"/>
                    <a:pt x="19812" y="479383"/>
                  </a:cubicBezTo>
                  <a:cubicBezTo>
                    <a:pt x="18298" y="398832"/>
                    <a:pt x="53693" y="322011"/>
                    <a:pt x="115919" y="270753"/>
                  </a:cubicBezTo>
                  <a:cubicBezTo>
                    <a:pt x="182213" y="220017"/>
                    <a:pt x="268415" y="194645"/>
                    <a:pt x="374523" y="194645"/>
                  </a:cubicBezTo>
                  <a:close/>
                  <a:moveTo>
                    <a:pt x="2575750" y="0"/>
                  </a:moveTo>
                  <a:lnTo>
                    <a:pt x="2799779" y="0"/>
                  </a:lnTo>
                  <a:lnTo>
                    <a:pt x="2799779" y="221949"/>
                  </a:lnTo>
                  <a:lnTo>
                    <a:pt x="2958084" y="221949"/>
                  </a:lnTo>
                  <a:lnTo>
                    <a:pt x="2958084" y="420399"/>
                  </a:lnTo>
                  <a:lnTo>
                    <a:pt x="2800159" y="420399"/>
                  </a:lnTo>
                  <a:lnTo>
                    <a:pt x="2800159" y="728921"/>
                  </a:lnTo>
                  <a:cubicBezTo>
                    <a:pt x="2800159" y="789997"/>
                    <a:pt x="2814038" y="832969"/>
                    <a:pt x="2841784" y="857828"/>
                  </a:cubicBezTo>
                  <a:cubicBezTo>
                    <a:pt x="2869530" y="882687"/>
                    <a:pt x="2911697" y="893408"/>
                    <a:pt x="2968276" y="889984"/>
                  </a:cubicBezTo>
                  <a:lnTo>
                    <a:pt x="2968276" y="1093667"/>
                  </a:lnTo>
                  <a:cubicBezTo>
                    <a:pt x="2911317" y="1101116"/>
                    <a:pt x="2853443" y="1097111"/>
                    <a:pt x="2798064" y="1081870"/>
                  </a:cubicBezTo>
                  <a:cubicBezTo>
                    <a:pt x="2752011" y="1068675"/>
                    <a:pt x="2710006" y="1044178"/>
                    <a:pt x="2675858" y="1010614"/>
                  </a:cubicBezTo>
                  <a:cubicBezTo>
                    <a:pt x="2642092" y="976385"/>
                    <a:pt x="2616556" y="934944"/>
                    <a:pt x="2601183" y="889413"/>
                  </a:cubicBezTo>
                  <a:cubicBezTo>
                    <a:pt x="2583590" y="837336"/>
                    <a:pt x="2574998" y="782643"/>
                    <a:pt x="2575750" y="727684"/>
                  </a:cubicBezTo>
                  <a:close/>
                  <a:moveTo>
                    <a:pt x="824770" y="0"/>
                  </a:moveTo>
                  <a:lnTo>
                    <a:pt x="1048893" y="0"/>
                  </a:lnTo>
                  <a:lnTo>
                    <a:pt x="1048893" y="221949"/>
                  </a:lnTo>
                  <a:lnTo>
                    <a:pt x="1206723" y="221949"/>
                  </a:lnTo>
                  <a:lnTo>
                    <a:pt x="1206723" y="420399"/>
                  </a:lnTo>
                  <a:lnTo>
                    <a:pt x="1048417" y="420399"/>
                  </a:lnTo>
                  <a:lnTo>
                    <a:pt x="1048417" y="728921"/>
                  </a:lnTo>
                  <a:cubicBezTo>
                    <a:pt x="1048417" y="789997"/>
                    <a:pt x="1062257" y="832969"/>
                    <a:pt x="1089946" y="857828"/>
                  </a:cubicBezTo>
                  <a:cubicBezTo>
                    <a:pt x="1117636" y="882687"/>
                    <a:pt x="1159955" y="893475"/>
                    <a:pt x="1216915" y="890174"/>
                  </a:cubicBezTo>
                  <a:lnTo>
                    <a:pt x="1216915" y="1093667"/>
                  </a:lnTo>
                  <a:cubicBezTo>
                    <a:pt x="1160117" y="1101068"/>
                    <a:pt x="1102405" y="1097054"/>
                    <a:pt x="1047179" y="1081870"/>
                  </a:cubicBezTo>
                  <a:cubicBezTo>
                    <a:pt x="1001116" y="1068694"/>
                    <a:pt x="959101" y="1044197"/>
                    <a:pt x="924973" y="1010614"/>
                  </a:cubicBezTo>
                  <a:cubicBezTo>
                    <a:pt x="891207" y="976366"/>
                    <a:pt x="865642" y="934935"/>
                    <a:pt x="850202" y="889413"/>
                  </a:cubicBezTo>
                  <a:cubicBezTo>
                    <a:pt x="832619" y="837336"/>
                    <a:pt x="824018" y="782643"/>
                    <a:pt x="824770" y="727684"/>
                  </a:cubicBezTo>
                  <a:close/>
                </a:path>
              </a:pathLst>
            </a:custGeom>
            <a:solidFill>
              <a:srgbClr val="002060"/>
            </a:solidFill>
            <a:ln w="9525" cap="flat">
              <a:noFill/>
              <a:prstDash val="solid"/>
              <a:miter/>
            </a:ln>
          </p:spPr>
          <p:txBody>
            <a:bodyPr rtlCol="0" anchor="ctr"/>
            <a:lstStyle/>
            <a:p>
              <a:endParaRPr lang="es-ES"/>
            </a:p>
          </p:txBody>
        </p:sp>
      </p:grpSp>
      <p:sp>
        <p:nvSpPr>
          <p:cNvPr id="31" name="Marcador de posición de imagen 8">
            <a:extLst>
              <a:ext uri="{FF2B5EF4-FFF2-40B4-BE49-F238E27FC236}">
                <a16:creationId xmlns:a16="http://schemas.microsoft.com/office/drawing/2014/main" id="{37D7ECFC-CFFE-7D42-BE9D-F68C13FCB2EC}"/>
              </a:ext>
            </a:extLst>
          </p:cNvPr>
          <p:cNvSpPr>
            <a:spLocks noGrp="1"/>
          </p:cNvSpPr>
          <p:nvPr>
            <p:ph type="pic" sz="quarter" idx="11" hasCustomPrompt="1"/>
          </p:nvPr>
        </p:nvSpPr>
        <p:spPr>
          <a:xfrm>
            <a:off x="374650" y="4214535"/>
            <a:ext cx="2185988" cy="1979037"/>
          </a:xfrm>
        </p:spPr>
        <p:txBody>
          <a:bodyPr anchor="ctr">
            <a:normAutofit/>
          </a:bodyPr>
          <a:lstStyle>
            <a:lvl1pPr algn="ctr">
              <a:lnSpc>
                <a:spcPct val="100000"/>
              </a:lnSpc>
              <a:spcBef>
                <a:spcPts val="0"/>
              </a:spcBef>
              <a:defRPr sz="2000">
                <a:solidFill>
                  <a:schemeClr val="bg1">
                    <a:lumMod val="50000"/>
                  </a:schemeClr>
                </a:solidFill>
              </a:defRPr>
            </a:lvl1pPr>
          </a:lstStyle>
          <a:p>
            <a:r>
              <a:rPr lang="en-US"/>
              <a:t>Logo </a:t>
            </a:r>
            <a:r>
              <a:rPr lang="en-US" err="1"/>
              <a:t>Cliente</a:t>
            </a:r>
            <a:endParaRPr lang="en-US"/>
          </a:p>
        </p:txBody>
      </p:sp>
      <p:sp>
        <p:nvSpPr>
          <p:cNvPr id="32" name="CuadroTexto 31">
            <a:extLst>
              <a:ext uri="{FF2B5EF4-FFF2-40B4-BE49-F238E27FC236}">
                <a16:creationId xmlns:a16="http://schemas.microsoft.com/office/drawing/2014/main" id="{C576C82A-B610-3244-8497-01CF83B7FAC6}"/>
              </a:ext>
            </a:extLst>
          </p:cNvPr>
          <p:cNvSpPr txBox="1"/>
          <p:nvPr userDrawn="1"/>
        </p:nvSpPr>
        <p:spPr>
          <a:xfrm>
            <a:off x="1" y="6557935"/>
            <a:ext cx="12191999" cy="300066"/>
          </a:xfrm>
          <a:prstGeom prst="rect">
            <a:avLst/>
          </a:prstGeom>
          <a:solidFill>
            <a:schemeClr val="accent2">
              <a:lumMod val="75000"/>
            </a:schemeClr>
          </a:solidFill>
          <a:effectLst/>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900" b="1" spc="200">
                <a:solidFill>
                  <a:schemeClr val="bg1"/>
                </a:solidFill>
              </a:rPr>
              <a:t>ALEMANIA | ARGENTINA</a:t>
            </a:r>
            <a:r>
              <a:rPr lang="es-ES_tradnl" sz="900" b="1" spc="200" baseline="0">
                <a:solidFill>
                  <a:schemeClr val="bg1"/>
                </a:solidFill>
              </a:rPr>
              <a:t> </a:t>
            </a:r>
            <a:r>
              <a:rPr lang="es-ES_tradnl" sz="900" b="1" spc="200">
                <a:solidFill>
                  <a:schemeClr val="bg1"/>
                </a:solidFill>
              </a:rPr>
              <a:t>| BRASIL</a:t>
            </a:r>
            <a:r>
              <a:rPr lang="es-ES_tradnl" sz="900" b="1" spc="200" baseline="0">
                <a:solidFill>
                  <a:schemeClr val="bg1"/>
                </a:solidFill>
              </a:rPr>
              <a:t> </a:t>
            </a:r>
            <a:r>
              <a:rPr lang="es-ES_tradnl" sz="900" b="1" spc="200">
                <a:solidFill>
                  <a:schemeClr val="bg1"/>
                </a:solidFill>
              </a:rPr>
              <a:t>| CHILE | CHINA | COLOMBIA</a:t>
            </a:r>
            <a:r>
              <a:rPr lang="es-ES_tradnl" sz="900" b="1" spc="200" baseline="0">
                <a:solidFill>
                  <a:schemeClr val="bg1"/>
                </a:solidFill>
              </a:rPr>
              <a:t> | </a:t>
            </a:r>
            <a:r>
              <a:rPr lang="es-ES_tradnl" sz="900" b="1" spc="200">
                <a:solidFill>
                  <a:schemeClr val="bg1"/>
                </a:solidFill>
              </a:rPr>
              <a:t>ESPAÑA | MÉXICO | REINO UNIDO | PAÍSES BAJOS | PORTUGAL | USA</a:t>
            </a:r>
          </a:p>
        </p:txBody>
      </p:sp>
    </p:spTree>
    <p:extLst>
      <p:ext uri="{BB962C8B-B14F-4D97-AF65-F5344CB8AC3E}">
        <p14:creationId xmlns:p14="http://schemas.microsoft.com/office/powerpoint/2010/main" val="1243525959"/>
      </p:ext>
    </p:extLst>
  </p:cSld>
  <p:clrMapOvr>
    <a:masterClrMapping/>
  </p:clrMapOvr>
  <p:transition spd="slow"/>
  <p:extLst>
    <p:ext uri="{DCECCB84-F9BA-43D5-87BE-67443E8EF086}">
      <p15:sldGuideLst xmlns:p15="http://schemas.microsoft.com/office/powerpoint/2012/main">
        <p15:guide id="1" orient="horz" pos="2160">
          <p15:clr>
            <a:srgbClr val="FBAE40"/>
          </p15:clr>
        </p15:guide>
        <p15:guide id="2" pos="1689">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mplate Propuesta 2022 - Agradecimiento">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0D8D304-CE61-944D-A833-D67D361CD750}"/>
              </a:ext>
            </a:extLst>
          </p:cNvPr>
          <p:cNvSpPr/>
          <p:nvPr userDrawn="1"/>
        </p:nvSpPr>
        <p:spPr bwMode="auto">
          <a:xfrm>
            <a:off x="0" y="0"/>
            <a:ext cx="12192000" cy="1362950"/>
          </a:xfrm>
          <a:prstGeom prst="rect">
            <a:avLst/>
          </a:prstGeom>
          <a:solidFill>
            <a:schemeClr val="bg1"/>
          </a:solidFill>
          <a:ln>
            <a:noFill/>
          </a:ln>
        </p:spPr>
        <p:txBody>
          <a:bodyPr lIns="0" tIns="0" rIns="0" bIns="0" rtlCol="0" anchor="ctr"/>
          <a:lstStyle/>
          <a:p>
            <a:pPr algn="ctr"/>
            <a:endParaRPr lang="en-US"/>
          </a:p>
        </p:txBody>
      </p:sp>
      <p:pic>
        <p:nvPicPr>
          <p:cNvPr id="11" name="Imagen 10">
            <a:extLst>
              <a:ext uri="{FF2B5EF4-FFF2-40B4-BE49-F238E27FC236}">
                <a16:creationId xmlns:a16="http://schemas.microsoft.com/office/drawing/2014/main" id="{8C632E28-7A13-7943-B36D-695C45731E1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815804" cy="6580262"/>
          </a:xfrm>
          <a:prstGeom prst="rect">
            <a:avLst/>
          </a:prstGeom>
        </p:spPr>
      </p:pic>
      <p:sp>
        <p:nvSpPr>
          <p:cNvPr id="5" name="Marcador de título 2">
            <a:extLst>
              <a:ext uri="{FF2B5EF4-FFF2-40B4-BE49-F238E27FC236}">
                <a16:creationId xmlns:a16="http://schemas.microsoft.com/office/drawing/2014/main" id="{5EC8D08F-BED2-8C40-B203-9DA312D88B9F}"/>
              </a:ext>
            </a:extLst>
          </p:cNvPr>
          <p:cNvSpPr>
            <a:spLocks noGrp="1"/>
          </p:cNvSpPr>
          <p:nvPr>
            <p:ph type="title" hasCustomPrompt="1"/>
          </p:nvPr>
        </p:nvSpPr>
        <p:spPr>
          <a:xfrm>
            <a:off x="1219273" y="124288"/>
            <a:ext cx="4876726" cy="1085948"/>
          </a:xfrm>
          <a:prstGeom prst="rect">
            <a:avLst/>
          </a:prstGeom>
        </p:spPr>
        <p:txBody>
          <a:bodyPr vert="horz" lIns="0" tIns="45720" rIns="0" bIns="45720" rtlCol="0" anchor="ctr">
            <a:noAutofit/>
          </a:bodyPr>
          <a:lstStyle>
            <a:lvl1pPr>
              <a:defRPr sz="1800" b="1">
                <a:solidFill>
                  <a:schemeClr val="tx2"/>
                </a:solidFill>
                <a:latin typeface="+mj-lt"/>
              </a:defRPr>
            </a:lvl1pPr>
          </a:lstStyle>
          <a:p>
            <a:r>
              <a:rPr lang="es-ES_tradnl"/>
              <a:t>Nombre del Proyecto</a:t>
            </a:r>
            <a:endParaRPr lang="en-US"/>
          </a:p>
        </p:txBody>
      </p:sp>
      <p:sp>
        <p:nvSpPr>
          <p:cNvPr id="10" name="CuadroTexto 9">
            <a:extLst>
              <a:ext uri="{FF2B5EF4-FFF2-40B4-BE49-F238E27FC236}">
                <a16:creationId xmlns:a16="http://schemas.microsoft.com/office/drawing/2014/main" id="{331F49F5-299C-B94A-9503-90301329808F}"/>
              </a:ext>
            </a:extLst>
          </p:cNvPr>
          <p:cNvSpPr txBox="1"/>
          <p:nvPr userDrawn="1"/>
        </p:nvSpPr>
        <p:spPr>
          <a:xfrm>
            <a:off x="6375544" y="646866"/>
            <a:ext cx="2632559"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a:ln>
                  <a:noFill/>
                </a:ln>
                <a:solidFill>
                  <a:schemeClr val="tx2"/>
                </a:solidFill>
                <a:effectLst/>
                <a:uLnTx/>
                <a:uFillTx/>
                <a:ea typeface="+mn-ea"/>
                <a:cs typeface="+mn-cs"/>
              </a:rPr>
              <a:t>Stratesys </a:t>
            </a:r>
            <a:r>
              <a:rPr kumimoji="0" lang="en-US" sz="1100" b="1" i="0" u="none" strike="noStrike" kern="1200" cap="none" spc="0" normalizeH="0" baseline="0" noProof="0">
                <a:ln>
                  <a:noFill/>
                </a:ln>
                <a:solidFill>
                  <a:schemeClr val="tx2"/>
                </a:solidFill>
                <a:effectLst/>
                <a:uLnTx/>
                <a:uFillTx/>
                <a:ea typeface="+mn-ea"/>
                <a:cs typeface="+mn-cs"/>
              </a:rPr>
              <a:t>Technology Solu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a:ln>
                  <a:noFill/>
                </a:ln>
                <a:solidFill>
                  <a:schemeClr val="tx2"/>
                </a:solidFill>
                <a:effectLst/>
                <a:uLnTx/>
                <a:uFillTx/>
                <a:ea typeface="+mn-ea"/>
                <a:cs typeface="+mn-cs"/>
              </a:rPr>
              <a:t>C/ Torrelaguna 77, 28043 Madrid, España</a:t>
            </a:r>
          </a:p>
        </p:txBody>
      </p:sp>
      <p:cxnSp>
        <p:nvCxnSpPr>
          <p:cNvPr id="13" name="Conector recto 12">
            <a:extLst>
              <a:ext uri="{FF2B5EF4-FFF2-40B4-BE49-F238E27FC236}">
                <a16:creationId xmlns:a16="http://schemas.microsoft.com/office/drawing/2014/main" id="{929DBE25-642C-7846-BE72-6F119C19096D}"/>
              </a:ext>
            </a:extLst>
          </p:cNvPr>
          <p:cNvCxnSpPr>
            <a:cxnSpLocks/>
          </p:cNvCxnSpPr>
          <p:nvPr userDrawn="1"/>
        </p:nvCxnSpPr>
        <p:spPr>
          <a:xfrm>
            <a:off x="9008103" y="125506"/>
            <a:ext cx="0" cy="112955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Forma libre 21">
            <a:extLst>
              <a:ext uri="{FF2B5EF4-FFF2-40B4-BE49-F238E27FC236}">
                <a16:creationId xmlns:a16="http://schemas.microsoft.com/office/drawing/2014/main" id="{39831AF0-2D59-F24E-9C9E-41B7A9C24BDF}"/>
              </a:ext>
            </a:extLst>
          </p:cNvPr>
          <p:cNvSpPr/>
          <p:nvPr userDrawn="1"/>
        </p:nvSpPr>
        <p:spPr>
          <a:xfrm>
            <a:off x="6473897" y="239465"/>
            <a:ext cx="1056456" cy="243790"/>
          </a:xfrm>
          <a:custGeom>
            <a:avLst/>
            <a:gdLst>
              <a:gd name="connsiteX0" fmla="*/ 2305336 w 6124670"/>
              <a:gd name="connsiteY0" fmla="*/ 651766 h 1413343"/>
              <a:gd name="connsiteX1" fmla="*/ 2176082 w 6124670"/>
              <a:gd name="connsiteY1" fmla="*/ 694862 h 1413343"/>
              <a:gd name="connsiteX2" fmla="*/ 2099882 w 6124670"/>
              <a:gd name="connsiteY2" fmla="*/ 711416 h 1413343"/>
              <a:gd name="connsiteX3" fmla="*/ 2013681 w 6124670"/>
              <a:gd name="connsiteY3" fmla="*/ 754512 h 1413343"/>
              <a:gd name="connsiteX4" fmla="*/ 1990440 w 6124670"/>
              <a:gd name="connsiteY4" fmla="*/ 827385 h 1413343"/>
              <a:gd name="connsiteX5" fmla="*/ 2020348 w 6124670"/>
              <a:gd name="connsiteY5" fmla="*/ 906822 h 1413343"/>
              <a:gd name="connsiteX6" fmla="*/ 2106073 w 6124670"/>
              <a:gd name="connsiteY6" fmla="*/ 933269 h 1413343"/>
              <a:gd name="connsiteX7" fmla="*/ 2251900 w 6124670"/>
              <a:gd name="connsiteY7" fmla="*/ 880375 h 1413343"/>
              <a:gd name="connsiteX8" fmla="*/ 2304955 w 6124670"/>
              <a:gd name="connsiteY8" fmla="*/ 734629 h 1413343"/>
              <a:gd name="connsiteX9" fmla="*/ 3393473 w 6124670"/>
              <a:gd name="connsiteY9" fmla="*/ 386722 h 1413343"/>
              <a:gd name="connsiteX10" fmla="*/ 3274315 w 6124670"/>
              <a:gd name="connsiteY10" fmla="*/ 433052 h 1413343"/>
              <a:gd name="connsiteX11" fmla="*/ 3224404 w 6124670"/>
              <a:gd name="connsiteY11" fmla="*/ 565479 h 1413343"/>
              <a:gd name="connsiteX12" fmla="*/ 3562637 w 6124670"/>
              <a:gd name="connsiteY12" fmla="*/ 565479 h 1413343"/>
              <a:gd name="connsiteX13" fmla="*/ 3516155 w 6124670"/>
              <a:gd name="connsiteY13" fmla="*/ 433052 h 1413343"/>
              <a:gd name="connsiteX14" fmla="*/ 3393473 w 6124670"/>
              <a:gd name="connsiteY14" fmla="*/ 386722 h 1413343"/>
              <a:gd name="connsiteX15" fmla="*/ 4552474 w 6124670"/>
              <a:gd name="connsiteY15" fmla="*/ 214433 h 1413343"/>
              <a:gd name="connsiteX16" fmla="*/ 4807839 w 6124670"/>
              <a:gd name="connsiteY16" fmla="*/ 214433 h 1413343"/>
              <a:gd name="connsiteX17" fmla="*/ 4986910 w 6124670"/>
              <a:gd name="connsiteY17" fmla="*/ 837089 h 1413343"/>
              <a:gd name="connsiteX18" fmla="*/ 5142739 w 6124670"/>
              <a:gd name="connsiteY18" fmla="*/ 293966 h 1413343"/>
              <a:gd name="connsiteX19" fmla="*/ 5248847 w 6124670"/>
              <a:gd name="connsiteY19" fmla="*/ 214433 h 1413343"/>
              <a:gd name="connsiteX20" fmla="*/ 5407914 w 6124670"/>
              <a:gd name="connsiteY20" fmla="*/ 214433 h 1413343"/>
              <a:gd name="connsiteX21" fmla="*/ 5069681 w 6124670"/>
              <a:gd name="connsiteY21" fmla="*/ 1217912 h 1413343"/>
              <a:gd name="connsiteX22" fmla="*/ 4970146 w 6124670"/>
              <a:gd name="connsiteY22" fmla="*/ 1373552 h 1413343"/>
              <a:gd name="connsiteX23" fmla="*/ 4774597 w 6124670"/>
              <a:gd name="connsiteY23" fmla="*/ 1413318 h 1413343"/>
              <a:gd name="connsiteX24" fmla="*/ 4751737 w 6124670"/>
              <a:gd name="connsiteY24" fmla="*/ 1413318 h 1413343"/>
              <a:gd name="connsiteX25" fmla="*/ 4677918 w 6124670"/>
              <a:gd name="connsiteY25" fmla="*/ 1412558 h 1413343"/>
              <a:gd name="connsiteX26" fmla="*/ 4677918 w 6124670"/>
              <a:gd name="connsiteY26" fmla="*/ 1224572 h 1413343"/>
              <a:gd name="connsiteX27" fmla="*/ 4741164 w 6124670"/>
              <a:gd name="connsiteY27" fmla="*/ 1224572 h 1413343"/>
              <a:gd name="connsiteX28" fmla="*/ 4845939 w 6124670"/>
              <a:gd name="connsiteY28" fmla="*/ 1193082 h 1413343"/>
              <a:gd name="connsiteX29" fmla="*/ 4860893 w 6124670"/>
              <a:gd name="connsiteY29" fmla="*/ 1092050 h 1413343"/>
              <a:gd name="connsiteX30" fmla="*/ 1721739 w 6124670"/>
              <a:gd name="connsiteY30" fmla="*/ 214433 h 1413343"/>
              <a:gd name="connsiteX31" fmla="*/ 1754982 w 6124670"/>
              <a:gd name="connsiteY31" fmla="*/ 214433 h 1413343"/>
              <a:gd name="connsiteX32" fmla="*/ 1754982 w 6124670"/>
              <a:gd name="connsiteY32" fmla="*/ 449605 h 1413343"/>
              <a:gd name="connsiteX33" fmla="*/ 1678782 w 6124670"/>
              <a:gd name="connsiteY33" fmla="*/ 449605 h 1413343"/>
              <a:gd name="connsiteX34" fmla="*/ 1535907 w 6124670"/>
              <a:gd name="connsiteY34" fmla="*/ 495936 h 1413343"/>
              <a:gd name="connsiteX35" fmla="*/ 1489520 w 6124670"/>
              <a:gd name="connsiteY35" fmla="*/ 641682 h 1413343"/>
              <a:gd name="connsiteX36" fmla="*/ 1489520 w 6124670"/>
              <a:gd name="connsiteY36" fmla="*/ 1095379 h 1413343"/>
              <a:gd name="connsiteX37" fmla="*/ 1257205 w 6124670"/>
              <a:gd name="connsiteY37" fmla="*/ 1095379 h 1413343"/>
              <a:gd name="connsiteX38" fmla="*/ 1257205 w 6124670"/>
              <a:gd name="connsiteY38" fmla="*/ 668225 h 1413343"/>
              <a:gd name="connsiteX39" fmla="*/ 1295305 w 6124670"/>
              <a:gd name="connsiteY39" fmla="*/ 451223 h 1413343"/>
              <a:gd name="connsiteX40" fmla="*/ 1400080 w 6124670"/>
              <a:gd name="connsiteY40" fmla="*/ 310519 h 1413343"/>
              <a:gd name="connsiteX41" fmla="*/ 1547622 w 6124670"/>
              <a:gd name="connsiteY41" fmla="*/ 237646 h 1413343"/>
              <a:gd name="connsiteX42" fmla="*/ 1721739 w 6124670"/>
              <a:gd name="connsiteY42" fmla="*/ 214433 h 1413343"/>
              <a:gd name="connsiteX43" fmla="*/ 5716715 w 6124670"/>
              <a:gd name="connsiteY43" fmla="*/ 194645 h 1413343"/>
              <a:gd name="connsiteX44" fmla="*/ 5991892 w 6124670"/>
              <a:gd name="connsiteY44" fmla="*/ 270753 h 1413343"/>
              <a:gd name="connsiteX45" fmla="*/ 6094762 w 6124670"/>
              <a:gd name="connsiteY45" fmla="*/ 486042 h 1413343"/>
              <a:gd name="connsiteX46" fmla="*/ 5951887 w 6124670"/>
              <a:gd name="connsiteY46" fmla="*/ 486042 h 1413343"/>
              <a:gd name="connsiteX47" fmla="*/ 5855684 w 6124670"/>
              <a:gd name="connsiteY47" fmla="*/ 429722 h 1413343"/>
              <a:gd name="connsiteX48" fmla="*/ 5829205 w 6124670"/>
              <a:gd name="connsiteY48" fmla="*/ 403275 h 1413343"/>
              <a:gd name="connsiteX49" fmla="*/ 5719762 w 6124670"/>
              <a:gd name="connsiteY49" fmla="*/ 373403 h 1413343"/>
              <a:gd name="connsiteX50" fmla="*/ 5620322 w 6124670"/>
              <a:gd name="connsiteY50" fmla="*/ 393286 h 1413343"/>
              <a:gd name="connsiteX51" fmla="*/ 5590413 w 6124670"/>
              <a:gd name="connsiteY51" fmla="*/ 452935 h 1413343"/>
              <a:gd name="connsiteX52" fmla="*/ 5762816 w 6124670"/>
              <a:gd name="connsiteY52" fmla="*/ 542362 h 1413343"/>
              <a:gd name="connsiteX53" fmla="*/ 5797678 w 6124670"/>
              <a:gd name="connsiteY53" fmla="*/ 551875 h 1413343"/>
              <a:gd name="connsiteX54" fmla="*/ 5826253 w 6124670"/>
              <a:gd name="connsiteY54" fmla="*/ 555205 h 1413343"/>
              <a:gd name="connsiteX55" fmla="*/ 6061615 w 6124670"/>
              <a:gd name="connsiteY55" fmla="*/ 654525 h 1413343"/>
              <a:gd name="connsiteX56" fmla="*/ 6124670 w 6124670"/>
              <a:gd name="connsiteY56" fmla="*/ 813495 h 1413343"/>
              <a:gd name="connsiteX57" fmla="*/ 6018562 w 6124670"/>
              <a:gd name="connsiteY57" fmla="*/ 1038679 h 1413343"/>
              <a:gd name="connsiteX58" fmla="*/ 5720144 w 6124670"/>
              <a:gd name="connsiteY58" fmla="*/ 1111552 h 1413343"/>
              <a:gd name="connsiteX59" fmla="*/ 5438298 w 6124670"/>
              <a:gd name="connsiteY59" fmla="*/ 1035444 h 1413343"/>
              <a:gd name="connsiteX60" fmla="*/ 5342096 w 6124670"/>
              <a:gd name="connsiteY60" fmla="*/ 813495 h 1413343"/>
              <a:gd name="connsiteX61" fmla="*/ 5342287 w 6124670"/>
              <a:gd name="connsiteY61" fmla="*/ 803982 h 1413343"/>
              <a:gd name="connsiteX62" fmla="*/ 5567839 w 6124670"/>
              <a:gd name="connsiteY62" fmla="*/ 803982 h 1413343"/>
              <a:gd name="connsiteX63" fmla="*/ 5617559 w 6124670"/>
              <a:gd name="connsiteY63" fmla="*/ 903302 h 1413343"/>
              <a:gd name="connsiteX64" fmla="*/ 5750148 w 6124670"/>
              <a:gd name="connsiteY64" fmla="*/ 936409 h 1413343"/>
              <a:gd name="connsiteX65" fmla="*/ 5852922 w 6124670"/>
              <a:gd name="connsiteY65" fmla="*/ 913196 h 1413343"/>
              <a:gd name="connsiteX66" fmla="*/ 5892737 w 6124670"/>
              <a:gd name="connsiteY66" fmla="*/ 850312 h 1413343"/>
              <a:gd name="connsiteX67" fmla="*/ 5753481 w 6124670"/>
              <a:gd name="connsiteY67" fmla="*/ 760886 h 1413343"/>
              <a:gd name="connsiteX68" fmla="*/ 5663946 w 6124670"/>
              <a:gd name="connsiteY68" fmla="*/ 741003 h 1413343"/>
              <a:gd name="connsiteX69" fmla="*/ 5428584 w 6124670"/>
              <a:gd name="connsiteY69" fmla="*/ 638352 h 1413343"/>
              <a:gd name="connsiteX70" fmla="*/ 5361909 w 6124670"/>
              <a:gd name="connsiteY70" fmla="*/ 479383 h 1413343"/>
              <a:gd name="connsiteX71" fmla="*/ 5458111 w 6124670"/>
              <a:gd name="connsiteY71" fmla="*/ 270753 h 1413343"/>
              <a:gd name="connsiteX72" fmla="*/ 5716715 w 6124670"/>
              <a:gd name="connsiteY72" fmla="*/ 194645 h 1413343"/>
              <a:gd name="connsiteX73" fmla="*/ 4192239 w 6124670"/>
              <a:gd name="connsiteY73" fmla="*/ 194645 h 1413343"/>
              <a:gd name="connsiteX74" fmla="*/ 4467416 w 6124670"/>
              <a:gd name="connsiteY74" fmla="*/ 270753 h 1413343"/>
              <a:gd name="connsiteX75" fmla="*/ 4570190 w 6124670"/>
              <a:gd name="connsiteY75" fmla="*/ 486042 h 1413343"/>
              <a:gd name="connsiteX76" fmla="*/ 4427315 w 6124670"/>
              <a:gd name="connsiteY76" fmla="*/ 486042 h 1413343"/>
              <a:gd name="connsiteX77" fmla="*/ 4331589 w 6124670"/>
              <a:gd name="connsiteY77" fmla="*/ 429722 h 1413343"/>
              <a:gd name="connsiteX78" fmla="*/ 4305015 w 6124670"/>
              <a:gd name="connsiteY78" fmla="*/ 403275 h 1413343"/>
              <a:gd name="connsiteX79" fmla="*/ 4195667 w 6124670"/>
              <a:gd name="connsiteY79" fmla="*/ 373403 h 1413343"/>
              <a:gd name="connsiteX80" fmla="*/ 4096132 w 6124670"/>
              <a:gd name="connsiteY80" fmla="*/ 393286 h 1413343"/>
              <a:gd name="connsiteX81" fmla="*/ 4066318 w 6124670"/>
              <a:gd name="connsiteY81" fmla="*/ 452935 h 1413343"/>
              <a:gd name="connsiteX82" fmla="*/ 4238721 w 6124670"/>
              <a:gd name="connsiteY82" fmla="*/ 542362 h 1413343"/>
              <a:gd name="connsiteX83" fmla="*/ 4273582 w 6124670"/>
              <a:gd name="connsiteY83" fmla="*/ 551875 h 1413343"/>
              <a:gd name="connsiteX84" fmla="*/ 4301681 w 6124670"/>
              <a:gd name="connsiteY84" fmla="*/ 555205 h 1413343"/>
              <a:gd name="connsiteX85" fmla="*/ 4537139 w 6124670"/>
              <a:gd name="connsiteY85" fmla="*/ 654525 h 1413343"/>
              <a:gd name="connsiteX86" fmla="*/ 4600099 w 6124670"/>
              <a:gd name="connsiteY86" fmla="*/ 813495 h 1413343"/>
              <a:gd name="connsiteX87" fmla="*/ 4494086 w 6124670"/>
              <a:gd name="connsiteY87" fmla="*/ 1038679 h 1413343"/>
              <a:gd name="connsiteX88" fmla="*/ 4195667 w 6124670"/>
              <a:gd name="connsiteY88" fmla="*/ 1111552 h 1413343"/>
              <a:gd name="connsiteX89" fmla="*/ 3913823 w 6124670"/>
              <a:gd name="connsiteY89" fmla="*/ 1035444 h 1413343"/>
              <a:gd name="connsiteX90" fmla="*/ 3817620 w 6124670"/>
              <a:gd name="connsiteY90" fmla="*/ 813495 h 1413343"/>
              <a:gd name="connsiteX91" fmla="*/ 3817906 w 6124670"/>
              <a:gd name="connsiteY91" fmla="*/ 803982 h 1413343"/>
              <a:gd name="connsiteX92" fmla="*/ 4043363 w 6124670"/>
              <a:gd name="connsiteY92" fmla="*/ 803982 h 1413343"/>
              <a:gd name="connsiteX93" fmla="*/ 4093084 w 6124670"/>
              <a:gd name="connsiteY93" fmla="*/ 903302 h 1413343"/>
              <a:gd name="connsiteX94" fmla="*/ 4225767 w 6124670"/>
              <a:gd name="connsiteY94" fmla="*/ 936409 h 1413343"/>
              <a:gd name="connsiteX95" fmla="*/ 4328541 w 6124670"/>
              <a:gd name="connsiteY95" fmla="*/ 913196 h 1413343"/>
              <a:gd name="connsiteX96" fmla="*/ 4368356 w 6124670"/>
              <a:gd name="connsiteY96" fmla="*/ 850312 h 1413343"/>
              <a:gd name="connsiteX97" fmla="*/ 4229100 w 6124670"/>
              <a:gd name="connsiteY97" fmla="*/ 760886 h 1413343"/>
              <a:gd name="connsiteX98" fmla="*/ 4139566 w 6124670"/>
              <a:gd name="connsiteY98" fmla="*/ 741003 h 1413343"/>
              <a:gd name="connsiteX99" fmla="*/ 3904107 w 6124670"/>
              <a:gd name="connsiteY99" fmla="*/ 638352 h 1413343"/>
              <a:gd name="connsiteX100" fmla="*/ 3837432 w 6124670"/>
              <a:gd name="connsiteY100" fmla="*/ 479383 h 1413343"/>
              <a:gd name="connsiteX101" fmla="*/ 3933540 w 6124670"/>
              <a:gd name="connsiteY101" fmla="*/ 270753 h 1413343"/>
              <a:gd name="connsiteX102" fmla="*/ 4192239 w 6124670"/>
              <a:gd name="connsiteY102" fmla="*/ 194645 h 1413343"/>
              <a:gd name="connsiteX103" fmla="*/ 3386901 w 6124670"/>
              <a:gd name="connsiteY103" fmla="*/ 194645 h 1413343"/>
              <a:gd name="connsiteX104" fmla="*/ 3695225 w 6124670"/>
              <a:gd name="connsiteY104" fmla="*/ 313849 h 1413343"/>
              <a:gd name="connsiteX105" fmla="*/ 3801333 w 6124670"/>
              <a:gd name="connsiteY105" fmla="*/ 654906 h 1413343"/>
              <a:gd name="connsiteX106" fmla="*/ 3801333 w 6124670"/>
              <a:gd name="connsiteY106" fmla="*/ 691342 h 1413343"/>
              <a:gd name="connsiteX107" fmla="*/ 3797999 w 6124670"/>
              <a:gd name="connsiteY107" fmla="*/ 714555 h 1413343"/>
              <a:gd name="connsiteX108" fmla="*/ 3224404 w 6124670"/>
              <a:gd name="connsiteY108" fmla="*/ 714555 h 1413343"/>
              <a:gd name="connsiteX109" fmla="*/ 3274124 w 6124670"/>
              <a:gd name="connsiteY109" fmla="*/ 866771 h 1413343"/>
              <a:gd name="connsiteX110" fmla="*/ 3403474 w 6124670"/>
              <a:gd name="connsiteY110" fmla="*/ 919761 h 1413343"/>
              <a:gd name="connsiteX111" fmla="*/ 3499581 w 6124670"/>
              <a:gd name="connsiteY111" fmla="*/ 896643 h 1413343"/>
              <a:gd name="connsiteX112" fmla="*/ 3517869 w 6124670"/>
              <a:gd name="connsiteY112" fmla="*/ 885036 h 1413343"/>
              <a:gd name="connsiteX113" fmla="*/ 3536062 w 6124670"/>
              <a:gd name="connsiteY113" fmla="*/ 866771 h 1413343"/>
              <a:gd name="connsiteX114" fmla="*/ 3560923 w 6124670"/>
              <a:gd name="connsiteY114" fmla="*/ 840323 h 1413343"/>
              <a:gd name="connsiteX115" fmla="*/ 3622264 w 6124670"/>
              <a:gd name="connsiteY115" fmla="*/ 823865 h 1413343"/>
              <a:gd name="connsiteX116" fmla="*/ 3788094 w 6124670"/>
              <a:gd name="connsiteY116" fmla="*/ 823865 h 1413343"/>
              <a:gd name="connsiteX117" fmla="*/ 3648838 w 6124670"/>
              <a:gd name="connsiteY117" fmla="*/ 1035825 h 1413343"/>
              <a:gd name="connsiteX118" fmla="*/ 3390139 w 6124670"/>
              <a:gd name="connsiteY118" fmla="*/ 1111932 h 1413343"/>
              <a:gd name="connsiteX119" fmla="*/ 3094864 w 6124670"/>
              <a:gd name="connsiteY119" fmla="*/ 989399 h 1413343"/>
              <a:gd name="connsiteX120" fmla="*/ 2988851 w 6124670"/>
              <a:gd name="connsiteY120" fmla="*/ 648342 h 1413343"/>
              <a:gd name="connsiteX121" fmla="*/ 3091626 w 6124670"/>
              <a:gd name="connsiteY121" fmla="*/ 317178 h 1413343"/>
              <a:gd name="connsiteX122" fmla="*/ 3386901 w 6124670"/>
              <a:gd name="connsiteY122" fmla="*/ 194645 h 1413343"/>
              <a:gd name="connsiteX123" fmla="*/ 2146078 w 6124670"/>
              <a:gd name="connsiteY123" fmla="*/ 194645 h 1413343"/>
              <a:gd name="connsiteX124" fmla="*/ 2424684 w 6124670"/>
              <a:gd name="connsiteY124" fmla="*/ 257529 h 1413343"/>
              <a:gd name="connsiteX125" fmla="*/ 2520792 w 6124670"/>
              <a:gd name="connsiteY125" fmla="*/ 442946 h 1413343"/>
              <a:gd name="connsiteX126" fmla="*/ 2520792 w 6124670"/>
              <a:gd name="connsiteY126" fmla="*/ 744332 h 1413343"/>
              <a:gd name="connsiteX127" fmla="*/ 2473167 w 6124670"/>
              <a:gd name="connsiteY127" fmla="*/ 951345 h 1413343"/>
              <a:gd name="connsiteX128" fmla="*/ 2358391 w 6124670"/>
              <a:gd name="connsiteY128" fmla="*/ 1059133 h 1413343"/>
              <a:gd name="connsiteX129" fmla="*/ 2210848 w 6124670"/>
              <a:gd name="connsiteY129" fmla="*/ 1103846 h 1413343"/>
              <a:gd name="connsiteX130" fmla="*/ 2073307 w 6124670"/>
              <a:gd name="connsiteY130" fmla="*/ 1112123 h 1413343"/>
              <a:gd name="connsiteX131" fmla="*/ 1864614 w 6124670"/>
              <a:gd name="connsiteY131" fmla="*/ 1047336 h 1413343"/>
              <a:gd name="connsiteX132" fmla="*/ 1775079 w 6124670"/>
              <a:gd name="connsiteY132" fmla="*/ 833759 h 1413343"/>
              <a:gd name="connsiteX133" fmla="*/ 1856328 w 6124670"/>
              <a:gd name="connsiteY133" fmla="*/ 635023 h 1413343"/>
              <a:gd name="connsiteX134" fmla="*/ 2063496 w 6124670"/>
              <a:gd name="connsiteY134" fmla="*/ 555586 h 1413343"/>
              <a:gd name="connsiteX135" fmla="*/ 2103311 w 6124670"/>
              <a:gd name="connsiteY135" fmla="*/ 550638 h 1413343"/>
              <a:gd name="connsiteX136" fmla="*/ 2156365 w 6124670"/>
              <a:gd name="connsiteY136" fmla="*/ 542362 h 1413343"/>
              <a:gd name="connsiteX137" fmla="*/ 2302288 w 6124670"/>
              <a:gd name="connsiteY137" fmla="*/ 456265 h 1413343"/>
              <a:gd name="connsiteX138" fmla="*/ 2250853 w 6124670"/>
              <a:gd name="connsiteY138" fmla="*/ 391669 h 1413343"/>
              <a:gd name="connsiteX139" fmla="*/ 2156365 w 6124670"/>
              <a:gd name="connsiteY139" fmla="*/ 376732 h 1413343"/>
              <a:gd name="connsiteX140" fmla="*/ 2073497 w 6124670"/>
              <a:gd name="connsiteY140" fmla="*/ 389956 h 1413343"/>
              <a:gd name="connsiteX141" fmla="*/ 2020443 w 6124670"/>
              <a:gd name="connsiteY141" fmla="*/ 439712 h 1413343"/>
              <a:gd name="connsiteX142" fmla="*/ 1797939 w 6124670"/>
              <a:gd name="connsiteY142" fmla="*/ 439712 h 1413343"/>
              <a:gd name="connsiteX143" fmla="*/ 1890808 w 6124670"/>
              <a:gd name="connsiteY143" fmla="*/ 270753 h 1413343"/>
              <a:gd name="connsiteX144" fmla="*/ 2146078 w 6124670"/>
              <a:gd name="connsiteY144" fmla="*/ 194645 h 1413343"/>
              <a:gd name="connsiteX145" fmla="*/ 374523 w 6124670"/>
              <a:gd name="connsiteY145" fmla="*/ 194645 h 1413343"/>
              <a:gd name="connsiteX146" fmla="*/ 649796 w 6124670"/>
              <a:gd name="connsiteY146" fmla="*/ 270753 h 1413343"/>
              <a:gd name="connsiteX147" fmla="*/ 752570 w 6124670"/>
              <a:gd name="connsiteY147" fmla="*/ 486042 h 1413343"/>
              <a:gd name="connsiteX148" fmla="*/ 609695 w 6124670"/>
              <a:gd name="connsiteY148" fmla="*/ 486042 h 1413343"/>
              <a:gd name="connsiteX149" fmla="*/ 513493 w 6124670"/>
              <a:gd name="connsiteY149" fmla="*/ 429722 h 1413343"/>
              <a:gd name="connsiteX150" fmla="*/ 487013 w 6124670"/>
              <a:gd name="connsiteY150" fmla="*/ 403275 h 1413343"/>
              <a:gd name="connsiteX151" fmla="*/ 377571 w 6124670"/>
              <a:gd name="connsiteY151" fmla="*/ 373403 h 1413343"/>
              <a:gd name="connsiteX152" fmla="*/ 278130 w 6124670"/>
              <a:gd name="connsiteY152" fmla="*/ 393286 h 1413343"/>
              <a:gd name="connsiteX153" fmla="*/ 248317 w 6124670"/>
              <a:gd name="connsiteY153" fmla="*/ 452935 h 1413343"/>
              <a:gd name="connsiteX154" fmla="*/ 420719 w 6124670"/>
              <a:gd name="connsiteY154" fmla="*/ 542362 h 1413343"/>
              <a:gd name="connsiteX155" fmla="*/ 455486 w 6124670"/>
              <a:gd name="connsiteY155" fmla="*/ 551875 h 1413343"/>
              <a:gd name="connsiteX156" fmla="*/ 484061 w 6124670"/>
              <a:gd name="connsiteY156" fmla="*/ 555205 h 1413343"/>
              <a:gd name="connsiteX157" fmla="*/ 719519 w 6124670"/>
              <a:gd name="connsiteY157" fmla="*/ 654525 h 1413343"/>
              <a:gd name="connsiteX158" fmla="*/ 782479 w 6124670"/>
              <a:gd name="connsiteY158" fmla="*/ 813495 h 1413343"/>
              <a:gd name="connsiteX159" fmla="*/ 676370 w 6124670"/>
              <a:gd name="connsiteY159" fmla="*/ 1038679 h 1413343"/>
              <a:gd name="connsiteX160" fmla="*/ 377952 w 6124670"/>
              <a:gd name="connsiteY160" fmla="*/ 1111552 h 1413343"/>
              <a:gd name="connsiteX161" fmla="*/ 96108 w 6124670"/>
              <a:gd name="connsiteY161" fmla="*/ 1035444 h 1413343"/>
              <a:gd name="connsiteX162" fmla="*/ 0 w 6124670"/>
              <a:gd name="connsiteY162" fmla="*/ 813495 h 1413343"/>
              <a:gd name="connsiteX163" fmla="*/ 286 w 6124670"/>
              <a:gd name="connsiteY163" fmla="*/ 803982 h 1413343"/>
              <a:gd name="connsiteX164" fmla="*/ 225743 w 6124670"/>
              <a:gd name="connsiteY164" fmla="*/ 803982 h 1413343"/>
              <a:gd name="connsiteX165" fmla="*/ 275463 w 6124670"/>
              <a:gd name="connsiteY165" fmla="*/ 903302 h 1413343"/>
              <a:gd name="connsiteX166" fmla="*/ 408051 w 6124670"/>
              <a:gd name="connsiteY166" fmla="*/ 936409 h 1413343"/>
              <a:gd name="connsiteX167" fmla="*/ 510921 w 6124670"/>
              <a:gd name="connsiteY167" fmla="*/ 913196 h 1413343"/>
              <a:gd name="connsiteX168" fmla="*/ 550640 w 6124670"/>
              <a:gd name="connsiteY168" fmla="*/ 850312 h 1413343"/>
              <a:gd name="connsiteX169" fmla="*/ 411385 w 6124670"/>
              <a:gd name="connsiteY169" fmla="*/ 760886 h 1413343"/>
              <a:gd name="connsiteX170" fmla="*/ 321850 w 6124670"/>
              <a:gd name="connsiteY170" fmla="*/ 741003 h 1413343"/>
              <a:gd name="connsiteX171" fmla="*/ 86487 w 6124670"/>
              <a:gd name="connsiteY171" fmla="*/ 638352 h 1413343"/>
              <a:gd name="connsiteX172" fmla="*/ 19812 w 6124670"/>
              <a:gd name="connsiteY172" fmla="*/ 479383 h 1413343"/>
              <a:gd name="connsiteX173" fmla="*/ 115919 w 6124670"/>
              <a:gd name="connsiteY173" fmla="*/ 270753 h 1413343"/>
              <a:gd name="connsiteX174" fmla="*/ 374523 w 6124670"/>
              <a:gd name="connsiteY174" fmla="*/ 194645 h 1413343"/>
              <a:gd name="connsiteX175" fmla="*/ 2575750 w 6124670"/>
              <a:gd name="connsiteY175" fmla="*/ 0 h 1413343"/>
              <a:gd name="connsiteX176" fmla="*/ 2799779 w 6124670"/>
              <a:gd name="connsiteY176" fmla="*/ 0 h 1413343"/>
              <a:gd name="connsiteX177" fmla="*/ 2799779 w 6124670"/>
              <a:gd name="connsiteY177" fmla="*/ 221949 h 1413343"/>
              <a:gd name="connsiteX178" fmla="*/ 2958084 w 6124670"/>
              <a:gd name="connsiteY178" fmla="*/ 221949 h 1413343"/>
              <a:gd name="connsiteX179" fmla="*/ 2958084 w 6124670"/>
              <a:gd name="connsiteY179" fmla="*/ 420399 h 1413343"/>
              <a:gd name="connsiteX180" fmla="*/ 2800159 w 6124670"/>
              <a:gd name="connsiteY180" fmla="*/ 420399 h 1413343"/>
              <a:gd name="connsiteX181" fmla="*/ 2800159 w 6124670"/>
              <a:gd name="connsiteY181" fmla="*/ 728921 h 1413343"/>
              <a:gd name="connsiteX182" fmla="*/ 2841784 w 6124670"/>
              <a:gd name="connsiteY182" fmla="*/ 857828 h 1413343"/>
              <a:gd name="connsiteX183" fmla="*/ 2968276 w 6124670"/>
              <a:gd name="connsiteY183" fmla="*/ 889984 h 1413343"/>
              <a:gd name="connsiteX184" fmla="*/ 2968276 w 6124670"/>
              <a:gd name="connsiteY184" fmla="*/ 1093667 h 1413343"/>
              <a:gd name="connsiteX185" fmla="*/ 2798064 w 6124670"/>
              <a:gd name="connsiteY185" fmla="*/ 1081870 h 1413343"/>
              <a:gd name="connsiteX186" fmla="*/ 2675858 w 6124670"/>
              <a:gd name="connsiteY186" fmla="*/ 1010614 h 1413343"/>
              <a:gd name="connsiteX187" fmla="*/ 2601183 w 6124670"/>
              <a:gd name="connsiteY187" fmla="*/ 889413 h 1413343"/>
              <a:gd name="connsiteX188" fmla="*/ 2575750 w 6124670"/>
              <a:gd name="connsiteY188" fmla="*/ 727684 h 1413343"/>
              <a:gd name="connsiteX189" fmla="*/ 824770 w 6124670"/>
              <a:gd name="connsiteY189" fmla="*/ 0 h 1413343"/>
              <a:gd name="connsiteX190" fmla="*/ 1048893 w 6124670"/>
              <a:gd name="connsiteY190" fmla="*/ 0 h 1413343"/>
              <a:gd name="connsiteX191" fmla="*/ 1048893 w 6124670"/>
              <a:gd name="connsiteY191" fmla="*/ 221949 h 1413343"/>
              <a:gd name="connsiteX192" fmla="*/ 1206723 w 6124670"/>
              <a:gd name="connsiteY192" fmla="*/ 221949 h 1413343"/>
              <a:gd name="connsiteX193" fmla="*/ 1206723 w 6124670"/>
              <a:gd name="connsiteY193" fmla="*/ 420399 h 1413343"/>
              <a:gd name="connsiteX194" fmla="*/ 1048417 w 6124670"/>
              <a:gd name="connsiteY194" fmla="*/ 420399 h 1413343"/>
              <a:gd name="connsiteX195" fmla="*/ 1048417 w 6124670"/>
              <a:gd name="connsiteY195" fmla="*/ 728921 h 1413343"/>
              <a:gd name="connsiteX196" fmla="*/ 1089946 w 6124670"/>
              <a:gd name="connsiteY196" fmla="*/ 857828 h 1413343"/>
              <a:gd name="connsiteX197" fmla="*/ 1216915 w 6124670"/>
              <a:gd name="connsiteY197" fmla="*/ 890174 h 1413343"/>
              <a:gd name="connsiteX198" fmla="*/ 1216915 w 6124670"/>
              <a:gd name="connsiteY198" fmla="*/ 1093667 h 1413343"/>
              <a:gd name="connsiteX199" fmla="*/ 1047179 w 6124670"/>
              <a:gd name="connsiteY199" fmla="*/ 1081870 h 1413343"/>
              <a:gd name="connsiteX200" fmla="*/ 924973 w 6124670"/>
              <a:gd name="connsiteY200" fmla="*/ 1010614 h 1413343"/>
              <a:gd name="connsiteX201" fmla="*/ 850202 w 6124670"/>
              <a:gd name="connsiteY201" fmla="*/ 889413 h 1413343"/>
              <a:gd name="connsiteX202" fmla="*/ 824770 w 6124670"/>
              <a:gd name="connsiteY202" fmla="*/ 727684 h 1413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6124670" h="1413343">
                <a:moveTo>
                  <a:pt x="2305336" y="651766"/>
                </a:moveTo>
                <a:cubicBezTo>
                  <a:pt x="2263969" y="670831"/>
                  <a:pt x="2220620" y="685282"/>
                  <a:pt x="2176082" y="694862"/>
                </a:cubicBezTo>
                <a:lnTo>
                  <a:pt x="2099882" y="711416"/>
                </a:lnTo>
                <a:cubicBezTo>
                  <a:pt x="2060067" y="722547"/>
                  <a:pt x="2031397" y="736817"/>
                  <a:pt x="2013681" y="754512"/>
                </a:cubicBezTo>
                <a:cubicBezTo>
                  <a:pt x="1999060" y="776060"/>
                  <a:pt x="1990992" y="801366"/>
                  <a:pt x="1990440" y="827385"/>
                </a:cubicBezTo>
                <a:cubicBezTo>
                  <a:pt x="1989058" y="856848"/>
                  <a:pt x="1999869" y="885569"/>
                  <a:pt x="2020348" y="906822"/>
                </a:cubicBezTo>
                <a:cubicBezTo>
                  <a:pt x="2040255" y="924517"/>
                  <a:pt x="2068926" y="933269"/>
                  <a:pt x="2106073" y="933269"/>
                </a:cubicBezTo>
                <a:cubicBezTo>
                  <a:pt x="2167919" y="933269"/>
                  <a:pt x="2216535" y="915641"/>
                  <a:pt x="2251900" y="880375"/>
                </a:cubicBezTo>
                <a:cubicBezTo>
                  <a:pt x="2287267" y="845108"/>
                  <a:pt x="2304955" y="796533"/>
                  <a:pt x="2304955" y="734629"/>
                </a:cubicBezTo>
                <a:close/>
                <a:moveTo>
                  <a:pt x="3393473" y="386722"/>
                </a:moveTo>
                <a:cubicBezTo>
                  <a:pt x="3349077" y="385180"/>
                  <a:pt x="3305986" y="401934"/>
                  <a:pt x="3274315" y="433052"/>
                </a:cubicBezTo>
                <a:cubicBezTo>
                  <a:pt x="3243263" y="463999"/>
                  <a:pt x="3226623" y="508142"/>
                  <a:pt x="3224404" y="565479"/>
                </a:cubicBezTo>
                <a:lnTo>
                  <a:pt x="3562637" y="565479"/>
                </a:lnTo>
                <a:cubicBezTo>
                  <a:pt x="3558131" y="505925"/>
                  <a:pt x="3542634" y="461783"/>
                  <a:pt x="3516155" y="433052"/>
                </a:cubicBezTo>
                <a:cubicBezTo>
                  <a:pt x="3487513" y="402162"/>
                  <a:pt x="3446622" y="386722"/>
                  <a:pt x="3393473" y="386722"/>
                </a:cubicBezTo>
                <a:close/>
                <a:moveTo>
                  <a:pt x="4552474" y="214433"/>
                </a:moveTo>
                <a:lnTo>
                  <a:pt x="4807839" y="214433"/>
                </a:lnTo>
                <a:lnTo>
                  <a:pt x="4986910" y="837089"/>
                </a:lnTo>
                <a:lnTo>
                  <a:pt x="5142739" y="293966"/>
                </a:lnTo>
                <a:cubicBezTo>
                  <a:pt x="5155978" y="241004"/>
                  <a:pt x="5191411" y="214500"/>
                  <a:pt x="5248847" y="214433"/>
                </a:cubicBezTo>
                <a:lnTo>
                  <a:pt x="5407914" y="214433"/>
                </a:lnTo>
                <a:lnTo>
                  <a:pt x="5069681" y="1217912"/>
                </a:lnTo>
                <a:cubicBezTo>
                  <a:pt x="5043106" y="1290785"/>
                  <a:pt x="5009959" y="1342662"/>
                  <a:pt x="4970146" y="1373552"/>
                </a:cubicBezTo>
                <a:cubicBezTo>
                  <a:pt x="4930426" y="1400124"/>
                  <a:pt x="4865180" y="1413385"/>
                  <a:pt x="4774597" y="1413318"/>
                </a:cubicBezTo>
                <a:lnTo>
                  <a:pt x="4751737" y="1413318"/>
                </a:lnTo>
                <a:cubicBezTo>
                  <a:pt x="4742403" y="1413509"/>
                  <a:pt x="4684586" y="1412558"/>
                  <a:pt x="4677918" y="1412558"/>
                </a:cubicBezTo>
                <a:lnTo>
                  <a:pt x="4677918" y="1224572"/>
                </a:lnTo>
                <a:lnTo>
                  <a:pt x="4741164" y="1224572"/>
                </a:lnTo>
                <a:cubicBezTo>
                  <a:pt x="4785646" y="1224572"/>
                  <a:pt x="4820507" y="1214078"/>
                  <a:pt x="4845939" y="1193082"/>
                </a:cubicBezTo>
                <a:cubicBezTo>
                  <a:pt x="4871371" y="1172057"/>
                  <a:pt x="4876323" y="1138475"/>
                  <a:pt x="4860893" y="1092050"/>
                </a:cubicBezTo>
                <a:close/>
                <a:moveTo>
                  <a:pt x="1721739" y="214433"/>
                </a:moveTo>
                <a:lnTo>
                  <a:pt x="1754982" y="214433"/>
                </a:lnTo>
                <a:lnTo>
                  <a:pt x="1754982" y="449605"/>
                </a:lnTo>
                <a:lnTo>
                  <a:pt x="1678782" y="449605"/>
                </a:lnTo>
                <a:cubicBezTo>
                  <a:pt x="1614583" y="449605"/>
                  <a:pt x="1566958" y="465046"/>
                  <a:pt x="1535907" y="495936"/>
                </a:cubicBezTo>
                <a:cubicBezTo>
                  <a:pt x="1504855" y="526826"/>
                  <a:pt x="1489396" y="575402"/>
                  <a:pt x="1489520" y="641682"/>
                </a:cubicBezTo>
                <a:lnTo>
                  <a:pt x="1489520" y="1095379"/>
                </a:lnTo>
                <a:lnTo>
                  <a:pt x="1257205" y="1095379"/>
                </a:lnTo>
                <a:lnTo>
                  <a:pt x="1257205" y="668225"/>
                </a:lnTo>
                <a:cubicBezTo>
                  <a:pt x="1257205" y="582033"/>
                  <a:pt x="1269902" y="509702"/>
                  <a:pt x="1295305" y="451223"/>
                </a:cubicBezTo>
                <a:cubicBezTo>
                  <a:pt x="1318051" y="396397"/>
                  <a:pt x="1354046" y="348049"/>
                  <a:pt x="1400080" y="310519"/>
                </a:cubicBezTo>
                <a:cubicBezTo>
                  <a:pt x="1443829" y="276527"/>
                  <a:pt x="1494016" y="251735"/>
                  <a:pt x="1547622" y="237646"/>
                </a:cubicBezTo>
                <a:cubicBezTo>
                  <a:pt x="1604354" y="222148"/>
                  <a:pt x="1662923" y="214347"/>
                  <a:pt x="1721739" y="214433"/>
                </a:cubicBezTo>
                <a:close/>
                <a:moveTo>
                  <a:pt x="5716715" y="194645"/>
                </a:moveTo>
                <a:cubicBezTo>
                  <a:pt x="5831586" y="194645"/>
                  <a:pt x="5923312" y="220017"/>
                  <a:pt x="5991892" y="270753"/>
                </a:cubicBezTo>
                <a:cubicBezTo>
                  <a:pt x="6055995" y="326054"/>
                  <a:pt x="6090285" y="397824"/>
                  <a:pt x="6094762" y="486042"/>
                </a:cubicBezTo>
                <a:lnTo>
                  <a:pt x="5951887" y="486042"/>
                </a:lnTo>
                <a:cubicBezTo>
                  <a:pt x="5911691" y="487127"/>
                  <a:pt x="5874353" y="465284"/>
                  <a:pt x="5855684" y="429722"/>
                </a:cubicBezTo>
                <a:lnTo>
                  <a:pt x="5829205" y="403275"/>
                </a:lnTo>
                <a:cubicBezTo>
                  <a:pt x="5802630" y="383420"/>
                  <a:pt x="5766149" y="373469"/>
                  <a:pt x="5719762" y="373403"/>
                </a:cubicBezTo>
                <a:cubicBezTo>
                  <a:pt x="5675280" y="373403"/>
                  <a:pt x="5642134" y="380034"/>
                  <a:pt x="5620322" y="393286"/>
                </a:cubicBezTo>
                <a:cubicBezTo>
                  <a:pt x="5600414" y="406386"/>
                  <a:pt x="5588984" y="429142"/>
                  <a:pt x="5590413" y="452935"/>
                </a:cubicBezTo>
                <a:cubicBezTo>
                  <a:pt x="5590413" y="488259"/>
                  <a:pt x="5647848" y="518074"/>
                  <a:pt x="5762816" y="542362"/>
                </a:cubicBezTo>
                <a:cubicBezTo>
                  <a:pt x="5774245" y="546148"/>
                  <a:pt x="5785867" y="549325"/>
                  <a:pt x="5797678" y="551875"/>
                </a:cubicBezTo>
                <a:cubicBezTo>
                  <a:pt x="5807012" y="554073"/>
                  <a:pt x="5816632" y="555195"/>
                  <a:pt x="5826253" y="555205"/>
                </a:cubicBezTo>
                <a:cubicBezTo>
                  <a:pt x="5938933" y="583935"/>
                  <a:pt x="6017323" y="617042"/>
                  <a:pt x="6061615" y="654525"/>
                </a:cubicBezTo>
                <a:cubicBezTo>
                  <a:pt x="6103620" y="694292"/>
                  <a:pt x="6124575" y="747282"/>
                  <a:pt x="6124670" y="813495"/>
                </a:cubicBezTo>
                <a:cubicBezTo>
                  <a:pt x="6124670" y="910723"/>
                  <a:pt x="6089333" y="985784"/>
                  <a:pt x="6018562" y="1038679"/>
                </a:cubicBezTo>
                <a:cubicBezTo>
                  <a:pt x="5952268" y="1087321"/>
                  <a:pt x="5852826" y="1111619"/>
                  <a:pt x="5720144" y="1111552"/>
                </a:cubicBezTo>
                <a:cubicBezTo>
                  <a:pt x="5594128" y="1111552"/>
                  <a:pt x="5500117" y="1086180"/>
                  <a:pt x="5438298" y="1035444"/>
                </a:cubicBezTo>
                <a:cubicBezTo>
                  <a:pt x="5374195" y="984709"/>
                  <a:pt x="5342096" y="910723"/>
                  <a:pt x="5342096" y="813495"/>
                </a:cubicBezTo>
                <a:lnTo>
                  <a:pt x="5342287" y="803982"/>
                </a:lnTo>
                <a:lnTo>
                  <a:pt x="5567839" y="803982"/>
                </a:lnTo>
                <a:cubicBezTo>
                  <a:pt x="5569934" y="848124"/>
                  <a:pt x="5586889" y="881326"/>
                  <a:pt x="5617559" y="903302"/>
                </a:cubicBezTo>
                <a:cubicBezTo>
                  <a:pt x="5650706" y="925469"/>
                  <a:pt x="5694902" y="936409"/>
                  <a:pt x="5750148" y="936409"/>
                </a:cubicBezTo>
                <a:cubicBezTo>
                  <a:pt x="5785771" y="937379"/>
                  <a:pt x="5821109" y="929398"/>
                  <a:pt x="5852922" y="913196"/>
                </a:cubicBezTo>
                <a:cubicBezTo>
                  <a:pt x="5879497" y="897784"/>
                  <a:pt x="5892737" y="876826"/>
                  <a:pt x="5892737" y="850312"/>
                </a:cubicBezTo>
                <a:cubicBezTo>
                  <a:pt x="5892737" y="810546"/>
                  <a:pt x="5846350" y="780740"/>
                  <a:pt x="5753481" y="760886"/>
                </a:cubicBezTo>
                <a:cubicBezTo>
                  <a:pt x="5723191" y="756472"/>
                  <a:pt x="5693283" y="749831"/>
                  <a:pt x="5663946" y="741003"/>
                </a:cubicBezTo>
                <a:cubicBezTo>
                  <a:pt x="5546788" y="712396"/>
                  <a:pt x="5468302" y="678185"/>
                  <a:pt x="5428584" y="638352"/>
                </a:cubicBezTo>
                <a:cubicBezTo>
                  <a:pt x="5384102" y="598710"/>
                  <a:pt x="5361909" y="545720"/>
                  <a:pt x="5361909" y="479383"/>
                </a:cubicBezTo>
                <a:cubicBezTo>
                  <a:pt x="5360384" y="398813"/>
                  <a:pt x="5395817" y="321964"/>
                  <a:pt x="5458111" y="270753"/>
                </a:cubicBezTo>
                <a:cubicBezTo>
                  <a:pt x="5524405" y="220017"/>
                  <a:pt x="5610606" y="194645"/>
                  <a:pt x="5716715" y="194645"/>
                </a:cubicBezTo>
                <a:close/>
                <a:moveTo>
                  <a:pt x="4192239" y="194645"/>
                </a:moveTo>
                <a:cubicBezTo>
                  <a:pt x="4307110" y="194645"/>
                  <a:pt x="4398836" y="220017"/>
                  <a:pt x="4467416" y="270753"/>
                </a:cubicBezTo>
                <a:cubicBezTo>
                  <a:pt x="4531519" y="326054"/>
                  <a:pt x="4565809" y="397824"/>
                  <a:pt x="4570190" y="486042"/>
                </a:cubicBezTo>
                <a:lnTo>
                  <a:pt x="4427315" y="486042"/>
                </a:lnTo>
                <a:cubicBezTo>
                  <a:pt x="4387244" y="487098"/>
                  <a:pt x="4350087" y="465236"/>
                  <a:pt x="4331589" y="429722"/>
                </a:cubicBezTo>
                <a:lnTo>
                  <a:pt x="4305015" y="403275"/>
                </a:lnTo>
                <a:cubicBezTo>
                  <a:pt x="4278535" y="383420"/>
                  <a:pt x="4242083" y="373469"/>
                  <a:pt x="4195667" y="373403"/>
                </a:cubicBezTo>
                <a:cubicBezTo>
                  <a:pt x="4151214" y="373403"/>
                  <a:pt x="4118039" y="380034"/>
                  <a:pt x="4096132" y="393286"/>
                </a:cubicBezTo>
                <a:cubicBezTo>
                  <a:pt x="4076224" y="406415"/>
                  <a:pt x="4064861" y="429161"/>
                  <a:pt x="4066318" y="452935"/>
                </a:cubicBezTo>
                <a:cubicBezTo>
                  <a:pt x="4066318" y="488259"/>
                  <a:pt x="4123782" y="518074"/>
                  <a:pt x="4238721" y="542362"/>
                </a:cubicBezTo>
                <a:cubicBezTo>
                  <a:pt x="4250160" y="546167"/>
                  <a:pt x="4261799" y="549335"/>
                  <a:pt x="4273582" y="551875"/>
                </a:cubicBezTo>
                <a:cubicBezTo>
                  <a:pt x="4282793" y="554044"/>
                  <a:pt x="4292223" y="555157"/>
                  <a:pt x="4301681" y="555205"/>
                </a:cubicBezTo>
                <a:cubicBezTo>
                  <a:pt x="4414457" y="583935"/>
                  <a:pt x="4492943" y="617042"/>
                  <a:pt x="4537139" y="654525"/>
                </a:cubicBezTo>
                <a:cubicBezTo>
                  <a:pt x="4579144" y="694292"/>
                  <a:pt x="4600099" y="747282"/>
                  <a:pt x="4600099" y="813495"/>
                </a:cubicBezTo>
                <a:cubicBezTo>
                  <a:pt x="4600099" y="910723"/>
                  <a:pt x="4564761" y="985784"/>
                  <a:pt x="4494086" y="1038679"/>
                </a:cubicBezTo>
                <a:cubicBezTo>
                  <a:pt x="4427668" y="1087321"/>
                  <a:pt x="4328189" y="1111619"/>
                  <a:pt x="4195667" y="1111552"/>
                </a:cubicBezTo>
                <a:cubicBezTo>
                  <a:pt x="4069623" y="1111552"/>
                  <a:pt x="3975669" y="1086180"/>
                  <a:pt x="3913823" y="1035444"/>
                </a:cubicBezTo>
                <a:cubicBezTo>
                  <a:pt x="3849625" y="984709"/>
                  <a:pt x="3817554" y="910723"/>
                  <a:pt x="3817620" y="813495"/>
                </a:cubicBezTo>
                <a:lnTo>
                  <a:pt x="3817906" y="803982"/>
                </a:lnTo>
                <a:lnTo>
                  <a:pt x="4043363" y="803982"/>
                </a:lnTo>
                <a:cubicBezTo>
                  <a:pt x="4045553" y="848124"/>
                  <a:pt x="4062413" y="881326"/>
                  <a:pt x="4093084" y="903302"/>
                </a:cubicBezTo>
                <a:cubicBezTo>
                  <a:pt x="4126326" y="925469"/>
                  <a:pt x="4170522" y="936409"/>
                  <a:pt x="4225767" y="936409"/>
                </a:cubicBezTo>
                <a:cubicBezTo>
                  <a:pt x="4261428" y="937379"/>
                  <a:pt x="4296766" y="929398"/>
                  <a:pt x="4328541" y="913196"/>
                </a:cubicBezTo>
                <a:cubicBezTo>
                  <a:pt x="4355021" y="897784"/>
                  <a:pt x="4368356" y="876855"/>
                  <a:pt x="4368356" y="850312"/>
                </a:cubicBezTo>
                <a:cubicBezTo>
                  <a:pt x="4368356" y="810546"/>
                  <a:pt x="4321940" y="780740"/>
                  <a:pt x="4229100" y="760886"/>
                </a:cubicBezTo>
                <a:cubicBezTo>
                  <a:pt x="4198802" y="756472"/>
                  <a:pt x="4168874" y="749831"/>
                  <a:pt x="4139566" y="741003"/>
                </a:cubicBezTo>
                <a:cubicBezTo>
                  <a:pt x="4022284" y="712396"/>
                  <a:pt x="3943798" y="678185"/>
                  <a:pt x="3904107" y="638352"/>
                </a:cubicBezTo>
                <a:cubicBezTo>
                  <a:pt x="3859654" y="598710"/>
                  <a:pt x="3837432" y="545720"/>
                  <a:pt x="3837432" y="479383"/>
                </a:cubicBezTo>
                <a:cubicBezTo>
                  <a:pt x="3835918" y="398832"/>
                  <a:pt x="3871313" y="322011"/>
                  <a:pt x="3933540" y="270753"/>
                </a:cubicBezTo>
                <a:cubicBezTo>
                  <a:pt x="3999957" y="220017"/>
                  <a:pt x="4086197" y="194645"/>
                  <a:pt x="4192239" y="194645"/>
                </a:cubicBezTo>
                <a:close/>
                <a:moveTo>
                  <a:pt x="3386901" y="194645"/>
                </a:moveTo>
                <a:cubicBezTo>
                  <a:pt x="3519488" y="194645"/>
                  <a:pt x="3622264" y="234383"/>
                  <a:pt x="3695225" y="313849"/>
                </a:cubicBezTo>
                <a:cubicBezTo>
                  <a:pt x="3765967" y="395541"/>
                  <a:pt x="3801333" y="509226"/>
                  <a:pt x="3801333" y="654906"/>
                </a:cubicBezTo>
                <a:lnTo>
                  <a:pt x="3801333" y="691342"/>
                </a:lnTo>
                <a:cubicBezTo>
                  <a:pt x="3801838" y="699229"/>
                  <a:pt x="3800704" y="707135"/>
                  <a:pt x="3797999" y="714555"/>
                </a:cubicBezTo>
                <a:lnTo>
                  <a:pt x="3224404" y="714555"/>
                </a:lnTo>
                <a:cubicBezTo>
                  <a:pt x="3226623" y="783052"/>
                  <a:pt x="3243197" y="833787"/>
                  <a:pt x="3274124" y="866771"/>
                </a:cubicBezTo>
                <a:cubicBezTo>
                  <a:pt x="3302766" y="902161"/>
                  <a:pt x="3345876" y="919827"/>
                  <a:pt x="3403474" y="919761"/>
                </a:cubicBezTo>
                <a:cubicBezTo>
                  <a:pt x="3437002" y="920750"/>
                  <a:pt x="3470187" y="912768"/>
                  <a:pt x="3499581" y="896643"/>
                </a:cubicBezTo>
                <a:cubicBezTo>
                  <a:pt x="3506515" y="894274"/>
                  <a:pt x="3512783" y="890297"/>
                  <a:pt x="3517869" y="885036"/>
                </a:cubicBezTo>
                <a:lnTo>
                  <a:pt x="3536062" y="866771"/>
                </a:lnTo>
                <a:cubicBezTo>
                  <a:pt x="3541967" y="855992"/>
                  <a:pt x="3550521" y="846887"/>
                  <a:pt x="3560923" y="840323"/>
                </a:cubicBezTo>
                <a:cubicBezTo>
                  <a:pt x="3579000" y="828250"/>
                  <a:pt x="3600565" y="822466"/>
                  <a:pt x="3622264" y="823865"/>
                </a:cubicBezTo>
                <a:lnTo>
                  <a:pt x="3788094" y="823865"/>
                </a:lnTo>
                <a:cubicBezTo>
                  <a:pt x="3763710" y="916526"/>
                  <a:pt x="3717294" y="987182"/>
                  <a:pt x="3648838" y="1035825"/>
                </a:cubicBezTo>
                <a:cubicBezTo>
                  <a:pt x="3580258" y="1086560"/>
                  <a:pt x="3494028" y="1111932"/>
                  <a:pt x="3390139" y="1111932"/>
                </a:cubicBezTo>
                <a:cubicBezTo>
                  <a:pt x="3264219" y="1111932"/>
                  <a:pt x="3165797" y="1071091"/>
                  <a:pt x="3094864" y="989399"/>
                </a:cubicBezTo>
                <a:cubicBezTo>
                  <a:pt x="3024188" y="909933"/>
                  <a:pt x="2988851" y="796247"/>
                  <a:pt x="2988851" y="648342"/>
                </a:cubicBezTo>
                <a:cubicBezTo>
                  <a:pt x="2988851" y="507095"/>
                  <a:pt x="3023112" y="396711"/>
                  <a:pt x="3091626" y="317178"/>
                </a:cubicBezTo>
                <a:cubicBezTo>
                  <a:pt x="3162301" y="235486"/>
                  <a:pt x="3260723" y="194645"/>
                  <a:pt x="3386901" y="194645"/>
                </a:cubicBezTo>
                <a:close/>
                <a:moveTo>
                  <a:pt x="2146078" y="194645"/>
                </a:moveTo>
                <a:cubicBezTo>
                  <a:pt x="2269903" y="194645"/>
                  <a:pt x="2362772" y="215603"/>
                  <a:pt x="2424684" y="257529"/>
                </a:cubicBezTo>
                <a:cubicBezTo>
                  <a:pt x="2488816" y="301928"/>
                  <a:pt x="2520858" y="363728"/>
                  <a:pt x="2520792" y="442946"/>
                </a:cubicBezTo>
                <a:lnTo>
                  <a:pt x="2520792" y="744332"/>
                </a:lnTo>
                <a:cubicBezTo>
                  <a:pt x="2520792" y="832684"/>
                  <a:pt x="2504914" y="901685"/>
                  <a:pt x="2473167" y="951345"/>
                </a:cubicBezTo>
                <a:cubicBezTo>
                  <a:pt x="2445477" y="997067"/>
                  <a:pt x="2405777" y="1034341"/>
                  <a:pt x="2358391" y="1059133"/>
                </a:cubicBezTo>
                <a:cubicBezTo>
                  <a:pt x="2312508" y="1083297"/>
                  <a:pt x="2262435" y="1098471"/>
                  <a:pt x="2210848" y="1103846"/>
                </a:cubicBezTo>
                <a:cubicBezTo>
                  <a:pt x="2165176" y="1109002"/>
                  <a:pt x="2119265" y="1111761"/>
                  <a:pt x="2073307" y="1112123"/>
                </a:cubicBezTo>
                <a:cubicBezTo>
                  <a:pt x="1998574" y="1113559"/>
                  <a:pt x="1925374" y="1090831"/>
                  <a:pt x="1864614" y="1047336"/>
                </a:cubicBezTo>
                <a:cubicBezTo>
                  <a:pt x="1804921" y="1004335"/>
                  <a:pt x="1775079" y="933146"/>
                  <a:pt x="1775079" y="833759"/>
                </a:cubicBezTo>
                <a:cubicBezTo>
                  <a:pt x="1775079" y="741031"/>
                  <a:pt x="1802159" y="674789"/>
                  <a:pt x="1856328" y="635023"/>
                </a:cubicBezTo>
                <a:cubicBezTo>
                  <a:pt x="1910496" y="595256"/>
                  <a:pt x="1979553" y="568781"/>
                  <a:pt x="2063496" y="555586"/>
                </a:cubicBezTo>
                <a:cubicBezTo>
                  <a:pt x="2076908" y="555319"/>
                  <a:pt x="2090242" y="553664"/>
                  <a:pt x="2103311" y="550638"/>
                </a:cubicBezTo>
                <a:cubicBezTo>
                  <a:pt x="2120846" y="546976"/>
                  <a:pt x="2138553" y="544217"/>
                  <a:pt x="2156365" y="542362"/>
                </a:cubicBezTo>
                <a:cubicBezTo>
                  <a:pt x="2253644" y="529167"/>
                  <a:pt x="2302288" y="500474"/>
                  <a:pt x="2302288" y="456265"/>
                </a:cubicBezTo>
                <a:cubicBezTo>
                  <a:pt x="2302288" y="423158"/>
                  <a:pt x="2285143" y="401629"/>
                  <a:pt x="2250853" y="391669"/>
                </a:cubicBezTo>
                <a:cubicBezTo>
                  <a:pt x="2220220" y="382260"/>
                  <a:pt x="2188407" y="377237"/>
                  <a:pt x="2156365" y="376732"/>
                </a:cubicBezTo>
                <a:cubicBezTo>
                  <a:pt x="2128181" y="376314"/>
                  <a:pt x="2100149" y="380785"/>
                  <a:pt x="2073497" y="389956"/>
                </a:cubicBezTo>
                <a:cubicBezTo>
                  <a:pt x="2049618" y="398395"/>
                  <a:pt x="2030378" y="416442"/>
                  <a:pt x="2020443" y="439712"/>
                </a:cubicBezTo>
                <a:lnTo>
                  <a:pt x="1797939" y="439712"/>
                </a:lnTo>
                <a:cubicBezTo>
                  <a:pt x="1805626" y="373441"/>
                  <a:pt x="1838954" y="312802"/>
                  <a:pt x="1890808" y="270753"/>
                </a:cubicBezTo>
                <a:cubicBezTo>
                  <a:pt x="1950501" y="220017"/>
                  <a:pt x="2035588" y="194645"/>
                  <a:pt x="2146078" y="194645"/>
                </a:cubicBezTo>
                <a:close/>
                <a:moveTo>
                  <a:pt x="374523" y="194645"/>
                </a:moveTo>
                <a:cubicBezTo>
                  <a:pt x="489462" y="194645"/>
                  <a:pt x="581216" y="220017"/>
                  <a:pt x="649796" y="270753"/>
                </a:cubicBezTo>
                <a:cubicBezTo>
                  <a:pt x="713927" y="326054"/>
                  <a:pt x="748189" y="397824"/>
                  <a:pt x="752570" y="486042"/>
                </a:cubicBezTo>
                <a:lnTo>
                  <a:pt x="609695" y="486042"/>
                </a:lnTo>
                <a:cubicBezTo>
                  <a:pt x="569500" y="487127"/>
                  <a:pt x="532181" y="465284"/>
                  <a:pt x="513493" y="429722"/>
                </a:cubicBezTo>
                <a:cubicBezTo>
                  <a:pt x="504634" y="420970"/>
                  <a:pt x="495776" y="412122"/>
                  <a:pt x="487013" y="403275"/>
                </a:cubicBezTo>
                <a:cubicBezTo>
                  <a:pt x="460534" y="383420"/>
                  <a:pt x="424053" y="373469"/>
                  <a:pt x="377571" y="373403"/>
                </a:cubicBezTo>
                <a:cubicBezTo>
                  <a:pt x="333118" y="373403"/>
                  <a:pt x="299971" y="380034"/>
                  <a:pt x="278130" y="393286"/>
                </a:cubicBezTo>
                <a:cubicBezTo>
                  <a:pt x="258223" y="406415"/>
                  <a:pt x="246859" y="429161"/>
                  <a:pt x="248317" y="452935"/>
                </a:cubicBezTo>
                <a:cubicBezTo>
                  <a:pt x="248317" y="488259"/>
                  <a:pt x="305781" y="518074"/>
                  <a:pt x="420719" y="542362"/>
                </a:cubicBezTo>
                <a:cubicBezTo>
                  <a:pt x="432130" y="546148"/>
                  <a:pt x="443732" y="549325"/>
                  <a:pt x="455486" y="551875"/>
                </a:cubicBezTo>
                <a:cubicBezTo>
                  <a:pt x="464849" y="554073"/>
                  <a:pt x="474440" y="555186"/>
                  <a:pt x="484061" y="555205"/>
                </a:cubicBezTo>
                <a:cubicBezTo>
                  <a:pt x="596837" y="583935"/>
                  <a:pt x="675323" y="617042"/>
                  <a:pt x="719519" y="654525"/>
                </a:cubicBezTo>
                <a:cubicBezTo>
                  <a:pt x="761429" y="694292"/>
                  <a:pt x="782412" y="747282"/>
                  <a:pt x="782479" y="813495"/>
                </a:cubicBezTo>
                <a:cubicBezTo>
                  <a:pt x="782479" y="910723"/>
                  <a:pt x="747113" y="985784"/>
                  <a:pt x="676370" y="1038679"/>
                </a:cubicBezTo>
                <a:cubicBezTo>
                  <a:pt x="610076" y="1087321"/>
                  <a:pt x="510607" y="1111619"/>
                  <a:pt x="377952" y="1111552"/>
                </a:cubicBezTo>
                <a:cubicBezTo>
                  <a:pt x="251908" y="1111552"/>
                  <a:pt x="157953" y="1086180"/>
                  <a:pt x="96108" y="1035444"/>
                </a:cubicBezTo>
                <a:cubicBezTo>
                  <a:pt x="31975" y="984709"/>
                  <a:pt x="-67" y="910723"/>
                  <a:pt x="0" y="813495"/>
                </a:cubicBezTo>
                <a:lnTo>
                  <a:pt x="286" y="803982"/>
                </a:lnTo>
                <a:lnTo>
                  <a:pt x="225743" y="803982"/>
                </a:lnTo>
                <a:cubicBezTo>
                  <a:pt x="227933" y="848124"/>
                  <a:pt x="244793" y="881326"/>
                  <a:pt x="275463" y="903302"/>
                </a:cubicBezTo>
                <a:cubicBezTo>
                  <a:pt x="308610" y="925469"/>
                  <a:pt x="352806" y="936409"/>
                  <a:pt x="408051" y="936409"/>
                </a:cubicBezTo>
                <a:cubicBezTo>
                  <a:pt x="443742" y="937379"/>
                  <a:pt x="479108" y="929398"/>
                  <a:pt x="510921" y="913196"/>
                </a:cubicBezTo>
                <a:cubicBezTo>
                  <a:pt x="537400" y="897784"/>
                  <a:pt x="550640" y="876826"/>
                  <a:pt x="550640" y="850312"/>
                </a:cubicBezTo>
                <a:cubicBezTo>
                  <a:pt x="550640" y="810546"/>
                  <a:pt x="504225" y="780740"/>
                  <a:pt x="411385" y="760886"/>
                </a:cubicBezTo>
                <a:cubicBezTo>
                  <a:pt x="381095" y="756462"/>
                  <a:pt x="351168" y="749822"/>
                  <a:pt x="321850" y="741003"/>
                </a:cubicBezTo>
                <a:cubicBezTo>
                  <a:pt x="204692" y="712396"/>
                  <a:pt x="126235" y="678185"/>
                  <a:pt x="86487" y="638352"/>
                </a:cubicBezTo>
                <a:cubicBezTo>
                  <a:pt x="42034" y="598710"/>
                  <a:pt x="19812" y="545720"/>
                  <a:pt x="19812" y="479383"/>
                </a:cubicBezTo>
                <a:cubicBezTo>
                  <a:pt x="18298" y="398832"/>
                  <a:pt x="53693" y="322011"/>
                  <a:pt x="115919" y="270753"/>
                </a:cubicBezTo>
                <a:cubicBezTo>
                  <a:pt x="182213" y="220017"/>
                  <a:pt x="268415" y="194645"/>
                  <a:pt x="374523" y="194645"/>
                </a:cubicBezTo>
                <a:close/>
                <a:moveTo>
                  <a:pt x="2575750" y="0"/>
                </a:moveTo>
                <a:lnTo>
                  <a:pt x="2799779" y="0"/>
                </a:lnTo>
                <a:lnTo>
                  <a:pt x="2799779" y="221949"/>
                </a:lnTo>
                <a:lnTo>
                  <a:pt x="2958084" y="221949"/>
                </a:lnTo>
                <a:lnTo>
                  <a:pt x="2958084" y="420399"/>
                </a:lnTo>
                <a:lnTo>
                  <a:pt x="2800159" y="420399"/>
                </a:lnTo>
                <a:lnTo>
                  <a:pt x="2800159" y="728921"/>
                </a:lnTo>
                <a:cubicBezTo>
                  <a:pt x="2800159" y="789997"/>
                  <a:pt x="2814038" y="832969"/>
                  <a:pt x="2841784" y="857828"/>
                </a:cubicBezTo>
                <a:cubicBezTo>
                  <a:pt x="2869530" y="882687"/>
                  <a:pt x="2911697" y="893408"/>
                  <a:pt x="2968276" y="889984"/>
                </a:cubicBezTo>
                <a:lnTo>
                  <a:pt x="2968276" y="1093667"/>
                </a:lnTo>
                <a:cubicBezTo>
                  <a:pt x="2911317" y="1101116"/>
                  <a:pt x="2853443" y="1097111"/>
                  <a:pt x="2798064" y="1081870"/>
                </a:cubicBezTo>
                <a:cubicBezTo>
                  <a:pt x="2752011" y="1068675"/>
                  <a:pt x="2710006" y="1044178"/>
                  <a:pt x="2675858" y="1010614"/>
                </a:cubicBezTo>
                <a:cubicBezTo>
                  <a:pt x="2642092" y="976385"/>
                  <a:pt x="2616556" y="934944"/>
                  <a:pt x="2601183" y="889413"/>
                </a:cubicBezTo>
                <a:cubicBezTo>
                  <a:pt x="2583590" y="837336"/>
                  <a:pt x="2574998" y="782643"/>
                  <a:pt x="2575750" y="727684"/>
                </a:cubicBezTo>
                <a:close/>
                <a:moveTo>
                  <a:pt x="824770" y="0"/>
                </a:moveTo>
                <a:lnTo>
                  <a:pt x="1048893" y="0"/>
                </a:lnTo>
                <a:lnTo>
                  <a:pt x="1048893" y="221949"/>
                </a:lnTo>
                <a:lnTo>
                  <a:pt x="1206723" y="221949"/>
                </a:lnTo>
                <a:lnTo>
                  <a:pt x="1206723" y="420399"/>
                </a:lnTo>
                <a:lnTo>
                  <a:pt x="1048417" y="420399"/>
                </a:lnTo>
                <a:lnTo>
                  <a:pt x="1048417" y="728921"/>
                </a:lnTo>
                <a:cubicBezTo>
                  <a:pt x="1048417" y="789997"/>
                  <a:pt x="1062257" y="832969"/>
                  <a:pt x="1089946" y="857828"/>
                </a:cubicBezTo>
                <a:cubicBezTo>
                  <a:pt x="1117636" y="882687"/>
                  <a:pt x="1159955" y="893475"/>
                  <a:pt x="1216915" y="890174"/>
                </a:cubicBezTo>
                <a:lnTo>
                  <a:pt x="1216915" y="1093667"/>
                </a:lnTo>
                <a:cubicBezTo>
                  <a:pt x="1160117" y="1101068"/>
                  <a:pt x="1102405" y="1097054"/>
                  <a:pt x="1047179" y="1081870"/>
                </a:cubicBezTo>
                <a:cubicBezTo>
                  <a:pt x="1001116" y="1068694"/>
                  <a:pt x="959101" y="1044197"/>
                  <a:pt x="924973" y="1010614"/>
                </a:cubicBezTo>
                <a:cubicBezTo>
                  <a:pt x="891207" y="976366"/>
                  <a:pt x="865642" y="934935"/>
                  <a:pt x="850202" y="889413"/>
                </a:cubicBezTo>
                <a:cubicBezTo>
                  <a:pt x="832619" y="837336"/>
                  <a:pt x="824018" y="782643"/>
                  <a:pt x="824770" y="727684"/>
                </a:cubicBezTo>
                <a:close/>
              </a:path>
            </a:pathLst>
          </a:custGeom>
          <a:solidFill>
            <a:srgbClr val="002060"/>
          </a:solidFill>
          <a:ln w="9525" cap="flat">
            <a:noFill/>
            <a:prstDash val="solid"/>
            <a:miter/>
          </a:ln>
        </p:spPr>
        <p:txBody>
          <a:bodyPr rtlCol="0" anchor="ctr"/>
          <a:lstStyle/>
          <a:p>
            <a:endParaRPr lang="es-ES"/>
          </a:p>
        </p:txBody>
      </p:sp>
    </p:spTree>
    <p:extLst>
      <p:ext uri="{BB962C8B-B14F-4D97-AF65-F5344CB8AC3E}">
        <p14:creationId xmlns:p14="http://schemas.microsoft.com/office/powerpoint/2010/main" val="333671556"/>
      </p:ext>
    </p:extLst>
  </p:cSld>
  <p:clrMapOvr>
    <a:masterClrMapping/>
  </p:clrMapOvr>
  <p:transition spd="slow"/>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emplate Propuesta 2022 - Agradec">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C78DE340-0DE4-59B1-9282-F82989E873BA}"/>
              </a:ext>
            </a:extLst>
          </p:cNvPr>
          <p:cNvSpPr/>
          <p:nvPr userDrawn="1"/>
        </p:nvSpPr>
        <p:spPr bwMode="auto">
          <a:xfrm>
            <a:off x="0" y="0"/>
            <a:ext cx="12192000" cy="1362950"/>
          </a:xfrm>
          <a:prstGeom prst="rect">
            <a:avLst/>
          </a:prstGeom>
          <a:solidFill>
            <a:schemeClr val="bg1"/>
          </a:solidFill>
          <a:ln>
            <a:noFill/>
          </a:ln>
        </p:spPr>
        <p:txBody>
          <a:bodyPr lIns="0" tIns="0" rIns="0" bIns="0" rtlCol="0" anchor="ctr"/>
          <a:lstStyle/>
          <a:p>
            <a:pPr algn="ctr"/>
            <a:endParaRPr lang="en-US"/>
          </a:p>
        </p:txBody>
      </p:sp>
      <p:sp>
        <p:nvSpPr>
          <p:cNvPr id="4" name="CuadroTexto 3">
            <a:extLst>
              <a:ext uri="{FF2B5EF4-FFF2-40B4-BE49-F238E27FC236}">
                <a16:creationId xmlns:a16="http://schemas.microsoft.com/office/drawing/2014/main" id="{3DE11494-CA7D-D78B-E664-FA4442EB033B}"/>
              </a:ext>
            </a:extLst>
          </p:cNvPr>
          <p:cNvSpPr txBox="1"/>
          <p:nvPr userDrawn="1"/>
        </p:nvSpPr>
        <p:spPr>
          <a:xfrm>
            <a:off x="6375544" y="646866"/>
            <a:ext cx="2632559"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a:ln>
                  <a:noFill/>
                </a:ln>
                <a:solidFill>
                  <a:schemeClr val="tx2"/>
                </a:solidFill>
                <a:effectLst/>
                <a:uLnTx/>
                <a:uFillTx/>
                <a:ea typeface="+mn-ea"/>
                <a:cs typeface="+mn-cs"/>
              </a:rPr>
              <a:t>Stratesys </a:t>
            </a:r>
            <a:r>
              <a:rPr kumimoji="0" lang="en-US" sz="1100" b="1" i="0" u="none" strike="noStrike" kern="1200" cap="none" spc="0" normalizeH="0" baseline="0" noProof="0">
                <a:ln>
                  <a:noFill/>
                </a:ln>
                <a:solidFill>
                  <a:schemeClr val="tx2"/>
                </a:solidFill>
                <a:effectLst/>
                <a:uLnTx/>
                <a:uFillTx/>
                <a:ea typeface="+mn-ea"/>
                <a:cs typeface="+mn-cs"/>
              </a:rPr>
              <a:t>Technology Solu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a:ln>
                  <a:noFill/>
                </a:ln>
                <a:solidFill>
                  <a:schemeClr val="tx2"/>
                </a:solidFill>
                <a:effectLst/>
                <a:uLnTx/>
                <a:uFillTx/>
                <a:ea typeface="+mn-ea"/>
                <a:cs typeface="+mn-cs"/>
              </a:rPr>
              <a:t>C/ Torrelaguna 77, 28043 Madrid, España</a:t>
            </a:r>
          </a:p>
        </p:txBody>
      </p:sp>
      <p:cxnSp>
        <p:nvCxnSpPr>
          <p:cNvPr id="5" name="Conector recto 4">
            <a:extLst>
              <a:ext uri="{FF2B5EF4-FFF2-40B4-BE49-F238E27FC236}">
                <a16:creationId xmlns:a16="http://schemas.microsoft.com/office/drawing/2014/main" id="{0469F1A1-B05E-B00D-3D49-766EE7F98E90}"/>
              </a:ext>
            </a:extLst>
          </p:cNvPr>
          <p:cNvCxnSpPr>
            <a:cxnSpLocks/>
          </p:cNvCxnSpPr>
          <p:nvPr userDrawn="1"/>
        </p:nvCxnSpPr>
        <p:spPr>
          <a:xfrm>
            <a:off x="9008103" y="125506"/>
            <a:ext cx="0" cy="112955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Marcador de título 2">
            <a:extLst>
              <a:ext uri="{FF2B5EF4-FFF2-40B4-BE49-F238E27FC236}">
                <a16:creationId xmlns:a16="http://schemas.microsoft.com/office/drawing/2014/main" id="{D0E5C5DB-FD66-DAAD-362D-F5676D0C8701}"/>
              </a:ext>
            </a:extLst>
          </p:cNvPr>
          <p:cNvSpPr>
            <a:spLocks noGrp="1"/>
          </p:cNvSpPr>
          <p:nvPr>
            <p:ph type="title" hasCustomPrompt="1"/>
          </p:nvPr>
        </p:nvSpPr>
        <p:spPr>
          <a:xfrm>
            <a:off x="1219273" y="124288"/>
            <a:ext cx="4876726" cy="1085948"/>
          </a:xfrm>
          <a:prstGeom prst="rect">
            <a:avLst/>
          </a:prstGeom>
        </p:spPr>
        <p:txBody>
          <a:bodyPr vert="horz" lIns="0" tIns="45720" rIns="0" bIns="45720" rtlCol="0" anchor="ctr">
            <a:noAutofit/>
          </a:bodyPr>
          <a:lstStyle>
            <a:lvl1pPr>
              <a:defRPr sz="1800" b="1">
                <a:solidFill>
                  <a:schemeClr val="tx2"/>
                </a:solidFill>
                <a:latin typeface="+mj-lt"/>
              </a:defRPr>
            </a:lvl1pPr>
          </a:lstStyle>
          <a:p>
            <a:r>
              <a:rPr lang="es-ES_tradnl"/>
              <a:t>Nombre del Proyecto</a:t>
            </a:r>
            <a:endParaRPr lang="en-US"/>
          </a:p>
        </p:txBody>
      </p:sp>
      <p:sp>
        <p:nvSpPr>
          <p:cNvPr id="8" name="Forma libre 21">
            <a:extLst>
              <a:ext uri="{FF2B5EF4-FFF2-40B4-BE49-F238E27FC236}">
                <a16:creationId xmlns:a16="http://schemas.microsoft.com/office/drawing/2014/main" id="{DDDEC290-0C5F-4A20-3A83-3E683F363A1C}"/>
              </a:ext>
            </a:extLst>
          </p:cNvPr>
          <p:cNvSpPr/>
          <p:nvPr userDrawn="1"/>
        </p:nvSpPr>
        <p:spPr>
          <a:xfrm>
            <a:off x="6473897" y="239465"/>
            <a:ext cx="1056456" cy="243790"/>
          </a:xfrm>
          <a:custGeom>
            <a:avLst/>
            <a:gdLst>
              <a:gd name="connsiteX0" fmla="*/ 2305336 w 6124670"/>
              <a:gd name="connsiteY0" fmla="*/ 651766 h 1413343"/>
              <a:gd name="connsiteX1" fmla="*/ 2176082 w 6124670"/>
              <a:gd name="connsiteY1" fmla="*/ 694862 h 1413343"/>
              <a:gd name="connsiteX2" fmla="*/ 2099882 w 6124670"/>
              <a:gd name="connsiteY2" fmla="*/ 711416 h 1413343"/>
              <a:gd name="connsiteX3" fmla="*/ 2013681 w 6124670"/>
              <a:gd name="connsiteY3" fmla="*/ 754512 h 1413343"/>
              <a:gd name="connsiteX4" fmla="*/ 1990440 w 6124670"/>
              <a:gd name="connsiteY4" fmla="*/ 827385 h 1413343"/>
              <a:gd name="connsiteX5" fmla="*/ 2020348 w 6124670"/>
              <a:gd name="connsiteY5" fmla="*/ 906822 h 1413343"/>
              <a:gd name="connsiteX6" fmla="*/ 2106073 w 6124670"/>
              <a:gd name="connsiteY6" fmla="*/ 933269 h 1413343"/>
              <a:gd name="connsiteX7" fmla="*/ 2251900 w 6124670"/>
              <a:gd name="connsiteY7" fmla="*/ 880375 h 1413343"/>
              <a:gd name="connsiteX8" fmla="*/ 2304955 w 6124670"/>
              <a:gd name="connsiteY8" fmla="*/ 734629 h 1413343"/>
              <a:gd name="connsiteX9" fmla="*/ 3393473 w 6124670"/>
              <a:gd name="connsiteY9" fmla="*/ 386722 h 1413343"/>
              <a:gd name="connsiteX10" fmla="*/ 3274315 w 6124670"/>
              <a:gd name="connsiteY10" fmla="*/ 433052 h 1413343"/>
              <a:gd name="connsiteX11" fmla="*/ 3224404 w 6124670"/>
              <a:gd name="connsiteY11" fmla="*/ 565479 h 1413343"/>
              <a:gd name="connsiteX12" fmla="*/ 3562637 w 6124670"/>
              <a:gd name="connsiteY12" fmla="*/ 565479 h 1413343"/>
              <a:gd name="connsiteX13" fmla="*/ 3516155 w 6124670"/>
              <a:gd name="connsiteY13" fmla="*/ 433052 h 1413343"/>
              <a:gd name="connsiteX14" fmla="*/ 3393473 w 6124670"/>
              <a:gd name="connsiteY14" fmla="*/ 386722 h 1413343"/>
              <a:gd name="connsiteX15" fmla="*/ 4552474 w 6124670"/>
              <a:gd name="connsiteY15" fmla="*/ 214433 h 1413343"/>
              <a:gd name="connsiteX16" fmla="*/ 4807839 w 6124670"/>
              <a:gd name="connsiteY16" fmla="*/ 214433 h 1413343"/>
              <a:gd name="connsiteX17" fmla="*/ 4986910 w 6124670"/>
              <a:gd name="connsiteY17" fmla="*/ 837089 h 1413343"/>
              <a:gd name="connsiteX18" fmla="*/ 5142739 w 6124670"/>
              <a:gd name="connsiteY18" fmla="*/ 293966 h 1413343"/>
              <a:gd name="connsiteX19" fmla="*/ 5248847 w 6124670"/>
              <a:gd name="connsiteY19" fmla="*/ 214433 h 1413343"/>
              <a:gd name="connsiteX20" fmla="*/ 5407914 w 6124670"/>
              <a:gd name="connsiteY20" fmla="*/ 214433 h 1413343"/>
              <a:gd name="connsiteX21" fmla="*/ 5069681 w 6124670"/>
              <a:gd name="connsiteY21" fmla="*/ 1217912 h 1413343"/>
              <a:gd name="connsiteX22" fmla="*/ 4970146 w 6124670"/>
              <a:gd name="connsiteY22" fmla="*/ 1373552 h 1413343"/>
              <a:gd name="connsiteX23" fmla="*/ 4774597 w 6124670"/>
              <a:gd name="connsiteY23" fmla="*/ 1413318 h 1413343"/>
              <a:gd name="connsiteX24" fmla="*/ 4751737 w 6124670"/>
              <a:gd name="connsiteY24" fmla="*/ 1413318 h 1413343"/>
              <a:gd name="connsiteX25" fmla="*/ 4677918 w 6124670"/>
              <a:gd name="connsiteY25" fmla="*/ 1412558 h 1413343"/>
              <a:gd name="connsiteX26" fmla="*/ 4677918 w 6124670"/>
              <a:gd name="connsiteY26" fmla="*/ 1224572 h 1413343"/>
              <a:gd name="connsiteX27" fmla="*/ 4741164 w 6124670"/>
              <a:gd name="connsiteY27" fmla="*/ 1224572 h 1413343"/>
              <a:gd name="connsiteX28" fmla="*/ 4845939 w 6124670"/>
              <a:gd name="connsiteY28" fmla="*/ 1193082 h 1413343"/>
              <a:gd name="connsiteX29" fmla="*/ 4860893 w 6124670"/>
              <a:gd name="connsiteY29" fmla="*/ 1092050 h 1413343"/>
              <a:gd name="connsiteX30" fmla="*/ 1721739 w 6124670"/>
              <a:gd name="connsiteY30" fmla="*/ 214433 h 1413343"/>
              <a:gd name="connsiteX31" fmla="*/ 1754982 w 6124670"/>
              <a:gd name="connsiteY31" fmla="*/ 214433 h 1413343"/>
              <a:gd name="connsiteX32" fmla="*/ 1754982 w 6124670"/>
              <a:gd name="connsiteY32" fmla="*/ 449605 h 1413343"/>
              <a:gd name="connsiteX33" fmla="*/ 1678782 w 6124670"/>
              <a:gd name="connsiteY33" fmla="*/ 449605 h 1413343"/>
              <a:gd name="connsiteX34" fmla="*/ 1535907 w 6124670"/>
              <a:gd name="connsiteY34" fmla="*/ 495936 h 1413343"/>
              <a:gd name="connsiteX35" fmla="*/ 1489520 w 6124670"/>
              <a:gd name="connsiteY35" fmla="*/ 641682 h 1413343"/>
              <a:gd name="connsiteX36" fmla="*/ 1489520 w 6124670"/>
              <a:gd name="connsiteY36" fmla="*/ 1095379 h 1413343"/>
              <a:gd name="connsiteX37" fmla="*/ 1257205 w 6124670"/>
              <a:gd name="connsiteY37" fmla="*/ 1095379 h 1413343"/>
              <a:gd name="connsiteX38" fmla="*/ 1257205 w 6124670"/>
              <a:gd name="connsiteY38" fmla="*/ 668225 h 1413343"/>
              <a:gd name="connsiteX39" fmla="*/ 1295305 w 6124670"/>
              <a:gd name="connsiteY39" fmla="*/ 451223 h 1413343"/>
              <a:gd name="connsiteX40" fmla="*/ 1400080 w 6124670"/>
              <a:gd name="connsiteY40" fmla="*/ 310519 h 1413343"/>
              <a:gd name="connsiteX41" fmla="*/ 1547622 w 6124670"/>
              <a:gd name="connsiteY41" fmla="*/ 237646 h 1413343"/>
              <a:gd name="connsiteX42" fmla="*/ 1721739 w 6124670"/>
              <a:gd name="connsiteY42" fmla="*/ 214433 h 1413343"/>
              <a:gd name="connsiteX43" fmla="*/ 5716715 w 6124670"/>
              <a:gd name="connsiteY43" fmla="*/ 194645 h 1413343"/>
              <a:gd name="connsiteX44" fmla="*/ 5991892 w 6124670"/>
              <a:gd name="connsiteY44" fmla="*/ 270753 h 1413343"/>
              <a:gd name="connsiteX45" fmla="*/ 6094762 w 6124670"/>
              <a:gd name="connsiteY45" fmla="*/ 486042 h 1413343"/>
              <a:gd name="connsiteX46" fmla="*/ 5951887 w 6124670"/>
              <a:gd name="connsiteY46" fmla="*/ 486042 h 1413343"/>
              <a:gd name="connsiteX47" fmla="*/ 5855684 w 6124670"/>
              <a:gd name="connsiteY47" fmla="*/ 429722 h 1413343"/>
              <a:gd name="connsiteX48" fmla="*/ 5829205 w 6124670"/>
              <a:gd name="connsiteY48" fmla="*/ 403275 h 1413343"/>
              <a:gd name="connsiteX49" fmla="*/ 5719762 w 6124670"/>
              <a:gd name="connsiteY49" fmla="*/ 373403 h 1413343"/>
              <a:gd name="connsiteX50" fmla="*/ 5620322 w 6124670"/>
              <a:gd name="connsiteY50" fmla="*/ 393286 h 1413343"/>
              <a:gd name="connsiteX51" fmla="*/ 5590413 w 6124670"/>
              <a:gd name="connsiteY51" fmla="*/ 452935 h 1413343"/>
              <a:gd name="connsiteX52" fmla="*/ 5762816 w 6124670"/>
              <a:gd name="connsiteY52" fmla="*/ 542362 h 1413343"/>
              <a:gd name="connsiteX53" fmla="*/ 5797678 w 6124670"/>
              <a:gd name="connsiteY53" fmla="*/ 551875 h 1413343"/>
              <a:gd name="connsiteX54" fmla="*/ 5826253 w 6124670"/>
              <a:gd name="connsiteY54" fmla="*/ 555205 h 1413343"/>
              <a:gd name="connsiteX55" fmla="*/ 6061615 w 6124670"/>
              <a:gd name="connsiteY55" fmla="*/ 654525 h 1413343"/>
              <a:gd name="connsiteX56" fmla="*/ 6124670 w 6124670"/>
              <a:gd name="connsiteY56" fmla="*/ 813495 h 1413343"/>
              <a:gd name="connsiteX57" fmla="*/ 6018562 w 6124670"/>
              <a:gd name="connsiteY57" fmla="*/ 1038679 h 1413343"/>
              <a:gd name="connsiteX58" fmla="*/ 5720144 w 6124670"/>
              <a:gd name="connsiteY58" fmla="*/ 1111552 h 1413343"/>
              <a:gd name="connsiteX59" fmla="*/ 5438298 w 6124670"/>
              <a:gd name="connsiteY59" fmla="*/ 1035444 h 1413343"/>
              <a:gd name="connsiteX60" fmla="*/ 5342096 w 6124670"/>
              <a:gd name="connsiteY60" fmla="*/ 813495 h 1413343"/>
              <a:gd name="connsiteX61" fmla="*/ 5342287 w 6124670"/>
              <a:gd name="connsiteY61" fmla="*/ 803982 h 1413343"/>
              <a:gd name="connsiteX62" fmla="*/ 5567839 w 6124670"/>
              <a:gd name="connsiteY62" fmla="*/ 803982 h 1413343"/>
              <a:gd name="connsiteX63" fmla="*/ 5617559 w 6124670"/>
              <a:gd name="connsiteY63" fmla="*/ 903302 h 1413343"/>
              <a:gd name="connsiteX64" fmla="*/ 5750148 w 6124670"/>
              <a:gd name="connsiteY64" fmla="*/ 936409 h 1413343"/>
              <a:gd name="connsiteX65" fmla="*/ 5852922 w 6124670"/>
              <a:gd name="connsiteY65" fmla="*/ 913196 h 1413343"/>
              <a:gd name="connsiteX66" fmla="*/ 5892737 w 6124670"/>
              <a:gd name="connsiteY66" fmla="*/ 850312 h 1413343"/>
              <a:gd name="connsiteX67" fmla="*/ 5753481 w 6124670"/>
              <a:gd name="connsiteY67" fmla="*/ 760886 h 1413343"/>
              <a:gd name="connsiteX68" fmla="*/ 5663946 w 6124670"/>
              <a:gd name="connsiteY68" fmla="*/ 741003 h 1413343"/>
              <a:gd name="connsiteX69" fmla="*/ 5428584 w 6124670"/>
              <a:gd name="connsiteY69" fmla="*/ 638352 h 1413343"/>
              <a:gd name="connsiteX70" fmla="*/ 5361909 w 6124670"/>
              <a:gd name="connsiteY70" fmla="*/ 479383 h 1413343"/>
              <a:gd name="connsiteX71" fmla="*/ 5458111 w 6124670"/>
              <a:gd name="connsiteY71" fmla="*/ 270753 h 1413343"/>
              <a:gd name="connsiteX72" fmla="*/ 5716715 w 6124670"/>
              <a:gd name="connsiteY72" fmla="*/ 194645 h 1413343"/>
              <a:gd name="connsiteX73" fmla="*/ 4192239 w 6124670"/>
              <a:gd name="connsiteY73" fmla="*/ 194645 h 1413343"/>
              <a:gd name="connsiteX74" fmla="*/ 4467416 w 6124670"/>
              <a:gd name="connsiteY74" fmla="*/ 270753 h 1413343"/>
              <a:gd name="connsiteX75" fmla="*/ 4570190 w 6124670"/>
              <a:gd name="connsiteY75" fmla="*/ 486042 h 1413343"/>
              <a:gd name="connsiteX76" fmla="*/ 4427315 w 6124670"/>
              <a:gd name="connsiteY76" fmla="*/ 486042 h 1413343"/>
              <a:gd name="connsiteX77" fmla="*/ 4331589 w 6124670"/>
              <a:gd name="connsiteY77" fmla="*/ 429722 h 1413343"/>
              <a:gd name="connsiteX78" fmla="*/ 4305015 w 6124670"/>
              <a:gd name="connsiteY78" fmla="*/ 403275 h 1413343"/>
              <a:gd name="connsiteX79" fmla="*/ 4195667 w 6124670"/>
              <a:gd name="connsiteY79" fmla="*/ 373403 h 1413343"/>
              <a:gd name="connsiteX80" fmla="*/ 4096132 w 6124670"/>
              <a:gd name="connsiteY80" fmla="*/ 393286 h 1413343"/>
              <a:gd name="connsiteX81" fmla="*/ 4066318 w 6124670"/>
              <a:gd name="connsiteY81" fmla="*/ 452935 h 1413343"/>
              <a:gd name="connsiteX82" fmla="*/ 4238721 w 6124670"/>
              <a:gd name="connsiteY82" fmla="*/ 542362 h 1413343"/>
              <a:gd name="connsiteX83" fmla="*/ 4273582 w 6124670"/>
              <a:gd name="connsiteY83" fmla="*/ 551875 h 1413343"/>
              <a:gd name="connsiteX84" fmla="*/ 4301681 w 6124670"/>
              <a:gd name="connsiteY84" fmla="*/ 555205 h 1413343"/>
              <a:gd name="connsiteX85" fmla="*/ 4537139 w 6124670"/>
              <a:gd name="connsiteY85" fmla="*/ 654525 h 1413343"/>
              <a:gd name="connsiteX86" fmla="*/ 4600099 w 6124670"/>
              <a:gd name="connsiteY86" fmla="*/ 813495 h 1413343"/>
              <a:gd name="connsiteX87" fmla="*/ 4494086 w 6124670"/>
              <a:gd name="connsiteY87" fmla="*/ 1038679 h 1413343"/>
              <a:gd name="connsiteX88" fmla="*/ 4195667 w 6124670"/>
              <a:gd name="connsiteY88" fmla="*/ 1111552 h 1413343"/>
              <a:gd name="connsiteX89" fmla="*/ 3913823 w 6124670"/>
              <a:gd name="connsiteY89" fmla="*/ 1035444 h 1413343"/>
              <a:gd name="connsiteX90" fmla="*/ 3817620 w 6124670"/>
              <a:gd name="connsiteY90" fmla="*/ 813495 h 1413343"/>
              <a:gd name="connsiteX91" fmla="*/ 3817906 w 6124670"/>
              <a:gd name="connsiteY91" fmla="*/ 803982 h 1413343"/>
              <a:gd name="connsiteX92" fmla="*/ 4043363 w 6124670"/>
              <a:gd name="connsiteY92" fmla="*/ 803982 h 1413343"/>
              <a:gd name="connsiteX93" fmla="*/ 4093084 w 6124670"/>
              <a:gd name="connsiteY93" fmla="*/ 903302 h 1413343"/>
              <a:gd name="connsiteX94" fmla="*/ 4225767 w 6124670"/>
              <a:gd name="connsiteY94" fmla="*/ 936409 h 1413343"/>
              <a:gd name="connsiteX95" fmla="*/ 4328541 w 6124670"/>
              <a:gd name="connsiteY95" fmla="*/ 913196 h 1413343"/>
              <a:gd name="connsiteX96" fmla="*/ 4368356 w 6124670"/>
              <a:gd name="connsiteY96" fmla="*/ 850312 h 1413343"/>
              <a:gd name="connsiteX97" fmla="*/ 4229100 w 6124670"/>
              <a:gd name="connsiteY97" fmla="*/ 760886 h 1413343"/>
              <a:gd name="connsiteX98" fmla="*/ 4139566 w 6124670"/>
              <a:gd name="connsiteY98" fmla="*/ 741003 h 1413343"/>
              <a:gd name="connsiteX99" fmla="*/ 3904107 w 6124670"/>
              <a:gd name="connsiteY99" fmla="*/ 638352 h 1413343"/>
              <a:gd name="connsiteX100" fmla="*/ 3837432 w 6124670"/>
              <a:gd name="connsiteY100" fmla="*/ 479383 h 1413343"/>
              <a:gd name="connsiteX101" fmla="*/ 3933540 w 6124670"/>
              <a:gd name="connsiteY101" fmla="*/ 270753 h 1413343"/>
              <a:gd name="connsiteX102" fmla="*/ 4192239 w 6124670"/>
              <a:gd name="connsiteY102" fmla="*/ 194645 h 1413343"/>
              <a:gd name="connsiteX103" fmla="*/ 3386901 w 6124670"/>
              <a:gd name="connsiteY103" fmla="*/ 194645 h 1413343"/>
              <a:gd name="connsiteX104" fmla="*/ 3695225 w 6124670"/>
              <a:gd name="connsiteY104" fmla="*/ 313849 h 1413343"/>
              <a:gd name="connsiteX105" fmla="*/ 3801333 w 6124670"/>
              <a:gd name="connsiteY105" fmla="*/ 654906 h 1413343"/>
              <a:gd name="connsiteX106" fmla="*/ 3801333 w 6124670"/>
              <a:gd name="connsiteY106" fmla="*/ 691342 h 1413343"/>
              <a:gd name="connsiteX107" fmla="*/ 3797999 w 6124670"/>
              <a:gd name="connsiteY107" fmla="*/ 714555 h 1413343"/>
              <a:gd name="connsiteX108" fmla="*/ 3224404 w 6124670"/>
              <a:gd name="connsiteY108" fmla="*/ 714555 h 1413343"/>
              <a:gd name="connsiteX109" fmla="*/ 3274124 w 6124670"/>
              <a:gd name="connsiteY109" fmla="*/ 866771 h 1413343"/>
              <a:gd name="connsiteX110" fmla="*/ 3403474 w 6124670"/>
              <a:gd name="connsiteY110" fmla="*/ 919761 h 1413343"/>
              <a:gd name="connsiteX111" fmla="*/ 3499581 w 6124670"/>
              <a:gd name="connsiteY111" fmla="*/ 896643 h 1413343"/>
              <a:gd name="connsiteX112" fmla="*/ 3517869 w 6124670"/>
              <a:gd name="connsiteY112" fmla="*/ 885036 h 1413343"/>
              <a:gd name="connsiteX113" fmla="*/ 3536062 w 6124670"/>
              <a:gd name="connsiteY113" fmla="*/ 866771 h 1413343"/>
              <a:gd name="connsiteX114" fmla="*/ 3560923 w 6124670"/>
              <a:gd name="connsiteY114" fmla="*/ 840323 h 1413343"/>
              <a:gd name="connsiteX115" fmla="*/ 3622264 w 6124670"/>
              <a:gd name="connsiteY115" fmla="*/ 823865 h 1413343"/>
              <a:gd name="connsiteX116" fmla="*/ 3788094 w 6124670"/>
              <a:gd name="connsiteY116" fmla="*/ 823865 h 1413343"/>
              <a:gd name="connsiteX117" fmla="*/ 3648838 w 6124670"/>
              <a:gd name="connsiteY117" fmla="*/ 1035825 h 1413343"/>
              <a:gd name="connsiteX118" fmla="*/ 3390139 w 6124670"/>
              <a:gd name="connsiteY118" fmla="*/ 1111932 h 1413343"/>
              <a:gd name="connsiteX119" fmla="*/ 3094864 w 6124670"/>
              <a:gd name="connsiteY119" fmla="*/ 989399 h 1413343"/>
              <a:gd name="connsiteX120" fmla="*/ 2988851 w 6124670"/>
              <a:gd name="connsiteY120" fmla="*/ 648342 h 1413343"/>
              <a:gd name="connsiteX121" fmla="*/ 3091626 w 6124670"/>
              <a:gd name="connsiteY121" fmla="*/ 317178 h 1413343"/>
              <a:gd name="connsiteX122" fmla="*/ 3386901 w 6124670"/>
              <a:gd name="connsiteY122" fmla="*/ 194645 h 1413343"/>
              <a:gd name="connsiteX123" fmla="*/ 2146078 w 6124670"/>
              <a:gd name="connsiteY123" fmla="*/ 194645 h 1413343"/>
              <a:gd name="connsiteX124" fmla="*/ 2424684 w 6124670"/>
              <a:gd name="connsiteY124" fmla="*/ 257529 h 1413343"/>
              <a:gd name="connsiteX125" fmla="*/ 2520792 w 6124670"/>
              <a:gd name="connsiteY125" fmla="*/ 442946 h 1413343"/>
              <a:gd name="connsiteX126" fmla="*/ 2520792 w 6124670"/>
              <a:gd name="connsiteY126" fmla="*/ 744332 h 1413343"/>
              <a:gd name="connsiteX127" fmla="*/ 2473167 w 6124670"/>
              <a:gd name="connsiteY127" fmla="*/ 951345 h 1413343"/>
              <a:gd name="connsiteX128" fmla="*/ 2358391 w 6124670"/>
              <a:gd name="connsiteY128" fmla="*/ 1059133 h 1413343"/>
              <a:gd name="connsiteX129" fmla="*/ 2210848 w 6124670"/>
              <a:gd name="connsiteY129" fmla="*/ 1103846 h 1413343"/>
              <a:gd name="connsiteX130" fmla="*/ 2073307 w 6124670"/>
              <a:gd name="connsiteY130" fmla="*/ 1112123 h 1413343"/>
              <a:gd name="connsiteX131" fmla="*/ 1864614 w 6124670"/>
              <a:gd name="connsiteY131" fmla="*/ 1047336 h 1413343"/>
              <a:gd name="connsiteX132" fmla="*/ 1775079 w 6124670"/>
              <a:gd name="connsiteY132" fmla="*/ 833759 h 1413343"/>
              <a:gd name="connsiteX133" fmla="*/ 1856328 w 6124670"/>
              <a:gd name="connsiteY133" fmla="*/ 635023 h 1413343"/>
              <a:gd name="connsiteX134" fmla="*/ 2063496 w 6124670"/>
              <a:gd name="connsiteY134" fmla="*/ 555586 h 1413343"/>
              <a:gd name="connsiteX135" fmla="*/ 2103311 w 6124670"/>
              <a:gd name="connsiteY135" fmla="*/ 550638 h 1413343"/>
              <a:gd name="connsiteX136" fmla="*/ 2156365 w 6124670"/>
              <a:gd name="connsiteY136" fmla="*/ 542362 h 1413343"/>
              <a:gd name="connsiteX137" fmla="*/ 2302288 w 6124670"/>
              <a:gd name="connsiteY137" fmla="*/ 456265 h 1413343"/>
              <a:gd name="connsiteX138" fmla="*/ 2250853 w 6124670"/>
              <a:gd name="connsiteY138" fmla="*/ 391669 h 1413343"/>
              <a:gd name="connsiteX139" fmla="*/ 2156365 w 6124670"/>
              <a:gd name="connsiteY139" fmla="*/ 376732 h 1413343"/>
              <a:gd name="connsiteX140" fmla="*/ 2073497 w 6124670"/>
              <a:gd name="connsiteY140" fmla="*/ 389956 h 1413343"/>
              <a:gd name="connsiteX141" fmla="*/ 2020443 w 6124670"/>
              <a:gd name="connsiteY141" fmla="*/ 439712 h 1413343"/>
              <a:gd name="connsiteX142" fmla="*/ 1797939 w 6124670"/>
              <a:gd name="connsiteY142" fmla="*/ 439712 h 1413343"/>
              <a:gd name="connsiteX143" fmla="*/ 1890808 w 6124670"/>
              <a:gd name="connsiteY143" fmla="*/ 270753 h 1413343"/>
              <a:gd name="connsiteX144" fmla="*/ 2146078 w 6124670"/>
              <a:gd name="connsiteY144" fmla="*/ 194645 h 1413343"/>
              <a:gd name="connsiteX145" fmla="*/ 374523 w 6124670"/>
              <a:gd name="connsiteY145" fmla="*/ 194645 h 1413343"/>
              <a:gd name="connsiteX146" fmla="*/ 649796 w 6124670"/>
              <a:gd name="connsiteY146" fmla="*/ 270753 h 1413343"/>
              <a:gd name="connsiteX147" fmla="*/ 752570 w 6124670"/>
              <a:gd name="connsiteY147" fmla="*/ 486042 h 1413343"/>
              <a:gd name="connsiteX148" fmla="*/ 609695 w 6124670"/>
              <a:gd name="connsiteY148" fmla="*/ 486042 h 1413343"/>
              <a:gd name="connsiteX149" fmla="*/ 513493 w 6124670"/>
              <a:gd name="connsiteY149" fmla="*/ 429722 h 1413343"/>
              <a:gd name="connsiteX150" fmla="*/ 487013 w 6124670"/>
              <a:gd name="connsiteY150" fmla="*/ 403275 h 1413343"/>
              <a:gd name="connsiteX151" fmla="*/ 377571 w 6124670"/>
              <a:gd name="connsiteY151" fmla="*/ 373403 h 1413343"/>
              <a:gd name="connsiteX152" fmla="*/ 278130 w 6124670"/>
              <a:gd name="connsiteY152" fmla="*/ 393286 h 1413343"/>
              <a:gd name="connsiteX153" fmla="*/ 248317 w 6124670"/>
              <a:gd name="connsiteY153" fmla="*/ 452935 h 1413343"/>
              <a:gd name="connsiteX154" fmla="*/ 420719 w 6124670"/>
              <a:gd name="connsiteY154" fmla="*/ 542362 h 1413343"/>
              <a:gd name="connsiteX155" fmla="*/ 455486 w 6124670"/>
              <a:gd name="connsiteY155" fmla="*/ 551875 h 1413343"/>
              <a:gd name="connsiteX156" fmla="*/ 484061 w 6124670"/>
              <a:gd name="connsiteY156" fmla="*/ 555205 h 1413343"/>
              <a:gd name="connsiteX157" fmla="*/ 719519 w 6124670"/>
              <a:gd name="connsiteY157" fmla="*/ 654525 h 1413343"/>
              <a:gd name="connsiteX158" fmla="*/ 782479 w 6124670"/>
              <a:gd name="connsiteY158" fmla="*/ 813495 h 1413343"/>
              <a:gd name="connsiteX159" fmla="*/ 676370 w 6124670"/>
              <a:gd name="connsiteY159" fmla="*/ 1038679 h 1413343"/>
              <a:gd name="connsiteX160" fmla="*/ 377952 w 6124670"/>
              <a:gd name="connsiteY160" fmla="*/ 1111552 h 1413343"/>
              <a:gd name="connsiteX161" fmla="*/ 96108 w 6124670"/>
              <a:gd name="connsiteY161" fmla="*/ 1035444 h 1413343"/>
              <a:gd name="connsiteX162" fmla="*/ 0 w 6124670"/>
              <a:gd name="connsiteY162" fmla="*/ 813495 h 1413343"/>
              <a:gd name="connsiteX163" fmla="*/ 286 w 6124670"/>
              <a:gd name="connsiteY163" fmla="*/ 803982 h 1413343"/>
              <a:gd name="connsiteX164" fmla="*/ 225743 w 6124670"/>
              <a:gd name="connsiteY164" fmla="*/ 803982 h 1413343"/>
              <a:gd name="connsiteX165" fmla="*/ 275463 w 6124670"/>
              <a:gd name="connsiteY165" fmla="*/ 903302 h 1413343"/>
              <a:gd name="connsiteX166" fmla="*/ 408051 w 6124670"/>
              <a:gd name="connsiteY166" fmla="*/ 936409 h 1413343"/>
              <a:gd name="connsiteX167" fmla="*/ 510921 w 6124670"/>
              <a:gd name="connsiteY167" fmla="*/ 913196 h 1413343"/>
              <a:gd name="connsiteX168" fmla="*/ 550640 w 6124670"/>
              <a:gd name="connsiteY168" fmla="*/ 850312 h 1413343"/>
              <a:gd name="connsiteX169" fmla="*/ 411385 w 6124670"/>
              <a:gd name="connsiteY169" fmla="*/ 760886 h 1413343"/>
              <a:gd name="connsiteX170" fmla="*/ 321850 w 6124670"/>
              <a:gd name="connsiteY170" fmla="*/ 741003 h 1413343"/>
              <a:gd name="connsiteX171" fmla="*/ 86487 w 6124670"/>
              <a:gd name="connsiteY171" fmla="*/ 638352 h 1413343"/>
              <a:gd name="connsiteX172" fmla="*/ 19812 w 6124670"/>
              <a:gd name="connsiteY172" fmla="*/ 479383 h 1413343"/>
              <a:gd name="connsiteX173" fmla="*/ 115919 w 6124670"/>
              <a:gd name="connsiteY173" fmla="*/ 270753 h 1413343"/>
              <a:gd name="connsiteX174" fmla="*/ 374523 w 6124670"/>
              <a:gd name="connsiteY174" fmla="*/ 194645 h 1413343"/>
              <a:gd name="connsiteX175" fmla="*/ 2575750 w 6124670"/>
              <a:gd name="connsiteY175" fmla="*/ 0 h 1413343"/>
              <a:gd name="connsiteX176" fmla="*/ 2799779 w 6124670"/>
              <a:gd name="connsiteY176" fmla="*/ 0 h 1413343"/>
              <a:gd name="connsiteX177" fmla="*/ 2799779 w 6124670"/>
              <a:gd name="connsiteY177" fmla="*/ 221949 h 1413343"/>
              <a:gd name="connsiteX178" fmla="*/ 2958084 w 6124670"/>
              <a:gd name="connsiteY178" fmla="*/ 221949 h 1413343"/>
              <a:gd name="connsiteX179" fmla="*/ 2958084 w 6124670"/>
              <a:gd name="connsiteY179" fmla="*/ 420399 h 1413343"/>
              <a:gd name="connsiteX180" fmla="*/ 2800159 w 6124670"/>
              <a:gd name="connsiteY180" fmla="*/ 420399 h 1413343"/>
              <a:gd name="connsiteX181" fmla="*/ 2800159 w 6124670"/>
              <a:gd name="connsiteY181" fmla="*/ 728921 h 1413343"/>
              <a:gd name="connsiteX182" fmla="*/ 2841784 w 6124670"/>
              <a:gd name="connsiteY182" fmla="*/ 857828 h 1413343"/>
              <a:gd name="connsiteX183" fmla="*/ 2968276 w 6124670"/>
              <a:gd name="connsiteY183" fmla="*/ 889984 h 1413343"/>
              <a:gd name="connsiteX184" fmla="*/ 2968276 w 6124670"/>
              <a:gd name="connsiteY184" fmla="*/ 1093667 h 1413343"/>
              <a:gd name="connsiteX185" fmla="*/ 2798064 w 6124670"/>
              <a:gd name="connsiteY185" fmla="*/ 1081870 h 1413343"/>
              <a:gd name="connsiteX186" fmla="*/ 2675858 w 6124670"/>
              <a:gd name="connsiteY186" fmla="*/ 1010614 h 1413343"/>
              <a:gd name="connsiteX187" fmla="*/ 2601183 w 6124670"/>
              <a:gd name="connsiteY187" fmla="*/ 889413 h 1413343"/>
              <a:gd name="connsiteX188" fmla="*/ 2575750 w 6124670"/>
              <a:gd name="connsiteY188" fmla="*/ 727684 h 1413343"/>
              <a:gd name="connsiteX189" fmla="*/ 824770 w 6124670"/>
              <a:gd name="connsiteY189" fmla="*/ 0 h 1413343"/>
              <a:gd name="connsiteX190" fmla="*/ 1048893 w 6124670"/>
              <a:gd name="connsiteY190" fmla="*/ 0 h 1413343"/>
              <a:gd name="connsiteX191" fmla="*/ 1048893 w 6124670"/>
              <a:gd name="connsiteY191" fmla="*/ 221949 h 1413343"/>
              <a:gd name="connsiteX192" fmla="*/ 1206723 w 6124670"/>
              <a:gd name="connsiteY192" fmla="*/ 221949 h 1413343"/>
              <a:gd name="connsiteX193" fmla="*/ 1206723 w 6124670"/>
              <a:gd name="connsiteY193" fmla="*/ 420399 h 1413343"/>
              <a:gd name="connsiteX194" fmla="*/ 1048417 w 6124670"/>
              <a:gd name="connsiteY194" fmla="*/ 420399 h 1413343"/>
              <a:gd name="connsiteX195" fmla="*/ 1048417 w 6124670"/>
              <a:gd name="connsiteY195" fmla="*/ 728921 h 1413343"/>
              <a:gd name="connsiteX196" fmla="*/ 1089946 w 6124670"/>
              <a:gd name="connsiteY196" fmla="*/ 857828 h 1413343"/>
              <a:gd name="connsiteX197" fmla="*/ 1216915 w 6124670"/>
              <a:gd name="connsiteY197" fmla="*/ 890174 h 1413343"/>
              <a:gd name="connsiteX198" fmla="*/ 1216915 w 6124670"/>
              <a:gd name="connsiteY198" fmla="*/ 1093667 h 1413343"/>
              <a:gd name="connsiteX199" fmla="*/ 1047179 w 6124670"/>
              <a:gd name="connsiteY199" fmla="*/ 1081870 h 1413343"/>
              <a:gd name="connsiteX200" fmla="*/ 924973 w 6124670"/>
              <a:gd name="connsiteY200" fmla="*/ 1010614 h 1413343"/>
              <a:gd name="connsiteX201" fmla="*/ 850202 w 6124670"/>
              <a:gd name="connsiteY201" fmla="*/ 889413 h 1413343"/>
              <a:gd name="connsiteX202" fmla="*/ 824770 w 6124670"/>
              <a:gd name="connsiteY202" fmla="*/ 727684 h 1413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6124670" h="1413343">
                <a:moveTo>
                  <a:pt x="2305336" y="651766"/>
                </a:moveTo>
                <a:cubicBezTo>
                  <a:pt x="2263969" y="670831"/>
                  <a:pt x="2220620" y="685282"/>
                  <a:pt x="2176082" y="694862"/>
                </a:cubicBezTo>
                <a:lnTo>
                  <a:pt x="2099882" y="711416"/>
                </a:lnTo>
                <a:cubicBezTo>
                  <a:pt x="2060067" y="722547"/>
                  <a:pt x="2031397" y="736817"/>
                  <a:pt x="2013681" y="754512"/>
                </a:cubicBezTo>
                <a:cubicBezTo>
                  <a:pt x="1999060" y="776060"/>
                  <a:pt x="1990992" y="801366"/>
                  <a:pt x="1990440" y="827385"/>
                </a:cubicBezTo>
                <a:cubicBezTo>
                  <a:pt x="1989058" y="856848"/>
                  <a:pt x="1999869" y="885569"/>
                  <a:pt x="2020348" y="906822"/>
                </a:cubicBezTo>
                <a:cubicBezTo>
                  <a:pt x="2040255" y="924517"/>
                  <a:pt x="2068926" y="933269"/>
                  <a:pt x="2106073" y="933269"/>
                </a:cubicBezTo>
                <a:cubicBezTo>
                  <a:pt x="2167919" y="933269"/>
                  <a:pt x="2216535" y="915641"/>
                  <a:pt x="2251900" y="880375"/>
                </a:cubicBezTo>
                <a:cubicBezTo>
                  <a:pt x="2287267" y="845108"/>
                  <a:pt x="2304955" y="796533"/>
                  <a:pt x="2304955" y="734629"/>
                </a:cubicBezTo>
                <a:close/>
                <a:moveTo>
                  <a:pt x="3393473" y="386722"/>
                </a:moveTo>
                <a:cubicBezTo>
                  <a:pt x="3349077" y="385180"/>
                  <a:pt x="3305986" y="401934"/>
                  <a:pt x="3274315" y="433052"/>
                </a:cubicBezTo>
                <a:cubicBezTo>
                  <a:pt x="3243263" y="463999"/>
                  <a:pt x="3226623" y="508142"/>
                  <a:pt x="3224404" y="565479"/>
                </a:cubicBezTo>
                <a:lnTo>
                  <a:pt x="3562637" y="565479"/>
                </a:lnTo>
                <a:cubicBezTo>
                  <a:pt x="3558131" y="505925"/>
                  <a:pt x="3542634" y="461783"/>
                  <a:pt x="3516155" y="433052"/>
                </a:cubicBezTo>
                <a:cubicBezTo>
                  <a:pt x="3487513" y="402162"/>
                  <a:pt x="3446622" y="386722"/>
                  <a:pt x="3393473" y="386722"/>
                </a:cubicBezTo>
                <a:close/>
                <a:moveTo>
                  <a:pt x="4552474" y="214433"/>
                </a:moveTo>
                <a:lnTo>
                  <a:pt x="4807839" y="214433"/>
                </a:lnTo>
                <a:lnTo>
                  <a:pt x="4986910" y="837089"/>
                </a:lnTo>
                <a:lnTo>
                  <a:pt x="5142739" y="293966"/>
                </a:lnTo>
                <a:cubicBezTo>
                  <a:pt x="5155978" y="241004"/>
                  <a:pt x="5191411" y="214500"/>
                  <a:pt x="5248847" y="214433"/>
                </a:cubicBezTo>
                <a:lnTo>
                  <a:pt x="5407914" y="214433"/>
                </a:lnTo>
                <a:lnTo>
                  <a:pt x="5069681" y="1217912"/>
                </a:lnTo>
                <a:cubicBezTo>
                  <a:pt x="5043106" y="1290785"/>
                  <a:pt x="5009959" y="1342662"/>
                  <a:pt x="4970146" y="1373552"/>
                </a:cubicBezTo>
                <a:cubicBezTo>
                  <a:pt x="4930426" y="1400124"/>
                  <a:pt x="4865180" y="1413385"/>
                  <a:pt x="4774597" y="1413318"/>
                </a:cubicBezTo>
                <a:lnTo>
                  <a:pt x="4751737" y="1413318"/>
                </a:lnTo>
                <a:cubicBezTo>
                  <a:pt x="4742403" y="1413509"/>
                  <a:pt x="4684586" y="1412558"/>
                  <a:pt x="4677918" y="1412558"/>
                </a:cubicBezTo>
                <a:lnTo>
                  <a:pt x="4677918" y="1224572"/>
                </a:lnTo>
                <a:lnTo>
                  <a:pt x="4741164" y="1224572"/>
                </a:lnTo>
                <a:cubicBezTo>
                  <a:pt x="4785646" y="1224572"/>
                  <a:pt x="4820507" y="1214078"/>
                  <a:pt x="4845939" y="1193082"/>
                </a:cubicBezTo>
                <a:cubicBezTo>
                  <a:pt x="4871371" y="1172057"/>
                  <a:pt x="4876323" y="1138475"/>
                  <a:pt x="4860893" y="1092050"/>
                </a:cubicBezTo>
                <a:close/>
                <a:moveTo>
                  <a:pt x="1721739" y="214433"/>
                </a:moveTo>
                <a:lnTo>
                  <a:pt x="1754982" y="214433"/>
                </a:lnTo>
                <a:lnTo>
                  <a:pt x="1754982" y="449605"/>
                </a:lnTo>
                <a:lnTo>
                  <a:pt x="1678782" y="449605"/>
                </a:lnTo>
                <a:cubicBezTo>
                  <a:pt x="1614583" y="449605"/>
                  <a:pt x="1566958" y="465046"/>
                  <a:pt x="1535907" y="495936"/>
                </a:cubicBezTo>
                <a:cubicBezTo>
                  <a:pt x="1504855" y="526826"/>
                  <a:pt x="1489396" y="575402"/>
                  <a:pt x="1489520" y="641682"/>
                </a:cubicBezTo>
                <a:lnTo>
                  <a:pt x="1489520" y="1095379"/>
                </a:lnTo>
                <a:lnTo>
                  <a:pt x="1257205" y="1095379"/>
                </a:lnTo>
                <a:lnTo>
                  <a:pt x="1257205" y="668225"/>
                </a:lnTo>
                <a:cubicBezTo>
                  <a:pt x="1257205" y="582033"/>
                  <a:pt x="1269902" y="509702"/>
                  <a:pt x="1295305" y="451223"/>
                </a:cubicBezTo>
                <a:cubicBezTo>
                  <a:pt x="1318051" y="396397"/>
                  <a:pt x="1354046" y="348049"/>
                  <a:pt x="1400080" y="310519"/>
                </a:cubicBezTo>
                <a:cubicBezTo>
                  <a:pt x="1443829" y="276527"/>
                  <a:pt x="1494016" y="251735"/>
                  <a:pt x="1547622" y="237646"/>
                </a:cubicBezTo>
                <a:cubicBezTo>
                  <a:pt x="1604354" y="222148"/>
                  <a:pt x="1662923" y="214347"/>
                  <a:pt x="1721739" y="214433"/>
                </a:cubicBezTo>
                <a:close/>
                <a:moveTo>
                  <a:pt x="5716715" y="194645"/>
                </a:moveTo>
                <a:cubicBezTo>
                  <a:pt x="5831586" y="194645"/>
                  <a:pt x="5923312" y="220017"/>
                  <a:pt x="5991892" y="270753"/>
                </a:cubicBezTo>
                <a:cubicBezTo>
                  <a:pt x="6055995" y="326054"/>
                  <a:pt x="6090285" y="397824"/>
                  <a:pt x="6094762" y="486042"/>
                </a:cubicBezTo>
                <a:lnTo>
                  <a:pt x="5951887" y="486042"/>
                </a:lnTo>
                <a:cubicBezTo>
                  <a:pt x="5911691" y="487127"/>
                  <a:pt x="5874353" y="465284"/>
                  <a:pt x="5855684" y="429722"/>
                </a:cubicBezTo>
                <a:lnTo>
                  <a:pt x="5829205" y="403275"/>
                </a:lnTo>
                <a:cubicBezTo>
                  <a:pt x="5802630" y="383420"/>
                  <a:pt x="5766149" y="373469"/>
                  <a:pt x="5719762" y="373403"/>
                </a:cubicBezTo>
                <a:cubicBezTo>
                  <a:pt x="5675280" y="373403"/>
                  <a:pt x="5642134" y="380034"/>
                  <a:pt x="5620322" y="393286"/>
                </a:cubicBezTo>
                <a:cubicBezTo>
                  <a:pt x="5600414" y="406386"/>
                  <a:pt x="5588984" y="429142"/>
                  <a:pt x="5590413" y="452935"/>
                </a:cubicBezTo>
                <a:cubicBezTo>
                  <a:pt x="5590413" y="488259"/>
                  <a:pt x="5647848" y="518074"/>
                  <a:pt x="5762816" y="542362"/>
                </a:cubicBezTo>
                <a:cubicBezTo>
                  <a:pt x="5774245" y="546148"/>
                  <a:pt x="5785867" y="549325"/>
                  <a:pt x="5797678" y="551875"/>
                </a:cubicBezTo>
                <a:cubicBezTo>
                  <a:pt x="5807012" y="554073"/>
                  <a:pt x="5816632" y="555195"/>
                  <a:pt x="5826253" y="555205"/>
                </a:cubicBezTo>
                <a:cubicBezTo>
                  <a:pt x="5938933" y="583935"/>
                  <a:pt x="6017323" y="617042"/>
                  <a:pt x="6061615" y="654525"/>
                </a:cubicBezTo>
                <a:cubicBezTo>
                  <a:pt x="6103620" y="694292"/>
                  <a:pt x="6124575" y="747282"/>
                  <a:pt x="6124670" y="813495"/>
                </a:cubicBezTo>
                <a:cubicBezTo>
                  <a:pt x="6124670" y="910723"/>
                  <a:pt x="6089333" y="985784"/>
                  <a:pt x="6018562" y="1038679"/>
                </a:cubicBezTo>
                <a:cubicBezTo>
                  <a:pt x="5952268" y="1087321"/>
                  <a:pt x="5852826" y="1111619"/>
                  <a:pt x="5720144" y="1111552"/>
                </a:cubicBezTo>
                <a:cubicBezTo>
                  <a:pt x="5594128" y="1111552"/>
                  <a:pt x="5500117" y="1086180"/>
                  <a:pt x="5438298" y="1035444"/>
                </a:cubicBezTo>
                <a:cubicBezTo>
                  <a:pt x="5374195" y="984709"/>
                  <a:pt x="5342096" y="910723"/>
                  <a:pt x="5342096" y="813495"/>
                </a:cubicBezTo>
                <a:lnTo>
                  <a:pt x="5342287" y="803982"/>
                </a:lnTo>
                <a:lnTo>
                  <a:pt x="5567839" y="803982"/>
                </a:lnTo>
                <a:cubicBezTo>
                  <a:pt x="5569934" y="848124"/>
                  <a:pt x="5586889" y="881326"/>
                  <a:pt x="5617559" y="903302"/>
                </a:cubicBezTo>
                <a:cubicBezTo>
                  <a:pt x="5650706" y="925469"/>
                  <a:pt x="5694902" y="936409"/>
                  <a:pt x="5750148" y="936409"/>
                </a:cubicBezTo>
                <a:cubicBezTo>
                  <a:pt x="5785771" y="937379"/>
                  <a:pt x="5821109" y="929398"/>
                  <a:pt x="5852922" y="913196"/>
                </a:cubicBezTo>
                <a:cubicBezTo>
                  <a:pt x="5879497" y="897784"/>
                  <a:pt x="5892737" y="876826"/>
                  <a:pt x="5892737" y="850312"/>
                </a:cubicBezTo>
                <a:cubicBezTo>
                  <a:pt x="5892737" y="810546"/>
                  <a:pt x="5846350" y="780740"/>
                  <a:pt x="5753481" y="760886"/>
                </a:cubicBezTo>
                <a:cubicBezTo>
                  <a:pt x="5723191" y="756472"/>
                  <a:pt x="5693283" y="749831"/>
                  <a:pt x="5663946" y="741003"/>
                </a:cubicBezTo>
                <a:cubicBezTo>
                  <a:pt x="5546788" y="712396"/>
                  <a:pt x="5468302" y="678185"/>
                  <a:pt x="5428584" y="638352"/>
                </a:cubicBezTo>
                <a:cubicBezTo>
                  <a:pt x="5384102" y="598710"/>
                  <a:pt x="5361909" y="545720"/>
                  <a:pt x="5361909" y="479383"/>
                </a:cubicBezTo>
                <a:cubicBezTo>
                  <a:pt x="5360384" y="398813"/>
                  <a:pt x="5395817" y="321964"/>
                  <a:pt x="5458111" y="270753"/>
                </a:cubicBezTo>
                <a:cubicBezTo>
                  <a:pt x="5524405" y="220017"/>
                  <a:pt x="5610606" y="194645"/>
                  <a:pt x="5716715" y="194645"/>
                </a:cubicBezTo>
                <a:close/>
                <a:moveTo>
                  <a:pt x="4192239" y="194645"/>
                </a:moveTo>
                <a:cubicBezTo>
                  <a:pt x="4307110" y="194645"/>
                  <a:pt x="4398836" y="220017"/>
                  <a:pt x="4467416" y="270753"/>
                </a:cubicBezTo>
                <a:cubicBezTo>
                  <a:pt x="4531519" y="326054"/>
                  <a:pt x="4565809" y="397824"/>
                  <a:pt x="4570190" y="486042"/>
                </a:cubicBezTo>
                <a:lnTo>
                  <a:pt x="4427315" y="486042"/>
                </a:lnTo>
                <a:cubicBezTo>
                  <a:pt x="4387244" y="487098"/>
                  <a:pt x="4350087" y="465236"/>
                  <a:pt x="4331589" y="429722"/>
                </a:cubicBezTo>
                <a:lnTo>
                  <a:pt x="4305015" y="403275"/>
                </a:lnTo>
                <a:cubicBezTo>
                  <a:pt x="4278535" y="383420"/>
                  <a:pt x="4242083" y="373469"/>
                  <a:pt x="4195667" y="373403"/>
                </a:cubicBezTo>
                <a:cubicBezTo>
                  <a:pt x="4151214" y="373403"/>
                  <a:pt x="4118039" y="380034"/>
                  <a:pt x="4096132" y="393286"/>
                </a:cubicBezTo>
                <a:cubicBezTo>
                  <a:pt x="4076224" y="406415"/>
                  <a:pt x="4064861" y="429161"/>
                  <a:pt x="4066318" y="452935"/>
                </a:cubicBezTo>
                <a:cubicBezTo>
                  <a:pt x="4066318" y="488259"/>
                  <a:pt x="4123782" y="518074"/>
                  <a:pt x="4238721" y="542362"/>
                </a:cubicBezTo>
                <a:cubicBezTo>
                  <a:pt x="4250160" y="546167"/>
                  <a:pt x="4261799" y="549335"/>
                  <a:pt x="4273582" y="551875"/>
                </a:cubicBezTo>
                <a:cubicBezTo>
                  <a:pt x="4282793" y="554044"/>
                  <a:pt x="4292223" y="555157"/>
                  <a:pt x="4301681" y="555205"/>
                </a:cubicBezTo>
                <a:cubicBezTo>
                  <a:pt x="4414457" y="583935"/>
                  <a:pt x="4492943" y="617042"/>
                  <a:pt x="4537139" y="654525"/>
                </a:cubicBezTo>
                <a:cubicBezTo>
                  <a:pt x="4579144" y="694292"/>
                  <a:pt x="4600099" y="747282"/>
                  <a:pt x="4600099" y="813495"/>
                </a:cubicBezTo>
                <a:cubicBezTo>
                  <a:pt x="4600099" y="910723"/>
                  <a:pt x="4564761" y="985784"/>
                  <a:pt x="4494086" y="1038679"/>
                </a:cubicBezTo>
                <a:cubicBezTo>
                  <a:pt x="4427668" y="1087321"/>
                  <a:pt x="4328189" y="1111619"/>
                  <a:pt x="4195667" y="1111552"/>
                </a:cubicBezTo>
                <a:cubicBezTo>
                  <a:pt x="4069623" y="1111552"/>
                  <a:pt x="3975669" y="1086180"/>
                  <a:pt x="3913823" y="1035444"/>
                </a:cubicBezTo>
                <a:cubicBezTo>
                  <a:pt x="3849625" y="984709"/>
                  <a:pt x="3817554" y="910723"/>
                  <a:pt x="3817620" y="813495"/>
                </a:cubicBezTo>
                <a:lnTo>
                  <a:pt x="3817906" y="803982"/>
                </a:lnTo>
                <a:lnTo>
                  <a:pt x="4043363" y="803982"/>
                </a:lnTo>
                <a:cubicBezTo>
                  <a:pt x="4045553" y="848124"/>
                  <a:pt x="4062413" y="881326"/>
                  <a:pt x="4093084" y="903302"/>
                </a:cubicBezTo>
                <a:cubicBezTo>
                  <a:pt x="4126326" y="925469"/>
                  <a:pt x="4170522" y="936409"/>
                  <a:pt x="4225767" y="936409"/>
                </a:cubicBezTo>
                <a:cubicBezTo>
                  <a:pt x="4261428" y="937379"/>
                  <a:pt x="4296766" y="929398"/>
                  <a:pt x="4328541" y="913196"/>
                </a:cubicBezTo>
                <a:cubicBezTo>
                  <a:pt x="4355021" y="897784"/>
                  <a:pt x="4368356" y="876855"/>
                  <a:pt x="4368356" y="850312"/>
                </a:cubicBezTo>
                <a:cubicBezTo>
                  <a:pt x="4368356" y="810546"/>
                  <a:pt x="4321940" y="780740"/>
                  <a:pt x="4229100" y="760886"/>
                </a:cubicBezTo>
                <a:cubicBezTo>
                  <a:pt x="4198802" y="756472"/>
                  <a:pt x="4168874" y="749831"/>
                  <a:pt x="4139566" y="741003"/>
                </a:cubicBezTo>
                <a:cubicBezTo>
                  <a:pt x="4022284" y="712396"/>
                  <a:pt x="3943798" y="678185"/>
                  <a:pt x="3904107" y="638352"/>
                </a:cubicBezTo>
                <a:cubicBezTo>
                  <a:pt x="3859654" y="598710"/>
                  <a:pt x="3837432" y="545720"/>
                  <a:pt x="3837432" y="479383"/>
                </a:cubicBezTo>
                <a:cubicBezTo>
                  <a:pt x="3835918" y="398832"/>
                  <a:pt x="3871313" y="322011"/>
                  <a:pt x="3933540" y="270753"/>
                </a:cubicBezTo>
                <a:cubicBezTo>
                  <a:pt x="3999957" y="220017"/>
                  <a:pt x="4086197" y="194645"/>
                  <a:pt x="4192239" y="194645"/>
                </a:cubicBezTo>
                <a:close/>
                <a:moveTo>
                  <a:pt x="3386901" y="194645"/>
                </a:moveTo>
                <a:cubicBezTo>
                  <a:pt x="3519488" y="194645"/>
                  <a:pt x="3622264" y="234383"/>
                  <a:pt x="3695225" y="313849"/>
                </a:cubicBezTo>
                <a:cubicBezTo>
                  <a:pt x="3765967" y="395541"/>
                  <a:pt x="3801333" y="509226"/>
                  <a:pt x="3801333" y="654906"/>
                </a:cubicBezTo>
                <a:lnTo>
                  <a:pt x="3801333" y="691342"/>
                </a:lnTo>
                <a:cubicBezTo>
                  <a:pt x="3801838" y="699229"/>
                  <a:pt x="3800704" y="707135"/>
                  <a:pt x="3797999" y="714555"/>
                </a:cubicBezTo>
                <a:lnTo>
                  <a:pt x="3224404" y="714555"/>
                </a:lnTo>
                <a:cubicBezTo>
                  <a:pt x="3226623" y="783052"/>
                  <a:pt x="3243197" y="833787"/>
                  <a:pt x="3274124" y="866771"/>
                </a:cubicBezTo>
                <a:cubicBezTo>
                  <a:pt x="3302766" y="902161"/>
                  <a:pt x="3345876" y="919827"/>
                  <a:pt x="3403474" y="919761"/>
                </a:cubicBezTo>
                <a:cubicBezTo>
                  <a:pt x="3437002" y="920750"/>
                  <a:pt x="3470187" y="912768"/>
                  <a:pt x="3499581" y="896643"/>
                </a:cubicBezTo>
                <a:cubicBezTo>
                  <a:pt x="3506515" y="894274"/>
                  <a:pt x="3512783" y="890297"/>
                  <a:pt x="3517869" y="885036"/>
                </a:cubicBezTo>
                <a:lnTo>
                  <a:pt x="3536062" y="866771"/>
                </a:lnTo>
                <a:cubicBezTo>
                  <a:pt x="3541967" y="855992"/>
                  <a:pt x="3550521" y="846887"/>
                  <a:pt x="3560923" y="840323"/>
                </a:cubicBezTo>
                <a:cubicBezTo>
                  <a:pt x="3579000" y="828250"/>
                  <a:pt x="3600565" y="822466"/>
                  <a:pt x="3622264" y="823865"/>
                </a:cubicBezTo>
                <a:lnTo>
                  <a:pt x="3788094" y="823865"/>
                </a:lnTo>
                <a:cubicBezTo>
                  <a:pt x="3763710" y="916526"/>
                  <a:pt x="3717294" y="987182"/>
                  <a:pt x="3648838" y="1035825"/>
                </a:cubicBezTo>
                <a:cubicBezTo>
                  <a:pt x="3580258" y="1086560"/>
                  <a:pt x="3494028" y="1111932"/>
                  <a:pt x="3390139" y="1111932"/>
                </a:cubicBezTo>
                <a:cubicBezTo>
                  <a:pt x="3264219" y="1111932"/>
                  <a:pt x="3165797" y="1071091"/>
                  <a:pt x="3094864" y="989399"/>
                </a:cubicBezTo>
                <a:cubicBezTo>
                  <a:pt x="3024188" y="909933"/>
                  <a:pt x="2988851" y="796247"/>
                  <a:pt x="2988851" y="648342"/>
                </a:cubicBezTo>
                <a:cubicBezTo>
                  <a:pt x="2988851" y="507095"/>
                  <a:pt x="3023112" y="396711"/>
                  <a:pt x="3091626" y="317178"/>
                </a:cubicBezTo>
                <a:cubicBezTo>
                  <a:pt x="3162301" y="235486"/>
                  <a:pt x="3260723" y="194645"/>
                  <a:pt x="3386901" y="194645"/>
                </a:cubicBezTo>
                <a:close/>
                <a:moveTo>
                  <a:pt x="2146078" y="194645"/>
                </a:moveTo>
                <a:cubicBezTo>
                  <a:pt x="2269903" y="194645"/>
                  <a:pt x="2362772" y="215603"/>
                  <a:pt x="2424684" y="257529"/>
                </a:cubicBezTo>
                <a:cubicBezTo>
                  <a:pt x="2488816" y="301928"/>
                  <a:pt x="2520858" y="363728"/>
                  <a:pt x="2520792" y="442946"/>
                </a:cubicBezTo>
                <a:lnTo>
                  <a:pt x="2520792" y="744332"/>
                </a:lnTo>
                <a:cubicBezTo>
                  <a:pt x="2520792" y="832684"/>
                  <a:pt x="2504914" y="901685"/>
                  <a:pt x="2473167" y="951345"/>
                </a:cubicBezTo>
                <a:cubicBezTo>
                  <a:pt x="2445477" y="997067"/>
                  <a:pt x="2405777" y="1034341"/>
                  <a:pt x="2358391" y="1059133"/>
                </a:cubicBezTo>
                <a:cubicBezTo>
                  <a:pt x="2312508" y="1083297"/>
                  <a:pt x="2262435" y="1098471"/>
                  <a:pt x="2210848" y="1103846"/>
                </a:cubicBezTo>
                <a:cubicBezTo>
                  <a:pt x="2165176" y="1109002"/>
                  <a:pt x="2119265" y="1111761"/>
                  <a:pt x="2073307" y="1112123"/>
                </a:cubicBezTo>
                <a:cubicBezTo>
                  <a:pt x="1998574" y="1113559"/>
                  <a:pt x="1925374" y="1090831"/>
                  <a:pt x="1864614" y="1047336"/>
                </a:cubicBezTo>
                <a:cubicBezTo>
                  <a:pt x="1804921" y="1004335"/>
                  <a:pt x="1775079" y="933146"/>
                  <a:pt x="1775079" y="833759"/>
                </a:cubicBezTo>
                <a:cubicBezTo>
                  <a:pt x="1775079" y="741031"/>
                  <a:pt x="1802159" y="674789"/>
                  <a:pt x="1856328" y="635023"/>
                </a:cubicBezTo>
                <a:cubicBezTo>
                  <a:pt x="1910496" y="595256"/>
                  <a:pt x="1979553" y="568781"/>
                  <a:pt x="2063496" y="555586"/>
                </a:cubicBezTo>
                <a:cubicBezTo>
                  <a:pt x="2076908" y="555319"/>
                  <a:pt x="2090242" y="553664"/>
                  <a:pt x="2103311" y="550638"/>
                </a:cubicBezTo>
                <a:cubicBezTo>
                  <a:pt x="2120846" y="546976"/>
                  <a:pt x="2138553" y="544217"/>
                  <a:pt x="2156365" y="542362"/>
                </a:cubicBezTo>
                <a:cubicBezTo>
                  <a:pt x="2253644" y="529167"/>
                  <a:pt x="2302288" y="500474"/>
                  <a:pt x="2302288" y="456265"/>
                </a:cubicBezTo>
                <a:cubicBezTo>
                  <a:pt x="2302288" y="423158"/>
                  <a:pt x="2285143" y="401629"/>
                  <a:pt x="2250853" y="391669"/>
                </a:cubicBezTo>
                <a:cubicBezTo>
                  <a:pt x="2220220" y="382260"/>
                  <a:pt x="2188407" y="377237"/>
                  <a:pt x="2156365" y="376732"/>
                </a:cubicBezTo>
                <a:cubicBezTo>
                  <a:pt x="2128181" y="376314"/>
                  <a:pt x="2100149" y="380785"/>
                  <a:pt x="2073497" y="389956"/>
                </a:cubicBezTo>
                <a:cubicBezTo>
                  <a:pt x="2049618" y="398395"/>
                  <a:pt x="2030378" y="416442"/>
                  <a:pt x="2020443" y="439712"/>
                </a:cubicBezTo>
                <a:lnTo>
                  <a:pt x="1797939" y="439712"/>
                </a:lnTo>
                <a:cubicBezTo>
                  <a:pt x="1805626" y="373441"/>
                  <a:pt x="1838954" y="312802"/>
                  <a:pt x="1890808" y="270753"/>
                </a:cubicBezTo>
                <a:cubicBezTo>
                  <a:pt x="1950501" y="220017"/>
                  <a:pt x="2035588" y="194645"/>
                  <a:pt x="2146078" y="194645"/>
                </a:cubicBezTo>
                <a:close/>
                <a:moveTo>
                  <a:pt x="374523" y="194645"/>
                </a:moveTo>
                <a:cubicBezTo>
                  <a:pt x="489462" y="194645"/>
                  <a:pt x="581216" y="220017"/>
                  <a:pt x="649796" y="270753"/>
                </a:cubicBezTo>
                <a:cubicBezTo>
                  <a:pt x="713927" y="326054"/>
                  <a:pt x="748189" y="397824"/>
                  <a:pt x="752570" y="486042"/>
                </a:cubicBezTo>
                <a:lnTo>
                  <a:pt x="609695" y="486042"/>
                </a:lnTo>
                <a:cubicBezTo>
                  <a:pt x="569500" y="487127"/>
                  <a:pt x="532181" y="465284"/>
                  <a:pt x="513493" y="429722"/>
                </a:cubicBezTo>
                <a:cubicBezTo>
                  <a:pt x="504634" y="420970"/>
                  <a:pt x="495776" y="412122"/>
                  <a:pt x="487013" y="403275"/>
                </a:cubicBezTo>
                <a:cubicBezTo>
                  <a:pt x="460534" y="383420"/>
                  <a:pt x="424053" y="373469"/>
                  <a:pt x="377571" y="373403"/>
                </a:cubicBezTo>
                <a:cubicBezTo>
                  <a:pt x="333118" y="373403"/>
                  <a:pt x="299971" y="380034"/>
                  <a:pt x="278130" y="393286"/>
                </a:cubicBezTo>
                <a:cubicBezTo>
                  <a:pt x="258223" y="406415"/>
                  <a:pt x="246859" y="429161"/>
                  <a:pt x="248317" y="452935"/>
                </a:cubicBezTo>
                <a:cubicBezTo>
                  <a:pt x="248317" y="488259"/>
                  <a:pt x="305781" y="518074"/>
                  <a:pt x="420719" y="542362"/>
                </a:cubicBezTo>
                <a:cubicBezTo>
                  <a:pt x="432130" y="546148"/>
                  <a:pt x="443732" y="549325"/>
                  <a:pt x="455486" y="551875"/>
                </a:cubicBezTo>
                <a:cubicBezTo>
                  <a:pt x="464849" y="554073"/>
                  <a:pt x="474440" y="555186"/>
                  <a:pt x="484061" y="555205"/>
                </a:cubicBezTo>
                <a:cubicBezTo>
                  <a:pt x="596837" y="583935"/>
                  <a:pt x="675323" y="617042"/>
                  <a:pt x="719519" y="654525"/>
                </a:cubicBezTo>
                <a:cubicBezTo>
                  <a:pt x="761429" y="694292"/>
                  <a:pt x="782412" y="747282"/>
                  <a:pt x="782479" y="813495"/>
                </a:cubicBezTo>
                <a:cubicBezTo>
                  <a:pt x="782479" y="910723"/>
                  <a:pt x="747113" y="985784"/>
                  <a:pt x="676370" y="1038679"/>
                </a:cubicBezTo>
                <a:cubicBezTo>
                  <a:pt x="610076" y="1087321"/>
                  <a:pt x="510607" y="1111619"/>
                  <a:pt x="377952" y="1111552"/>
                </a:cubicBezTo>
                <a:cubicBezTo>
                  <a:pt x="251908" y="1111552"/>
                  <a:pt x="157953" y="1086180"/>
                  <a:pt x="96108" y="1035444"/>
                </a:cubicBezTo>
                <a:cubicBezTo>
                  <a:pt x="31975" y="984709"/>
                  <a:pt x="-67" y="910723"/>
                  <a:pt x="0" y="813495"/>
                </a:cubicBezTo>
                <a:lnTo>
                  <a:pt x="286" y="803982"/>
                </a:lnTo>
                <a:lnTo>
                  <a:pt x="225743" y="803982"/>
                </a:lnTo>
                <a:cubicBezTo>
                  <a:pt x="227933" y="848124"/>
                  <a:pt x="244793" y="881326"/>
                  <a:pt x="275463" y="903302"/>
                </a:cubicBezTo>
                <a:cubicBezTo>
                  <a:pt x="308610" y="925469"/>
                  <a:pt x="352806" y="936409"/>
                  <a:pt x="408051" y="936409"/>
                </a:cubicBezTo>
                <a:cubicBezTo>
                  <a:pt x="443742" y="937379"/>
                  <a:pt x="479108" y="929398"/>
                  <a:pt x="510921" y="913196"/>
                </a:cubicBezTo>
                <a:cubicBezTo>
                  <a:pt x="537400" y="897784"/>
                  <a:pt x="550640" y="876826"/>
                  <a:pt x="550640" y="850312"/>
                </a:cubicBezTo>
                <a:cubicBezTo>
                  <a:pt x="550640" y="810546"/>
                  <a:pt x="504225" y="780740"/>
                  <a:pt x="411385" y="760886"/>
                </a:cubicBezTo>
                <a:cubicBezTo>
                  <a:pt x="381095" y="756462"/>
                  <a:pt x="351168" y="749822"/>
                  <a:pt x="321850" y="741003"/>
                </a:cubicBezTo>
                <a:cubicBezTo>
                  <a:pt x="204692" y="712396"/>
                  <a:pt x="126235" y="678185"/>
                  <a:pt x="86487" y="638352"/>
                </a:cubicBezTo>
                <a:cubicBezTo>
                  <a:pt x="42034" y="598710"/>
                  <a:pt x="19812" y="545720"/>
                  <a:pt x="19812" y="479383"/>
                </a:cubicBezTo>
                <a:cubicBezTo>
                  <a:pt x="18298" y="398832"/>
                  <a:pt x="53693" y="322011"/>
                  <a:pt x="115919" y="270753"/>
                </a:cubicBezTo>
                <a:cubicBezTo>
                  <a:pt x="182213" y="220017"/>
                  <a:pt x="268415" y="194645"/>
                  <a:pt x="374523" y="194645"/>
                </a:cubicBezTo>
                <a:close/>
                <a:moveTo>
                  <a:pt x="2575750" y="0"/>
                </a:moveTo>
                <a:lnTo>
                  <a:pt x="2799779" y="0"/>
                </a:lnTo>
                <a:lnTo>
                  <a:pt x="2799779" y="221949"/>
                </a:lnTo>
                <a:lnTo>
                  <a:pt x="2958084" y="221949"/>
                </a:lnTo>
                <a:lnTo>
                  <a:pt x="2958084" y="420399"/>
                </a:lnTo>
                <a:lnTo>
                  <a:pt x="2800159" y="420399"/>
                </a:lnTo>
                <a:lnTo>
                  <a:pt x="2800159" y="728921"/>
                </a:lnTo>
                <a:cubicBezTo>
                  <a:pt x="2800159" y="789997"/>
                  <a:pt x="2814038" y="832969"/>
                  <a:pt x="2841784" y="857828"/>
                </a:cubicBezTo>
                <a:cubicBezTo>
                  <a:pt x="2869530" y="882687"/>
                  <a:pt x="2911697" y="893408"/>
                  <a:pt x="2968276" y="889984"/>
                </a:cubicBezTo>
                <a:lnTo>
                  <a:pt x="2968276" y="1093667"/>
                </a:lnTo>
                <a:cubicBezTo>
                  <a:pt x="2911317" y="1101116"/>
                  <a:pt x="2853443" y="1097111"/>
                  <a:pt x="2798064" y="1081870"/>
                </a:cubicBezTo>
                <a:cubicBezTo>
                  <a:pt x="2752011" y="1068675"/>
                  <a:pt x="2710006" y="1044178"/>
                  <a:pt x="2675858" y="1010614"/>
                </a:cubicBezTo>
                <a:cubicBezTo>
                  <a:pt x="2642092" y="976385"/>
                  <a:pt x="2616556" y="934944"/>
                  <a:pt x="2601183" y="889413"/>
                </a:cubicBezTo>
                <a:cubicBezTo>
                  <a:pt x="2583590" y="837336"/>
                  <a:pt x="2574998" y="782643"/>
                  <a:pt x="2575750" y="727684"/>
                </a:cubicBezTo>
                <a:close/>
                <a:moveTo>
                  <a:pt x="824770" y="0"/>
                </a:moveTo>
                <a:lnTo>
                  <a:pt x="1048893" y="0"/>
                </a:lnTo>
                <a:lnTo>
                  <a:pt x="1048893" y="221949"/>
                </a:lnTo>
                <a:lnTo>
                  <a:pt x="1206723" y="221949"/>
                </a:lnTo>
                <a:lnTo>
                  <a:pt x="1206723" y="420399"/>
                </a:lnTo>
                <a:lnTo>
                  <a:pt x="1048417" y="420399"/>
                </a:lnTo>
                <a:lnTo>
                  <a:pt x="1048417" y="728921"/>
                </a:lnTo>
                <a:cubicBezTo>
                  <a:pt x="1048417" y="789997"/>
                  <a:pt x="1062257" y="832969"/>
                  <a:pt x="1089946" y="857828"/>
                </a:cubicBezTo>
                <a:cubicBezTo>
                  <a:pt x="1117636" y="882687"/>
                  <a:pt x="1159955" y="893475"/>
                  <a:pt x="1216915" y="890174"/>
                </a:cubicBezTo>
                <a:lnTo>
                  <a:pt x="1216915" y="1093667"/>
                </a:lnTo>
                <a:cubicBezTo>
                  <a:pt x="1160117" y="1101068"/>
                  <a:pt x="1102405" y="1097054"/>
                  <a:pt x="1047179" y="1081870"/>
                </a:cubicBezTo>
                <a:cubicBezTo>
                  <a:pt x="1001116" y="1068694"/>
                  <a:pt x="959101" y="1044197"/>
                  <a:pt x="924973" y="1010614"/>
                </a:cubicBezTo>
                <a:cubicBezTo>
                  <a:pt x="891207" y="976366"/>
                  <a:pt x="865642" y="934935"/>
                  <a:pt x="850202" y="889413"/>
                </a:cubicBezTo>
                <a:cubicBezTo>
                  <a:pt x="832619" y="837336"/>
                  <a:pt x="824018" y="782643"/>
                  <a:pt x="824770" y="727684"/>
                </a:cubicBezTo>
                <a:close/>
              </a:path>
            </a:pathLst>
          </a:custGeom>
          <a:solidFill>
            <a:srgbClr val="002060"/>
          </a:solidFill>
          <a:ln w="9525" cap="flat">
            <a:noFill/>
            <a:prstDash val="solid"/>
            <a:miter/>
          </a:ln>
        </p:spPr>
        <p:txBody>
          <a:bodyPr rtlCol="0" anchor="ctr"/>
          <a:lstStyle/>
          <a:p>
            <a:endParaRPr lang="es-ES"/>
          </a:p>
        </p:txBody>
      </p:sp>
    </p:spTree>
    <p:extLst>
      <p:ext uri="{BB962C8B-B14F-4D97-AF65-F5344CB8AC3E}">
        <p14:creationId xmlns:p14="http://schemas.microsoft.com/office/powerpoint/2010/main" val="2085566071"/>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emplate Propuesta 2022 - Índice">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4B1F9D7A-1DF1-7E4D-9BA4-FB02422FEC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5418644" cy="6858000"/>
          </a:xfrm>
          <a:prstGeom prst="rect">
            <a:avLst/>
          </a:prstGeom>
        </p:spPr>
      </p:pic>
      <p:sp>
        <p:nvSpPr>
          <p:cNvPr id="3" name="Rectangle 24">
            <a:extLst>
              <a:ext uri="{FF2B5EF4-FFF2-40B4-BE49-F238E27FC236}">
                <a16:creationId xmlns:a16="http://schemas.microsoft.com/office/drawing/2014/main" id="{CB36530A-2345-B64A-AEA2-2C67F5B36F23}"/>
              </a:ext>
            </a:extLst>
          </p:cNvPr>
          <p:cNvSpPr/>
          <p:nvPr userDrawn="1"/>
        </p:nvSpPr>
        <p:spPr>
          <a:xfrm>
            <a:off x="0" y="0"/>
            <a:ext cx="5418644" cy="6858000"/>
          </a:xfrm>
          <a:prstGeom prst="rect">
            <a:avLst/>
          </a:prstGeom>
          <a:solidFill>
            <a:schemeClr val="tx2">
              <a:alpha val="47386"/>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1" i="0" u="none" strike="noStrike" kern="1200" cap="none" spc="300" normalizeH="0" baseline="0" noProof="0">
              <a:ln>
                <a:noFill/>
              </a:ln>
              <a:solidFill>
                <a:srgbClr val="FFFFFF"/>
              </a:solidFill>
              <a:effectLst/>
              <a:uLnTx/>
              <a:uFillTx/>
              <a:latin typeface="Arial" panose="020B0604020202020204"/>
              <a:ea typeface="+mn-ea"/>
              <a:cs typeface="+mn-cs"/>
            </a:endParaRPr>
          </a:p>
        </p:txBody>
      </p:sp>
      <p:sp>
        <p:nvSpPr>
          <p:cNvPr id="48" name="Rectangle 24">
            <a:extLst>
              <a:ext uri="{FF2B5EF4-FFF2-40B4-BE49-F238E27FC236}">
                <a16:creationId xmlns:a16="http://schemas.microsoft.com/office/drawing/2014/main" id="{24D0A1F8-0D36-1D4C-8930-D449B00B1E6D}"/>
              </a:ext>
            </a:extLst>
          </p:cNvPr>
          <p:cNvSpPr/>
          <p:nvPr userDrawn="1"/>
        </p:nvSpPr>
        <p:spPr>
          <a:xfrm>
            <a:off x="746892" y="1466570"/>
            <a:ext cx="3924862" cy="3924860"/>
          </a:xfrm>
          <a:prstGeom prst="rect">
            <a:avLst/>
          </a:prstGeom>
          <a:solidFill>
            <a:schemeClr val="bg1">
              <a:alpha val="76000"/>
            </a:schemeClr>
          </a:solid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1" i="0" u="none" strike="noStrike" kern="1200" cap="none" spc="300" normalizeH="0" baseline="0" noProof="0">
              <a:ln>
                <a:noFill/>
              </a:ln>
              <a:solidFill>
                <a:srgbClr val="FFFFFF"/>
              </a:solidFill>
              <a:effectLst/>
              <a:uLnTx/>
              <a:uFillTx/>
              <a:latin typeface="Arial" panose="020B0604020202020204"/>
              <a:ea typeface="+mn-ea"/>
              <a:cs typeface="+mn-cs"/>
            </a:endParaRPr>
          </a:p>
        </p:txBody>
      </p:sp>
      <p:sp>
        <p:nvSpPr>
          <p:cNvPr id="50" name="Rectángulo 49">
            <a:extLst>
              <a:ext uri="{FF2B5EF4-FFF2-40B4-BE49-F238E27FC236}">
                <a16:creationId xmlns:a16="http://schemas.microsoft.com/office/drawing/2014/main" id="{07CCDC95-B71D-544E-96DC-30226173962F}"/>
              </a:ext>
            </a:extLst>
          </p:cNvPr>
          <p:cNvSpPr/>
          <p:nvPr/>
        </p:nvSpPr>
        <p:spPr>
          <a:xfrm>
            <a:off x="156688" y="6121582"/>
            <a:ext cx="5105268" cy="307777"/>
          </a:xfrm>
          <a:prstGeom prst="rect">
            <a:avLst/>
          </a:prstGeom>
        </p:spPr>
        <p:txBody>
          <a:bodyPr wrap="square">
            <a:spAutoFit/>
          </a:bodyPr>
          <a:lstStyle/>
          <a:p>
            <a:pPr lvl="0" algn="ctr">
              <a:spcAft>
                <a:spcPts val="300"/>
              </a:spcAft>
              <a:defRPr/>
            </a:pPr>
            <a:r>
              <a:rPr lang="es-ES_tradnl" sz="1400" b="1">
                <a:solidFill>
                  <a:schemeClr val="bg1"/>
                </a:solidFill>
              </a:rPr>
              <a:t>Propuesta de Colaboración Profesional</a:t>
            </a:r>
          </a:p>
        </p:txBody>
      </p:sp>
      <p:sp>
        <p:nvSpPr>
          <p:cNvPr id="52" name="Forma libre 51">
            <a:extLst>
              <a:ext uri="{FF2B5EF4-FFF2-40B4-BE49-F238E27FC236}">
                <a16:creationId xmlns:a16="http://schemas.microsoft.com/office/drawing/2014/main" id="{62D8678F-368A-7B4F-A19A-32A07DBA7295}"/>
              </a:ext>
            </a:extLst>
          </p:cNvPr>
          <p:cNvSpPr/>
          <p:nvPr/>
        </p:nvSpPr>
        <p:spPr>
          <a:xfrm>
            <a:off x="2035361" y="1785473"/>
            <a:ext cx="1347920" cy="311048"/>
          </a:xfrm>
          <a:custGeom>
            <a:avLst/>
            <a:gdLst>
              <a:gd name="connsiteX0" fmla="*/ 2305336 w 6124670"/>
              <a:gd name="connsiteY0" fmla="*/ 651766 h 1413343"/>
              <a:gd name="connsiteX1" fmla="*/ 2176082 w 6124670"/>
              <a:gd name="connsiteY1" fmla="*/ 694862 h 1413343"/>
              <a:gd name="connsiteX2" fmla="*/ 2099882 w 6124670"/>
              <a:gd name="connsiteY2" fmla="*/ 711416 h 1413343"/>
              <a:gd name="connsiteX3" fmla="*/ 2013681 w 6124670"/>
              <a:gd name="connsiteY3" fmla="*/ 754512 h 1413343"/>
              <a:gd name="connsiteX4" fmla="*/ 1990440 w 6124670"/>
              <a:gd name="connsiteY4" fmla="*/ 827385 h 1413343"/>
              <a:gd name="connsiteX5" fmla="*/ 2020348 w 6124670"/>
              <a:gd name="connsiteY5" fmla="*/ 906822 h 1413343"/>
              <a:gd name="connsiteX6" fmla="*/ 2106073 w 6124670"/>
              <a:gd name="connsiteY6" fmla="*/ 933269 h 1413343"/>
              <a:gd name="connsiteX7" fmla="*/ 2251900 w 6124670"/>
              <a:gd name="connsiteY7" fmla="*/ 880375 h 1413343"/>
              <a:gd name="connsiteX8" fmla="*/ 2304955 w 6124670"/>
              <a:gd name="connsiteY8" fmla="*/ 734629 h 1413343"/>
              <a:gd name="connsiteX9" fmla="*/ 3393473 w 6124670"/>
              <a:gd name="connsiteY9" fmla="*/ 386722 h 1413343"/>
              <a:gd name="connsiteX10" fmla="*/ 3274315 w 6124670"/>
              <a:gd name="connsiteY10" fmla="*/ 433052 h 1413343"/>
              <a:gd name="connsiteX11" fmla="*/ 3224404 w 6124670"/>
              <a:gd name="connsiteY11" fmla="*/ 565479 h 1413343"/>
              <a:gd name="connsiteX12" fmla="*/ 3562637 w 6124670"/>
              <a:gd name="connsiteY12" fmla="*/ 565479 h 1413343"/>
              <a:gd name="connsiteX13" fmla="*/ 3516155 w 6124670"/>
              <a:gd name="connsiteY13" fmla="*/ 433052 h 1413343"/>
              <a:gd name="connsiteX14" fmla="*/ 3393473 w 6124670"/>
              <a:gd name="connsiteY14" fmla="*/ 386722 h 1413343"/>
              <a:gd name="connsiteX15" fmla="*/ 4552474 w 6124670"/>
              <a:gd name="connsiteY15" fmla="*/ 214433 h 1413343"/>
              <a:gd name="connsiteX16" fmla="*/ 4807839 w 6124670"/>
              <a:gd name="connsiteY16" fmla="*/ 214433 h 1413343"/>
              <a:gd name="connsiteX17" fmla="*/ 4986910 w 6124670"/>
              <a:gd name="connsiteY17" fmla="*/ 837089 h 1413343"/>
              <a:gd name="connsiteX18" fmla="*/ 5142739 w 6124670"/>
              <a:gd name="connsiteY18" fmla="*/ 293966 h 1413343"/>
              <a:gd name="connsiteX19" fmla="*/ 5248847 w 6124670"/>
              <a:gd name="connsiteY19" fmla="*/ 214433 h 1413343"/>
              <a:gd name="connsiteX20" fmla="*/ 5407914 w 6124670"/>
              <a:gd name="connsiteY20" fmla="*/ 214433 h 1413343"/>
              <a:gd name="connsiteX21" fmla="*/ 5069681 w 6124670"/>
              <a:gd name="connsiteY21" fmla="*/ 1217912 h 1413343"/>
              <a:gd name="connsiteX22" fmla="*/ 4970146 w 6124670"/>
              <a:gd name="connsiteY22" fmla="*/ 1373552 h 1413343"/>
              <a:gd name="connsiteX23" fmla="*/ 4774597 w 6124670"/>
              <a:gd name="connsiteY23" fmla="*/ 1413318 h 1413343"/>
              <a:gd name="connsiteX24" fmla="*/ 4751737 w 6124670"/>
              <a:gd name="connsiteY24" fmla="*/ 1413318 h 1413343"/>
              <a:gd name="connsiteX25" fmla="*/ 4677918 w 6124670"/>
              <a:gd name="connsiteY25" fmla="*/ 1412558 h 1413343"/>
              <a:gd name="connsiteX26" fmla="*/ 4677918 w 6124670"/>
              <a:gd name="connsiteY26" fmla="*/ 1224572 h 1413343"/>
              <a:gd name="connsiteX27" fmla="*/ 4741164 w 6124670"/>
              <a:gd name="connsiteY27" fmla="*/ 1224572 h 1413343"/>
              <a:gd name="connsiteX28" fmla="*/ 4845939 w 6124670"/>
              <a:gd name="connsiteY28" fmla="*/ 1193082 h 1413343"/>
              <a:gd name="connsiteX29" fmla="*/ 4860893 w 6124670"/>
              <a:gd name="connsiteY29" fmla="*/ 1092050 h 1413343"/>
              <a:gd name="connsiteX30" fmla="*/ 1721739 w 6124670"/>
              <a:gd name="connsiteY30" fmla="*/ 214433 h 1413343"/>
              <a:gd name="connsiteX31" fmla="*/ 1754982 w 6124670"/>
              <a:gd name="connsiteY31" fmla="*/ 214433 h 1413343"/>
              <a:gd name="connsiteX32" fmla="*/ 1754982 w 6124670"/>
              <a:gd name="connsiteY32" fmla="*/ 449605 h 1413343"/>
              <a:gd name="connsiteX33" fmla="*/ 1678782 w 6124670"/>
              <a:gd name="connsiteY33" fmla="*/ 449605 h 1413343"/>
              <a:gd name="connsiteX34" fmla="*/ 1535907 w 6124670"/>
              <a:gd name="connsiteY34" fmla="*/ 495936 h 1413343"/>
              <a:gd name="connsiteX35" fmla="*/ 1489520 w 6124670"/>
              <a:gd name="connsiteY35" fmla="*/ 641682 h 1413343"/>
              <a:gd name="connsiteX36" fmla="*/ 1489520 w 6124670"/>
              <a:gd name="connsiteY36" fmla="*/ 1095379 h 1413343"/>
              <a:gd name="connsiteX37" fmla="*/ 1257205 w 6124670"/>
              <a:gd name="connsiteY37" fmla="*/ 1095379 h 1413343"/>
              <a:gd name="connsiteX38" fmla="*/ 1257205 w 6124670"/>
              <a:gd name="connsiteY38" fmla="*/ 668225 h 1413343"/>
              <a:gd name="connsiteX39" fmla="*/ 1295305 w 6124670"/>
              <a:gd name="connsiteY39" fmla="*/ 451223 h 1413343"/>
              <a:gd name="connsiteX40" fmla="*/ 1400080 w 6124670"/>
              <a:gd name="connsiteY40" fmla="*/ 310519 h 1413343"/>
              <a:gd name="connsiteX41" fmla="*/ 1547622 w 6124670"/>
              <a:gd name="connsiteY41" fmla="*/ 237646 h 1413343"/>
              <a:gd name="connsiteX42" fmla="*/ 1721739 w 6124670"/>
              <a:gd name="connsiteY42" fmla="*/ 214433 h 1413343"/>
              <a:gd name="connsiteX43" fmla="*/ 5716715 w 6124670"/>
              <a:gd name="connsiteY43" fmla="*/ 194645 h 1413343"/>
              <a:gd name="connsiteX44" fmla="*/ 5991892 w 6124670"/>
              <a:gd name="connsiteY44" fmla="*/ 270753 h 1413343"/>
              <a:gd name="connsiteX45" fmla="*/ 6094762 w 6124670"/>
              <a:gd name="connsiteY45" fmla="*/ 486042 h 1413343"/>
              <a:gd name="connsiteX46" fmla="*/ 5951887 w 6124670"/>
              <a:gd name="connsiteY46" fmla="*/ 486042 h 1413343"/>
              <a:gd name="connsiteX47" fmla="*/ 5855684 w 6124670"/>
              <a:gd name="connsiteY47" fmla="*/ 429722 h 1413343"/>
              <a:gd name="connsiteX48" fmla="*/ 5829205 w 6124670"/>
              <a:gd name="connsiteY48" fmla="*/ 403275 h 1413343"/>
              <a:gd name="connsiteX49" fmla="*/ 5719762 w 6124670"/>
              <a:gd name="connsiteY49" fmla="*/ 373403 h 1413343"/>
              <a:gd name="connsiteX50" fmla="*/ 5620322 w 6124670"/>
              <a:gd name="connsiteY50" fmla="*/ 393286 h 1413343"/>
              <a:gd name="connsiteX51" fmla="*/ 5590413 w 6124670"/>
              <a:gd name="connsiteY51" fmla="*/ 452935 h 1413343"/>
              <a:gd name="connsiteX52" fmla="*/ 5762816 w 6124670"/>
              <a:gd name="connsiteY52" fmla="*/ 542362 h 1413343"/>
              <a:gd name="connsiteX53" fmla="*/ 5797678 w 6124670"/>
              <a:gd name="connsiteY53" fmla="*/ 551875 h 1413343"/>
              <a:gd name="connsiteX54" fmla="*/ 5826253 w 6124670"/>
              <a:gd name="connsiteY54" fmla="*/ 555205 h 1413343"/>
              <a:gd name="connsiteX55" fmla="*/ 6061615 w 6124670"/>
              <a:gd name="connsiteY55" fmla="*/ 654525 h 1413343"/>
              <a:gd name="connsiteX56" fmla="*/ 6124670 w 6124670"/>
              <a:gd name="connsiteY56" fmla="*/ 813495 h 1413343"/>
              <a:gd name="connsiteX57" fmla="*/ 6018562 w 6124670"/>
              <a:gd name="connsiteY57" fmla="*/ 1038679 h 1413343"/>
              <a:gd name="connsiteX58" fmla="*/ 5720144 w 6124670"/>
              <a:gd name="connsiteY58" fmla="*/ 1111552 h 1413343"/>
              <a:gd name="connsiteX59" fmla="*/ 5438298 w 6124670"/>
              <a:gd name="connsiteY59" fmla="*/ 1035444 h 1413343"/>
              <a:gd name="connsiteX60" fmla="*/ 5342096 w 6124670"/>
              <a:gd name="connsiteY60" fmla="*/ 813495 h 1413343"/>
              <a:gd name="connsiteX61" fmla="*/ 5342287 w 6124670"/>
              <a:gd name="connsiteY61" fmla="*/ 803982 h 1413343"/>
              <a:gd name="connsiteX62" fmla="*/ 5567839 w 6124670"/>
              <a:gd name="connsiteY62" fmla="*/ 803982 h 1413343"/>
              <a:gd name="connsiteX63" fmla="*/ 5617559 w 6124670"/>
              <a:gd name="connsiteY63" fmla="*/ 903302 h 1413343"/>
              <a:gd name="connsiteX64" fmla="*/ 5750148 w 6124670"/>
              <a:gd name="connsiteY64" fmla="*/ 936409 h 1413343"/>
              <a:gd name="connsiteX65" fmla="*/ 5852922 w 6124670"/>
              <a:gd name="connsiteY65" fmla="*/ 913196 h 1413343"/>
              <a:gd name="connsiteX66" fmla="*/ 5892737 w 6124670"/>
              <a:gd name="connsiteY66" fmla="*/ 850312 h 1413343"/>
              <a:gd name="connsiteX67" fmla="*/ 5753481 w 6124670"/>
              <a:gd name="connsiteY67" fmla="*/ 760886 h 1413343"/>
              <a:gd name="connsiteX68" fmla="*/ 5663946 w 6124670"/>
              <a:gd name="connsiteY68" fmla="*/ 741003 h 1413343"/>
              <a:gd name="connsiteX69" fmla="*/ 5428584 w 6124670"/>
              <a:gd name="connsiteY69" fmla="*/ 638352 h 1413343"/>
              <a:gd name="connsiteX70" fmla="*/ 5361909 w 6124670"/>
              <a:gd name="connsiteY70" fmla="*/ 479383 h 1413343"/>
              <a:gd name="connsiteX71" fmla="*/ 5458111 w 6124670"/>
              <a:gd name="connsiteY71" fmla="*/ 270753 h 1413343"/>
              <a:gd name="connsiteX72" fmla="*/ 5716715 w 6124670"/>
              <a:gd name="connsiteY72" fmla="*/ 194645 h 1413343"/>
              <a:gd name="connsiteX73" fmla="*/ 4192239 w 6124670"/>
              <a:gd name="connsiteY73" fmla="*/ 194645 h 1413343"/>
              <a:gd name="connsiteX74" fmla="*/ 4467416 w 6124670"/>
              <a:gd name="connsiteY74" fmla="*/ 270753 h 1413343"/>
              <a:gd name="connsiteX75" fmla="*/ 4570190 w 6124670"/>
              <a:gd name="connsiteY75" fmla="*/ 486042 h 1413343"/>
              <a:gd name="connsiteX76" fmla="*/ 4427315 w 6124670"/>
              <a:gd name="connsiteY76" fmla="*/ 486042 h 1413343"/>
              <a:gd name="connsiteX77" fmla="*/ 4331589 w 6124670"/>
              <a:gd name="connsiteY77" fmla="*/ 429722 h 1413343"/>
              <a:gd name="connsiteX78" fmla="*/ 4305015 w 6124670"/>
              <a:gd name="connsiteY78" fmla="*/ 403275 h 1413343"/>
              <a:gd name="connsiteX79" fmla="*/ 4195667 w 6124670"/>
              <a:gd name="connsiteY79" fmla="*/ 373403 h 1413343"/>
              <a:gd name="connsiteX80" fmla="*/ 4096132 w 6124670"/>
              <a:gd name="connsiteY80" fmla="*/ 393286 h 1413343"/>
              <a:gd name="connsiteX81" fmla="*/ 4066318 w 6124670"/>
              <a:gd name="connsiteY81" fmla="*/ 452935 h 1413343"/>
              <a:gd name="connsiteX82" fmla="*/ 4238721 w 6124670"/>
              <a:gd name="connsiteY82" fmla="*/ 542362 h 1413343"/>
              <a:gd name="connsiteX83" fmla="*/ 4273582 w 6124670"/>
              <a:gd name="connsiteY83" fmla="*/ 551875 h 1413343"/>
              <a:gd name="connsiteX84" fmla="*/ 4301681 w 6124670"/>
              <a:gd name="connsiteY84" fmla="*/ 555205 h 1413343"/>
              <a:gd name="connsiteX85" fmla="*/ 4537139 w 6124670"/>
              <a:gd name="connsiteY85" fmla="*/ 654525 h 1413343"/>
              <a:gd name="connsiteX86" fmla="*/ 4600099 w 6124670"/>
              <a:gd name="connsiteY86" fmla="*/ 813495 h 1413343"/>
              <a:gd name="connsiteX87" fmla="*/ 4494086 w 6124670"/>
              <a:gd name="connsiteY87" fmla="*/ 1038679 h 1413343"/>
              <a:gd name="connsiteX88" fmla="*/ 4195667 w 6124670"/>
              <a:gd name="connsiteY88" fmla="*/ 1111552 h 1413343"/>
              <a:gd name="connsiteX89" fmla="*/ 3913823 w 6124670"/>
              <a:gd name="connsiteY89" fmla="*/ 1035444 h 1413343"/>
              <a:gd name="connsiteX90" fmla="*/ 3817620 w 6124670"/>
              <a:gd name="connsiteY90" fmla="*/ 813495 h 1413343"/>
              <a:gd name="connsiteX91" fmla="*/ 3817906 w 6124670"/>
              <a:gd name="connsiteY91" fmla="*/ 803982 h 1413343"/>
              <a:gd name="connsiteX92" fmla="*/ 4043363 w 6124670"/>
              <a:gd name="connsiteY92" fmla="*/ 803982 h 1413343"/>
              <a:gd name="connsiteX93" fmla="*/ 4093084 w 6124670"/>
              <a:gd name="connsiteY93" fmla="*/ 903302 h 1413343"/>
              <a:gd name="connsiteX94" fmla="*/ 4225767 w 6124670"/>
              <a:gd name="connsiteY94" fmla="*/ 936409 h 1413343"/>
              <a:gd name="connsiteX95" fmla="*/ 4328541 w 6124670"/>
              <a:gd name="connsiteY95" fmla="*/ 913196 h 1413343"/>
              <a:gd name="connsiteX96" fmla="*/ 4368356 w 6124670"/>
              <a:gd name="connsiteY96" fmla="*/ 850312 h 1413343"/>
              <a:gd name="connsiteX97" fmla="*/ 4229100 w 6124670"/>
              <a:gd name="connsiteY97" fmla="*/ 760886 h 1413343"/>
              <a:gd name="connsiteX98" fmla="*/ 4139566 w 6124670"/>
              <a:gd name="connsiteY98" fmla="*/ 741003 h 1413343"/>
              <a:gd name="connsiteX99" fmla="*/ 3904107 w 6124670"/>
              <a:gd name="connsiteY99" fmla="*/ 638352 h 1413343"/>
              <a:gd name="connsiteX100" fmla="*/ 3837432 w 6124670"/>
              <a:gd name="connsiteY100" fmla="*/ 479383 h 1413343"/>
              <a:gd name="connsiteX101" fmla="*/ 3933540 w 6124670"/>
              <a:gd name="connsiteY101" fmla="*/ 270753 h 1413343"/>
              <a:gd name="connsiteX102" fmla="*/ 4192239 w 6124670"/>
              <a:gd name="connsiteY102" fmla="*/ 194645 h 1413343"/>
              <a:gd name="connsiteX103" fmla="*/ 3386901 w 6124670"/>
              <a:gd name="connsiteY103" fmla="*/ 194645 h 1413343"/>
              <a:gd name="connsiteX104" fmla="*/ 3695225 w 6124670"/>
              <a:gd name="connsiteY104" fmla="*/ 313849 h 1413343"/>
              <a:gd name="connsiteX105" fmla="*/ 3801333 w 6124670"/>
              <a:gd name="connsiteY105" fmla="*/ 654906 h 1413343"/>
              <a:gd name="connsiteX106" fmla="*/ 3801333 w 6124670"/>
              <a:gd name="connsiteY106" fmla="*/ 691342 h 1413343"/>
              <a:gd name="connsiteX107" fmla="*/ 3797999 w 6124670"/>
              <a:gd name="connsiteY107" fmla="*/ 714555 h 1413343"/>
              <a:gd name="connsiteX108" fmla="*/ 3224404 w 6124670"/>
              <a:gd name="connsiteY108" fmla="*/ 714555 h 1413343"/>
              <a:gd name="connsiteX109" fmla="*/ 3274124 w 6124670"/>
              <a:gd name="connsiteY109" fmla="*/ 866771 h 1413343"/>
              <a:gd name="connsiteX110" fmla="*/ 3403474 w 6124670"/>
              <a:gd name="connsiteY110" fmla="*/ 919761 h 1413343"/>
              <a:gd name="connsiteX111" fmla="*/ 3499581 w 6124670"/>
              <a:gd name="connsiteY111" fmla="*/ 896643 h 1413343"/>
              <a:gd name="connsiteX112" fmla="*/ 3517869 w 6124670"/>
              <a:gd name="connsiteY112" fmla="*/ 885036 h 1413343"/>
              <a:gd name="connsiteX113" fmla="*/ 3536062 w 6124670"/>
              <a:gd name="connsiteY113" fmla="*/ 866771 h 1413343"/>
              <a:gd name="connsiteX114" fmla="*/ 3560923 w 6124670"/>
              <a:gd name="connsiteY114" fmla="*/ 840323 h 1413343"/>
              <a:gd name="connsiteX115" fmla="*/ 3622264 w 6124670"/>
              <a:gd name="connsiteY115" fmla="*/ 823865 h 1413343"/>
              <a:gd name="connsiteX116" fmla="*/ 3788094 w 6124670"/>
              <a:gd name="connsiteY116" fmla="*/ 823865 h 1413343"/>
              <a:gd name="connsiteX117" fmla="*/ 3648838 w 6124670"/>
              <a:gd name="connsiteY117" fmla="*/ 1035825 h 1413343"/>
              <a:gd name="connsiteX118" fmla="*/ 3390139 w 6124670"/>
              <a:gd name="connsiteY118" fmla="*/ 1111932 h 1413343"/>
              <a:gd name="connsiteX119" fmla="*/ 3094864 w 6124670"/>
              <a:gd name="connsiteY119" fmla="*/ 989399 h 1413343"/>
              <a:gd name="connsiteX120" fmla="*/ 2988851 w 6124670"/>
              <a:gd name="connsiteY120" fmla="*/ 648342 h 1413343"/>
              <a:gd name="connsiteX121" fmla="*/ 3091626 w 6124670"/>
              <a:gd name="connsiteY121" fmla="*/ 317178 h 1413343"/>
              <a:gd name="connsiteX122" fmla="*/ 3386901 w 6124670"/>
              <a:gd name="connsiteY122" fmla="*/ 194645 h 1413343"/>
              <a:gd name="connsiteX123" fmla="*/ 2146078 w 6124670"/>
              <a:gd name="connsiteY123" fmla="*/ 194645 h 1413343"/>
              <a:gd name="connsiteX124" fmla="*/ 2424684 w 6124670"/>
              <a:gd name="connsiteY124" fmla="*/ 257529 h 1413343"/>
              <a:gd name="connsiteX125" fmla="*/ 2520792 w 6124670"/>
              <a:gd name="connsiteY125" fmla="*/ 442946 h 1413343"/>
              <a:gd name="connsiteX126" fmla="*/ 2520792 w 6124670"/>
              <a:gd name="connsiteY126" fmla="*/ 744332 h 1413343"/>
              <a:gd name="connsiteX127" fmla="*/ 2473167 w 6124670"/>
              <a:gd name="connsiteY127" fmla="*/ 951345 h 1413343"/>
              <a:gd name="connsiteX128" fmla="*/ 2358391 w 6124670"/>
              <a:gd name="connsiteY128" fmla="*/ 1059133 h 1413343"/>
              <a:gd name="connsiteX129" fmla="*/ 2210848 w 6124670"/>
              <a:gd name="connsiteY129" fmla="*/ 1103846 h 1413343"/>
              <a:gd name="connsiteX130" fmla="*/ 2073307 w 6124670"/>
              <a:gd name="connsiteY130" fmla="*/ 1112123 h 1413343"/>
              <a:gd name="connsiteX131" fmla="*/ 1864614 w 6124670"/>
              <a:gd name="connsiteY131" fmla="*/ 1047336 h 1413343"/>
              <a:gd name="connsiteX132" fmla="*/ 1775079 w 6124670"/>
              <a:gd name="connsiteY132" fmla="*/ 833759 h 1413343"/>
              <a:gd name="connsiteX133" fmla="*/ 1856328 w 6124670"/>
              <a:gd name="connsiteY133" fmla="*/ 635023 h 1413343"/>
              <a:gd name="connsiteX134" fmla="*/ 2063496 w 6124670"/>
              <a:gd name="connsiteY134" fmla="*/ 555586 h 1413343"/>
              <a:gd name="connsiteX135" fmla="*/ 2103311 w 6124670"/>
              <a:gd name="connsiteY135" fmla="*/ 550638 h 1413343"/>
              <a:gd name="connsiteX136" fmla="*/ 2156365 w 6124670"/>
              <a:gd name="connsiteY136" fmla="*/ 542362 h 1413343"/>
              <a:gd name="connsiteX137" fmla="*/ 2302288 w 6124670"/>
              <a:gd name="connsiteY137" fmla="*/ 456265 h 1413343"/>
              <a:gd name="connsiteX138" fmla="*/ 2250853 w 6124670"/>
              <a:gd name="connsiteY138" fmla="*/ 391669 h 1413343"/>
              <a:gd name="connsiteX139" fmla="*/ 2156365 w 6124670"/>
              <a:gd name="connsiteY139" fmla="*/ 376732 h 1413343"/>
              <a:gd name="connsiteX140" fmla="*/ 2073497 w 6124670"/>
              <a:gd name="connsiteY140" fmla="*/ 389956 h 1413343"/>
              <a:gd name="connsiteX141" fmla="*/ 2020443 w 6124670"/>
              <a:gd name="connsiteY141" fmla="*/ 439712 h 1413343"/>
              <a:gd name="connsiteX142" fmla="*/ 1797939 w 6124670"/>
              <a:gd name="connsiteY142" fmla="*/ 439712 h 1413343"/>
              <a:gd name="connsiteX143" fmla="*/ 1890808 w 6124670"/>
              <a:gd name="connsiteY143" fmla="*/ 270753 h 1413343"/>
              <a:gd name="connsiteX144" fmla="*/ 2146078 w 6124670"/>
              <a:gd name="connsiteY144" fmla="*/ 194645 h 1413343"/>
              <a:gd name="connsiteX145" fmla="*/ 374523 w 6124670"/>
              <a:gd name="connsiteY145" fmla="*/ 194645 h 1413343"/>
              <a:gd name="connsiteX146" fmla="*/ 649796 w 6124670"/>
              <a:gd name="connsiteY146" fmla="*/ 270753 h 1413343"/>
              <a:gd name="connsiteX147" fmla="*/ 752570 w 6124670"/>
              <a:gd name="connsiteY147" fmla="*/ 486042 h 1413343"/>
              <a:gd name="connsiteX148" fmla="*/ 609695 w 6124670"/>
              <a:gd name="connsiteY148" fmla="*/ 486042 h 1413343"/>
              <a:gd name="connsiteX149" fmla="*/ 513493 w 6124670"/>
              <a:gd name="connsiteY149" fmla="*/ 429722 h 1413343"/>
              <a:gd name="connsiteX150" fmla="*/ 487013 w 6124670"/>
              <a:gd name="connsiteY150" fmla="*/ 403275 h 1413343"/>
              <a:gd name="connsiteX151" fmla="*/ 377571 w 6124670"/>
              <a:gd name="connsiteY151" fmla="*/ 373403 h 1413343"/>
              <a:gd name="connsiteX152" fmla="*/ 278130 w 6124670"/>
              <a:gd name="connsiteY152" fmla="*/ 393286 h 1413343"/>
              <a:gd name="connsiteX153" fmla="*/ 248317 w 6124670"/>
              <a:gd name="connsiteY153" fmla="*/ 452935 h 1413343"/>
              <a:gd name="connsiteX154" fmla="*/ 420719 w 6124670"/>
              <a:gd name="connsiteY154" fmla="*/ 542362 h 1413343"/>
              <a:gd name="connsiteX155" fmla="*/ 455486 w 6124670"/>
              <a:gd name="connsiteY155" fmla="*/ 551875 h 1413343"/>
              <a:gd name="connsiteX156" fmla="*/ 484061 w 6124670"/>
              <a:gd name="connsiteY156" fmla="*/ 555205 h 1413343"/>
              <a:gd name="connsiteX157" fmla="*/ 719519 w 6124670"/>
              <a:gd name="connsiteY157" fmla="*/ 654525 h 1413343"/>
              <a:gd name="connsiteX158" fmla="*/ 782479 w 6124670"/>
              <a:gd name="connsiteY158" fmla="*/ 813495 h 1413343"/>
              <a:gd name="connsiteX159" fmla="*/ 676370 w 6124670"/>
              <a:gd name="connsiteY159" fmla="*/ 1038679 h 1413343"/>
              <a:gd name="connsiteX160" fmla="*/ 377952 w 6124670"/>
              <a:gd name="connsiteY160" fmla="*/ 1111552 h 1413343"/>
              <a:gd name="connsiteX161" fmla="*/ 96108 w 6124670"/>
              <a:gd name="connsiteY161" fmla="*/ 1035444 h 1413343"/>
              <a:gd name="connsiteX162" fmla="*/ 0 w 6124670"/>
              <a:gd name="connsiteY162" fmla="*/ 813495 h 1413343"/>
              <a:gd name="connsiteX163" fmla="*/ 286 w 6124670"/>
              <a:gd name="connsiteY163" fmla="*/ 803982 h 1413343"/>
              <a:gd name="connsiteX164" fmla="*/ 225743 w 6124670"/>
              <a:gd name="connsiteY164" fmla="*/ 803982 h 1413343"/>
              <a:gd name="connsiteX165" fmla="*/ 275463 w 6124670"/>
              <a:gd name="connsiteY165" fmla="*/ 903302 h 1413343"/>
              <a:gd name="connsiteX166" fmla="*/ 408051 w 6124670"/>
              <a:gd name="connsiteY166" fmla="*/ 936409 h 1413343"/>
              <a:gd name="connsiteX167" fmla="*/ 510921 w 6124670"/>
              <a:gd name="connsiteY167" fmla="*/ 913196 h 1413343"/>
              <a:gd name="connsiteX168" fmla="*/ 550640 w 6124670"/>
              <a:gd name="connsiteY168" fmla="*/ 850312 h 1413343"/>
              <a:gd name="connsiteX169" fmla="*/ 411385 w 6124670"/>
              <a:gd name="connsiteY169" fmla="*/ 760886 h 1413343"/>
              <a:gd name="connsiteX170" fmla="*/ 321850 w 6124670"/>
              <a:gd name="connsiteY170" fmla="*/ 741003 h 1413343"/>
              <a:gd name="connsiteX171" fmla="*/ 86487 w 6124670"/>
              <a:gd name="connsiteY171" fmla="*/ 638352 h 1413343"/>
              <a:gd name="connsiteX172" fmla="*/ 19812 w 6124670"/>
              <a:gd name="connsiteY172" fmla="*/ 479383 h 1413343"/>
              <a:gd name="connsiteX173" fmla="*/ 115919 w 6124670"/>
              <a:gd name="connsiteY173" fmla="*/ 270753 h 1413343"/>
              <a:gd name="connsiteX174" fmla="*/ 374523 w 6124670"/>
              <a:gd name="connsiteY174" fmla="*/ 194645 h 1413343"/>
              <a:gd name="connsiteX175" fmla="*/ 2575750 w 6124670"/>
              <a:gd name="connsiteY175" fmla="*/ 0 h 1413343"/>
              <a:gd name="connsiteX176" fmla="*/ 2799779 w 6124670"/>
              <a:gd name="connsiteY176" fmla="*/ 0 h 1413343"/>
              <a:gd name="connsiteX177" fmla="*/ 2799779 w 6124670"/>
              <a:gd name="connsiteY177" fmla="*/ 221949 h 1413343"/>
              <a:gd name="connsiteX178" fmla="*/ 2958084 w 6124670"/>
              <a:gd name="connsiteY178" fmla="*/ 221949 h 1413343"/>
              <a:gd name="connsiteX179" fmla="*/ 2958084 w 6124670"/>
              <a:gd name="connsiteY179" fmla="*/ 420399 h 1413343"/>
              <a:gd name="connsiteX180" fmla="*/ 2800159 w 6124670"/>
              <a:gd name="connsiteY180" fmla="*/ 420399 h 1413343"/>
              <a:gd name="connsiteX181" fmla="*/ 2800159 w 6124670"/>
              <a:gd name="connsiteY181" fmla="*/ 728921 h 1413343"/>
              <a:gd name="connsiteX182" fmla="*/ 2841784 w 6124670"/>
              <a:gd name="connsiteY182" fmla="*/ 857828 h 1413343"/>
              <a:gd name="connsiteX183" fmla="*/ 2968276 w 6124670"/>
              <a:gd name="connsiteY183" fmla="*/ 889984 h 1413343"/>
              <a:gd name="connsiteX184" fmla="*/ 2968276 w 6124670"/>
              <a:gd name="connsiteY184" fmla="*/ 1093667 h 1413343"/>
              <a:gd name="connsiteX185" fmla="*/ 2798064 w 6124670"/>
              <a:gd name="connsiteY185" fmla="*/ 1081870 h 1413343"/>
              <a:gd name="connsiteX186" fmla="*/ 2675858 w 6124670"/>
              <a:gd name="connsiteY186" fmla="*/ 1010614 h 1413343"/>
              <a:gd name="connsiteX187" fmla="*/ 2601183 w 6124670"/>
              <a:gd name="connsiteY187" fmla="*/ 889413 h 1413343"/>
              <a:gd name="connsiteX188" fmla="*/ 2575750 w 6124670"/>
              <a:gd name="connsiteY188" fmla="*/ 727684 h 1413343"/>
              <a:gd name="connsiteX189" fmla="*/ 824770 w 6124670"/>
              <a:gd name="connsiteY189" fmla="*/ 0 h 1413343"/>
              <a:gd name="connsiteX190" fmla="*/ 1048893 w 6124670"/>
              <a:gd name="connsiteY190" fmla="*/ 0 h 1413343"/>
              <a:gd name="connsiteX191" fmla="*/ 1048893 w 6124670"/>
              <a:gd name="connsiteY191" fmla="*/ 221949 h 1413343"/>
              <a:gd name="connsiteX192" fmla="*/ 1206723 w 6124670"/>
              <a:gd name="connsiteY192" fmla="*/ 221949 h 1413343"/>
              <a:gd name="connsiteX193" fmla="*/ 1206723 w 6124670"/>
              <a:gd name="connsiteY193" fmla="*/ 420399 h 1413343"/>
              <a:gd name="connsiteX194" fmla="*/ 1048417 w 6124670"/>
              <a:gd name="connsiteY194" fmla="*/ 420399 h 1413343"/>
              <a:gd name="connsiteX195" fmla="*/ 1048417 w 6124670"/>
              <a:gd name="connsiteY195" fmla="*/ 728921 h 1413343"/>
              <a:gd name="connsiteX196" fmla="*/ 1089946 w 6124670"/>
              <a:gd name="connsiteY196" fmla="*/ 857828 h 1413343"/>
              <a:gd name="connsiteX197" fmla="*/ 1216915 w 6124670"/>
              <a:gd name="connsiteY197" fmla="*/ 890174 h 1413343"/>
              <a:gd name="connsiteX198" fmla="*/ 1216915 w 6124670"/>
              <a:gd name="connsiteY198" fmla="*/ 1093667 h 1413343"/>
              <a:gd name="connsiteX199" fmla="*/ 1047179 w 6124670"/>
              <a:gd name="connsiteY199" fmla="*/ 1081870 h 1413343"/>
              <a:gd name="connsiteX200" fmla="*/ 924973 w 6124670"/>
              <a:gd name="connsiteY200" fmla="*/ 1010614 h 1413343"/>
              <a:gd name="connsiteX201" fmla="*/ 850202 w 6124670"/>
              <a:gd name="connsiteY201" fmla="*/ 889413 h 1413343"/>
              <a:gd name="connsiteX202" fmla="*/ 824770 w 6124670"/>
              <a:gd name="connsiteY202" fmla="*/ 727684 h 1413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6124670" h="1413343">
                <a:moveTo>
                  <a:pt x="2305336" y="651766"/>
                </a:moveTo>
                <a:cubicBezTo>
                  <a:pt x="2263969" y="670831"/>
                  <a:pt x="2220620" y="685282"/>
                  <a:pt x="2176082" y="694862"/>
                </a:cubicBezTo>
                <a:lnTo>
                  <a:pt x="2099882" y="711416"/>
                </a:lnTo>
                <a:cubicBezTo>
                  <a:pt x="2060067" y="722547"/>
                  <a:pt x="2031397" y="736817"/>
                  <a:pt x="2013681" y="754512"/>
                </a:cubicBezTo>
                <a:cubicBezTo>
                  <a:pt x="1999060" y="776060"/>
                  <a:pt x="1990992" y="801366"/>
                  <a:pt x="1990440" y="827385"/>
                </a:cubicBezTo>
                <a:cubicBezTo>
                  <a:pt x="1989058" y="856848"/>
                  <a:pt x="1999869" y="885569"/>
                  <a:pt x="2020348" y="906822"/>
                </a:cubicBezTo>
                <a:cubicBezTo>
                  <a:pt x="2040255" y="924517"/>
                  <a:pt x="2068926" y="933269"/>
                  <a:pt x="2106073" y="933269"/>
                </a:cubicBezTo>
                <a:cubicBezTo>
                  <a:pt x="2167919" y="933269"/>
                  <a:pt x="2216535" y="915641"/>
                  <a:pt x="2251900" y="880375"/>
                </a:cubicBezTo>
                <a:cubicBezTo>
                  <a:pt x="2287267" y="845108"/>
                  <a:pt x="2304955" y="796533"/>
                  <a:pt x="2304955" y="734629"/>
                </a:cubicBezTo>
                <a:close/>
                <a:moveTo>
                  <a:pt x="3393473" y="386722"/>
                </a:moveTo>
                <a:cubicBezTo>
                  <a:pt x="3349077" y="385180"/>
                  <a:pt x="3305986" y="401934"/>
                  <a:pt x="3274315" y="433052"/>
                </a:cubicBezTo>
                <a:cubicBezTo>
                  <a:pt x="3243263" y="463999"/>
                  <a:pt x="3226623" y="508142"/>
                  <a:pt x="3224404" y="565479"/>
                </a:cubicBezTo>
                <a:lnTo>
                  <a:pt x="3562637" y="565479"/>
                </a:lnTo>
                <a:cubicBezTo>
                  <a:pt x="3558131" y="505925"/>
                  <a:pt x="3542634" y="461783"/>
                  <a:pt x="3516155" y="433052"/>
                </a:cubicBezTo>
                <a:cubicBezTo>
                  <a:pt x="3487513" y="402162"/>
                  <a:pt x="3446622" y="386722"/>
                  <a:pt x="3393473" y="386722"/>
                </a:cubicBezTo>
                <a:close/>
                <a:moveTo>
                  <a:pt x="4552474" y="214433"/>
                </a:moveTo>
                <a:lnTo>
                  <a:pt x="4807839" y="214433"/>
                </a:lnTo>
                <a:lnTo>
                  <a:pt x="4986910" y="837089"/>
                </a:lnTo>
                <a:lnTo>
                  <a:pt x="5142739" y="293966"/>
                </a:lnTo>
                <a:cubicBezTo>
                  <a:pt x="5155978" y="241004"/>
                  <a:pt x="5191411" y="214500"/>
                  <a:pt x="5248847" y="214433"/>
                </a:cubicBezTo>
                <a:lnTo>
                  <a:pt x="5407914" y="214433"/>
                </a:lnTo>
                <a:lnTo>
                  <a:pt x="5069681" y="1217912"/>
                </a:lnTo>
                <a:cubicBezTo>
                  <a:pt x="5043106" y="1290785"/>
                  <a:pt x="5009959" y="1342662"/>
                  <a:pt x="4970146" y="1373552"/>
                </a:cubicBezTo>
                <a:cubicBezTo>
                  <a:pt x="4930426" y="1400124"/>
                  <a:pt x="4865180" y="1413385"/>
                  <a:pt x="4774597" y="1413318"/>
                </a:cubicBezTo>
                <a:lnTo>
                  <a:pt x="4751737" y="1413318"/>
                </a:lnTo>
                <a:cubicBezTo>
                  <a:pt x="4742403" y="1413509"/>
                  <a:pt x="4684586" y="1412558"/>
                  <a:pt x="4677918" y="1412558"/>
                </a:cubicBezTo>
                <a:lnTo>
                  <a:pt x="4677918" y="1224572"/>
                </a:lnTo>
                <a:lnTo>
                  <a:pt x="4741164" y="1224572"/>
                </a:lnTo>
                <a:cubicBezTo>
                  <a:pt x="4785646" y="1224572"/>
                  <a:pt x="4820507" y="1214078"/>
                  <a:pt x="4845939" y="1193082"/>
                </a:cubicBezTo>
                <a:cubicBezTo>
                  <a:pt x="4871371" y="1172057"/>
                  <a:pt x="4876323" y="1138475"/>
                  <a:pt x="4860893" y="1092050"/>
                </a:cubicBezTo>
                <a:close/>
                <a:moveTo>
                  <a:pt x="1721739" y="214433"/>
                </a:moveTo>
                <a:lnTo>
                  <a:pt x="1754982" y="214433"/>
                </a:lnTo>
                <a:lnTo>
                  <a:pt x="1754982" y="449605"/>
                </a:lnTo>
                <a:lnTo>
                  <a:pt x="1678782" y="449605"/>
                </a:lnTo>
                <a:cubicBezTo>
                  <a:pt x="1614583" y="449605"/>
                  <a:pt x="1566958" y="465046"/>
                  <a:pt x="1535907" y="495936"/>
                </a:cubicBezTo>
                <a:cubicBezTo>
                  <a:pt x="1504855" y="526826"/>
                  <a:pt x="1489396" y="575402"/>
                  <a:pt x="1489520" y="641682"/>
                </a:cubicBezTo>
                <a:lnTo>
                  <a:pt x="1489520" y="1095379"/>
                </a:lnTo>
                <a:lnTo>
                  <a:pt x="1257205" y="1095379"/>
                </a:lnTo>
                <a:lnTo>
                  <a:pt x="1257205" y="668225"/>
                </a:lnTo>
                <a:cubicBezTo>
                  <a:pt x="1257205" y="582033"/>
                  <a:pt x="1269902" y="509702"/>
                  <a:pt x="1295305" y="451223"/>
                </a:cubicBezTo>
                <a:cubicBezTo>
                  <a:pt x="1318051" y="396397"/>
                  <a:pt x="1354046" y="348049"/>
                  <a:pt x="1400080" y="310519"/>
                </a:cubicBezTo>
                <a:cubicBezTo>
                  <a:pt x="1443829" y="276527"/>
                  <a:pt x="1494016" y="251735"/>
                  <a:pt x="1547622" y="237646"/>
                </a:cubicBezTo>
                <a:cubicBezTo>
                  <a:pt x="1604354" y="222148"/>
                  <a:pt x="1662923" y="214347"/>
                  <a:pt x="1721739" y="214433"/>
                </a:cubicBezTo>
                <a:close/>
                <a:moveTo>
                  <a:pt x="5716715" y="194645"/>
                </a:moveTo>
                <a:cubicBezTo>
                  <a:pt x="5831586" y="194645"/>
                  <a:pt x="5923312" y="220017"/>
                  <a:pt x="5991892" y="270753"/>
                </a:cubicBezTo>
                <a:cubicBezTo>
                  <a:pt x="6055995" y="326054"/>
                  <a:pt x="6090285" y="397824"/>
                  <a:pt x="6094762" y="486042"/>
                </a:cubicBezTo>
                <a:lnTo>
                  <a:pt x="5951887" y="486042"/>
                </a:lnTo>
                <a:cubicBezTo>
                  <a:pt x="5911691" y="487127"/>
                  <a:pt x="5874353" y="465284"/>
                  <a:pt x="5855684" y="429722"/>
                </a:cubicBezTo>
                <a:lnTo>
                  <a:pt x="5829205" y="403275"/>
                </a:lnTo>
                <a:cubicBezTo>
                  <a:pt x="5802630" y="383420"/>
                  <a:pt x="5766149" y="373469"/>
                  <a:pt x="5719762" y="373403"/>
                </a:cubicBezTo>
                <a:cubicBezTo>
                  <a:pt x="5675280" y="373403"/>
                  <a:pt x="5642134" y="380034"/>
                  <a:pt x="5620322" y="393286"/>
                </a:cubicBezTo>
                <a:cubicBezTo>
                  <a:pt x="5600414" y="406386"/>
                  <a:pt x="5588984" y="429142"/>
                  <a:pt x="5590413" y="452935"/>
                </a:cubicBezTo>
                <a:cubicBezTo>
                  <a:pt x="5590413" y="488259"/>
                  <a:pt x="5647848" y="518074"/>
                  <a:pt x="5762816" y="542362"/>
                </a:cubicBezTo>
                <a:cubicBezTo>
                  <a:pt x="5774245" y="546148"/>
                  <a:pt x="5785867" y="549325"/>
                  <a:pt x="5797678" y="551875"/>
                </a:cubicBezTo>
                <a:cubicBezTo>
                  <a:pt x="5807012" y="554073"/>
                  <a:pt x="5816632" y="555195"/>
                  <a:pt x="5826253" y="555205"/>
                </a:cubicBezTo>
                <a:cubicBezTo>
                  <a:pt x="5938933" y="583935"/>
                  <a:pt x="6017323" y="617042"/>
                  <a:pt x="6061615" y="654525"/>
                </a:cubicBezTo>
                <a:cubicBezTo>
                  <a:pt x="6103620" y="694292"/>
                  <a:pt x="6124575" y="747282"/>
                  <a:pt x="6124670" y="813495"/>
                </a:cubicBezTo>
                <a:cubicBezTo>
                  <a:pt x="6124670" y="910723"/>
                  <a:pt x="6089333" y="985784"/>
                  <a:pt x="6018562" y="1038679"/>
                </a:cubicBezTo>
                <a:cubicBezTo>
                  <a:pt x="5952268" y="1087321"/>
                  <a:pt x="5852826" y="1111619"/>
                  <a:pt x="5720144" y="1111552"/>
                </a:cubicBezTo>
                <a:cubicBezTo>
                  <a:pt x="5594128" y="1111552"/>
                  <a:pt x="5500117" y="1086180"/>
                  <a:pt x="5438298" y="1035444"/>
                </a:cubicBezTo>
                <a:cubicBezTo>
                  <a:pt x="5374195" y="984709"/>
                  <a:pt x="5342096" y="910723"/>
                  <a:pt x="5342096" y="813495"/>
                </a:cubicBezTo>
                <a:lnTo>
                  <a:pt x="5342287" y="803982"/>
                </a:lnTo>
                <a:lnTo>
                  <a:pt x="5567839" y="803982"/>
                </a:lnTo>
                <a:cubicBezTo>
                  <a:pt x="5569934" y="848124"/>
                  <a:pt x="5586889" y="881326"/>
                  <a:pt x="5617559" y="903302"/>
                </a:cubicBezTo>
                <a:cubicBezTo>
                  <a:pt x="5650706" y="925469"/>
                  <a:pt x="5694902" y="936409"/>
                  <a:pt x="5750148" y="936409"/>
                </a:cubicBezTo>
                <a:cubicBezTo>
                  <a:pt x="5785771" y="937379"/>
                  <a:pt x="5821109" y="929398"/>
                  <a:pt x="5852922" y="913196"/>
                </a:cubicBezTo>
                <a:cubicBezTo>
                  <a:pt x="5879497" y="897784"/>
                  <a:pt x="5892737" y="876826"/>
                  <a:pt x="5892737" y="850312"/>
                </a:cubicBezTo>
                <a:cubicBezTo>
                  <a:pt x="5892737" y="810546"/>
                  <a:pt x="5846350" y="780740"/>
                  <a:pt x="5753481" y="760886"/>
                </a:cubicBezTo>
                <a:cubicBezTo>
                  <a:pt x="5723191" y="756472"/>
                  <a:pt x="5693283" y="749831"/>
                  <a:pt x="5663946" y="741003"/>
                </a:cubicBezTo>
                <a:cubicBezTo>
                  <a:pt x="5546788" y="712396"/>
                  <a:pt x="5468302" y="678185"/>
                  <a:pt x="5428584" y="638352"/>
                </a:cubicBezTo>
                <a:cubicBezTo>
                  <a:pt x="5384102" y="598710"/>
                  <a:pt x="5361909" y="545720"/>
                  <a:pt x="5361909" y="479383"/>
                </a:cubicBezTo>
                <a:cubicBezTo>
                  <a:pt x="5360384" y="398813"/>
                  <a:pt x="5395817" y="321964"/>
                  <a:pt x="5458111" y="270753"/>
                </a:cubicBezTo>
                <a:cubicBezTo>
                  <a:pt x="5524405" y="220017"/>
                  <a:pt x="5610606" y="194645"/>
                  <a:pt x="5716715" y="194645"/>
                </a:cubicBezTo>
                <a:close/>
                <a:moveTo>
                  <a:pt x="4192239" y="194645"/>
                </a:moveTo>
                <a:cubicBezTo>
                  <a:pt x="4307110" y="194645"/>
                  <a:pt x="4398836" y="220017"/>
                  <a:pt x="4467416" y="270753"/>
                </a:cubicBezTo>
                <a:cubicBezTo>
                  <a:pt x="4531519" y="326054"/>
                  <a:pt x="4565809" y="397824"/>
                  <a:pt x="4570190" y="486042"/>
                </a:cubicBezTo>
                <a:lnTo>
                  <a:pt x="4427315" y="486042"/>
                </a:lnTo>
                <a:cubicBezTo>
                  <a:pt x="4387244" y="487098"/>
                  <a:pt x="4350087" y="465236"/>
                  <a:pt x="4331589" y="429722"/>
                </a:cubicBezTo>
                <a:lnTo>
                  <a:pt x="4305015" y="403275"/>
                </a:lnTo>
                <a:cubicBezTo>
                  <a:pt x="4278535" y="383420"/>
                  <a:pt x="4242083" y="373469"/>
                  <a:pt x="4195667" y="373403"/>
                </a:cubicBezTo>
                <a:cubicBezTo>
                  <a:pt x="4151214" y="373403"/>
                  <a:pt x="4118039" y="380034"/>
                  <a:pt x="4096132" y="393286"/>
                </a:cubicBezTo>
                <a:cubicBezTo>
                  <a:pt x="4076224" y="406415"/>
                  <a:pt x="4064861" y="429161"/>
                  <a:pt x="4066318" y="452935"/>
                </a:cubicBezTo>
                <a:cubicBezTo>
                  <a:pt x="4066318" y="488259"/>
                  <a:pt x="4123782" y="518074"/>
                  <a:pt x="4238721" y="542362"/>
                </a:cubicBezTo>
                <a:cubicBezTo>
                  <a:pt x="4250160" y="546167"/>
                  <a:pt x="4261799" y="549335"/>
                  <a:pt x="4273582" y="551875"/>
                </a:cubicBezTo>
                <a:cubicBezTo>
                  <a:pt x="4282793" y="554044"/>
                  <a:pt x="4292223" y="555157"/>
                  <a:pt x="4301681" y="555205"/>
                </a:cubicBezTo>
                <a:cubicBezTo>
                  <a:pt x="4414457" y="583935"/>
                  <a:pt x="4492943" y="617042"/>
                  <a:pt x="4537139" y="654525"/>
                </a:cubicBezTo>
                <a:cubicBezTo>
                  <a:pt x="4579144" y="694292"/>
                  <a:pt x="4600099" y="747282"/>
                  <a:pt x="4600099" y="813495"/>
                </a:cubicBezTo>
                <a:cubicBezTo>
                  <a:pt x="4600099" y="910723"/>
                  <a:pt x="4564761" y="985784"/>
                  <a:pt x="4494086" y="1038679"/>
                </a:cubicBezTo>
                <a:cubicBezTo>
                  <a:pt x="4427668" y="1087321"/>
                  <a:pt x="4328189" y="1111619"/>
                  <a:pt x="4195667" y="1111552"/>
                </a:cubicBezTo>
                <a:cubicBezTo>
                  <a:pt x="4069623" y="1111552"/>
                  <a:pt x="3975669" y="1086180"/>
                  <a:pt x="3913823" y="1035444"/>
                </a:cubicBezTo>
                <a:cubicBezTo>
                  <a:pt x="3849625" y="984709"/>
                  <a:pt x="3817554" y="910723"/>
                  <a:pt x="3817620" y="813495"/>
                </a:cubicBezTo>
                <a:lnTo>
                  <a:pt x="3817906" y="803982"/>
                </a:lnTo>
                <a:lnTo>
                  <a:pt x="4043363" y="803982"/>
                </a:lnTo>
                <a:cubicBezTo>
                  <a:pt x="4045553" y="848124"/>
                  <a:pt x="4062413" y="881326"/>
                  <a:pt x="4093084" y="903302"/>
                </a:cubicBezTo>
                <a:cubicBezTo>
                  <a:pt x="4126326" y="925469"/>
                  <a:pt x="4170522" y="936409"/>
                  <a:pt x="4225767" y="936409"/>
                </a:cubicBezTo>
                <a:cubicBezTo>
                  <a:pt x="4261428" y="937379"/>
                  <a:pt x="4296766" y="929398"/>
                  <a:pt x="4328541" y="913196"/>
                </a:cubicBezTo>
                <a:cubicBezTo>
                  <a:pt x="4355021" y="897784"/>
                  <a:pt x="4368356" y="876855"/>
                  <a:pt x="4368356" y="850312"/>
                </a:cubicBezTo>
                <a:cubicBezTo>
                  <a:pt x="4368356" y="810546"/>
                  <a:pt x="4321940" y="780740"/>
                  <a:pt x="4229100" y="760886"/>
                </a:cubicBezTo>
                <a:cubicBezTo>
                  <a:pt x="4198802" y="756472"/>
                  <a:pt x="4168874" y="749831"/>
                  <a:pt x="4139566" y="741003"/>
                </a:cubicBezTo>
                <a:cubicBezTo>
                  <a:pt x="4022284" y="712396"/>
                  <a:pt x="3943798" y="678185"/>
                  <a:pt x="3904107" y="638352"/>
                </a:cubicBezTo>
                <a:cubicBezTo>
                  <a:pt x="3859654" y="598710"/>
                  <a:pt x="3837432" y="545720"/>
                  <a:pt x="3837432" y="479383"/>
                </a:cubicBezTo>
                <a:cubicBezTo>
                  <a:pt x="3835918" y="398832"/>
                  <a:pt x="3871313" y="322011"/>
                  <a:pt x="3933540" y="270753"/>
                </a:cubicBezTo>
                <a:cubicBezTo>
                  <a:pt x="3999957" y="220017"/>
                  <a:pt x="4086197" y="194645"/>
                  <a:pt x="4192239" y="194645"/>
                </a:cubicBezTo>
                <a:close/>
                <a:moveTo>
                  <a:pt x="3386901" y="194645"/>
                </a:moveTo>
                <a:cubicBezTo>
                  <a:pt x="3519488" y="194645"/>
                  <a:pt x="3622264" y="234383"/>
                  <a:pt x="3695225" y="313849"/>
                </a:cubicBezTo>
                <a:cubicBezTo>
                  <a:pt x="3765967" y="395541"/>
                  <a:pt x="3801333" y="509226"/>
                  <a:pt x="3801333" y="654906"/>
                </a:cubicBezTo>
                <a:lnTo>
                  <a:pt x="3801333" y="691342"/>
                </a:lnTo>
                <a:cubicBezTo>
                  <a:pt x="3801838" y="699229"/>
                  <a:pt x="3800704" y="707135"/>
                  <a:pt x="3797999" y="714555"/>
                </a:cubicBezTo>
                <a:lnTo>
                  <a:pt x="3224404" y="714555"/>
                </a:lnTo>
                <a:cubicBezTo>
                  <a:pt x="3226623" y="783052"/>
                  <a:pt x="3243197" y="833787"/>
                  <a:pt x="3274124" y="866771"/>
                </a:cubicBezTo>
                <a:cubicBezTo>
                  <a:pt x="3302766" y="902161"/>
                  <a:pt x="3345876" y="919827"/>
                  <a:pt x="3403474" y="919761"/>
                </a:cubicBezTo>
                <a:cubicBezTo>
                  <a:pt x="3437002" y="920750"/>
                  <a:pt x="3470187" y="912768"/>
                  <a:pt x="3499581" y="896643"/>
                </a:cubicBezTo>
                <a:cubicBezTo>
                  <a:pt x="3506515" y="894274"/>
                  <a:pt x="3512783" y="890297"/>
                  <a:pt x="3517869" y="885036"/>
                </a:cubicBezTo>
                <a:lnTo>
                  <a:pt x="3536062" y="866771"/>
                </a:lnTo>
                <a:cubicBezTo>
                  <a:pt x="3541967" y="855992"/>
                  <a:pt x="3550521" y="846887"/>
                  <a:pt x="3560923" y="840323"/>
                </a:cubicBezTo>
                <a:cubicBezTo>
                  <a:pt x="3579000" y="828250"/>
                  <a:pt x="3600565" y="822466"/>
                  <a:pt x="3622264" y="823865"/>
                </a:cubicBezTo>
                <a:lnTo>
                  <a:pt x="3788094" y="823865"/>
                </a:lnTo>
                <a:cubicBezTo>
                  <a:pt x="3763710" y="916526"/>
                  <a:pt x="3717294" y="987182"/>
                  <a:pt x="3648838" y="1035825"/>
                </a:cubicBezTo>
                <a:cubicBezTo>
                  <a:pt x="3580258" y="1086560"/>
                  <a:pt x="3494028" y="1111932"/>
                  <a:pt x="3390139" y="1111932"/>
                </a:cubicBezTo>
                <a:cubicBezTo>
                  <a:pt x="3264219" y="1111932"/>
                  <a:pt x="3165797" y="1071091"/>
                  <a:pt x="3094864" y="989399"/>
                </a:cubicBezTo>
                <a:cubicBezTo>
                  <a:pt x="3024188" y="909933"/>
                  <a:pt x="2988851" y="796247"/>
                  <a:pt x="2988851" y="648342"/>
                </a:cubicBezTo>
                <a:cubicBezTo>
                  <a:pt x="2988851" y="507095"/>
                  <a:pt x="3023112" y="396711"/>
                  <a:pt x="3091626" y="317178"/>
                </a:cubicBezTo>
                <a:cubicBezTo>
                  <a:pt x="3162301" y="235486"/>
                  <a:pt x="3260723" y="194645"/>
                  <a:pt x="3386901" y="194645"/>
                </a:cubicBezTo>
                <a:close/>
                <a:moveTo>
                  <a:pt x="2146078" y="194645"/>
                </a:moveTo>
                <a:cubicBezTo>
                  <a:pt x="2269903" y="194645"/>
                  <a:pt x="2362772" y="215603"/>
                  <a:pt x="2424684" y="257529"/>
                </a:cubicBezTo>
                <a:cubicBezTo>
                  <a:pt x="2488816" y="301928"/>
                  <a:pt x="2520858" y="363728"/>
                  <a:pt x="2520792" y="442946"/>
                </a:cubicBezTo>
                <a:lnTo>
                  <a:pt x="2520792" y="744332"/>
                </a:lnTo>
                <a:cubicBezTo>
                  <a:pt x="2520792" y="832684"/>
                  <a:pt x="2504914" y="901685"/>
                  <a:pt x="2473167" y="951345"/>
                </a:cubicBezTo>
                <a:cubicBezTo>
                  <a:pt x="2445477" y="997067"/>
                  <a:pt x="2405777" y="1034341"/>
                  <a:pt x="2358391" y="1059133"/>
                </a:cubicBezTo>
                <a:cubicBezTo>
                  <a:pt x="2312508" y="1083297"/>
                  <a:pt x="2262435" y="1098471"/>
                  <a:pt x="2210848" y="1103846"/>
                </a:cubicBezTo>
                <a:cubicBezTo>
                  <a:pt x="2165176" y="1109002"/>
                  <a:pt x="2119265" y="1111761"/>
                  <a:pt x="2073307" y="1112123"/>
                </a:cubicBezTo>
                <a:cubicBezTo>
                  <a:pt x="1998574" y="1113559"/>
                  <a:pt x="1925374" y="1090831"/>
                  <a:pt x="1864614" y="1047336"/>
                </a:cubicBezTo>
                <a:cubicBezTo>
                  <a:pt x="1804921" y="1004335"/>
                  <a:pt x="1775079" y="933146"/>
                  <a:pt x="1775079" y="833759"/>
                </a:cubicBezTo>
                <a:cubicBezTo>
                  <a:pt x="1775079" y="741031"/>
                  <a:pt x="1802159" y="674789"/>
                  <a:pt x="1856328" y="635023"/>
                </a:cubicBezTo>
                <a:cubicBezTo>
                  <a:pt x="1910496" y="595256"/>
                  <a:pt x="1979553" y="568781"/>
                  <a:pt x="2063496" y="555586"/>
                </a:cubicBezTo>
                <a:cubicBezTo>
                  <a:pt x="2076908" y="555319"/>
                  <a:pt x="2090242" y="553664"/>
                  <a:pt x="2103311" y="550638"/>
                </a:cubicBezTo>
                <a:cubicBezTo>
                  <a:pt x="2120846" y="546976"/>
                  <a:pt x="2138553" y="544217"/>
                  <a:pt x="2156365" y="542362"/>
                </a:cubicBezTo>
                <a:cubicBezTo>
                  <a:pt x="2253644" y="529167"/>
                  <a:pt x="2302288" y="500474"/>
                  <a:pt x="2302288" y="456265"/>
                </a:cubicBezTo>
                <a:cubicBezTo>
                  <a:pt x="2302288" y="423158"/>
                  <a:pt x="2285143" y="401629"/>
                  <a:pt x="2250853" y="391669"/>
                </a:cubicBezTo>
                <a:cubicBezTo>
                  <a:pt x="2220220" y="382260"/>
                  <a:pt x="2188407" y="377237"/>
                  <a:pt x="2156365" y="376732"/>
                </a:cubicBezTo>
                <a:cubicBezTo>
                  <a:pt x="2128181" y="376314"/>
                  <a:pt x="2100149" y="380785"/>
                  <a:pt x="2073497" y="389956"/>
                </a:cubicBezTo>
                <a:cubicBezTo>
                  <a:pt x="2049618" y="398395"/>
                  <a:pt x="2030378" y="416442"/>
                  <a:pt x="2020443" y="439712"/>
                </a:cubicBezTo>
                <a:lnTo>
                  <a:pt x="1797939" y="439712"/>
                </a:lnTo>
                <a:cubicBezTo>
                  <a:pt x="1805626" y="373441"/>
                  <a:pt x="1838954" y="312802"/>
                  <a:pt x="1890808" y="270753"/>
                </a:cubicBezTo>
                <a:cubicBezTo>
                  <a:pt x="1950501" y="220017"/>
                  <a:pt x="2035588" y="194645"/>
                  <a:pt x="2146078" y="194645"/>
                </a:cubicBezTo>
                <a:close/>
                <a:moveTo>
                  <a:pt x="374523" y="194645"/>
                </a:moveTo>
                <a:cubicBezTo>
                  <a:pt x="489462" y="194645"/>
                  <a:pt x="581216" y="220017"/>
                  <a:pt x="649796" y="270753"/>
                </a:cubicBezTo>
                <a:cubicBezTo>
                  <a:pt x="713927" y="326054"/>
                  <a:pt x="748189" y="397824"/>
                  <a:pt x="752570" y="486042"/>
                </a:cubicBezTo>
                <a:lnTo>
                  <a:pt x="609695" y="486042"/>
                </a:lnTo>
                <a:cubicBezTo>
                  <a:pt x="569500" y="487127"/>
                  <a:pt x="532181" y="465284"/>
                  <a:pt x="513493" y="429722"/>
                </a:cubicBezTo>
                <a:cubicBezTo>
                  <a:pt x="504634" y="420970"/>
                  <a:pt x="495776" y="412122"/>
                  <a:pt x="487013" y="403275"/>
                </a:cubicBezTo>
                <a:cubicBezTo>
                  <a:pt x="460534" y="383420"/>
                  <a:pt x="424053" y="373469"/>
                  <a:pt x="377571" y="373403"/>
                </a:cubicBezTo>
                <a:cubicBezTo>
                  <a:pt x="333118" y="373403"/>
                  <a:pt x="299971" y="380034"/>
                  <a:pt x="278130" y="393286"/>
                </a:cubicBezTo>
                <a:cubicBezTo>
                  <a:pt x="258223" y="406415"/>
                  <a:pt x="246859" y="429161"/>
                  <a:pt x="248317" y="452935"/>
                </a:cubicBezTo>
                <a:cubicBezTo>
                  <a:pt x="248317" y="488259"/>
                  <a:pt x="305781" y="518074"/>
                  <a:pt x="420719" y="542362"/>
                </a:cubicBezTo>
                <a:cubicBezTo>
                  <a:pt x="432130" y="546148"/>
                  <a:pt x="443732" y="549325"/>
                  <a:pt x="455486" y="551875"/>
                </a:cubicBezTo>
                <a:cubicBezTo>
                  <a:pt x="464849" y="554073"/>
                  <a:pt x="474440" y="555186"/>
                  <a:pt x="484061" y="555205"/>
                </a:cubicBezTo>
                <a:cubicBezTo>
                  <a:pt x="596837" y="583935"/>
                  <a:pt x="675323" y="617042"/>
                  <a:pt x="719519" y="654525"/>
                </a:cubicBezTo>
                <a:cubicBezTo>
                  <a:pt x="761429" y="694292"/>
                  <a:pt x="782412" y="747282"/>
                  <a:pt x="782479" y="813495"/>
                </a:cubicBezTo>
                <a:cubicBezTo>
                  <a:pt x="782479" y="910723"/>
                  <a:pt x="747113" y="985784"/>
                  <a:pt x="676370" y="1038679"/>
                </a:cubicBezTo>
                <a:cubicBezTo>
                  <a:pt x="610076" y="1087321"/>
                  <a:pt x="510607" y="1111619"/>
                  <a:pt x="377952" y="1111552"/>
                </a:cubicBezTo>
                <a:cubicBezTo>
                  <a:pt x="251908" y="1111552"/>
                  <a:pt x="157953" y="1086180"/>
                  <a:pt x="96108" y="1035444"/>
                </a:cubicBezTo>
                <a:cubicBezTo>
                  <a:pt x="31975" y="984709"/>
                  <a:pt x="-67" y="910723"/>
                  <a:pt x="0" y="813495"/>
                </a:cubicBezTo>
                <a:lnTo>
                  <a:pt x="286" y="803982"/>
                </a:lnTo>
                <a:lnTo>
                  <a:pt x="225743" y="803982"/>
                </a:lnTo>
                <a:cubicBezTo>
                  <a:pt x="227933" y="848124"/>
                  <a:pt x="244793" y="881326"/>
                  <a:pt x="275463" y="903302"/>
                </a:cubicBezTo>
                <a:cubicBezTo>
                  <a:pt x="308610" y="925469"/>
                  <a:pt x="352806" y="936409"/>
                  <a:pt x="408051" y="936409"/>
                </a:cubicBezTo>
                <a:cubicBezTo>
                  <a:pt x="443742" y="937379"/>
                  <a:pt x="479108" y="929398"/>
                  <a:pt x="510921" y="913196"/>
                </a:cubicBezTo>
                <a:cubicBezTo>
                  <a:pt x="537400" y="897784"/>
                  <a:pt x="550640" y="876826"/>
                  <a:pt x="550640" y="850312"/>
                </a:cubicBezTo>
                <a:cubicBezTo>
                  <a:pt x="550640" y="810546"/>
                  <a:pt x="504225" y="780740"/>
                  <a:pt x="411385" y="760886"/>
                </a:cubicBezTo>
                <a:cubicBezTo>
                  <a:pt x="381095" y="756462"/>
                  <a:pt x="351168" y="749822"/>
                  <a:pt x="321850" y="741003"/>
                </a:cubicBezTo>
                <a:cubicBezTo>
                  <a:pt x="204692" y="712396"/>
                  <a:pt x="126235" y="678185"/>
                  <a:pt x="86487" y="638352"/>
                </a:cubicBezTo>
                <a:cubicBezTo>
                  <a:pt x="42034" y="598710"/>
                  <a:pt x="19812" y="545720"/>
                  <a:pt x="19812" y="479383"/>
                </a:cubicBezTo>
                <a:cubicBezTo>
                  <a:pt x="18298" y="398832"/>
                  <a:pt x="53693" y="322011"/>
                  <a:pt x="115919" y="270753"/>
                </a:cubicBezTo>
                <a:cubicBezTo>
                  <a:pt x="182213" y="220017"/>
                  <a:pt x="268415" y="194645"/>
                  <a:pt x="374523" y="194645"/>
                </a:cubicBezTo>
                <a:close/>
                <a:moveTo>
                  <a:pt x="2575750" y="0"/>
                </a:moveTo>
                <a:lnTo>
                  <a:pt x="2799779" y="0"/>
                </a:lnTo>
                <a:lnTo>
                  <a:pt x="2799779" y="221949"/>
                </a:lnTo>
                <a:lnTo>
                  <a:pt x="2958084" y="221949"/>
                </a:lnTo>
                <a:lnTo>
                  <a:pt x="2958084" y="420399"/>
                </a:lnTo>
                <a:lnTo>
                  <a:pt x="2800159" y="420399"/>
                </a:lnTo>
                <a:lnTo>
                  <a:pt x="2800159" y="728921"/>
                </a:lnTo>
                <a:cubicBezTo>
                  <a:pt x="2800159" y="789997"/>
                  <a:pt x="2814038" y="832969"/>
                  <a:pt x="2841784" y="857828"/>
                </a:cubicBezTo>
                <a:cubicBezTo>
                  <a:pt x="2869530" y="882687"/>
                  <a:pt x="2911697" y="893408"/>
                  <a:pt x="2968276" y="889984"/>
                </a:cubicBezTo>
                <a:lnTo>
                  <a:pt x="2968276" y="1093667"/>
                </a:lnTo>
                <a:cubicBezTo>
                  <a:pt x="2911317" y="1101116"/>
                  <a:pt x="2853443" y="1097111"/>
                  <a:pt x="2798064" y="1081870"/>
                </a:cubicBezTo>
                <a:cubicBezTo>
                  <a:pt x="2752011" y="1068675"/>
                  <a:pt x="2710006" y="1044178"/>
                  <a:pt x="2675858" y="1010614"/>
                </a:cubicBezTo>
                <a:cubicBezTo>
                  <a:pt x="2642092" y="976385"/>
                  <a:pt x="2616556" y="934944"/>
                  <a:pt x="2601183" y="889413"/>
                </a:cubicBezTo>
                <a:cubicBezTo>
                  <a:pt x="2583590" y="837336"/>
                  <a:pt x="2574998" y="782643"/>
                  <a:pt x="2575750" y="727684"/>
                </a:cubicBezTo>
                <a:close/>
                <a:moveTo>
                  <a:pt x="824770" y="0"/>
                </a:moveTo>
                <a:lnTo>
                  <a:pt x="1048893" y="0"/>
                </a:lnTo>
                <a:lnTo>
                  <a:pt x="1048893" y="221949"/>
                </a:lnTo>
                <a:lnTo>
                  <a:pt x="1206723" y="221949"/>
                </a:lnTo>
                <a:lnTo>
                  <a:pt x="1206723" y="420399"/>
                </a:lnTo>
                <a:lnTo>
                  <a:pt x="1048417" y="420399"/>
                </a:lnTo>
                <a:lnTo>
                  <a:pt x="1048417" y="728921"/>
                </a:lnTo>
                <a:cubicBezTo>
                  <a:pt x="1048417" y="789997"/>
                  <a:pt x="1062257" y="832969"/>
                  <a:pt x="1089946" y="857828"/>
                </a:cubicBezTo>
                <a:cubicBezTo>
                  <a:pt x="1117636" y="882687"/>
                  <a:pt x="1159955" y="893475"/>
                  <a:pt x="1216915" y="890174"/>
                </a:cubicBezTo>
                <a:lnTo>
                  <a:pt x="1216915" y="1093667"/>
                </a:lnTo>
                <a:cubicBezTo>
                  <a:pt x="1160117" y="1101068"/>
                  <a:pt x="1102405" y="1097054"/>
                  <a:pt x="1047179" y="1081870"/>
                </a:cubicBezTo>
                <a:cubicBezTo>
                  <a:pt x="1001116" y="1068694"/>
                  <a:pt x="959101" y="1044197"/>
                  <a:pt x="924973" y="1010614"/>
                </a:cubicBezTo>
                <a:cubicBezTo>
                  <a:pt x="891207" y="976366"/>
                  <a:pt x="865642" y="934935"/>
                  <a:pt x="850202" y="889413"/>
                </a:cubicBezTo>
                <a:cubicBezTo>
                  <a:pt x="832619" y="837336"/>
                  <a:pt x="824018" y="782643"/>
                  <a:pt x="824770" y="727684"/>
                </a:cubicBezTo>
                <a:close/>
              </a:path>
            </a:pathLst>
          </a:custGeom>
          <a:solidFill>
            <a:srgbClr val="002060"/>
          </a:solidFill>
          <a:ln w="9525" cap="flat">
            <a:noFill/>
            <a:prstDash val="solid"/>
            <a:miter/>
          </a:ln>
        </p:spPr>
        <p:txBody>
          <a:bodyPr rtlCol="0" anchor="ctr"/>
          <a:lstStyle/>
          <a:p>
            <a:endParaRPr lang="es-ES"/>
          </a:p>
        </p:txBody>
      </p:sp>
      <p:grpSp>
        <p:nvGrpSpPr>
          <p:cNvPr id="62" name="Grupo 61">
            <a:extLst>
              <a:ext uri="{FF2B5EF4-FFF2-40B4-BE49-F238E27FC236}">
                <a16:creationId xmlns:a16="http://schemas.microsoft.com/office/drawing/2014/main" id="{E2554FB8-5BBC-B94F-BBE5-12D66CDB4DBE}"/>
              </a:ext>
            </a:extLst>
          </p:cNvPr>
          <p:cNvGrpSpPr/>
          <p:nvPr userDrawn="1"/>
        </p:nvGrpSpPr>
        <p:grpSpPr>
          <a:xfrm>
            <a:off x="1112652" y="2410691"/>
            <a:ext cx="3193342" cy="2036618"/>
            <a:chOff x="1545843" y="2381388"/>
            <a:chExt cx="2326959" cy="2034986"/>
          </a:xfrm>
        </p:grpSpPr>
        <p:cxnSp>
          <p:nvCxnSpPr>
            <p:cNvPr id="51" name="Conector recto 50">
              <a:extLst>
                <a:ext uri="{FF2B5EF4-FFF2-40B4-BE49-F238E27FC236}">
                  <a16:creationId xmlns:a16="http://schemas.microsoft.com/office/drawing/2014/main" id="{0FC016DF-E1BD-A147-8EA0-38BA9F33F61A}"/>
                </a:ext>
              </a:extLst>
            </p:cNvPr>
            <p:cNvCxnSpPr>
              <a:cxnSpLocks/>
            </p:cNvCxnSpPr>
            <p:nvPr userDrawn="1"/>
          </p:nvCxnSpPr>
          <p:spPr>
            <a:xfrm>
              <a:off x="1545843" y="2381388"/>
              <a:ext cx="2326959" cy="0"/>
            </a:xfrm>
            <a:prstGeom prst="line">
              <a:avLst/>
            </a:prstGeom>
            <a:ln w="15875"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58" name="Conector recto 57">
              <a:extLst>
                <a:ext uri="{FF2B5EF4-FFF2-40B4-BE49-F238E27FC236}">
                  <a16:creationId xmlns:a16="http://schemas.microsoft.com/office/drawing/2014/main" id="{32EE8BAD-D91E-3E49-A169-2BD1C9C1BA64}"/>
                </a:ext>
              </a:extLst>
            </p:cNvPr>
            <p:cNvCxnSpPr>
              <a:cxnSpLocks/>
            </p:cNvCxnSpPr>
            <p:nvPr userDrawn="1"/>
          </p:nvCxnSpPr>
          <p:spPr>
            <a:xfrm>
              <a:off x="1545843" y="4416374"/>
              <a:ext cx="2326959" cy="0"/>
            </a:xfrm>
            <a:prstGeom prst="line">
              <a:avLst/>
            </a:prstGeom>
            <a:ln w="15875"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grpSp>
      <p:sp>
        <p:nvSpPr>
          <p:cNvPr id="57" name="Marcador de posición de imagen 8">
            <a:extLst>
              <a:ext uri="{FF2B5EF4-FFF2-40B4-BE49-F238E27FC236}">
                <a16:creationId xmlns:a16="http://schemas.microsoft.com/office/drawing/2014/main" id="{CBEEE9F6-C3E6-DB4D-80E8-7E4BC3E20470}"/>
              </a:ext>
            </a:extLst>
          </p:cNvPr>
          <p:cNvSpPr>
            <a:spLocks noGrp="1"/>
          </p:cNvSpPr>
          <p:nvPr>
            <p:ph type="pic" sz="quarter" idx="11" hasCustomPrompt="1"/>
          </p:nvPr>
        </p:nvSpPr>
        <p:spPr>
          <a:xfrm>
            <a:off x="1816704" y="4582206"/>
            <a:ext cx="1785235" cy="644206"/>
          </a:xfrm>
        </p:spPr>
        <p:txBody>
          <a:bodyPr anchor="ctr">
            <a:normAutofit/>
          </a:bodyPr>
          <a:lstStyle>
            <a:lvl1pPr algn="ctr">
              <a:lnSpc>
                <a:spcPct val="100000"/>
              </a:lnSpc>
              <a:spcBef>
                <a:spcPts val="0"/>
              </a:spcBef>
              <a:defRPr sz="1400">
                <a:solidFill>
                  <a:schemeClr val="tx2"/>
                </a:solidFill>
              </a:defRPr>
            </a:lvl1pPr>
          </a:lstStyle>
          <a:p>
            <a:r>
              <a:rPr lang="en-US"/>
              <a:t>Logo </a:t>
            </a:r>
            <a:r>
              <a:rPr lang="en-US" err="1"/>
              <a:t>Cliente</a:t>
            </a:r>
            <a:endParaRPr lang="en-US"/>
          </a:p>
        </p:txBody>
      </p:sp>
      <p:sp>
        <p:nvSpPr>
          <p:cNvPr id="10" name="Marcador de título 2">
            <a:extLst>
              <a:ext uri="{FF2B5EF4-FFF2-40B4-BE49-F238E27FC236}">
                <a16:creationId xmlns:a16="http://schemas.microsoft.com/office/drawing/2014/main" id="{7972FE72-9A23-B346-A9BE-73FF35AC44E8}"/>
              </a:ext>
            </a:extLst>
          </p:cNvPr>
          <p:cNvSpPr>
            <a:spLocks noGrp="1"/>
          </p:cNvSpPr>
          <p:nvPr>
            <p:ph type="title" hasCustomPrompt="1"/>
          </p:nvPr>
        </p:nvSpPr>
        <p:spPr>
          <a:xfrm>
            <a:off x="1087714" y="2649620"/>
            <a:ext cx="3243218" cy="1558760"/>
          </a:xfrm>
          <a:prstGeom prst="rect">
            <a:avLst/>
          </a:prstGeom>
        </p:spPr>
        <p:txBody>
          <a:bodyPr vert="horz" lIns="0" tIns="45720" rIns="0" bIns="45720" rtlCol="0" anchor="ctr">
            <a:noAutofit/>
          </a:bodyPr>
          <a:lstStyle>
            <a:lvl1pPr algn="ctr">
              <a:defRPr sz="2000" b="1">
                <a:solidFill>
                  <a:schemeClr val="tx2"/>
                </a:solidFill>
                <a:latin typeface="+mj-lt"/>
              </a:defRPr>
            </a:lvl1pPr>
          </a:lstStyle>
          <a:p>
            <a:r>
              <a:rPr lang="es-ES_tradnl"/>
              <a:t>Nombre del Proyecto</a:t>
            </a:r>
            <a:endParaRPr lang="en-US"/>
          </a:p>
        </p:txBody>
      </p:sp>
    </p:spTree>
    <p:extLst>
      <p:ext uri="{BB962C8B-B14F-4D97-AF65-F5344CB8AC3E}">
        <p14:creationId xmlns:p14="http://schemas.microsoft.com/office/powerpoint/2010/main" val="1190582393"/>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emplate Propuesta 2022 - Portadilla">
    <p:spTree>
      <p:nvGrpSpPr>
        <p:cNvPr id="1" name=""/>
        <p:cNvGrpSpPr/>
        <p:nvPr/>
      </p:nvGrpSpPr>
      <p:grpSpPr>
        <a:xfrm>
          <a:off x="0" y="0"/>
          <a:ext cx="0" cy="0"/>
          <a:chOff x="0" y="0"/>
          <a:chExt cx="0" cy="0"/>
        </a:xfrm>
      </p:grpSpPr>
      <p:sp>
        <p:nvSpPr>
          <p:cNvPr id="21" name="Marcador de posición de imagen 20">
            <a:extLst>
              <a:ext uri="{FF2B5EF4-FFF2-40B4-BE49-F238E27FC236}">
                <a16:creationId xmlns:a16="http://schemas.microsoft.com/office/drawing/2014/main" id="{9299B49D-BAA2-9A43-8F61-2ABEA293E629}"/>
              </a:ext>
            </a:extLst>
          </p:cNvPr>
          <p:cNvSpPr>
            <a:spLocks noGrp="1"/>
          </p:cNvSpPr>
          <p:nvPr>
            <p:ph type="pic" sz="quarter" idx="24"/>
          </p:nvPr>
        </p:nvSpPr>
        <p:spPr>
          <a:xfrm>
            <a:off x="0" y="0"/>
            <a:ext cx="6960221" cy="6857999"/>
          </a:xfrm>
          <a:custGeom>
            <a:avLst/>
            <a:gdLst>
              <a:gd name="connsiteX0" fmla="*/ 3686436 w 6960221"/>
              <a:gd name="connsiteY0" fmla="*/ 4734732 h 6857999"/>
              <a:gd name="connsiteX1" fmla="*/ 5812120 w 6960221"/>
              <a:gd name="connsiteY1" fmla="*/ 4734732 h 6857999"/>
              <a:gd name="connsiteX2" fmla="*/ 5812120 w 6960221"/>
              <a:gd name="connsiteY2" fmla="*/ 6857999 h 6857999"/>
              <a:gd name="connsiteX3" fmla="*/ 3686436 w 6960221"/>
              <a:gd name="connsiteY3" fmla="*/ 6857999 h 6857999"/>
              <a:gd name="connsiteX4" fmla="*/ 2103991 w 6960221"/>
              <a:gd name="connsiteY4" fmla="*/ 4734732 h 6857999"/>
              <a:gd name="connsiteX5" fmla="*/ 3564297 w 6960221"/>
              <a:gd name="connsiteY5" fmla="*/ 4734732 h 6857999"/>
              <a:gd name="connsiteX6" fmla="*/ 3564297 w 6960221"/>
              <a:gd name="connsiteY6" fmla="*/ 6193377 h 6857999"/>
              <a:gd name="connsiteX7" fmla="*/ 2103991 w 6960221"/>
              <a:gd name="connsiteY7" fmla="*/ 6193377 h 6857999"/>
              <a:gd name="connsiteX8" fmla="*/ 4864535 w 6960221"/>
              <a:gd name="connsiteY8" fmla="*/ 3115595 h 6857999"/>
              <a:gd name="connsiteX9" fmla="*/ 6338807 w 6960221"/>
              <a:gd name="connsiteY9" fmla="*/ 3115595 h 6857999"/>
              <a:gd name="connsiteX10" fmla="*/ 6338807 w 6960221"/>
              <a:gd name="connsiteY10" fmla="*/ 4588190 h 6857999"/>
              <a:gd name="connsiteX11" fmla="*/ 4864535 w 6960221"/>
              <a:gd name="connsiteY11" fmla="*/ 4588190 h 6857999"/>
              <a:gd name="connsiteX12" fmla="*/ 0 w 6960221"/>
              <a:gd name="connsiteY12" fmla="*/ 3115595 h 6857999"/>
              <a:gd name="connsiteX13" fmla="*/ 1952873 w 6960221"/>
              <a:gd name="connsiteY13" fmla="*/ 3115595 h 6857999"/>
              <a:gd name="connsiteX14" fmla="*/ 1952873 w 6960221"/>
              <a:gd name="connsiteY14" fmla="*/ 5066248 h 6857999"/>
              <a:gd name="connsiteX15" fmla="*/ 0 w 6960221"/>
              <a:gd name="connsiteY15" fmla="*/ 5066248 h 6857999"/>
              <a:gd name="connsiteX16" fmla="*/ 2103990 w 6960221"/>
              <a:gd name="connsiteY16" fmla="*/ 1952787 h 6857999"/>
              <a:gd name="connsiteX17" fmla="*/ 4742395 w 6960221"/>
              <a:gd name="connsiteY17" fmla="*/ 1952787 h 6857999"/>
              <a:gd name="connsiteX18" fmla="*/ 4742395 w 6960221"/>
              <a:gd name="connsiteY18" fmla="*/ 4588191 h 6857999"/>
              <a:gd name="connsiteX19" fmla="*/ 2103990 w 6960221"/>
              <a:gd name="connsiteY19" fmla="*/ 4588191 h 6857999"/>
              <a:gd name="connsiteX20" fmla="*/ 935889 w 6960221"/>
              <a:gd name="connsiteY20" fmla="*/ 1952787 h 6857999"/>
              <a:gd name="connsiteX21" fmla="*/ 1952874 w 6960221"/>
              <a:gd name="connsiteY21" fmla="*/ 1952787 h 6857999"/>
              <a:gd name="connsiteX22" fmla="*/ 1952874 w 6960221"/>
              <a:gd name="connsiteY22" fmla="*/ 2968616 h 6857999"/>
              <a:gd name="connsiteX23" fmla="*/ 935889 w 6960221"/>
              <a:gd name="connsiteY23" fmla="*/ 2968616 h 6857999"/>
              <a:gd name="connsiteX24" fmla="*/ 4864535 w 6960221"/>
              <a:gd name="connsiteY24" fmla="*/ 875313 h 6857999"/>
              <a:gd name="connsiteX25" fmla="*/ 6960221 w 6960221"/>
              <a:gd name="connsiteY25" fmla="*/ 875313 h 6857999"/>
              <a:gd name="connsiteX26" fmla="*/ 6960221 w 6960221"/>
              <a:gd name="connsiteY26" fmla="*/ 2968616 h 6857999"/>
              <a:gd name="connsiteX27" fmla="*/ 4864535 w 6960221"/>
              <a:gd name="connsiteY27" fmla="*/ 2968616 h 6857999"/>
              <a:gd name="connsiteX28" fmla="*/ 2919271 w 6960221"/>
              <a:gd name="connsiteY28" fmla="*/ 0 h 6857999"/>
              <a:gd name="connsiteX29" fmla="*/ 4742395 w 6960221"/>
              <a:gd name="connsiteY29" fmla="*/ 0 h 6857999"/>
              <a:gd name="connsiteX30" fmla="*/ 4742395 w 6960221"/>
              <a:gd name="connsiteY30" fmla="*/ 1821052 h 6857999"/>
              <a:gd name="connsiteX31" fmla="*/ 2919271 w 6960221"/>
              <a:gd name="connsiteY31" fmla="*/ 1821052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960221" h="6857999">
                <a:moveTo>
                  <a:pt x="3686436" y="4734732"/>
                </a:moveTo>
                <a:lnTo>
                  <a:pt x="5812120" y="4734732"/>
                </a:lnTo>
                <a:lnTo>
                  <a:pt x="5812120" y="6857999"/>
                </a:lnTo>
                <a:lnTo>
                  <a:pt x="3686436" y="6857999"/>
                </a:lnTo>
                <a:close/>
                <a:moveTo>
                  <a:pt x="2103991" y="4734732"/>
                </a:moveTo>
                <a:lnTo>
                  <a:pt x="3564297" y="4734732"/>
                </a:lnTo>
                <a:lnTo>
                  <a:pt x="3564297" y="6193377"/>
                </a:lnTo>
                <a:lnTo>
                  <a:pt x="2103991" y="6193377"/>
                </a:lnTo>
                <a:close/>
                <a:moveTo>
                  <a:pt x="4864535" y="3115595"/>
                </a:moveTo>
                <a:lnTo>
                  <a:pt x="6338807" y="3115595"/>
                </a:lnTo>
                <a:lnTo>
                  <a:pt x="6338807" y="4588190"/>
                </a:lnTo>
                <a:lnTo>
                  <a:pt x="4864535" y="4588190"/>
                </a:lnTo>
                <a:close/>
                <a:moveTo>
                  <a:pt x="0" y="3115595"/>
                </a:moveTo>
                <a:lnTo>
                  <a:pt x="1952873" y="3115595"/>
                </a:lnTo>
                <a:lnTo>
                  <a:pt x="1952873" y="5066248"/>
                </a:lnTo>
                <a:lnTo>
                  <a:pt x="0" y="5066248"/>
                </a:lnTo>
                <a:close/>
                <a:moveTo>
                  <a:pt x="2103990" y="1952787"/>
                </a:moveTo>
                <a:lnTo>
                  <a:pt x="4742395" y="1952787"/>
                </a:lnTo>
                <a:lnTo>
                  <a:pt x="4742395" y="4588191"/>
                </a:lnTo>
                <a:lnTo>
                  <a:pt x="2103990" y="4588191"/>
                </a:lnTo>
                <a:close/>
                <a:moveTo>
                  <a:pt x="935889" y="1952787"/>
                </a:moveTo>
                <a:lnTo>
                  <a:pt x="1952874" y="1952787"/>
                </a:lnTo>
                <a:lnTo>
                  <a:pt x="1952874" y="2968616"/>
                </a:lnTo>
                <a:lnTo>
                  <a:pt x="935889" y="2968616"/>
                </a:lnTo>
                <a:close/>
                <a:moveTo>
                  <a:pt x="4864535" y="875313"/>
                </a:moveTo>
                <a:lnTo>
                  <a:pt x="6960221" y="875313"/>
                </a:lnTo>
                <a:lnTo>
                  <a:pt x="6960221" y="2968616"/>
                </a:lnTo>
                <a:lnTo>
                  <a:pt x="4864535" y="2968616"/>
                </a:lnTo>
                <a:close/>
                <a:moveTo>
                  <a:pt x="2919271" y="0"/>
                </a:moveTo>
                <a:lnTo>
                  <a:pt x="4742395" y="0"/>
                </a:lnTo>
                <a:lnTo>
                  <a:pt x="4742395" y="1821052"/>
                </a:lnTo>
                <a:lnTo>
                  <a:pt x="2919271" y="1821052"/>
                </a:lnTo>
                <a:close/>
              </a:path>
            </a:pathLst>
          </a:custGeom>
          <a:solidFill>
            <a:schemeClr val="bg1"/>
          </a:solidFill>
        </p:spPr>
        <p:txBody>
          <a:bodyPr wrap="square">
            <a:noAutofit/>
          </a:bodyPr>
          <a:lstStyle/>
          <a:p>
            <a:endParaRPr lang="en-US"/>
          </a:p>
        </p:txBody>
      </p:sp>
      <p:sp>
        <p:nvSpPr>
          <p:cNvPr id="22" name="Forma libre 21">
            <a:extLst>
              <a:ext uri="{FF2B5EF4-FFF2-40B4-BE49-F238E27FC236}">
                <a16:creationId xmlns:a16="http://schemas.microsoft.com/office/drawing/2014/main" id="{22DAC27B-FF40-0348-A70D-FE5729C7D44B}"/>
              </a:ext>
            </a:extLst>
          </p:cNvPr>
          <p:cNvSpPr/>
          <p:nvPr userDrawn="1"/>
        </p:nvSpPr>
        <p:spPr>
          <a:xfrm>
            <a:off x="5415190" y="368314"/>
            <a:ext cx="1065209" cy="245809"/>
          </a:xfrm>
          <a:custGeom>
            <a:avLst/>
            <a:gdLst>
              <a:gd name="connsiteX0" fmla="*/ 2305336 w 6124670"/>
              <a:gd name="connsiteY0" fmla="*/ 651766 h 1413343"/>
              <a:gd name="connsiteX1" fmla="*/ 2176082 w 6124670"/>
              <a:gd name="connsiteY1" fmla="*/ 694862 h 1413343"/>
              <a:gd name="connsiteX2" fmla="*/ 2099882 w 6124670"/>
              <a:gd name="connsiteY2" fmla="*/ 711416 h 1413343"/>
              <a:gd name="connsiteX3" fmla="*/ 2013681 w 6124670"/>
              <a:gd name="connsiteY3" fmla="*/ 754512 h 1413343"/>
              <a:gd name="connsiteX4" fmla="*/ 1990440 w 6124670"/>
              <a:gd name="connsiteY4" fmla="*/ 827385 h 1413343"/>
              <a:gd name="connsiteX5" fmla="*/ 2020348 w 6124670"/>
              <a:gd name="connsiteY5" fmla="*/ 906822 h 1413343"/>
              <a:gd name="connsiteX6" fmla="*/ 2106073 w 6124670"/>
              <a:gd name="connsiteY6" fmla="*/ 933269 h 1413343"/>
              <a:gd name="connsiteX7" fmla="*/ 2251900 w 6124670"/>
              <a:gd name="connsiteY7" fmla="*/ 880375 h 1413343"/>
              <a:gd name="connsiteX8" fmla="*/ 2304955 w 6124670"/>
              <a:gd name="connsiteY8" fmla="*/ 734629 h 1413343"/>
              <a:gd name="connsiteX9" fmla="*/ 3393473 w 6124670"/>
              <a:gd name="connsiteY9" fmla="*/ 386722 h 1413343"/>
              <a:gd name="connsiteX10" fmla="*/ 3274315 w 6124670"/>
              <a:gd name="connsiteY10" fmla="*/ 433052 h 1413343"/>
              <a:gd name="connsiteX11" fmla="*/ 3224404 w 6124670"/>
              <a:gd name="connsiteY11" fmla="*/ 565479 h 1413343"/>
              <a:gd name="connsiteX12" fmla="*/ 3562637 w 6124670"/>
              <a:gd name="connsiteY12" fmla="*/ 565479 h 1413343"/>
              <a:gd name="connsiteX13" fmla="*/ 3516155 w 6124670"/>
              <a:gd name="connsiteY13" fmla="*/ 433052 h 1413343"/>
              <a:gd name="connsiteX14" fmla="*/ 3393473 w 6124670"/>
              <a:gd name="connsiteY14" fmla="*/ 386722 h 1413343"/>
              <a:gd name="connsiteX15" fmla="*/ 4552474 w 6124670"/>
              <a:gd name="connsiteY15" fmla="*/ 214433 h 1413343"/>
              <a:gd name="connsiteX16" fmla="*/ 4807839 w 6124670"/>
              <a:gd name="connsiteY16" fmla="*/ 214433 h 1413343"/>
              <a:gd name="connsiteX17" fmla="*/ 4986910 w 6124670"/>
              <a:gd name="connsiteY17" fmla="*/ 837089 h 1413343"/>
              <a:gd name="connsiteX18" fmla="*/ 5142739 w 6124670"/>
              <a:gd name="connsiteY18" fmla="*/ 293966 h 1413343"/>
              <a:gd name="connsiteX19" fmla="*/ 5248847 w 6124670"/>
              <a:gd name="connsiteY19" fmla="*/ 214433 h 1413343"/>
              <a:gd name="connsiteX20" fmla="*/ 5407914 w 6124670"/>
              <a:gd name="connsiteY20" fmla="*/ 214433 h 1413343"/>
              <a:gd name="connsiteX21" fmla="*/ 5069681 w 6124670"/>
              <a:gd name="connsiteY21" fmla="*/ 1217912 h 1413343"/>
              <a:gd name="connsiteX22" fmla="*/ 4970146 w 6124670"/>
              <a:gd name="connsiteY22" fmla="*/ 1373552 h 1413343"/>
              <a:gd name="connsiteX23" fmla="*/ 4774597 w 6124670"/>
              <a:gd name="connsiteY23" fmla="*/ 1413318 h 1413343"/>
              <a:gd name="connsiteX24" fmla="*/ 4751737 w 6124670"/>
              <a:gd name="connsiteY24" fmla="*/ 1413318 h 1413343"/>
              <a:gd name="connsiteX25" fmla="*/ 4677918 w 6124670"/>
              <a:gd name="connsiteY25" fmla="*/ 1412558 h 1413343"/>
              <a:gd name="connsiteX26" fmla="*/ 4677918 w 6124670"/>
              <a:gd name="connsiteY26" fmla="*/ 1224572 h 1413343"/>
              <a:gd name="connsiteX27" fmla="*/ 4741164 w 6124670"/>
              <a:gd name="connsiteY27" fmla="*/ 1224572 h 1413343"/>
              <a:gd name="connsiteX28" fmla="*/ 4845939 w 6124670"/>
              <a:gd name="connsiteY28" fmla="*/ 1193082 h 1413343"/>
              <a:gd name="connsiteX29" fmla="*/ 4860893 w 6124670"/>
              <a:gd name="connsiteY29" fmla="*/ 1092050 h 1413343"/>
              <a:gd name="connsiteX30" fmla="*/ 1721739 w 6124670"/>
              <a:gd name="connsiteY30" fmla="*/ 214433 h 1413343"/>
              <a:gd name="connsiteX31" fmla="*/ 1754982 w 6124670"/>
              <a:gd name="connsiteY31" fmla="*/ 214433 h 1413343"/>
              <a:gd name="connsiteX32" fmla="*/ 1754982 w 6124670"/>
              <a:gd name="connsiteY32" fmla="*/ 449605 h 1413343"/>
              <a:gd name="connsiteX33" fmla="*/ 1678782 w 6124670"/>
              <a:gd name="connsiteY33" fmla="*/ 449605 h 1413343"/>
              <a:gd name="connsiteX34" fmla="*/ 1535907 w 6124670"/>
              <a:gd name="connsiteY34" fmla="*/ 495936 h 1413343"/>
              <a:gd name="connsiteX35" fmla="*/ 1489520 w 6124670"/>
              <a:gd name="connsiteY35" fmla="*/ 641682 h 1413343"/>
              <a:gd name="connsiteX36" fmla="*/ 1489520 w 6124670"/>
              <a:gd name="connsiteY36" fmla="*/ 1095379 h 1413343"/>
              <a:gd name="connsiteX37" fmla="*/ 1257205 w 6124670"/>
              <a:gd name="connsiteY37" fmla="*/ 1095379 h 1413343"/>
              <a:gd name="connsiteX38" fmla="*/ 1257205 w 6124670"/>
              <a:gd name="connsiteY38" fmla="*/ 668225 h 1413343"/>
              <a:gd name="connsiteX39" fmla="*/ 1295305 w 6124670"/>
              <a:gd name="connsiteY39" fmla="*/ 451223 h 1413343"/>
              <a:gd name="connsiteX40" fmla="*/ 1400080 w 6124670"/>
              <a:gd name="connsiteY40" fmla="*/ 310519 h 1413343"/>
              <a:gd name="connsiteX41" fmla="*/ 1547622 w 6124670"/>
              <a:gd name="connsiteY41" fmla="*/ 237646 h 1413343"/>
              <a:gd name="connsiteX42" fmla="*/ 1721739 w 6124670"/>
              <a:gd name="connsiteY42" fmla="*/ 214433 h 1413343"/>
              <a:gd name="connsiteX43" fmla="*/ 5716715 w 6124670"/>
              <a:gd name="connsiteY43" fmla="*/ 194645 h 1413343"/>
              <a:gd name="connsiteX44" fmla="*/ 5991892 w 6124670"/>
              <a:gd name="connsiteY44" fmla="*/ 270753 h 1413343"/>
              <a:gd name="connsiteX45" fmla="*/ 6094762 w 6124670"/>
              <a:gd name="connsiteY45" fmla="*/ 486042 h 1413343"/>
              <a:gd name="connsiteX46" fmla="*/ 5951887 w 6124670"/>
              <a:gd name="connsiteY46" fmla="*/ 486042 h 1413343"/>
              <a:gd name="connsiteX47" fmla="*/ 5855684 w 6124670"/>
              <a:gd name="connsiteY47" fmla="*/ 429722 h 1413343"/>
              <a:gd name="connsiteX48" fmla="*/ 5829205 w 6124670"/>
              <a:gd name="connsiteY48" fmla="*/ 403275 h 1413343"/>
              <a:gd name="connsiteX49" fmla="*/ 5719762 w 6124670"/>
              <a:gd name="connsiteY49" fmla="*/ 373403 h 1413343"/>
              <a:gd name="connsiteX50" fmla="*/ 5620322 w 6124670"/>
              <a:gd name="connsiteY50" fmla="*/ 393286 h 1413343"/>
              <a:gd name="connsiteX51" fmla="*/ 5590413 w 6124670"/>
              <a:gd name="connsiteY51" fmla="*/ 452935 h 1413343"/>
              <a:gd name="connsiteX52" fmla="*/ 5762816 w 6124670"/>
              <a:gd name="connsiteY52" fmla="*/ 542362 h 1413343"/>
              <a:gd name="connsiteX53" fmla="*/ 5797678 w 6124670"/>
              <a:gd name="connsiteY53" fmla="*/ 551875 h 1413343"/>
              <a:gd name="connsiteX54" fmla="*/ 5826253 w 6124670"/>
              <a:gd name="connsiteY54" fmla="*/ 555205 h 1413343"/>
              <a:gd name="connsiteX55" fmla="*/ 6061615 w 6124670"/>
              <a:gd name="connsiteY55" fmla="*/ 654525 h 1413343"/>
              <a:gd name="connsiteX56" fmla="*/ 6124670 w 6124670"/>
              <a:gd name="connsiteY56" fmla="*/ 813495 h 1413343"/>
              <a:gd name="connsiteX57" fmla="*/ 6018562 w 6124670"/>
              <a:gd name="connsiteY57" fmla="*/ 1038679 h 1413343"/>
              <a:gd name="connsiteX58" fmla="*/ 5720144 w 6124670"/>
              <a:gd name="connsiteY58" fmla="*/ 1111552 h 1413343"/>
              <a:gd name="connsiteX59" fmla="*/ 5438298 w 6124670"/>
              <a:gd name="connsiteY59" fmla="*/ 1035444 h 1413343"/>
              <a:gd name="connsiteX60" fmla="*/ 5342096 w 6124670"/>
              <a:gd name="connsiteY60" fmla="*/ 813495 h 1413343"/>
              <a:gd name="connsiteX61" fmla="*/ 5342287 w 6124670"/>
              <a:gd name="connsiteY61" fmla="*/ 803982 h 1413343"/>
              <a:gd name="connsiteX62" fmla="*/ 5567839 w 6124670"/>
              <a:gd name="connsiteY62" fmla="*/ 803982 h 1413343"/>
              <a:gd name="connsiteX63" fmla="*/ 5617559 w 6124670"/>
              <a:gd name="connsiteY63" fmla="*/ 903302 h 1413343"/>
              <a:gd name="connsiteX64" fmla="*/ 5750148 w 6124670"/>
              <a:gd name="connsiteY64" fmla="*/ 936409 h 1413343"/>
              <a:gd name="connsiteX65" fmla="*/ 5852922 w 6124670"/>
              <a:gd name="connsiteY65" fmla="*/ 913196 h 1413343"/>
              <a:gd name="connsiteX66" fmla="*/ 5892737 w 6124670"/>
              <a:gd name="connsiteY66" fmla="*/ 850312 h 1413343"/>
              <a:gd name="connsiteX67" fmla="*/ 5753481 w 6124670"/>
              <a:gd name="connsiteY67" fmla="*/ 760886 h 1413343"/>
              <a:gd name="connsiteX68" fmla="*/ 5663946 w 6124670"/>
              <a:gd name="connsiteY68" fmla="*/ 741003 h 1413343"/>
              <a:gd name="connsiteX69" fmla="*/ 5428584 w 6124670"/>
              <a:gd name="connsiteY69" fmla="*/ 638352 h 1413343"/>
              <a:gd name="connsiteX70" fmla="*/ 5361909 w 6124670"/>
              <a:gd name="connsiteY70" fmla="*/ 479383 h 1413343"/>
              <a:gd name="connsiteX71" fmla="*/ 5458111 w 6124670"/>
              <a:gd name="connsiteY71" fmla="*/ 270753 h 1413343"/>
              <a:gd name="connsiteX72" fmla="*/ 5716715 w 6124670"/>
              <a:gd name="connsiteY72" fmla="*/ 194645 h 1413343"/>
              <a:gd name="connsiteX73" fmla="*/ 4192239 w 6124670"/>
              <a:gd name="connsiteY73" fmla="*/ 194645 h 1413343"/>
              <a:gd name="connsiteX74" fmla="*/ 4467416 w 6124670"/>
              <a:gd name="connsiteY74" fmla="*/ 270753 h 1413343"/>
              <a:gd name="connsiteX75" fmla="*/ 4570190 w 6124670"/>
              <a:gd name="connsiteY75" fmla="*/ 486042 h 1413343"/>
              <a:gd name="connsiteX76" fmla="*/ 4427315 w 6124670"/>
              <a:gd name="connsiteY76" fmla="*/ 486042 h 1413343"/>
              <a:gd name="connsiteX77" fmla="*/ 4331589 w 6124670"/>
              <a:gd name="connsiteY77" fmla="*/ 429722 h 1413343"/>
              <a:gd name="connsiteX78" fmla="*/ 4305015 w 6124670"/>
              <a:gd name="connsiteY78" fmla="*/ 403275 h 1413343"/>
              <a:gd name="connsiteX79" fmla="*/ 4195667 w 6124670"/>
              <a:gd name="connsiteY79" fmla="*/ 373403 h 1413343"/>
              <a:gd name="connsiteX80" fmla="*/ 4096132 w 6124670"/>
              <a:gd name="connsiteY80" fmla="*/ 393286 h 1413343"/>
              <a:gd name="connsiteX81" fmla="*/ 4066318 w 6124670"/>
              <a:gd name="connsiteY81" fmla="*/ 452935 h 1413343"/>
              <a:gd name="connsiteX82" fmla="*/ 4238721 w 6124670"/>
              <a:gd name="connsiteY82" fmla="*/ 542362 h 1413343"/>
              <a:gd name="connsiteX83" fmla="*/ 4273582 w 6124670"/>
              <a:gd name="connsiteY83" fmla="*/ 551875 h 1413343"/>
              <a:gd name="connsiteX84" fmla="*/ 4301681 w 6124670"/>
              <a:gd name="connsiteY84" fmla="*/ 555205 h 1413343"/>
              <a:gd name="connsiteX85" fmla="*/ 4537139 w 6124670"/>
              <a:gd name="connsiteY85" fmla="*/ 654525 h 1413343"/>
              <a:gd name="connsiteX86" fmla="*/ 4600099 w 6124670"/>
              <a:gd name="connsiteY86" fmla="*/ 813495 h 1413343"/>
              <a:gd name="connsiteX87" fmla="*/ 4494086 w 6124670"/>
              <a:gd name="connsiteY87" fmla="*/ 1038679 h 1413343"/>
              <a:gd name="connsiteX88" fmla="*/ 4195667 w 6124670"/>
              <a:gd name="connsiteY88" fmla="*/ 1111552 h 1413343"/>
              <a:gd name="connsiteX89" fmla="*/ 3913823 w 6124670"/>
              <a:gd name="connsiteY89" fmla="*/ 1035444 h 1413343"/>
              <a:gd name="connsiteX90" fmla="*/ 3817620 w 6124670"/>
              <a:gd name="connsiteY90" fmla="*/ 813495 h 1413343"/>
              <a:gd name="connsiteX91" fmla="*/ 3817906 w 6124670"/>
              <a:gd name="connsiteY91" fmla="*/ 803982 h 1413343"/>
              <a:gd name="connsiteX92" fmla="*/ 4043363 w 6124670"/>
              <a:gd name="connsiteY92" fmla="*/ 803982 h 1413343"/>
              <a:gd name="connsiteX93" fmla="*/ 4093084 w 6124670"/>
              <a:gd name="connsiteY93" fmla="*/ 903302 h 1413343"/>
              <a:gd name="connsiteX94" fmla="*/ 4225767 w 6124670"/>
              <a:gd name="connsiteY94" fmla="*/ 936409 h 1413343"/>
              <a:gd name="connsiteX95" fmla="*/ 4328541 w 6124670"/>
              <a:gd name="connsiteY95" fmla="*/ 913196 h 1413343"/>
              <a:gd name="connsiteX96" fmla="*/ 4368356 w 6124670"/>
              <a:gd name="connsiteY96" fmla="*/ 850312 h 1413343"/>
              <a:gd name="connsiteX97" fmla="*/ 4229100 w 6124670"/>
              <a:gd name="connsiteY97" fmla="*/ 760886 h 1413343"/>
              <a:gd name="connsiteX98" fmla="*/ 4139566 w 6124670"/>
              <a:gd name="connsiteY98" fmla="*/ 741003 h 1413343"/>
              <a:gd name="connsiteX99" fmla="*/ 3904107 w 6124670"/>
              <a:gd name="connsiteY99" fmla="*/ 638352 h 1413343"/>
              <a:gd name="connsiteX100" fmla="*/ 3837432 w 6124670"/>
              <a:gd name="connsiteY100" fmla="*/ 479383 h 1413343"/>
              <a:gd name="connsiteX101" fmla="*/ 3933540 w 6124670"/>
              <a:gd name="connsiteY101" fmla="*/ 270753 h 1413343"/>
              <a:gd name="connsiteX102" fmla="*/ 4192239 w 6124670"/>
              <a:gd name="connsiteY102" fmla="*/ 194645 h 1413343"/>
              <a:gd name="connsiteX103" fmla="*/ 3386901 w 6124670"/>
              <a:gd name="connsiteY103" fmla="*/ 194645 h 1413343"/>
              <a:gd name="connsiteX104" fmla="*/ 3695225 w 6124670"/>
              <a:gd name="connsiteY104" fmla="*/ 313849 h 1413343"/>
              <a:gd name="connsiteX105" fmla="*/ 3801333 w 6124670"/>
              <a:gd name="connsiteY105" fmla="*/ 654906 h 1413343"/>
              <a:gd name="connsiteX106" fmla="*/ 3801333 w 6124670"/>
              <a:gd name="connsiteY106" fmla="*/ 691342 h 1413343"/>
              <a:gd name="connsiteX107" fmla="*/ 3797999 w 6124670"/>
              <a:gd name="connsiteY107" fmla="*/ 714555 h 1413343"/>
              <a:gd name="connsiteX108" fmla="*/ 3224404 w 6124670"/>
              <a:gd name="connsiteY108" fmla="*/ 714555 h 1413343"/>
              <a:gd name="connsiteX109" fmla="*/ 3274124 w 6124670"/>
              <a:gd name="connsiteY109" fmla="*/ 866771 h 1413343"/>
              <a:gd name="connsiteX110" fmla="*/ 3403474 w 6124670"/>
              <a:gd name="connsiteY110" fmla="*/ 919761 h 1413343"/>
              <a:gd name="connsiteX111" fmla="*/ 3499581 w 6124670"/>
              <a:gd name="connsiteY111" fmla="*/ 896643 h 1413343"/>
              <a:gd name="connsiteX112" fmla="*/ 3517869 w 6124670"/>
              <a:gd name="connsiteY112" fmla="*/ 885036 h 1413343"/>
              <a:gd name="connsiteX113" fmla="*/ 3536062 w 6124670"/>
              <a:gd name="connsiteY113" fmla="*/ 866771 h 1413343"/>
              <a:gd name="connsiteX114" fmla="*/ 3560923 w 6124670"/>
              <a:gd name="connsiteY114" fmla="*/ 840323 h 1413343"/>
              <a:gd name="connsiteX115" fmla="*/ 3622264 w 6124670"/>
              <a:gd name="connsiteY115" fmla="*/ 823865 h 1413343"/>
              <a:gd name="connsiteX116" fmla="*/ 3788094 w 6124670"/>
              <a:gd name="connsiteY116" fmla="*/ 823865 h 1413343"/>
              <a:gd name="connsiteX117" fmla="*/ 3648838 w 6124670"/>
              <a:gd name="connsiteY117" fmla="*/ 1035825 h 1413343"/>
              <a:gd name="connsiteX118" fmla="*/ 3390139 w 6124670"/>
              <a:gd name="connsiteY118" fmla="*/ 1111932 h 1413343"/>
              <a:gd name="connsiteX119" fmla="*/ 3094864 w 6124670"/>
              <a:gd name="connsiteY119" fmla="*/ 989399 h 1413343"/>
              <a:gd name="connsiteX120" fmla="*/ 2988851 w 6124670"/>
              <a:gd name="connsiteY120" fmla="*/ 648342 h 1413343"/>
              <a:gd name="connsiteX121" fmla="*/ 3091626 w 6124670"/>
              <a:gd name="connsiteY121" fmla="*/ 317178 h 1413343"/>
              <a:gd name="connsiteX122" fmla="*/ 3386901 w 6124670"/>
              <a:gd name="connsiteY122" fmla="*/ 194645 h 1413343"/>
              <a:gd name="connsiteX123" fmla="*/ 2146078 w 6124670"/>
              <a:gd name="connsiteY123" fmla="*/ 194645 h 1413343"/>
              <a:gd name="connsiteX124" fmla="*/ 2424684 w 6124670"/>
              <a:gd name="connsiteY124" fmla="*/ 257529 h 1413343"/>
              <a:gd name="connsiteX125" fmla="*/ 2520792 w 6124670"/>
              <a:gd name="connsiteY125" fmla="*/ 442946 h 1413343"/>
              <a:gd name="connsiteX126" fmla="*/ 2520792 w 6124670"/>
              <a:gd name="connsiteY126" fmla="*/ 744332 h 1413343"/>
              <a:gd name="connsiteX127" fmla="*/ 2473167 w 6124670"/>
              <a:gd name="connsiteY127" fmla="*/ 951345 h 1413343"/>
              <a:gd name="connsiteX128" fmla="*/ 2358391 w 6124670"/>
              <a:gd name="connsiteY128" fmla="*/ 1059133 h 1413343"/>
              <a:gd name="connsiteX129" fmla="*/ 2210848 w 6124670"/>
              <a:gd name="connsiteY129" fmla="*/ 1103846 h 1413343"/>
              <a:gd name="connsiteX130" fmla="*/ 2073307 w 6124670"/>
              <a:gd name="connsiteY130" fmla="*/ 1112123 h 1413343"/>
              <a:gd name="connsiteX131" fmla="*/ 1864614 w 6124670"/>
              <a:gd name="connsiteY131" fmla="*/ 1047336 h 1413343"/>
              <a:gd name="connsiteX132" fmla="*/ 1775079 w 6124670"/>
              <a:gd name="connsiteY132" fmla="*/ 833759 h 1413343"/>
              <a:gd name="connsiteX133" fmla="*/ 1856328 w 6124670"/>
              <a:gd name="connsiteY133" fmla="*/ 635023 h 1413343"/>
              <a:gd name="connsiteX134" fmla="*/ 2063496 w 6124670"/>
              <a:gd name="connsiteY134" fmla="*/ 555586 h 1413343"/>
              <a:gd name="connsiteX135" fmla="*/ 2103311 w 6124670"/>
              <a:gd name="connsiteY135" fmla="*/ 550638 h 1413343"/>
              <a:gd name="connsiteX136" fmla="*/ 2156365 w 6124670"/>
              <a:gd name="connsiteY136" fmla="*/ 542362 h 1413343"/>
              <a:gd name="connsiteX137" fmla="*/ 2302288 w 6124670"/>
              <a:gd name="connsiteY137" fmla="*/ 456265 h 1413343"/>
              <a:gd name="connsiteX138" fmla="*/ 2250853 w 6124670"/>
              <a:gd name="connsiteY138" fmla="*/ 391669 h 1413343"/>
              <a:gd name="connsiteX139" fmla="*/ 2156365 w 6124670"/>
              <a:gd name="connsiteY139" fmla="*/ 376732 h 1413343"/>
              <a:gd name="connsiteX140" fmla="*/ 2073497 w 6124670"/>
              <a:gd name="connsiteY140" fmla="*/ 389956 h 1413343"/>
              <a:gd name="connsiteX141" fmla="*/ 2020443 w 6124670"/>
              <a:gd name="connsiteY141" fmla="*/ 439712 h 1413343"/>
              <a:gd name="connsiteX142" fmla="*/ 1797939 w 6124670"/>
              <a:gd name="connsiteY142" fmla="*/ 439712 h 1413343"/>
              <a:gd name="connsiteX143" fmla="*/ 1890808 w 6124670"/>
              <a:gd name="connsiteY143" fmla="*/ 270753 h 1413343"/>
              <a:gd name="connsiteX144" fmla="*/ 2146078 w 6124670"/>
              <a:gd name="connsiteY144" fmla="*/ 194645 h 1413343"/>
              <a:gd name="connsiteX145" fmla="*/ 374523 w 6124670"/>
              <a:gd name="connsiteY145" fmla="*/ 194645 h 1413343"/>
              <a:gd name="connsiteX146" fmla="*/ 649796 w 6124670"/>
              <a:gd name="connsiteY146" fmla="*/ 270753 h 1413343"/>
              <a:gd name="connsiteX147" fmla="*/ 752570 w 6124670"/>
              <a:gd name="connsiteY147" fmla="*/ 486042 h 1413343"/>
              <a:gd name="connsiteX148" fmla="*/ 609695 w 6124670"/>
              <a:gd name="connsiteY148" fmla="*/ 486042 h 1413343"/>
              <a:gd name="connsiteX149" fmla="*/ 513493 w 6124670"/>
              <a:gd name="connsiteY149" fmla="*/ 429722 h 1413343"/>
              <a:gd name="connsiteX150" fmla="*/ 487013 w 6124670"/>
              <a:gd name="connsiteY150" fmla="*/ 403275 h 1413343"/>
              <a:gd name="connsiteX151" fmla="*/ 377571 w 6124670"/>
              <a:gd name="connsiteY151" fmla="*/ 373403 h 1413343"/>
              <a:gd name="connsiteX152" fmla="*/ 278130 w 6124670"/>
              <a:gd name="connsiteY152" fmla="*/ 393286 h 1413343"/>
              <a:gd name="connsiteX153" fmla="*/ 248317 w 6124670"/>
              <a:gd name="connsiteY153" fmla="*/ 452935 h 1413343"/>
              <a:gd name="connsiteX154" fmla="*/ 420719 w 6124670"/>
              <a:gd name="connsiteY154" fmla="*/ 542362 h 1413343"/>
              <a:gd name="connsiteX155" fmla="*/ 455486 w 6124670"/>
              <a:gd name="connsiteY155" fmla="*/ 551875 h 1413343"/>
              <a:gd name="connsiteX156" fmla="*/ 484061 w 6124670"/>
              <a:gd name="connsiteY156" fmla="*/ 555205 h 1413343"/>
              <a:gd name="connsiteX157" fmla="*/ 719519 w 6124670"/>
              <a:gd name="connsiteY157" fmla="*/ 654525 h 1413343"/>
              <a:gd name="connsiteX158" fmla="*/ 782479 w 6124670"/>
              <a:gd name="connsiteY158" fmla="*/ 813495 h 1413343"/>
              <a:gd name="connsiteX159" fmla="*/ 676370 w 6124670"/>
              <a:gd name="connsiteY159" fmla="*/ 1038679 h 1413343"/>
              <a:gd name="connsiteX160" fmla="*/ 377952 w 6124670"/>
              <a:gd name="connsiteY160" fmla="*/ 1111552 h 1413343"/>
              <a:gd name="connsiteX161" fmla="*/ 96108 w 6124670"/>
              <a:gd name="connsiteY161" fmla="*/ 1035444 h 1413343"/>
              <a:gd name="connsiteX162" fmla="*/ 0 w 6124670"/>
              <a:gd name="connsiteY162" fmla="*/ 813495 h 1413343"/>
              <a:gd name="connsiteX163" fmla="*/ 286 w 6124670"/>
              <a:gd name="connsiteY163" fmla="*/ 803982 h 1413343"/>
              <a:gd name="connsiteX164" fmla="*/ 225743 w 6124670"/>
              <a:gd name="connsiteY164" fmla="*/ 803982 h 1413343"/>
              <a:gd name="connsiteX165" fmla="*/ 275463 w 6124670"/>
              <a:gd name="connsiteY165" fmla="*/ 903302 h 1413343"/>
              <a:gd name="connsiteX166" fmla="*/ 408051 w 6124670"/>
              <a:gd name="connsiteY166" fmla="*/ 936409 h 1413343"/>
              <a:gd name="connsiteX167" fmla="*/ 510921 w 6124670"/>
              <a:gd name="connsiteY167" fmla="*/ 913196 h 1413343"/>
              <a:gd name="connsiteX168" fmla="*/ 550640 w 6124670"/>
              <a:gd name="connsiteY168" fmla="*/ 850312 h 1413343"/>
              <a:gd name="connsiteX169" fmla="*/ 411385 w 6124670"/>
              <a:gd name="connsiteY169" fmla="*/ 760886 h 1413343"/>
              <a:gd name="connsiteX170" fmla="*/ 321850 w 6124670"/>
              <a:gd name="connsiteY170" fmla="*/ 741003 h 1413343"/>
              <a:gd name="connsiteX171" fmla="*/ 86487 w 6124670"/>
              <a:gd name="connsiteY171" fmla="*/ 638352 h 1413343"/>
              <a:gd name="connsiteX172" fmla="*/ 19812 w 6124670"/>
              <a:gd name="connsiteY172" fmla="*/ 479383 h 1413343"/>
              <a:gd name="connsiteX173" fmla="*/ 115919 w 6124670"/>
              <a:gd name="connsiteY173" fmla="*/ 270753 h 1413343"/>
              <a:gd name="connsiteX174" fmla="*/ 374523 w 6124670"/>
              <a:gd name="connsiteY174" fmla="*/ 194645 h 1413343"/>
              <a:gd name="connsiteX175" fmla="*/ 2575750 w 6124670"/>
              <a:gd name="connsiteY175" fmla="*/ 0 h 1413343"/>
              <a:gd name="connsiteX176" fmla="*/ 2799779 w 6124670"/>
              <a:gd name="connsiteY176" fmla="*/ 0 h 1413343"/>
              <a:gd name="connsiteX177" fmla="*/ 2799779 w 6124670"/>
              <a:gd name="connsiteY177" fmla="*/ 221949 h 1413343"/>
              <a:gd name="connsiteX178" fmla="*/ 2958084 w 6124670"/>
              <a:gd name="connsiteY178" fmla="*/ 221949 h 1413343"/>
              <a:gd name="connsiteX179" fmla="*/ 2958084 w 6124670"/>
              <a:gd name="connsiteY179" fmla="*/ 420399 h 1413343"/>
              <a:gd name="connsiteX180" fmla="*/ 2800159 w 6124670"/>
              <a:gd name="connsiteY180" fmla="*/ 420399 h 1413343"/>
              <a:gd name="connsiteX181" fmla="*/ 2800159 w 6124670"/>
              <a:gd name="connsiteY181" fmla="*/ 728921 h 1413343"/>
              <a:gd name="connsiteX182" fmla="*/ 2841784 w 6124670"/>
              <a:gd name="connsiteY182" fmla="*/ 857828 h 1413343"/>
              <a:gd name="connsiteX183" fmla="*/ 2968276 w 6124670"/>
              <a:gd name="connsiteY183" fmla="*/ 889984 h 1413343"/>
              <a:gd name="connsiteX184" fmla="*/ 2968276 w 6124670"/>
              <a:gd name="connsiteY184" fmla="*/ 1093667 h 1413343"/>
              <a:gd name="connsiteX185" fmla="*/ 2798064 w 6124670"/>
              <a:gd name="connsiteY185" fmla="*/ 1081870 h 1413343"/>
              <a:gd name="connsiteX186" fmla="*/ 2675858 w 6124670"/>
              <a:gd name="connsiteY186" fmla="*/ 1010614 h 1413343"/>
              <a:gd name="connsiteX187" fmla="*/ 2601183 w 6124670"/>
              <a:gd name="connsiteY187" fmla="*/ 889413 h 1413343"/>
              <a:gd name="connsiteX188" fmla="*/ 2575750 w 6124670"/>
              <a:gd name="connsiteY188" fmla="*/ 727684 h 1413343"/>
              <a:gd name="connsiteX189" fmla="*/ 824770 w 6124670"/>
              <a:gd name="connsiteY189" fmla="*/ 0 h 1413343"/>
              <a:gd name="connsiteX190" fmla="*/ 1048893 w 6124670"/>
              <a:gd name="connsiteY190" fmla="*/ 0 h 1413343"/>
              <a:gd name="connsiteX191" fmla="*/ 1048893 w 6124670"/>
              <a:gd name="connsiteY191" fmla="*/ 221949 h 1413343"/>
              <a:gd name="connsiteX192" fmla="*/ 1206723 w 6124670"/>
              <a:gd name="connsiteY192" fmla="*/ 221949 h 1413343"/>
              <a:gd name="connsiteX193" fmla="*/ 1206723 w 6124670"/>
              <a:gd name="connsiteY193" fmla="*/ 420399 h 1413343"/>
              <a:gd name="connsiteX194" fmla="*/ 1048417 w 6124670"/>
              <a:gd name="connsiteY194" fmla="*/ 420399 h 1413343"/>
              <a:gd name="connsiteX195" fmla="*/ 1048417 w 6124670"/>
              <a:gd name="connsiteY195" fmla="*/ 728921 h 1413343"/>
              <a:gd name="connsiteX196" fmla="*/ 1089946 w 6124670"/>
              <a:gd name="connsiteY196" fmla="*/ 857828 h 1413343"/>
              <a:gd name="connsiteX197" fmla="*/ 1216915 w 6124670"/>
              <a:gd name="connsiteY197" fmla="*/ 890174 h 1413343"/>
              <a:gd name="connsiteX198" fmla="*/ 1216915 w 6124670"/>
              <a:gd name="connsiteY198" fmla="*/ 1093667 h 1413343"/>
              <a:gd name="connsiteX199" fmla="*/ 1047179 w 6124670"/>
              <a:gd name="connsiteY199" fmla="*/ 1081870 h 1413343"/>
              <a:gd name="connsiteX200" fmla="*/ 924973 w 6124670"/>
              <a:gd name="connsiteY200" fmla="*/ 1010614 h 1413343"/>
              <a:gd name="connsiteX201" fmla="*/ 850202 w 6124670"/>
              <a:gd name="connsiteY201" fmla="*/ 889413 h 1413343"/>
              <a:gd name="connsiteX202" fmla="*/ 824770 w 6124670"/>
              <a:gd name="connsiteY202" fmla="*/ 727684 h 1413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6124670" h="1413343">
                <a:moveTo>
                  <a:pt x="2305336" y="651766"/>
                </a:moveTo>
                <a:cubicBezTo>
                  <a:pt x="2263969" y="670831"/>
                  <a:pt x="2220620" y="685282"/>
                  <a:pt x="2176082" y="694862"/>
                </a:cubicBezTo>
                <a:lnTo>
                  <a:pt x="2099882" y="711416"/>
                </a:lnTo>
                <a:cubicBezTo>
                  <a:pt x="2060067" y="722547"/>
                  <a:pt x="2031397" y="736817"/>
                  <a:pt x="2013681" y="754512"/>
                </a:cubicBezTo>
                <a:cubicBezTo>
                  <a:pt x="1999060" y="776060"/>
                  <a:pt x="1990992" y="801366"/>
                  <a:pt x="1990440" y="827385"/>
                </a:cubicBezTo>
                <a:cubicBezTo>
                  <a:pt x="1989058" y="856848"/>
                  <a:pt x="1999869" y="885569"/>
                  <a:pt x="2020348" y="906822"/>
                </a:cubicBezTo>
                <a:cubicBezTo>
                  <a:pt x="2040255" y="924517"/>
                  <a:pt x="2068926" y="933269"/>
                  <a:pt x="2106073" y="933269"/>
                </a:cubicBezTo>
                <a:cubicBezTo>
                  <a:pt x="2167919" y="933269"/>
                  <a:pt x="2216535" y="915641"/>
                  <a:pt x="2251900" y="880375"/>
                </a:cubicBezTo>
                <a:cubicBezTo>
                  <a:pt x="2287267" y="845108"/>
                  <a:pt x="2304955" y="796533"/>
                  <a:pt x="2304955" y="734629"/>
                </a:cubicBezTo>
                <a:close/>
                <a:moveTo>
                  <a:pt x="3393473" y="386722"/>
                </a:moveTo>
                <a:cubicBezTo>
                  <a:pt x="3349077" y="385180"/>
                  <a:pt x="3305986" y="401934"/>
                  <a:pt x="3274315" y="433052"/>
                </a:cubicBezTo>
                <a:cubicBezTo>
                  <a:pt x="3243263" y="463999"/>
                  <a:pt x="3226623" y="508142"/>
                  <a:pt x="3224404" y="565479"/>
                </a:cubicBezTo>
                <a:lnTo>
                  <a:pt x="3562637" y="565479"/>
                </a:lnTo>
                <a:cubicBezTo>
                  <a:pt x="3558131" y="505925"/>
                  <a:pt x="3542634" y="461783"/>
                  <a:pt x="3516155" y="433052"/>
                </a:cubicBezTo>
                <a:cubicBezTo>
                  <a:pt x="3487513" y="402162"/>
                  <a:pt x="3446622" y="386722"/>
                  <a:pt x="3393473" y="386722"/>
                </a:cubicBezTo>
                <a:close/>
                <a:moveTo>
                  <a:pt x="4552474" y="214433"/>
                </a:moveTo>
                <a:lnTo>
                  <a:pt x="4807839" y="214433"/>
                </a:lnTo>
                <a:lnTo>
                  <a:pt x="4986910" y="837089"/>
                </a:lnTo>
                <a:lnTo>
                  <a:pt x="5142739" y="293966"/>
                </a:lnTo>
                <a:cubicBezTo>
                  <a:pt x="5155978" y="241004"/>
                  <a:pt x="5191411" y="214500"/>
                  <a:pt x="5248847" y="214433"/>
                </a:cubicBezTo>
                <a:lnTo>
                  <a:pt x="5407914" y="214433"/>
                </a:lnTo>
                <a:lnTo>
                  <a:pt x="5069681" y="1217912"/>
                </a:lnTo>
                <a:cubicBezTo>
                  <a:pt x="5043106" y="1290785"/>
                  <a:pt x="5009959" y="1342662"/>
                  <a:pt x="4970146" y="1373552"/>
                </a:cubicBezTo>
                <a:cubicBezTo>
                  <a:pt x="4930426" y="1400124"/>
                  <a:pt x="4865180" y="1413385"/>
                  <a:pt x="4774597" y="1413318"/>
                </a:cubicBezTo>
                <a:lnTo>
                  <a:pt x="4751737" y="1413318"/>
                </a:lnTo>
                <a:cubicBezTo>
                  <a:pt x="4742403" y="1413509"/>
                  <a:pt x="4684586" y="1412558"/>
                  <a:pt x="4677918" y="1412558"/>
                </a:cubicBezTo>
                <a:lnTo>
                  <a:pt x="4677918" y="1224572"/>
                </a:lnTo>
                <a:lnTo>
                  <a:pt x="4741164" y="1224572"/>
                </a:lnTo>
                <a:cubicBezTo>
                  <a:pt x="4785646" y="1224572"/>
                  <a:pt x="4820507" y="1214078"/>
                  <a:pt x="4845939" y="1193082"/>
                </a:cubicBezTo>
                <a:cubicBezTo>
                  <a:pt x="4871371" y="1172057"/>
                  <a:pt x="4876323" y="1138475"/>
                  <a:pt x="4860893" y="1092050"/>
                </a:cubicBezTo>
                <a:close/>
                <a:moveTo>
                  <a:pt x="1721739" y="214433"/>
                </a:moveTo>
                <a:lnTo>
                  <a:pt x="1754982" y="214433"/>
                </a:lnTo>
                <a:lnTo>
                  <a:pt x="1754982" y="449605"/>
                </a:lnTo>
                <a:lnTo>
                  <a:pt x="1678782" y="449605"/>
                </a:lnTo>
                <a:cubicBezTo>
                  <a:pt x="1614583" y="449605"/>
                  <a:pt x="1566958" y="465046"/>
                  <a:pt x="1535907" y="495936"/>
                </a:cubicBezTo>
                <a:cubicBezTo>
                  <a:pt x="1504855" y="526826"/>
                  <a:pt x="1489396" y="575402"/>
                  <a:pt x="1489520" y="641682"/>
                </a:cubicBezTo>
                <a:lnTo>
                  <a:pt x="1489520" y="1095379"/>
                </a:lnTo>
                <a:lnTo>
                  <a:pt x="1257205" y="1095379"/>
                </a:lnTo>
                <a:lnTo>
                  <a:pt x="1257205" y="668225"/>
                </a:lnTo>
                <a:cubicBezTo>
                  <a:pt x="1257205" y="582033"/>
                  <a:pt x="1269902" y="509702"/>
                  <a:pt x="1295305" y="451223"/>
                </a:cubicBezTo>
                <a:cubicBezTo>
                  <a:pt x="1318051" y="396397"/>
                  <a:pt x="1354046" y="348049"/>
                  <a:pt x="1400080" y="310519"/>
                </a:cubicBezTo>
                <a:cubicBezTo>
                  <a:pt x="1443829" y="276527"/>
                  <a:pt x="1494016" y="251735"/>
                  <a:pt x="1547622" y="237646"/>
                </a:cubicBezTo>
                <a:cubicBezTo>
                  <a:pt x="1604354" y="222148"/>
                  <a:pt x="1662923" y="214347"/>
                  <a:pt x="1721739" y="214433"/>
                </a:cubicBezTo>
                <a:close/>
                <a:moveTo>
                  <a:pt x="5716715" y="194645"/>
                </a:moveTo>
                <a:cubicBezTo>
                  <a:pt x="5831586" y="194645"/>
                  <a:pt x="5923312" y="220017"/>
                  <a:pt x="5991892" y="270753"/>
                </a:cubicBezTo>
                <a:cubicBezTo>
                  <a:pt x="6055995" y="326054"/>
                  <a:pt x="6090285" y="397824"/>
                  <a:pt x="6094762" y="486042"/>
                </a:cubicBezTo>
                <a:lnTo>
                  <a:pt x="5951887" y="486042"/>
                </a:lnTo>
                <a:cubicBezTo>
                  <a:pt x="5911691" y="487127"/>
                  <a:pt x="5874353" y="465284"/>
                  <a:pt x="5855684" y="429722"/>
                </a:cubicBezTo>
                <a:lnTo>
                  <a:pt x="5829205" y="403275"/>
                </a:lnTo>
                <a:cubicBezTo>
                  <a:pt x="5802630" y="383420"/>
                  <a:pt x="5766149" y="373469"/>
                  <a:pt x="5719762" y="373403"/>
                </a:cubicBezTo>
                <a:cubicBezTo>
                  <a:pt x="5675280" y="373403"/>
                  <a:pt x="5642134" y="380034"/>
                  <a:pt x="5620322" y="393286"/>
                </a:cubicBezTo>
                <a:cubicBezTo>
                  <a:pt x="5600414" y="406386"/>
                  <a:pt x="5588984" y="429142"/>
                  <a:pt x="5590413" y="452935"/>
                </a:cubicBezTo>
                <a:cubicBezTo>
                  <a:pt x="5590413" y="488259"/>
                  <a:pt x="5647848" y="518074"/>
                  <a:pt x="5762816" y="542362"/>
                </a:cubicBezTo>
                <a:cubicBezTo>
                  <a:pt x="5774245" y="546148"/>
                  <a:pt x="5785867" y="549325"/>
                  <a:pt x="5797678" y="551875"/>
                </a:cubicBezTo>
                <a:cubicBezTo>
                  <a:pt x="5807012" y="554073"/>
                  <a:pt x="5816632" y="555195"/>
                  <a:pt x="5826253" y="555205"/>
                </a:cubicBezTo>
                <a:cubicBezTo>
                  <a:pt x="5938933" y="583935"/>
                  <a:pt x="6017323" y="617042"/>
                  <a:pt x="6061615" y="654525"/>
                </a:cubicBezTo>
                <a:cubicBezTo>
                  <a:pt x="6103620" y="694292"/>
                  <a:pt x="6124575" y="747282"/>
                  <a:pt x="6124670" y="813495"/>
                </a:cubicBezTo>
                <a:cubicBezTo>
                  <a:pt x="6124670" y="910723"/>
                  <a:pt x="6089333" y="985784"/>
                  <a:pt x="6018562" y="1038679"/>
                </a:cubicBezTo>
                <a:cubicBezTo>
                  <a:pt x="5952268" y="1087321"/>
                  <a:pt x="5852826" y="1111619"/>
                  <a:pt x="5720144" y="1111552"/>
                </a:cubicBezTo>
                <a:cubicBezTo>
                  <a:pt x="5594128" y="1111552"/>
                  <a:pt x="5500117" y="1086180"/>
                  <a:pt x="5438298" y="1035444"/>
                </a:cubicBezTo>
                <a:cubicBezTo>
                  <a:pt x="5374195" y="984709"/>
                  <a:pt x="5342096" y="910723"/>
                  <a:pt x="5342096" y="813495"/>
                </a:cubicBezTo>
                <a:lnTo>
                  <a:pt x="5342287" y="803982"/>
                </a:lnTo>
                <a:lnTo>
                  <a:pt x="5567839" y="803982"/>
                </a:lnTo>
                <a:cubicBezTo>
                  <a:pt x="5569934" y="848124"/>
                  <a:pt x="5586889" y="881326"/>
                  <a:pt x="5617559" y="903302"/>
                </a:cubicBezTo>
                <a:cubicBezTo>
                  <a:pt x="5650706" y="925469"/>
                  <a:pt x="5694902" y="936409"/>
                  <a:pt x="5750148" y="936409"/>
                </a:cubicBezTo>
                <a:cubicBezTo>
                  <a:pt x="5785771" y="937379"/>
                  <a:pt x="5821109" y="929398"/>
                  <a:pt x="5852922" y="913196"/>
                </a:cubicBezTo>
                <a:cubicBezTo>
                  <a:pt x="5879497" y="897784"/>
                  <a:pt x="5892737" y="876826"/>
                  <a:pt x="5892737" y="850312"/>
                </a:cubicBezTo>
                <a:cubicBezTo>
                  <a:pt x="5892737" y="810546"/>
                  <a:pt x="5846350" y="780740"/>
                  <a:pt x="5753481" y="760886"/>
                </a:cubicBezTo>
                <a:cubicBezTo>
                  <a:pt x="5723191" y="756472"/>
                  <a:pt x="5693283" y="749831"/>
                  <a:pt x="5663946" y="741003"/>
                </a:cubicBezTo>
                <a:cubicBezTo>
                  <a:pt x="5546788" y="712396"/>
                  <a:pt x="5468302" y="678185"/>
                  <a:pt x="5428584" y="638352"/>
                </a:cubicBezTo>
                <a:cubicBezTo>
                  <a:pt x="5384102" y="598710"/>
                  <a:pt x="5361909" y="545720"/>
                  <a:pt x="5361909" y="479383"/>
                </a:cubicBezTo>
                <a:cubicBezTo>
                  <a:pt x="5360384" y="398813"/>
                  <a:pt x="5395817" y="321964"/>
                  <a:pt x="5458111" y="270753"/>
                </a:cubicBezTo>
                <a:cubicBezTo>
                  <a:pt x="5524405" y="220017"/>
                  <a:pt x="5610606" y="194645"/>
                  <a:pt x="5716715" y="194645"/>
                </a:cubicBezTo>
                <a:close/>
                <a:moveTo>
                  <a:pt x="4192239" y="194645"/>
                </a:moveTo>
                <a:cubicBezTo>
                  <a:pt x="4307110" y="194645"/>
                  <a:pt x="4398836" y="220017"/>
                  <a:pt x="4467416" y="270753"/>
                </a:cubicBezTo>
                <a:cubicBezTo>
                  <a:pt x="4531519" y="326054"/>
                  <a:pt x="4565809" y="397824"/>
                  <a:pt x="4570190" y="486042"/>
                </a:cubicBezTo>
                <a:lnTo>
                  <a:pt x="4427315" y="486042"/>
                </a:lnTo>
                <a:cubicBezTo>
                  <a:pt x="4387244" y="487098"/>
                  <a:pt x="4350087" y="465236"/>
                  <a:pt x="4331589" y="429722"/>
                </a:cubicBezTo>
                <a:lnTo>
                  <a:pt x="4305015" y="403275"/>
                </a:lnTo>
                <a:cubicBezTo>
                  <a:pt x="4278535" y="383420"/>
                  <a:pt x="4242083" y="373469"/>
                  <a:pt x="4195667" y="373403"/>
                </a:cubicBezTo>
                <a:cubicBezTo>
                  <a:pt x="4151214" y="373403"/>
                  <a:pt x="4118039" y="380034"/>
                  <a:pt x="4096132" y="393286"/>
                </a:cubicBezTo>
                <a:cubicBezTo>
                  <a:pt x="4076224" y="406415"/>
                  <a:pt x="4064861" y="429161"/>
                  <a:pt x="4066318" y="452935"/>
                </a:cubicBezTo>
                <a:cubicBezTo>
                  <a:pt x="4066318" y="488259"/>
                  <a:pt x="4123782" y="518074"/>
                  <a:pt x="4238721" y="542362"/>
                </a:cubicBezTo>
                <a:cubicBezTo>
                  <a:pt x="4250160" y="546167"/>
                  <a:pt x="4261799" y="549335"/>
                  <a:pt x="4273582" y="551875"/>
                </a:cubicBezTo>
                <a:cubicBezTo>
                  <a:pt x="4282793" y="554044"/>
                  <a:pt x="4292223" y="555157"/>
                  <a:pt x="4301681" y="555205"/>
                </a:cubicBezTo>
                <a:cubicBezTo>
                  <a:pt x="4414457" y="583935"/>
                  <a:pt x="4492943" y="617042"/>
                  <a:pt x="4537139" y="654525"/>
                </a:cubicBezTo>
                <a:cubicBezTo>
                  <a:pt x="4579144" y="694292"/>
                  <a:pt x="4600099" y="747282"/>
                  <a:pt x="4600099" y="813495"/>
                </a:cubicBezTo>
                <a:cubicBezTo>
                  <a:pt x="4600099" y="910723"/>
                  <a:pt x="4564761" y="985784"/>
                  <a:pt x="4494086" y="1038679"/>
                </a:cubicBezTo>
                <a:cubicBezTo>
                  <a:pt x="4427668" y="1087321"/>
                  <a:pt x="4328189" y="1111619"/>
                  <a:pt x="4195667" y="1111552"/>
                </a:cubicBezTo>
                <a:cubicBezTo>
                  <a:pt x="4069623" y="1111552"/>
                  <a:pt x="3975669" y="1086180"/>
                  <a:pt x="3913823" y="1035444"/>
                </a:cubicBezTo>
                <a:cubicBezTo>
                  <a:pt x="3849625" y="984709"/>
                  <a:pt x="3817554" y="910723"/>
                  <a:pt x="3817620" y="813495"/>
                </a:cubicBezTo>
                <a:lnTo>
                  <a:pt x="3817906" y="803982"/>
                </a:lnTo>
                <a:lnTo>
                  <a:pt x="4043363" y="803982"/>
                </a:lnTo>
                <a:cubicBezTo>
                  <a:pt x="4045553" y="848124"/>
                  <a:pt x="4062413" y="881326"/>
                  <a:pt x="4093084" y="903302"/>
                </a:cubicBezTo>
                <a:cubicBezTo>
                  <a:pt x="4126326" y="925469"/>
                  <a:pt x="4170522" y="936409"/>
                  <a:pt x="4225767" y="936409"/>
                </a:cubicBezTo>
                <a:cubicBezTo>
                  <a:pt x="4261428" y="937379"/>
                  <a:pt x="4296766" y="929398"/>
                  <a:pt x="4328541" y="913196"/>
                </a:cubicBezTo>
                <a:cubicBezTo>
                  <a:pt x="4355021" y="897784"/>
                  <a:pt x="4368356" y="876855"/>
                  <a:pt x="4368356" y="850312"/>
                </a:cubicBezTo>
                <a:cubicBezTo>
                  <a:pt x="4368356" y="810546"/>
                  <a:pt x="4321940" y="780740"/>
                  <a:pt x="4229100" y="760886"/>
                </a:cubicBezTo>
                <a:cubicBezTo>
                  <a:pt x="4198802" y="756472"/>
                  <a:pt x="4168874" y="749831"/>
                  <a:pt x="4139566" y="741003"/>
                </a:cubicBezTo>
                <a:cubicBezTo>
                  <a:pt x="4022284" y="712396"/>
                  <a:pt x="3943798" y="678185"/>
                  <a:pt x="3904107" y="638352"/>
                </a:cubicBezTo>
                <a:cubicBezTo>
                  <a:pt x="3859654" y="598710"/>
                  <a:pt x="3837432" y="545720"/>
                  <a:pt x="3837432" y="479383"/>
                </a:cubicBezTo>
                <a:cubicBezTo>
                  <a:pt x="3835918" y="398832"/>
                  <a:pt x="3871313" y="322011"/>
                  <a:pt x="3933540" y="270753"/>
                </a:cubicBezTo>
                <a:cubicBezTo>
                  <a:pt x="3999957" y="220017"/>
                  <a:pt x="4086197" y="194645"/>
                  <a:pt x="4192239" y="194645"/>
                </a:cubicBezTo>
                <a:close/>
                <a:moveTo>
                  <a:pt x="3386901" y="194645"/>
                </a:moveTo>
                <a:cubicBezTo>
                  <a:pt x="3519488" y="194645"/>
                  <a:pt x="3622264" y="234383"/>
                  <a:pt x="3695225" y="313849"/>
                </a:cubicBezTo>
                <a:cubicBezTo>
                  <a:pt x="3765967" y="395541"/>
                  <a:pt x="3801333" y="509226"/>
                  <a:pt x="3801333" y="654906"/>
                </a:cubicBezTo>
                <a:lnTo>
                  <a:pt x="3801333" y="691342"/>
                </a:lnTo>
                <a:cubicBezTo>
                  <a:pt x="3801838" y="699229"/>
                  <a:pt x="3800704" y="707135"/>
                  <a:pt x="3797999" y="714555"/>
                </a:cubicBezTo>
                <a:lnTo>
                  <a:pt x="3224404" y="714555"/>
                </a:lnTo>
                <a:cubicBezTo>
                  <a:pt x="3226623" y="783052"/>
                  <a:pt x="3243197" y="833787"/>
                  <a:pt x="3274124" y="866771"/>
                </a:cubicBezTo>
                <a:cubicBezTo>
                  <a:pt x="3302766" y="902161"/>
                  <a:pt x="3345876" y="919827"/>
                  <a:pt x="3403474" y="919761"/>
                </a:cubicBezTo>
                <a:cubicBezTo>
                  <a:pt x="3437002" y="920750"/>
                  <a:pt x="3470187" y="912768"/>
                  <a:pt x="3499581" y="896643"/>
                </a:cubicBezTo>
                <a:cubicBezTo>
                  <a:pt x="3506515" y="894274"/>
                  <a:pt x="3512783" y="890297"/>
                  <a:pt x="3517869" y="885036"/>
                </a:cubicBezTo>
                <a:lnTo>
                  <a:pt x="3536062" y="866771"/>
                </a:lnTo>
                <a:cubicBezTo>
                  <a:pt x="3541967" y="855992"/>
                  <a:pt x="3550521" y="846887"/>
                  <a:pt x="3560923" y="840323"/>
                </a:cubicBezTo>
                <a:cubicBezTo>
                  <a:pt x="3579000" y="828250"/>
                  <a:pt x="3600565" y="822466"/>
                  <a:pt x="3622264" y="823865"/>
                </a:cubicBezTo>
                <a:lnTo>
                  <a:pt x="3788094" y="823865"/>
                </a:lnTo>
                <a:cubicBezTo>
                  <a:pt x="3763710" y="916526"/>
                  <a:pt x="3717294" y="987182"/>
                  <a:pt x="3648838" y="1035825"/>
                </a:cubicBezTo>
                <a:cubicBezTo>
                  <a:pt x="3580258" y="1086560"/>
                  <a:pt x="3494028" y="1111932"/>
                  <a:pt x="3390139" y="1111932"/>
                </a:cubicBezTo>
                <a:cubicBezTo>
                  <a:pt x="3264219" y="1111932"/>
                  <a:pt x="3165797" y="1071091"/>
                  <a:pt x="3094864" y="989399"/>
                </a:cubicBezTo>
                <a:cubicBezTo>
                  <a:pt x="3024188" y="909933"/>
                  <a:pt x="2988851" y="796247"/>
                  <a:pt x="2988851" y="648342"/>
                </a:cubicBezTo>
                <a:cubicBezTo>
                  <a:pt x="2988851" y="507095"/>
                  <a:pt x="3023112" y="396711"/>
                  <a:pt x="3091626" y="317178"/>
                </a:cubicBezTo>
                <a:cubicBezTo>
                  <a:pt x="3162301" y="235486"/>
                  <a:pt x="3260723" y="194645"/>
                  <a:pt x="3386901" y="194645"/>
                </a:cubicBezTo>
                <a:close/>
                <a:moveTo>
                  <a:pt x="2146078" y="194645"/>
                </a:moveTo>
                <a:cubicBezTo>
                  <a:pt x="2269903" y="194645"/>
                  <a:pt x="2362772" y="215603"/>
                  <a:pt x="2424684" y="257529"/>
                </a:cubicBezTo>
                <a:cubicBezTo>
                  <a:pt x="2488816" y="301928"/>
                  <a:pt x="2520858" y="363728"/>
                  <a:pt x="2520792" y="442946"/>
                </a:cubicBezTo>
                <a:lnTo>
                  <a:pt x="2520792" y="744332"/>
                </a:lnTo>
                <a:cubicBezTo>
                  <a:pt x="2520792" y="832684"/>
                  <a:pt x="2504914" y="901685"/>
                  <a:pt x="2473167" y="951345"/>
                </a:cubicBezTo>
                <a:cubicBezTo>
                  <a:pt x="2445477" y="997067"/>
                  <a:pt x="2405777" y="1034341"/>
                  <a:pt x="2358391" y="1059133"/>
                </a:cubicBezTo>
                <a:cubicBezTo>
                  <a:pt x="2312508" y="1083297"/>
                  <a:pt x="2262435" y="1098471"/>
                  <a:pt x="2210848" y="1103846"/>
                </a:cubicBezTo>
                <a:cubicBezTo>
                  <a:pt x="2165176" y="1109002"/>
                  <a:pt x="2119265" y="1111761"/>
                  <a:pt x="2073307" y="1112123"/>
                </a:cubicBezTo>
                <a:cubicBezTo>
                  <a:pt x="1998574" y="1113559"/>
                  <a:pt x="1925374" y="1090831"/>
                  <a:pt x="1864614" y="1047336"/>
                </a:cubicBezTo>
                <a:cubicBezTo>
                  <a:pt x="1804921" y="1004335"/>
                  <a:pt x="1775079" y="933146"/>
                  <a:pt x="1775079" y="833759"/>
                </a:cubicBezTo>
                <a:cubicBezTo>
                  <a:pt x="1775079" y="741031"/>
                  <a:pt x="1802159" y="674789"/>
                  <a:pt x="1856328" y="635023"/>
                </a:cubicBezTo>
                <a:cubicBezTo>
                  <a:pt x="1910496" y="595256"/>
                  <a:pt x="1979553" y="568781"/>
                  <a:pt x="2063496" y="555586"/>
                </a:cubicBezTo>
                <a:cubicBezTo>
                  <a:pt x="2076908" y="555319"/>
                  <a:pt x="2090242" y="553664"/>
                  <a:pt x="2103311" y="550638"/>
                </a:cubicBezTo>
                <a:cubicBezTo>
                  <a:pt x="2120846" y="546976"/>
                  <a:pt x="2138553" y="544217"/>
                  <a:pt x="2156365" y="542362"/>
                </a:cubicBezTo>
                <a:cubicBezTo>
                  <a:pt x="2253644" y="529167"/>
                  <a:pt x="2302288" y="500474"/>
                  <a:pt x="2302288" y="456265"/>
                </a:cubicBezTo>
                <a:cubicBezTo>
                  <a:pt x="2302288" y="423158"/>
                  <a:pt x="2285143" y="401629"/>
                  <a:pt x="2250853" y="391669"/>
                </a:cubicBezTo>
                <a:cubicBezTo>
                  <a:pt x="2220220" y="382260"/>
                  <a:pt x="2188407" y="377237"/>
                  <a:pt x="2156365" y="376732"/>
                </a:cubicBezTo>
                <a:cubicBezTo>
                  <a:pt x="2128181" y="376314"/>
                  <a:pt x="2100149" y="380785"/>
                  <a:pt x="2073497" y="389956"/>
                </a:cubicBezTo>
                <a:cubicBezTo>
                  <a:pt x="2049618" y="398395"/>
                  <a:pt x="2030378" y="416442"/>
                  <a:pt x="2020443" y="439712"/>
                </a:cubicBezTo>
                <a:lnTo>
                  <a:pt x="1797939" y="439712"/>
                </a:lnTo>
                <a:cubicBezTo>
                  <a:pt x="1805626" y="373441"/>
                  <a:pt x="1838954" y="312802"/>
                  <a:pt x="1890808" y="270753"/>
                </a:cubicBezTo>
                <a:cubicBezTo>
                  <a:pt x="1950501" y="220017"/>
                  <a:pt x="2035588" y="194645"/>
                  <a:pt x="2146078" y="194645"/>
                </a:cubicBezTo>
                <a:close/>
                <a:moveTo>
                  <a:pt x="374523" y="194645"/>
                </a:moveTo>
                <a:cubicBezTo>
                  <a:pt x="489462" y="194645"/>
                  <a:pt x="581216" y="220017"/>
                  <a:pt x="649796" y="270753"/>
                </a:cubicBezTo>
                <a:cubicBezTo>
                  <a:pt x="713927" y="326054"/>
                  <a:pt x="748189" y="397824"/>
                  <a:pt x="752570" y="486042"/>
                </a:cubicBezTo>
                <a:lnTo>
                  <a:pt x="609695" y="486042"/>
                </a:lnTo>
                <a:cubicBezTo>
                  <a:pt x="569500" y="487127"/>
                  <a:pt x="532181" y="465284"/>
                  <a:pt x="513493" y="429722"/>
                </a:cubicBezTo>
                <a:cubicBezTo>
                  <a:pt x="504634" y="420970"/>
                  <a:pt x="495776" y="412122"/>
                  <a:pt x="487013" y="403275"/>
                </a:cubicBezTo>
                <a:cubicBezTo>
                  <a:pt x="460534" y="383420"/>
                  <a:pt x="424053" y="373469"/>
                  <a:pt x="377571" y="373403"/>
                </a:cubicBezTo>
                <a:cubicBezTo>
                  <a:pt x="333118" y="373403"/>
                  <a:pt x="299971" y="380034"/>
                  <a:pt x="278130" y="393286"/>
                </a:cubicBezTo>
                <a:cubicBezTo>
                  <a:pt x="258223" y="406415"/>
                  <a:pt x="246859" y="429161"/>
                  <a:pt x="248317" y="452935"/>
                </a:cubicBezTo>
                <a:cubicBezTo>
                  <a:pt x="248317" y="488259"/>
                  <a:pt x="305781" y="518074"/>
                  <a:pt x="420719" y="542362"/>
                </a:cubicBezTo>
                <a:cubicBezTo>
                  <a:pt x="432130" y="546148"/>
                  <a:pt x="443732" y="549325"/>
                  <a:pt x="455486" y="551875"/>
                </a:cubicBezTo>
                <a:cubicBezTo>
                  <a:pt x="464849" y="554073"/>
                  <a:pt x="474440" y="555186"/>
                  <a:pt x="484061" y="555205"/>
                </a:cubicBezTo>
                <a:cubicBezTo>
                  <a:pt x="596837" y="583935"/>
                  <a:pt x="675323" y="617042"/>
                  <a:pt x="719519" y="654525"/>
                </a:cubicBezTo>
                <a:cubicBezTo>
                  <a:pt x="761429" y="694292"/>
                  <a:pt x="782412" y="747282"/>
                  <a:pt x="782479" y="813495"/>
                </a:cubicBezTo>
                <a:cubicBezTo>
                  <a:pt x="782479" y="910723"/>
                  <a:pt x="747113" y="985784"/>
                  <a:pt x="676370" y="1038679"/>
                </a:cubicBezTo>
                <a:cubicBezTo>
                  <a:pt x="610076" y="1087321"/>
                  <a:pt x="510607" y="1111619"/>
                  <a:pt x="377952" y="1111552"/>
                </a:cubicBezTo>
                <a:cubicBezTo>
                  <a:pt x="251908" y="1111552"/>
                  <a:pt x="157953" y="1086180"/>
                  <a:pt x="96108" y="1035444"/>
                </a:cubicBezTo>
                <a:cubicBezTo>
                  <a:pt x="31975" y="984709"/>
                  <a:pt x="-67" y="910723"/>
                  <a:pt x="0" y="813495"/>
                </a:cubicBezTo>
                <a:lnTo>
                  <a:pt x="286" y="803982"/>
                </a:lnTo>
                <a:lnTo>
                  <a:pt x="225743" y="803982"/>
                </a:lnTo>
                <a:cubicBezTo>
                  <a:pt x="227933" y="848124"/>
                  <a:pt x="244793" y="881326"/>
                  <a:pt x="275463" y="903302"/>
                </a:cubicBezTo>
                <a:cubicBezTo>
                  <a:pt x="308610" y="925469"/>
                  <a:pt x="352806" y="936409"/>
                  <a:pt x="408051" y="936409"/>
                </a:cubicBezTo>
                <a:cubicBezTo>
                  <a:pt x="443742" y="937379"/>
                  <a:pt x="479108" y="929398"/>
                  <a:pt x="510921" y="913196"/>
                </a:cubicBezTo>
                <a:cubicBezTo>
                  <a:pt x="537400" y="897784"/>
                  <a:pt x="550640" y="876826"/>
                  <a:pt x="550640" y="850312"/>
                </a:cubicBezTo>
                <a:cubicBezTo>
                  <a:pt x="550640" y="810546"/>
                  <a:pt x="504225" y="780740"/>
                  <a:pt x="411385" y="760886"/>
                </a:cubicBezTo>
                <a:cubicBezTo>
                  <a:pt x="381095" y="756462"/>
                  <a:pt x="351168" y="749822"/>
                  <a:pt x="321850" y="741003"/>
                </a:cubicBezTo>
                <a:cubicBezTo>
                  <a:pt x="204692" y="712396"/>
                  <a:pt x="126235" y="678185"/>
                  <a:pt x="86487" y="638352"/>
                </a:cubicBezTo>
                <a:cubicBezTo>
                  <a:pt x="42034" y="598710"/>
                  <a:pt x="19812" y="545720"/>
                  <a:pt x="19812" y="479383"/>
                </a:cubicBezTo>
                <a:cubicBezTo>
                  <a:pt x="18298" y="398832"/>
                  <a:pt x="53693" y="322011"/>
                  <a:pt x="115919" y="270753"/>
                </a:cubicBezTo>
                <a:cubicBezTo>
                  <a:pt x="182213" y="220017"/>
                  <a:pt x="268415" y="194645"/>
                  <a:pt x="374523" y="194645"/>
                </a:cubicBezTo>
                <a:close/>
                <a:moveTo>
                  <a:pt x="2575750" y="0"/>
                </a:moveTo>
                <a:lnTo>
                  <a:pt x="2799779" y="0"/>
                </a:lnTo>
                <a:lnTo>
                  <a:pt x="2799779" y="221949"/>
                </a:lnTo>
                <a:lnTo>
                  <a:pt x="2958084" y="221949"/>
                </a:lnTo>
                <a:lnTo>
                  <a:pt x="2958084" y="420399"/>
                </a:lnTo>
                <a:lnTo>
                  <a:pt x="2800159" y="420399"/>
                </a:lnTo>
                <a:lnTo>
                  <a:pt x="2800159" y="728921"/>
                </a:lnTo>
                <a:cubicBezTo>
                  <a:pt x="2800159" y="789997"/>
                  <a:pt x="2814038" y="832969"/>
                  <a:pt x="2841784" y="857828"/>
                </a:cubicBezTo>
                <a:cubicBezTo>
                  <a:pt x="2869530" y="882687"/>
                  <a:pt x="2911697" y="893408"/>
                  <a:pt x="2968276" y="889984"/>
                </a:cubicBezTo>
                <a:lnTo>
                  <a:pt x="2968276" y="1093667"/>
                </a:lnTo>
                <a:cubicBezTo>
                  <a:pt x="2911317" y="1101116"/>
                  <a:pt x="2853443" y="1097111"/>
                  <a:pt x="2798064" y="1081870"/>
                </a:cubicBezTo>
                <a:cubicBezTo>
                  <a:pt x="2752011" y="1068675"/>
                  <a:pt x="2710006" y="1044178"/>
                  <a:pt x="2675858" y="1010614"/>
                </a:cubicBezTo>
                <a:cubicBezTo>
                  <a:pt x="2642092" y="976385"/>
                  <a:pt x="2616556" y="934944"/>
                  <a:pt x="2601183" y="889413"/>
                </a:cubicBezTo>
                <a:cubicBezTo>
                  <a:pt x="2583590" y="837336"/>
                  <a:pt x="2574998" y="782643"/>
                  <a:pt x="2575750" y="727684"/>
                </a:cubicBezTo>
                <a:close/>
                <a:moveTo>
                  <a:pt x="824770" y="0"/>
                </a:moveTo>
                <a:lnTo>
                  <a:pt x="1048893" y="0"/>
                </a:lnTo>
                <a:lnTo>
                  <a:pt x="1048893" y="221949"/>
                </a:lnTo>
                <a:lnTo>
                  <a:pt x="1206723" y="221949"/>
                </a:lnTo>
                <a:lnTo>
                  <a:pt x="1206723" y="420399"/>
                </a:lnTo>
                <a:lnTo>
                  <a:pt x="1048417" y="420399"/>
                </a:lnTo>
                <a:lnTo>
                  <a:pt x="1048417" y="728921"/>
                </a:lnTo>
                <a:cubicBezTo>
                  <a:pt x="1048417" y="789997"/>
                  <a:pt x="1062257" y="832969"/>
                  <a:pt x="1089946" y="857828"/>
                </a:cubicBezTo>
                <a:cubicBezTo>
                  <a:pt x="1117636" y="882687"/>
                  <a:pt x="1159955" y="893475"/>
                  <a:pt x="1216915" y="890174"/>
                </a:cubicBezTo>
                <a:lnTo>
                  <a:pt x="1216915" y="1093667"/>
                </a:lnTo>
                <a:cubicBezTo>
                  <a:pt x="1160117" y="1101068"/>
                  <a:pt x="1102405" y="1097054"/>
                  <a:pt x="1047179" y="1081870"/>
                </a:cubicBezTo>
                <a:cubicBezTo>
                  <a:pt x="1001116" y="1068694"/>
                  <a:pt x="959101" y="1044197"/>
                  <a:pt x="924973" y="1010614"/>
                </a:cubicBezTo>
                <a:cubicBezTo>
                  <a:pt x="891207" y="976366"/>
                  <a:pt x="865642" y="934935"/>
                  <a:pt x="850202" y="889413"/>
                </a:cubicBezTo>
                <a:cubicBezTo>
                  <a:pt x="832619" y="837336"/>
                  <a:pt x="824018" y="782643"/>
                  <a:pt x="824770" y="727684"/>
                </a:cubicBezTo>
                <a:close/>
              </a:path>
            </a:pathLst>
          </a:custGeom>
          <a:solidFill>
            <a:srgbClr val="002060"/>
          </a:solidFill>
          <a:ln w="9525" cap="flat">
            <a:noFill/>
            <a:prstDash val="solid"/>
            <a:miter/>
          </a:ln>
        </p:spPr>
        <p:txBody>
          <a:bodyPr rtlCol="0" anchor="ctr"/>
          <a:lstStyle/>
          <a:p>
            <a:endParaRPr lang="es-ES"/>
          </a:p>
        </p:txBody>
      </p:sp>
      <p:pic>
        <p:nvPicPr>
          <p:cNvPr id="2" name="Gráfico 11">
            <a:extLst>
              <a:ext uri="{FF2B5EF4-FFF2-40B4-BE49-F238E27FC236}">
                <a16:creationId xmlns:a16="http://schemas.microsoft.com/office/drawing/2014/main" id="{556E71DC-F891-877C-FB36-23483A5EFAAD}"/>
              </a:ext>
            </a:extLst>
          </p:cNvPr>
          <p:cNvPicPr>
            <a:picLocks noChangeAspect="1"/>
          </p:cNvPicPr>
          <p:nvPr userDrawn="1"/>
        </p:nvPicPr>
        <p:blipFill>
          <a:blip r:embed="rId2"/>
          <a:srcRect/>
          <a:stretch/>
        </p:blipFill>
        <p:spPr>
          <a:xfrm>
            <a:off x="738250" y="331258"/>
            <a:ext cx="1312897" cy="690998"/>
          </a:xfrm>
          <a:prstGeom prst="rect">
            <a:avLst/>
          </a:prstGeom>
        </p:spPr>
      </p:pic>
    </p:spTree>
    <p:extLst>
      <p:ext uri="{BB962C8B-B14F-4D97-AF65-F5344CB8AC3E}">
        <p14:creationId xmlns:p14="http://schemas.microsoft.com/office/powerpoint/2010/main" val="89753919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mplate Propuesta 2022 - Genérica">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50040F2E-A856-F74D-B747-8F63180F396D}"/>
              </a:ext>
            </a:extLst>
          </p:cNvPr>
          <p:cNvSpPr>
            <a:spLocks noGrp="1"/>
          </p:cNvSpPr>
          <p:nvPr>
            <p:ph type="title"/>
          </p:nvPr>
        </p:nvSpPr>
        <p:spPr/>
        <p:txBody>
          <a:bodyPr/>
          <a:lstStyle/>
          <a:p>
            <a:r>
              <a:rPr lang="es-ES"/>
              <a:t>Haga clic para modificar el estilo de título del patrón</a:t>
            </a:r>
            <a:endParaRPr lang="en-US"/>
          </a:p>
        </p:txBody>
      </p:sp>
      <p:sp>
        <p:nvSpPr>
          <p:cNvPr id="7" name="Marcador de texto 5">
            <a:extLst>
              <a:ext uri="{FF2B5EF4-FFF2-40B4-BE49-F238E27FC236}">
                <a16:creationId xmlns:a16="http://schemas.microsoft.com/office/drawing/2014/main" id="{CC6303D6-D0FC-984A-8419-A50470327A59}"/>
              </a:ext>
            </a:extLst>
          </p:cNvPr>
          <p:cNvSpPr>
            <a:spLocks noGrp="1"/>
          </p:cNvSpPr>
          <p:nvPr>
            <p:ph type="body" sz="quarter" idx="10"/>
          </p:nvPr>
        </p:nvSpPr>
        <p:spPr>
          <a:xfrm>
            <a:off x="442659" y="671500"/>
            <a:ext cx="11306682" cy="5741999"/>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Tree>
    <p:extLst>
      <p:ext uri="{BB962C8B-B14F-4D97-AF65-F5344CB8AC3E}">
        <p14:creationId xmlns:p14="http://schemas.microsoft.com/office/powerpoint/2010/main" val="1150472501"/>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mplate Propuesta 2022 - Introducción">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50040F2E-A856-F74D-B747-8F63180F396D}"/>
              </a:ext>
            </a:extLst>
          </p:cNvPr>
          <p:cNvSpPr>
            <a:spLocks noGrp="1"/>
          </p:cNvSpPr>
          <p:nvPr>
            <p:ph type="title"/>
          </p:nvPr>
        </p:nvSpPr>
        <p:spPr>
          <a:xfrm>
            <a:off x="1138892" y="36122"/>
            <a:ext cx="10610449" cy="276999"/>
          </a:xfrm>
        </p:spPr>
        <p:txBody>
          <a:bodyPr wrap="square" lIns="0" anchor="t">
            <a:noAutofit/>
          </a:bodyPr>
          <a:lstStyle>
            <a:lvl1pPr>
              <a:defRPr lang="es-ES_tradnl" cap="all" baseline="0" noProof="0" dirty="0"/>
            </a:lvl1pPr>
          </a:lstStyle>
          <a:p>
            <a:pPr lvl="0"/>
            <a:r>
              <a:rPr lang="es-ES_tradnl" noProof="0"/>
              <a:t>Haga clic para modificar el estilo de título del patrón</a:t>
            </a:r>
          </a:p>
        </p:txBody>
      </p:sp>
      <p:sp>
        <p:nvSpPr>
          <p:cNvPr id="7" name="Marcador de texto 5">
            <a:extLst>
              <a:ext uri="{FF2B5EF4-FFF2-40B4-BE49-F238E27FC236}">
                <a16:creationId xmlns:a16="http://schemas.microsoft.com/office/drawing/2014/main" id="{CC6303D6-D0FC-984A-8419-A50470327A59}"/>
              </a:ext>
            </a:extLst>
          </p:cNvPr>
          <p:cNvSpPr>
            <a:spLocks noGrp="1"/>
          </p:cNvSpPr>
          <p:nvPr>
            <p:ph type="body" sz="quarter" idx="10"/>
          </p:nvPr>
        </p:nvSpPr>
        <p:spPr>
          <a:xfrm>
            <a:off x="442659" y="671500"/>
            <a:ext cx="11306682" cy="5741999"/>
          </a:xfrm>
        </p:spPr>
        <p:txBody>
          <a:bodyPr/>
          <a:lstStyle/>
          <a:p>
            <a:pPr lvl="0"/>
            <a:r>
              <a:rPr lang="es-ES_tradnl" noProof="0"/>
              <a:t>Haga clic para modificar los estilos de texto del patrón</a:t>
            </a:r>
          </a:p>
          <a:p>
            <a:pPr lvl="1"/>
            <a:r>
              <a:rPr lang="es-ES_tradnl" noProof="0"/>
              <a:t>Segundo nivel</a:t>
            </a:r>
          </a:p>
          <a:p>
            <a:pPr lvl="2"/>
            <a:r>
              <a:rPr lang="es-ES_tradnl" noProof="0"/>
              <a:t>Tercer nivel</a:t>
            </a:r>
          </a:p>
          <a:p>
            <a:pPr lvl="3"/>
            <a:r>
              <a:rPr lang="es-ES_tradnl" noProof="0"/>
              <a:t>Cuarto nivel</a:t>
            </a:r>
          </a:p>
          <a:p>
            <a:pPr lvl="4"/>
            <a:r>
              <a:rPr lang="es-ES_tradnl" noProof="0"/>
              <a:t>Quinto nivel</a:t>
            </a:r>
          </a:p>
        </p:txBody>
      </p:sp>
      <p:sp>
        <p:nvSpPr>
          <p:cNvPr id="4" name="Marcador de texto 4">
            <a:extLst>
              <a:ext uri="{FF2B5EF4-FFF2-40B4-BE49-F238E27FC236}">
                <a16:creationId xmlns:a16="http://schemas.microsoft.com/office/drawing/2014/main" id="{DED7AFAC-0516-FB48-9E02-44CC62A80883}"/>
              </a:ext>
            </a:extLst>
          </p:cNvPr>
          <p:cNvSpPr>
            <a:spLocks noGrp="1"/>
          </p:cNvSpPr>
          <p:nvPr>
            <p:ph type="body" sz="quarter" idx="11"/>
          </p:nvPr>
        </p:nvSpPr>
        <p:spPr>
          <a:xfrm>
            <a:off x="1138639" y="290195"/>
            <a:ext cx="10610449" cy="217488"/>
          </a:xfrm>
        </p:spPr>
        <p:txBody>
          <a:bodyPr/>
          <a:lstStyle>
            <a:lvl1pPr>
              <a:defRPr sz="1200">
                <a:solidFill>
                  <a:schemeClr val="tx2"/>
                </a:solidFill>
              </a:defRPr>
            </a:lvl1pPr>
          </a:lstStyle>
          <a:p>
            <a:pPr lvl="0"/>
            <a:r>
              <a:rPr lang="es-ES_tradnl" noProof="0"/>
              <a:t>Haga clic para modificar los estilos de texto del patrón</a:t>
            </a:r>
          </a:p>
        </p:txBody>
      </p:sp>
      <p:grpSp>
        <p:nvGrpSpPr>
          <p:cNvPr id="8" name="Grupo 7">
            <a:extLst>
              <a:ext uri="{FF2B5EF4-FFF2-40B4-BE49-F238E27FC236}">
                <a16:creationId xmlns:a16="http://schemas.microsoft.com/office/drawing/2014/main" id="{B5B8CF7A-33AF-534D-A707-F1AFA19DADF1}"/>
              </a:ext>
            </a:extLst>
          </p:cNvPr>
          <p:cNvGrpSpPr/>
          <p:nvPr userDrawn="1"/>
        </p:nvGrpSpPr>
        <p:grpSpPr>
          <a:xfrm>
            <a:off x="596159" y="67814"/>
            <a:ext cx="405613" cy="405613"/>
            <a:chOff x="663989" y="1147969"/>
            <a:chExt cx="405613" cy="405613"/>
          </a:xfrm>
        </p:grpSpPr>
        <p:sp>
          <p:nvSpPr>
            <p:cNvPr id="9" name="Rectángulo 8">
              <a:extLst>
                <a:ext uri="{FF2B5EF4-FFF2-40B4-BE49-F238E27FC236}">
                  <a16:creationId xmlns:a16="http://schemas.microsoft.com/office/drawing/2014/main" id="{9D31E6A8-7FC5-D346-B913-27F3CB84C0BF}"/>
                </a:ext>
              </a:extLst>
            </p:cNvPr>
            <p:cNvSpPr/>
            <p:nvPr userDrawn="1"/>
          </p:nvSpPr>
          <p:spPr bwMode="auto">
            <a:xfrm>
              <a:off x="663989" y="1147969"/>
              <a:ext cx="405613" cy="405613"/>
            </a:xfrm>
            <a:prstGeom prst="rect">
              <a:avLst/>
            </a:prstGeom>
            <a:solidFill>
              <a:schemeClr val="bg1"/>
            </a:solidFill>
            <a:ln w="25400" cap="flat">
              <a:solidFill>
                <a:srgbClr val="7ECDD1"/>
              </a:solidFill>
              <a:miter lim="800000"/>
            </a:ln>
          </p:spPr>
          <p:txBody>
            <a:bodyPr lIns="0" tIns="0" rIns="0" bIns="0" rtlCol="0" anchor="ctr">
              <a:noAutofit/>
            </a:bodyPr>
            <a:lstStyle/>
            <a:p>
              <a:pPr algn="ctr"/>
              <a:endParaRPr lang="es-ES_tradnl" sz="1400" noProof="0"/>
            </a:p>
          </p:txBody>
        </p:sp>
        <p:sp>
          <p:nvSpPr>
            <p:cNvPr id="10" name="Shape 3609">
              <a:extLst>
                <a:ext uri="{FF2B5EF4-FFF2-40B4-BE49-F238E27FC236}">
                  <a16:creationId xmlns:a16="http://schemas.microsoft.com/office/drawing/2014/main" id="{984874FB-B9FA-E147-BBBC-0509024A0EEF}"/>
                </a:ext>
              </a:extLst>
            </p:cNvPr>
            <p:cNvSpPr/>
            <p:nvPr userDrawn="1"/>
          </p:nvSpPr>
          <p:spPr>
            <a:xfrm>
              <a:off x="761901" y="1244122"/>
              <a:ext cx="207824" cy="207823"/>
            </a:xfrm>
            <a:custGeom>
              <a:avLst/>
              <a:gdLst/>
              <a:ahLst/>
              <a:cxnLst>
                <a:cxn ang="0">
                  <a:pos x="wd2" y="hd2"/>
                </a:cxn>
                <a:cxn ang="5400000">
                  <a:pos x="wd2" y="hd2"/>
                </a:cxn>
                <a:cxn ang="10800000">
                  <a:pos x="wd2" y="hd2"/>
                </a:cxn>
                <a:cxn ang="16200000">
                  <a:pos x="wd2" y="hd2"/>
                </a:cxn>
              </a:cxnLst>
              <a:rect l="0" t="0" r="r" b="b"/>
              <a:pathLst>
                <a:path w="21600" h="21600" extrusionOk="0">
                  <a:moveTo>
                    <a:pt x="4418" y="11782"/>
                  </a:moveTo>
                  <a:lnTo>
                    <a:pt x="14236" y="11782"/>
                  </a:lnTo>
                  <a:cubicBezTo>
                    <a:pt x="14507" y="11782"/>
                    <a:pt x="14727" y="11562"/>
                    <a:pt x="14727" y="11291"/>
                  </a:cubicBezTo>
                  <a:cubicBezTo>
                    <a:pt x="14727" y="11020"/>
                    <a:pt x="14507" y="10800"/>
                    <a:pt x="14236" y="10800"/>
                  </a:cubicBezTo>
                  <a:lnTo>
                    <a:pt x="4418" y="10800"/>
                  </a:lnTo>
                  <a:cubicBezTo>
                    <a:pt x="4147" y="10800"/>
                    <a:pt x="3927" y="11020"/>
                    <a:pt x="3927" y="11291"/>
                  </a:cubicBezTo>
                  <a:cubicBezTo>
                    <a:pt x="3927" y="11562"/>
                    <a:pt x="4147" y="11782"/>
                    <a:pt x="4418" y="11782"/>
                  </a:cubicBezTo>
                  <a:moveTo>
                    <a:pt x="20618" y="20618"/>
                  </a:moveTo>
                  <a:lnTo>
                    <a:pt x="5891" y="20618"/>
                  </a:lnTo>
                  <a:lnTo>
                    <a:pt x="5891" y="16200"/>
                  </a:lnTo>
                  <a:cubicBezTo>
                    <a:pt x="5891" y="15929"/>
                    <a:pt x="5671" y="15709"/>
                    <a:pt x="5400" y="15709"/>
                  </a:cubicBezTo>
                  <a:lnTo>
                    <a:pt x="982" y="15709"/>
                  </a:lnTo>
                  <a:lnTo>
                    <a:pt x="982" y="982"/>
                  </a:lnTo>
                  <a:lnTo>
                    <a:pt x="20618" y="982"/>
                  </a:lnTo>
                  <a:cubicBezTo>
                    <a:pt x="20618" y="982"/>
                    <a:pt x="20618" y="20618"/>
                    <a:pt x="20618" y="20618"/>
                  </a:cubicBezTo>
                  <a:close/>
                  <a:moveTo>
                    <a:pt x="4909" y="20127"/>
                  </a:moveTo>
                  <a:lnTo>
                    <a:pt x="1473" y="16691"/>
                  </a:lnTo>
                  <a:lnTo>
                    <a:pt x="4909" y="16691"/>
                  </a:lnTo>
                  <a:cubicBezTo>
                    <a:pt x="4909" y="16691"/>
                    <a:pt x="4909" y="20127"/>
                    <a:pt x="4909" y="20127"/>
                  </a:cubicBezTo>
                  <a:close/>
                  <a:moveTo>
                    <a:pt x="20618" y="0"/>
                  </a:moveTo>
                  <a:lnTo>
                    <a:pt x="982" y="0"/>
                  </a:lnTo>
                  <a:cubicBezTo>
                    <a:pt x="440" y="0"/>
                    <a:pt x="0" y="440"/>
                    <a:pt x="0" y="982"/>
                  </a:cubicBezTo>
                  <a:lnTo>
                    <a:pt x="0" y="16691"/>
                  </a:lnTo>
                  <a:lnTo>
                    <a:pt x="4909" y="21600"/>
                  </a:lnTo>
                  <a:lnTo>
                    <a:pt x="20618" y="21600"/>
                  </a:lnTo>
                  <a:cubicBezTo>
                    <a:pt x="21160" y="21600"/>
                    <a:pt x="21600" y="21161"/>
                    <a:pt x="21600" y="20618"/>
                  </a:cubicBezTo>
                  <a:lnTo>
                    <a:pt x="21600" y="982"/>
                  </a:lnTo>
                  <a:cubicBezTo>
                    <a:pt x="21600" y="440"/>
                    <a:pt x="21160" y="0"/>
                    <a:pt x="20618" y="0"/>
                  </a:cubicBezTo>
                  <a:moveTo>
                    <a:pt x="4418" y="8836"/>
                  </a:moveTo>
                  <a:lnTo>
                    <a:pt x="17182" y="8836"/>
                  </a:lnTo>
                  <a:cubicBezTo>
                    <a:pt x="17453" y="8836"/>
                    <a:pt x="17673" y="8617"/>
                    <a:pt x="17673" y="8345"/>
                  </a:cubicBezTo>
                  <a:cubicBezTo>
                    <a:pt x="17673" y="8075"/>
                    <a:pt x="17453" y="7855"/>
                    <a:pt x="17182" y="7855"/>
                  </a:cubicBezTo>
                  <a:lnTo>
                    <a:pt x="4418" y="7855"/>
                  </a:lnTo>
                  <a:cubicBezTo>
                    <a:pt x="4147" y="7855"/>
                    <a:pt x="3927" y="8075"/>
                    <a:pt x="3927" y="8345"/>
                  </a:cubicBezTo>
                  <a:cubicBezTo>
                    <a:pt x="3927" y="8617"/>
                    <a:pt x="4147" y="8836"/>
                    <a:pt x="4418" y="8836"/>
                  </a:cubicBezTo>
                  <a:moveTo>
                    <a:pt x="4418" y="5891"/>
                  </a:moveTo>
                  <a:lnTo>
                    <a:pt x="10309" y="5891"/>
                  </a:lnTo>
                  <a:cubicBezTo>
                    <a:pt x="10580" y="5891"/>
                    <a:pt x="10800" y="5672"/>
                    <a:pt x="10800" y="5400"/>
                  </a:cubicBezTo>
                  <a:cubicBezTo>
                    <a:pt x="10800" y="5129"/>
                    <a:pt x="10580" y="4909"/>
                    <a:pt x="10309" y="4909"/>
                  </a:cubicBezTo>
                  <a:lnTo>
                    <a:pt x="4418" y="4909"/>
                  </a:lnTo>
                  <a:cubicBezTo>
                    <a:pt x="4147" y="4909"/>
                    <a:pt x="3927" y="5129"/>
                    <a:pt x="3927" y="5400"/>
                  </a:cubicBezTo>
                  <a:cubicBezTo>
                    <a:pt x="3927" y="5672"/>
                    <a:pt x="4147" y="5891"/>
                    <a:pt x="4418" y="5891"/>
                  </a:cubicBezTo>
                </a:path>
              </a:pathLst>
            </a:custGeom>
            <a:solidFill>
              <a:schemeClr val="tx2"/>
            </a:solidFill>
            <a:ln w="12700">
              <a:miter lim="400000"/>
            </a:ln>
          </p:spPr>
          <p:txBody>
            <a:bodyPr lIns="38100" tIns="38100" rIns="38100" bIns="38100" anchor="ctr">
              <a:noAutofit/>
            </a:bodyPr>
            <a:lstStyle/>
            <a:p>
              <a:endParaRPr lang="es-ES_tradnl" noProof="0">
                <a:solidFill>
                  <a:prstClr val="black"/>
                </a:solidFill>
              </a:endParaRPr>
            </a:p>
          </p:txBody>
        </p:sp>
      </p:grpSp>
      <p:sp>
        <p:nvSpPr>
          <p:cNvPr id="11" name="Rectangle 12">
            <a:extLst>
              <a:ext uri="{FF2B5EF4-FFF2-40B4-BE49-F238E27FC236}">
                <a16:creationId xmlns:a16="http://schemas.microsoft.com/office/drawing/2014/main" id="{76E17A97-AF6C-4C45-A2C7-7F159E8CF989}"/>
              </a:ext>
            </a:extLst>
          </p:cNvPr>
          <p:cNvSpPr/>
          <p:nvPr userDrawn="1"/>
        </p:nvSpPr>
        <p:spPr>
          <a:xfrm>
            <a:off x="9457765" y="6579030"/>
            <a:ext cx="2734235" cy="278969"/>
          </a:xfrm>
          <a:prstGeom prst="rect">
            <a:avLst/>
          </a:prstGeom>
          <a:solidFill>
            <a:schemeClr val="accent1"/>
          </a:solidFill>
        </p:spPr>
        <p:txBody>
          <a:bodyPr wrap="square" lIns="0" tIns="0" rIns="0" bIns="0" rtlCol="0" anchor="ctr" anchorCtr="0">
            <a:noAutofit/>
          </a:bodyPr>
          <a:lstStyle/>
          <a:p>
            <a:pPr algn="ctr"/>
            <a:r>
              <a:rPr lang="en-US" sz="800" b="1">
                <a:solidFill>
                  <a:schemeClr val="tx2"/>
                </a:solidFill>
                <a:cs typeface="Arial" panose="020B0604020202020204" pitchFamily="34" charset="0"/>
              </a:rPr>
              <a:t>AS-IS</a:t>
            </a:r>
          </a:p>
        </p:txBody>
      </p:sp>
    </p:spTree>
    <p:extLst>
      <p:ext uri="{BB962C8B-B14F-4D97-AF65-F5344CB8AC3E}">
        <p14:creationId xmlns:p14="http://schemas.microsoft.com/office/powerpoint/2010/main" val="3791509479"/>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021 - Entendimiento Proyecto">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50040F2E-A856-F74D-B747-8F63180F396D}"/>
              </a:ext>
            </a:extLst>
          </p:cNvPr>
          <p:cNvSpPr>
            <a:spLocks noGrp="1"/>
          </p:cNvSpPr>
          <p:nvPr>
            <p:ph type="title"/>
          </p:nvPr>
        </p:nvSpPr>
        <p:spPr>
          <a:xfrm>
            <a:off x="1138892" y="36122"/>
            <a:ext cx="10610449" cy="276999"/>
          </a:xfrm>
        </p:spPr>
        <p:txBody>
          <a:bodyPr wrap="square" lIns="0" anchor="t">
            <a:noAutofit/>
          </a:bodyPr>
          <a:lstStyle>
            <a:lvl1pPr>
              <a:defRPr lang="es-ES_tradnl" cap="all" baseline="0" noProof="0" dirty="0"/>
            </a:lvl1pPr>
          </a:lstStyle>
          <a:p>
            <a:pPr lvl="0"/>
            <a:r>
              <a:rPr lang="es-ES_tradnl" noProof="0"/>
              <a:t>Haga clic para modificar el estilo de título del patrón</a:t>
            </a:r>
          </a:p>
        </p:txBody>
      </p:sp>
      <p:sp>
        <p:nvSpPr>
          <p:cNvPr id="7" name="Marcador de texto 5">
            <a:extLst>
              <a:ext uri="{FF2B5EF4-FFF2-40B4-BE49-F238E27FC236}">
                <a16:creationId xmlns:a16="http://schemas.microsoft.com/office/drawing/2014/main" id="{CC6303D6-D0FC-984A-8419-A50470327A59}"/>
              </a:ext>
            </a:extLst>
          </p:cNvPr>
          <p:cNvSpPr>
            <a:spLocks noGrp="1"/>
          </p:cNvSpPr>
          <p:nvPr>
            <p:ph type="body" sz="quarter" idx="10"/>
          </p:nvPr>
        </p:nvSpPr>
        <p:spPr>
          <a:xfrm>
            <a:off x="442659" y="671500"/>
            <a:ext cx="11306682" cy="5741999"/>
          </a:xfrm>
        </p:spPr>
        <p:txBody>
          <a:bodyPr/>
          <a:lstStyle/>
          <a:p>
            <a:pPr lvl="0"/>
            <a:r>
              <a:rPr lang="es-ES_tradnl" noProof="0"/>
              <a:t>Haga clic para modificar los estilos de texto del patrón</a:t>
            </a:r>
          </a:p>
          <a:p>
            <a:pPr lvl="1"/>
            <a:r>
              <a:rPr lang="es-ES_tradnl" noProof="0"/>
              <a:t>Segundo nivel</a:t>
            </a:r>
          </a:p>
          <a:p>
            <a:pPr lvl="2"/>
            <a:r>
              <a:rPr lang="es-ES_tradnl" noProof="0"/>
              <a:t>Tercer nivel</a:t>
            </a:r>
          </a:p>
          <a:p>
            <a:pPr lvl="3"/>
            <a:r>
              <a:rPr lang="es-ES_tradnl" noProof="0"/>
              <a:t>Cuarto nivel</a:t>
            </a:r>
          </a:p>
          <a:p>
            <a:pPr lvl="4"/>
            <a:r>
              <a:rPr lang="es-ES_tradnl" noProof="0"/>
              <a:t>Quinto nivel</a:t>
            </a:r>
          </a:p>
        </p:txBody>
      </p:sp>
      <p:sp>
        <p:nvSpPr>
          <p:cNvPr id="4" name="Marcador de texto 4">
            <a:extLst>
              <a:ext uri="{FF2B5EF4-FFF2-40B4-BE49-F238E27FC236}">
                <a16:creationId xmlns:a16="http://schemas.microsoft.com/office/drawing/2014/main" id="{DED7AFAC-0516-FB48-9E02-44CC62A80883}"/>
              </a:ext>
            </a:extLst>
          </p:cNvPr>
          <p:cNvSpPr>
            <a:spLocks noGrp="1"/>
          </p:cNvSpPr>
          <p:nvPr>
            <p:ph type="body" sz="quarter" idx="11"/>
          </p:nvPr>
        </p:nvSpPr>
        <p:spPr>
          <a:xfrm>
            <a:off x="1138639" y="290195"/>
            <a:ext cx="10610449" cy="217488"/>
          </a:xfrm>
        </p:spPr>
        <p:txBody>
          <a:bodyPr/>
          <a:lstStyle>
            <a:lvl1pPr>
              <a:defRPr sz="1200">
                <a:solidFill>
                  <a:schemeClr val="tx2"/>
                </a:solidFill>
              </a:defRPr>
            </a:lvl1pPr>
          </a:lstStyle>
          <a:p>
            <a:pPr lvl="0"/>
            <a:r>
              <a:rPr lang="es-ES_tradnl" noProof="0"/>
              <a:t>Haga clic para modificar los estilos de texto del patrón</a:t>
            </a:r>
          </a:p>
        </p:txBody>
      </p:sp>
      <p:sp>
        <p:nvSpPr>
          <p:cNvPr id="9" name="Rectángulo 8">
            <a:extLst>
              <a:ext uri="{FF2B5EF4-FFF2-40B4-BE49-F238E27FC236}">
                <a16:creationId xmlns:a16="http://schemas.microsoft.com/office/drawing/2014/main" id="{9D31E6A8-7FC5-D346-B913-27F3CB84C0BF}"/>
              </a:ext>
            </a:extLst>
          </p:cNvPr>
          <p:cNvSpPr/>
          <p:nvPr userDrawn="1"/>
        </p:nvSpPr>
        <p:spPr bwMode="auto">
          <a:xfrm>
            <a:off x="596159" y="67814"/>
            <a:ext cx="405613" cy="405613"/>
          </a:xfrm>
          <a:prstGeom prst="rect">
            <a:avLst/>
          </a:prstGeom>
          <a:solidFill>
            <a:schemeClr val="bg1"/>
          </a:solidFill>
          <a:ln w="25400" cap="flat">
            <a:solidFill>
              <a:schemeClr val="accent2"/>
            </a:solidFill>
            <a:miter lim="800000"/>
          </a:ln>
        </p:spPr>
        <p:txBody>
          <a:bodyPr lIns="0" tIns="0" rIns="0" bIns="0" rtlCol="0" anchor="ctr">
            <a:noAutofit/>
          </a:bodyPr>
          <a:lstStyle/>
          <a:p>
            <a:pPr algn="ctr"/>
            <a:endParaRPr lang="es-ES_tradnl" sz="1400" noProof="0"/>
          </a:p>
        </p:txBody>
      </p:sp>
      <p:sp>
        <p:nvSpPr>
          <p:cNvPr id="11" name="Freeform 97">
            <a:extLst>
              <a:ext uri="{FF2B5EF4-FFF2-40B4-BE49-F238E27FC236}">
                <a16:creationId xmlns:a16="http://schemas.microsoft.com/office/drawing/2014/main" id="{4A00AD40-2F58-1441-8C8C-2F1B25580543}"/>
              </a:ext>
            </a:extLst>
          </p:cNvPr>
          <p:cNvSpPr>
            <a:spLocks noEditPoints="1"/>
          </p:cNvSpPr>
          <p:nvPr userDrawn="1"/>
        </p:nvSpPr>
        <p:spPr bwMode="auto">
          <a:xfrm>
            <a:off x="647101" y="140378"/>
            <a:ext cx="303727" cy="250807"/>
          </a:xfrm>
          <a:custGeom>
            <a:avLst/>
            <a:gdLst/>
            <a:ahLst/>
            <a:cxnLst>
              <a:cxn ang="0">
                <a:pos x="202" y="316"/>
              </a:cxn>
              <a:cxn ang="0">
                <a:pos x="115" y="410"/>
              </a:cxn>
              <a:cxn ang="0">
                <a:pos x="7" y="280"/>
              </a:cxn>
              <a:cxn ang="0">
                <a:pos x="55" y="107"/>
              </a:cxn>
              <a:cxn ang="0">
                <a:pos x="83" y="61"/>
              </a:cxn>
              <a:cxn ang="0">
                <a:pos x="200" y="62"/>
              </a:cxn>
              <a:cxn ang="0">
                <a:pos x="200" y="92"/>
              </a:cxn>
              <a:cxn ang="0">
                <a:pos x="292" y="105"/>
              </a:cxn>
              <a:cxn ang="0">
                <a:pos x="303" y="88"/>
              </a:cxn>
              <a:cxn ang="0">
                <a:pos x="363" y="11"/>
              </a:cxn>
              <a:cxn ang="0">
                <a:pos x="420" y="61"/>
              </a:cxn>
              <a:cxn ang="0">
                <a:pos x="449" y="105"/>
              </a:cxn>
              <a:cxn ang="0">
                <a:pos x="498" y="286"/>
              </a:cxn>
              <a:cxn ang="0">
                <a:pos x="302" y="323"/>
              </a:cxn>
              <a:cxn ang="0">
                <a:pos x="41" y="230"/>
              </a:cxn>
              <a:cxn ang="0">
                <a:pos x="93" y="211"/>
              </a:cxn>
              <a:cxn ang="0">
                <a:pos x="204" y="291"/>
              </a:cxn>
              <a:cxn ang="0">
                <a:pos x="308" y="274"/>
              </a:cxn>
              <a:cxn ang="0">
                <a:pos x="463" y="231"/>
              </a:cxn>
              <a:cxn ang="0">
                <a:pos x="430" y="111"/>
              </a:cxn>
              <a:cxn ang="0">
                <a:pos x="333" y="91"/>
              </a:cxn>
              <a:cxn ang="0">
                <a:pos x="281" y="122"/>
              </a:cxn>
              <a:cxn ang="0">
                <a:pos x="207" y="126"/>
              </a:cxn>
              <a:cxn ang="0">
                <a:pos x="176" y="96"/>
              </a:cxn>
              <a:cxn ang="0">
                <a:pos x="75" y="109"/>
              </a:cxn>
              <a:cxn ang="0">
                <a:pos x="481" y="311"/>
              </a:cxn>
              <a:cxn ang="0">
                <a:pos x="321" y="311"/>
              </a:cxn>
              <a:cxn ang="0">
                <a:pos x="481" y="311"/>
              </a:cxn>
              <a:cxn ang="0">
                <a:pos x="85" y="233"/>
              </a:cxn>
              <a:cxn ang="0">
                <a:pos x="24" y="295"/>
              </a:cxn>
              <a:cxn ang="0">
                <a:pos x="113" y="389"/>
              </a:cxn>
              <a:cxn ang="0">
                <a:pos x="102" y="231"/>
              </a:cxn>
              <a:cxn ang="0">
                <a:pos x="350" y="33"/>
              </a:cxn>
              <a:cxn ang="0">
                <a:pos x="397" y="55"/>
              </a:cxn>
              <a:cxn ang="0">
                <a:pos x="145" y="55"/>
              </a:cxn>
              <a:cxn ang="0">
                <a:pos x="151" y="33"/>
              </a:cxn>
              <a:cxn ang="0">
                <a:pos x="251" y="211"/>
              </a:cxn>
              <a:cxn ang="0">
                <a:pos x="251" y="291"/>
              </a:cxn>
              <a:cxn ang="0">
                <a:pos x="251" y="211"/>
              </a:cxn>
              <a:cxn ang="0">
                <a:pos x="251" y="270"/>
              </a:cxn>
              <a:cxn ang="0">
                <a:pos x="252" y="231"/>
              </a:cxn>
              <a:cxn ang="0">
                <a:pos x="420" y="365"/>
              </a:cxn>
              <a:cxn ang="0">
                <a:pos x="380" y="336"/>
              </a:cxn>
              <a:cxn ang="0">
                <a:pos x="361" y="301"/>
              </a:cxn>
              <a:cxn ang="0">
                <a:pos x="352" y="319"/>
              </a:cxn>
              <a:cxn ang="0">
                <a:pos x="420" y="365"/>
              </a:cxn>
              <a:cxn ang="0">
                <a:pos x="99" y="371"/>
              </a:cxn>
              <a:cxn ang="0">
                <a:pos x="100" y="350"/>
              </a:cxn>
              <a:cxn ang="0">
                <a:pos x="61" y="307"/>
              </a:cxn>
              <a:cxn ang="0">
                <a:pos x="42" y="314"/>
              </a:cxn>
            </a:cxnLst>
            <a:rect l="0" t="0" r="r" b="b"/>
            <a:pathLst>
              <a:path w="511" h="422">
                <a:moveTo>
                  <a:pt x="301" y="316"/>
                </a:moveTo>
                <a:cubicBezTo>
                  <a:pt x="271" y="336"/>
                  <a:pt x="229" y="335"/>
                  <a:pt x="202" y="316"/>
                </a:cubicBezTo>
                <a:cubicBezTo>
                  <a:pt x="201" y="323"/>
                  <a:pt x="199" y="330"/>
                  <a:pt x="198" y="337"/>
                </a:cubicBezTo>
                <a:cubicBezTo>
                  <a:pt x="188" y="375"/>
                  <a:pt x="153" y="405"/>
                  <a:pt x="115" y="410"/>
                </a:cubicBezTo>
                <a:cubicBezTo>
                  <a:pt x="66" y="415"/>
                  <a:pt x="24" y="389"/>
                  <a:pt x="7" y="343"/>
                </a:cubicBezTo>
                <a:cubicBezTo>
                  <a:pt x="0" y="322"/>
                  <a:pt x="0" y="301"/>
                  <a:pt x="7" y="280"/>
                </a:cubicBezTo>
                <a:cubicBezTo>
                  <a:pt x="12" y="263"/>
                  <a:pt x="17" y="246"/>
                  <a:pt x="21" y="229"/>
                </a:cubicBezTo>
                <a:cubicBezTo>
                  <a:pt x="32" y="189"/>
                  <a:pt x="43" y="148"/>
                  <a:pt x="55" y="107"/>
                </a:cubicBezTo>
                <a:cubicBezTo>
                  <a:pt x="59" y="92"/>
                  <a:pt x="67" y="77"/>
                  <a:pt x="80" y="67"/>
                </a:cubicBezTo>
                <a:cubicBezTo>
                  <a:pt x="82" y="66"/>
                  <a:pt x="82" y="63"/>
                  <a:pt x="83" y="61"/>
                </a:cubicBezTo>
                <a:cubicBezTo>
                  <a:pt x="87" y="40"/>
                  <a:pt x="98" y="25"/>
                  <a:pt x="118" y="16"/>
                </a:cubicBezTo>
                <a:cubicBezTo>
                  <a:pt x="155" y="0"/>
                  <a:pt x="195" y="24"/>
                  <a:pt x="200" y="62"/>
                </a:cubicBezTo>
                <a:cubicBezTo>
                  <a:pt x="202" y="70"/>
                  <a:pt x="200" y="79"/>
                  <a:pt x="199" y="88"/>
                </a:cubicBezTo>
                <a:cubicBezTo>
                  <a:pt x="199" y="89"/>
                  <a:pt x="199" y="91"/>
                  <a:pt x="200" y="92"/>
                </a:cubicBezTo>
                <a:cubicBezTo>
                  <a:pt x="204" y="97"/>
                  <a:pt x="208" y="101"/>
                  <a:pt x="212" y="106"/>
                </a:cubicBezTo>
                <a:cubicBezTo>
                  <a:pt x="239" y="88"/>
                  <a:pt x="265" y="88"/>
                  <a:pt x="292" y="105"/>
                </a:cubicBezTo>
                <a:cubicBezTo>
                  <a:pt x="296" y="102"/>
                  <a:pt x="300" y="98"/>
                  <a:pt x="303" y="94"/>
                </a:cubicBezTo>
                <a:cubicBezTo>
                  <a:pt x="304" y="92"/>
                  <a:pt x="304" y="90"/>
                  <a:pt x="303" y="88"/>
                </a:cubicBezTo>
                <a:cubicBezTo>
                  <a:pt x="298" y="67"/>
                  <a:pt x="302" y="48"/>
                  <a:pt x="316" y="32"/>
                </a:cubicBezTo>
                <a:cubicBezTo>
                  <a:pt x="329" y="17"/>
                  <a:pt x="344" y="10"/>
                  <a:pt x="363" y="11"/>
                </a:cubicBezTo>
                <a:cubicBezTo>
                  <a:pt x="385" y="12"/>
                  <a:pt x="402" y="22"/>
                  <a:pt x="412" y="41"/>
                </a:cubicBezTo>
                <a:cubicBezTo>
                  <a:pt x="416" y="47"/>
                  <a:pt x="417" y="54"/>
                  <a:pt x="420" y="61"/>
                </a:cubicBezTo>
                <a:cubicBezTo>
                  <a:pt x="421" y="63"/>
                  <a:pt x="421" y="65"/>
                  <a:pt x="423" y="66"/>
                </a:cubicBezTo>
                <a:cubicBezTo>
                  <a:pt x="436" y="76"/>
                  <a:pt x="444" y="90"/>
                  <a:pt x="449" y="105"/>
                </a:cubicBezTo>
                <a:cubicBezTo>
                  <a:pt x="456" y="130"/>
                  <a:pt x="463" y="154"/>
                  <a:pt x="470" y="179"/>
                </a:cubicBezTo>
                <a:cubicBezTo>
                  <a:pt x="479" y="215"/>
                  <a:pt x="489" y="251"/>
                  <a:pt x="498" y="286"/>
                </a:cubicBezTo>
                <a:cubicBezTo>
                  <a:pt x="511" y="340"/>
                  <a:pt x="479" y="394"/>
                  <a:pt x="426" y="408"/>
                </a:cubicBezTo>
                <a:cubicBezTo>
                  <a:pt x="367" y="422"/>
                  <a:pt x="309" y="382"/>
                  <a:pt x="302" y="323"/>
                </a:cubicBezTo>
                <a:cubicBezTo>
                  <a:pt x="302" y="321"/>
                  <a:pt x="301" y="319"/>
                  <a:pt x="301" y="316"/>
                </a:cubicBezTo>
                <a:close/>
                <a:moveTo>
                  <a:pt x="41" y="230"/>
                </a:moveTo>
                <a:cubicBezTo>
                  <a:pt x="42" y="230"/>
                  <a:pt x="42" y="230"/>
                  <a:pt x="43" y="230"/>
                </a:cubicBezTo>
                <a:cubicBezTo>
                  <a:pt x="58" y="219"/>
                  <a:pt x="74" y="213"/>
                  <a:pt x="93" y="211"/>
                </a:cubicBezTo>
                <a:cubicBezTo>
                  <a:pt x="138" y="207"/>
                  <a:pt x="180" y="234"/>
                  <a:pt x="196" y="277"/>
                </a:cubicBezTo>
                <a:cubicBezTo>
                  <a:pt x="198" y="282"/>
                  <a:pt x="200" y="287"/>
                  <a:pt x="204" y="291"/>
                </a:cubicBezTo>
                <a:cubicBezTo>
                  <a:pt x="218" y="307"/>
                  <a:pt x="237" y="312"/>
                  <a:pt x="258" y="310"/>
                </a:cubicBezTo>
                <a:cubicBezTo>
                  <a:pt x="282" y="308"/>
                  <a:pt x="299" y="297"/>
                  <a:pt x="308" y="274"/>
                </a:cubicBezTo>
                <a:cubicBezTo>
                  <a:pt x="327" y="224"/>
                  <a:pt x="385" y="198"/>
                  <a:pt x="434" y="217"/>
                </a:cubicBezTo>
                <a:cubicBezTo>
                  <a:pt x="444" y="220"/>
                  <a:pt x="453" y="226"/>
                  <a:pt x="463" y="231"/>
                </a:cubicBezTo>
                <a:cubicBezTo>
                  <a:pt x="459" y="216"/>
                  <a:pt x="455" y="202"/>
                  <a:pt x="451" y="187"/>
                </a:cubicBezTo>
                <a:cubicBezTo>
                  <a:pt x="444" y="162"/>
                  <a:pt x="437" y="136"/>
                  <a:pt x="430" y="111"/>
                </a:cubicBezTo>
                <a:cubicBezTo>
                  <a:pt x="426" y="98"/>
                  <a:pt x="419" y="87"/>
                  <a:pt x="407" y="80"/>
                </a:cubicBezTo>
                <a:cubicBezTo>
                  <a:pt x="384" y="69"/>
                  <a:pt x="354" y="70"/>
                  <a:pt x="333" y="91"/>
                </a:cubicBezTo>
                <a:cubicBezTo>
                  <a:pt x="325" y="100"/>
                  <a:pt x="317" y="109"/>
                  <a:pt x="308" y="118"/>
                </a:cubicBezTo>
                <a:cubicBezTo>
                  <a:pt x="301" y="126"/>
                  <a:pt x="291" y="130"/>
                  <a:pt x="281" y="122"/>
                </a:cubicBezTo>
                <a:cubicBezTo>
                  <a:pt x="263" y="109"/>
                  <a:pt x="240" y="109"/>
                  <a:pt x="223" y="123"/>
                </a:cubicBezTo>
                <a:cubicBezTo>
                  <a:pt x="218" y="127"/>
                  <a:pt x="213" y="128"/>
                  <a:pt x="207" y="126"/>
                </a:cubicBezTo>
                <a:cubicBezTo>
                  <a:pt x="203" y="124"/>
                  <a:pt x="199" y="121"/>
                  <a:pt x="196" y="118"/>
                </a:cubicBezTo>
                <a:cubicBezTo>
                  <a:pt x="189" y="111"/>
                  <a:pt x="183" y="104"/>
                  <a:pt x="176" y="96"/>
                </a:cubicBezTo>
                <a:cubicBezTo>
                  <a:pt x="162" y="81"/>
                  <a:pt x="145" y="72"/>
                  <a:pt x="123" y="74"/>
                </a:cubicBezTo>
                <a:cubicBezTo>
                  <a:pt x="97" y="76"/>
                  <a:pt x="83" y="84"/>
                  <a:pt x="75" y="109"/>
                </a:cubicBezTo>
                <a:cubicBezTo>
                  <a:pt x="63" y="149"/>
                  <a:pt x="52" y="189"/>
                  <a:pt x="41" y="230"/>
                </a:cubicBezTo>
                <a:close/>
                <a:moveTo>
                  <a:pt x="481" y="311"/>
                </a:moveTo>
                <a:cubicBezTo>
                  <a:pt x="480" y="266"/>
                  <a:pt x="445" y="231"/>
                  <a:pt x="401" y="231"/>
                </a:cubicBezTo>
                <a:cubicBezTo>
                  <a:pt x="357" y="231"/>
                  <a:pt x="321" y="267"/>
                  <a:pt x="321" y="311"/>
                </a:cubicBezTo>
                <a:cubicBezTo>
                  <a:pt x="321" y="355"/>
                  <a:pt x="357" y="390"/>
                  <a:pt x="401" y="390"/>
                </a:cubicBezTo>
                <a:cubicBezTo>
                  <a:pt x="445" y="390"/>
                  <a:pt x="481" y="355"/>
                  <a:pt x="481" y="311"/>
                </a:cubicBezTo>
                <a:close/>
                <a:moveTo>
                  <a:pt x="102" y="231"/>
                </a:moveTo>
                <a:cubicBezTo>
                  <a:pt x="96" y="231"/>
                  <a:pt x="90" y="232"/>
                  <a:pt x="85" y="233"/>
                </a:cubicBezTo>
                <a:cubicBezTo>
                  <a:pt x="69" y="236"/>
                  <a:pt x="57" y="244"/>
                  <a:pt x="45" y="255"/>
                </a:cubicBezTo>
                <a:cubicBezTo>
                  <a:pt x="32" y="266"/>
                  <a:pt x="28" y="281"/>
                  <a:pt x="24" y="295"/>
                </a:cubicBezTo>
                <a:cubicBezTo>
                  <a:pt x="21" y="305"/>
                  <a:pt x="22" y="316"/>
                  <a:pt x="24" y="327"/>
                </a:cubicBezTo>
                <a:cubicBezTo>
                  <a:pt x="32" y="368"/>
                  <a:pt x="71" y="395"/>
                  <a:pt x="113" y="389"/>
                </a:cubicBezTo>
                <a:cubicBezTo>
                  <a:pt x="157" y="383"/>
                  <a:pt x="187" y="343"/>
                  <a:pt x="180" y="300"/>
                </a:cubicBezTo>
                <a:cubicBezTo>
                  <a:pt x="174" y="260"/>
                  <a:pt x="142" y="231"/>
                  <a:pt x="102" y="231"/>
                </a:cubicBezTo>
                <a:close/>
                <a:moveTo>
                  <a:pt x="397" y="55"/>
                </a:moveTo>
                <a:cubicBezTo>
                  <a:pt x="392" y="40"/>
                  <a:pt x="371" y="27"/>
                  <a:pt x="350" y="33"/>
                </a:cubicBezTo>
                <a:cubicBezTo>
                  <a:pt x="328" y="39"/>
                  <a:pt x="319" y="62"/>
                  <a:pt x="322" y="74"/>
                </a:cubicBezTo>
                <a:cubicBezTo>
                  <a:pt x="344" y="55"/>
                  <a:pt x="369" y="50"/>
                  <a:pt x="397" y="55"/>
                </a:cubicBezTo>
                <a:close/>
                <a:moveTo>
                  <a:pt x="105" y="56"/>
                </a:moveTo>
                <a:cubicBezTo>
                  <a:pt x="119" y="53"/>
                  <a:pt x="132" y="52"/>
                  <a:pt x="145" y="55"/>
                </a:cubicBezTo>
                <a:cubicBezTo>
                  <a:pt x="159" y="57"/>
                  <a:pt x="170" y="64"/>
                  <a:pt x="181" y="73"/>
                </a:cubicBezTo>
                <a:cubicBezTo>
                  <a:pt x="182" y="54"/>
                  <a:pt x="169" y="37"/>
                  <a:pt x="151" y="33"/>
                </a:cubicBezTo>
                <a:cubicBezTo>
                  <a:pt x="132" y="28"/>
                  <a:pt x="112" y="38"/>
                  <a:pt x="105" y="56"/>
                </a:cubicBezTo>
                <a:close/>
                <a:moveTo>
                  <a:pt x="251" y="211"/>
                </a:moveTo>
                <a:cubicBezTo>
                  <a:pt x="273" y="211"/>
                  <a:pt x="291" y="229"/>
                  <a:pt x="291" y="251"/>
                </a:cubicBezTo>
                <a:cubicBezTo>
                  <a:pt x="291" y="273"/>
                  <a:pt x="273" y="291"/>
                  <a:pt x="251" y="291"/>
                </a:cubicBezTo>
                <a:cubicBezTo>
                  <a:pt x="229" y="291"/>
                  <a:pt x="211" y="273"/>
                  <a:pt x="211" y="251"/>
                </a:cubicBezTo>
                <a:cubicBezTo>
                  <a:pt x="211" y="229"/>
                  <a:pt x="229" y="211"/>
                  <a:pt x="251" y="211"/>
                </a:cubicBezTo>
                <a:close/>
                <a:moveTo>
                  <a:pt x="232" y="251"/>
                </a:moveTo>
                <a:cubicBezTo>
                  <a:pt x="232" y="262"/>
                  <a:pt x="240" y="270"/>
                  <a:pt x="251" y="270"/>
                </a:cubicBezTo>
                <a:cubicBezTo>
                  <a:pt x="262" y="271"/>
                  <a:pt x="271" y="262"/>
                  <a:pt x="271" y="251"/>
                </a:cubicBezTo>
                <a:cubicBezTo>
                  <a:pt x="271" y="240"/>
                  <a:pt x="263" y="231"/>
                  <a:pt x="252" y="231"/>
                </a:cubicBezTo>
                <a:cubicBezTo>
                  <a:pt x="240" y="231"/>
                  <a:pt x="232" y="240"/>
                  <a:pt x="232" y="251"/>
                </a:cubicBezTo>
                <a:close/>
                <a:moveTo>
                  <a:pt x="420" y="365"/>
                </a:moveTo>
                <a:cubicBezTo>
                  <a:pt x="423" y="358"/>
                  <a:pt x="418" y="351"/>
                  <a:pt x="409" y="350"/>
                </a:cubicBezTo>
                <a:cubicBezTo>
                  <a:pt x="397" y="350"/>
                  <a:pt x="388" y="345"/>
                  <a:pt x="380" y="336"/>
                </a:cubicBezTo>
                <a:cubicBezTo>
                  <a:pt x="374" y="329"/>
                  <a:pt x="372" y="321"/>
                  <a:pt x="371" y="312"/>
                </a:cubicBezTo>
                <a:cubicBezTo>
                  <a:pt x="371" y="305"/>
                  <a:pt x="366" y="301"/>
                  <a:pt x="361" y="301"/>
                </a:cubicBezTo>
                <a:cubicBezTo>
                  <a:pt x="355" y="301"/>
                  <a:pt x="351" y="306"/>
                  <a:pt x="351" y="312"/>
                </a:cubicBezTo>
                <a:cubicBezTo>
                  <a:pt x="351" y="314"/>
                  <a:pt x="351" y="317"/>
                  <a:pt x="352" y="319"/>
                </a:cubicBezTo>
                <a:cubicBezTo>
                  <a:pt x="355" y="347"/>
                  <a:pt x="380" y="370"/>
                  <a:pt x="408" y="371"/>
                </a:cubicBezTo>
                <a:cubicBezTo>
                  <a:pt x="413" y="371"/>
                  <a:pt x="417" y="370"/>
                  <a:pt x="420" y="365"/>
                </a:cubicBezTo>
                <a:close/>
                <a:moveTo>
                  <a:pt x="43" y="323"/>
                </a:moveTo>
                <a:cubicBezTo>
                  <a:pt x="47" y="349"/>
                  <a:pt x="73" y="371"/>
                  <a:pt x="99" y="371"/>
                </a:cubicBezTo>
                <a:cubicBezTo>
                  <a:pt x="106" y="371"/>
                  <a:pt x="111" y="367"/>
                  <a:pt x="112" y="361"/>
                </a:cubicBezTo>
                <a:cubicBezTo>
                  <a:pt x="112" y="355"/>
                  <a:pt x="107" y="351"/>
                  <a:pt x="100" y="350"/>
                </a:cubicBezTo>
                <a:cubicBezTo>
                  <a:pt x="80" y="350"/>
                  <a:pt x="62" y="332"/>
                  <a:pt x="62" y="313"/>
                </a:cubicBezTo>
                <a:cubicBezTo>
                  <a:pt x="62" y="311"/>
                  <a:pt x="61" y="309"/>
                  <a:pt x="61" y="307"/>
                </a:cubicBezTo>
                <a:cubicBezTo>
                  <a:pt x="59" y="302"/>
                  <a:pt x="54" y="300"/>
                  <a:pt x="49" y="301"/>
                </a:cubicBezTo>
                <a:cubicBezTo>
                  <a:pt x="44" y="303"/>
                  <a:pt x="42" y="307"/>
                  <a:pt x="42" y="314"/>
                </a:cubicBezTo>
                <a:cubicBezTo>
                  <a:pt x="42" y="317"/>
                  <a:pt x="42" y="320"/>
                  <a:pt x="43" y="323"/>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r>
              <a:rPr lang="es-ES">
                <a:latin typeface="+mj-lt"/>
                <a:cs typeface="Arial" pitchFamily="34" charset="0"/>
              </a:rPr>
              <a:t> </a:t>
            </a:r>
          </a:p>
        </p:txBody>
      </p:sp>
      <p:sp>
        <p:nvSpPr>
          <p:cNvPr id="10" name="Rectangle 12">
            <a:extLst>
              <a:ext uri="{FF2B5EF4-FFF2-40B4-BE49-F238E27FC236}">
                <a16:creationId xmlns:a16="http://schemas.microsoft.com/office/drawing/2014/main" id="{E6B645F9-47B1-B040-8534-50BCAD2CF9D1}"/>
              </a:ext>
            </a:extLst>
          </p:cNvPr>
          <p:cNvSpPr/>
          <p:nvPr userDrawn="1"/>
        </p:nvSpPr>
        <p:spPr>
          <a:xfrm>
            <a:off x="9457765" y="6579030"/>
            <a:ext cx="2734235" cy="278969"/>
          </a:xfrm>
          <a:prstGeom prst="rect">
            <a:avLst/>
          </a:prstGeom>
          <a:solidFill>
            <a:schemeClr val="accent2"/>
          </a:solidFill>
        </p:spPr>
        <p:txBody>
          <a:bodyPr wrap="square" lIns="0" tIns="0" rIns="0" bIns="0" rtlCol="0" anchor="ctr" anchorCtr="0">
            <a:noAutofit/>
          </a:bodyPr>
          <a:lstStyle/>
          <a:p>
            <a:pPr algn="ctr"/>
            <a:r>
              <a:rPr lang="es-ES" sz="800" b="1">
                <a:solidFill>
                  <a:schemeClr val="tx2"/>
                </a:solidFill>
                <a:cs typeface="Arial" panose="020B0604020202020204" pitchFamily="34" charset="0"/>
              </a:rPr>
              <a:t>TO-BE</a:t>
            </a:r>
          </a:p>
        </p:txBody>
      </p:sp>
    </p:spTree>
    <p:extLst>
      <p:ext uri="{BB962C8B-B14F-4D97-AF65-F5344CB8AC3E}">
        <p14:creationId xmlns:p14="http://schemas.microsoft.com/office/powerpoint/2010/main" val="4185687598"/>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mplate Propuesta 2022 - Alcance de la Colaboración">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50040F2E-A856-F74D-B747-8F63180F396D}"/>
              </a:ext>
            </a:extLst>
          </p:cNvPr>
          <p:cNvSpPr>
            <a:spLocks noGrp="1"/>
          </p:cNvSpPr>
          <p:nvPr>
            <p:ph type="title"/>
          </p:nvPr>
        </p:nvSpPr>
        <p:spPr>
          <a:xfrm>
            <a:off x="1138892" y="36122"/>
            <a:ext cx="10610449" cy="276999"/>
          </a:xfrm>
        </p:spPr>
        <p:txBody>
          <a:bodyPr wrap="square" lIns="0" anchor="t">
            <a:noAutofit/>
          </a:bodyPr>
          <a:lstStyle>
            <a:lvl1pPr>
              <a:defRPr lang="es-ES_tradnl" cap="all" baseline="0" noProof="0" dirty="0"/>
            </a:lvl1pPr>
          </a:lstStyle>
          <a:p>
            <a:pPr lvl="0"/>
            <a:r>
              <a:rPr lang="es-ES_tradnl" noProof="0"/>
              <a:t>Haga clic para modificar el estilo de título del patrón</a:t>
            </a:r>
          </a:p>
        </p:txBody>
      </p:sp>
      <p:sp>
        <p:nvSpPr>
          <p:cNvPr id="7" name="Marcador de texto 5">
            <a:extLst>
              <a:ext uri="{FF2B5EF4-FFF2-40B4-BE49-F238E27FC236}">
                <a16:creationId xmlns:a16="http://schemas.microsoft.com/office/drawing/2014/main" id="{CC6303D6-D0FC-984A-8419-A50470327A59}"/>
              </a:ext>
            </a:extLst>
          </p:cNvPr>
          <p:cNvSpPr>
            <a:spLocks noGrp="1"/>
          </p:cNvSpPr>
          <p:nvPr>
            <p:ph type="body" sz="quarter" idx="10"/>
          </p:nvPr>
        </p:nvSpPr>
        <p:spPr>
          <a:xfrm>
            <a:off x="442659" y="671500"/>
            <a:ext cx="11306682" cy="5741999"/>
          </a:xfrm>
        </p:spPr>
        <p:txBody>
          <a:bodyPr/>
          <a:lstStyle/>
          <a:p>
            <a:pPr lvl="0"/>
            <a:r>
              <a:rPr lang="es-ES_tradnl" noProof="0"/>
              <a:t>Haga clic para modificar los estilos de texto del patrón</a:t>
            </a:r>
          </a:p>
          <a:p>
            <a:pPr lvl="1"/>
            <a:r>
              <a:rPr lang="es-ES_tradnl" noProof="0"/>
              <a:t>Segundo nivel</a:t>
            </a:r>
          </a:p>
          <a:p>
            <a:pPr lvl="2"/>
            <a:r>
              <a:rPr lang="es-ES_tradnl" noProof="0"/>
              <a:t>Tercer nivel</a:t>
            </a:r>
          </a:p>
          <a:p>
            <a:pPr lvl="3"/>
            <a:r>
              <a:rPr lang="es-ES_tradnl" noProof="0"/>
              <a:t>Cuarto nivel</a:t>
            </a:r>
          </a:p>
          <a:p>
            <a:pPr lvl="4"/>
            <a:r>
              <a:rPr lang="es-ES_tradnl" noProof="0"/>
              <a:t>Quinto nivel</a:t>
            </a:r>
          </a:p>
        </p:txBody>
      </p:sp>
      <p:sp>
        <p:nvSpPr>
          <p:cNvPr id="4" name="Marcador de texto 4">
            <a:extLst>
              <a:ext uri="{FF2B5EF4-FFF2-40B4-BE49-F238E27FC236}">
                <a16:creationId xmlns:a16="http://schemas.microsoft.com/office/drawing/2014/main" id="{DED7AFAC-0516-FB48-9E02-44CC62A80883}"/>
              </a:ext>
            </a:extLst>
          </p:cNvPr>
          <p:cNvSpPr>
            <a:spLocks noGrp="1"/>
          </p:cNvSpPr>
          <p:nvPr>
            <p:ph type="body" sz="quarter" idx="11"/>
          </p:nvPr>
        </p:nvSpPr>
        <p:spPr>
          <a:xfrm>
            <a:off x="1138639" y="290195"/>
            <a:ext cx="10610449" cy="217488"/>
          </a:xfrm>
        </p:spPr>
        <p:txBody>
          <a:bodyPr/>
          <a:lstStyle>
            <a:lvl1pPr>
              <a:defRPr sz="1200">
                <a:solidFill>
                  <a:schemeClr val="tx2"/>
                </a:solidFill>
              </a:defRPr>
            </a:lvl1pPr>
          </a:lstStyle>
          <a:p>
            <a:pPr lvl="0"/>
            <a:r>
              <a:rPr lang="es-ES_tradnl" noProof="0"/>
              <a:t>Haga clic para modificar los estilos de texto del patrón</a:t>
            </a:r>
          </a:p>
        </p:txBody>
      </p:sp>
      <p:sp>
        <p:nvSpPr>
          <p:cNvPr id="9" name="Rectángulo 8">
            <a:extLst>
              <a:ext uri="{FF2B5EF4-FFF2-40B4-BE49-F238E27FC236}">
                <a16:creationId xmlns:a16="http://schemas.microsoft.com/office/drawing/2014/main" id="{9D31E6A8-7FC5-D346-B913-27F3CB84C0BF}"/>
              </a:ext>
            </a:extLst>
          </p:cNvPr>
          <p:cNvSpPr/>
          <p:nvPr userDrawn="1"/>
        </p:nvSpPr>
        <p:spPr bwMode="auto">
          <a:xfrm>
            <a:off x="596159" y="67814"/>
            <a:ext cx="405613" cy="405613"/>
          </a:xfrm>
          <a:prstGeom prst="rect">
            <a:avLst/>
          </a:prstGeom>
          <a:solidFill>
            <a:schemeClr val="bg1"/>
          </a:solidFill>
          <a:ln w="25400" cap="flat">
            <a:solidFill>
              <a:schemeClr val="accent3"/>
            </a:solidFill>
            <a:miter lim="800000"/>
          </a:ln>
        </p:spPr>
        <p:txBody>
          <a:bodyPr lIns="0" tIns="0" rIns="0" bIns="0" rtlCol="0" anchor="ctr">
            <a:noAutofit/>
          </a:bodyPr>
          <a:lstStyle/>
          <a:p>
            <a:pPr algn="ctr"/>
            <a:endParaRPr lang="es-ES_tradnl" sz="1400" noProof="0"/>
          </a:p>
        </p:txBody>
      </p:sp>
      <p:sp>
        <p:nvSpPr>
          <p:cNvPr id="10" name="Shape 3779">
            <a:extLst>
              <a:ext uri="{FF2B5EF4-FFF2-40B4-BE49-F238E27FC236}">
                <a16:creationId xmlns:a16="http://schemas.microsoft.com/office/drawing/2014/main" id="{4F19A0FB-E43C-8543-96E2-C15DD739DC2D}"/>
              </a:ext>
            </a:extLst>
          </p:cNvPr>
          <p:cNvSpPr/>
          <p:nvPr userDrawn="1"/>
        </p:nvSpPr>
        <p:spPr>
          <a:xfrm>
            <a:off x="656513" y="122460"/>
            <a:ext cx="293369" cy="293411"/>
          </a:xfrm>
          <a:custGeom>
            <a:avLst/>
            <a:gdLst/>
            <a:ahLst/>
            <a:cxnLst>
              <a:cxn ang="0">
                <a:pos x="wd2" y="hd2"/>
              </a:cxn>
              <a:cxn ang="5400000">
                <a:pos x="wd2" y="hd2"/>
              </a:cxn>
              <a:cxn ang="10800000">
                <a:pos x="wd2" y="hd2"/>
              </a:cxn>
              <a:cxn ang="16200000">
                <a:pos x="wd2" y="hd2"/>
              </a:cxn>
            </a:cxnLst>
            <a:rect l="0" t="0" r="r" b="b"/>
            <a:pathLst>
              <a:path w="21530" h="21600" extrusionOk="0">
                <a:moveTo>
                  <a:pt x="6365" y="15409"/>
                </a:moveTo>
                <a:cubicBezTo>
                  <a:pt x="5782" y="14888"/>
                  <a:pt x="4858" y="14006"/>
                  <a:pt x="3935" y="12896"/>
                </a:cubicBezTo>
                <a:cubicBezTo>
                  <a:pt x="2587" y="11273"/>
                  <a:pt x="979" y="8836"/>
                  <a:pt x="979" y="6431"/>
                </a:cubicBezTo>
                <a:cubicBezTo>
                  <a:pt x="979" y="3427"/>
                  <a:pt x="3396" y="982"/>
                  <a:pt x="6366" y="982"/>
                </a:cubicBezTo>
                <a:cubicBezTo>
                  <a:pt x="9336" y="982"/>
                  <a:pt x="11752" y="3427"/>
                  <a:pt x="11752" y="6431"/>
                </a:cubicBezTo>
                <a:cubicBezTo>
                  <a:pt x="11752" y="10209"/>
                  <a:pt x="7888" y="14044"/>
                  <a:pt x="6365" y="15409"/>
                </a:cubicBezTo>
                <a:moveTo>
                  <a:pt x="6366" y="0"/>
                </a:moveTo>
                <a:cubicBezTo>
                  <a:pt x="2850" y="0"/>
                  <a:pt x="0" y="2879"/>
                  <a:pt x="0" y="6431"/>
                </a:cubicBezTo>
                <a:cubicBezTo>
                  <a:pt x="0" y="11655"/>
                  <a:pt x="6366" y="16701"/>
                  <a:pt x="6366" y="16701"/>
                </a:cubicBezTo>
                <a:cubicBezTo>
                  <a:pt x="6366" y="16701"/>
                  <a:pt x="12732" y="11655"/>
                  <a:pt x="12732" y="6431"/>
                </a:cubicBezTo>
                <a:cubicBezTo>
                  <a:pt x="12732" y="2879"/>
                  <a:pt x="9882" y="0"/>
                  <a:pt x="6366" y="0"/>
                </a:cubicBezTo>
                <a:moveTo>
                  <a:pt x="17357" y="19604"/>
                </a:moveTo>
                <a:cubicBezTo>
                  <a:pt x="17127" y="19764"/>
                  <a:pt x="16856" y="19909"/>
                  <a:pt x="16554" y="20033"/>
                </a:cubicBezTo>
                <a:cubicBezTo>
                  <a:pt x="16303" y="20137"/>
                  <a:pt x="16184" y="20424"/>
                  <a:pt x="16287" y="20675"/>
                </a:cubicBezTo>
                <a:cubicBezTo>
                  <a:pt x="16365" y="20865"/>
                  <a:pt x="16548" y="20979"/>
                  <a:pt x="16740" y="20979"/>
                </a:cubicBezTo>
                <a:cubicBezTo>
                  <a:pt x="16802" y="20979"/>
                  <a:pt x="16866" y="20968"/>
                  <a:pt x="16926" y="20943"/>
                </a:cubicBezTo>
                <a:cubicBezTo>
                  <a:pt x="17294" y="20790"/>
                  <a:pt x="17627" y="20611"/>
                  <a:pt x="17915" y="20411"/>
                </a:cubicBezTo>
                <a:cubicBezTo>
                  <a:pt x="18137" y="20256"/>
                  <a:pt x="18192" y="19950"/>
                  <a:pt x="18039" y="19727"/>
                </a:cubicBezTo>
                <a:cubicBezTo>
                  <a:pt x="17884" y="19505"/>
                  <a:pt x="17578" y="19449"/>
                  <a:pt x="17357" y="19604"/>
                </a:cubicBezTo>
                <a:moveTo>
                  <a:pt x="16249" y="13042"/>
                </a:moveTo>
                <a:cubicBezTo>
                  <a:pt x="16108" y="12790"/>
                  <a:pt x="16023" y="12529"/>
                  <a:pt x="15995" y="12265"/>
                </a:cubicBezTo>
                <a:cubicBezTo>
                  <a:pt x="15966" y="11996"/>
                  <a:pt x="15731" y="11801"/>
                  <a:pt x="15456" y="11830"/>
                </a:cubicBezTo>
                <a:cubicBezTo>
                  <a:pt x="15187" y="11859"/>
                  <a:pt x="14992" y="12100"/>
                  <a:pt x="15021" y="12371"/>
                </a:cubicBezTo>
                <a:cubicBezTo>
                  <a:pt x="15064" y="12767"/>
                  <a:pt x="15189" y="13155"/>
                  <a:pt x="15395" y="13522"/>
                </a:cubicBezTo>
                <a:cubicBezTo>
                  <a:pt x="15484" y="13682"/>
                  <a:pt x="15651" y="13774"/>
                  <a:pt x="15822" y="13774"/>
                </a:cubicBezTo>
                <a:cubicBezTo>
                  <a:pt x="15904" y="13774"/>
                  <a:pt x="15985" y="13753"/>
                  <a:pt x="16061" y="13710"/>
                </a:cubicBezTo>
                <a:cubicBezTo>
                  <a:pt x="16297" y="13578"/>
                  <a:pt x="16381" y="13279"/>
                  <a:pt x="16249" y="13042"/>
                </a:cubicBezTo>
                <a:moveTo>
                  <a:pt x="18249" y="15254"/>
                </a:moveTo>
                <a:cubicBezTo>
                  <a:pt x="18041" y="14981"/>
                  <a:pt x="17802" y="14708"/>
                  <a:pt x="17538" y="14439"/>
                </a:cubicBezTo>
                <a:cubicBezTo>
                  <a:pt x="17349" y="14246"/>
                  <a:pt x="17038" y="14244"/>
                  <a:pt x="16845" y="14434"/>
                </a:cubicBezTo>
                <a:cubicBezTo>
                  <a:pt x="16653" y="14624"/>
                  <a:pt x="16651" y="14935"/>
                  <a:pt x="16841" y="15129"/>
                </a:cubicBezTo>
                <a:cubicBezTo>
                  <a:pt x="17076" y="15368"/>
                  <a:pt x="17289" y="15612"/>
                  <a:pt x="17471" y="15851"/>
                </a:cubicBezTo>
                <a:cubicBezTo>
                  <a:pt x="17567" y="15977"/>
                  <a:pt x="17713" y="16043"/>
                  <a:pt x="17860" y="16043"/>
                </a:cubicBezTo>
                <a:cubicBezTo>
                  <a:pt x="17964" y="16043"/>
                  <a:pt x="18068" y="16011"/>
                  <a:pt x="18157" y="15943"/>
                </a:cubicBezTo>
                <a:cubicBezTo>
                  <a:pt x="18372" y="15777"/>
                  <a:pt x="18413" y="15469"/>
                  <a:pt x="18249" y="15254"/>
                </a:cubicBezTo>
                <a:moveTo>
                  <a:pt x="21476" y="5929"/>
                </a:moveTo>
                <a:cubicBezTo>
                  <a:pt x="21352" y="5687"/>
                  <a:pt x="21056" y="5592"/>
                  <a:pt x="20817" y="5717"/>
                </a:cubicBezTo>
                <a:cubicBezTo>
                  <a:pt x="20817" y="5717"/>
                  <a:pt x="20649" y="5803"/>
                  <a:pt x="20371" y="5962"/>
                </a:cubicBezTo>
                <a:cubicBezTo>
                  <a:pt x="20136" y="6097"/>
                  <a:pt x="20054" y="6396"/>
                  <a:pt x="20188" y="6632"/>
                </a:cubicBezTo>
                <a:cubicBezTo>
                  <a:pt x="20278" y="6791"/>
                  <a:pt x="20444" y="6880"/>
                  <a:pt x="20614" y="6880"/>
                </a:cubicBezTo>
                <a:cubicBezTo>
                  <a:pt x="20696" y="6880"/>
                  <a:pt x="20779" y="6859"/>
                  <a:pt x="20856" y="6815"/>
                </a:cubicBezTo>
                <a:cubicBezTo>
                  <a:pt x="21107" y="6672"/>
                  <a:pt x="21260" y="6593"/>
                  <a:pt x="21265" y="6590"/>
                </a:cubicBezTo>
                <a:cubicBezTo>
                  <a:pt x="21505" y="6466"/>
                  <a:pt x="21600" y="6170"/>
                  <a:pt x="21476" y="5929"/>
                </a:cubicBezTo>
                <a:moveTo>
                  <a:pt x="18659" y="16886"/>
                </a:moveTo>
                <a:cubicBezTo>
                  <a:pt x="18395" y="16941"/>
                  <a:pt x="18224" y="17201"/>
                  <a:pt x="18279" y="17467"/>
                </a:cubicBezTo>
                <a:cubicBezTo>
                  <a:pt x="18312" y="17625"/>
                  <a:pt x="18329" y="17782"/>
                  <a:pt x="18329" y="17929"/>
                </a:cubicBezTo>
                <a:cubicBezTo>
                  <a:pt x="18329" y="18050"/>
                  <a:pt x="18318" y="18171"/>
                  <a:pt x="18296" y="18287"/>
                </a:cubicBezTo>
                <a:cubicBezTo>
                  <a:pt x="18244" y="18554"/>
                  <a:pt x="18417" y="18811"/>
                  <a:pt x="18683" y="18862"/>
                </a:cubicBezTo>
                <a:cubicBezTo>
                  <a:pt x="18715" y="18869"/>
                  <a:pt x="18746" y="18872"/>
                  <a:pt x="18777" y="18872"/>
                </a:cubicBezTo>
                <a:cubicBezTo>
                  <a:pt x="19007" y="18872"/>
                  <a:pt x="19212" y="18708"/>
                  <a:pt x="19257" y="18473"/>
                </a:cubicBezTo>
                <a:cubicBezTo>
                  <a:pt x="19291" y="18296"/>
                  <a:pt x="19308" y="18114"/>
                  <a:pt x="19308" y="17929"/>
                </a:cubicBezTo>
                <a:cubicBezTo>
                  <a:pt x="19308" y="17715"/>
                  <a:pt x="19285" y="17492"/>
                  <a:pt x="19239" y="17268"/>
                </a:cubicBezTo>
                <a:cubicBezTo>
                  <a:pt x="19183" y="17001"/>
                  <a:pt x="18922" y="16832"/>
                  <a:pt x="18659" y="16886"/>
                </a:cubicBezTo>
                <a:moveTo>
                  <a:pt x="18590" y="7107"/>
                </a:moveTo>
                <a:cubicBezTo>
                  <a:pt x="18317" y="7304"/>
                  <a:pt x="18035" y="7518"/>
                  <a:pt x="17756" y="7745"/>
                </a:cubicBezTo>
                <a:cubicBezTo>
                  <a:pt x="17546" y="7917"/>
                  <a:pt x="17515" y="8227"/>
                  <a:pt x="17685" y="8437"/>
                </a:cubicBezTo>
                <a:cubicBezTo>
                  <a:pt x="17783" y="8556"/>
                  <a:pt x="17924" y="8617"/>
                  <a:pt x="18066" y="8617"/>
                </a:cubicBezTo>
                <a:cubicBezTo>
                  <a:pt x="18174" y="8617"/>
                  <a:pt x="18284" y="8581"/>
                  <a:pt x="18374" y="8507"/>
                </a:cubicBezTo>
                <a:cubicBezTo>
                  <a:pt x="18637" y="8292"/>
                  <a:pt x="18903" y="8090"/>
                  <a:pt x="19161" y="7905"/>
                </a:cubicBezTo>
                <a:cubicBezTo>
                  <a:pt x="19380" y="7747"/>
                  <a:pt x="19431" y="7440"/>
                  <a:pt x="19273" y="7220"/>
                </a:cubicBezTo>
                <a:cubicBezTo>
                  <a:pt x="19116" y="6999"/>
                  <a:pt x="18810" y="6949"/>
                  <a:pt x="18590" y="7107"/>
                </a:cubicBezTo>
                <a:moveTo>
                  <a:pt x="14704" y="20512"/>
                </a:moveTo>
                <a:cubicBezTo>
                  <a:pt x="14393" y="20556"/>
                  <a:pt x="14064" y="20590"/>
                  <a:pt x="13729" y="20612"/>
                </a:cubicBezTo>
                <a:cubicBezTo>
                  <a:pt x="13459" y="20629"/>
                  <a:pt x="13254" y="20863"/>
                  <a:pt x="13272" y="21134"/>
                </a:cubicBezTo>
                <a:cubicBezTo>
                  <a:pt x="13289" y="21394"/>
                  <a:pt x="13504" y="21593"/>
                  <a:pt x="13760" y="21593"/>
                </a:cubicBezTo>
                <a:cubicBezTo>
                  <a:pt x="13770" y="21593"/>
                  <a:pt x="13781" y="21592"/>
                  <a:pt x="13792" y="21592"/>
                </a:cubicBezTo>
                <a:cubicBezTo>
                  <a:pt x="14152" y="21568"/>
                  <a:pt x="14506" y="21533"/>
                  <a:pt x="14842" y="21485"/>
                </a:cubicBezTo>
                <a:cubicBezTo>
                  <a:pt x="15110" y="21447"/>
                  <a:pt x="15295" y="21198"/>
                  <a:pt x="15258" y="20929"/>
                </a:cubicBezTo>
                <a:cubicBezTo>
                  <a:pt x="15220" y="20661"/>
                  <a:pt x="14973" y="20472"/>
                  <a:pt x="14704" y="20512"/>
                </a:cubicBezTo>
                <a:moveTo>
                  <a:pt x="8893" y="20109"/>
                </a:moveTo>
                <a:cubicBezTo>
                  <a:pt x="8581" y="19998"/>
                  <a:pt x="8298" y="19866"/>
                  <a:pt x="8052" y="19722"/>
                </a:cubicBezTo>
                <a:cubicBezTo>
                  <a:pt x="7818" y="19582"/>
                  <a:pt x="7519" y="19663"/>
                  <a:pt x="7382" y="19896"/>
                </a:cubicBezTo>
                <a:cubicBezTo>
                  <a:pt x="7244" y="20130"/>
                  <a:pt x="7323" y="20432"/>
                  <a:pt x="7556" y="20569"/>
                </a:cubicBezTo>
                <a:cubicBezTo>
                  <a:pt x="7855" y="20744"/>
                  <a:pt x="8194" y="20901"/>
                  <a:pt x="8562" y="21034"/>
                </a:cubicBezTo>
                <a:cubicBezTo>
                  <a:pt x="8617" y="21053"/>
                  <a:pt x="8672" y="21063"/>
                  <a:pt x="8728" y="21063"/>
                </a:cubicBezTo>
                <a:cubicBezTo>
                  <a:pt x="8929" y="21063"/>
                  <a:pt x="9116" y="20938"/>
                  <a:pt x="9189" y="20738"/>
                </a:cubicBezTo>
                <a:cubicBezTo>
                  <a:pt x="9280" y="20482"/>
                  <a:pt x="9148" y="20200"/>
                  <a:pt x="8893" y="20109"/>
                </a:cubicBezTo>
                <a:moveTo>
                  <a:pt x="11750" y="20618"/>
                </a:moveTo>
                <a:cubicBezTo>
                  <a:pt x="11411" y="20600"/>
                  <a:pt x="11082" y="20572"/>
                  <a:pt x="10771" y="20533"/>
                </a:cubicBezTo>
                <a:cubicBezTo>
                  <a:pt x="10502" y="20493"/>
                  <a:pt x="10258" y="20690"/>
                  <a:pt x="10224" y="20959"/>
                </a:cubicBezTo>
                <a:cubicBezTo>
                  <a:pt x="10191" y="21229"/>
                  <a:pt x="10382" y="21474"/>
                  <a:pt x="10650" y="21508"/>
                </a:cubicBezTo>
                <a:cubicBezTo>
                  <a:pt x="10984" y="21549"/>
                  <a:pt x="11337" y="21581"/>
                  <a:pt x="11699" y="21600"/>
                </a:cubicBezTo>
                <a:cubicBezTo>
                  <a:pt x="11708" y="21600"/>
                  <a:pt x="11716" y="21600"/>
                  <a:pt x="11725" y="21600"/>
                </a:cubicBezTo>
                <a:cubicBezTo>
                  <a:pt x="11983" y="21600"/>
                  <a:pt x="12200" y="21397"/>
                  <a:pt x="12214" y="21135"/>
                </a:cubicBezTo>
                <a:cubicBezTo>
                  <a:pt x="12228" y="20863"/>
                  <a:pt x="12021" y="20632"/>
                  <a:pt x="11750" y="20618"/>
                </a:cubicBezTo>
                <a:moveTo>
                  <a:pt x="6840" y="18180"/>
                </a:moveTo>
                <a:cubicBezTo>
                  <a:pt x="6836" y="17912"/>
                  <a:pt x="6619" y="17696"/>
                  <a:pt x="6351" y="17696"/>
                </a:cubicBezTo>
                <a:cubicBezTo>
                  <a:pt x="6080" y="17696"/>
                  <a:pt x="5861" y="17916"/>
                  <a:pt x="5861" y="18188"/>
                </a:cubicBezTo>
                <a:cubicBezTo>
                  <a:pt x="5861" y="18235"/>
                  <a:pt x="5867" y="18484"/>
                  <a:pt x="5997" y="18834"/>
                </a:cubicBezTo>
                <a:cubicBezTo>
                  <a:pt x="6070" y="19033"/>
                  <a:pt x="6256" y="19156"/>
                  <a:pt x="6456" y="19156"/>
                </a:cubicBezTo>
                <a:cubicBezTo>
                  <a:pt x="6512" y="19156"/>
                  <a:pt x="6570" y="19145"/>
                  <a:pt x="6626" y="19124"/>
                </a:cubicBezTo>
                <a:cubicBezTo>
                  <a:pt x="6879" y="19030"/>
                  <a:pt x="7009" y="18748"/>
                  <a:pt x="6915" y="18493"/>
                </a:cubicBezTo>
                <a:cubicBezTo>
                  <a:pt x="6848" y="18314"/>
                  <a:pt x="6841" y="18191"/>
                  <a:pt x="6840" y="18180"/>
                </a:cubicBezTo>
                <a:moveTo>
                  <a:pt x="15760" y="10798"/>
                </a:moveTo>
                <a:cubicBezTo>
                  <a:pt x="15838" y="10844"/>
                  <a:pt x="15924" y="10866"/>
                  <a:pt x="16008" y="10866"/>
                </a:cubicBezTo>
                <a:cubicBezTo>
                  <a:pt x="16176" y="10866"/>
                  <a:pt x="16339" y="10780"/>
                  <a:pt x="16431" y="10625"/>
                </a:cubicBezTo>
                <a:cubicBezTo>
                  <a:pt x="16577" y="10376"/>
                  <a:pt x="16761" y="10120"/>
                  <a:pt x="16977" y="9861"/>
                </a:cubicBezTo>
                <a:cubicBezTo>
                  <a:pt x="17151" y="9653"/>
                  <a:pt x="17124" y="9343"/>
                  <a:pt x="16916" y="9169"/>
                </a:cubicBezTo>
                <a:cubicBezTo>
                  <a:pt x="16709" y="8994"/>
                  <a:pt x="16400" y="9022"/>
                  <a:pt x="16227" y="9230"/>
                </a:cubicBezTo>
                <a:cubicBezTo>
                  <a:pt x="15976" y="9529"/>
                  <a:pt x="15760" y="9832"/>
                  <a:pt x="15587" y="10125"/>
                </a:cubicBezTo>
                <a:cubicBezTo>
                  <a:pt x="15450" y="10359"/>
                  <a:pt x="15527" y="10659"/>
                  <a:pt x="15760" y="10798"/>
                </a:cubicBezTo>
                <a:moveTo>
                  <a:pt x="6366" y="8841"/>
                </a:moveTo>
                <a:cubicBezTo>
                  <a:pt x="5014" y="8841"/>
                  <a:pt x="3917" y="7741"/>
                  <a:pt x="3917" y="6385"/>
                </a:cubicBezTo>
                <a:cubicBezTo>
                  <a:pt x="3917" y="5027"/>
                  <a:pt x="5014" y="3927"/>
                  <a:pt x="6366" y="3927"/>
                </a:cubicBezTo>
                <a:cubicBezTo>
                  <a:pt x="7719" y="3927"/>
                  <a:pt x="8814" y="5027"/>
                  <a:pt x="8814" y="6385"/>
                </a:cubicBezTo>
                <a:cubicBezTo>
                  <a:pt x="8814" y="7741"/>
                  <a:pt x="7719" y="8841"/>
                  <a:pt x="6366" y="8841"/>
                </a:cubicBezTo>
                <a:moveTo>
                  <a:pt x="6366" y="2955"/>
                </a:moveTo>
                <a:cubicBezTo>
                  <a:pt x="4473" y="2955"/>
                  <a:pt x="2938" y="4494"/>
                  <a:pt x="2938" y="6392"/>
                </a:cubicBezTo>
                <a:cubicBezTo>
                  <a:pt x="2938" y="8291"/>
                  <a:pt x="4473" y="9831"/>
                  <a:pt x="6366" y="9831"/>
                </a:cubicBezTo>
                <a:cubicBezTo>
                  <a:pt x="8259" y="9831"/>
                  <a:pt x="9794" y="8291"/>
                  <a:pt x="9794" y="6392"/>
                </a:cubicBezTo>
                <a:cubicBezTo>
                  <a:pt x="9794" y="4494"/>
                  <a:pt x="8259" y="2955"/>
                  <a:pt x="6366" y="2955"/>
                </a:cubicBezTo>
              </a:path>
            </a:pathLst>
          </a:custGeom>
          <a:solidFill>
            <a:schemeClr val="tx2"/>
          </a:solidFill>
          <a:ln w="12700">
            <a:noFill/>
            <a:miter lim="400000"/>
          </a:ln>
        </p:spPr>
        <p:txBody>
          <a:bodyPr lIns="38100" tIns="38100" rIns="38100" bIns="38100" anchor="ctr"/>
          <a:lstStyle/>
          <a:p>
            <a:endParaRPr>
              <a:solidFill>
                <a:prstClr val="black"/>
              </a:solidFill>
            </a:endParaRPr>
          </a:p>
        </p:txBody>
      </p:sp>
      <p:sp>
        <p:nvSpPr>
          <p:cNvPr id="8" name="Rectangle 12">
            <a:extLst>
              <a:ext uri="{FF2B5EF4-FFF2-40B4-BE49-F238E27FC236}">
                <a16:creationId xmlns:a16="http://schemas.microsoft.com/office/drawing/2014/main" id="{5BC2EE76-97BD-7649-9791-105C3DD85F3E}"/>
              </a:ext>
            </a:extLst>
          </p:cNvPr>
          <p:cNvSpPr/>
          <p:nvPr userDrawn="1"/>
        </p:nvSpPr>
        <p:spPr>
          <a:xfrm>
            <a:off x="9457764" y="6579030"/>
            <a:ext cx="2734235" cy="278969"/>
          </a:xfrm>
          <a:prstGeom prst="rect">
            <a:avLst/>
          </a:prstGeom>
          <a:solidFill>
            <a:schemeClr val="accent3"/>
          </a:solidFill>
        </p:spPr>
        <p:txBody>
          <a:bodyPr wrap="square" lIns="0" tIns="0" rIns="0" bIns="0" rtlCol="0" anchor="ctr" anchorCtr="0">
            <a:noAutofit/>
          </a:bodyPr>
          <a:lstStyle/>
          <a:p>
            <a:pPr algn="ctr"/>
            <a:r>
              <a:rPr lang="en-US" sz="800" b="1">
                <a:solidFill>
                  <a:schemeClr val="bg1"/>
                </a:solidFill>
                <a:cs typeface="Arial" panose="020B0604020202020204" pitchFamily="34" charset="0"/>
              </a:rPr>
              <a:t>TAREAS A REALIZAR EN BW</a:t>
            </a:r>
          </a:p>
        </p:txBody>
      </p:sp>
    </p:spTree>
    <p:extLst>
      <p:ext uri="{BB962C8B-B14F-4D97-AF65-F5344CB8AC3E}">
        <p14:creationId xmlns:p14="http://schemas.microsoft.com/office/powerpoint/2010/main" val="937537142"/>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emplate Propuesta 2022 - Marco Metodológico">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50040F2E-A856-F74D-B747-8F63180F396D}"/>
              </a:ext>
            </a:extLst>
          </p:cNvPr>
          <p:cNvSpPr>
            <a:spLocks noGrp="1"/>
          </p:cNvSpPr>
          <p:nvPr>
            <p:ph type="title"/>
          </p:nvPr>
        </p:nvSpPr>
        <p:spPr>
          <a:xfrm>
            <a:off x="1138892" y="36122"/>
            <a:ext cx="10610449" cy="276999"/>
          </a:xfrm>
        </p:spPr>
        <p:txBody>
          <a:bodyPr wrap="square" lIns="0" anchor="t">
            <a:noAutofit/>
          </a:bodyPr>
          <a:lstStyle>
            <a:lvl1pPr>
              <a:defRPr lang="es-ES_tradnl" cap="all" baseline="0" noProof="0" dirty="0"/>
            </a:lvl1pPr>
          </a:lstStyle>
          <a:p>
            <a:pPr lvl="0"/>
            <a:r>
              <a:rPr lang="es-ES_tradnl" noProof="0"/>
              <a:t>Haga clic para modificar el estilo de título del patrón</a:t>
            </a:r>
          </a:p>
        </p:txBody>
      </p:sp>
      <p:sp>
        <p:nvSpPr>
          <p:cNvPr id="7" name="Marcador de texto 5">
            <a:extLst>
              <a:ext uri="{FF2B5EF4-FFF2-40B4-BE49-F238E27FC236}">
                <a16:creationId xmlns:a16="http://schemas.microsoft.com/office/drawing/2014/main" id="{CC6303D6-D0FC-984A-8419-A50470327A59}"/>
              </a:ext>
            </a:extLst>
          </p:cNvPr>
          <p:cNvSpPr>
            <a:spLocks noGrp="1"/>
          </p:cNvSpPr>
          <p:nvPr>
            <p:ph type="body" sz="quarter" idx="10"/>
          </p:nvPr>
        </p:nvSpPr>
        <p:spPr>
          <a:xfrm>
            <a:off x="442659" y="671500"/>
            <a:ext cx="11306682" cy="5741999"/>
          </a:xfrm>
        </p:spPr>
        <p:txBody>
          <a:bodyPr/>
          <a:lstStyle/>
          <a:p>
            <a:pPr lvl="0"/>
            <a:r>
              <a:rPr lang="es-ES_tradnl" noProof="0"/>
              <a:t>Haga clic para modificar los estilos de texto del patrón</a:t>
            </a:r>
          </a:p>
          <a:p>
            <a:pPr lvl="1"/>
            <a:r>
              <a:rPr lang="es-ES_tradnl" noProof="0"/>
              <a:t>Segundo nivel</a:t>
            </a:r>
          </a:p>
          <a:p>
            <a:pPr lvl="2"/>
            <a:r>
              <a:rPr lang="es-ES_tradnl" noProof="0"/>
              <a:t>Tercer nivel</a:t>
            </a:r>
          </a:p>
          <a:p>
            <a:pPr lvl="3"/>
            <a:r>
              <a:rPr lang="es-ES_tradnl" noProof="0"/>
              <a:t>Cuarto nivel</a:t>
            </a:r>
          </a:p>
          <a:p>
            <a:pPr lvl="4"/>
            <a:r>
              <a:rPr lang="es-ES_tradnl" noProof="0"/>
              <a:t>Quinto nivel</a:t>
            </a:r>
          </a:p>
        </p:txBody>
      </p:sp>
      <p:sp>
        <p:nvSpPr>
          <p:cNvPr id="4" name="Marcador de texto 4">
            <a:extLst>
              <a:ext uri="{FF2B5EF4-FFF2-40B4-BE49-F238E27FC236}">
                <a16:creationId xmlns:a16="http://schemas.microsoft.com/office/drawing/2014/main" id="{DED7AFAC-0516-FB48-9E02-44CC62A80883}"/>
              </a:ext>
            </a:extLst>
          </p:cNvPr>
          <p:cNvSpPr>
            <a:spLocks noGrp="1"/>
          </p:cNvSpPr>
          <p:nvPr>
            <p:ph type="body" sz="quarter" idx="11"/>
          </p:nvPr>
        </p:nvSpPr>
        <p:spPr>
          <a:xfrm>
            <a:off x="1138639" y="290195"/>
            <a:ext cx="10610449" cy="217488"/>
          </a:xfrm>
        </p:spPr>
        <p:txBody>
          <a:bodyPr/>
          <a:lstStyle>
            <a:lvl1pPr>
              <a:defRPr sz="1200">
                <a:solidFill>
                  <a:schemeClr val="tx2"/>
                </a:solidFill>
              </a:defRPr>
            </a:lvl1pPr>
          </a:lstStyle>
          <a:p>
            <a:pPr lvl="0"/>
            <a:r>
              <a:rPr lang="es-ES_tradnl" noProof="0"/>
              <a:t>Haga clic para modificar los estilos de texto del patrón</a:t>
            </a:r>
          </a:p>
        </p:txBody>
      </p:sp>
      <p:sp>
        <p:nvSpPr>
          <p:cNvPr id="9" name="Rectángulo 8">
            <a:extLst>
              <a:ext uri="{FF2B5EF4-FFF2-40B4-BE49-F238E27FC236}">
                <a16:creationId xmlns:a16="http://schemas.microsoft.com/office/drawing/2014/main" id="{9D31E6A8-7FC5-D346-B913-27F3CB84C0BF}"/>
              </a:ext>
            </a:extLst>
          </p:cNvPr>
          <p:cNvSpPr/>
          <p:nvPr userDrawn="1"/>
        </p:nvSpPr>
        <p:spPr bwMode="auto">
          <a:xfrm>
            <a:off x="596159" y="67814"/>
            <a:ext cx="405613" cy="405613"/>
          </a:xfrm>
          <a:prstGeom prst="rect">
            <a:avLst/>
          </a:prstGeom>
          <a:solidFill>
            <a:schemeClr val="bg1"/>
          </a:solidFill>
          <a:ln w="25400" cap="flat">
            <a:solidFill>
              <a:schemeClr val="accent4"/>
            </a:solidFill>
            <a:miter lim="800000"/>
          </a:ln>
        </p:spPr>
        <p:txBody>
          <a:bodyPr lIns="0" tIns="0" rIns="0" bIns="0" rtlCol="0" anchor="ctr">
            <a:noAutofit/>
          </a:bodyPr>
          <a:lstStyle/>
          <a:p>
            <a:pPr algn="ctr"/>
            <a:endParaRPr lang="es-ES_tradnl" sz="1400" noProof="0"/>
          </a:p>
        </p:txBody>
      </p:sp>
      <p:sp>
        <p:nvSpPr>
          <p:cNvPr id="8" name="Shape 3664">
            <a:extLst>
              <a:ext uri="{FF2B5EF4-FFF2-40B4-BE49-F238E27FC236}">
                <a16:creationId xmlns:a16="http://schemas.microsoft.com/office/drawing/2014/main" id="{01493D49-94F0-024B-9453-F3902DD79E60}"/>
              </a:ext>
            </a:extLst>
          </p:cNvPr>
          <p:cNvSpPr/>
          <p:nvPr userDrawn="1"/>
        </p:nvSpPr>
        <p:spPr>
          <a:xfrm>
            <a:off x="659124" y="125056"/>
            <a:ext cx="279552" cy="279550"/>
          </a:xfrm>
          <a:custGeom>
            <a:avLst/>
            <a:gdLst/>
            <a:ahLst/>
            <a:cxnLst>
              <a:cxn ang="0">
                <a:pos x="wd2" y="hd2"/>
              </a:cxn>
              <a:cxn ang="5400000">
                <a:pos x="wd2" y="hd2"/>
              </a:cxn>
              <a:cxn ang="10800000">
                <a:pos x="wd2" y="hd2"/>
              </a:cxn>
              <a:cxn ang="16200000">
                <a:pos x="wd2" y="hd2"/>
              </a:cxn>
            </a:cxnLst>
            <a:rect l="0" t="0" r="r" b="b"/>
            <a:pathLst>
              <a:path w="21600" h="21600" extrusionOk="0">
                <a:moveTo>
                  <a:pt x="10800" y="14727"/>
                </a:moveTo>
                <a:cubicBezTo>
                  <a:pt x="8631" y="14727"/>
                  <a:pt x="6873" y="12969"/>
                  <a:pt x="6873" y="10800"/>
                </a:cubicBezTo>
                <a:cubicBezTo>
                  <a:pt x="6873" y="8631"/>
                  <a:pt x="8631" y="6873"/>
                  <a:pt x="10800" y="6873"/>
                </a:cubicBezTo>
                <a:cubicBezTo>
                  <a:pt x="12969" y="6873"/>
                  <a:pt x="14727" y="8631"/>
                  <a:pt x="14727" y="10800"/>
                </a:cubicBezTo>
                <a:cubicBezTo>
                  <a:pt x="14727" y="12969"/>
                  <a:pt x="12969" y="14727"/>
                  <a:pt x="10800" y="14727"/>
                </a:cubicBezTo>
                <a:moveTo>
                  <a:pt x="10800" y="5891"/>
                </a:moveTo>
                <a:cubicBezTo>
                  <a:pt x="8088" y="5891"/>
                  <a:pt x="5891" y="8089"/>
                  <a:pt x="5891" y="10800"/>
                </a:cubicBezTo>
                <a:cubicBezTo>
                  <a:pt x="5891" y="13512"/>
                  <a:pt x="8088" y="15709"/>
                  <a:pt x="10800" y="15709"/>
                </a:cubicBezTo>
                <a:cubicBezTo>
                  <a:pt x="13512" y="15709"/>
                  <a:pt x="15709" y="13512"/>
                  <a:pt x="15709" y="10800"/>
                </a:cubicBezTo>
                <a:cubicBezTo>
                  <a:pt x="15709" y="8089"/>
                  <a:pt x="13512" y="5891"/>
                  <a:pt x="10800" y="5891"/>
                </a:cubicBezTo>
                <a:moveTo>
                  <a:pt x="20618" y="12013"/>
                </a:moveTo>
                <a:cubicBezTo>
                  <a:pt x="20614" y="12014"/>
                  <a:pt x="20611" y="12016"/>
                  <a:pt x="20607" y="12017"/>
                </a:cubicBezTo>
                <a:lnTo>
                  <a:pt x="19602" y="12268"/>
                </a:lnTo>
                <a:cubicBezTo>
                  <a:pt x="19256" y="12354"/>
                  <a:pt x="18984" y="12622"/>
                  <a:pt x="18892" y="12966"/>
                </a:cubicBezTo>
                <a:cubicBezTo>
                  <a:pt x="18703" y="13673"/>
                  <a:pt x="18421" y="14351"/>
                  <a:pt x="18053" y="14986"/>
                </a:cubicBezTo>
                <a:cubicBezTo>
                  <a:pt x="17873" y="15295"/>
                  <a:pt x="17876" y="15677"/>
                  <a:pt x="18060" y="15984"/>
                </a:cubicBezTo>
                <a:lnTo>
                  <a:pt x="18601" y="16885"/>
                </a:lnTo>
                <a:lnTo>
                  <a:pt x="16886" y="18600"/>
                </a:lnTo>
                <a:cubicBezTo>
                  <a:pt x="16882" y="18599"/>
                  <a:pt x="16878" y="18597"/>
                  <a:pt x="16875" y="18595"/>
                </a:cubicBezTo>
                <a:lnTo>
                  <a:pt x="15978" y="18057"/>
                </a:lnTo>
                <a:cubicBezTo>
                  <a:pt x="15822" y="17964"/>
                  <a:pt x="15648" y="17917"/>
                  <a:pt x="15473" y="17917"/>
                </a:cubicBezTo>
                <a:cubicBezTo>
                  <a:pt x="15304" y="17917"/>
                  <a:pt x="15134" y="17961"/>
                  <a:pt x="14982" y="18049"/>
                </a:cubicBezTo>
                <a:cubicBezTo>
                  <a:pt x="14348" y="18415"/>
                  <a:pt x="13671" y="18696"/>
                  <a:pt x="12968" y="18884"/>
                </a:cubicBezTo>
                <a:cubicBezTo>
                  <a:pt x="12624" y="18976"/>
                  <a:pt x="12356" y="19248"/>
                  <a:pt x="12269" y="19594"/>
                </a:cubicBezTo>
                <a:lnTo>
                  <a:pt x="12016" y="20608"/>
                </a:lnTo>
                <a:cubicBezTo>
                  <a:pt x="12015" y="20611"/>
                  <a:pt x="12014" y="20614"/>
                  <a:pt x="12012" y="20619"/>
                </a:cubicBezTo>
                <a:lnTo>
                  <a:pt x="9587" y="20619"/>
                </a:lnTo>
                <a:lnTo>
                  <a:pt x="9331" y="19594"/>
                </a:lnTo>
                <a:cubicBezTo>
                  <a:pt x="9244" y="19248"/>
                  <a:pt x="8976" y="18976"/>
                  <a:pt x="8632" y="18884"/>
                </a:cubicBezTo>
                <a:cubicBezTo>
                  <a:pt x="7929" y="18696"/>
                  <a:pt x="7251" y="18415"/>
                  <a:pt x="6617" y="18049"/>
                </a:cubicBezTo>
                <a:cubicBezTo>
                  <a:pt x="6465" y="17961"/>
                  <a:pt x="6296" y="17917"/>
                  <a:pt x="6127" y="17917"/>
                </a:cubicBezTo>
                <a:cubicBezTo>
                  <a:pt x="5951" y="17917"/>
                  <a:pt x="5777" y="17964"/>
                  <a:pt x="5621" y="18057"/>
                </a:cubicBezTo>
                <a:lnTo>
                  <a:pt x="4725" y="18595"/>
                </a:lnTo>
                <a:cubicBezTo>
                  <a:pt x="4722" y="18597"/>
                  <a:pt x="4718" y="18599"/>
                  <a:pt x="4714" y="18600"/>
                </a:cubicBezTo>
                <a:lnTo>
                  <a:pt x="3000" y="16885"/>
                </a:lnTo>
                <a:lnTo>
                  <a:pt x="3540" y="15983"/>
                </a:lnTo>
                <a:cubicBezTo>
                  <a:pt x="3724" y="15677"/>
                  <a:pt x="3727" y="15295"/>
                  <a:pt x="3548" y="14986"/>
                </a:cubicBezTo>
                <a:cubicBezTo>
                  <a:pt x="3179" y="14351"/>
                  <a:pt x="2897" y="13672"/>
                  <a:pt x="2708" y="12966"/>
                </a:cubicBezTo>
                <a:cubicBezTo>
                  <a:pt x="2616" y="12622"/>
                  <a:pt x="2343" y="12354"/>
                  <a:pt x="1998" y="12268"/>
                </a:cubicBezTo>
                <a:lnTo>
                  <a:pt x="993" y="12017"/>
                </a:lnTo>
                <a:cubicBezTo>
                  <a:pt x="989" y="12016"/>
                  <a:pt x="986" y="12014"/>
                  <a:pt x="982" y="12013"/>
                </a:cubicBezTo>
                <a:lnTo>
                  <a:pt x="982" y="9587"/>
                </a:lnTo>
                <a:lnTo>
                  <a:pt x="1998" y="9333"/>
                </a:lnTo>
                <a:cubicBezTo>
                  <a:pt x="2343" y="9247"/>
                  <a:pt x="2616" y="8979"/>
                  <a:pt x="2708" y="8634"/>
                </a:cubicBezTo>
                <a:cubicBezTo>
                  <a:pt x="2897" y="7928"/>
                  <a:pt x="3179" y="7250"/>
                  <a:pt x="3548" y="6615"/>
                </a:cubicBezTo>
                <a:cubicBezTo>
                  <a:pt x="3727" y="6305"/>
                  <a:pt x="3724" y="5924"/>
                  <a:pt x="3540" y="5617"/>
                </a:cubicBezTo>
                <a:lnTo>
                  <a:pt x="3005" y="4725"/>
                </a:lnTo>
                <a:cubicBezTo>
                  <a:pt x="3004" y="4722"/>
                  <a:pt x="3002" y="4718"/>
                  <a:pt x="3000" y="4714"/>
                </a:cubicBezTo>
                <a:lnTo>
                  <a:pt x="4715" y="3000"/>
                </a:lnTo>
                <a:lnTo>
                  <a:pt x="5621" y="3544"/>
                </a:lnTo>
                <a:cubicBezTo>
                  <a:pt x="5777" y="3637"/>
                  <a:pt x="5951" y="3683"/>
                  <a:pt x="6127" y="3683"/>
                </a:cubicBezTo>
                <a:cubicBezTo>
                  <a:pt x="6296" y="3683"/>
                  <a:pt x="6465" y="3640"/>
                  <a:pt x="6618" y="3551"/>
                </a:cubicBezTo>
                <a:cubicBezTo>
                  <a:pt x="7251" y="3185"/>
                  <a:pt x="7929" y="2904"/>
                  <a:pt x="8632" y="2717"/>
                </a:cubicBezTo>
                <a:cubicBezTo>
                  <a:pt x="8976" y="2624"/>
                  <a:pt x="9244" y="2353"/>
                  <a:pt x="9331" y="2007"/>
                </a:cubicBezTo>
                <a:lnTo>
                  <a:pt x="9587" y="982"/>
                </a:lnTo>
                <a:lnTo>
                  <a:pt x="12012" y="982"/>
                </a:lnTo>
                <a:cubicBezTo>
                  <a:pt x="12014" y="986"/>
                  <a:pt x="12015" y="989"/>
                  <a:pt x="12016" y="993"/>
                </a:cubicBezTo>
                <a:lnTo>
                  <a:pt x="12269" y="2007"/>
                </a:lnTo>
                <a:cubicBezTo>
                  <a:pt x="12356" y="2353"/>
                  <a:pt x="12624" y="2624"/>
                  <a:pt x="12968" y="2717"/>
                </a:cubicBezTo>
                <a:cubicBezTo>
                  <a:pt x="13671" y="2904"/>
                  <a:pt x="14348" y="3185"/>
                  <a:pt x="14982" y="3551"/>
                </a:cubicBezTo>
                <a:cubicBezTo>
                  <a:pt x="15134" y="3640"/>
                  <a:pt x="15304" y="3683"/>
                  <a:pt x="15473" y="3683"/>
                </a:cubicBezTo>
                <a:cubicBezTo>
                  <a:pt x="15648" y="3683"/>
                  <a:pt x="15822" y="3637"/>
                  <a:pt x="15978" y="3544"/>
                </a:cubicBezTo>
                <a:lnTo>
                  <a:pt x="16884" y="3000"/>
                </a:lnTo>
                <a:lnTo>
                  <a:pt x="18600" y="4714"/>
                </a:lnTo>
                <a:cubicBezTo>
                  <a:pt x="18598" y="4718"/>
                  <a:pt x="18597" y="4722"/>
                  <a:pt x="18595" y="4726"/>
                </a:cubicBezTo>
                <a:lnTo>
                  <a:pt x="18060" y="5617"/>
                </a:lnTo>
                <a:cubicBezTo>
                  <a:pt x="17876" y="5924"/>
                  <a:pt x="17873" y="6305"/>
                  <a:pt x="18053" y="6615"/>
                </a:cubicBezTo>
                <a:cubicBezTo>
                  <a:pt x="18421" y="7249"/>
                  <a:pt x="18703" y="7928"/>
                  <a:pt x="18892" y="8634"/>
                </a:cubicBezTo>
                <a:cubicBezTo>
                  <a:pt x="18984" y="8979"/>
                  <a:pt x="19256" y="9247"/>
                  <a:pt x="19602" y="9333"/>
                </a:cubicBezTo>
                <a:lnTo>
                  <a:pt x="20618" y="9587"/>
                </a:lnTo>
                <a:cubicBezTo>
                  <a:pt x="20618" y="9587"/>
                  <a:pt x="20618" y="12013"/>
                  <a:pt x="20618" y="12013"/>
                </a:cubicBezTo>
                <a:close/>
                <a:moveTo>
                  <a:pt x="20880" y="8641"/>
                </a:moveTo>
                <a:lnTo>
                  <a:pt x="19841" y="8380"/>
                </a:lnTo>
                <a:cubicBezTo>
                  <a:pt x="19626" y="7580"/>
                  <a:pt x="19308" y="6822"/>
                  <a:pt x="18902" y="6122"/>
                </a:cubicBezTo>
                <a:lnTo>
                  <a:pt x="19455" y="5201"/>
                </a:lnTo>
                <a:cubicBezTo>
                  <a:pt x="19625" y="4871"/>
                  <a:pt x="19736" y="4463"/>
                  <a:pt x="19455" y="4182"/>
                </a:cubicBezTo>
                <a:lnTo>
                  <a:pt x="17419" y="2146"/>
                </a:lnTo>
                <a:cubicBezTo>
                  <a:pt x="17292" y="2018"/>
                  <a:pt x="17136" y="1968"/>
                  <a:pt x="16975" y="1968"/>
                </a:cubicBezTo>
                <a:cubicBezTo>
                  <a:pt x="16778" y="1968"/>
                  <a:pt x="16572" y="2043"/>
                  <a:pt x="16400" y="2146"/>
                </a:cubicBezTo>
                <a:lnTo>
                  <a:pt x="15473" y="2702"/>
                </a:lnTo>
                <a:cubicBezTo>
                  <a:pt x="14775" y="2298"/>
                  <a:pt x="14020" y="1982"/>
                  <a:pt x="13222" y="1768"/>
                </a:cubicBezTo>
                <a:lnTo>
                  <a:pt x="12960" y="720"/>
                </a:lnTo>
                <a:cubicBezTo>
                  <a:pt x="12848" y="367"/>
                  <a:pt x="12638" y="0"/>
                  <a:pt x="12240" y="0"/>
                </a:cubicBezTo>
                <a:lnTo>
                  <a:pt x="9360" y="0"/>
                </a:lnTo>
                <a:cubicBezTo>
                  <a:pt x="8962" y="0"/>
                  <a:pt x="8730" y="367"/>
                  <a:pt x="8640" y="720"/>
                </a:cubicBezTo>
                <a:lnTo>
                  <a:pt x="8378" y="1768"/>
                </a:lnTo>
                <a:cubicBezTo>
                  <a:pt x="7580" y="1982"/>
                  <a:pt x="6825" y="2298"/>
                  <a:pt x="6127" y="2702"/>
                </a:cubicBezTo>
                <a:lnTo>
                  <a:pt x="5200" y="2146"/>
                </a:lnTo>
                <a:cubicBezTo>
                  <a:pt x="5028" y="2043"/>
                  <a:pt x="4822" y="1968"/>
                  <a:pt x="4625" y="1968"/>
                </a:cubicBezTo>
                <a:cubicBezTo>
                  <a:pt x="4464" y="1968"/>
                  <a:pt x="4308" y="2018"/>
                  <a:pt x="4181" y="2146"/>
                </a:cubicBezTo>
                <a:lnTo>
                  <a:pt x="2145" y="4182"/>
                </a:lnTo>
                <a:cubicBezTo>
                  <a:pt x="1864" y="4463"/>
                  <a:pt x="1975" y="4871"/>
                  <a:pt x="2145" y="5201"/>
                </a:cubicBezTo>
                <a:lnTo>
                  <a:pt x="2698" y="6122"/>
                </a:lnTo>
                <a:cubicBezTo>
                  <a:pt x="2292" y="6822"/>
                  <a:pt x="1973" y="7580"/>
                  <a:pt x="1759" y="8380"/>
                </a:cubicBezTo>
                <a:lnTo>
                  <a:pt x="720" y="8641"/>
                </a:lnTo>
                <a:cubicBezTo>
                  <a:pt x="367" y="8730"/>
                  <a:pt x="0" y="8963"/>
                  <a:pt x="0" y="9361"/>
                </a:cubicBezTo>
                <a:lnTo>
                  <a:pt x="0" y="12240"/>
                </a:lnTo>
                <a:cubicBezTo>
                  <a:pt x="0" y="12638"/>
                  <a:pt x="367" y="12848"/>
                  <a:pt x="720" y="12960"/>
                </a:cubicBezTo>
                <a:lnTo>
                  <a:pt x="1759" y="13220"/>
                </a:lnTo>
                <a:cubicBezTo>
                  <a:pt x="1973" y="14021"/>
                  <a:pt x="2292" y="14778"/>
                  <a:pt x="2698" y="15479"/>
                </a:cubicBezTo>
                <a:lnTo>
                  <a:pt x="2145" y="16400"/>
                </a:lnTo>
                <a:cubicBezTo>
                  <a:pt x="1959" y="16714"/>
                  <a:pt x="1864" y="17138"/>
                  <a:pt x="2145" y="17419"/>
                </a:cubicBezTo>
                <a:lnTo>
                  <a:pt x="4181" y="19455"/>
                </a:lnTo>
                <a:cubicBezTo>
                  <a:pt x="4305" y="19579"/>
                  <a:pt x="4454" y="19627"/>
                  <a:pt x="4610" y="19627"/>
                </a:cubicBezTo>
                <a:cubicBezTo>
                  <a:pt x="4807" y="19627"/>
                  <a:pt x="5016" y="19550"/>
                  <a:pt x="5200" y="19455"/>
                </a:cubicBezTo>
                <a:lnTo>
                  <a:pt x="6127" y="18899"/>
                </a:lnTo>
                <a:cubicBezTo>
                  <a:pt x="6825" y="19303"/>
                  <a:pt x="7580" y="19619"/>
                  <a:pt x="8378" y="19832"/>
                </a:cubicBezTo>
                <a:lnTo>
                  <a:pt x="8640" y="20880"/>
                </a:lnTo>
                <a:cubicBezTo>
                  <a:pt x="8730" y="21233"/>
                  <a:pt x="8962" y="21600"/>
                  <a:pt x="9360" y="21600"/>
                </a:cubicBezTo>
                <a:lnTo>
                  <a:pt x="12240" y="21600"/>
                </a:lnTo>
                <a:cubicBezTo>
                  <a:pt x="12638" y="21600"/>
                  <a:pt x="12848" y="21233"/>
                  <a:pt x="12960" y="20880"/>
                </a:cubicBezTo>
                <a:lnTo>
                  <a:pt x="13222" y="19832"/>
                </a:lnTo>
                <a:cubicBezTo>
                  <a:pt x="14020" y="19619"/>
                  <a:pt x="14775" y="19303"/>
                  <a:pt x="15473" y="18899"/>
                </a:cubicBezTo>
                <a:lnTo>
                  <a:pt x="16400" y="19455"/>
                </a:lnTo>
                <a:cubicBezTo>
                  <a:pt x="16584" y="19550"/>
                  <a:pt x="16793" y="19627"/>
                  <a:pt x="16990" y="19627"/>
                </a:cubicBezTo>
                <a:cubicBezTo>
                  <a:pt x="17146" y="19627"/>
                  <a:pt x="17294" y="19579"/>
                  <a:pt x="17419" y="19455"/>
                </a:cubicBezTo>
                <a:lnTo>
                  <a:pt x="19455" y="17419"/>
                </a:lnTo>
                <a:cubicBezTo>
                  <a:pt x="19736" y="17138"/>
                  <a:pt x="19641" y="16714"/>
                  <a:pt x="19455" y="16400"/>
                </a:cubicBezTo>
                <a:lnTo>
                  <a:pt x="18902" y="15479"/>
                </a:lnTo>
                <a:cubicBezTo>
                  <a:pt x="19308" y="14778"/>
                  <a:pt x="19626" y="14021"/>
                  <a:pt x="19841" y="13220"/>
                </a:cubicBezTo>
                <a:lnTo>
                  <a:pt x="20880" y="12960"/>
                </a:lnTo>
                <a:cubicBezTo>
                  <a:pt x="21233" y="12848"/>
                  <a:pt x="21600" y="12638"/>
                  <a:pt x="21600" y="12240"/>
                </a:cubicBezTo>
                <a:lnTo>
                  <a:pt x="21600" y="9361"/>
                </a:lnTo>
                <a:cubicBezTo>
                  <a:pt x="21600" y="8963"/>
                  <a:pt x="21233" y="8730"/>
                  <a:pt x="20880" y="8641"/>
                </a:cubicBezTo>
              </a:path>
            </a:pathLst>
          </a:custGeom>
          <a:solidFill>
            <a:schemeClr val="tx2"/>
          </a:solidFill>
          <a:ln w="12700">
            <a:miter lim="400000"/>
          </a:ln>
        </p:spPr>
        <p:txBody>
          <a:bodyPr lIns="38100" tIns="38100" rIns="38100" bIns="38100" anchor="ctr"/>
          <a:lstStyle/>
          <a:p>
            <a:endParaRPr>
              <a:solidFill>
                <a:prstClr val="black"/>
              </a:solidFill>
            </a:endParaRPr>
          </a:p>
        </p:txBody>
      </p:sp>
      <p:sp>
        <p:nvSpPr>
          <p:cNvPr id="10" name="Rectangle 12">
            <a:extLst>
              <a:ext uri="{FF2B5EF4-FFF2-40B4-BE49-F238E27FC236}">
                <a16:creationId xmlns:a16="http://schemas.microsoft.com/office/drawing/2014/main" id="{CC6CD134-0C0C-8C45-99D7-661BD193CF57}"/>
              </a:ext>
            </a:extLst>
          </p:cNvPr>
          <p:cNvSpPr/>
          <p:nvPr userDrawn="1"/>
        </p:nvSpPr>
        <p:spPr>
          <a:xfrm>
            <a:off x="9457764" y="6579030"/>
            <a:ext cx="2734235" cy="278969"/>
          </a:xfrm>
          <a:prstGeom prst="rect">
            <a:avLst/>
          </a:prstGeom>
          <a:solidFill>
            <a:schemeClr val="accent4"/>
          </a:solidFill>
        </p:spPr>
        <p:txBody>
          <a:bodyPr wrap="square" lIns="0" tIns="0" rIns="0" bIns="0" rtlCol="0" anchor="ctr" anchorCtr="0">
            <a:noAutofit/>
          </a:bodyPr>
          <a:lstStyle/>
          <a:p>
            <a:pPr algn="ctr"/>
            <a:r>
              <a:rPr lang="en-US" sz="800" b="1">
                <a:solidFill>
                  <a:schemeClr val="bg1"/>
                </a:solidFill>
                <a:cs typeface="Arial" panose="020B0604020202020204" pitchFamily="34" charset="0"/>
              </a:rPr>
              <a:t>BENEFICIOS DE BW4HANA</a:t>
            </a:r>
          </a:p>
        </p:txBody>
      </p:sp>
    </p:spTree>
    <p:extLst>
      <p:ext uri="{BB962C8B-B14F-4D97-AF65-F5344CB8AC3E}">
        <p14:creationId xmlns:p14="http://schemas.microsoft.com/office/powerpoint/2010/main" val="436918091"/>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troducción-Valor">
    <p:spTree>
      <p:nvGrpSpPr>
        <p:cNvPr id="1" name=""/>
        <p:cNvGrpSpPr/>
        <p:nvPr/>
      </p:nvGrpSpPr>
      <p:grpSpPr>
        <a:xfrm>
          <a:off x="0" y="0"/>
          <a:ext cx="0" cy="0"/>
          <a:chOff x="0" y="0"/>
          <a:chExt cx="0" cy="0"/>
        </a:xfrm>
      </p:grpSpPr>
      <p:sp>
        <p:nvSpPr>
          <p:cNvPr id="23" name="22 Marcador de texto"/>
          <p:cNvSpPr>
            <a:spLocks noGrp="1"/>
          </p:cNvSpPr>
          <p:nvPr>
            <p:ph type="body" sz="quarter" idx="23"/>
          </p:nvPr>
        </p:nvSpPr>
        <p:spPr>
          <a:xfrm>
            <a:off x="423986" y="1320801"/>
            <a:ext cx="11344031" cy="5151940"/>
          </a:xfrm>
        </p:spPr>
        <p:txBody>
          <a:bodyPr>
            <a:noAutofit/>
          </a:bodyPr>
          <a:lstStyle>
            <a:lvl5pPr marL="969962" indent="0">
              <a:defRPr kumimoji="0" lang="es-ES" sz="1100" b="0" i="0" u="none" strike="noStrike" kern="1200" cap="none" spc="0" normalizeH="0" baseline="0" noProof="0" dirty="0" smtClean="0">
                <a:ln>
                  <a:noFill/>
                </a:ln>
                <a:solidFill>
                  <a:srgbClr val="494949"/>
                </a:solidFill>
                <a:effectLst/>
                <a:uLnTx/>
                <a:uFillTx/>
                <a:latin typeface="+mn-lt"/>
                <a:ea typeface="+mn-ea"/>
                <a:cs typeface="+mn-cs"/>
              </a:defRPr>
            </a:lvl5pPr>
            <a:lvl6pPr marL="858838" indent="-171450">
              <a:defRPr kumimoji="0" lang="es-ES" sz="1100" b="0" i="0" u="none" strike="noStrike" kern="1200" cap="none" spc="0" normalizeH="0" baseline="0" noProof="0" dirty="0" smtClean="0">
                <a:ln>
                  <a:noFill/>
                </a:ln>
                <a:solidFill>
                  <a:schemeClr val="tx1"/>
                </a:solidFill>
                <a:effectLst/>
                <a:uLnTx/>
                <a:uFillTx/>
                <a:latin typeface="+mn-lt"/>
                <a:ea typeface="+mn-ea"/>
                <a:cs typeface="+mn-cs"/>
              </a:defRPr>
            </a:lvl6pPr>
            <a:lvl7pPr>
              <a:defRPr/>
            </a:lvl7pPr>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a:p>
            <a:pPr marL="846138" marR="0" lvl="4" indent="-158750" algn="l" defTabSz="914400" rtl="0" eaLnBrk="1" fontAlgn="auto" latinLnBrk="0" hangingPunct="1">
              <a:lnSpc>
                <a:spcPct val="100000"/>
              </a:lnSpc>
              <a:spcBef>
                <a:spcPts val="0"/>
              </a:spcBef>
              <a:spcAft>
                <a:spcPts val="200"/>
              </a:spcAft>
              <a:buClr>
                <a:schemeClr val="accent1">
                  <a:lumMod val="90000"/>
                </a:schemeClr>
              </a:buClr>
              <a:buSzTx/>
              <a:buFont typeface="Arial" pitchFamily="34" charset="0"/>
              <a:buChar char="•"/>
              <a:tabLst/>
              <a:defRPr/>
            </a:pPr>
            <a:r>
              <a:rPr lang="es-ES" noProof="0"/>
              <a:t>Quinto nivel</a:t>
            </a:r>
          </a:p>
          <a:p>
            <a:pPr marL="1111250" marR="0" lvl="5" indent="-141288" algn="l" defTabSz="914400" rtl="0" eaLnBrk="1" fontAlgn="auto" latinLnBrk="0" hangingPunct="1">
              <a:lnSpc>
                <a:spcPct val="100000"/>
              </a:lnSpc>
              <a:spcBef>
                <a:spcPct val="20000"/>
              </a:spcBef>
              <a:spcAft>
                <a:spcPts val="200"/>
              </a:spcAft>
              <a:buClr>
                <a:schemeClr val="accent1">
                  <a:lumMod val="90000"/>
                </a:schemeClr>
              </a:buClr>
              <a:buSzTx/>
              <a:buFontTx/>
              <a:buNone/>
              <a:tabLst/>
              <a:defRPr/>
            </a:pPr>
            <a:r>
              <a:rPr lang="es-ES" noProof="0"/>
              <a:t>- </a:t>
            </a:r>
            <a:r>
              <a:rPr lang="es-ES" noProof="0" err="1"/>
              <a:t>bhhh</a:t>
            </a:r>
            <a:endParaRPr lang="es-ES" noProof="0"/>
          </a:p>
        </p:txBody>
      </p:sp>
      <p:sp>
        <p:nvSpPr>
          <p:cNvPr id="92" name="27 Título"/>
          <p:cNvSpPr>
            <a:spLocks noGrp="1"/>
          </p:cNvSpPr>
          <p:nvPr userDrawn="1">
            <p:ph type="title" hasCustomPrompt="1"/>
          </p:nvPr>
        </p:nvSpPr>
        <p:spPr>
          <a:xfrm>
            <a:off x="1235961" y="334929"/>
            <a:ext cx="8936800" cy="518277"/>
          </a:xfrm>
        </p:spPr>
        <p:txBody>
          <a:bodyPr>
            <a:noAutofit/>
          </a:bodyPr>
          <a:lstStyle>
            <a:lvl1pPr>
              <a:defRPr sz="2000">
                <a:solidFill>
                  <a:schemeClr val="tx1"/>
                </a:solidFill>
              </a:defRPr>
            </a:lvl1pPr>
          </a:lstStyle>
          <a:p>
            <a:r>
              <a:rPr lang="es-ES"/>
              <a:t>Título</a:t>
            </a:r>
            <a:endParaRPr lang="en-US"/>
          </a:p>
        </p:txBody>
      </p:sp>
      <p:sp>
        <p:nvSpPr>
          <p:cNvPr id="6" name="21 CuadroTexto"/>
          <p:cNvSpPr txBox="1"/>
          <p:nvPr userDrawn="1"/>
        </p:nvSpPr>
        <p:spPr>
          <a:xfrm>
            <a:off x="1192823" y="19050"/>
            <a:ext cx="8988270" cy="248400"/>
          </a:xfrm>
          <a:prstGeom prst="rect">
            <a:avLst/>
          </a:prstGeom>
        </p:spPr>
        <p:txBody>
          <a:bodyPr vert="horz" lIns="0" tIns="0" rIns="0" bIns="0" rtlCol="0" anchor="ctr">
            <a:noAutofit/>
          </a:bodyPr>
          <a:lstStyle/>
          <a:p>
            <a:pPr marL="144000" marR="0" lvl="0" indent="0" algn="l" defTabSz="914400" rtl="0" eaLnBrk="1" fontAlgn="base" latinLnBrk="0" hangingPunct="1">
              <a:lnSpc>
                <a:spcPct val="100000"/>
              </a:lnSpc>
              <a:spcBef>
                <a:spcPts val="600"/>
              </a:spcBef>
              <a:spcAft>
                <a:spcPts val="300"/>
              </a:spcAft>
              <a:buClr>
                <a:srgbClr val="505150"/>
              </a:buClr>
              <a:buSzPct val="88000"/>
              <a:buFont typeface="Arial" pitchFamily="34" charset="0"/>
              <a:buNone/>
              <a:tabLst>
                <a:tab pos="1346200" algn="l"/>
              </a:tabLst>
              <a:defRPr/>
            </a:pPr>
            <a:r>
              <a:rPr kumimoji="0" lang="es-ES" sz="1050" b="0" i="0" u="none" strike="noStrike" kern="1200" cap="none" spc="0" normalizeH="0" baseline="0" noProof="0">
                <a:ln>
                  <a:noFill/>
                </a:ln>
                <a:solidFill>
                  <a:schemeClr val="tx1"/>
                </a:solidFill>
                <a:effectLst/>
                <a:uLnTx/>
                <a:uFillTx/>
                <a:latin typeface="+mn-lt"/>
                <a:ea typeface="+mn-ea"/>
                <a:cs typeface="+mn-cs"/>
                <a:sym typeface="Droid Sans" charset="0"/>
              </a:rPr>
              <a:t>Introducción</a:t>
            </a:r>
          </a:p>
        </p:txBody>
      </p:sp>
      <p:sp>
        <p:nvSpPr>
          <p:cNvPr id="7" name="26 Marcador de contenido"/>
          <p:cNvSpPr>
            <a:spLocks noGrp="1"/>
          </p:cNvSpPr>
          <p:nvPr>
            <p:ph sz="quarter" idx="26" hasCustomPrompt="1"/>
          </p:nvPr>
        </p:nvSpPr>
        <p:spPr>
          <a:xfrm>
            <a:off x="1192823" y="863255"/>
            <a:ext cx="8988270" cy="225425"/>
          </a:xfrm>
        </p:spPr>
        <p:txBody>
          <a:bodyPr anchor="ctr">
            <a:noAutofit/>
          </a:bodyPr>
          <a:lstStyle>
            <a:lvl1pPr marL="144000">
              <a:defRPr sz="1000" cap="all" spc="300" baseline="0">
                <a:solidFill>
                  <a:schemeClr val="tx1"/>
                </a:solidFill>
              </a:defRPr>
            </a:lvl1pPr>
            <a:lvl7pPr>
              <a:defRPr>
                <a:solidFill>
                  <a:schemeClr val="tx1">
                    <a:lumMod val="50000"/>
                    <a:lumOff val="50000"/>
                  </a:schemeClr>
                </a:solidFill>
              </a:defRPr>
            </a:lvl7pPr>
          </a:lstStyle>
          <a:p>
            <a:pPr lvl="0"/>
            <a:r>
              <a:rPr lang="es-ES"/>
              <a:t>Subtítulo</a:t>
            </a:r>
            <a:endParaRPr lang="en-US"/>
          </a:p>
        </p:txBody>
      </p:sp>
      <p:sp>
        <p:nvSpPr>
          <p:cNvPr id="2" name="Marcador de número de diapositiva 1"/>
          <p:cNvSpPr>
            <a:spLocks noGrp="1"/>
          </p:cNvSpPr>
          <p:nvPr>
            <p:ph type="sldNum" sz="quarter" idx="27"/>
          </p:nvPr>
        </p:nvSpPr>
        <p:spPr/>
        <p:txBody>
          <a:bodyPr/>
          <a:lstStyle/>
          <a:p>
            <a:pPr marL="7938" algn="ctr" fontAlgn="base">
              <a:spcAft>
                <a:spcPct val="0"/>
              </a:spcAft>
              <a:buClr>
                <a:srgbClr val="505150"/>
              </a:buClr>
              <a:buSzPct val="88000"/>
            </a:pPr>
            <a:fld id="{B90C96D8-0395-4AF3-8A78-0E88AEC6FB3C}" type="slidenum">
              <a:rPr lang="es-ES" smtClean="0"/>
              <a:pPr marL="7938" algn="ctr" fontAlgn="base">
                <a:spcAft>
                  <a:spcPct val="0"/>
                </a:spcAft>
                <a:buClr>
                  <a:srgbClr val="505150"/>
                </a:buClr>
                <a:buSzPct val="88000"/>
              </a:pPr>
              <a:t>‹Nº›</a:t>
            </a:fld>
            <a:endParaRPr lang="es-ES"/>
          </a:p>
        </p:txBody>
      </p:sp>
      <p:sp>
        <p:nvSpPr>
          <p:cNvPr id="8" name="Shape 3706"/>
          <p:cNvSpPr/>
          <p:nvPr userDrawn="1"/>
        </p:nvSpPr>
        <p:spPr>
          <a:xfrm>
            <a:off x="433332" y="442971"/>
            <a:ext cx="450869" cy="366331"/>
          </a:xfrm>
          <a:custGeom>
            <a:avLst/>
            <a:gdLst/>
            <a:ahLst/>
            <a:cxnLst>
              <a:cxn ang="0">
                <a:pos x="wd2" y="hd2"/>
              </a:cxn>
              <a:cxn ang="5400000">
                <a:pos x="wd2" y="hd2"/>
              </a:cxn>
              <a:cxn ang="10800000">
                <a:pos x="wd2" y="hd2"/>
              </a:cxn>
              <a:cxn ang="16200000">
                <a:pos x="wd2" y="hd2"/>
              </a:cxn>
            </a:cxnLst>
            <a:rect l="0" t="0" r="r" b="b"/>
            <a:pathLst>
              <a:path w="21600" h="21600" extrusionOk="0">
                <a:moveTo>
                  <a:pt x="12144" y="18334"/>
                </a:moveTo>
                <a:lnTo>
                  <a:pt x="15583" y="6873"/>
                </a:lnTo>
                <a:lnTo>
                  <a:pt x="20168" y="6873"/>
                </a:lnTo>
                <a:cubicBezTo>
                  <a:pt x="20168" y="6873"/>
                  <a:pt x="12144" y="18334"/>
                  <a:pt x="12144" y="18334"/>
                </a:cubicBezTo>
                <a:close/>
                <a:moveTo>
                  <a:pt x="10800" y="19402"/>
                </a:moveTo>
                <a:lnTo>
                  <a:pt x="7041" y="6873"/>
                </a:lnTo>
                <a:lnTo>
                  <a:pt x="14559" y="6873"/>
                </a:lnTo>
                <a:cubicBezTo>
                  <a:pt x="14559" y="6873"/>
                  <a:pt x="10800" y="19402"/>
                  <a:pt x="10800" y="19402"/>
                </a:cubicBezTo>
                <a:close/>
                <a:moveTo>
                  <a:pt x="1432" y="6873"/>
                </a:moveTo>
                <a:lnTo>
                  <a:pt x="6017" y="6873"/>
                </a:lnTo>
                <a:lnTo>
                  <a:pt x="9456" y="18334"/>
                </a:lnTo>
                <a:cubicBezTo>
                  <a:pt x="9456" y="18334"/>
                  <a:pt x="1432" y="6873"/>
                  <a:pt x="1432" y="6873"/>
                </a:cubicBezTo>
                <a:close/>
                <a:moveTo>
                  <a:pt x="6578" y="982"/>
                </a:moveTo>
                <a:lnTo>
                  <a:pt x="8536" y="982"/>
                </a:lnTo>
                <a:lnTo>
                  <a:pt x="6082" y="5891"/>
                </a:lnTo>
                <a:lnTo>
                  <a:pt x="1669" y="5891"/>
                </a:lnTo>
                <a:cubicBezTo>
                  <a:pt x="1669" y="5891"/>
                  <a:pt x="6578" y="982"/>
                  <a:pt x="6578" y="982"/>
                </a:cubicBezTo>
                <a:close/>
                <a:moveTo>
                  <a:pt x="11973" y="982"/>
                </a:moveTo>
                <a:lnTo>
                  <a:pt x="14427" y="5891"/>
                </a:lnTo>
                <a:lnTo>
                  <a:pt x="7173" y="5891"/>
                </a:lnTo>
                <a:lnTo>
                  <a:pt x="9627" y="982"/>
                </a:lnTo>
                <a:cubicBezTo>
                  <a:pt x="9627" y="982"/>
                  <a:pt x="11973" y="982"/>
                  <a:pt x="11973" y="982"/>
                </a:cubicBezTo>
                <a:close/>
                <a:moveTo>
                  <a:pt x="15022" y="982"/>
                </a:moveTo>
                <a:lnTo>
                  <a:pt x="19931" y="5891"/>
                </a:lnTo>
                <a:lnTo>
                  <a:pt x="15518" y="5891"/>
                </a:lnTo>
                <a:lnTo>
                  <a:pt x="13064" y="982"/>
                </a:lnTo>
                <a:cubicBezTo>
                  <a:pt x="13064" y="982"/>
                  <a:pt x="15022" y="982"/>
                  <a:pt x="15022" y="982"/>
                </a:cubicBezTo>
                <a:close/>
                <a:moveTo>
                  <a:pt x="21600" y="6382"/>
                </a:moveTo>
                <a:cubicBezTo>
                  <a:pt x="21600" y="6272"/>
                  <a:pt x="21557" y="6175"/>
                  <a:pt x="21495" y="6093"/>
                </a:cubicBezTo>
                <a:lnTo>
                  <a:pt x="21502" y="6087"/>
                </a:lnTo>
                <a:lnTo>
                  <a:pt x="21471" y="6057"/>
                </a:lnTo>
                <a:cubicBezTo>
                  <a:pt x="21459" y="6043"/>
                  <a:pt x="21448" y="6032"/>
                  <a:pt x="21434" y="6020"/>
                </a:cubicBezTo>
                <a:lnTo>
                  <a:pt x="15611" y="197"/>
                </a:lnTo>
                <a:lnTo>
                  <a:pt x="15604" y="201"/>
                </a:lnTo>
                <a:cubicBezTo>
                  <a:pt x="15514" y="82"/>
                  <a:pt x="15379" y="0"/>
                  <a:pt x="15218" y="0"/>
                </a:cubicBezTo>
                <a:lnTo>
                  <a:pt x="6382" y="0"/>
                </a:lnTo>
                <a:cubicBezTo>
                  <a:pt x="6221" y="0"/>
                  <a:pt x="6086" y="82"/>
                  <a:pt x="5996" y="201"/>
                </a:cubicBezTo>
                <a:lnTo>
                  <a:pt x="5989" y="197"/>
                </a:lnTo>
                <a:lnTo>
                  <a:pt x="166" y="6020"/>
                </a:lnTo>
                <a:cubicBezTo>
                  <a:pt x="152" y="6032"/>
                  <a:pt x="141" y="6043"/>
                  <a:pt x="129" y="6057"/>
                </a:cubicBezTo>
                <a:lnTo>
                  <a:pt x="98" y="6087"/>
                </a:lnTo>
                <a:lnTo>
                  <a:pt x="105" y="6093"/>
                </a:lnTo>
                <a:cubicBezTo>
                  <a:pt x="43" y="6175"/>
                  <a:pt x="0" y="6272"/>
                  <a:pt x="0" y="6382"/>
                </a:cubicBezTo>
                <a:cubicBezTo>
                  <a:pt x="0" y="6499"/>
                  <a:pt x="46" y="6601"/>
                  <a:pt x="115" y="6686"/>
                </a:cubicBezTo>
                <a:lnTo>
                  <a:pt x="109" y="6691"/>
                </a:lnTo>
                <a:lnTo>
                  <a:pt x="10418" y="21418"/>
                </a:lnTo>
                <a:lnTo>
                  <a:pt x="10424" y="21413"/>
                </a:lnTo>
                <a:cubicBezTo>
                  <a:pt x="10514" y="21525"/>
                  <a:pt x="10646" y="21600"/>
                  <a:pt x="10800" y="21600"/>
                </a:cubicBezTo>
                <a:cubicBezTo>
                  <a:pt x="10954" y="21600"/>
                  <a:pt x="11086" y="21525"/>
                  <a:pt x="11176" y="21413"/>
                </a:cubicBezTo>
                <a:lnTo>
                  <a:pt x="11182" y="21418"/>
                </a:lnTo>
                <a:lnTo>
                  <a:pt x="21491" y="6691"/>
                </a:lnTo>
                <a:lnTo>
                  <a:pt x="21485" y="6686"/>
                </a:lnTo>
                <a:cubicBezTo>
                  <a:pt x="21553" y="6601"/>
                  <a:pt x="21600" y="6499"/>
                  <a:pt x="21600" y="6382"/>
                </a:cubicBezTo>
              </a:path>
            </a:pathLst>
          </a:custGeom>
          <a:solidFill>
            <a:schemeClr val="tx1"/>
          </a:solidFill>
          <a:ln w="12700">
            <a:miter lim="400000"/>
          </a:ln>
        </p:spPr>
        <p:txBody>
          <a:bodyPr lIns="38100" tIns="38100" rIns="38100" bIns="38100" anchor="ctr"/>
          <a:lstStyle/>
          <a:p>
            <a:endParaRPr sz="1800">
              <a:solidFill>
                <a:prstClr val="black"/>
              </a:solidFill>
            </a:endParaRPr>
          </a:p>
        </p:txBody>
      </p:sp>
    </p:spTree>
    <p:extLst>
      <p:ext uri="{BB962C8B-B14F-4D97-AF65-F5344CB8AC3E}">
        <p14:creationId xmlns:p14="http://schemas.microsoft.com/office/powerpoint/2010/main" val="1061725368"/>
      </p:ext>
    </p:extLst>
  </p:cSld>
  <p:clrMapOvr>
    <a:masterClrMapping/>
  </p:clrMapOvr>
  <p:transition spd="slow"/>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emplate Propuesta 2022 - Gestión y Calidad del Proyecto">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50040F2E-A856-F74D-B747-8F63180F396D}"/>
              </a:ext>
            </a:extLst>
          </p:cNvPr>
          <p:cNvSpPr>
            <a:spLocks noGrp="1"/>
          </p:cNvSpPr>
          <p:nvPr>
            <p:ph type="title"/>
          </p:nvPr>
        </p:nvSpPr>
        <p:spPr>
          <a:xfrm>
            <a:off x="1138892" y="36122"/>
            <a:ext cx="10610449" cy="276999"/>
          </a:xfrm>
        </p:spPr>
        <p:txBody>
          <a:bodyPr wrap="square" lIns="0" anchor="t">
            <a:noAutofit/>
          </a:bodyPr>
          <a:lstStyle>
            <a:lvl1pPr>
              <a:defRPr lang="es-ES_tradnl" cap="all" baseline="0" noProof="0" dirty="0"/>
            </a:lvl1pPr>
          </a:lstStyle>
          <a:p>
            <a:pPr lvl="0"/>
            <a:r>
              <a:rPr lang="es-ES_tradnl" noProof="0"/>
              <a:t>Haga clic para modificar el estilo de título del patrón</a:t>
            </a:r>
          </a:p>
        </p:txBody>
      </p:sp>
      <p:sp>
        <p:nvSpPr>
          <p:cNvPr id="7" name="Marcador de texto 5">
            <a:extLst>
              <a:ext uri="{FF2B5EF4-FFF2-40B4-BE49-F238E27FC236}">
                <a16:creationId xmlns:a16="http://schemas.microsoft.com/office/drawing/2014/main" id="{CC6303D6-D0FC-984A-8419-A50470327A59}"/>
              </a:ext>
            </a:extLst>
          </p:cNvPr>
          <p:cNvSpPr>
            <a:spLocks noGrp="1"/>
          </p:cNvSpPr>
          <p:nvPr>
            <p:ph type="body" sz="quarter" idx="10"/>
          </p:nvPr>
        </p:nvSpPr>
        <p:spPr>
          <a:xfrm>
            <a:off x="442659" y="671500"/>
            <a:ext cx="11306682" cy="5741999"/>
          </a:xfrm>
        </p:spPr>
        <p:txBody>
          <a:bodyPr/>
          <a:lstStyle/>
          <a:p>
            <a:pPr lvl="0"/>
            <a:r>
              <a:rPr lang="es-ES_tradnl" noProof="0"/>
              <a:t>Haga clic para modificar los estilos de texto del patrón</a:t>
            </a:r>
          </a:p>
          <a:p>
            <a:pPr lvl="1"/>
            <a:r>
              <a:rPr lang="es-ES_tradnl" noProof="0"/>
              <a:t>Segundo nivel</a:t>
            </a:r>
          </a:p>
          <a:p>
            <a:pPr lvl="2"/>
            <a:r>
              <a:rPr lang="es-ES_tradnl" noProof="0"/>
              <a:t>Tercer nivel</a:t>
            </a:r>
          </a:p>
          <a:p>
            <a:pPr lvl="3"/>
            <a:r>
              <a:rPr lang="es-ES_tradnl" noProof="0"/>
              <a:t>Cuarto nivel</a:t>
            </a:r>
          </a:p>
          <a:p>
            <a:pPr lvl="4"/>
            <a:r>
              <a:rPr lang="es-ES_tradnl" noProof="0"/>
              <a:t>Quinto nivel</a:t>
            </a:r>
          </a:p>
        </p:txBody>
      </p:sp>
      <p:sp>
        <p:nvSpPr>
          <p:cNvPr id="4" name="Marcador de texto 4">
            <a:extLst>
              <a:ext uri="{FF2B5EF4-FFF2-40B4-BE49-F238E27FC236}">
                <a16:creationId xmlns:a16="http://schemas.microsoft.com/office/drawing/2014/main" id="{DED7AFAC-0516-FB48-9E02-44CC62A80883}"/>
              </a:ext>
            </a:extLst>
          </p:cNvPr>
          <p:cNvSpPr>
            <a:spLocks noGrp="1"/>
          </p:cNvSpPr>
          <p:nvPr>
            <p:ph type="body" sz="quarter" idx="11"/>
          </p:nvPr>
        </p:nvSpPr>
        <p:spPr>
          <a:xfrm>
            <a:off x="1138639" y="290195"/>
            <a:ext cx="10610449" cy="217488"/>
          </a:xfrm>
        </p:spPr>
        <p:txBody>
          <a:bodyPr/>
          <a:lstStyle>
            <a:lvl1pPr>
              <a:defRPr sz="1200">
                <a:solidFill>
                  <a:schemeClr val="tx2"/>
                </a:solidFill>
              </a:defRPr>
            </a:lvl1pPr>
          </a:lstStyle>
          <a:p>
            <a:pPr lvl="0"/>
            <a:r>
              <a:rPr lang="es-ES_tradnl" noProof="0"/>
              <a:t>Haga clic para modificar los estilos de texto del patrón</a:t>
            </a:r>
          </a:p>
        </p:txBody>
      </p:sp>
      <p:sp>
        <p:nvSpPr>
          <p:cNvPr id="9" name="Rectángulo 8">
            <a:extLst>
              <a:ext uri="{FF2B5EF4-FFF2-40B4-BE49-F238E27FC236}">
                <a16:creationId xmlns:a16="http://schemas.microsoft.com/office/drawing/2014/main" id="{9D31E6A8-7FC5-D346-B913-27F3CB84C0BF}"/>
              </a:ext>
            </a:extLst>
          </p:cNvPr>
          <p:cNvSpPr/>
          <p:nvPr userDrawn="1"/>
        </p:nvSpPr>
        <p:spPr bwMode="auto">
          <a:xfrm>
            <a:off x="596159" y="67814"/>
            <a:ext cx="405613" cy="405613"/>
          </a:xfrm>
          <a:prstGeom prst="rect">
            <a:avLst/>
          </a:prstGeom>
          <a:solidFill>
            <a:schemeClr val="bg1"/>
          </a:solidFill>
          <a:ln w="25400" cap="flat">
            <a:solidFill>
              <a:schemeClr val="accent5"/>
            </a:solidFill>
            <a:miter lim="800000"/>
          </a:ln>
        </p:spPr>
        <p:txBody>
          <a:bodyPr lIns="0" tIns="0" rIns="0" bIns="0" rtlCol="0" anchor="ctr">
            <a:noAutofit/>
          </a:bodyPr>
          <a:lstStyle/>
          <a:p>
            <a:pPr algn="ctr"/>
            <a:endParaRPr lang="es-ES_tradnl" sz="1400" noProof="0"/>
          </a:p>
        </p:txBody>
      </p:sp>
      <p:sp>
        <p:nvSpPr>
          <p:cNvPr id="12" name="Forma libre 11">
            <a:extLst>
              <a:ext uri="{FF2B5EF4-FFF2-40B4-BE49-F238E27FC236}">
                <a16:creationId xmlns:a16="http://schemas.microsoft.com/office/drawing/2014/main" id="{96B7EC79-F112-D949-9D97-856C882E6945}"/>
              </a:ext>
            </a:extLst>
          </p:cNvPr>
          <p:cNvSpPr/>
          <p:nvPr userDrawn="1"/>
        </p:nvSpPr>
        <p:spPr>
          <a:xfrm>
            <a:off x="632143" y="103798"/>
            <a:ext cx="333644" cy="333644"/>
          </a:xfrm>
          <a:custGeom>
            <a:avLst/>
            <a:gdLst>
              <a:gd name="connsiteX0" fmla="*/ 3023540 w 6502400"/>
              <a:gd name="connsiteY0" fmla="*/ 5623077 h 6502399"/>
              <a:gd name="connsiteX1" fmla="*/ 2986380 w 6502400"/>
              <a:gd name="connsiteY1" fmla="*/ 6047079 h 6502399"/>
              <a:gd name="connsiteX2" fmla="*/ 3251200 w 6502400"/>
              <a:gd name="connsiteY2" fmla="*/ 6311899 h 6502399"/>
              <a:gd name="connsiteX3" fmla="*/ 3516020 w 6502400"/>
              <a:gd name="connsiteY3" fmla="*/ 6047079 h 6502399"/>
              <a:gd name="connsiteX4" fmla="*/ 3478860 w 6502400"/>
              <a:gd name="connsiteY4" fmla="*/ 5623077 h 6502399"/>
              <a:gd name="connsiteX5" fmla="*/ 3476473 w 6502400"/>
              <a:gd name="connsiteY5" fmla="*/ 5623267 h 6502399"/>
              <a:gd name="connsiteX6" fmla="*/ 3027413 w 6502400"/>
              <a:gd name="connsiteY6" fmla="*/ 5623369 h 6502399"/>
              <a:gd name="connsiteX7" fmla="*/ 3023540 w 6502400"/>
              <a:gd name="connsiteY7" fmla="*/ 5623077 h 6502399"/>
              <a:gd name="connsiteX8" fmla="*/ 1413866 w 6502400"/>
              <a:gd name="connsiteY8" fmla="*/ 4766817 h 6502399"/>
              <a:gd name="connsiteX9" fmla="*/ 1086941 w 6502400"/>
              <a:gd name="connsiteY9" fmla="*/ 5040909 h 6502399"/>
              <a:gd name="connsiteX10" fmla="*/ 1086941 w 6502400"/>
              <a:gd name="connsiteY10" fmla="*/ 5415457 h 6502399"/>
              <a:gd name="connsiteX11" fmla="*/ 1461491 w 6502400"/>
              <a:gd name="connsiteY11" fmla="*/ 5415457 h 6502399"/>
              <a:gd name="connsiteX12" fmla="*/ 1735582 w 6502400"/>
              <a:gd name="connsiteY12" fmla="*/ 5088483 h 6502399"/>
              <a:gd name="connsiteX13" fmla="*/ 1413866 w 6502400"/>
              <a:gd name="connsiteY13" fmla="*/ 4766817 h 6502399"/>
              <a:gd name="connsiteX14" fmla="*/ 5088382 w 6502400"/>
              <a:gd name="connsiteY14" fmla="*/ 4766767 h 6502399"/>
              <a:gd name="connsiteX15" fmla="*/ 5082680 w 6502400"/>
              <a:gd name="connsiteY15" fmla="*/ 4773510 h 6502399"/>
              <a:gd name="connsiteX16" fmla="*/ 4772470 w 6502400"/>
              <a:gd name="connsiteY16" fmla="*/ 5083568 h 6502399"/>
              <a:gd name="connsiteX17" fmla="*/ 4766767 w 6502400"/>
              <a:gd name="connsiteY17" fmla="*/ 5088432 h 6502399"/>
              <a:gd name="connsiteX18" fmla="*/ 5040910 w 6502400"/>
              <a:gd name="connsiteY18" fmla="*/ 5415457 h 6502399"/>
              <a:gd name="connsiteX19" fmla="*/ 5415458 w 6502400"/>
              <a:gd name="connsiteY19" fmla="*/ 5415457 h 6502399"/>
              <a:gd name="connsiteX20" fmla="*/ 5415458 w 6502400"/>
              <a:gd name="connsiteY20" fmla="*/ 5040909 h 6502399"/>
              <a:gd name="connsiteX21" fmla="*/ 5088382 w 6502400"/>
              <a:gd name="connsiteY21" fmla="*/ 4766767 h 6502399"/>
              <a:gd name="connsiteX22" fmla="*/ 3537101 w 6502400"/>
              <a:gd name="connsiteY22" fmla="*/ 3941368 h 6502399"/>
              <a:gd name="connsiteX23" fmla="*/ 3537101 w 6502400"/>
              <a:gd name="connsiteY23" fmla="*/ 4652213 h 6502399"/>
              <a:gd name="connsiteX24" fmla="*/ 4039247 w 6502400"/>
              <a:gd name="connsiteY24" fmla="*/ 4443564 h 6502399"/>
              <a:gd name="connsiteX25" fmla="*/ 2965297 w 6502400"/>
              <a:gd name="connsiteY25" fmla="*/ 3941368 h 6502399"/>
              <a:gd name="connsiteX26" fmla="*/ 2463151 w 6502400"/>
              <a:gd name="connsiteY26" fmla="*/ 4443564 h 6502399"/>
              <a:gd name="connsiteX27" fmla="*/ 2965297 w 6502400"/>
              <a:gd name="connsiteY27" fmla="*/ 4652264 h 6502399"/>
              <a:gd name="connsiteX28" fmla="*/ 3155797 w 6502400"/>
              <a:gd name="connsiteY28" fmla="*/ 3847261 h 6502399"/>
              <a:gd name="connsiteX29" fmla="*/ 3155797 w 6502400"/>
              <a:gd name="connsiteY29" fmla="*/ 4677714 h 6502399"/>
              <a:gd name="connsiteX30" fmla="*/ 3340696 w 6502400"/>
              <a:gd name="connsiteY30" fmla="*/ 4678565 h 6502399"/>
              <a:gd name="connsiteX31" fmla="*/ 3346601 w 6502400"/>
              <a:gd name="connsiteY31" fmla="*/ 4677714 h 6502399"/>
              <a:gd name="connsiteX32" fmla="*/ 3346601 w 6502400"/>
              <a:gd name="connsiteY32" fmla="*/ 3847261 h 6502399"/>
              <a:gd name="connsiteX33" fmla="*/ 3290734 w 6502400"/>
              <a:gd name="connsiteY33" fmla="*/ 3853357 h 6502399"/>
              <a:gd name="connsiteX34" fmla="*/ 3155797 w 6502400"/>
              <a:gd name="connsiteY34" fmla="*/ 3847261 h 6502399"/>
              <a:gd name="connsiteX35" fmla="*/ 3740251 w 6502400"/>
              <a:gd name="connsiteY35" fmla="*/ 3605364 h 6502399"/>
              <a:gd name="connsiteX36" fmla="*/ 3605364 w 6502400"/>
              <a:gd name="connsiteY36" fmla="*/ 3740251 h 6502399"/>
              <a:gd name="connsiteX37" fmla="*/ 4191939 w 6502400"/>
              <a:gd name="connsiteY37" fmla="*/ 4326877 h 6502399"/>
              <a:gd name="connsiteX38" fmla="*/ 4326826 w 6502400"/>
              <a:gd name="connsiteY38" fmla="*/ 4191990 h 6502399"/>
              <a:gd name="connsiteX39" fmla="*/ 2762148 w 6502400"/>
              <a:gd name="connsiteY39" fmla="*/ 3605364 h 6502399"/>
              <a:gd name="connsiteX40" fmla="*/ 2175572 w 6502400"/>
              <a:gd name="connsiteY40" fmla="*/ 4191939 h 6502399"/>
              <a:gd name="connsiteX41" fmla="*/ 2310459 w 6502400"/>
              <a:gd name="connsiteY41" fmla="*/ 4326826 h 6502399"/>
              <a:gd name="connsiteX42" fmla="*/ 2897034 w 6502400"/>
              <a:gd name="connsiteY42" fmla="*/ 3740251 h 6502399"/>
              <a:gd name="connsiteX43" fmla="*/ 2762148 w 6502400"/>
              <a:gd name="connsiteY43" fmla="*/ 3605364 h 6502399"/>
              <a:gd name="connsiteX44" fmla="*/ 3941368 w 6502400"/>
              <a:gd name="connsiteY44" fmla="*/ 3537102 h 6502399"/>
              <a:gd name="connsiteX45" fmla="*/ 4443564 w 6502400"/>
              <a:gd name="connsiteY45" fmla="*/ 4039298 h 6502399"/>
              <a:gd name="connsiteX46" fmla="*/ 4652213 w 6502400"/>
              <a:gd name="connsiteY46" fmla="*/ 3537102 h 6502399"/>
              <a:gd name="connsiteX47" fmla="*/ 1850186 w 6502400"/>
              <a:gd name="connsiteY47" fmla="*/ 3537102 h 6502399"/>
              <a:gd name="connsiteX48" fmla="*/ 2058834 w 6502400"/>
              <a:gd name="connsiteY48" fmla="*/ 4039247 h 6502399"/>
              <a:gd name="connsiteX49" fmla="*/ 2561030 w 6502400"/>
              <a:gd name="connsiteY49" fmla="*/ 3537102 h 6502399"/>
              <a:gd name="connsiteX50" fmla="*/ 3847261 w 6502400"/>
              <a:gd name="connsiteY50" fmla="*/ 3155848 h 6502399"/>
              <a:gd name="connsiteX51" fmla="*/ 3848442 w 6502400"/>
              <a:gd name="connsiteY51" fmla="*/ 3338220 h 6502399"/>
              <a:gd name="connsiteX52" fmla="*/ 3847261 w 6502400"/>
              <a:gd name="connsiteY52" fmla="*/ 3346602 h 6502399"/>
              <a:gd name="connsiteX53" fmla="*/ 4677714 w 6502400"/>
              <a:gd name="connsiteY53" fmla="*/ 3346602 h 6502399"/>
              <a:gd name="connsiteX54" fmla="*/ 4680203 w 6502400"/>
              <a:gd name="connsiteY54" fmla="*/ 3295002 h 6502399"/>
              <a:gd name="connsiteX55" fmla="*/ 4677714 w 6502400"/>
              <a:gd name="connsiteY55" fmla="*/ 3155848 h 6502399"/>
              <a:gd name="connsiteX56" fmla="*/ 1824684 w 6502400"/>
              <a:gd name="connsiteY56" fmla="*/ 3155797 h 6502399"/>
              <a:gd name="connsiteX57" fmla="*/ 1821458 w 6502400"/>
              <a:gd name="connsiteY57" fmla="*/ 3251199 h 6502399"/>
              <a:gd name="connsiteX58" fmla="*/ 1824684 w 6502400"/>
              <a:gd name="connsiteY58" fmla="*/ 3346602 h 6502399"/>
              <a:gd name="connsiteX59" fmla="*/ 2655137 w 6502400"/>
              <a:gd name="connsiteY59" fmla="*/ 3346602 h 6502399"/>
              <a:gd name="connsiteX60" fmla="*/ 2648292 w 6502400"/>
              <a:gd name="connsiteY60" fmla="*/ 3279381 h 6502399"/>
              <a:gd name="connsiteX61" fmla="*/ 2655137 w 6502400"/>
              <a:gd name="connsiteY61" fmla="*/ 3155797 h 6502399"/>
              <a:gd name="connsiteX62" fmla="*/ 6047080 w 6502400"/>
              <a:gd name="connsiteY62" fmla="*/ 2986380 h 6502399"/>
              <a:gd name="connsiteX63" fmla="*/ 5623077 w 6502400"/>
              <a:gd name="connsiteY63" fmla="*/ 3023540 h 6502399"/>
              <a:gd name="connsiteX64" fmla="*/ 5623319 w 6502400"/>
              <a:gd name="connsiteY64" fmla="*/ 3026867 h 6502399"/>
              <a:gd name="connsiteX65" fmla="*/ 5631015 w 6502400"/>
              <a:gd name="connsiteY65" fmla="*/ 3368827 h 6502399"/>
              <a:gd name="connsiteX66" fmla="*/ 5623128 w 6502400"/>
              <a:gd name="connsiteY66" fmla="*/ 3478860 h 6502399"/>
              <a:gd name="connsiteX67" fmla="*/ 6047080 w 6502400"/>
              <a:gd name="connsiteY67" fmla="*/ 3516020 h 6502399"/>
              <a:gd name="connsiteX68" fmla="*/ 6311900 w 6502400"/>
              <a:gd name="connsiteY68" fmla="*/ 3251200 h 6502399"/>
              <a:gd name="connsiteX69" fmla="*/ 6047080 w 6502400"/>
              <a:gd name="connsiteY69" fmla="*/ 2986380 h 6502399"/>
              <a:gd name="connsiteX70" fmla="*/ 455315 w 6502400"/>
              <a:gd name="connsiteY70" fmla="*/ 2986379 h 6502399"/>
              <a:gd name="connsiteX71" fmla="*/ 190500 w 6502400"/>
              <a:gd name="connsiteY71" fmla="*/ 3251199 h 6502399"/>
              <a:gd name="connsiteX72" fmla="*/ 455315 w 6502400"/>
              <a:gd name="connsiteY72" fmla="*/ 3516020 h 6502399"/>
              <a:gd name="connsiteX73" fmla="*/ 879326 w 6502400"/>
              <a:gd name="connsiteY73" fmla="*/ 3478860 h 6502399"/>
              <a:gd name="connsiteX74" fmla="*/ 873521 w 6502400"/>
              <a:gd name="connsiteY74" fmla="*/ 3120974 h 6502399"/>
              <a:gd name="connsiteX75" fmla="*/ 879326 w 6502400"/>
              <a:gd name="connsiteY75" fmla="*/ 3023539 h 6502399"/>
              <a:gd name="connsiteX76" fmla="*/ 455315 w 6502400"/>
              <a:gd name="connsiteY76" fmla="*/ 2986379 h 6502399"/>
              <a:gd name="connsiteX77" fmla="*/ 3245318 w 6502400"/>
              <a:gd name="connsiteY77" fmla="*/ 2838530 h 6502399"/>
              <a:gd name="connsiteX78" fmla="*/ 3150844 w 6502400"/>
              <a:gd name="connsiteY78" fmla="*/ 2851404 h 6502399"/>
              <a:gd name="connsiteX79" fmla="*/ 2839440 w 6502400"/>
              <a:gd name="connsiteY79" fmla="*/ 3283839 h 6502399"/>
              <a:gd name="connsiteX80" fmla="*/ 3250259 w 6502400"/>
              <a:gd name="connsiteY80" fmla="*/ 3664242 h 6502399"/>
              <a:gd name="connsiteX81" fmla="*/ 3251199 w 6502400"/>
              <a:gd name="connsiteY81" fmla="*/ 3664292 h 6502399"/>
              <a:gd name="connsiteX82" fmla="*/ 3252139 w 6502400"/>
              <a:gd name="connsiteY82" fmla="*/ 3664242 h 6502399"/>
              <a:gd name="connsiteX83" fmla="*/ 3664292 w 6502400"/>
              <a:gd name="connsiteY83" fmla="*/ 3251250 h 6502399"/>
              <a:gd name="connsiteX84" fmla="*/ 3245318 w 6502400"/>
              <a:gd name="connsiteY84" fmla="*/ 2838530 h 6502399"/>
              <a:gd name="connsiteX85" fmla="*/ 4443564 w 6502400"/>
              <a:gd name="connsiteY85" fmla="*/ 2463152 h 6502399"/>
              <a:gd name="connsiteX86" fmla="*/ 3941368 w 6502400"/>
              <a:gd name="connsiteY86" fmla="*/ 2965297 h 6502399"/>
              <a:gd name="connsiteX87" fmla="*/ 4652213 w 6502400"/>
              <a:gd name="connsiteY87" fmla="*/ 2965297 h 6502399"/>
              <a:gd name="connsiteX88" fmla="*/ 4443564 w 6502400"/>
              <a:gd name="connsiteY88" fmla="*/ 2463152 h 6502399"/>
              <a:gd name="connsiteX89" fmla="*/ 2058834 w 6502400"/>
              <a:gd name="connsiteY89" fmla="*/ 2463152 h 6502399"/>
              <a:gd name="connsiteX90" fmla="*/ 1850186 w 6502400"/>
              <a:gd name="connsiteY90" fmla="*/ 2965297 h 6502399"/>
              <a:gd name="connsiteX91" fmla="*/ 2561030 w 6502400"/>
              <a:gd name="connsiteY91" fmla="*/ 2965297 h 6502399"/>
              <a:gd name="connsiteX92" fmla="*/ 1075955 w 6502400"/>
              <a:gd name="connsiteY92" fmla="*/ 2426397 h 6502399"/>
              <a:gd name="connsiteX93" fmla="*/ 1113483 w 6502400"/>
              <a:gd name="connsiteY93" fmla="*/ 2431160 h 6502399"/>
              <a:gd name="connsiteX94" fmla="*/ 1173311 w 6502400"/>
              <a:gd name="connsiteY94" fmla="*/ 2551861 h 6502399"/>
              <a:gd name="connsiteX95" fmla="*/ 1063427 w 6502400"/>
              <a:gd name="connsiteY95" fmla="*/ 3390696 h 6502399"/>
              <a:gd name="connsiteX96" fmla="*/ 1078409 w 6502400"/>
              <a:gd name="connsiteY96" fmla="*/ 3543198 h 6502399"/>
              <a:gd name="connsiteX97" fmla="*/ 2959049 w 6502400"/>
              <a:gd name="connsiteY97" fmla="*/ 5423992 h 6502399"/>
              <a:gd name="connsiteX98" fmla="*/ 5213642 w 6502400"/>
              <a:gd name="connsiteY98" fmla="*/ 4227613 h 6502399"/>
              <a:gd name="connsiteX99" fmla="*/ 5341442 w 6502400"/>
              <a:gd name="connsiteY99" fmla="*/ 4184992 h 6502399"/>
              <a:gd name="connsiteX100" fmla="*/ 5384051 w 6502400"/>
              <a:gd name="connsiteY100" fmla="*/ 4312742 h 6502399"/>
              <a:gd name="connsiteX101" fmla="*/ 5203622 w 6502400"/>
              <a:gd name="connsiteY101" fmla="*/ 4615154 h 6502399"/>
              <a:gd name="connsiteX102" fmla="*/ 5550154 w 6502400"/>
              <a:gd name="connsiteY102" fmla="*/ 4906213 h 6502399"/>
              <a:gd name="connsiteX103" fmla="*/ 5550154 w 6502400"/>
              <a:gd name="connsiteY103" fmla="*/ 5550153 h 6502399"/>
              <a:gd name="connsiteX104" fmla="*/ 4906214 w 6502400"/>
              <a:gd name="connsiteY104" fmla="*/ 5550153 h 6502399"/>
              <a:gd name="connsiteX105" fmla="*/ 4615155 w 6502400"/>
              <a:gd name="connsiteY105" fmla="*/ 5203571 h 6502399"/>
              <a:gd name="connsiteX106" fmla="*/ 4520946 w 6502400"/>
              <a:gd name="connsiteY106" fmla="*/ 5266728 h 6502399"/>
              <a:gd name="connsiteX107" fmla="*/ 3667519 w 6502400"/>
              <a:gd name="connsiteY107" fmla="*/ 5597423 h 6502399"/>
              <a:gd name="connsiteX108" fmla="*/ 3706520 w 6502400"/>
              <a:gd name="connsiteY108" fmla="*/ 6047079 h 6502399"/>
              <a:gd name="connsiteX109" fmla="*/ 3251200 w 6502400"/>
              <a:gd name="connsiteY109" fmla="*/ 6502399 h 6502399"/>
              <a:gd name="connsiteX110" fmla="*/ 2795880 w 6502400"/>
              <a:gd name="connsiteY110" fmla="*/ 6047079 h 6502399"/>
              <a:gd name="connsiteX111" fmla="*/ 2834881 w 6502400"/>
              <a:gd name="connsiteY111" fmla="*/ 5597524 h 6502399"/>
              <a:gd name="connsiteX112" fmla="*/ 1887144 w 6502400"/>
              <a:gd name="connsiteY112" fmla="*/ 5203774 h 6502399"/>
              <a:gd name="connsiteX113" fmla="*/ 1596187 w 6502400"/>
              <a:gd name="connsiteY113" fmla="*/ 5550153 h 6502399"/>
              <a:gd name="connsiteX114" fmla="*/ 952252 w 6502400"/>
              <a:gd name="connsiteY114" fmla="*/ 5550153 h 6502399"/>
              <a:gd name="connsiteX115" fmla="*/ 952252 w 6502400"/>
              <a:gd name="connsiteY115" fmla="*/ 4906213 h 6502399"/>
              <a:gd name="connsiteX116" fmla="*/ 1298626 w 6502400"/>
              <a:gd name="connsiteY116" fmla="*/ 4615256 h 6502399"/>
              <a:gd name="connsiteX117" fmla="*/ 904875 w 6502400"/>
              <a:gd name="connsiteY117" fmla="*/ 3667518 h 6502399"/>
              <a:gd name="connsiteX118" fmla="*/ 455315 w 6502400"/>
              <a:gd name="connsiteY118" fmla="*/ 3706520 h 6502399"/>
              <a:gd name="connsiteX119" fmla="*/ 0 w 6502400"/>
              <a:gd name="connsiteY119" fmla="*/ 3251199 h 6502399"/>
              <a:gd name="connsiteX120" fmla="*/ 455315 w 6502400"/>
              <a:gd name="connsiteY120" fmla="*/ 2795879 h 6502399"/>
              <a:gd name="connsiteX121" fmla="*/ 904974 w 6502400"/>
              <a:gd name="connsiteY121" fmla="*/ 2834881 h 6502399"/>
              <a:gd name="connsiteX122" fmla="*/ 992783 w 6502400"/>
              <a:gd name="connsiteY122" fmla="*/ 2490939 h 6502399"/>
              <a:gd name="connsiteX123" fmla="*/ 1075955 w 6502400"/>
              <a:gd name="connsiteY123" fmla="*/ 2426397 h 6502399"/>
              <a:gd name="connsiteX124" fmla="*/ 4191939 w 6502400"/>
              <a:gd name="connsiteY124" fmla="*/ 2175573 h 6502399"/>
              <a:gd name="connsiteX125" fmla="*/ 3605364 w 6502400"/>
              <a:gd name="connsiteY125" fmla="*/ 2762148 h 6502399"/>
              <a:gd name="connsiteX126" fmla="*/ 3740251 w 6502400"/>
              <a:gd name="connsiteY126" fmla="*/ 2897035 h 6502399"/>
              <a:gd name="connsiteX127" fmla="*/ 4326826 w 6502400"/>
              <a:gd name="connsiteY127" fmla="*/ 2310460 h 6502399"/>
              <a:gd name="connsiteX128" fmla="*/ 4191939 w 6502400"/>
              <a:gd name="connsiteY128" fmla="*/ 2175573 h 6502399"/>
              <a:gd name="connsiteX129" fmla="*/ 2310459 w 6502400"/>
              <a:gd name="connsiteY129" fmla="*/ 2175573 h 6502399"/>
              <a:gd name="connsiteX130" fmla="*/ 2175572 w 6502400"/>
              <a:gd name="connsiteY130" fmla="*/ 2310460 h 6502399"/>
              <a:gd name="connsiteX131" fmla="*/ 2762148 w 6502400"/>
              <a:gd name="connsiteY131" fmla="*/ 2897035 h 6502399"/>
              <a:gd name="connsiteX132" fmla="*/ 2897034 w 6502400"/>
              <a:gd name="connsiteY132" fmla="*/ 2762148 h 6502399"/>
              <a:gd name="connsiteX133" fmla="*/ 3537101 w 6502400"/>
              <a:gd name="connsiteY133" fmla="*/ 1850186 h 6502399"/>
              <a:gd name="connsiteX134" fmla="*/ 3537101 w 6502400"/>
              <a:gd name="connsiteY134" fmla="*/ 2561031 h 6502399"/>
              <a:gd name="connsiteX135" fmla="*/ 4039247 w 6502400"/>
              <a:gd name="connsiteY135" fmla="*/ 2058835 h 6502399"/>
              <a:gd name="connsiteX136" fmla="*/ 3537101 w 6502400"/>
              <a:gd name="connsiteY136" fmla="*/ 1850186 h 6502399"/>
              <a:gd name="connsiteX137" fmla="*/ 2965297 w 6502400"/>
              <a:gd name="connsiteY137" fmla="*/ 1850186 h 6502399"/>
              <a:gd name="connsiteX138" fmla="*/ 2463101 w 6502400"/>
              <a:gd name="connsiteY138" fmla="*/ 2058835 h 6502399"/>
              <a:gd name="connsiteX139" fmla="*/ 2965297 w 6502400"/>
              <a:gd name="connsiteY139" fmla="*/ 2561031 h 6502399"/>
              <a:gd name="connsiteX140" fmla="*/ 3161804 w 6502400"/>
              <a:gd name="connsiteY140" fmla="*/ 1824291 h 6502399"/>
              <a:gd name="connsiteX141" fmla="*/ 3155848 w 6502400"/>
              <a:gd name="connsiteY141" fmla="*/ 1824685 h 6502399"/>
              <a:gd name="connsiteX142" fmla="*/ 3155848 w 6502400"/>
              <a:gd name="connsiteY142" fmla="*/ 2655138 h 6502399"/>
              <a:gd name="connsiteX143" fmla="*/ 3157930 w 6502400"/>
              <a:gd name="connsiteY143" fmla="*/ 2654846 h 6502399"/>
              <a:gd name="connsiteX144" fmla="*/ 3344468 w 6502400"/>
              <a:gd name="connsiteY144" fmla="*/ 2654846 h 6502399"/>
              <a:gd name="connsiteX145" fmla="*/ 3346601 w 6502400"/>
              <a:gd name="connsiteY145" fmla="*/ 2655138 h 6502399"/>
              <a:gd name="connsiteX146" fmla="*/ 3346601 w 6502400"/>
              <a:gd name="connsiteY146" fmla="*/ 1824685 h 6502399"/>
              <a:gd name="connsiteX147" fmla="*/ 3161804 w 6502400"/>
              <a:gd name="connsiteY147" fmla="*/ 1824291 h 6502399"/>
              <a:gd name="connsiteX148" fmla="*/ 3227928 w 6502400"/>
              <a:gd name="connsiteY148" fmla="*/ 1631954 h 6502399"/>
              <a:gd name="connsiteX149" fmla="*/ 3406431 w 6502400"/>
              <a:gd name="connsiteY149" fmla="*/ 1638401 h 6502399"/>
              <a:gd name="connsiteX150" fmla="*/ 4863947 w 6502400"/>
              <a:gd name="connsiteY150" fmla="*/ 3095574 h 6502399"/>
              <a:gd name="connsiteX151" fmla="*/ 4245622 w 6502400"/>
              <a:gd name="connsiteY151" fmla="*/ 4529531 h 6502399"/>
              <a:gd name="connsiteX152" fmla="*/ 4244276 w 6502400"/>
              <a:gd name="connsiteY152" fmla="*/ 4530572 h 6502399"/>
              <a:gd name="connsiteX153" fmla="*/ 4243882 w 6502400"/>
              <a:gd name="connsiteY153" fmla="*/ 4530877 h 6502399"/>
              <a:gd name="connsiteX154" fmla="*/ 2258567 w 6502400"/>
              <a:gd name="connsiteY154" fmla="*/ 4530877 h 6502399"/>
              <a:gd name="connsiteX155" fmla="*/ 2258122 w 6502400"/>
              <a:gd name="connsiteY155" fmla="*/ 4530572 h 6502399"/>
              <a:gd name="connsiteX156" fmla="*/ 2256535 w 6502400"/>
              <a:gd name="connsiteY156" fmla="*/ 4529340 h 6502399"/>
              <a:gd name="connsiteX157" fmla="*/ 1634972 w 6502400"/>
              <a:gd name="connsiteY157" fmla="*/ 3346894 h 6502399"/>
              <a:gd name="connsiteX158" fmla="*/ 3227928 w 6502400"/>
              <a:gd name="connsiteY158" fmla="*/ 1631954 h 6502399"/>
              <a:gd name="connsiteX159" fmla="*/ 5228184 w 6502400"/>
              <a:gd name="connsiteY159" fmla="*/ 1009402 h 6502399"/>
              <a:gd name="connsiteX160" fmla="*/ 5040909 w 6502400"/>
              <a:gd name="connsiteY160" fmla="*/ 1086941 h 6502399"/>
              <a:gd name="connsiteX161" fmla="*/ 4766818 w 6502400"/>
              <a:gd name="connsiteY161" fmla="*/ 1413866 h 6502399"/>
              <a:gd name="connsiteX162" fmla="*/ 5088484 w 6502400"/>
              <a:gd name="connsiteY162" fmla="*/ 1735582 h 6502399"/>
              <a:gd name="connsiteX163" fmla="*/ 5415458 w 6502400"/>
              <a:gd name="connsiteY163" fmla="*/ 1461491 h 6502399"/>
              <a:gd name="connsiteX164" fmla="*/ 5415458 w 6502400"/>
              <a:gd name="connsiteY164" fmla="*/ 1086941 h 6502399"/>
              <a:gd name="connsiteX165" fmla="*/ 5228184 w 6502400"/>
              <a:gd name="connsiteY165" fmla="*/ 1009402 h 6502399"/>
              <a:gd name="connsiteX166" fmla="*/ 1274216 w 6502400"/>
              <a:gd name="connsiteY166" fmla="*/ 1009402 h 6502399"/>
              <a:gd name="connsiteX167" fmla="*/ 1086941 w 6502400"/>
              <a:gd name="connsiteY167" fmla="*/ 1086941 h 6502399"/>
              <a:gd name="connsiteX168" fmla="*/ 1086941 w 6502400"/>
              <a:gd name="connsiteY168" fmla="*/ 1461491 h 6502399"/>
              <a:gd name="connsiteX169" fmla="*/ 1413764 w 6502400"/>
              <a:gd name="connsiteY169" fmla="*/ 1735480 h 6502399"/>
              <a:gd name="connsiteX170" fmla="*/ 1735391 w 6502400"/>
              <a:gd name="connsiteY170" fmla="*/ 1413662 h 6502399"/>
              <a:gd name="connsiteX171" fmla="*/ 1461490 w 6502400"/>
              <a:gd name="connsiteY171" fmla="*/ 1086941 h 6502399"/>
              <a:gd name="connsiteX172" fmla="*/ 1274216 w 6502400"/>
              <a:gd name="connsiteY172" fmla="*/ 1009402 h 6502399"/>
              <a:gd name="connsiteX173" fmla="*/ 3251200 w 6502400"/>
              <a:gd name="connsiteY173" fmla="*/ 190500 h 6502399"/>
              <a:gd name="connsiteX174" fmla="*/ 2986379 w 6502400"/>
              <a:gd name="connsiteY174" fmla="*/ 455315 h 6502399"/>
              <a:gd name="connsiteX175" fmla="*/ 3023540 w 6502400"/>
              <a:gd name="connsiteY175" fmla="*/ 879326 h 6502399"/>
              <a:gd name="connsiteX176" fmla="*/ 3082087 w 6502400"/>
              <a:gd name="connsiteY176" fmla="*/ 874465 h 6502399"/>
              <a:gd name="connsiteX177" fmla="*/ 3474441 w 6502400"/>
              <a:gd name="connsiteY177" fmla="*/ 878978 h 6502399"/>
              <a:gd name="connsiteX178" fmla="*/ 3478860 w 6502400"/>
              <a:gd name="connsiteY178" fmla="*/ 879326 h 6502399"/>
              <a:gd name="connsiteX179" fmla="*/ 3516020 w 6502400"/>
              <a:gd name="connsiteY179" fmla="*/ 455315 h 6502399"/>
              <a:gd name="connsiteX180" fmla="*/ 3251200 w 6502400"/>
              <a:gd name="connsiteY180" fmla="*/ 190500 h 6502399"/>
              <a:gd name="connsiteX181" fmla="*/ 3251200 w 6502400"/>
              <a:gd name="connsiteY181" fmla="*/ 0 h 6502399"/>
              <a:gd name="connsiteX182" fmla="*/ 3706520 w 6502400"/>
              <a:gd name="connsiteY182" fmla="*/ 455315 h 6502399"/>
              <a:gd name="connsiteX183" fmla="*/ 3667519 w 6502400"/>
              <a:gd name="connsiteY183" fmla="*/ 904875 h 6502399"/>
              <a:gd name="connsiteX184" fmla="*/ 4615256 w 6502400"/>
              <a:gd name="connsiteY184" fmla="*/ 1298626 h 6502399"/>
              <a:gd name="connsiteX185" fmla="*/ 4906213 w 6502400"/>
              <a:gd name="connsiteY185" fmla="*/ 952252 h 6502399"/>
              <a:gd name="connsiteX186" fmla="*/ 5228184 w 6502400"/>
              <a:gd name="connsiteY186" fmla="*/ 818902 h 6502399"/>
              <a:gd name="connsiteX187" fmla="*/ 5550154 w 6502400"/>
              <a:gd name="connsiteY187" fmla="*/ 952252 h 6502399"/>
              <a:gd name="connsiteX188" fmla="*/ 5550154 w 6502400"/>
              <a:gd name="connsiteY188" fmla="*/ 1596187 h 6502399"/>
              <a:gd name="connsiteX189" fmla="*/ 5203774 w 6502400"/>
              <a:gd name="connsiteY189" fmla="*/ 1887144 h 6502399"/>
              <a:gd name="connsiteX190" fmla="*/ 5597525 w 6502400"/>
              <a:gd name="connsiteY190" fmla="*/ 2834881 h 6502399"/>
              <a:gd name="connsiteX191" fmla="*/ 6047080 w 6502400"/>
              <a:gd name="connsiteY191" fmla="*/ 2795880 h 6502399"/>
              <a:gd name="connsiteX192" fmla="*/ 6502400 w 6502400"/>
              <a:gd name="connsiteY192" fmla="*/ 3251200 h 6502399"/>
              <a:gd name="connsiteX193" fmla="*/ 6047080 w 6502400"/>
              <a:gd name="connsiteY193" fmla="*/ 3706559 h 6502399"/>
              <a:gd name="connsiteX194" fmla="*/ 5597373 w 6502400"/>
              <a:gd name="connsiteY194" fmla="*/ 3667519 h 6502399"/>
              <a:gd name="connsiteX195" fmla="*/ 5530304 w 6502400"/>
              <a:gd name="connsiteY195" fmla="*/ 3946817 h 6502399"/>
              <a:gd name="connsiteX196" fmla="*/ 5411343 w 6502400"/>
              <a:gd name="connsiteY196" fmla="*/ 4010076 h 6502399"/>
              <a:gd name="connsiteX197" fmla="*/ 5348135 w 6502400"/>
              <a:gd name="connsiteY197" fmla="*/ 3891115 h 6502399"/>
              <a:gd name="connsiteX198" fmla="*/ 5423992 w 6502400"/>
              <a:gd name="connsiteY198" fmla="*/ 2959100 h 6502399"/>
              <a:gd name="connsiteX199" fmla="*/ 4993780 w 6502400"/>
              <a:gd name="connsiteY199" fmla="*/ 1922666 h 6502399"/>
              <a:gd name="connsiteX200" fmla="*/ 4993284 w 6502400"/>
              <a:gd name="connsiteY200" fmla="*/ 1922018 h 6502399"/>
              <a:gd name="connsiteX201" fmla="*/ 3543046 w 6502400"/>
              <a:gd name="connsiteY201" fmla="*/ 1078409 h 6502399"/>
              <a:gd name="connsiteX202" fmla="*/ 1509115 w 6502400"/>
              <a:gd name="connsiteY202" fmla="*/ 1922018 h 6502399"/>
              <a:gd name="connsiteX203" fmla="*/ 1508176 w 6502400"/>
              <a:gd name="connsiteY203" fmla="*/ 1923161 h 6502399"/>
              <a:gd name="connsiteX204" fmla="*/ 1316977 w 6502400"/>
              <a:gd name="connsiteY204" fmla="*/ 2220265 h 6502399"/>
              <a:gd name="connsiteX205" fmla="*/ 1188045 w 6502400"/>
              <a:gd name="connsiteY205" fmla="*/ 2259267 h 6502399"/>
              <a:gd name="connsiteX206" fmla="*/ 1149053 w 6502400"/>
              <a:gd name="connsiteY206" fmla="*/ 2130324 h 6502399"/>
              <a:gd name="connsiteX207" fmla="*/ 1298727 w 6502400"/>
              <a:gd name="connsiteY207" fmla="*/ 1887195 h 6502399"/>
              <a:gd name="connsiteX208" fmla="*/ 952252 w 6502400"/>
              <a:gd name="connsiteY208" fmla="*/ 1596187 h 6502399"/>
              <a:gd name="connsiteX209" fmla="*/ 952252 w 6502400"/>
              <a:gd name="connsiteY209" fmla="*/ 952252 h 6502399"/>
              <a:gd name="connsiteX210" fmla="*/ 1274216 w 6502400"/>
              <a:gd name="connsiteY210" fmla="*/ 818902 h 6502399"/>
              <a:gd name="connsiteX211" fmla="*/ 1596187 w 6502400"/>
              <a:gd name="connsiteY211" fmla="*/ 952252 h 6502399"/>
              <a:gd name="connsiteX212" fmla="*/ 1886788 w 6502400"/>
              <a:gd name="connsiteY212" fmla="*/ 1298181 h 6502399"/>
              <a:gd name="connsiteX213" fmla="*/ 2834932 w 6502400"/>
              <a:gd name="connsiteY213" fmla="*/ 905123 h 6502399"/>
              <a:gd name="connsiteX214" fmla="*/ 2795879 w 6502400"/>
              <a:gd name="connsiteY214" fmla="*/ 455315 h 6502399"/>
              <a:gd name="connsiteX215" fmla="*/ 3251200 w 6502400"/>
              <a:gd name="connsiteY215" fmla="*/ 0 h 6502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Lst>
            <a:rect l="l" t="t" r="r" b="b"/>
            <a:pathLst>
              <a:path w="6502400" h="6502399">
                <a:moveTo>
                  <a:pt x="3023540" y="5623077"/>
                </a:moveTo>
                <a:cubicBezTo>
                  <a:pt x="2998889" y="5766092"/>
                  <a:pt x="2986380" y="5908331"/>
                  <a:pt x="2986380" y="6047079"/>
                </a:cubicBezTo>
                <a:cubicBezTo>
                  <a:pt x="2986380" y="6193091"/>
                  <a:pt x="3105150" y="6311899"/>
                  <a:pt x="3251200" y="6311899"/>
                </a:cubicBezTo>
                <a:cubicBezTo>
                  <a:pt x="3397250" y="6311899"/>
                  <a:pt x="3516020" y="6193091"/>
                  <a:pt x="3516020" y="6047079"/>
                </a:cubicBezTo>
                <a:cubicBezTo>
                  <a:pt x="3516020" y="5908382"/>
                  <a:pt x="3503511" y="5766092"/>
                  <a:pt x="3478860" y="5623077"/>
                </a:cubicBezTo>
                <a:cubicBezTo>
                  <a:pt x="3478060" y="5623178"/>
                  <a:pt x="3477273" y="5623217"/>
                  <a:pt x="3476473" y="5623267"/>
                </a:cubicBezTo>
                <a:cubicBezTo>
                  <a:pt x="3327451" y="5637364"/>
                  <a:pt x="3175292" y="5637110"/>
                  <a:pt x="3027413" y="5623369"/>
                </a:cubicBezTo>
                <a:cubicBezTo>
                  <a:pt x="3026118" y="5623267"/>
                  <a:pt x="3024835" y="5623178"/>
                  <a:pt x="3023540" y="5623077"/>
                </a:cubicBezTo>
                <a:close/>
                <a:moveTo>
                  <a:pt x="1413866" y="4766817"/>
                </a:moveTo>
                <a:cubicBezTo>
                  <a:pt x="1294956" y="4850650"/>
                  <a:pt x="1185267" y="4942585"/>
                  <a:pt x="1086941" y="5040909"/>
                </a:cubicBezTo>
                <a:cubicBezTo>
                  <a:pt x="983704" y="5144198"/>
                  <a:pt x="983704" y="5312168"/>
                  <a:pt x="1086941" y="5415457"/>
                </a:cubicBezTo>
                <a:cubicBezTo>
                  <a:pt x="1189038" y="5517502"/>
                  <a:pt x="1359243" y="5517654"/>
                  <a:pt x="1461491" y="5415457"/>
                </a:cubicBezTo>
                <a:cubicBezTo>
                  <a:pt x="1559814" y="5317134"/>
                  <a:pt x="1651749" y="5207393"/>
                  <a:pt x="1735582" y="5088483"/>
                </a:cubicBezTo>
                <a:cubicBezTo>
                  <a:pt x="1618463" y="4991696"/>
                  <a:pt x="1510703" y="4883937"/>
                  <a:pt x="1413866" y="4766817"/>
                </a:cubicBezTo>
                <a:close/>
                <a:moveTo>
                  <a:pt x="5088382" y="4766767"/>
                </a:moveTo>
                <a:cubicBezTo>
                  <a:pt x="5086503" y="4769053"/>
                  <a:pt x="5084560" y="4771275"/>
                  <a:pt x="5082680" y="4773510"/>
                </a:cubicBezTo>
                <a:cubicBezTo>
                  <a:pt x="4989017" y="4885931"/>
                  <a:pt x="4885132" y="4990261"/>
                  <a:pt x="4772470" y="5083568"/>
                </a:cubicBezTo>
                <a:cubicBezTo>
                  <a:pt x="4770539" y="5085156"/>
                  <a:pt x="4768647" y="5086845"/>
                  <a:pt x="4766767" y="5088432"/>
                </a:cubicBezTo>
                <a:cubicBezTo>
                  <a:pt x="4850613" y="5207342"/>
                  <a:pt x="4942586" y="5317083"/>
                  <a:pt x="5040910" y="5415457"/>
                </a:cubicBezTo>
                <a:cubicBezTo>
                  <a:pt x="5142853" y="5517362"/>
                  <a:pt x="5313414" y="5517502"/>
                  <a:pt x="5415458" y="5415457"/>
                </a:cubicBezTo>
                <a:cubicBezTo>
                  <a:pt x="5518696" y="5312168"/>
                  <a:pt x="5518696" y="5144198"/>
                  <a:pt x="5415458" y="5040909"/>
                </a:cubicBezTo>
                <a:cubicBezTo>
                  <a:pt x="5317084" y="4942585"/>
                  <a:pt x="5207343" y="4850612"/>
                  <a:pt x="5088382" y="4766767"/>
                </a:cubicBezTo>
                <a:close/>
                <a:moveTo>
                  <a:pt x="3537101" y="3941368"/>
                </a:moveTo>
                <a:lnTo>
                  <a:pt x="3537101" y="4652213"/>
                </a:lnTo>
                <a:cubicBezTo>
                  <a:pt x="3719410" y="4615116"/>
                  <a:pt x="3889171" y="4543082"/>
                  <a:pt x="4039247" y="4443564"/>
                </a:cubicBezTo>
                <a:close/>
                <a:moveTo>
                  <a:pt x="2965297" y="3941368"/>
                </a:moveTo>
                <a:lnTo>
                  <a:pt x="2463151" y="4443564"/>
                </a:lnTo>
                <a:cubicBezTo>
                  <a:pt x="2613176" y="4543082"/>
                  <a:pt x="2782988" y="4615116"/>
                  <a:pt x="2965297" y="4652264"/>
                </a:cubicBezTo>
                <a:close/>
                <a:moveTo>
                  <a:pt x="3155797" y="3847261"/>
                </a:moveTo>
                <a:lnTo>
                  <a:pt x="3155797" y="4677714"/>
                </a:lnTo>
                <a:cubicBezTo>
                  <a:pt x="3155797" y="4683226"/>
                  <a:pt x="3324072" y="4679797"/>
                  <a:pt x="3340696" y="4678565"/>
                </a:cubicBezTo>
                <a:cubicBezTo>
                  <a:pt x="3344265" y="4678311"/>
                  <a:pt x="3346551" y="4678019"/>
                  <a:pt x="3346601" y="4677714"/>
                </a:cubicBezTo>
                <a:lnTo>
                  <a:pt x="3346601" y="3847261"/>
                </a:lnTo>
                <a:cubicBezTo>
                  <a:pt x="3328148" y="3850284"/>
                  <a:pt x="3309441" y="3852214"/>
                  <a:pt x="3290734" y="3853357"/>
                </a:cubicBezTo>
                <a:cubicBezTo>
                  <a:pt x="3245789" y="3856189"/>
                  <a:pt x="3200298" y="3854602"/>
                  <a:pt x="3155797" y="3847261"/>
                </a:cubicBezTo>
                <a:close/>
                <a:moveTo>
                  <a:pt x="3740251" y="3605364"/>
                </a:moveTo>
                <a:cubicBezTo>
                  <a:pt x="3702748" y="3657307"/>
                  <a:pt x="3657307" y="3702748"/>
                  <a:pt x="3605364" y="3740251"/>
                </a:cubicBezTo>
                <a:lnTo>
                  <a:pt x="4191939" y="4326877"/>
                </a:lnTo>
                <a:cubicBezTo>
                  <a:pt x="4239818" y="4284916"/>
                  <a:pt x="4284916" y="4239869"/>
                  <a:pt x="4326826" y="4191990"/>
                </a:cubicBezTo>
                <a:close/>
                <a:moveTo>
                  <a:pt x="2762148" y="3605364"/>
                </a:moveTo>
                <a:lnTo>
                  <a:pt x="2175572" y="4191939"/>
                </a:lnTo>
                <a:cubicBezTo>
                  <a:pt x="2217483" y="4239818"/>
                  <a:pt x="2262529" y="4284916"/>
                  <a:pt x="2310459" y="4326826"/>
                </a:cubicBezTo>
                <a:lnTo>
                  <a:pt x="2897034" y="3740251"/>
                </a:lnTo>
                <a:cubicBezTo>
                  <a:pt x="2845091" y="3702748"/>
                  <a:pt x="2799651" y="3657307"/>
                  <a:pt x="2762148" y="3605364"/>
                </a:cubicBezTo>
                <a:close/>
                <a:moveTo>
                  <a:pt x="3941368" y="3537102"/>
                </a:moveTo>
                <a:lnTo>
                  <a:pt x="4443564" y="4039298"/>
                </a:lnTo>
                <a:cubicBezTo>
                  <a:pt x="4543081" y="3889222"/>
                  <a:pt x="4615116" y="3719410"/>
                  <a:pt x="4652213" y="3537102"/>
                </a:cubicBezTo>
                <a:close/>
                <a:moveTo>
                  <a:pt x="1850186" y="3537102"/>
                </a:moveTo>
                <a:cubicBezTo>
                  <a:pt x="1887283" y="3719410"/>
                  <a:pt x="1959317" y="3889222"/>
                  <a:pt x="2058834" y="4039247"/>
                </a:cubicBezTo>
                <a:lnTo>
                  <a:pt x="2561030" y="3537102"/>
                </a:lnTo>
                <a:close/>
                <a:moveTo>
                  <a:pt x="3847261" y="3155848"/>
                </a:moveTo>
                <a:cubicBezTo>
                  <a:pt x="3856875" y="3216071"/>
                  <a:pt x="3857230" y="3277844"/>
                  <a:pt x="3848442" y="3338220"/>
                </a:cubicBezTo>
                <a:cubicBezTo>
                  <a:pt x="3848150" y="3340303"/>
                  <a:pt x="3847401" y="3345853"/>
                  <a:pt x="3847261" y="3346602"/>
                </a:cubicBezTo>
                <a:lnTo>
                  <a:pt x="4677714" y="3346602"/>
                </a:lnTo>
                <a:cubicBezTo>
                  <a:pt x="4678857" y="3329381"/>
                  <a:pt x="4679695" y="3312223"/>
                  <a:pt x="4680203" y="3295002"/>
                </a:cubicBezTo>
                <a:cubicBezTo>
                  <a:pt x="4681638" y="3248621"/>
                  <a:pt x="4680737" y="3202139"/>
                  <a:pt x="4677714" y="3155848"/>
                </a:cubicBezTo>
                <a:close/>
                <a:moveTo>
                  <a:pt x="1824684" y="3155797"/>
                </a:moveTo>
                <a:cubicBezTo>
                  <a:pt x="1823541" y="3173018"/>
                  <a:pt x="1821408" y="3236620"/>
                  <a:pt x="1821458" y="3251199"/>
                </a:cubicBezTo>
                <a:cubicBezTo>
                  <a:pt x="1821458" y="3255517"/>
                  <a:pt x="1820760" y="3346005"/>
                  <a:pt x="1824684" y="3346602"/>
                </a:cubicBezTo>
                <a:lnTo>
                  <a:pt x="2655137" y="3346602"/>
                </a:lnTo>
                <a:cubicBezTo>
                  <a:pt x="2651518" y="3324377"/>
                  <a:pt x="2649283" y="3301847"/>
                  <a:pt x="2648292" y="3279381"/>
                </a:cubicBezTo>
                <a:cubicBezTo>
                  <a:pt x="2646514" y="3238055"/>
                  <a:pt x="2648698" y="3196678"/>
                  <a:pt x="2655137" y="3155797"/>
                </a:cubicBezTo>
                <a:close/>
                <a:moveTo>
                  <a:pt x="6047080" y="2986380"/>
                </a:moveTo>
                <a:cubicBezTo>
                  <a:pt x="5908332" y="2986380"/>
                  <a:pt x="5766092" y="2998889"/>
                  <a:pt x="5623077" y="3023540"/>
                </a:cubicBezTo>
                <a:cubicBezTo>
                  <a:pt x="5623179" y="3024632"/>
                  <a:pt x="5623217" y="3025775"/>
                  <a:pt x="5623319" y="3026867"/>
                </a:cubicBezTo>
                <a:cubicBezTo>
                  <a:pt x="5633936" y="3140469"/>
                  <a:pt x="5636616" y="3254820"/>
                  <a:pt x="5631015" y="3368827"/>
                </a:cubicBezTo>
                <a:cubicBezTo>
                  <a:pt x="5629224" y="3405581"/>
                  <a:pt x="5626595" y="3442297"/>
                  <a:pt x="5623128" y="3478860"/>
                </a:cubicBezTo>
                <a:cubicBezTo>
                  <a:pt x="5766143" y="3503562"/>
                  <a:pt x="5908383" y="3516020"/>
                  <a:pt x="6047080" y="3516020"/>
                </a:cubicBezTo>
                <a:cubicBezTo>
                  <a:pt x="6193091" y="3516020"/>
                  <a:pt x="6311900" y="3397199"/>
                  <a:pt x="6311900" y="3251200"/>
                </a:cubicBezTo>
                <a:cubicBezTo>
                  <a:pt x="6311900" y="3105201"/>
                  <a:pt x="6193091" y="2986380"/>
                  <a:pt x="6047080" y="2986380"/>
                </a:cubicBezTo>
                <a:close/>
                <a:moveTo>
                  <a:pt x="455315" y="2986379"/>
                </a:moveTo>
                <a:cubicBezTo>
                  <a:pt x="309315" y="2986379"/>
                  <a:pt x="190500" y="3105200"/>
                  <a:pt x="190500" y="3251199"/>
                </a:cubicBezTo>
                <a:cubicBezTo>
                  <a:pt x="190500" y="3397199"/>
                  <a:pt x="309315" y="3516020"/>
                  <a:pt x="455315" y="3516020"/>
                </a:cubicBezTo>
                <a:cubicBezTo>
                  <a:pt x="594022" y="3516020"/>
                  <a:pt x="736303" y="3503510"/>
                  <a:pt x="879326" y="3478860"/>
                </a:cubicBezTo>
                <a:cubicBezTo>
                  <a:pt x="867767" y="3359442"/>
                  <a:pt x="866973" y="3240633"/>
                  <a:pt x="873521" y="3120974"/>
                </a:cubicBezTo>
                <a:cubicBezTo>
                  <a:pt x="873919" y="3113531"/>
                  <a:pt x="874265" y="3024834"/>
                  <a:pt x="879326" y="3023539"/>
                </a:cubicBezTo>
                <a:cubicBezTo>
                  <a:pt x="736303" y="2998888"/>
                  <a:pt x="594072" y="2986379"/>
                  <a:pt x="455315" y="2986379"/>
                </a:cubicBezTo>
                <a:close/>
                <a:moveTo>
                  <a:pt x="3245318" y="2838530"/>
                </a:moveTo>
                <a:cubicBezTo>
                  <a:pt x="3214038" y="2838800"/>
                  <a:pt x="3182370" y="2842944"/>
                  <a:pt x="3150844" y="2851404"/>
                </a:cubicBezTo>
                <a:cubicBezTo>
                  <a:pt x="2964560" y="2901403"/>
                  <a:pt x="2823019" y="3085261"/>
                  <a:pt x="2839440" y="3283839"/>
                </a:cubicBezTo>
                <a:cubicBezTo>
                  <a:pt x="2856902" y="3494189"/>
                  <a:pt x="3038766" y="3663848"/>
                  <a:pt x="3250259" y="3664242"/>
                </a:cubicBezTo>
                <a:cubicBezTo>
                  <a:pt x="3250551" y="3664242"/>
                  <a:pt x="3250907" y="3664292"/>
                  <a:pt x="3251199" y="3664292"/>
                </a:cubicBezTo>
                <a:cubicBezTo>
                  <a:pt x="3251542" y="3664292"/>
                  <a:pt x="3251847" y="3664242"/>
                  <a:pt x="3252139" y="3664242"/>
                </a:cubicBezTo>
                <a:cubicBezTo>
                  <a:pt x="3475532" y="3663848"/>
                  <a:pt x="3664292" y="3474491"/>
                  <a:pt x="3664292" y="3251250"/>
                </a:cubicBezTo>
                <a:cubicBezTo>
                  <a:pt x="3664292" y="3024611"/>
                  <a:pt x="3464281" y="2836642"/>
                  <a:pt x="3245318" y="2838530"/>
                </a:cubicBezTo>
                <a:close/>
                <a:moveTo>
                  <a:pt x="4443564" y="2463152"/>
                </a:moveTo>
                <a:lnTo>
                  <a:pt x="3941368" y="2965297"/>
                </a:lnTo>
                <a:lnTo>
                  <a:pt x="4652213" y="2965297"/>
                </a:lnTo>
                <a:cubicBezTo>
                  <a:pt x="4615116" y="2782989"/>
                  <a:pt x="4543081" y="2613177"/>
                  <a:pt x="4443564" y="2463152"/>
                </a:cubicBezTo>
                <a:close/>
                <a:moveTo>
                  <a:pt x="2058834" y="2463152"/>
                </a:moveTo>
                <a:cubicBezTo>
                  <a:pt x="1959317" y="2613177"/>
                  <a:pt x="1887283" y="2782989"/>
                  <a:pt x="1850186" y="2965297"/>
                </a:cubicBezTo>
                <a:lnTo>
                  <a:pt x="2561030" y="2965297"/>
                </a:lnTo>
                <a:close/>
                <a:moveTo>
                  <a:pt x="1075955" y="2426397"/>
                </a:moveTo>
                <a:cubicBezTo>
                  <a:pt x="1088294" y="2425473"/>
                  <a:pt x="1101018" y="2426953"/>
                  <a:pt x="1113483" y="2431160"/>
                </a:cubicBezTo>
                <a:cubicBezTo>
                  <a:pt x="1163340" y="2447975"/>
                  <a:pt x="1190128" y="2502052"/>
                  <a:pt x="1173311" y="2551861"/>
                </a:cubicBezTo>
                <a:cubicBezTo>
                  <a:pt x="1082576" y="2820644"/>
                  <a:pt x="1045616" y="3107537"/>
                  <a:pt x="1063427" y="3390696"/>
                </a:cubicBezTo>
                <a:cubicBezTo>
                  <a:pt x="1066651" y="3441699"/>
                  <a:pt x="1071662" y="3492601"/>
                  <a:pt x="1078409" y="3543198"/>
                </a:cubicBezTo>
                <a:cubicBezTo>
                  <a:pt x="1207195" y="4506315"/>
                  <a:pt x="1995386" y="5295061"/>
                  <a:pt x="2959049" y="5423992"/>
                </a:cubicBezTo>
                <a:cubicBezTo>
                  <a:pt x="3874834" y="5546521"/>
                  <a:pt x="4800651" y="5054346"/>
                  <a:pt x="5213642" y="4227613"/>
                </a:cubicBezTo>
                <a:cubicBezTo>
                  <a:pt x="5237163" y="4180535"/>
                  <a:pt x="5294364" y="4161485"/>
                  <a:pt x="5341442" y="4184992"/>
                </a:cubicBezTo>
                <a:cubicBezTo>
                  <a:pt x="5388471" y="4208513"/>
                  <a:pt x="5407571" y="4265713"/>
                  <a:pt x="5384051" y="4312742"/>
                </a:cubicBezTo>
                <a:cubicBezTo>
                  <a:pt x="5331321" y="4418266"/>
                  <a:pt x="5270792" y="4519167"/>
                  <a:pt x="5203622" y="4615154"/>
                </a:cubicBezTo>
                <a:cubicBezTo>
                  <a:pt x="5329339" y="4704206"/>
                  <a:pt x="5445671" y="4801742"/>
                  <a:pt x="5550154" y="4906213"/>
                </a:cubicBezTo>
                <a:cubicBezTo>
                  <a:pt x="5727700" y="5083771"/>
                  <a:pt x="5727700" y="5372595"/>
                  <a:pt x="5550154" y="5550153"/>
                </a:cubicBezTo>
                <a:cubicBezTo>
                  <a:pt x="5374780" y="5725515"/>
                  <a:pt x="5081740" y="5725667"/>
                  <a:pt x="4906214" y="5550153"/>
                </a:cubicBezTo>
                <a:cubicBezTo>
                  <a:pt x="4801743" y="5445671"/>
                  <a:pt x="4704207" y="5329288"/>
                  <a:pt x="4615155" y="5203571"/>
                </a:cubicBezTo>
                <a:cubicBezTo>
                  <a:pt x="4584205" y="5225262"/>
                  <a:pt x="4552950" y="5246484"/>
                  <a:pt x="4520946" y="5266728"/>
                </a:cubicBezTo>
                <a:cubicBezTo>
                  <a:pt x="4259314" y="5432132"/>
                  <a:pt x="3969639" y="5543842"/>
                  <a:pt x="3667519" y="5597423"/>
                </a:cubicBezTo>
                <a:cubicBezTo>
                  <a:pt x="3693274" y="5748883"/>
                  <a:pt x="3706520" y="5899696"/>
                  <a:pt x="3706520" y="6047079"/>
                </a:cubicBezTo>
                <a:cubicBezTo>
                  <a:pt x="3706520" y="6298158"/>
                  <a:pt x="3502279" y="6502399"/>
                  <a:pt x="3251200" y="6502399"/>
                </a:cubicBezTo>
                <a:cubicBezTo>
                  <a:pt x="3000121" y="6502399"/>
                  <a:pt x="2795880" y="6298158"/>
                  <a:pt x="2795880" y="6047079"/>
                </a:cubicBezTo>
                <a:cubicBezTo>
                  <a:pt x="2795880" y="5899746"/>
                  <a:pt x="2809126" y="5748934"/>
                  <a:pt x="2834881" y="5597524"/>
                </a:cubicBezTo>
                <a:cubicBezTo>
                  <a:pt x="2487270" y="5536006"/>
                  <a:pt x="2165502" y="5398833"/>
                  <a:pt x="1887144" y="5203774"/>
                </a:cubicBezTo>
                <a:cubicBezTo>
                  <a:pt x="1798091" y="5329389"/>
                  <a:pt x="1700606" y="5445721"/>
                  <a:pt x="1596187" y="5550153"/>
                </a:cubicBezTo>
                <a:cubicBezTo>
                  <a:pt x="1420660" y="5725667"/>
                  <a:pt x="1127869" y="5725769"/>
                  <a:pt x="952252" y="5550153"/>
                </a:cubicBezTo>
                <a:cubicBezTo>
                  <a:pt x="774750" y="5372595"/>
                  <a:pt x="774750" y="5083771"/>
                  <a:pt x="952252" y="4906213"/>
                </a:cubicBezTo>
                <a:cubicBezTo>
                  <a:pt x="1056679" y="4801793"/>
                  <a:pt x="1173014" y="4704308"/>
                  <a:pt x="1298626" y="4615256"/>
                </a:cubicBezTo>
                <a:cubicBezTo>
                  <a:pt x="1103560" y="4336897"/>
                  <a:pt x="966391" y="4015130"/>
                  <a:pt x="904875" y="3667518"/>
                </a:cubicBezTo>
                <a:cubicBezTo>
                  <a:pt x="753467" y="3693274"/>
                  <a:pt x="602654" y="3706520"/>
                  <a:pt x="455315" y="3706520"/>
                </a:cubicBezTo>
                <a:cubicBezTo>
                  <a:pt x="204241" y="3706520"/>
                  <a:pt x="0" y="3502278"/>
                  <a:pt x="0" y="3251199"/>
                </a:cubicBezTo>
                <a:cubicBezTo>
                  <a:pt x="0" y="3000120"/>
                  <a:pt x="204241" y="2795879"/>
                  <a:pt x="455315" y="2795879"/>
                </a:cubicBezTo>
                <a:cubicBezTo>
                  <a:pt x="602704" y="2795879"/>
                  <a:pt x="753516" y="2809125"/>
                  <a:pt x="904974" y="2834881"/>
                </a:cubicBezTo>
                <a:cubicBezTo>
                  <a:pt x="925612" y="2718345"/>
                  <a:pt x="954832" y="2603449"/>
                  <a:pt x="992783" y="2490939"/>
                </a:cubicBezTo>
                <a:cubicBezTo>
                  <a:pt x="1005396" y="2453583"/>
                  <a:pt x="1038938" y="2429170"/>
                  <a:pt x="1075955" y="2426397"/>
                </a:cubicBezTo>
                <a:close/>
                <a:moveTo>
                  <a:pt x="4191939" y="2175573"/>
                </a:moveTo>
                <a:lnTo>
                  <a:pt x="3605364" y="2762148"/>
                </a:lnTo>
                <a:cubicBezTo>
                  <a:pt x="3657307" y="2799651"/>
                  <a:pt x="3702748" y="2845091"/>
                  <a:pt x="3740251" y="2897035"/>
                </a:cubicBezTo>
                <a:lnTo>
                  <a:pt x="4326826" y="2310460"/>
                </a:lnTo>
                <a:cubicBezTo>
                  <a:pt x="4284916" y="2262581"/>
                  <a:pt x="4239869" y="2217483"/>
                  <a:pt x="4191939" y="2175573"/>
                </a:cubicBezTo>
                <a:close/>
                <a:moveTo>
                  <a:pt x="2310459" y="2175573"/>
                </a:moveTo>
                <a:cubicBezTo>
                  <a:pt x="2262529" y="2217483"/>
                  <a:pt x="2217483" y="2262530"/>
                  <a:pt x="2175572" y="2310460"/>
                </a:cubicBezTo>
                <a:lnTo>
                  <a:pt x="2762148" y="2897035"/>
                </a:lnTo>
                <a:cubicBezTo>
                  <a:pt x="2799651" y="2845091"/>
                  <a:pt x="2845091" y="2799651"/>
                  <a:pt x="2897034" y="2762148"/>
                </a:cubicBezTo>
                <a:close/>
                <a:moveTo>
                  <a:pt x="3537101" y="1850186"/>
                </a:moveTo>
                <a:lnTo>
                  <a:pt x="3537101" y="2561031"/>
                </a:lnTo>
                <a:lnTo>
                  <a:pt x="4039247" y="2058835"/>
                </a:lnTo>
                <a:cubicBezTo>
                  <a:pt x="3889222" y="1959317"/>
                  <a:pt x="3719410" y="1887283"/>
                  <a:pt x="3537101" y="1850186"/>
                </a:cubicBezTo>
                <a:close/>
                <a:moveTo>
                  <a:pt x="2965297" y="1850186"/>
                </a:moveTo>
                <a:cubicBezTo>
                  <a:pt x="2782988" y="1887334"/>
                  <a:pt x="2613176" y="1959317"/>
                  <a:pt x="2463101" y="2058835"/>
                </a:cubicBezTo>
                <a:lnTo>
                  <a:pt x="2965297" y="2561031"/>
                </a:lnTo>
                <a:close/>
                <a:moveTo>
                  <a:pt x="3161804" y="1824291"/>
                </a:moveTo>
                <a:cubicBezTo>
                  <a:pt x="3159823" y="1824431"/>
                  <a:pt x="3157829" y="1824532"/>
                  <a:pt x="3155848" y="1824685"/>
                </a:cubicBezTo>
                <a:lnTo>
                  <a:pt x="3155848" y="2655138"/>
                </a:lnTo>
                <a:cubicBezTo>
                  <a:pt x="3156546" y="2655049"/>
                  <a:pt x="3157245" y="2654947"/>
                  <a:pt x="3157930" y="2654846"/>
                </a:cubicBezTo>
                <a:cubicBezTo>
                  <a:pt x="3219449" y="2644978"/>
                  <a:pt x="3282949" y="2645117"/>
                  <a:pt x="3344468" y="2654846"/>
                </a:cubicBezTo>
                <a:cubicBezTo>
                  <a:pt x="3345154" y="2654947"/>
                  <a:pt x="3345852" y="2655049"/>
                  <a:pt x="3346601" y="2655138"/>
                </a:cubicBezTo>
                <a:lnTo>
                  <a:pt x="3346601" y="1824685"/>
                </a:lnTo>
                <a:cubicBezTo>
                  <a:pt x="3285032" y="1820710"/>
                  <a:pt x="3223373" y="1820468"/>
                  <a:pt x="3161804" y="1824291"/>
                </a:cubicBezTo>
                <a:close/>
                <a:moveTo>
                  <a:pt x="3227928" y="1631954"/>
                </a:moveTo>
                <a:cubicBezTo>
                  <a:pt x="3286975" y="1630612"/>
                  <a:pt x="3346546" y="1632696"/>
                  <a:pt x="3406431" y="1638401"/>
                </a:cubicBezTo>
                <a:cubicBezTo>
                  <a:pt x="4168482" y="1710982"/>
                  <a:pt x="4791417" y="2337689"/>
                  <a:pt x="4863947" y="3095574"/>
                </a:cubicBezTo>
                <a:cubicBezTo>
                  <a:pt x="4916334" y="3642867"/>
                  <a:pt x="4676673" y="4190555"/>
                  <a:pt x="4245622" y="4529531"/>
                </a:cubicBezTo>
                <a:cubicBezTo>
                  <a:pt x="4245177" y="4529886"/>
                  <a:pt x="4244720" y="4530229"/>
                  <a:pt x="4244276" y="4530572"/>
                </a:cubicBezTo>
                <a:cubicBezTo>
                  <a:pt x="4244187" y="4530674"/>
                  <a:pt x="4244034" y="4530775"/>
                  <a:pt x="4243882" y="4530877"/>
                </a:cubicBezTo>
                <a:cubicBezTo>
                  <a:pt x="3670198" y="4984457"/>
                  <a:pt x="2833585" y="4975568"/>
                  <a:pt x="2258567" y="4530877"/>
                </a:cubicBezTo>
                <a:cubicBezTo>
                  <a:pt x="2258415" y="4530775"/>
                  <a:pt x="2258262" y="4530674"/>
                  <a:pt x="2258122" y="4530572"/>
                </a:cubicBezTo>
                <a:cubicBezTo>
                  <a:pt x="2257576" y="4530178"/>
                  <a:pt x="2257081" y="4529734"/>
                  <a:pt x="2256535" y="4529340"/>
                </a:cubicBezTo>
                <a:cubicBezTo>
                  <a:pt x="1894039" y="4246460"/>
                  <a:pt x="1665629" y="3804792"/>
                  <a:pt x="1634972" y="3346894"/>
                </a:cubicBezTo>
                <a:cubicBezTo>
                  <a:pt x="1574512" y="2443185"/>
                  <a:pt x="2342225" y="1652092"/>
                  <a:pt x="3227928" y="1631954"/>
                </a:cubicBezTo>
                <a:close/>
                <a:moveTo>
                  <a:pt x="5228184" y="1009402"/>
                </a:moveTo>
                <a:cubicBezTo>
                  <a:pt x="5157445" y="1009402"/>
                  <a:pt x="5090909" y="1036935"/>
                  <a:pt x="5040909" y="1086941"/>
                </a:cubicBezTo>
                <a:cubicBezTo>
                  <a:pt x="4942637" y="1185267"/>
                  <a:pt x="4850651" y="1295006"/>
                  <a:pt x="4766818" y="1413866"/>
                </a:cubicBezTo>
                <a:cubicBezTo>
                  <a:pt x="4883937" y="1510703"/>
                  <a:pt x="4991697" y="1618463"/>
                  <a:pt x="5088484" y="1735582"/>
                </a:cubicBezTo>
                <a:cubicBezTo>
                  <a:pt x="5207394" y="1651749"/>
                  <a:pt x="5317134" y="1559814"/>
                  <a:pt x="5415458" y="1461491"/>
                </a:cubicBezTo>
                <a:cubicBezTo>
                  <a:pt x="5518696" y="1358202"/>
                  <a:pt x="5518696" y="1190229"/>
                  <a:pt x="5415458" y="1086941"/>
                </a:cubicBezTo>
                <a:cubicBezTo>
                  <a:pt x="5365458" y="1036935"/>
                  <a:pt x="5298923" y="1009402"/>
                  <a:pt x="5228184" y="1009402"/>
                </a:cubicBezTo>
                <a:close/>
                <a:moveTo>
                  <a:pt x="1274216" y="1009402"/>
                </a:moveTo>
                <a:cubicBezTo>
                  <a:pt x="1203473" y="1009402"/>
                  <a:pt x="1136947" y="1036935"/>
                  <a:pt x="1086941" y="1086941"/>
                </a:cubicBezTo>
                <a:cubicBezTo>
                  <a:pt x="983704" y="1190229"/>
                  <a:pt x="983704" y="1358202"/>
                  <a:pt x="1086941" y="1461491"/>
                </a:cubicBezTo>
                <a:cubicBezTo>
                  <a:pt x="1185217" y="1559763"/>
                  <a:pt x="1294904" y="1651698"/>
                  <a:pt x="1413764" y="1735480"/>
                </a:cubicBezTo>
                <a:cubicBezTo>
                  <a:pt x="1511046" y="1617409"/>
                  <a:pt x="1618907" y="1509865"/>
                  <a:pt x="1735391" y="1413662"/>
                </a:cubicBezTo>
                <a:cubicBezTo>
                  <a:pt x="1651597" y="1294803"/>
                  <a:pt x="1559712" y="1185217"/>
                  <a:pt x="1461490" y="1086941"/>
                </a:cubicBezTo>
                <a:cubicBezTo>
                  <a:pt x="1411440" y="1036935"/>
                  <a:pt x="1344955" y="1009402"/>
                  <a:pt x="1274216" y="1009402"/>
                </a:cubicBezTo>
                <a:close/>
                <a:moveTo>
                  <a:pt x="3251200" y="190500"/>
                </a:moveTo>
                <a:cubicBezTo>
                  <a:pt x="3105201" y="190500"/>
                  <a:pt x="2986379" y="309315"/>
                  <a:pt x="2986379" y="455315"/>
                </a:cubicBezTo>
                <a:cubicBezTo>
                  <a:pt x="2986379" y="594072"/>
                  <a:pt x="2998889" y="736352"/>
                  <a:pt x="3023540" y="879326"/>
                </a:cubicBezTo>
                <a:cubicBezTo>
                  <a:pt x="3043085" y="877491"/>
                  <a:pt x="3062579" y="875853"/>
                  <a:pt x="3082087" y="874465"/>
                </a:cubicBezTo>
                <a:cubicBezTo>
                  <a:pt x="3212605" y="865188"/>
                  <a:pt x="3344164" y="866379"/>
                  <a:pt x="3474441" y="878978"/>
                </a:cubicBezTo>
                <a:cubicBezTo>
                  <a:pt x="3475876" y="879128"/>
                  <a:pt x="3477374" y="879178"/>
                  <a:pt x="3478860" y="879326"/>
                </a:cubicBezTo>
                <a:cubicBezTo>
                  <a:pt x="3503562" y="736303"/>
                  <a:pt x="3516020" y="594072"/>
                  <a:pt x="3516020" y="455315"/>
                </a:cubicBezTo>
                <a:cubicBezTo>
                  <a:pt x="3516020" y="309315"/>
                  <a:pt x="3397199" y="190500"/>
                  <a:pt x="3251200" y="190500"/>
                </a:cubicBezTo>
                <a:close/>
                <a:moveTo>
                  <a:pt x="3251200" y="0"/>
                </a:moveTo>
                <a:cubicBezTo>
                  <a:pt x="3502279" y="0"/>
                  <a:pt x="3706520" y="204241"/>
                  <a:pt x="3706520" y="455315"/>
                </a:cubicBezTo>
                <a:cubicBezTo>
                  <a:pt x="3706520" y="602654"/>
                  <a:pt x="3693274" y="753467"/>
                  <a:pt x="3667519" y="904875"/>
                </a:cubicBezTo>
                <a:cubicBezTo>
                  <a:pt x="4015130" y="966391"/>
                  <a:pt x="4336898" y="1103560"/>
                  <a:pt x="4615256" y="1298626"/>
                </a:cubicBezTo>
                <a:cubicBezTo>
                  <a:pt x="4704308" y="1172964"/>
                  <a:pt x="4801794" y="1056679"/>
                  <a:pt x="4906213" y="952252"/>
                </a:cubicBezTo>
                <a:cubicBezTo>
                  <a:pt x="4992243" y="866229"/>
                  <a:pt x="5106594" y="818902"/>
                  <a:pt x="5228184" y="818902"/>
                </a:cubicBezTo>
                <a:cubicBezTo>
                  <a:pt x="5349824" y="818902"/>
                  <a:pt x="5464175" y="866278"/>
                  <a:pt x="5550154" y="952252"/>
                </a:cubicBezTo>
                <a:cubicBezTo>
                  <a:pt x="5727700" y="1129803"/>
                  <a:pt x="5727700" y="1418628"/>
                  <a:pt x="5550154" y="1596187"/>
                </a:cubicBezTo>
                <a:cubicBezTo>
                  <a:pt x="5445722" y="1700606"/>
                  <a:pt x="5329390" y="1798142"/>
                  <a:pt x="5203774" y="1887144"/>
                </a:cubicBezTo>
                <a:cubicBezTo>
                  <a:pt x="5398834" y="2165553"/>
                  <a:pt x="5536006" y="2487270"/>
                  <a:pt x="5597525" y="2834881"/>
                </a:cubicBezTo>
                <a:cubicBezTo>
                  <a:pt x="5748934" y="2809126"/>
                  <a:pt x="5899747" y="2795880"/>
                  <a:pt x="6047080" y="2795880"/>
                </a:cubicBezTo>
                <a:cubicBezTo>
                  <a:pt x="6298159" y="2795880"/>
                  <a:pt x="6502400" y="3000121"/>
                  <a:pt x="6502400" y="3251200"/>
                </a:cubicBezTo>
                <a:cubicBezTo>
                  <a:pt x="6502400" y="3502279"/>
                  <a:pt x="6298159" y="3706520"/>
                  <a:pt x="6047080" y="3706559"/>
                </a:cubicBezTo>
                <a:cubicBezTo>
                  <a:pt x="5899696" y="3706559"/>
                  <a:pt x="5748833" y="3693274"/>
                  <a:pt x="5597373" y="3667519"/>
                </a:cubicBezTo>
                <a:cubicBezTo>
                  <a:pt x="5580659" y="3761829"/>
                  <a:pt x="5558333" y="3855098"/>
                  <a:pt x="5530304" y="3946817"/>
                </a:cubicBezTo>
                <a:cubicBezTo>
                  <a:pt x="5514823" y="3997376"/>
                  <a:pt x="5459413" y="4024757"/>
                  <a:pt x="5411343" y="4010076"/>
                </a:cubicBezTo>
                <a:cubicBezTo>
                  <a:pt x="5361038" y="3994645"/>
                  <a:pt x="5332756" y="3941420"/>
                  <a:pt x="5348135" y="3891115"/>
                </a:cubicBezTo>
                <a:cubicBezTo>
                  <a:pt x="5440020" y="3590671"/>
                  <a:pt x="5465610" y="3270453"/>
                  <a:pt x="5423992" y="2959100"/>
                </a:cubicBezTo>
                <a:cubicBezTo>
                  <a:pt x="5372303" y="2572893"/>
                  <a:pt x="5219751" y="2218334"/>
                  <a:pt x="4993780" y="1922666"/>
                </a:cubicBezTo>
                <a:cubicBezTo>
                  <a:pt x="4993627" y="1922412"/>
                  <a:pt x="4993437" y="1922259"/>
                  <a:pt x="4993284" y="1922018"/>
                </a:cubicBezTo>
                <a:cubicBezTo>
                  <a:pt x="4642294" y="1463180"/>
                  <a:pt x="4111130" y="1155055"/>
                  <a:pt x="3543046" y="1078409"/>
                </a:cubicBezTo>
                <a:cubicBezTo>
                  <a:pt x="2770530" y="974228"/>
                  <a:pt x="1983829" y="1305471"/>
                  <a:pt x="1509115" y="1922018"/>
                </a:cubicBezTo>
                <a:cubicBezTo>
                  <a:pt x="1508823" y="1922412"/>
                  <a:pt x="1508468" y="1922755"/>
                  <a:pt x="1508176" y="1923161"/>
                </a:cubicBezTo>
                <a:cubicBezTo>
                  <a:pt x="1437437" y="2016024"/>
                  <a:pt x="1373238" y="2115147"/>
                  <a:pt x="1316977" y="2220265"/>
                </a:cubicBezTo>
                <a:cubicBezTo>
                  <a:pt x="1292174" y="2266658"/>
                  <a:pt x="1234430" y="2284121"/>
                  <a:pt x="1188045" y="2259267"/>
                </a:cubicBezTo>
                <a:cubicBezTo>
                  <a:pt x="1141660" y="2234451"/>
                  <a:pt x="1124197" y="2176717"/>
                  <a:pt x="1149053" y="2130324"/>
                </a:cubicBezTo>
                <a:cubicBezTo>
                  <a:pt x="1194346" y="2045640"/>
                  <a:pt x="1244550" y="1964677"/>
                  <a:pt x="1298727" y="1887195"/>
                </a:cubicBezTo>
                <a:cubicBezTo>
                  <a:pt x="1173014" y="1798142"/>
                  <a:pt x="1056679" y="1700657"/>
                  <a:pt x="952252" y="1596187"/>
                </a:cubicBezTo>
                <a:cubicBezTo>
                  <a:pt x="774749" y="1418679"/>
                  <a:pt x="774749" y="1129803"/>
                  <a:pt x="952252" y="952252"/>
                </a:cubicBezTo>
                <a:cubicBezTo>
                  <a:pt x="1038274" y="866278"/>
                  <a:pt x="1152624" y="818902"/>
                  <a:pt x="1274216" y="818902"/>
                </a:cubicBezTo>
                <a:cubicBezTo>
                  <a:pt x="1395857" y="818902"/>
                  <a:pt x="1510208" y="866278"/>
                  <a:pt x="1596187" y="952252"/>
                </a:cubicBezTo>
                <a:cubicBezTo>
                  <a:pt x="1700466" y="1056580"/>
                  <a:pt x="1797837" y="1172715"/>
                  <a:pt x="1886788" y="1298181"/>
                </a:cubicBezTo>
                <a:cubicBezTo>
                  <a:pt x="2168423" y="1101129"/>
                  <a:pt x="2491435" y="965944"/>
                  <a:pt x="2834932" y="905123"/>
                </a:cubicBezTo>
                <a:cubicBezTo>
                  <a:pt x="2809125" y="753666"/>
                  <a:pt x="2795879" y="602753"/>
                  <a:pt x="2795879" y="455315"/>
                </a:cubicBezTo>
                <a:cubicBezTo>
                  <a:pt x="2795879" y="204241"/>
                  <a:pt x="3000121" y="0"/>
                  <a:pt x="3251200" y="0"/>
                </a:cubicBezTo>
                <a:close/>
              </a:path>
            </a:pathLst>
          </a:custGeom>
          <a:solidFill>
            <a:schemeClr val="tx2"/>
          </a:solidFill>
          <a:ln w="12688" cap="flat">
            <a:noFill/>
            <a:prstDash val="solid"/>
            <a:miter/>
          </a:ln>
        </p:spPr>
        <p:txBody>
          <a:bodyPr rtlCol="0" anchor="ctr"/>
          <a:lstStyle/>
          <a:p>
            <a:endParaRPr lang="en-US"/>
          </a:p>
        </p:txBody>
      </p:sp>
      <p:sp>
        <p:nvSpPr>
          <p:cNvPr id="8" name="Rectangle 12">
            <a:extLst>
              <a:ext uri="{FF2B5EF4-FFF2-40B4-BE49-F238E27FC236}">
                <a16:creationId xmlns:a16="http://schemas.microsoft.com/office/drawing/2014/main" id="{612C07CF-523B-A54F-8131-16D1B038D46A}"/>
              </a:ext>
            </a:extLst>
          </p:cNvPr>
          <p:cNvSpPr/>
          <p:nvPr userDrawn="1"/>
        </p:nvSpPr>
        <p:spPr>
          <a:xfrm>
            <a:off x="9457764" y="6579030"/>
            <a:ext cx="2734235" cy="278969"/>
          </a:xfrm>
          <a:prstGeom prst="rect">
            <a:avLst/>
          </a:prstGeom>
          <a:solidFill>
            <a:schemeClr val="accent5"/>
          </a:solidFill>
        </p:spPr>
        <p:txBody>
          <a:bodyPr wrap="square" lIns="0" tIns="0" rIns="0" bIns="0" rtlCol="0" anchor="ctr" anchorCtr="0">
            <a:noAutofit/>
          </a:bodyPr>
          <a:lstStyle/>
          <a:p>
            <a:pPr algn="ctr"/>
            <a:r>
              <a:rPr lang="en-US" sz="800" b="1">
                <a:solidFill>
                  <a:schemeClr val="bg1"/>
                </a:solidFill>
                <a:cs typeface="Arial" panose="020B0604020202020204" pitchFamily="34" charset="0"/>
              </a:rPr>
              <a:t>ESTRATEGIA DE MIGRACIÓN</a:t>
            </a:r>
          </a:p>
        </p:txBody>
      </p:sp>
    </p:spTree>
    <p:extLst>
      <p:ext uri="{BB962C8B-B14F-4D97-AF65-F5344CB8AC3E}">
        <p14:creationId xmlns:p14="http://schemas.microsoft.com/office/powerpoint/2010/main" val="64427205"/>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mplate Propuesta 2022 - Gestión del Cambio">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50040F2E-A856-F74D-B747-8F63180F396D}"/>
              </a:ext>
            </a:extLst>
          </p:cNvPr>
          <p:cNvSpPr>
            <a:spLocks noGrp="1"/>
          </p:cNvSpPr>
          <p:nvPr>
            <p:ph type="title"/>
          </p:nvPr>
        </p:nvSpPr>
        <p:spPr>
          <a:xfrm>
            <a:off x="1138892" y="36122"/>
            <a:ext cx="10610449" cy="276999"/>
          </a:xfrm>
        </p:spPr>
        <p:txBody>
          <a:bodyPr wrap="square" lIns="0" anchor="t">
            <a:noAutofit/>
          </a:bodyPr>
          <a:lstStyle>
            <a:lvl1pPr>
              <a:defRPr lang="es-ES_tradnl" cap="all" baseline="0" noProof="0" dirty="0"/>
            </a:lvl1pPr>
          </a:lstStyle>
          <a:p>
            <a:pPr lvl="0"/>
            <a:r>
              <a:rPr lang="es-ES_tradnl" noProof="0"/>
              <a:t>Haga clic para modificar el estilo de título del patrón</a:t>
            </a:r>
          </a:p>
        </p:txBody>
      </p:sp>
      <p:sp>
        <p:nvSpPr>
          <p:cNvPr id="7" name="Marcador de texto 5">
            <a:extLst>
              <a:ext uri="{FF2B5EF4-FFF2-40B4-BE49-F238E27FC236}">
                <a16:creationId xmlns:a16="http://schemas.microsoft.com/office/drawing/2014/main" id="{CC6303D6-D0FC-984A-8419-A50470327A59}"/>
              </a:ext>
            </a:extLst>
          </p:cNvPr>
          <p:cNvSpPr>
            <a:spLocks noGrp="1"/>
          </p:cNvSpPr>
          <p:nvPr>
            <p:ph type="body" sz="quarter" idx="10"/>
          </p:nvPr>
        </p:nvSpPr>
        <p:spPr>
          <a:xfrm>
            <a:off x="442659" y="671500"/>
            <a:ext cx="11306682" cy="5741999"/>
          </a:xfrm>
        </p:spPr>
        <p:txBody>
          <a:bodyPr/>
          <a:lstStyle/>
          <a:p>
            <a:pPr lvl="0"/>
            <a:r>
              <a:rPr lang="es-ES_tradnl" noProof="0"/>
              <a:t>Haga clic para modificar los estilos de texto del patrón</a:t>
            </a:r>
          </a:p>
          <a:p>
            <a:pPr lvl="1"/>
            <a:r>
              <a:rPr lang="es-ES_tradnl" noProof="0"/>
              <a:t>Segundo nivel</a:t>
            </a:r>
          </a:p>
          <a:p>
            <a:pPr lvl="2"/>
            <a:r>
              <a:rPr lang="es-ES_tradnl" noProof="0"/>
              <a:t>Tercer nivel</a:t>
            </a:r>
          </a:p>
          <a:p>
            <a:pPr lvl="3"/>
            <a:r>
              <a:rPr lang="es-ES_tradnl" noProof="0"/>
              <a:t>Cuarto nivel</a:t>
            </a:r>
          </a:p>
          <a:p>
            <a:pPr lvl="4"/>
            <a:r>
              <a:rPr lang="es-ES_tradnl" noProof="0"/>
              <a:t>Quinto nivel</a:t>
            </a:r>
          </a:p>
        </p:txBody>
      </p:sp>
      <p:sp>
        <p:nvSpPr>
          <p:cNvPr id="4" name="Marcador de texto 4">
            <a:extLst>
              <a:ext uri="{FF2B5EF4-FFF2-40B4-BE49-F238E27FC236}">
                <a16:creationId xmlns:a16="http://schemas.microsoft.com/office/drawing/2014/main" id="{DED7AFAC-0516-FB48-9E02-44CC62A80883}"/>
              </a:ext>
            </a:extLst>
          </p:cNvPr>
          <p:cNvSpPr>
            <a:spLocks noGrp="1"/>
          </p:cNvSpPr>
          <p:nvPr>
            <p:ph type="body" sz="quarter" idx="11"/>
          </p:nvPr>
        </p:nvSpPr>
        <p:spPr>
          <a:xfrm>
            <a:off x="1138639" y="290195"/>
            <a:ext cx="10610449" cy="217488"/>
          </a:xfrm>
        </p:spPr>
        <p:txBody>
          <a:bodyPr/>
          <a:lstStyle>
            <a:lvl1pPr>
              <a:defRPr sz="1200">
                <a:solidFill>
                  <a:schemeClr val="tx2"/>
                </a:solidFill>
              </a:defRPr>
            </a:lvl1pPr>
          </a:lstStyle>
          <a:p>
            <a:pPr lvl="0"/>
            <a:r>
              <a:rPr lang="es-ES_tradnl" noProof="0"/>
              <a:t>Haga clic para modificar los estilos de texto del patrón</a:t>
            </a:r>
          </a:p>
        </p:txBody>
      </p:sp>
      <p:sp>
        <p:nvSpPr>
          <p:cNvPr id="9" name="Rectángulo 8">
            <a:extLst>
              <a:ext uri="{FF2B5EF4-FFF2-40B4-BE49-F238E27FC236}">
                <a16:creationId xmlns:a16="http://schemas.microsoft.com/office/drawing/2014/main" id="{9D31E6A8-7FC5-D346-B913-27F3CB84C0BF}"/>
              </a:ext>
            </a:extLst>
          </p:cNvPr>
          <p:cNvSpPr/>
          <p:nvPr userDrawn="1"/>
        </p:nvSpPr>
        <p:spPr bwMode="auto">
          <a:xfrm>
            <a:off x="596159" y="67814"/>
            <a:ext cx="405613" cy="405613"/>
          </a:xfrm>
          <a:prstGeom prst="rect">
            <a:avLst/>
          </a:prstGeom>
          <a:solidFill>
            <a:schemeClr val="bg1"/>
          </a:solidFill>
          <a:ln w="25400" cap="flat">
            <a:solidFill>
              <a:schemeClr val="tx1"/>
            </a:solidFill>
            <a:miter lim="800000"/>
          </a:ln>
        </p:spPr>
        <p:txBody>
          <a:bodyPr lIns="0" tIns="0" rIns="0" bIns="0" rtlCol="0" anchor="ctr">
            <a:noAutofit/>
          </a:bodyPr>
          <a:lstStyle/>
          <a:p>
            <a:pPr algn="ctr"/>
            <a:endParaRPr lang="es-ES_tradnl" sz="1400" noProof="0"/>
          </a:p>
        </p:txBody>
      </p:sp>
      <p:sp>
        <p:nvSpPr>
          <p:cNvPr id="8" name="Forma libre 7">
            <a:extLst>
              <a:ext uri="{FF2B5EF4-FFF2-40B4-BE49-F238E27FC236}">
                <a16:creationId xmlns:a16="http://schemas.microsoft.com/office/drawing/2014/main" id="{15DCF29F-159F-BD41-B335-B1CA3CD47682}"/>
              </a:ext>
            </a:extLst>
          </p:cNvPr>
          <p:cNvSpPr/>
          <p:nvPr userDrawn="1"/>
        </p:nvSpPr>
        <p:spPr>
          <a:xfrm>
            <a:off x="680143" y="151633"/>
            <a:ext cx="237644" cy="237974"/>
          </a:xfrm>
          <a:custGeom>
            <a:avLst/>
            <a:gdLst>
              <a:gd name="connsiteX0" fmla="*/ 114300 w 4299585"/>
              <a:gd name="connsiteY0" fmla="*/ 2634853 h 4305538"/>
              <a:gd name="connsiteX1" fmla="*/ 228600 w 4299585"/>
              <a:gd name="connsiteY1" fmla="*/ 2749153 h 4305538"/>
              <a:gd name="connsiteX2" fmla="*/ 228600 w 4299585"/>
              <a:gd name="connsiteY2" fmla="*/ 3133010 h 4305538"/>
              <a:gd name="connsiteX3" fmla="*/ 847725 w 4299585"/>
              <a:gd name="connsiteY3" fmla="*/ 3752135 h 4305538"/>
              <a:gd name="connsiteX4" fmla="*/ 1373505 w 4299585"/>
              <a:gd name="connsiteY4" fmla="*/ 3752135 h 4305538"/>
              <a:gd name="connsiteX5" fmla="*/ 1243965 w 4299585"/>
              <a:gd name="connsiteY5" fmla="*/ 3622596 h 4305538"/>
              <a:gd name="connsiteX6" fmla="*/ 1243965 w 4299585"/>
              <a:gd name="connsiteY6" fmla="*/ 3460671 h 4305538"/>
              <a:gd name="connsiteX7" fmla="*/ 1405890 w 4299585"/>
              <a:gd name="connsiteY7" fmla="*/ 3460671 h 4305538"/>
              <a:gd name="connsiteX8" fmla="*/ 1730692 w 4299585"/>
              <a:gd name="connsiteY8" fmla="*/ 3785473 h 4305538"/>
              <a:gd name="connsiteX9" fmla="*/ 1730692 w 4299585"/>
              <a:gd name="connsiteY9" fmla="*/ 3947398 h 4305538"/>
              <a:gd name="connsiteX10" fmla="*/ 1405890 w 4299585"/>
              <a:gd name="connsiteY10" fmla="*/ 4272201 h 4305538"/>
              <a:gd name="connsiteX11" fmla="*/ 1324928 w 4299585"/>
              <a:gd name="connsiteY11" fmla="*/ 4305538 h 4305538"/>
              <a:gd name="connsiteX12" fmla="*/ 1243965 w 4299585"/>
              <a:gd name="connsiteY12" fmla="*/ 4272201 h 4305538"/>
              <a:gd name="connsiteX13" fmla="*/ 1243965 w 4299585"/>
              <a:gd name="connsiteY13" fmla="*/ 4110276 h 4305538"/>
              <a:gd name="connsiteX14" fmla="*/ 1373505 w 4299585"/>
              <a:gd name="connsiteY14" fmla="*/ 3980735 h 4305538"/>
              <a:gd name="connsiteX15" fmla="*/ 847725 w 4299585"/>
              <a:gd name="connsiteY15" fmla="*/ 3980735 h 4305538"/>
              <a:gd name="connsiteX16" fmla="*/ 0 w 4299585"/>
              <a:gd name="connsiteY16" fmla="*/ 3133010 h 4305538"/>
              <a:gd name="connsiteX17" fmla="*/ 0 w 4299585"/>
              <a:gd name="connsiteY17" fmla="*/ 2749153 h 4305538"/>
              <a:gd name="connsiteX18" fmla="*/ 114300 w 4299585"/>
              <a:gd name="connsiteY18" fmla="*/ 2634853 h 4305538"/>
              <a:gd name="connsiteX19" fmla="*/ 2413635 w 4299585"/>
              <a:gd name="connsiteY19" fmla="*/ 2428160 h 4305538"/>
              <a:gd name="connsiteX20" fmla="*/ 2413635 w 4299585"/>
              <a:gd name="connsiteY20" fmla="*/ 4076937 h 4305538"/>
              <a:gd name="connsiteX21" fmla="*/ 4062413 w 4299585"/>
              <a:gd name="connsiteY21" fmla="*/ 4076937 h 4305538"/>
              <a:gd name="connsiteX22" fmla="*/ 4062413 w 4299585"/>
              <a:gd name="connsiteY22" fmla="*/ 2428160 h 4305538"/>
              <a:gd name="connsiteX23" fmla="*/ 2299335 w 4299585"/>
              <a:gd name="connsiteY23" fmla="*/ 2199560 h 4305538"/>
              <a:gd name="connsiteX24" fmla="*/ 4176713 w 4299585"/>
              <a:gd name="connsiteY24" fmla="*/ 2199560 h 4305538"/>
              <a:gd name="connsiteX25" fmla="*/ 4291013 w 4299585"/>
              <a:gd name="connsiteY25" fmla="*/ 2313860 h 4305538"/>
              <a:gd name="connsiteX26" fmla="*/ 4291013 w 4299585"/>
              <a:gd name="connsiteY26" fmla="*/ 4191237 h 4305538"/>
              <a:gd name="connsiteX27" fmla="*/ 4176713 w 4299585"/>
              <a:gd name="connsiteY27" fmla="*/ 4305538 h 4305538"/>
              <a:gd name="connsiteX28" fmla="*/ 2299335 w 4299585"/>
              <a:gd name="connsiteY28" fmla="*/ 4305538 h 4305538"/>
              <a:gd name="connsiteX29" fmla="*/ 2185035 w 4299585"/>
              <a:gd name="connsiteY29" fmla="*/ 4191237 h 4305538"/>
              <a:gd name="connsiteX30" fmla="*/ 2185035 w 4299585"/>
              <a:gd name="connsiteY30" fmla="*/ 2313860 h 4305538"/>
              <a:gd name="connsiteX31" fmla="*/ 2299335 w 4299585"/>
              <a:gd name="connsiteY31" fmla="*/ 2199560 h 4305538"/>
              <a:gd name="connsiteX32" fmla="*/ 2000250 w 4299585"/>
              <a:gd name="connsiteY32" fmla="*/ 1877615 h 4305538"/>
              <a:gd name="connsiteX33" fmla="*/ 2081213 w 4299585"/>
              <a:gd name="connsiteY33" fmla="*/ 1910953 h 4305538"/>
              <a:gd name="connsiteX34" fmla="*/ 2114550 w 4299585"/>
              <a:gd name="connsiteY34" fmla="*/ 1991915 h 4305538"/>
              <a:gd name="connsiteX35" fmla="*/ 2081213 w 4299585"/>
              <a:gd name="connsiteY35" fmla="*/ 2072878 h 4305538"/>
              <a:gd name="connsiteX36" fmla="*/ 2000250 w 4299585"/>
              <a:gd name="connsiteY36" fmla="*/ 2106215 h 4305538"/>
              <a:gd name="connsiteX37" fmla="*/ 1919288 w 4299585"/>
              <a:gd name="connsiteY37" fmla="*/ 2072878 h 4305538"/>
              <a:gd name="connsiteX38" fmla="*/ 1885950 w 4299585"/>
              <a:gd name="connsiteY38" fmla="*/ 1991915 h 4305538"/>
              <a:gd name="connsiteX39" fmla="*/ 1919288 w 4299585"/>
              <a:gd name="connsiteY39" fmla="*/ 1910953 h 4305538"/>
              <a:gd name="connsiteX40" fmla="*/ 2000250 w 4299585"/>
              <a:gd name="connsiteY40" fmla="*/ 1877615 h 4305538"/>
              <a:gd name="connsiteX41" fmla="*/ 1530668 w 4299585"/>
              <a:gd name="connsiteY41" fmla="*/ 1877615 h 4305538"/>
              <a:gd name="connsiteX42" fmla="*/ 1644968 w 4299585"/>
              <a:gd name="connsiteY42" fmla="*/ 1991915 h 4305538"/>
              <a:gd name="connsiteX43" fmla="*/ 1530668 w 4299585"/>
              <a:gd name="connsiteY43" fmla="*/ 2106215 h 4305538"/>
              <a:gd name="connsiteX44" fmla="*/ 1416368 w 4299585"/>
              <a:gd name="connsiteY44" fmla="*/ 1991915 h 4305538"/>
              <a:gd name="connsiteX45" fmla="*/ 1530668 w 4299585"/>
              <a:gd name="connsiteY45" fmla="*/ 1877615 h 4305538"/>
              <a:gd name="connsiteX46" fmla="*/ 1062038 w 4299585"/>
              <a:gd name="connsiteY46" fmla="*/ 1877615 h 4305538"/>
              <a:gd name="connsiteX47" fmla="*/ 1176338 w 4299585"/>
              <a:gd name="connsiteY47" fmla="*/ 1991915 h 4305538"/>
              <a:gd name="connsiteX48" fmla="*/ 1062038 w 4299585"/>
              <a:gd name="connsiteY48" fmla="*/ 2106215 h 4305538"/>
              <a:gd name="connsiteX49" fmla="*/ 947738 w 4299585"/>
              <a:gd name="connsiteY49" fmla="*/ 1991915 h 4305538"/>
              <a:gd name="connsiteX50" fmla="*/ 1062038 w 4299585"/>
              <a:gd name="connsiteY50" fmla="*/ 1877615 h 4305538"/>
              <a:gd name="connsiteX51" fmla="*/ 592455 w 4299585"/>
              <a:gd name="connsiteY51" fmla="*/ 1877615 h 4305538"/>
              <a:gd name="connsiteX52" fmla="*/ 706755 w 4299585"/>
              <a:gd name="connsiteY52" fmla="*/ 1991915 h 4305538"/>
              <a:gd name="connsiteX53" fmla="*/ 592455 w 4299585"/>
              <a:gd name="connsiteY53" fmla="*/ 2106215 h 4305538"/>
              <a:gd name="connsiteX54" fmla="*/ 478155 w 4299585"/>
              <a:gd name="connsiteY54" fmla="*/ 1991915 h 4305538"/>
              <a:gd name="connsiteX55" fmla="*/ 592455 w 4299585"/>
              <a:gd name="connsiteY55" fmla="*/ 1877615 h 4305538"/>
              <a:gd name="connsiteX56" fmla="*/ 122873 w 4299585"/>
              <a:gd name="connsiteY56" fmla="*/ 1877615 h 4305538"/>
              <a:gd name="connsiteX57" fmla="*/ 203836 w 4299585"/>
              <a:gd name="connsiteY57" fmla="*/ 1910953 h 4305538"/>
              <a:gd name="connsiteX58" fmla="*/ 237173 w 4299585"/>
              <a:gd name="connsiteY58" fmla="*/ 1991915 h 4305538"/>
              <a:gd name="connsiteX59" fmla="*/ 203836 w 4299585"/>
              <a:gd name="connsiteY59" fmla="*/ 2072878 h 4305538"/>
              <a:gd name="connsiteX60" fmla="*/ 122873 w 4299585"/>
              <a:gd name="connsiteY60" fmla="*/ 2106215 h 4305538"/>
              <a:gd name="connsiteX61" fmla="*/ 41911 w 4299585"/>
              <a:gd name="connsiteY61" fmla="*/ 2072878 h 4305538"/>
              <a:gd name="connsiteX62" fmla="*/ 8573 w 4299585"/>
              <a:gd name="connsiteY62" fmla="*/ 1991915 h 4305538"/>
              <a:gd name="connsiteX63" fmla="*/ 41911 w 4299585"/>
              <a:gd name="connsiteY63" fmla="*/ 1910953 h 4305538"/>
              <a:gd name="connsiteX64" fmla="*/ 122873 w 4299585"/>
              <a:gd name="connsiteY64" fmla="*/ 1877615 h 4305538"/>
              <a:gd name="connsiteX65" fmla="*/ 2000250 w 4299585"/>
              <a:gd name="connsiteY65" fmla="*/ 1408985 h 4305538"/>
              <a:gd name="connsiteX66" fmla="*/ 2114550 w 4299585"/>
              <a:gd name="connsiteY66" fmla="*/ 1523285 h 4305538"/>
              <a:gd name="connsiteX67" fmla="*/ 2000250 w 4299585"/>
              <a:gd name="connsiteY67" fmla="*/ 1637585 h 4305538"/>
              <a:gd name="connsiteX68" fmla="*/ 1885950 w 4299585"/>
              <a:gd name="connsiteY68" fmla="*/ 1523285 h 4305538"/>
              <a:gd name="connsiteX69" fmla="*/ 2000250 w 4299585"/>
              <a:gd name="connsiteY69" fmla="*/ 1408985 h 4305538"/>
              <a:gd name="connsiteX70" fmla="*/ 122873 w 4299585"/>
              <a:gd name="connsiteY70" fmla="*/ 1408985 h 4305538"/>
              <a:gd name="connsiteX71" fmla="*/ 237173 w 4299585"/>
              <a:gd name="connsiteY71" fmla="*/ 1523285 h 4305538"/>
              <a:gd name="connsiteX72" fmla="*/ 122873 w 4299585"/>
              <a:gd name="connsiteY72" fmla="*/ 1637585 h 4305538"/>
              <a:gd name="connsiteX73" fmla="*/ 8573 w 4299585"/>
              <a:gd name="connsiteY73" fmla="*/ 1523285 h 4305538"/>
              <a:gd name="connsiteX74" fmla="*/ 122873 w 4299585"/>
              <a:gd name="connsiteY74" fmla="*/ 1408985 h 4305538"/>
              <a:gd name="connsiteX75" fmla="*/ 2000250 w 4299585"/>
              <a:gd name="connsiteY75" fmla="*/ 939403 h 4305538"/>
              <a:gd name="connsiteX76" fmla="*/ 2114550 w 4299585"/>
              <a:gd name="connsiteY76" fmla="*/ 1053703 h 4305538"/>
              <a:gd name="connsiteX77" fmla="*/ 2000250 w 4299585"/>
              <a:gd name="connsiteY77" fmla="*/ 1168003 h 4305538"/>
              <a:gd name="connsiteX78" fmla="*/ 1885950 w 4299585"/>
              <a:gd name="connsiteY78" fmla="*/ 1053703 h 4305538"/>
              <a:gd name="connsiteX79" fmla="*/ 2000250 w 4299585"/>
              <a:gd name="connsiteY79" fmla="*/ 939403 h 4305538"/>
              <a:gd name="connsiteX80" fmla="*/ 122873 w 4299585"/>
              <a:gd name="connsiteY80" fmla="*/ 939403 h 4305538"/>
              <a:gd name="connsiteX81" fmla="*/ 237173 w 4299585"/>
              <a:gd name="connsiteY81" fmla="*/ 1053703 h 4305538"/>
              <a:gd name="connsiteX82" fmla="*/ 122873 w 4299585"/>
              <a:gd name="connsiteY82" fmla="*/ 1168003 h 4305538"/>
              <a:gd name="connsiteX83" fmla="*/ 8573 w 4299585"/>
              <a:gd name="connsiteY83" fmla="*/ 1053703 h 4305538"/>
              <a:gd name="connsiteX84" fmla="*/ 122873 w 4299585"/>
              <a:gd name="connsiteY84" fmla="*/ 939403 h 4305538"/>
              <a:gd name="connsiteX85" fmla="*/ 122873 w 4299585"/>
              <a:gd name="connsiteY85" fmla="*/ 469822 h 4305538"/>
              <a:gd name="connsiteX86" fmla="*/ 237173 w 4299585"/>
              <a:gd name="connsiteY86" fmla="*/ 584121 h 4305538"/>
              <a:gd name="connsiteX87" fmla="*/ 122873 w 4299585"/>
              <a:gd name="connsiteY87" fmla="*/ 698421 h 4305538"/>
              <a:gd name="connsiteX88" fmla="*/ 8573 w 4299585"/>
              <a:gd name="connsiteY88" fmla="*/ 584121 h 4305538"/>
              <a:gd name="connsiteX89" fmla="*/ 122873 w 4299585"/>
              <a:gd name="connsiteY89" fmla="*/ 469822 h 4305538"/>
              <a:gd name="connsiteX90" fmla="*/ 2000250 w 4299585"/>
              <a:gd name="connsiteY90" fmla="*/ 469821 h 4305538"/>
              <a:gd name="connsiteX91" fmla="*/ 2114550 w 4299585"/>
              <a:gd name="connsiteY91" fmla="*/ 584121 h 4305538"/>
              <a:gd name="connsiteX92" fmla="*/ 2000250 w 4299585"/>
              <a:gd name="connsiteY92" fmla="*/ 698421 h 4305538"/>
              <a:gd name="connsiteX93" fmla="*/ 1885950 w 4299585"/>
              <a:gd name="connsiteY93" fmla="*/ 584121 h 4305538"/>
              <a:gd name="connsiteX94" fmla="*/ 2000250 w 4299585"/>
              <a:gd name="connsiteY94" fmla="*/ 469821 h 4305538"/>
              <a:gd name="connsiteX95" fmla="*/ 1530668 w 4299585"/>
              <a:gd name="connsiteY95" fmla="*/ 238 h 4305538"/>
              <a:gd name="connsiteX96" fmla="*/ 1644968 w 4299585"/>
              <a:gd name="connsiteY96" fmla="*/ 114539 h 4305538"/>
              <a:gd name="connsiteX97" fmla="*/ 1530668 w 4299585"/>
              <a:gd name="connsiteY97" fmla="*/ 228839 h 4305538"/>
              <a:gd name="connsiteX98" fmla="*/ 1416368 w 4299585"/>
              <a:gd name="connsiteY98" fmla="*/ 114539 h 4305538"/>
              <a:gd name="connsiteX99" fmla="*/ 1530668 w 4299585"/>
              <a:gd name="connsiteY99" fmla="*/ 238 h 4305538"/>
              <a:gd name="connsiteX100" fmla="*/ 1062038 w 4299585"/>
              <a:gd name="connsiteY100" fmla="*/ 238 h 4305538"/>
              <a:gd name="connsiteX101" fmla="*/ 1176338 w 4299585"/>
              <a:gd name="connsiteY101" fmla="*/ 114539 h 4305538"/>
              <a:gd name="connsiteX102" fmla="*/ 1062038 w 4299585"/>
              <a:gd name="connsiteY102" fmla="*/ 228839 h 4305538"/>
              <a:gd name="connsiteX103" fmla="*/ 947738 w 4299585"/>
              <a:gd name="connsiteY103" fmla="*/ 114539 h 4305538"/>
              <a:gd name="connsiteX104" fmla="*/ 1062038 w 4299585"/>
              <a:gd name="connsiteY104" fmla="*/ 238 h 4305538"/>
              <a:gd name="connsiteX105" fmla="*/ 122873 w 4299585"/>
              <a:gd name="connsiteY105" fmla="*/ 238 h 4305538"/>
              <a:gd name="connsiteX106" fmla="*/ 203836 w 4299585"/>
              <a:gd name="connsiteY106" fmla="*/ 33576 h 4305538"/>
              <a:gd name="connsiteX107" fmla="*/ 237173 w 4299585"/>
              <a:gd name="connsiteY107" fmla="*/ 114539 h 4305538"/>
              <a:gd name="connsiteX108" fmla="*/ 203836 w 4299585"/>
              <a:gd name="connsiteY108" fmla="*/ 195502 h 4305538"/>
              <a:gd name="connsiteX109" fmla="*/ 122873 w 4299585"/>
              <a:gd name="connsiteY109" fmla="*/ 228839 h 4305538"/>
              <a:gd name="connsiteX110" fmla="*/ 41911 w 4299585"/>
              <a:gd name="connsiteY110" fmla="*/ 195502 h 4305538"/>
              <a:gd name="connsiteX111" fmla="*/ 8573 w 4299585"/>
              <a:gd name="connsiteY111" fmla="*/ 114539 h 4305538"/>
              <a:gd name="connsiteX112" fmla="*/ 41911 w 4299585"/>
              <a:gd name="connsiteY112" fmla="*/ 33576 h 4305538"/>
              <a:gd name="connsiteX113" fmla="*/ 122873 w 4299585"/>
              <a:gd name="connsiteY113" fmla="*/ 238 h 4305538"/>
              <a:gd name="connsiteX114" fmla="*/ 2000250 w 4299585"/>
              <a:gd name="connsiteY114" fmla="*/ 238 h 4305538"/>
              <a:gd name="connsiteX115" fmla="*/ 2081213 w 4299585"/>
              <a:gd name="connsiteY115" fmla="*/ 33576 h 4305538"/>
              <a:gd name="connsiteX116" fmla="*/ 2114550 w 4299585"/>
              <a:gd name="connsiteY116" fmla="*/ 114539 h 4305538"/>
              <a:gd name="connsiteX117" fmla="*/ 2081213 w 4299585"/>
              <a:gd name="connsiteY117" fmla="*/ 195502 h 4305538"/>
              <a:gd name="connsiteX118" fmla="*/ 2000250 w 4299585"/>
              <a:gd name="connsiteY118" fmla="*/ 228839 h 4305538"/>
              <a:gd name="connsiteX119" fmla="*/ 1919288 w 4299585"/>
              <a:gd name="connsiteY119" fmla="*/ 195502 h 4305538"/>
              <a:gd name="connsiteX120" fmla="*/ 1885950 w 4299585"/>
              <a:gd name="connsiteY120" fmla="*/ 114539 h 4305538"/>
              <a:gd name="connsiteX121" fmla="*/ 1919288 w 4299585"/>
              <a:gd name="connsiteY121" fmla="*/ 33576 h 4305538"/>
              <a:gd name="connsiteX122" fmla="*/ 2000250 w 4299585"/>
              <a:gd name="connsiteY122" fmla="*/ 238 h 4305538"/>
              <a:gd name="connsiteX123" fmla="*/ 592455 w 4299585"/>
              <a:gd name="connsiteY123" fmla="*/ 238 h 4305538"/>
              <a:gd name="connsiteX124" fmla="*/ 706755 w 4299585"/>
              <a:gd name="connsiteY124" fmla="*/ 114538 h 4305538"/>
              <a:gd name="connsiteX125" fmla="*/ 592455 w 4299585"/>
              <a:gd name="connsiteY125" fmla="*/ 228838 h 4305538"/>
              <a:gd name="connsiteX126" fmla="*/ 478155 w 4299585"/>
              <a:gd name="connsiteY126" fmla="*/ 114538 h 4305538"/>
              <a:gd name="connsiteX127" fmla="*/ 592455 w 4299585"/>
              <a:gd name="connsiteY127" fmla="*/ 238 h 4305538"/>
              <a:gd name="connsiteX128" fmla="*/ 2973705 w 4299585"/>
              <a:gd name="connsiteY128" fmla="*/ 0 h 4305538"/>
              <a:gd name="connsiteX129" fmla="*/ 3054668 w 4299585"/>
              <a:gd name="connsiteY129" fmla="*/ 33576 h 4305538"/>
              <a:gd name="connsiteX130" fmla="*/ 3054668 w 4299585"/>
              <a:gd name="connsiteY130" fmla="*/ 195502 h 4305538"/>
              <a:gd name="connsiteX131" fmla="*/ 2925127 w 4299585"/>
              <a:gd name="connsiteY131" fmla="*/ 325041 h 4305538"/>
              <a:gd name="connsiteX132" fmla="*/ 3450908 w 4299585"/>
              <a:gd name="connsiteY132" fmla="*/ 325041 h 4305538"/>
              <a:gd name="connsiteX133" fmla="*/ 4299585 w 4299585"/>
              <a:gd name="connsiteY133" fmla="*/ 1172766 h 4305538"/>
              <a:gd name="connsiteX134" fmla="*/ 4299585 w 4299585"/>
              <a:gd name="connsiteY134" fmla="*/ 1556623 h 4305538"/>
              <a:gd name="connsiteX135" fmla="*/ 4185285 w 4299585"/>
              <a:gd name="connsiteY135" fmla="*/ 1670923 h 4305538"/>
              <a:gd name="connsiteX136" fmla="*/ 4070985 w 4299585"/>
              <a:gd name="connsiteY136" fmla="*/ 1556623 h 4305538"/>
              <a:gd name="connsiteX137" fmla="*/ 4070985 w 4299585"/>
              <a:gd name="connsiteY137" fmla="*/ 1172766 h 4305538"/>
              <a:gd name="connsiteX138" fmla="*/ 3451860 w 4299585"/>
              <a:gd name="connsiteY138" fmla="*/ 553642 h 4305538"/>
              <a:gd name="connsiteX139" fmla="*/ 2926080 w 4299585"/>
              <a:gd name="connsiteY139" fmla="*/ 553642 h 4305538"/>
              <a:gd name="connsiteX140" fmla="*/ 3055620 w 4299585"/>
              <a:gd name="connsiteY140" fmla="*/ 683181 h 4305538"/>
              <a:gd name="connsiteX141" fmla="*/ 3055620 w 4299585"/>
              <a:gd name="connsiteY141" fmla="*/ 845106 h 4305538"/>
              <a:gd name="connsiteX142" fmla="*/ 2974658 w 4299585"/>
              <a:gd name="connsiteY142" fmla="*/ 878443 h 4305538"/>
              <a:gd name="connsiteX143" fmla="*/ 2893695 w 4299585"/>
              <a:gd name="connsiteY143" fmla="*/ 845106 h 4305538"/>
              <a:gd name="connsiteX144" fmla="*/ 2568893 w 4299585"/>
              <a:gd name="connsiteY144" fmla="*/ 520303 h 4305538"/>
              <a:gd name="connsiteX145" fmla="*/ 2535555 w 4299585"/>
              <a:gd name="connsiteY145" fmla="*/ 439341 h 4305538"/>
              <a:gd name="connsiteX146" fmla="*/ 2568893 w 4299585"/>
              <a:gd name="connsiteY146" fmla="*/ 358379 h 4305538"/>
              <a:gd name="connsiteX147" fmla="*/ 2892743 w 4299585"/>
              <a:gd name="connsiteY147" fmla="*/ 33576 h 4305538"/>
              <a:gd name="connsiteX148" fmla="*/ 2973705 w 4299585"/>
              <a:gd name="connsiteY148" fmla="*/ 0 h 4305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4299585" h="4305538">
                <a:moveTo>
                  <a:pt x="114300" y="2634853"/>
                </a:moveTo>
                <a:cubicBezTo>
                  <a:pt x="177165" y="2634853"/>
                  <a:pt x="228600" y="2686288"/>
                  <a:pt x="228600" y="2749153"/>
                </a:cubicBezTo>
                <a:lnTo>
                  <a:pt x="228600" y="3133010"/>
                </a:lnTo>
                <a:cubicBezTo>
                  <a:pt x="228600" y="3474006"/>
                  <a:pt x="505778" y="3752135"/>
                  <a:pt x="847725" y="3752135"/>
                </a:cubicBezTo>
                <a:lnTo>
                  <a:pt x="1373505" y="3752135"/>
                </a:lnTo>
                <a:lnTo>
                  <a:pt x="1243965" y="3622596"/>
                </a:lnTo>
                <a:cubicBezTo>
                  <a:pt x="1199198" y="3577828"/>
                  <a:pt x="1199198" y="3505438"/>
                  <a:pt x="1243965" y="3460671"/>
                </a:cubicBezTo>
                <a:cubicBezTo>
                  <a:pt x="1288733" y="3415903"/>
                  <a:pt x="1361123" y="3415903"/>
                  <a:pt x="1405890" y="3460671"/>
                </a:cubicBezTo>
                <a:lnTo>
                  <a:pt x="1730692" y="3785473"/>
                </a:lnTo>
                <a:cubicBezTo>
                  <a:pt x="1775460" y="3830241"/>
                  <a:pt x="1775460" y="3902631"/>
                  <a:pt x="1730692" y="3947398"/>
                </a:cubicBezTo>
                <a:lnTo>
                  <a:pt x="1405890" y="4272201"/>
                </a:lnTo>
                <a:cubicBezTo>
                  <a:pt x="1383030" y="4294108"/>
                  <a:pt x="1354455" y="4305538"/>
                  <a:pt x="1324928" y="4305538"/>
                </a:cubicBezTo>
                <a:cubicBezTo>
                  <a:pt x="1295400" y="4305538"/>
                  <a:pt x="1265873" y="4294108"/>
                  <a:pt x="1243965" y="4272201"/>
                </a:cubicBezTo>
                <a:cubicBezTo>
                  <a:pt x="1199198" y="4227433"/>
                  <a:pt x="1199198" y="4155043"/>
                  <a:pt x="1243965" y="4110276"/>
                </a:cubicBezTo>
                <a:lnTo>
                  <a:pt x="1373505" y="3980735"/>
                </a:lnTo>
                <a:lnTo>
                  <a:pt x="847725" y="3980735"/>
                </a:lnTo>
                <a:cubicBezTo>
                  <a:pt x="380048" y="3980735"/>
                  <a:pt x="0" y="3600688"/>
                  <a:pt x="0" y="3133010"/>
                </a:cubicBezTo>
                <a:lnTo>
                  <a:pt x="0" y="2749153"/>
                </a:lnTo>
                <a:cubicBezTo>
                  <a:pt x="0" y="2686288"/>
                  <a:pt x="51435" y="2634853"/>
                  <a:pt x="114300" y="2634853"/>
                </a:cubicBezTo>
                <a:close/>
                <a:moveTo>
                  <a:pt x="2413635" y="2428160"/>
                </a:moveTo>
                <a:lnTo>
                  <a:pt x="2413635" y="4076937"/>
                </a:lnTo>
                <a:lnTo>
                  <a:pt x="4062413" y="4076937"/>
                </a:lnTo>
                <a:lnTo>
                  <a:pt x="4062413" y="2428160"/>
                </a:lnTo>
                <a:close/>
                <a:moveTo>
                  <a:pt x="2299335" y="2199560"/>
                </a:moveTo>
                <a:lnTo>
                  <a:pt x="4176713" y="2199560"/>
                </a:lnTo>
                <a:cubicBezTo>
                  <a:pt x="4239577" y="2199560"/>
                  <a:pt x="4291013" y="2250043"/>
                  <a:pt x="4291013" y="2313860"/>
                </a:cubicBezTo>
                <a:lnTo>
                  <a:pt x="4291013" y="4191237"/>
                </a:lnTo>
                <a:cubicBezTo>
                  <a:pt x="4291013" y="4254103"/>
                  <a:pt x="4239577" y="4305538"/>
                  <a:pt x="4176713" y="4305538"/>
                </a:cubicBezTo>
                <a:lnTo>
                  <a:pt x="2299335" y="4305538"/>
                </a:lnTo>
                <a:cubicBezTo>
                  <a:pt x="2236470" y="4305538"/>
                  <a:pt x="2185035" y="4254103"/>
                  <a:pt x="2185035" y="4191237"/>
                </a:cubicBezTo>
                <a:lnTo>
                  <a:pt x="2185035" y="2313860"/>
                </a:lnTo>
                <a:cubicBezTo>
                  <a:pt x="2185035" y="2250995"/>
                  <a:pt x="2236470" y="2199560"/>
                  <a:pt x="2299335" y="2199560"/>
                </a:cubicBezTo>
                <a:close/>
                <a:moveTo>
                  <a:pt x="2000250" y="1877615"/>
                </a:moveTo>
                <a:cubicBezTo>
                  <a:pt x="2030730" y="1877615"/>
                  <a:pt x="2060267" y="1889998"/>
                  <a:pt x="2081213" y="1910953"/>
                </a:cubicBezTo>
                <a:cubicBezTo>
                  <a:pt x="2102167" y="1931907"/>
                  <a:pt x="2114550" y="1961435"/>
                  <a:pt x="2114550" y="1991915"/>
                </a:cubicBezTo>
                <a:cubicBezTo>
                  <a:pt x="2114550" y="2022395"/>
                  <a:pt x="2102167" y="2051923"/>
                  <a:pt x="2081213" y="2072878"/>
                </a:cubicBezTo>
                <a:cubicBezTo>
                  <a:pt x="2060258" y="2093832"/>
                  <a:pt x="2030730" y="2106215"/>
                  <a:pt x="2000250" y="2106215"/>
                </a:cubicBezTo>
                <a:cubicBezTo>
                  <a:pt x="1969770" y="2106215"/>
                  <a:pt x="1940242" y="2093832"/>
                  <a:pt x="1919288" y="2072878"/>
                </a:cubicBezTo>
                <a:cubicBezTo>
                  <a:pt x="1898333" y="2051923"/>
                  <a:pt x="1885950" y="2021443"/>
                  <a:pt x="1885950" y="1991915"/>
                </a:cubicBezTo>
                <a:cubicBezTo>
                  <a:pt x="1885950" y="1961435"/>
                  <a:pt x="1898333" y="1931907"/>
                  <a:pt x="1919288" y="1910953"/>
                </a:cubicBezTo>
                <a:cubicBezTo>
                  <a:pt x="1940242" y="1889998"/>
                  <a:pt x="1969770" y="1877615"/>
                  <a:pt x="2000250" y="1877615"/>
                </a:cubicBezTo>
                <a:close/>
                <a:moveTo>
                  <a:pt x="1530668" y="1877615"/>
                </a:moveTo>
                <a:cubicBezTo>
                  <a:pt x="1593533" y="1877615"/>
                  <a:pt x="1644968" y="1929050"/>
                  <a:pt x="1644968" y="1991915"/>
                </a:cubicBezTo>
                <a:cubicBezTo>
                  <a:pt x="1644968" y="2054780"/>
                  <a:pt x="1593533" y="2106215"/>
                  <a:pt x="1530668" y="2106215"/>
                </a:cubicBezTo>
                <a:cubicBezTo>
                  <a:pt x="1467803" y="2106215"/>
                  <a:pt x="1416368" y="2055732"/>
                  <a:pt x="1416368" y="1991915"/>
                </a:cubicBezTo>
                <a:cubicBezTo>
                  <a:pt x="1416368" y="1929050"/>
                  <a:pt x="1467803" y="1877615"/>
                  <a:pt x="1530668" y="1877615"/>
                </a:cubicBezTo>
                <a:close/>
                <a:moveTo>
                  <a:pt x="1062038" y="1877615"/>
                </a:moveTo>
                <a:cubicBezTo>
                  <a:pt x="1124903" y="1877615"/>
                  <a:pt x="1176338" y="1929050"/>
                  <a:pt x="1176338" y="1991915"/>
                </a:cubicBezTo>
                <a:cubicBezTo>
                  <a:pt x="1176338" y="2054780"/>
                  <a:pt x="1124903" y="2106215"/>
                  <a:pt x="1062038" y="2106215"/>
                </a:cubicBezTo>
                <a:cubicBezTo>
                  <a:pt x="998221" y="2106215"/>
                  <a:pt x="947738" y="2055732"/>
                  <a:pt x="947738" y="1991915"/>
                </a:cubicBezTo>
                <a:cubicBezTo>
                  <a:pt x="947738" y="1929050"/>
                  <a:pt x="999173" y="1877615"/>
                  <a:pt x="1062038" y="1877615"/>
                </a:cubicBezTo>
                <a:close/>
                <a:moveTo>
                  <a:pt x="592455" y="1877615"/>
                </a:moveTo>
                <a:cubicBezTo>
                  <a:pt x="655320" y="1877615"/>
                  <a:pt x="706755" y="1929050"/>
                  <a:pt x="706755" y="1991915"/>
                </a:cubicBezTo>
                <a:cubicBezTo>
                  <a:pt x="706755" y="2054780"/>
                  <a:pt x="655320" y="2106215"/>
                  <a:pt x="592455" y="2106215"/>
                </a:cubicBezTo>
                <a:cubicBezTo>
                  <a:pt x="529590" y="2106215"/>
                  <a:pt x="478155" y="2055732"/>
                  <a:pt x="478155" y="1991915"/>
                </a:cubicBezTo>
                <a:cubicBezTo>
                  <a:pt x="478155" y="1929050"/>
                  <a:pt x="529590" y="1877615"/>
                  <a:pt x="592455" y="1877615"/>
                </a:cubicBezTo>
                <a:close/>
                <a:moveTo>
                  <a:pt x="122873" y="1877615"/>
                </a:moveTo>
                <a:cubicBezTo>
                  <a:pt x="153353" y="1877615"/>
                  <a:pt x="182880" y="1889998"/>
                  <a:pt x="203836" y="1910953"/>
                </a:cubicBezTo>
                <a:cubicBezTo>
                  <a:pt x="224791" y="1931907"/>
                  <a:pt x="237173" y="1961435"/>
                  <a:pt x="237173" y="1991915"/>
                </a:cubicBezTo>
                <a:cubicBezTo>
                  <a:pt x="237173" y="2022395"/>
                  <a:pt x="224791" y="2051923"/>
                  <a:pt x="203836" y="2072878"/>
                </a:cubicBezTo>
                <a:cubicBezTo>
                  <a:pt x="182880" y="2093832"/>
                  <a:pt x="153353" y="2106215"/>
                  <a:pt x="122873" y="2106215"/>
                </a:cubicBezTo>
                <a:cubicBezTo>
                  <a:pt x="92393" y="2106215"/>
                  <a:pt x="63818" y="2093832"/>
                  <a:pt x="41911" y="2072878"/>
                </a:cubicBezTo>
                <a:cubicBezTo>
                  <a:pt x="20956" y="2051923"/>
                  <a:pt x="8573" y="2021443"/>
                  <a:pt x="8573" y="1991915"/>
                </a:cubicBezTo>
                <a:cubicBezTo>
                  <a:pt x="8573" y="1961435"/>
                  <a:pt x="20956" y="1931907"/>
                  <a:pt x="41911" y="1910953"/>
                </a:cubicBezTo>
                <a:cubicBezTo>
                  <a:pt x="62866" y="1889998"/>
                  <a:pt x="92393" y="1877615"/>
                  <a:pt x="122873" y="1877615"/>
                </a:cubicBezTo>
                <a:close/>
                <a:moveTo>
                  <a:pt x="2000250" y="1408985"/>
                </a:moveTo>
                <a:cubicBezTo>
                  <a:pt x="2064067" y="1408985"/>
                  <a:pt x="2114550" y="1459468"/>
                  <a:pt x="2114550" y="1523285"/>
                </a:cubicBezTo>
                <a:cubicBezTo>
                  <a:pt x="2114550" y="1586150"/>
                  <a:pt x="2063115" y="1637585"/>
                  <a:pt x="2000250" y="1637585"/>
                </a:cubicBezTo>
                <a:cubicBezTo>
                  <a:pt x="1937385" y="1637585"/>
                  <a:pt x="1885950" y="1586150"/>
                  <a:pt x="1885950" y="1523285"/>
                </a:cubicBezTo>
                <a:cubicBezTo>
                  <a:pt x="1885950" y="1460420"/>
                  <a:pt x="1937385" y="1408985"/>
                  <a:pt x="2000250" y="1408985"/>
                </a:cubicBezTo>
                <a:close/>
                <a:moveTo>
                  <a:pt x="122873" y="1408985"/>
                </a:moveTo>
                <a:cubicBezTo>
                  <a:pt x="185738" y="1408985"/>
                  <a:pt x="237173" y="1460420"/>
                  <a:pt x="237173" y="1523285"/>
                </a:cubicBezTo>
                <a:cubicBezTo>
                  <a:pt x="237173" y="1586150"/>
                  <a:pt x="185738" y="1637585"/>
                  <a:pt x="122873" y="1637585"/>
                </a:cubicBezTo>
                <a:cubicBezTo>
                  <a:pt x="60008" y="1637585"/>
                  <a:pt x="8573" y="1586150"/>
                  <a:pt x="8573" y="1523285"/>
                </a:cubicBezTo>
                <a:cubicBezTo>
                  <a:pt x="8573" y="1460420"/>
                  <a:pt x="60008" y="1408985"/>
                  <a:pt x="122873" y="1408985"/>
                </a:cubicBezTo>
                <a:close/>
                <a:moveTo>
                  <a:pt x="2000250" y="939403"/>
                </a:moveTo>
                <a:cubicBezTo>
                  <a:pt x="2064067" y="939403"/>
                  <a:pt x="2114550" y="989886"/>
                  <a:pt x="2114550" y="1053703"/>
                </a:cubicBezTo>
                <a:cubicBezTo>
                  <a:pt x="2114550" y="1116568"/>
                  <a:pt x="2063115" y="1168003"/>
                  <a:pt x="2000250" y="1168003"/>
                </a:cubicBezTo>
                <a:cubicBezTo>
                  <a:pt x="1937385" y="1168003"/>
                  <a:pt x="1885950" y="1116568"/>
                  <a:pt x="1885950" y="1053703"/>
                </a:cubicBezTo>
                <a:cubicBezTo>
                  <a:pt x="1885950" y="990838"/>
                  <a:pt x="1937385" y="939403"/>
                  <a:pt x="2000250" y="939403"/>
                </a:cubicBezTo>
                <a:close/>
                <a:moveTo>
                  <a:pt x="122873" y="939403"/>
                </a:moveTo>
                <a:cubicBezTo>
                  <a:pt x="185738" y="939403"/>
                  <a:pt x="237173" y="990838"/>
                  <a:pt x="237173" y="1053703"/>
                </a:cubicBezTo>
                <a:cubicBezTo>
                  <a:pt x="237173" y="1116568"/>
                  <a:pt x="185738" y="1168003"/>
                  <a:pt x="122873" y="1168003"/>
                </a:cubicBezTo>
                <a:cubicBezTo>
                  <a:pt x="60008" y="1168003"/>
                  <a:pt x="8573" y="1116568"/>
                  <a:pt x="8573" y="1053703"/>
                </a:cubicBezTo>
                <a:cubicBezTo>
                  <a:pt x="8573" y="990838"/>
                  <a:pt x="60008" y="939403"/>
                  <a:pt x="122873" y="939403"/>
                </a:cubicBezTo>
                <a:close/>
                <a:moveTo>
                  <a:pt x="122873" y="469822"/>
                </a:moveTo>
                <a:cubicBezTo>
                  <a:pt x="185738" y="469822"/>
                  <a:pt x="237173" y="521256"/>
                  <a:pt x="237173" y="584121"/>
                </a:cubicBezTo>
                <a:cubicBezTo>
                  <a:pt x="237173" y="646985"/>
                  <a:pt x="185738" y="698421"/>
                  <a:pt x="122873" y="698421"/>
                </a:cubicBezTo>
                <a:cubicBezTo>
                  <a:pt x="60008" y="698421"/>
                  <a:pt x="8573" y="646985"/>
                  <a:pt x="8573" y="584121"/>
                </a:cubicBezTo>
                <a:cubicBezTo>
                  <a:pt x="8573" y="521256"/>
                  <a:pt x="60008" y="469822"/>
                  <a:pt x="122873" y="469822"/>
                </a:cubicBezTo>
                <a:close/>
                <a:moveTo>
                  <a:pt x="2000250" y="469821"/>
                </a:moveTo>
                <a:cubicBezTo>
                  <a:pt x="2064067" y="469821"/>
                  <a:pt x="2114550" y="521256"/>
                  <a:pt x="2114550" y="584121"/>
                </a:cubicBezTo>
                <a:cubicBezTo>
                  <a:pt x="2114550" y="646985"/>
                  <a:pt x="2063115" y="698421"/>
                  <a:pt x="2000250" y="698421"/>
                </a:cubicBezTo>
                <a:cubicBezTo>
                  <a:pt x="1937385" y="698421"/>
                  <a:pt x="1885950" y="646985"/>
                  <a:pt x="1885950" y="584121"/>
                </a:cubicBezTo>
                <a:cubicBezTo>
                  <a:pt x="1885950" y="521256"/>
                  <a:pt x="1937385" y="469821"/>
                  <a:pt x="2000250" y="469821"/>
                </a:cubicBezTo>
                <a:close/>
                <a:moveTo>
                  <a:pt x="1530668" y="238"/>
                </a:moveTo>
                <a:cubicBezTo>
                  <a:pt x="1593533" y="238"/>
                  <a:pt x="1644968" y="51674"/>
                  <a:pt x="1644968" y="114539"/>
                </a:cubicBezTo>
                <a:cubicBezTo>
                  <a:pt x="1644968" y="177404"/>
                  <a:pt x="1593533" y="228839"/>
                  <a:pt x="1530668" y="228839"/>
                </a:cubicBezTo>
                <a:cubicBezTo>
                  <a:pt x="1467803" y="228839"/>
                  <a:pt x="1416368" y="177404"/>
                  <a:pt x="1416368" y="114539"/>
                </a:cubicBezTo>
                <a:cubicBezTo>
                  <a:pt x="1416368" y="51674"/>
                  <a:pt x="1467803" y="238"/>
                  <a:pt x="1530668" y="238"/>
                </a:cubicBezTo>
                <a:close/>
                <a:moveTo>
                  <a:pt x="1062038" y="238"/>
                </a:moveTo>
                <a:cubicBezTo>
                  <a:pt x="1124903" y="238"/>
                  <a:pt x="1176338" y="51674"/>
                  <a:pt x="1176338" y="114539"/>
                </a:cubicBezTo>
                <a:cubicBezTo>
                  <a:pt x="1176338" y="177404"/>
                  <a:pt x="1124903" y="228839"/>
                  <a:pt x="1062038" y="228839"/>
                </a:cubicBezTo>
                <a:cubicBezTo>
                  <a:pt x="998221" y="228839"/>
                  <a:pt x="947738" y="177404"/>
                  <a:pt x="947738" y="114539"/>
                </a:cubicBezTo>
                <a:cubicBezTo>
                  <a:pt x="947738" y="51674"/>
                  <a:pt x="999173" y="238"/>
                  <a:pt x="1062038" y="238"/>
                </a:cubicBezTo>
                <a:close/>
                <a:moveTo>
                  <a:pt x="122873" y="238"/>
                </a:moveTo>
                <a:cubicBezTo>
                  <a:pt x="153353" y="238"/>
                  <a:pt x="182880" y="12621"/>
                  <a:pt x="203836" y="33576"/>
                </a:cubicBezTo>
                <a:cubicBezTo>
                  <a:pt x="224791" y="54531"/>
                  <a:pt x="237173" y="85011"/>
                  <a:pt x="237173" y="114539"/>
                </a:cubicBezTo>
                <a:cubicBezTo>
                  <a:pt x="237173" y="145019"/>
                  <a:pt x="224791" y="174547"/>
                  <a:pt x="203836" y="195502"/>
                </a:cubicBezTo>
                <a:cubicBezTo>
                  <a:pt x="182880" y="216457"/>
                  <a:pt x="153353" y="228839"/>
                  <a:pt x="122873" y="228839"/>
                </a:cubicBezTo>
                <a:cubicBezTo>
                  <a:pt x="92393" y="228839"/>
                  <a:pt x="63818" y="216457"/>
                  <a:pt x="41911" y="195502"/>
                </a:cubicBezTo>
                <a:cubicBezTo>
                  <a:pt x="20956" y="174547"/>
                  <a:pt x="8573" y="145019"/>
                  <a:pt x="8573" y="114539"/>
                </a:cubicBezTo>
                <a:cubicBezTo>
                  <a:pt x="8573" y="84058"/>
                  <a:pt x="20956" y="54531"/>
                  <a:pt x="41911" y="33576"/>
                </a:cubicBezTo>
                <a:cubicBezTo>
                  <a:pt x="62866" y="12621"/>
                  <a:pt x="92393" y="238"/>
                  <a:pt x="122873" y="238"/>
                </a:cubicBezTo>
                <a:close/>
                <a:moveTo>
                  <a:pt x="2000250" y="238"/>
                </a:moveTo>
                <a:cubicBezTo>
                  <a:pt x="2030730" y="238"/>
                  <a:pt x="2060258" y="12621"/>
                  <a:pt x="2081213" y="33576"/>
                </a:cubicBezTo>
                <a:cubicBezTo>
                  <a:pt x="2102167" y="54531"/>
                  <a:pt x="2114550" y="84058"/>
                  <a:pt x="2114550" y="114539"/>
                </a:cubicBezTo>
                <a:cubicBezTo>
                  <a:pt x="2114550" y="145019"/>
                  <a:pt x="2102167" y="174547"/>
                  <a:pt x="2081213" y="195502"/>
                </a:cubicBezTo>
                <a:cubicBezTo>
                  <a:pt x="2060258" y="216457"/>
                  <a:pt x="2030730" y="228839"/>
                  <a:pt x="2000250" y="228839"/>
                </a:cubicBezTo>
                <a:cubicBezTo>
                  <a:pt x="1969770" y="228839"/>
                  <a:pt x="1940242" y="216457"/>
                  <a:pt x="1919288" y="195502"/>
                </a:cubicBezTo>
                <a:cubicBezTo>
                  <a:pt x="1898333" y="174547"/>
                  <a:pt x="1885950" y="145019"/>
                  <a:pt x="1885950" y="114539"/>
                </a:cubicBezTo>
                <a:cubicBezTo>
                  <a:pt x="1885950" y="84058"/>
                  <a:pt x="1898333" y="54531"/>
                  <a:pt x="1919288" y="33576"/>
                </a:cubicBezTo>
                <a:cubicBezTo>
                  <a:pt x="1940242" y="12621"/>
                  <a:pt x="1970723" y="238"/>
                  <a:pt x="2000250" y="238"/>
                </a:cubicBezTo>
                <a:close/>
                <a:moveTo>
                  <a:pt x="592455" y="238"/>
                </a:moveTo>
                <a:cubicBezTo>
                  <a:pt x="655320" y="238"/>
                  <a:pt x="706755" y="51673"/>
                  <a:pt x="706755" y="114538"/>
                </a:cubicBezTo>
                <a:cubicBezTo>
                  <a:pt x="706755" y="177403"/>
                  <a:pt x="655320" y="228838"/>
                  <a:pt x="592455" y="228838"/>
                </a:cubicBezTo>
                <a:cubicBezTo>
                  <a:pt x="529590" y="228838"/>
                  <a:pt x="478155" y="177403"/>
                  <a:pt x="478155" y="114538"/>
                </a:cubicBezTo>
                <a:cubicBezTo>
                  <a:pt x="478155" y="51673"/>
                  <a:pt x="529590" y="238"/>
                  <a:pt x="592455" y="238"/>
                </a:cubicBezTo>
                <a:close/>
                <a:moveTo>
                  <a:pt x="2973705" y="0"/>
                </a:moveTo>
                <a:cubicBezTo>
                  <a:pt x="3002995" y="0"/>
                  <a:pt x="3032284" y="11192"/>
                  <a:pt x="3054668" y="33576"/>
                </a:cubicBezTo>
                <a:cubicBezTo>
                  <a:pt x="3099435" y="78343"/>
                  <a:pt x="3099435" y="150733"/>
                  <a:pt x="3054668" y="195502"/>
                </a:cubicBezTo>
                <a:lnTo>
                  <a:pt x="2925127" y="325041"/>
                </a:lnTo>
                <a:lnTo>
                  <a:pt x="3450908" y="325041"/>
                </a:lnTo>
                <a:cubicBezTo>
                  <a:pt x="3918585" y="325041"/>
                  <a:pt x="4299585" y="705088"/>
                  <a:pt x="4299585" y="1172766"/>
                </a:cubicBezTo>
                <a:lnTo>
                  <a:pt x="4299585" y="1556623"/>
                </a:lnTo>
                <a:cubicBezTo>
                  <a:pt x="4299585" y="1619488"/>
                  <a:pt x="4248150" y="1670923"/>
                  <a:pt x="4185285" y="1670923"/>
                </a:cubicBezTo>
                <a:cubicBezTo>
                  <a:pt x="4122420" y="1670923"/>
                  <a:pt x="4070985" y="1619488"/>
                  <a:pt x="4070985" y="1556623"/>
                </a:cubicBezTo>
                <a:lnTo>
                  <a:pt x="4070985" y="1172766"/>
                </a:lnTo>
                <a:cubicBezTo>
                  <a:pt x="4070985" y="831771"/>
                  <a:pt x="3793808" y="553642"/>
                  <a:pt x="3451860" y="553642"/>
                </a:cubicBezTo>
                <a:lnTo>
                  <a:pt x="2926080" y="553642"/>
                </a:lnTo>
                <a:lnTo>
                  <a:pt x="3055620" y="683181"/>
                </a:lnTo>
                <a:cubicBezTo>
                  <a:pt x="3100388" y="727948"/>
                  <a:pt x="3100388" y="800339"/>
                  <a:pt x="3055620" y="845106"/>
                </a:cubicBezTo>
                <a:cubicBezTo>
                  <a:pt x="3032760" y="867013"/>
                  <a:pt x="3004185" y="878443"/>
                  <a:pt x="2974658" y="878443"/>
                </a:cubicBezTo>
                <a:cubicBezTo>
                  <a:pt x="2945130" y="878443"/>
                  <a:pt x="2915602" y="867013"/>
                  <a:pt x="2893695" y="845106"/>
                </a:cubicBezTo>
                <a:lnTo>
                  <a:pt x="2568893" y="520303"/>
                </a:lnTo>
                <a:cubicBezTo>
                  <a:pt x="2547938" y="498397"/>
                  <a:pt x="2535555" y="469822"/>
                  <a:pt x="2535555" y="439341"/>
                </a:cubicBezTo>
                <a:cubicBezTo>
                  <a:pt x="2535555" y="408861"/>
                  <a:pt x="2546985" y="380286"/>
                  <a:pt x="2568893" y="358379"/>
                </a:cubicBezTo>
                <a:lnTo>
                  <a:pt x="2892743" y="33576"/>
                </a:lnTo>
                <a:cubicBezTo>
                  <a:pt x="2915127" y="11192"/>
                  <a:pt x="2944416" y="0"/>
                  <a:pt x="2973705" y="0"/>
                </a:cubicBezTo>
                <a:close/>
              </a:path>
            </a:pathLst>
          </a:custGeom>
          <a:solidFill>
            <a:schemeClr val="tx2"/>
          </a:solidFill>
          <a:ln w="9525" cap="flat">
            <a:noFill/>
            <a:prstDash val="solid"/>
            <a:miter/>
          </a:ln>
        </p:spPr>
        <p:txBody>
          <a:bodyPr rtlCol="0" anchor="ctr"/>
          <a:lstStyle/>
          <a:p>
            <a:endParaRPr lang="en-US"/>
          </a:p>
        </p:txBody>
      </p:sp>
      <p:sp>
        <p:nvSpPr>
          <p:cNvPr id="10" name="Rectangle 12">
            <a:extLst>
              <a:ext uri="{FF2B5EF4-FFF2-40B4-BE49-F238E27FC236}">
                <a16:creationId xmlns:a16="http://schemas.microsoft.com/office/drawing/2014/main" id="{48827EE8-F9CF-BF47-872D-3261A20FF9D2}"/>
              </a:ext>
            </a:extLst>
          </p:cNvPr>
          <p:cNvSpPr/>
          <p:nvPr userDrawn="1"/>
        </p:nvSpPr>
        <p:spPr>
          <a:xfrm>
            <a:off x="9457764" y="6579030"/>
            <a:ext cx="2734235" cy="278969"/>
          </a:xfrm>
          <a:prstGeom prst="rect">
            <a:avLst/>
          </a:prstGeom>
          <a:solidFill>
            <a:schemeClr val="tx1">
              <a:lumMod val="75000"/>
            </a:schemeClr>
          </a:solidFill>
        </p:spPr>
        <p:txBody>
          <a:bodyPr wrap="square" lIns="0" tIns="0" rIns="0" bIns="0" rtlCol="0" anchor="ctr" anchorCtr="0">
            <a:noAutofit/>
          </a:bodyPr>
          <a:lstStyle/>
          <a:p>
            <a:pPr algn="ctr"/>
            <a:r>
              <a:rPr lang="en-US" sz="800" b="1">
                <a:solidFill>
                  <a:schemeClr val="bg1"/>
                </a:solidFill>
                <a:cs typeface="Arial" panose="020B0604020202020204" pitchFamily="34" charset="0"/>
              </a:rPr>
              <a:t>GESTIÓN DEL CAMBIO</a:t>
            </a:r>
          </a:p>
        </p:txBody>
      </p:sp>
    </p:spTree>
    <p:extLst>
      <p:ext uri="{BB962C8B-B14F-4D97-AF65-F5344CB8AC3E}">
        <p14:creationId xmlns:p14="http://schemas.microsoft.com/office/powerpoint/2010/main" val="1731463046"/>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emplate Propuesta 2022 - Soporte y Mantenimiento">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50040F2E-A856-F74D-B747-8F63180F396D}"/>
              </a:ext>
            </a:extLst>
          </p:cNvPr>
          <p:cNvSpPr>
            <a:spLocks noGrp="1"/>
          </p:cNvSpPr>
          <p:nvPr>
            <p:ph type="title"/>
          </p:nvPr>
        </p:nvSpPr>
        <p:spPr>
          <a:xfrm>
            <a:off x="1138892" y="36122"/>
            <a:ext cx="10610449" cy="276999"/>
          </a:xfrm>
        </p:spPr>
        <p:txBody>
          <a:bodyPr wrap="square" lIns="0" anchor="t">
            <a:noAutofit/>
          </a:bodyPr>
          <a:lstStyle>
            <a:lvl1pPr>
              <a:defRPr lang="es-ES_tradnl" cap="all" baseline="0" noProof="0" dirty="0"/>
            </a:lvl1pPr>
          </a:lstStyle>
          <a:p>
            <a:pPr lvl="0"/>
            <a:r>
              <a:rPr lang="es-ES_tradnl" noProof="0"/>
              <a:t>Haga clic para modificar el estilo de título del patrón</a:t>
            </a:r>
          </a:p>
        </p:txBody>
      </p:sp>
      <p:sp>
        <p:nvSpPr>
          <p:cNvPr id="7" name="Marcador de texto 5">
            <a:extLst>
              <a:ext uri="{FF2B5EF4-FFF2-40B4-BE49-F238E27FC236}">
                <a16:creationId xmlns:a16="http://schemas.microsoft.com/office/drawing/2014/main" id="{CC6303D6-D0FC-984A-8419-A50470327A59}"/>
              </a:ext>
            </a:extLst>
          </p:cNvPr>
          <p:cNvSpPr>
            <a:spLocks noGrp="1"/>
          </p:cNvSpPr>
          <p:nvPr>
            <p:ph type="body" sz="quarter" idx="10"/>
          </p:nvPr>
        </p:nvSpPr>
        <p:spPr>
          <a:xfrm>
            <a:off x="442659" y="671500"/>
            <a:ext cx="11306682" cy="5741999"/>
          </a:xfrm>
        </p:spPr>
        <p:txBody>
          <a:bodyPr/>
          <a:lstStyle/>
          <a:p>
            <a:pPr lvl="0"/>
            <a:r>
              <a:rPr lang="es-ES_tradnl" noProof="0"/>
              <a:t>Haga clic para modificar los estilos de texto del patrón</a:t>
            </a:r>
          </a:p>
          <a:p>
            <a:pPr lvl="1"/>
            <a:r>
              <a:rPr lang="es-ES_tradnl" noProof="0"/>
              <a:t>Segundo nivel</a:t>
            </a:r>
          </a:p>
          <a:p>
            <a:pPr lvl="2"/>
            <a:r>
              <a:rPr lang="es-ES_tradnl" noProof="0"/>
              <a:t>Tercer nivel</a:t>
            </a:r>
          </a:p>
          <a:p>
            <a:pPr lvl="3"/>
            <a:r>
              <a:rPr lang="es-ES_tradnl" noProof="0"/>
              <a:t>Cuarto nivel</a:t>
            </a:r>
          </a:p>
          <a:p>
            <a:pPr lvl="4"/>
            <a:r>
              <a:rPr lang="es-ES_tradnl" noProof="0"/>
              <a:t>Quinto nivel</a:t>
            </a:r>
          </a:p>
        </p:txBody>
      </p:sp>
      <p:sp>
        <p:nvSpPr>
          <p:cNvPr id="4" name="Marcador de texto 4">
            <a:extLst>
              <a:ext uri="{FF2B5EF4-FFF2-40B4-BE49-F238E27FC236}">
                <a16:creationId xmlns:a16="http://schemas.microsoft.com/office/drawing/2014/main" id="{DED7AFAC-0516-FB48-9E02-44CC62A80883}"/>
              </a:ext>
            </a:extLst>
          </p:cNvPr>
          <p:cNvSpPr>
            <a:spLocks noGrp="1"/>
          </p:cNvSpPr>
          <p:nvPr>
            <p:ph type="body" sz="quarter" idx="11"/>
          </p:nvPr>
        </p:nvSpPr>
        <p:spPr>
          <a:xfrm>
            <a:off x="1138639" y="290195"/>
            <a:ext cx="10610449" cy="217488"/>
          </a:xfrm>
        </p:spPr>
        <p:txBody>
          <a:bodyPr/>
          <a:lstStyle>
            <a:lvl1pPr>
              <a:defRPr sz="1200">
                <a:solidFill>
                  <a:schemeClr val="tx2"/>
                </a:solidFill>
              </a:defRPr>
            </a:lvl1pPr>
          </a:lstStyle>
          <a:p>
            <a:pPr lvl="0"/>
            <a:r>
              <a:rPr lang="es-ES_tradnl" noProof="0"/>
              <a:t>Haga clic para modificar los estilos de texto del patrón</a:t>
            </a:r>
          </a:p>
        </p:txBody>
      </p:sp>
      <p:sp>
        <p:nvSpPr>
          <p:cNvPr id="9" name="Rectángulo 8">
            <a:extLst>
              <a:ext uri="{FF2B5EF4-FFF2-40B4-BE49-F238E27FC236}">
                <a16:creationId xmlns:a16="http://schemas.microsoft.com/office/drawing/2014/main" id="{9D31E6A8-7FC5-D346-B913-27F3CB84C0BF}"/>
              </a:ext>
            </a:extLst>
          </p:cNvPr>
          <p:cNvSpPr/>
          <p:nvPr userDrawn="1"/>
        </p:nvSpPr>
        <p:spPr bwMode="auto">
          <a:xfrm>
            <a:off x="596159" y="67814"/>
            <a:ext cx="405613" cy="405613"/>
          </a:xfrm>
          <a:prstGeom prst="rect">
            <a:avLst/>
          </a:prstGeom>
          <a:solidFill>
            <a:schemeClr val="bg1"/>
          </a:solidFill>
          <a:ln w="25400" cap="flat">
            <a:solidFill>
              <a:schemeClr val="accent1"/>
            </a:solidFill>
            <a:miter lim="800000"/>
          </a:ln>
        </p:spPr>
        <p:txBody>
          <a:bodyPr lIns="0" tIns="0" rIns="0" bIns="0" rtlCol="0" anchor="ctr">
            <a:noAutofit/>
          </a:bodyPr>
          <a:lstStyle/>
          <a:p>
            <a:pPr algn="ctr"/>
            <a:endParaRPr lang="es-ES_tradnl" sz="1400" noProof="0"/>
          </a:p>
        </p:txBody>
      </p:sp>
      <p:sp>
        <p:nvSpPr>
          <p:cNvPr id="10" name="Freeform 6">
            <a:extLst>
              <a:ext uri="{FF2B5EF4-FFF2-40B4-BE49-F238E27FC236}">
                <a16:creationId xmlns:a16="http://schemas.microsoft.com/office/drawing/2014/main" id="{7E7560EB-BA7B-B74B-8DBE-127A6286F043}"/>
              </a:ext>
            </a:extLst>
          </p:cNvPr>
          <p:cNvSpPr>
            <a:spLocks noEditPoints="1"/>
          </p:cNvSpPr>
          <p:nvPr userDrawn="1"/>
        </p:nvSpPr>
        <p:spPr bwMode="auto">
          <a:xfrm>
            <a:off x="657650" y="118442"/>
            <a:ext cx="282630" cy="293154"/>
          </a:xfrm>
          <a:custGeom>
            <a:avLst/>
            <a:gdLst/>
            <a:ahLst/>
            <a:cxnLst>
              <a:cxn ang="0">
                <a:pos x="2121" y="4731"/>
              </a:cxn>
              <a:cxn ang="0">
                <a:pos x="2745" y="4673"/>
              </a:cxn>
              <a:cxn ang="0">
                <a:pos x="2607" y="4501"/>
              </a:cxn>
              <a:cxn ang="0">
                <a:pos x="3037" y="1332"/>
              </a:cxn>
              <a:cxn ang="0">
                <a:pos x="3387" y="1437"/>
              </a:cxn>
              <a:cxn ang="0">
                <a:pos x="3282" y="1087"/>
              </a:cxn>
              <a:cxn ang="0">
                <a:pos x="1863" y="1175"/>
              </a:cxn>
              <a:cxn ang="0">
                <a:pos x="1084" y="1762"/>
              </a:cxn>
              <a:cxn ang="0">
                <a:pos x="718" y="3281"/>
              </a:cxn>
              <a:cxn ang="0">
                <a:pos x="147" y="3330"/>
              </a:cxn>
              <a:cxn ang="0">
                <a:pos x="55" y="2326"/>
              </a:cxn>
              <a:cxn ang="0">
                <a:pos x="394" y="2251"/>
              </a:cxn>
              <a:cxn ang="0">
                <a:pos x="231" y="2516"/>
              </a:cxn>
              <a:cxn ang="0">
                <a:pos x="502" y="2580"/>
              </a:cxn>
              <a:cxn ang="0">
                <a:pos x="1081" y="1417"/>
              </a:cxn>
              <a:cxn ang="0">
                <a:pos x="3367" y="870"/>
              </a:cxn>
              <a:cxn ang="0">
                <a:pos x="3660" y="1417"/>
              </a:cxn>
              <a:cxn ang="0">
                <a:pos x="3114" y="1712"/>
              </a:cxn>
              <a:cxn ang="0">
                <a:pos x="2820" y="1164"/>
              </a:cxn>
              <a:cxn ang="0">
                <a:pos x="3193" y="233"/>
              </a:cxn>
              <a:cxn ang="0">
                <a:pos x="2861" y="633"/>
              </a:cxn>
              <a:cxn ang="0">
                <a:pos x="2348" y="721"/>
              </a:cxn>
              <a:cxn ang="0">
                <a:pos x="2495" y="1140"/>
              </a:cxn>
              <a:cxn ang="0">
                <a:pos x="2276" y="1712"/>
              </a:cxn>
              <a:cxn ang="0">
                <a:pos x="2691" y="1835"/>
              </a:cxn>
              <a:cxn ang="0">
                <a:pos x="3076" y="2108"/>
              </a:cxn>
              <a:cxn ang="0">
                <a:pos x="3410" y="2082"/>
              </a:cxn>
              <a:cxn ang="0">
                <a:pos x="3815" y="1830"/>
              </a:cxn>
              <a:cxn ang="0">
                <a:pos x="4212" y="1687"/>
              </a:cxn>
              <a:cxn ang="0">
                <a:pos x="3983" y="1113"/>
              </a:cxn>
              <a:cxn ang="0">
                <a:pos x="4109" y="689"/>
              </a:cxn>
              <a:cxn ang="0">
                <a:pos x="3553" y="599"/>
              </a:cxn>
              <a:cxn ang="0">
                <a:pos x="3241" y="232"/>
              </a:cxn>
              <a:cxn ang="0">
                <a:pos x="3608" y="195"/>
              </a:cxn>
              <a:cxn ang="0">
                <a:pos x="4152" y="427"/>
              </a:cxn>
              <a:cxn ang="0">
                <a:pos x="4443" y="899"/>
              </a:cxn>
              <a:cxn ang="0">
                <a:pos x="4373" y="1520"/>
              </a:cxn>
              <a:cxn ang="0">
                <a:pos x="4326" y="1984"/>
              </a:cxn>
              <a:cxn ang="0">
                <a:pos x="4352" y="2935"/>
              </a:cxn>
              <a:cxn ang="0">
                <a:pos x="4600" y="2516"/>
              </a:cxn>
              <a:cxn ang="0">
                <a:pos x="4437" y="2277"/>
              </a:cxn>
              <a:cxn ang="0">
                <a:pos x="4750" y="2286"/>
              </a:cxn>
              <a:cxn ang="0">
                <a:pos x="4730" y="3294"/>
              </a:cxn>
              <a:cxn ang="0">
                <a:pos x="4009" y="3925"/>
              </a:cxn>
              <a:cxn ang="0">
                <a:pos x="2979" y="4673"/>
              </a:cxn>
              <a:cxn ang="0">
                <a:pos x="2232" y="5013"/>
              </a:cxn>
              <a:cxn ang="0">
                <a:pos x="1858" y="4642"/>
              </a:cxn>
              <a:cxn ang="0">
                <a:pos x="2232" y="4271"/>
              </a:cxn>
              <a:cxn ang="0">
                <a:pos x="3245" y="4313"/>
              </a:cxn>
              <a:cxn ang="0">
                <a:pos x="4029" y="3385"/>
              </a:cxn>
              <a:cxn ang="0">
                <a:pos x="3989" y="2147"/>
              </a:cxn>
              <a:cxn ang="0">
                <a:pos x="3463" y="2545"/>
              </a:cxn>
              <a:cxn ang="0">
                <a:pos x="2913" y="2480"/>
              </a:cxn>
              <a:cxn ang="0">
                <a:pos x="2374" y="2167"/>
              </a:cxn>
              <a:cxn ang="0">
                <a:pos x="2043" y="1731"/>
              </a:cxn>
              <a:cxn ang="0">
                <a:pos x="2252" y="1350"/>
              </a:cxn>
              <a:cxn ang="0">
                <a:pos x="2052" y="808"/>
              </a:cxn>
              <a:cxn ang="0">
                <a:pos x="2409" y="408"/>
              </a:cxn>
              <a:cxn ang="0">
                <a:pos x="2940" y="75"/>
              </a:cxn>
            </a:cxnLst>
            <a:rect l="0" t="0" r="r" b="b"/>
            <a:pathLst>
              <a:path w="4832" h="5013">
                <a:moveTo>
                  <a:pt x="2232" y="4501"/>
                </a:moveTo>
                <a:lnTo>
                  <a:pt x="2198" y="4505"/>
                </a:lnTo>
                <a:lnTo>
                  <a:pt x="2169" y="4516"/>
                </a:lnTo>
                <a:lnTo>
                  <a:pt x="2143" y="4531"/>
                </a:lnTo>
                <a:lnTo>
                  <a:pt x="2121" y="4554"/>
                </a:lnTo>
                <a:lnTo>
                  <a:pt x="2104" y="4580"/>
                </a:lnTo>
                <a:lnTo>
                  <a:pt x="2093" y="4609"/>
                </a:lnTo>
                <a:lnTo>
                  <a:pt x="2090" y="4642"/>
                </a:lnTo>
                <a:lnTo>
                  <a:pt x="2093" y="4674"/>
                </a:lnTo>
                <a:lnTo>
                  <a:pt x="2104" y="4703"/>
                </a:lnTo>
                <a:lnTo>
                  <a:pt x="2121" y="4731"/>
                </a:lnTo>
                <a:lnTo>
                  <a:pt x="2143" y="4752"/>
                </a:lnTo>
                <a:lnTo>
                  <a:pt x="2169" y="4769"/>
                </a:lnTo>
                <a:lnTo>
                  <a:pt x="2198" y="4780"/>
                </a:lnTo>
                <a:lnTo>
                  <a:pt x="2232" y="4783"/>
                </a:lnTo>
                <a:lnTo>
                  <a:pt x="2607" y="4783"/>
                </a:lnTo>
                <a:lnTo>
                  <a:pt x="2640" y="4780"/>
                </a:lnTo>
                <a:lnTo>
                  <a:pt x="2669" y="4769"/>
                </a:lnTo>
                <a:lnTo>
                  <a:pt x="2695" y="4751"/>
                </a:lnTo>
                <a:lnTo>
                  <a:pt x="2718" y="4729"/>
                </a:lnTo>
                <a:lnTo>
                  <a:pt x="2735" y="4702"/>
                </a:lnTo>
                <a:lnTo>
                  <a:pt x="2745" y="4673"/>
                </a:lnTo>
                <a:lnTo>
                  <a:pt x="2748" y="4641"/>
                </a:lnTo>
                <a:lnTo>
                  <a:pt x="2748" y="4626"/>
                </a:lnTo>
                <a:lnTo>
                  <a:pt x="2747" y="4612"/>
                </a:lnTo>
                <a:lnTo>
                  <a:pt x="2745" y="4610"/>
                </a:lnTo>
                <a:lnTo>
                  <a:pt x="2745" y="4609"/>
                </a:lnTo>
                <a:lnTo>
                  <a:pt x="2735" y="4578"/>
                </a:lnTo>
                <a:lnTo>
                  <a:pt x="2718" y="4552"/>
                </a:lnTo>
                <a:lnTo>
                  <a:pt x="2697" y="4531"/>
                </a:lnTo>
                <a:lnTo>
                  <a:pt x="2669" y="4514"/>
                </a:lnTo>
                <a:lnTo>
                  <a:pt x="2640" y="4505"/>
                </a:lnTo>
                <a:lnTo>
                  <a:pt x="2607" y="4501"/>
                </a:lnTo>
                <a:lnTo>
                  <a:pt x="2232" y="4501"/>
                </a:lnTo>
                <a:close/>
                <a:moveTo>
                  <a:pt x="3241" y="1082"/>
                </a:moveTo>
                <a:lnTo>
                  <a:pt x="3198" y="1087"/>
                </a:lnTo>
                <a:lnTo>
                  <a:pt x="3160" y="1099"/>
                </a:lnTo>
                <a:lnTo>
                  <a:pt x="3123" y="1119"/>
                </a:lnTo>
                <a:lnTo>
                  <a:pt x="3093" y="1143"/>
                </a:lnTo>
                <a:lnTo>
                  <a:pt x="3067" y="1175"/>
                </a:lnTo>
                <a:lnTo>
                  <a:pt x="3049" y="1210"/>
                </a:lnTo>
                <a:lnTo>
                  <a:pt x="3037" y="1248"/>
                </a:lnTo>
                <a:lnTo>
                  <a:pt x="3032" y="1291"/>
                </a:lnTo>
                <a:lnTo>
                  <a:pt x="3037" y="1332"/>
                </a:lnTo>
                <a:lnTo>
                  <a:pt x="3049" y="1372"/>
                </a:lnTo>
                <a:lnTo>
                  <a:pt x="3067" y="1407"/>
                </a:lnTo>
                <a:lnTo>
                  <a:pt x="3093" y="1437"/>
                </a:lnTo>
                <a:lnTo>
                  <a:pt x="3123" y="1463"/>
                </a:lnTo>
                <a:lnTo>
                  <a:pt x="3160" y="1483"/>
                </a:lnTo>
                <a:lnTo>
                  <a:pt x="3198" y="1495"/>
                </a:lnTo>
                <a:lnTo>
                  <a:pt x="3241" y="1500"/>
                </a:lnTo>
                <a:lnTo>
                  <a:pt x="3282" y="1495"/>
                </a:lnTo>
                <a:lnTo>
                  <a:pt x="3322" y="1483"/>
                </a:lnTo>
                <a:lnTo>
                  <a:pt x="3357" y="1463"/>
                </a:lnTo>
                <a:lnTo>
                  <a:pt x="3387" y="1437"/>
                </a:lnTo>
                <a:lnTo>
                  <a:pt x="3413" y="1407"/>
                </a:lnTo>
                <a:lnTo>
                  <a:pt x="3433" y="1372"/>
                </a:lnTo>
                <a:lnTo>
                  <a:pt x="3445" y="1332"/>
                </a:lnTo>
                <a:lnTo>
                  <a:pt x="3448" y="1291"/>
                </a:lnTo>
                <a:lnTo>
                  <a:pt x="3445" y="1248"/>
                </a:lnTo>
                <a:lnTo>
                  <a:pt x="3433" y="1210"/>
                </a:lnTo>
                <a:lnTo>
                  <a:pt x="3413" y="1175"/>
                </a:lnTo>
                <a:lnTo>
                  <a:pt x="3387" y="1143"/>
                </a:lnTo>
                <a:lnTo>
                  <a:pt x="3357" y="1119"/>
                </a:lnTo>
                <a:lnTo>
                  <a:pt x="3322" y="1099"/>
                </a:lnTo>
                <a:lnTo>
                  <a:pt x="3282" y="1087"/>
                </a:lnTo>
                <a:lnTo>
                  <a:pt x="3241" y="1082"/>
                </a:lnTo>
                <a:close/>
                <a:moveTo>
                  <a:pt x="1771" y="1003"/>
                </a:moveTo>
                <a:lnTo>
                  <a:pt x="1796" y="1007"/>
                </a:lnTo>
                <a:lnTo>
                  <a:pt x="1819" y="1018"/>
                </a:lnTo>
                <a:lnTo>
                  <a:pt x="1840" y="1033"/>
                </a:lnTo>
                <a:lnTo>
                  <a:pt x="1857" y="1053"/>
                </a:lnTo>
                <a:lnTo>
                  <a:pt x="1869" y="1076"/>
                </a:lnTo>
                <a:lnTo>
                  <a:pt x="1875" y="1102"/>
                </a:lnTo>
                <a:lnTo>
                  <a:pt x="1877" y="1128"/>
                </a:lnTo>
                <a:lnTo>
                  <a:pt x="1872" y="1152"/>
                </a:lnTo>
                <a:lnTo>
                  <a:pt x="1863" y="1175"/>
                </a:lnTo>
                <a:lnTo>
                  <a:pt x="1848" y="1196"/>
                </a:lnTo>
                <a:lnTo>
                  <a:pt x="1829" y="1213"/>
                </a:lnTo>
                <a:lnTo>
                  <a:pt x="1805" y="1225"/>
                </a:lnTo>
                <a:lnTo>
                  <a:pt x="1698" y="1271"/>
                </a:lnTo>
                <a:lnTo>
                  <a:pt x="1596" y="1323"/>
                </a:lnTo>
                <a:lnTo>
                  <a:pt x="1499" y="1382"/>
                </a:lnTo>
                <a:lnTo>
                  <a:pt x="1406" y="1448"/>
                </a:lnTo>
                <a:lnTo>
                  <a:pt x="1317" y="1518"/>
                </a:lnTo>
                <a:lnTo>
                  <a:pt x="1233" y="1594"/>
                </a:lnTo>
                <a:lnTo>
                  <a:pt x="1156" y="1677"/>
                </a:lnTo>
                <a:lnTo>
                  <a:pt x="1084" y="1762"/>
                </a:lnTo>
                <a:lnTo>
                  <a:pt x="1017" y="1853"/>
                </a:lnTo>
                <a:lnTo>
                  <a:pt x="958" y="1948"/>
                </a:lnTo>
                <a:lnTo>
                  <a:pt x="903" y="2047"/>
                </a:lnTo>
                <a:lnTo>
                  <a:pt x="856" y="2149"/>
                </a:lnTo>
                <a:lnTo>
                  <a:pt x="814" y="2254"/>
                </a:lnTo>
                <a:lnTo>
                  <a:pt x="781" y="2362"/>
                </a:lnTo>
                <a:lnTo>
                  <a:pt x="753" y="2474"/>
                </a:lnTo>
                <a:lnTo>
                  <a:pt x="734" y="2586"/>
                </a:lnTo>
                <a:lnTo>
                  <a:pt x="723" y="2701"/>
                </a:lnTo>
                <a:lnTo>
                  <a:pt x="718" y="2817"/>
                </a:lnTo>
                <a:lnTo>
                  <a:pt x="718" y="3281"/>
                </a:lnTo>
                <a:lnTo>
                  <a:pt x="714" y="3313"/>
                </a:lnTo>
                <a:lnTo>
                  <a:pt x="702" y="3341"/>
                </a:lnTo>
                <a:lnTo>
                  <a:pt x="682" y="3364"/>
                </a:lnTo>
                <a:lnTo>
                  <a:pt x="657" y="3383"/>
                </a:lnTo>
                <a:lnTo>
                  <a:pt x="628" y="3394"/>
                </a:lnTo>
                <a:lnTo>
                  <a:pt x="598" y="3399"/>
                </a:lnTo>
                <a:lnTo>
                  <a:pt x="357" y="3399"/>
                </a:lnTo>
                <a:lnTo>
                  <a:pt x="299" y="3394"/>
                </a:lnTo>
                <a:lnTo>
                  <a:pt x="244" y="3380"/>
                </a:lnTo>
                <a:lnTo>
                  <a:pt x="194" y="3359"/>
                </a:lnTo>
                <a:lnTo>
                  <a:pt x="147" y="3330"/>
                </a:lnTo>
                <a:lnTo>
                  <a:pt x="106" y="3294"/>
                </a:lnTo>
                <a:lnTo>
                  <a:pt x="69" y="3252"/>
                </a:lnTo>
                <a:lnTo>
                  <a:pt x="40" y="3205"/>
                </a:lnTo>
                <a:lnTo>
                  <a:pt x="19" y="3153"/>
                </a:lnTo>
                <a:lnTo>
                  <a:pt x="5" y="3098"/>
                </a:lnTo>
                <a:lnTo>
                  <a:pt x="0" y="3042"/>
                </a:lnTo>
                <a:lnTo>
                  <a:pt x="0" y="2516"/>
                </a:lnTo>
                <a:lnTo>
                  <a:pt x="4" y="2464"/>
                </a:lnTo>
                <a:lnTo>
                  <a:pt x="14" y="2416"/>
                </a:lnTo>
                <a:lnTo>
                  <a:pt x="32" y="2370"/>
                </a:lnTo>
                <a:lnTo>
                  <a:pt x="55" y="2326"/>
                </a:lnTo>
                <a:lnTo>
                  <a:pt x="84" y="2286"/>
                </a:lnTo>
                <a:lnTo>
                  <a:pt x="118" y="2251"/>
                </a:lnTo>
                <a:lnTo>
                  <a:pt x="157" y="2221"/>
                </a:lnTo>
                <a:lnTo>
                  <a:pt x="200" y="2196"/>
                </a:lnTo>
                <a:lnTo>
                  <a:pt x="249" y="2176"/>
                </a:lnTo>
                <a:lnTo>
                  <a:pt x="279" y="2172"/>
                </a:lnTo>
                <a:lnTo>
                  <a:pt x="308" y="2175"/>
                </a:lnTo>
                <a:lnTo>
                  <a:pt x="336" y="2184"/>
                </a:lnTo>
                <a:lnTo>
                  <a:pt x="360" y="2201"/>
                </a:lnTo>
                <a:lnTo>
                  <a:pt x="380" y="2224"/>
                </a:lnTo>
                <a:lnTo>
                  <a:pt x="394" y="2251"/>
                </a:lnTo>
                <a:lnTo>
                  <a:pt x="400" y="2282"/>
                </a:lnTo>
                <a:lnTo>
                  <a:pt x="397" y="2312"/>
                </a:lnTo>
                <a:lnTo>
                  <a:pt x="386" y="2339"/>
                </a:lnTo>
                <a:lnTo>
                  <a:pt x="369" y="2364"/>
                </a:lnTo>
                <a:lnTo>
                  <a:pt x="346" y="2384"/>
                </a:lnTo>
                <a:lnTo>
                  <a:pt x="319" y="2396"/>
                </a:lnTo>
                <a:lnTo>
                  <a:pt x="290" y="2410"/>
                </a:lnTo>
                <a:lnTo>
                  <a:pt x="266" y="2431"/>
                </a:lnTo>
                <a:lnTo>
                  <a:pt x="247" y="2455"/>
                </a:lnTo>
                <a:lnTo>
                  <a:pt x="235" y="2484"/>
                </a:lnTo>
                <a:lnTo>
                  <a:pt x="231" y="2516"/>
                </a:lnTo>
                <a:lnTo>
                  <a:pt x="231" y="3042"/>
                </a:lnTo>
                <a:lnTo>
                  <a:pt x="235" y="3076"/>
                </a:lnTo>
                <a:lnTo>
                  <a:pt x="249" y="3105"/>
                </a:lnTo>
                <a:lnTo>
                  <a:pt x="269" y="3130"/>
                </a:lnTo>
                <a:lnTo>
                  <a:pt x="295" y="3150"/>
                </a:lnTo>
                <a:lnTo>
                  <a:pt x="324" y="3164"/>
                </a:lnTo>
                <a:lnTo>
                  <a:pt x="357" y="3169"/>
                </a:lnTo>
                <a:lnTo>
                  <a:pt x="488" y="3169"/>
                </a:lnTo>
                <a:lnTo>
                  <a:pt x="488" y="2817"/>
                </a:lnTo>
                <a:lnTo>
                  <a:pt x="491" y="2698"/>
                </a:lnTo>
                <a:lnTo>
                  <a:pt x="502" y="2580"/>
                </a:lnTo>
                <a:lnTo>
                  <a:pt x="519" y="2463"/>
                </a:lnTo>
                <a:lnTo>
                  <a:pt x="543" y="2349"/>
                </a:lnTo>
                <a:lnTo>
                  <a:pt x="575" y="2236"/>
                </a:lnTo>
                <a:lnTo>
                  <a:pt x="613" y="2125"/>
                </a:lnTo>
                <a:lnTo>
                  <a:pt x="657" y="2018"/>
                </a:lnTo>
                <a:lnTo>
                  <a:pt x="709" y="1911"/>
                </a:lnTo>
                <a:lnTo>
                  <a:pt x="767" y="1809"/>
                </a:lnTo>
                <a:lnTo>
                  <a:pt x="833" y="1710"/>
                </a:lnTo>
                <a:lnTo>
                  <a:pt x="909" y="1606"/>
                </a:lnTo>
                <a:lnTo>
                  <a:pt x="993" y="1509"/>
                </a:lnTo>
                <a:lnTo>
                  <a:pt x="1081" y="1417"/>
                </a:lnTo>
                <a:lnTo>
                  <a:pt x="1176" y="1334"/>
                </a:lnTo>
                <a:lnTo>
                  <a:pt x="1275" y="1254"/>
                </a:lnTo>
                <a:lnTo>
                  <a:pt x="1378" y="1183"/>
                </a:lnTo>
                <a:lnTo>
                  <a:pt x="1488" y="1119"/>
                </a:lnTo>
                <a:lnTo>
                  <a:pt x="1601" y="1061"/>
                </a:lnTo>
                <a:lnTo>
                  <a:pt x="1720" y="1010"/>
                </a:lnTo>
                <a:lnTo>
                  <a:pt x="1746" y="1003"/>
                </a:lnTo>
                <a:lnTo>
                  <a:pt x="1771" y="1003"/>
                </a:lnTo>
                <a:close/>
                <a:moveTo>
                  <a:pt x="3241" y="852"/>
                </a:moveTo>
                <a:lnTo>
                  <a:pt x="3305" y="857"/>
                </a:lnTo>
                <a:lnTo>
                  <a:pt x="3367" y="870"/>
                </a:lnTo>
                <a:lnTo>
                  <a:pt x="3425" y="893"/>
                </a:lnTo>
                <a:lnTo>
                  <a:pt x="3478" y="924"/>
                </a:lnTo>
                <a:lnTo>
                  <a:pt x="3527" y="960"/>
                </a:lnTo>
                <a:lnTo>
                  <a:pt x="3571" y="1003"/>
                </a:lnTo>
                <a:lnTo>
                  <a:pt x="3608" y="1052"/>
                </a:lnTo>
                <a:lnTo>
                  <a:pt x="3639" y="1106"/>
                </a:lnTo>
                <a:lnTo>
                  <a:pt x="3660" y="1164"/>
                </a:lnTo>
                <a:lnTo>
                  <a:pt x="3674" y="1225"/>
                </a:lnTo>
                <a:lnTo>
                  <a:pt x="3680" y="1291"/>
                </a:lnTo>
                <a:lnTo>
                  <a:pt x="3674" y="1355"/>
                </a:lnTo>
                <a:lnTo>
                  <a:pt x="3660" y="1417"/>
                </a:lnTo>
                <a:lnTo>
                  <a:pt x="3639" y="1475"/>
                </a:lnTo>
                <a:lnTo>
                  <a:pt x="3608" y="1530"/>
                </a:lnTo>
                <a:lnTo>
                  <a:pt x="3571" y="1579"/>
                </a:lnTo>
                <a:lnTo>
                  <a:pt x="3527" y="1622"/>
                </a:lnTo>
                <a:lnTo>
                  <a:pt x="3478" y="1658"/>
                </a:lnTo>
                <a:lnTo>
                  <a:pt x="3425" y="1689"/>
                </a:lnTo>
                <a:lnTo>
                  <a:pt x="3367" y="1712"/>
                </a:lnTo>
                <a:lnTo>
                  <a:pt x="3305" y="1725"/>
                </a:lnTo>
                <a:lnTo>
                  <a:pt x="3241" y="1730"/>
                </a:lnTo>
                <a:lnTo>
                  <a:pt x="3175" y="1725"/>
                </a:lnTo>
                <a:lnTo>
                  <a:pt x="3114" y="1712"/>
                </a:lnTo>
                <a:lnTo>
                  <a:pt x="3055" y="1689"/>
                </a:lnTo>
                <a:lnTo>
                  <a:pt x="3001" y="1658"/>
                </a:lnTo>
                <a:lnTo>
                  <a:pt x="2953" y="1622"/>
                </a:lnTo>
                <a:lnTo>
                  <a:pt x="2908" y="1579"/>
                </a:lnTo>
                <a:lnTo>
                  <a:pt x="2872" y="1530"/>
                </a:lnTo>
                <a:lnTo>
                  <a:pt x="2843" y="1475"/>
                </a:lnTo>
                <a:lnTo>
                  <a:pt x="2820" y="1417"/>
                </a:lnTo>
                <a:lnTo>
                  <a:pt x="2806" y="1355"/>
                </a:lnTo>
                <a:lnTo>
                  <a:pt x="2802" y="1291"/>
                </a:lnTo>
                <a:lnTo>
                  <a:pt x="2806" y="1225"/>
                </a:lnTo>
                <a:lnTo>
                  <a:pt x="2820" y="1164"/>
                </a:lnTo>
                <a:lnTo>
                  <a:pt x="2843" y="1106"/>
                </a:lnTo>
                <a:lnTo>
                  <a:pt x="2872" y="1052"/>
                </a:lnTo>
                <a:lnTo>
                  <a:pt x="2908" y="1003"/>
                </a:lnTo>
                <a:lnTo>
                  <a:pt x="2953" y="960"/>
                </a:lnTo>
                <a:lnTo>
                  <a:pt x="3001" y="924"/>
                </a:lnTo>
                <a:lnTo>
                  <a:pt x="3055" y="893"/>
                </a:lnTo>
                <a:lnTo>
                  <a:pt x="3114" y="870"/>
                </a:lnTo>
                <a:lnTo>
                  <a:pt x="3175" y="857"/>
                </a:lnTo>
                <a:lnTo>
                  <a:pt x="3241" y="852"/>
                </a:lnTo>
                <a:close/>
                <a:moveTo>
                  <a:pt x="3241" y="232"/>
                </a:moveTo>
                <a:lnTo>
                  <a:pt x="3193" y="233"/>
                </a:lnTo>
                <a:lnTo>
                  <a:pt x="3154" y="238"/>
                </a:lnTo>
                <a:lnTo>
                  <a:pt x="3123" y="244"/>
                </a:lnTo>
                <a:lnTo>
                  <a:pt x="3099" y="250"/>
                </a:lnTo>
                <a:lnTo>
                  <a:pt x="3076" y="474"/>
                </a:lnTo>
                <a:lnTo>
                  <a:pt x="3070" y="500"/>
                </a:lnTo>
                <a:lnTo>
                  <a:pt x="3059" y="523"/>
                </a:lnTo>
                <a:lnTo>
                  <a:pt x="3043" y="543"/>
                </a:lnTo>
                <a:lnTo>
                  <a:pt x="3023" y="559"/>
                </a:lnTo>
                <a:lnTo>
                  <a:pt x="2998" y="570"/>
                </a:lnTo>
                <a:lnTo>
                  <a:pt x="2928" y="599"/>
                </a:lnTo>
                <a:lnTo>
                  <a:pt x="2861" y="633"/>
                </a:lnTo>
                <a:lnTo>
                  <a:pt x="2797" y="674"/>
                </a:lnTo>
                <a:lnTo>
                  <a:pt x="2739" y="721"/>
                </a:lnTo>
                <a:lnTo>
                  <a:pt x="2716" y="736"/>
                </a:lnTo>
                <a:lnTo>
                  <a:pt x="2692" y="745"/>
                </a:lnTo>
                <a:lnTo>
                  <a:pt x="2666" y="750"/>
                </a:lnTo>
                <a:lnTo>
                  <a:pt x="2640" y="747"/>
                </a:lnTo>
                <a:lnTo>
                  <a:pt x="2616" y="739"/>
                </a:lnTo>
                <a:lnTo>
                  <a:pt x="2410" y="648"/>
                </a:lnTo>
                <a:lnTo>
                  <a:pt x="2393" y="665"/>
                </a:lnTo>
                <a:lnTo>
                  <a:pt x="2372" y="689"/>
                </a:lnTo>
                <a:lnTo>
                  <a:pt x="2348" y="721"/>
                </a:lnTo>
                <a:lnTo>
                  <a:pt x="2323" y="761"/>
                </a:lnTo>
                <a:lnTo>
                  <a:pt x="2302" y="802"/>
                </a:lnTo>
                <a:lnTo>
                  <a:pt x="2287" y="838"/>
                </a:lnTo>
                <a:lnTo>
                  <a:pt x="2276" y="869"/>
                </a:lnTo>
                <a:lnTo>
                  <a:pt x="2270" y="892"/>
                </a:lnTo>
                <a:lnTo>
                  <a:pt x="2450" y="1023"/>
                </a:lnTo>
                <a:lnTo>
                  <a:pt x="2470" y="1041"/>
                </a:lnTo>
                <a:lnTo>
                  <a:pt x="2485" y="1062"/>
                </a:lnTo>
                <a:lnTo>
                  <a:pt x="2494" y="1087"/>
                </a:lnTo>
                <a:lnTo>
                  <a:pt x="2498" y="1113"/>
                </a:lnTo>
                <a:lnTo>
                  <a:pt x="2495" y="1140"/>
                </a:lnTo>
                <a:lnTo>
                  <a:pt x="2485" y="1215"/>
                </a:lnTo>
                <a:lnTo>
                  <a:pt x="2480" y="1291"/>
                </a:lnTo>
                <a:lnTo>
                  <a:pt x="2485" y="1366"/>
                </a:lnTo>
                <a:lnTo>
                  <a:pt x="2495" y="1440"/>
                </a:lnTo>
                <a:lnTo>
                  <a:pt x="2498" y="1468"/>
                </a:lnTo>
                <a:lnTo>
                  <a:pt x="2494" y="1492"/>
                </a:lnTo>
                <a:lnTo>
                  <a:pt x="2485" y="1516"/>
                </a:lnTo>
                <a:lnTo>
                  <a:pt x="2470" y="1538"/>
                </a:lnTo>
                <a:lnTo>
                  <a:pt x="2450" y="1556"/>
                </a:lnTo>
                <a:lnTo>
                  <a:pt x="2270" y="1687"/>
                </a:lnTo>
                <a:lnTo>
                  <a:pt x="2276" y="1712"/>
                </a:lnTo>
                <a:lnTo>
                  <a:pt x="2287" y="1742"/>
                </a:lnTo>
                <a:lnTo>
                  <a:pt x="2302" y="1779"/>
                </a:lnTo>
                <a:lnTo>
                  <a:pt x="2323" y="1820"/>
                </a:lnTo>
                <a:lnTo>
                  <a:pt x="2348" y="1858"/>
                </a:lnTo>
                <a:lnTo>
                  <a:pt x="2372" y="1890"/>
                </a:lnTo>
                <a:lnTo>
                  <a:pt x="2393" y="1914"/>
                </a:lnTo>
                <a:lnTo>
                  <a:pt x="2410" y="1931"/>
                </a:lnTo>
                <a:lnTo>
                  <a:pt x="2614" y="1841"/>
                </a:lnTo>
                <a:lnTo>
                  <a:pt x="2639" y="1833"/>
                </a:lnTo>
                <a:lnTo>
                  <a:pt x="2665" y="1830"/>
                </a:lnTo>
                <a:lnTo>
                  <a:pt x="2691" y="1835"/>
                </a:lnTo>
                <a:lnTo>
                  <a:pt x="2715" y="1844"/>
                </a:lnTo>
                <a:lnTo>
                  <a:pt x="2738" y="1859"/>
                </a:lnTo>
                <a:lnTo>
                  <a:pt x="2797" y="1908"/>
                </a:lnTo>
                <a:lnTo>
                  <a:pt x="2860" y="1949"/>
                </a:lnTo>
                <a:lnTo>
                  <a:pt x="2928" y="1983"/>
                </a:lnTo>
                <a:lnTo>
                  <a:pt x="2998" y="2010"/>
                </a:lnTo>
                <a:lnTo>
                  <a:pt x="3023" y="2022"/>
                </a:lnTo>
                <a:lnTo>
                  <a:pt x="3043" y="2038"/>
                </a:lnTo>
                <a:lnTo>
                  <a:pt x="3059" y="2059"/>
                </a:lnTo>
                <a:lnTo>
                  <a:pt x="3070" y="2082"/>
                </a:lnTo>
                <a:lnTo>
                  <a:pt x="3076" y="2108"/>
                </a:lnTo>
                <a:lnTo>
                  <a:pt x="3099" y="2329"/>
                </a:lnTo>
                <a:lnTo>
                  <a:pt x="3123" y="2336"/>
                </a:lnTo>
                <a:lnTo>
                  <a:pt x="3155" y="2343"/>
                </a:lnTo>
                <a:lnTo>
                  <a:pt x="3193" y="2347"/>
                </a:lnTo>
                <a:lnTo>
                  <a:pt x="3241" y="2349"/>
                </a:lnTo>
                <a:lnTo>
                  <a:pt x="3286" y="2347"/>
                </a:lnTo>
                <a:lnTo>
                  <a:pt x="3326" y="2343"/>
                </a:lnTo>
                <a:lnTo>
                  <a:pt x="3358" y="2336"/>
                </a:lnTo>
                <a:lnTo>
                  <a:pt x="3381" y="2329"/>
                </a:lnTo>
                <a:lnTo>
                  <a:pt x="3404" y="2108"/>
                </a:lnTo>
                <a:lnTo>
                  <a:pt x="3410" y="2082"/>
                </a:lnTo>
                <a:lnTo>
                  <a:pt x="3422" y="2059"/>
                </a:lnTo>
                <a:lnTo>
                  <a:pt x="3437" y="2038"/>
                </a:lnTo>
                <a:lnTo>
                  <a:pt x="3459" y="2022"/>
                </a:lnTo>
                <a:lnTo>
                  <a:pt x="3482" y="2010"/>
                </a:lnTo>
                <a:lnTo>
                  <a:pt x="3553" y="1983"/>
                </a:lnTo>
                <a:lnTo>
                  <a:pt x="3620" y="1949"/>
                </a:lnTo>
                <a:lnTo>
                  <a:pt x="3684" y="1908"/>
                </a:lnTo>
                <a:lnTo>
                  <a:pt x="3744" y="1859"/>
                </a:lnTo>
                <a:lnTo>
                  <a:pt x="3765" y="1844"/>
                </a:lnTo>
                <a:lnTo>
                  <a:pt x="3789" y="1835"/>
                </a:lnTo>
                <a:lnTo>
                  <a:pt x="3815" y="1830"/>
                </a:lnTo>
                <a:lnTo>
                  <a:pt x="3841" y="1833"/>
                </a:lnTo>
                <a:lnTo>
                  <a:pt x="3867" y="1841"/>
                </a:lnTo>
                <a:lnTo>
                  <a:pt x="4070" y="1931"/>
                </a:lnTo>
                <a:lnTo>
                  <a:pt x="4088" y="1914"/>
                </a:lnTo>
                <a:lnTo>
                  <a:pt x="4109" y="1890"/>
                </a:lnTo>
                <a:lnTo>
                  <a:pt x="4132" y="1858"/>
                </a:lnTo>
                <a:lnTo>
                  <a:pt x="4157" y="1820"/>
                </a:lnTo>
                <a:lnTo>
                  <a:pt x="4178" y="1779"/>
                </a:lnTo>
                <a:lnTo>
                  <a:pt x="4195" y="1742"/>
                </a:lnTo>
                <a:lnTo>
                  <a:pt x="4205" y="1712"/>
                </a:lnTo>
                <a:lnTo>
                  <a:pt x="4212" y="1687"/>
                </a:lnTo>
                <a:lnTo>
                  <a:pt x="4030" y="1556"/>
                </a:lnTo>
                <a:lnTo>
                  <a:pt x="4010" y="1538"/>
                </a:lnTo>
                <a:lnTo>
                  <a:pt x="3997" y="1516"/>
                </a:lnTo>
                <a:lnTo>
                  <a:pt x="3986" y="1492"/>
                </a:lnTo>
                <a:lnTo>
                  <a:pt x="3983" y="1466"/>
                </a:lnTo>
                <a:lnTo>
                  <a:pt x="3984" y="1440"/>
                </a:lnTo>
                <a:lnTo>
                  <a:pt x="3997" y="1366"/>
                </a:lnTo>
                <a:lnTo>
                  <a:pt x="4000" y="1291"/>
                </a:lnTo>
                <a:lnTo>
                  <a:pt x="3997" y="1215"/>
                </a:lnTo>
                <a:lnTo>
                  <a:pt x="3984" y="1140"/>
                </a:lnTo>
                <a:lnTo>
                  <a:pt x="3983" y="1113"/>
                </a:lnTo>
                <a:lnTo>
                  <a:pt x="3986" y="1087"/>
                </a:lnTo>
                <a:lnTo>
                  <a:pt x="3995" y="1062"/>
                </a:lnTo>
                <a:lnTo>
                  <a:pt x="4010" y="1041"/>
                </a:lnTo>
                <a:lnTo>
                  <a:pt x="4030" y="1023"/>
                </a:lnTo>
                <a:lnTo>
                  <a:pt x="4212" y="892"/>
                </a:lnTo>
                <a:lnTo>
                  <a:pt x="4205" y="869"/>
                </a:lnTo>
                <a:lnTo>
                  <a:pt x="4195" y="838"/>
                </a:lnTo>
                <a:lnTo>
                  <a:pt x="4178" y="802"/>
                </a:lnTo>
                <a:lnTo>
                  <a:pt x="4157" y="761"/>
                </a:lnTo>
                <a:lnTo>
                  <a:pt x="4132" y="721"/>
                </a:lnTo>
                <a:lnTo>
                  <a:pt x="4109" y="689"/>
                </a:lnTo>
                <a:lnTo>
                  <a:pt x="4088" y="665"/>
                </a:lnTo>
                <a:lnTo>
                  <a:pt x="4070" y="648"/>
                </a:lnTo>
                <a:lnTo>
                  <a:pt x="3866" y="739"/>
                </a:lnTo>
                <a:lnTo>
                  <a:pt x="3840" y="747"/>
                </a:lnTo>
                <a:lnTo>
                  <a:pt x="3814" y="750"/>
                </a:lnTo>
                <a:lnTo>
                  <a:pt x="3788" y="745"/>
                </a:lnTo>
                <a:lnTo>
                  <a:pt x="3764" y="736"/>
                </a:lnTo>
                <a:lnTo>
                  <a:pt x="3742" y="721"/>
                </a:lnTo>
                <a:lnTo>
                  <a:pt x="3683" y="674"/>
                </a:lnTo>
                <a:lnTo>
                  <a:pt x="3619" y="633"/>
                </a:lnTo>
                <a:lnTo>
                  <a:pt x="3553" y="599"/>
                </a:lnTo>
                <a:lnTo>
                  <a:pt x="3483" y="570"/>
                </a:lnTo>
                <a:lnTo>
                  <a:pt x="3459" y="559"/>
                </a:lnTo>
                <a:lnTo>
                  <a:pt x="3437" y="543"/>
                </a:lnTo>
                <a:lnTo>
                  <a:pt x="3422" y="523"/>
                </a:lnTo>
                <a:lnTo>
                  <a:pt x="3410" y="500"/>
                </a:lnTo>
                <a:lnTo>
                  <a:pt x="3404" y="474"/>
                </a:lnTo>
                <a:lnTo>
                  <a:pt x="3381" y="250"/>
                </a:lnTo>
                <a:lnTo>
                  <a:pt x="3358" y="244"/>
                </a:lnTo>
                <a:lnTo>
                  <a:pt x="3326" y="238"/>
                </a:lnTo>
                <a:lnTo>
                  <a:pt x="3286" y="233"/>
                </a:lnTo>
                <a:lnTo>
                  <a:pt x="3241" y="232"/>
                </a:lnTo>
                <a:close/>
                <a:moveTo>
                  <a:pt x="3241" y="0"/>
                </a:moveTo>
                <a:lnTo>
                  <a:pt x="3305" y="3"/>
                </a:lnTo>
                <a:lnTo>
                  <a:pt x="3363" y="9"/>
                </a:lnTo>
                <a:lnTo>
                  <a:pt x="3416" y="20"/>
                </a:lnTo>
                <a:lnTo>
                  <a:pt x="3463" y="34"/>
                </a:lnTo>
                <a:lnTo>
                  <a:pt x="3504" y="52"/>
                </a:lnTo>
                <a:lnTo>
                  <a:pt x="3539" y="75"/>
                </a:lnTo>
                <a:lnTo>
                  <a:pt x="3567" y="99"/>
                </a:lnTo>
                <a:lnTo>
                  <a:pt x="3588" y="128"/>
                </a:lnTo>
                <a:lnTo>
                  <a:pt x="3602" y="160"/>
                </a:lnTo>
                <a:lnTo>
                  <a:pt x="3608" y="195"/>
                </a:lnTo>
                <a:lnTo>
                  <a:pt x="3626" y="380"/>
                </a:lnTo>
                <a:lnTo>
                  <a:pt x="3699" y="413"/>
                </a:lnTo>
                <a:lnTo>
                  <a:pt x="3770" y="454"/>
                </a:lnTo>
                <a:lnTo>
                  <a:pt x="3835" y="500"/>
                </a:lnTo>
                <a:lnTo>
                  <a:pt x="4004" y="424"/>
                </a:lnTo>
                <a:lnTo>
                  <a:pt x="4023" y="418"/>
                </a:lnTo>
                <a:lnTo>
                  <a:pt x="4042" y="412"/>
                </a:lnTo>
                <a:lnTo>
                  <a:pt x="4065" y="408"/>
                </a:lnTo>
                <a:lnTo>
                  <a:pt x="4091" y="408"/>
                </a:lnTo>
                <a:lnTo>
                  <a:pt x="4120" y="415"/>
                </a:lnTo>
                <a:lnTo>
                  <a:pt x="4152" y="427"/>
                </a:lnTo>
                <a:lnTo>
                  <a:pt x="4186" y="447"/>
                </a:lnTo>
                <a:lnTo>
                  <a:pt x="4221" y="474"/>
                </a:lnTo>
                <a:lnTo>
                  <a:pt x="4257" y="509"/>
                </a:lnTo>
                <a:lnTo>
                  <a:pt x="4292" y="549"/>
                </a:lnTo>
                <a:lnTo>
                  <a:pt x="4326" y="594"/>
                </a:lnTo>
                <a:lnTo>
                  <a:pt x="4356" y="645"/>
                </a:lnTo>
                <a:lnTo>
                  <a:pt x="4387" y="701"/>
                </a:lnTo>
                <a:lnTo>
                  <a:pt x="4411" y="756"/>
                </a:lnTo>
                <a:lnTo>
                  <a:pt x="4428" y="806"/>
                </a:lnTo>
                <a:lnTo>
                  <a:pt x="4439" y="855"/>
                </a:lnTo>
                <a:lnTo>
                  <a:pt x="4443" y="899"/>
                </a:lnTo>
                <a:lnTo>
                  <a:pt x="4442" y="940"/>
                </a:lnTo>
                <a:lnTo>
                  <a:pt x="4434" y="978"/>
                </a:lnTo>
                <a:lnTo>
                  <a:pt x="4420" y="1010"/>
                </a:lnTo>
                <a:lnTo>
                  <a:pt x="4399" y="1038"/>
                </a:lnTo>
                <a:lnTo>
                  <a:pt x="4372" y="1061"/>
                </a:lnTo>
                <a:lnTo>
                  <a:pt x="4222" y="1169"/>
                </a:lnTo>
                <a:lnTo>
                  <a:pt x="4228" y="1230"/>
                </a:lnTo>
                <a:lnTo>
                  <a:pt x="4230" y="1291"/>
                </a:lnTo>
                <a:lnTo>
                  <a:pt x="4228" y="1352"/>
                </a:lnTo>
                <a:lnTo>
                  <a:pt x="4224" y="1411"/>
                </a:lnTo>
                <a:lnTo>
                  <a:pt x="4373" y="1520"/>
                </a:lnTo>
                <a:lnTo>
                  <a:pt x="4399" y="1542"/>
                </a:lnTo>
                <a:lnTo>
                  <a:pt x="4420" y="1570"/>
                </a:lnTo>
                <a:lnTo>
                  <a:pt x="4434" y="1602"/>
                </a:lnTo>
                <a:lnTo>
                  <a:pt x="4442" y="1638"/>
                </a:lnTo>
                <a:lnTo>
                  <a:pt x="4443" y="1680"/>
                </a:lnTo>
                <a:lnTo>
                  <a:pt x="4439" y="1725"/>
                </a:lnTo>
                <a:lnTo>
                  <a:pt x="4428" y="1773"/>
                </a:lnTo>
                <a:lnTo>
                  <a:pt x="4411" y="1824"/>
                </a:lnTo>
                <a:lnTo>
                  <a:pt x="4387" y="1878"/>
                </a:lnTo>
                <a:lnTo>
                  <a:pt x="4356" y="1934"/>
                </a:lnTo>
                <a:lnTo>
                  <a:pt x="4326" y="1984"/>
                </a:lnTo>
                <a:lnTo>
                  <a:pt x="4292" y="2030"/>
                </a:lnTo>
                <a:lnTo>
                  <a:pt x="4257" y="2071"/>
                </a:lnTo>
                <a:lnTo>
                  <a:pt x="4221" y="2106"/>
                </a:lnTo>
                <a:lnTo>
                  <a:pt x="4221" y="2106"/>
                </a:lnTo>
                <a:lnTo>
                  <a:pt x="4262" y="2221"/>
                </a:lnTo>
                <a:lnTo>
                  <a:pt x="4295" y="2336"/>
                </a:lnTo>
                <a:lnTo>
                  <a:pt x="4321" y="2454"/>
                </a:lnTo>
                <a:lnTo>
                  <a:pt x="4341" y="2574"/>
                </a:lnTo>
                <a:lnTo>
                  <a:pt x="4352" y="2695"/>
                </a:lnTo>
                <a:lnTo>
                  <a:pt x="4356" y="2817"/>
                </a:lnTo>
                <a:lnTo>
                  <a:pt x="4352" y="2935"/>
                </a:lnTo>
                <a:lnTo>
                  <a:pt x="4343" y="3053"/>
                </a:lnTo>
                <a:lnTo>
                  <a:pt x="4324" y="3169"/>
                </a:lnTo>
                <a:lnTo>
                  <a:pt x="4481" y="3169"/>
                </a:lnTo>
                <a:lnTo>
                  <a:pt x="4509" y="3166"/>
                </a:lnTo>
                <a:lnTo>
                  <a:pt x="4535" y="3155"/>
                </a:lnTo>
                <a:lnTo>
                  <a:pt x="4558" y="3140"/>
                </a:lnTo>
                <a:lnTo>
                  <a:pt x="4576" y="3120"/>
                </a:lnTo>
                <a:lnTo>
                  <a:pt x="4590" y="3097"/>
                </a:lnTo>
                <a:lnTo>
                  <a:pt x="4597" y="3071"/>
                </a:lnTo>
                <a:lnTo>
                  <a:pt x="4600" y="3042"/>
                </a:lnTo>
                <a:lnTo>
                  <a:pt x="4600" y="2516"/>
                </a:lnTo>
                <a:lnTo>
                  <a:pt x="4597" y="2484"/>
                </a:lnTo>
                <a:lnTo>
                  <a:pt x="4585" y="2455"/>
                </a:lnTo>
                <a:lnTo>
                  <a:pt x="4568" y="2431"/>
                </a:lnTo>
                <a:lnTo>
                  <a:pt x="4544" y="2410"/>
                </a:lnTo>
                <a:lnTo>
                  <a:pt x="4515" y="2396"/>
                </a:lnTo>
                <a:lnTo>
                  <a:pt x="4492" y="2385"/>
                </a:lnTo>
                <a:lnTo>
                  <a:pt x="4471" y="2370"/>
                </a:lnTo>
                <a:lnTo>
                  <a:pt x="4455" y="2350"/>
                </a:lnTo>
                <a:lnTo>
                  <a:pt x="4445" y="2327"/>
                </a:lnTo>
                <a:lnTo>
                  <a:pt x="4439" y="2303"/>
                </a:lnTo>
                <a:lnTo>
                  <a:pt x="4437" y="2277"/>
                </a:lnTo>
                <a:lnTo>
                  <a:pt x="4443" y="2251"/>
                </a:lnTo>
                <a:lnTo>
                  <a:pt x="4457" y="2224"/>
                </a:lnTo>
                <a:lnTo>
                  <a:pt x="4475" y="2201"/>
                </a:lnTo>
                <a:lnTo>
                  <a:pt x="4500" y="2184"/>
                </a:lnTo>
                <a:lnTo>
                  <a:pt x="4527" y="2173"/>
                </a:lnTo>
                <a:lnTo>
                  <a:pt x="4556" y="2172"/>
                </a:lnTo>
                <a:lnTo>
                  <a:pt x="4587" y="2176"/>
                </a:lnTo>
                <a:lnTo>
                  <a:pt x="4634" y="2196"/>
                </a:lnTo>
                <a:lnTo>
                  <a:pt x="4678" y="2221"/>
                </a:lnTo>
                <a:lnTo>
                  <a:pt x="4716" y="2251"/>
                </a:lnTo>
                <a:lnTo>
                  <a:pt x="4750" y="2286"/>
                </a:lnTo>
                <a:lnTo>
                  <a:pt x="4779" y="2326"/>
                </a:lnTo>
                <a:lnTo>
                  <a:pt x="4801" y="2370"/>
                </a:lnTo>
                <a:lnTo>
                  <a:pt x="4818" y="2416"/>
                </a:lnTo>
                <a:lnTo>
                  <a:pt x="4827" y="2464"/>
                </a:lnTo>
                <a:lnTo>
                  <a:pt x="4832" y="2516"/>
                </a:lnTo>
                <a:lnTo>
                  <a:pt x="4832" y="3042"/>
                </a:lnTo>
                <a:lnTo>
                  <a:pt x="4827" y="3098"/>
                </a:lnTo>
                <a:lnTo>
                  <a:pt x="4814" y="3153"/>
                </a:lnTo>
                <a:lnTo>
                  <a:pt x="4792" y="3205"/>
                </a:lnTo>
                <a:lnTo>
                  <a:pt x="4765" y="3252"/>
                </a:lnTo>
                <a:lnTo>
                  <a:pt x="4730" y="3294"/>
                </a:lnTo>
                <a:lnTo>
                  <a:pt x="4689" y="3330"/>
                </a:lnTo>
                <a:lnTo>
                  <a:pt x="4643" y="3359"/>
                </a:lnTo>
                <a:lnTo>
                  <a:pt x="4593" y="3380"/>
                </a:lnTo>
                <a:lnTo>
                  <a:pt x="4538" y="3394"/>
                </a:lnTo>
                <a:lnTo>
                  <a:pt x="4481" y="3399"/>
                </a:lnTo>
                <a:lnTo>
                  <a:pt x="4268" y="3399"/>
                </a:lnTo>
                <a:lnTo>
                  <a:pt x="4230" y="3507"/>
                </a:lnTo>
                <a:lnTo>
                  <a:pt x="4184" y="3615"/>
                </a:lnTo>
                <a:lnTo>
                  <a:pt x="4132" y="3720"/>
                </a:lnTo>
                <a:lnTo>
                  <a:pt x="4074" y="3824"/>
                </a:lnTo>
                <a:lnTo>
                  <a:pt x="4009" y="3925"/>
                </a:lnTo>
                <a:lnTo>
                  <a:pt x="3937" y="4021"/>
                </a:lnTo>
                <a:lnTo>
                  <a:pt x="3861" y="4110"/>
                </a:lnTo>
                <a:lnTo>
                  <a:pt x="3780" y="4196"/>
                </a:lnTo>
                <a:lnTo>
                  <a:pt x="3693" y="4277"/>
                </a:lnTo>
                <a:lnTo>
                  <a:pt x="3602" y="4351"/>
                </a:lnTo>
                <a:lnTo>
                  <a:pt x="3506" y="4420"/>
                </a:lnTo>
                <a:lnTo>
                  <a:pt x="3407" y="4484"/>
                </a:lnTo>
                <a:lnTo>
                  <a:pt x="3305" y="4540"/>
                </a:lnTo>
                <a:lnTo>
                  <a:pt x="3198" y="4591"/>
                </a:lnTo>
                <a:lnTo>
                  <a:pt x="3090" y="4635"/>
                </a:lnTo>
                <a:lnTo>
                  <a:pt x="2979" y="4673"/>
                </a:lnTo>
                <a:lnTo>
                  <a:pt x="2969" y="4728"/>
                </a:lnTo>
                <a:lnTo>
                  <a:pt x="2951" y="4781"/>
                </a:lnTo>
                <a:lnTo>
                  <a:pt x="2927" y="4830"/>
                </a:lnTo>
                <a:lnTo>
                  <a:pt x="2896" y="4874"/>
                </a:lnTo>
                <a:lnTo>
                  <a:pt x="2860" y="4914"/>
                </a:lnTo>
                <a:lnTo>
                  <a:pt x="2817" y="4949"/>
                </a:lnTo>
                <a:lnTo>
                  <a:pt x="2770" y="4976"/>
                </a:lnTo>
                <a:lnTo>
                  <a:pt x="2718" y="4996"/>
                </a:lnTo>
                <a:lnTo>
                  <a:pt x="2665" y="5010"/>
                </a:lnTo>
                <a:lnTo>
                  <a:pt x="2607" y="5013"/>
                </a:lnTo>
                <a:lnTo>
                  <a:pt x="2232" y="5013"/>
                </a:lnTo>
                <a:lnTo>
                  <a:pt x="2177" y="5010"/>
                </a:lnTo>
                <a:lnTo>
                  <a:pt x="2124" y="4998"/>
                </a:lnTo>
                <a:lnTo>
                  <a:pt x="2075" y="4979"/>
                </a:lnTo>
                <a:lnTo>
                  <a:pt x="2029" y="4953"/>
                </a:lnTo>
                <a:lnTo>
                  <a:pt x="1986" y="4923"/>
                </a:lnTo>
                <a:lnTo>
                  <a:pt x="1950" y="4886"/>
                </a:lnTo>
                <a:lnTo>
                  <a:pt x="1919" y="4844"/>
                </a:lnTo>
                <a:lnTo>
                  <a:pt x="1893" y="4798"/>
                </a:lnTo>
                <a:lnTo>
                  <a:pt x="1875" y="4749"/>
                </a:lnTo>
                <a:lnTo>
                  <a:pt x="1863" y="4697"/>
                </a:lnTo>
                <a:lnTo>
                  <a:pt x="1858" y="4642"/>
                </a:lnTo>
                <a:lnTo>
                  <a:pt x="1863" y="4588"/>
                </a:lnTo>
                <a:lnTo>
                  <a:pt x="1875" y="4534"/>
                </a:lnTo>
                <a:lnTo>
                  <a:pt x="1893" y="4485"/>
                </a:lnTo>
                <a:lnTo>
                  <a:pt x="1919" y="4440"/>
                </a:lnTo>
                <a:lnTo>
                  <a:pt x="1950" y="4399"/>
                </a:lnTo>
                <a:lnTo>
                  <a:pt x="1986" y="4362"/>
                </a:lnTo>
                <a:lnTo>
                  <a:pt x="2029" y="4330"/>
                </a:lnTo>
                <a:lnTo>
                  <a:pt x="2075" y="4306"/>
                </a:lnTo>
                <a:lnTo>
                  <a:pt x="2124" y="4286"/>
                </a:lnTo>
                <a:lnTo>
                  <a:pt x="2177" y="4275"/>
                </a:lnTo>
                <a:lnTo>
                  <a:pt x="2232" y="4271"/>
                </a:lnTo>
                <a:lnTo>
                  <a:pt x="2607" y="4271"/>
                </a:lnTo>
                <a:lnTo>
                  <a:pt x="2665" y="4275"/>
                </a:lnTo>
                <a:lnTo>
                  <a:pt x="2718" y="4287"/>
                </a:lnTo>
                <a:lnTo>
                  <a:pt x="2768" y="4306"/>
                </a:lnTo>
                <a:lnTo>
                  <a:pt x="2816" y="4333"/>
                </a:lnTo>
                <a:lnTo>
                  <a:pt x="2858" y="4365"/>
                </a:lnTo>
                <a:lnTo>
                  <a:pt x="2895" y="4405"/>
                </a:lnTo>
                <a:lnTo>
                  <a:pt x="2927" y="4449"/>
                </a:lnTo>
                <a:lnTo>
                  <a:pt x="3037" y="4409"/>
                </a:lnTo>
                <a:lnTo>
                  <a:pt x="3143" y="4365"/>
                </a:lnTo>
                <a:lnTo>
                  <a:pt x="3245" y="4313"/>
                </a:lnTo>
                <a:lnTo>
                  <a:pt x="3343" y="4254"/>
                </a:lnTo>
                <a:lnTo>
                  <a:pt x="3436" y="4190"/>
                </a:lnTo>
                <a:lnTo>
                  <a:pt x="3524" y="4120"/>
                </a:lnTo>
                <a:lnTo>
                  <a:pt x="3608" y="4043"/>
                </a:lnTo>
                <a:lnTo>
                  <a:pt x="3686" y="3963"/>
                </a:lnTo>
                <a:lnTo>
                  <a:pt x="3759" y="3877"/>
                </a:lnTo>
                <a:lnTo>
                  <a:pt x="3824" y="3786"/>
                </a:lnTo>
                <a:lnTo>
                  <a:pt x="3885" y="3691"/>
                </a:lnTo>
                <a:lnTo>
                  <a:pt x="3940" y="3594"/>
                </a:lnTo>
                <a:lnTo>
                  <a:pt x="3988" y="3490"/>
                </a:lnTo>
                <a:lnTo>
                  <a:pt x="4029" y="3385"/>
                </a:lnTo>
                <a:lnTo>
                  <a:pt x="4062" y="3277"/>
                </a:lnTo>
                <a:lnTo>
                  <a:pt x="4090" y="3164"/>
                </a:lnTo>
                <a:lnTo>
                  <a:pt x="4109" y="3051"/>
                </a:lnTo>
                <a:lnTo>
                  <a:pt x="4122" y="2934"/>
                </a:lnTo>
                <a:lnTo>
                  <a:pt x="4125" y="2817"/>
                </a:lnTo>
                <a:lnTo>
                  <a:pt x="4122" y="2701"/>
                </a:lnTo>
                <a:lnTo>
                  <a:pt x="4109" y="2586"/>
                </a:lnTo>
                <a:lnTo>
                  <a:pt x="4091" y="2475"/>
                </a:lnTo>
                <a:lnTo>
                  <a:pt x="4065" y="2364"/>
                </a:lnTo>
                <a:lnTo>
                  <a:pt x="4030" y="2256"/>
                </a:lnTo>
                <a:lnTo>
                  <a:pt x="3989" y="2147"/>
                </a:lnTo>
                <a:lnTo>
                  <a:pt x="3838" y="2080"/>
                </a:lnTo>
                <a:lnTo>
                  <a:pt x="3771" y="2128"/>
                </a:lnTo>
                <a:lnTo>
                  <a:pt x="3699" y="2167"/>
                </a:lnTo>
                <a:lnTo>
                  <a:pt x="3626" y="2202"/>
                </a:lnTo>
                <a:lnTo>
                  <a:pt x="3608" y="2385"/>
                </a:lnTo>
                <a:lnTo>
                  <a:pt x="3602" y="2419"/>
                </a:lnTo>
                <a:lnTo>
                  <a:pt x="3588" y="2451"/>
                </a:lnTo>
                <a:lnTo>
                  <a:pt x="3567" y="2480"/>
                </a:lnTo>
                <a:lnTo>
                  <a:pt x="3539" y="2506"/>
                </a:lnTo>
                <a:lnTo>
                  <a:pt x="3504" y="2527"/>
                </a:lnTo>
                <a:lnTo>
                  <a:pt x="3463" y="2545"/>
                </a:lnTo>
                <a:lnTo>
                  <a:pt x="3416" y="2560"/>
                </a:lnTo>
                <a:lnTo>
                  <a:pt x="3363" y="2571"/>
                </a:lnTo>
                <a:lnTo>
                  <a:pt x="3305" y="2577"/>
                </a:lnTo>
                <a:lnTo>
                  <a:pt x="3241" y="2579"/>
                </a:lnTo>
                <a:lnTo>
                  <a:pt x="3177" y="2577"/>
                </a:lnTo>
                <a:lnTo>
                  <a:pt x="3117" y="2570"/>
                </a:lnTo>
                <a:lnTo>
                  <a:pt x="3064" y="2560"/>
                </a:lnTo>
                <a:lnTo>
                  <a:pt x="3017" y="2545"/>
                </a:lnTo>
                <a:lnTo>
                  <a:pt x="2976" y="2527"/>
                </a:lnTo>
                <a:lnTo>
                  <a:pt x="2940" y="2506"/>
                </a:lnTo>
                <a:lnTo>
                  <a:pt x="2913" y="2480"/>
                </a:lnTo>
                <a:lnTo>
                  <a:pt x="2892" y="2451"/>
                </a:lnTo>
                <a:lnTo>
                  <a:pt x="2878" y="2419"/>
                </a:lnTo>
                <a:lnTo>
                  <a:pt x="2873" y="2384"/>
                </a:lnTo>
                <a:lnTo>
                  <a:pt x="2854" y="2202"/>
                </a:lnTo>
                <a:lnTo>
                  <a:pt x="2780" y="2167"/>
                </a:lnTo>
                <a:lnTo>
                  <a:pt x="2710" y="2128"/>
                </a:lnTo>
                <a:lnTo>
                  <a:pt x="2643" y="2080"/>
                </a:lnTo>
                <a:lnTo>
                  <a:pt x="2476" y="2155"/>
                </a:lnTo>
                <a:lnTo>
                  <a:pt x="2442" y="2167"/>
                </a:lnTo>
                <a:lnTo>
                  <a:pt x="2409" y="2172"/>
                </a:lnTo>
                <a:lnTo>
                  <a:pt x="2374" y="2167"/>
                </a:lnTo>
                <a:lnTo>
                  <a:pt x="2337" y="2157"/>
                </a:lnTo>
                <a:lnTo>
                  <a:pt x="2300" y="2137"/>
                </a:lnTo>
                <a:lnTo>
                  <a:pt x="2264" y="2111"/>
                </a:lnTo>
                <a:lnTo>
                  <a:pt x="2229" y="2077"/>
                </a:lnTo>
                <a:lnTo>
                  <a:pt x="2192" y="2036"/>
                </a:lnTo>
                <a:lnTo>
                  <a:pt x="2157" y="1989"/>
                </a:lnTo>
                <a:lnTo>
                  <a:pt x="2124" y="1934"/>
                </a:lnTo>
                <a:lnTo>
                  <a:pt x="2096" y="1882"/>
                </a:lnTo>
                <a:lnTo>
                  <a:pt x="2073" y="1830"/>
                </a:lnTo>
                <a:lnTo>
                  <a:pt x="2055" y="1780"/>
                </a:lnTo>
                <a:lnTo>
                  <a:pt x="2043" y="1731"/>
                </a:lnTo>
                <a:lnTo>
                  <a:pt x="2038" y="1692"/>
                </a:lnTo>
                <a:lnTo>
                  <a:pt x="2037" y="1655"/>
                </a:lnTo>
                <a:lnTo>
                  <a:pt x="2041" y="1625"/>
                </a:lnTo>
                <a:lnTo>
                  <a:pt x="2047" y="1599"/>
                </a:lnTo>
                <a:lnTo>
                  <a:pt x="2058" y="1576"/>
                </a:lnTo>
                <a:lnTo>
                  <a:pt x="2069" y="1556"/>
                </a:lnTo>
                <a:lnTo>
                  <a:pt x="2082" y="1541"/>
                </a:lnTo>
                <a:lnTo>
                  <a:pt x="2095" y="1529"/>
                </a:lnTo>
                <a:lnTo>
                  <a:pt x="2108" y="1520"/>
                </a:lnTo>
                <a:lnTo>
                  <a:pt x="2258" y="1411"/>
                </a:lnTo>
                <a:lnTo>
                  <a:pt x="2252" y="1350"/>
                </a:lnTo>
                <a:lnTo>
                  <a:pt x="2250" y="1291"/>
                </a:lnTo>
                <a:lnTo>
                  <a:pt x="2252" y="1230"/>
                </a:lnTo>
                <a:lnTo>
                  <a:pt x="2258" y="1169"/>
                </a:lnTo>
                <a:lnTo>
                  <a:pt x="2108" y="1061"/>
                </a:lnTo>
                <a:lnTo>
                  <a:pt x="2081" y="1038"/>
                </a:lnTo>
                <a:lnTo>
                  <a:pt x="2061" y="1010"/>
                </a:lnTo>
                <a:lnTo>
                  <a:pt x="2046" y="978"/>
                </a:lnTo>
                <a:lnTo>
                  <a:pt x="2038" y="942"/>
                </a:lnTo>
                <a:lnTo>
                  <a:pt x="2037" y="901"/>
                </a:lnTo>
                <a:lnTo>
                  <a:pt x="2041" y="855"/>
                </a:lnTo>
                <a:lnTo>
                  <a:pt x="2052" y="808"/>
                </a:lnTo>
                <a:lnTo>
                  <a:pt x="2070" y="756"/>
                </a:lnTo>
                <a:lnTo>
                  <a:pt x="2093" y="701"/>
                </a:lnTo>
                <a:lnTo>
                  <a:pt x="2124" y="645"/>
                </a:lnTo>
                <a:lnTo>
                  <a:pt x="2157" y="591"/>
                </a:lnTo>
                <a:lnTo>
                  <a:pt x="2192" y="543"/>
                </a:lnTo>
                <a:lnTo>
                  <a:pt x="2229" y="503"/>
                </a:lnTo>
                <a:lnTo>
                  <a:pt x="2264" y="469"/>
                </a:lnTo>
                <a:lnTo>
                  <a:pt x="2300" y="442"/>
                </a:lnTo>
                <a:lnTo>
                  <a:pt x="2337" y="424"/>
                </a:lnTo>
                <a:lnTo>
                  <a:pt x="2374" y="412"/>
                </a:lnTo>
                <a:lnTo>
                  <a:pt x="2409" y="408"/>
                </a:lnTo>
                <a:lnTo>
                  <a:pt x="2442" y="412"/>
                </a:lnTo>
                <a:lnTo>
                  <a:pt x="2476" y="424"/>
                </a:lnTo>
                <a:lnTo>
                  <a:pt x="2645" y="500"/>
                </a:lnTo>
                <a:lnTo>
                  <a:pt x="2712" y="454"/>
                </a:lnTo>
                <a:lnTo>
                  <a:pt x="2780" y="413"/>
                </a:lnTo>
                <a:lnTo>
                  <a:pt x="2854" y="380"/>
                </a:lnTo>
                <a:lnTo>
                  <a:pt x="2873" y="195"/>
                </a:lnTo>
                <a:lnTo>
                  <a:pt x="2878" y="160"/>
                </a:lnTo>
                <a:lnTo>
                  <a:pt x="2892" y="128"/>
                </a:lnTo>
                <a:lnTo>
                  <a:pt x="2913" y="101"/>
                </a:lnTo>
                <a:lnTo>
                  <a:pt x="2940" y="75"/>
                </a:lnTo>
                <a:lnTo>
                  <a:pt x="2976" y="52"/>
                </a:lnTo>
                <a:lnTo>
                  <a:pt x="3017" y="34"/>
                </a:lnTo>
                <a:lnTo>
                  <a:pt x="3064" y="20"/>
                </a:lnTo>
                <a:lnTo>
                  <a:pt x="3117" y="9"/>
                </a:lnTo>
                <a:lnTo>
                  <a:pt x="3177" y="3"/>
                </a:lnTo>
                <a:lnTo>
                  <a:pt x="3241"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ES"/>
          </a:p>
        </p:txBody>
      </p:sp>
      <p:sp>
        <p:nvSpPr>
          <p:cNvPr id="8" name="Rectangle 12">
            <a:extLst>
              <a:ext uri="{FF2B5EF4-FFF2-40B4-BE49-F238E27FC236}">
                <a16:creationId xmlns:a16="http://schemas.microsoft.com/office/drawing/2014/main" id="{B5AB4E13-30C0-7D44-870D-50F385112713}"/>
              </a:ext>
            </a:extLst>
          </p:cNvPr>
          <p:cNvSpPr/>
          <p:nvPr userDrawn="1"/>
        </p:nvSpPr>
        <p:spPr>
          <a:xfrm>
            <a:off x="9457764" y="6579030"/>
            <a:ext cx="2734235" cy="278969"/>
          </a:xfrm>
          <a:prstGeom prst="rect">
            <a:avLst/>
          </a:prstGeom>
          <a:solidFill>
            <a:schemeClr val="accent1"/>
          </a:solidFill>
        </p:spPr>
        <p:txBody>
          <a:bodyPr wrap="square" lIns="0" tIns="0" rIns="0" bIns="0" rtlCol="0" anchor="ctr" anchorCtr="0">
            <a:noAutofit/>
          </a:bodyPr>
          <a:lstStyle/>
          <a:p>
            <a:pPr algn="ctr"/>
            <a:r>
              <a:rPr lang="en-US" sz="800" b="1">
                <a:solidFill>
                  <a:schemeClr val="tx2"/>
                </a:solidFill>
                <a:cs typeface="Arial" panose="020B0604020202020204" pitchFamily="34" charset="0"/>
              </a:rPr>
              <a:t>SOPORTE Y MANTENIMIENTO</a:t>
            </a:r>
          </a:p>
        </p:txBody>
      </p:sp>
    </p:spTree>
    <p:extLst>
      <p:ext uri="{BB962C8B-B14F-4D97-AF65-F5344CB8AC3E}">
        <p14:creationId xmlns:p14="http://schemas.microsoft.com/office/powerpoint/2010/main" val="2800928299"/>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emplate Propuesta 2022 - Plan de Trabajo">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50040F2E-A856-F74D-B747-8F63180F396D}"/>
              </a:ext>
            </a:extLst>
          </p:cNvPr>
          <p:cNvSpPr>
            <a:spLocks noGrp="1"/>
          </p:cNvSpPr>
          <p:nvPr>
            <p:ph type="title"/>
          </p:nvPr>
        </p:nvSpPr>
        <p:spPr>
          <a:xfrm>
            <a:off x="1138892" y="36122"/>
            <a:ext cx="10610449" cy="276999"/>
          </a:xfrm>
        </p:spPr>
        <p:txBody>
          <a:bodyPr wrap="square" lIns="0" anchor="t">
            <a:noAutofit/>
          </a:bodyPr>
          <a:lstStyle>
            <a:lvl1pPr>
              <a:defRPr lang="es-ES_tradnl" cap="all" baseline="0" noProof="0" dirty="0"/>
            </a:lvl1pPr>
          </a:lstStyle>
          <a:p>
            <a:pPr lvl="0"/>
            <a:r>
              <a:rPr lang="es-ES_tradnl" noProof="0"/>
              <a:t>Haga clic para modificar el estilo de título del patrón</a:t>
            </a:r>
          </a:p>
        </p:txBody>
      </p:sp>
      <p:sp>
        <p:nvSpPr>
          <p:cNvPr id="7" name="Marcador de texto 5">
            <a:extLst>
              <a:ext uri="{FF2B5EF4-FFF2-40B4-BE49-F238E27FC236}">
                <a16:creationId xmlns:a16="http://schemas.microsoft.com/office/drawing/2014/main" id="{CC6303D6-D0FC-984A-8419-A50470327A59}"/>
              </a:ext>
            </a:extLst>
          </p:cNvPr>
          <p:cNvSpPr>
            <a:spLocks noGrp="1"/>
          </p:cNvSpPr>
          <p:nvPr>
            <p:ph type="body" sz="quarter" idx="10"/>
          </p:nvPr>
        </p:nvSpPr>
        <p:spPr>
          <a:xfrm>
            <a:off x="442659" y="671500"/>
            <a:ext cx="11306682" cy="5741999"/>
          </a:xfrm>
        </p:spPr>
        <p:txBody>
          <a:bodyPr/>
          <a:lstStyle/>
          <a:p>
            <a:pPr lvl="0"/>
            <a:r>
              <a:rPr lang="es-ES_tradnl" noProof="0"/>
              <a:t>Haga clic para modificar los estilos de texto del patrón</a:t>
            </a:r>
          </a:p>
          <a:p>
            <a:pPr lvl="1"/>
            <a:r>
              <a:rPr lang="es-ES_tradnl" noProof="0"/>
              <a:t>Segundo nivel</a:t>
            </a:r>
          </a:p>
          <a:p>
            <a:pPr lvl="2"/>
            <a:r>
              <a:rPr lang="es-ES_tradnl" noProof="0"/>
              <a:t>Tercer nivel</a:t>
            </a:r>
          </a:p>
          <a:p>
            <a:pPr lvl="3"/>
            <a:r>
              <a:rPr lang="es-ES_tradnl" noProof="0"/>
              <a:t>Cuarto nivel</a:t>
            </a:r>
          </a:p>
          <a:p>
            <a:pPr lvl="4"/>
            <a:r>
              <a:rPr lang="es-ES_tradnl" noProof="0"/>
              <a:t>Quinto nivel</a:t>
            </a:r>
          </a:p>
        </p:txBody>
      </p:sp>
      <p:sp>
        <p:nvSpPr>
          <p:cNvPr id="4" name="Marcador de texto 4">
            <a:extLst>
              <a:ext uri="{FF2B5EF4-FFF2-40B4-BE49-F238E27FC236}">
                <a16:creationId xmlns:a16="http://schemas.microsoft.com/office/drawing/2014/main" id="{DED7AFAC-0516-FB48-9E02-44CC62A80883}"/>
              </a:ext>
            </a:extLst>
          </p:cNvPr>
          <p:cNvSpPr>
            <a:spLocks noGrp="1"/>
          </p:cNvSpPr>
          <p:nvPr>
            <p:ph type="body" sz="quarter" idx="11"/>
          </p:nvPr>
        </p:nvSpPr>
        <p:spPr>
          <a:xfrm>
            <a:off x="1138639" y="290195"/>
            <a:ext cx="10610449" cy="217488"/>
          </a:xfrm>
        </p:spPr>
        <p:txBody>
          <a:bodyPr/>
          <a:lstStyle>
            <a:lvl1pPr>
              <a:defRPr sz="1200">
                <a:solidFill>
                  <a:schemeClr val="tx2"/>
                </a:solidFill>
              </a:defRPr>
            </a:lvl1pPr>
          </a:lstStyle>
          <a:p>
            <a:pPr lvl="0"/>
            <a:r>
              <a:rPr lang="es-ES_tradnl" noProof="0"/>
              <a:t>Haga clic para modificar los estilos de texto del patrón</a:t>
            </a:r>
          </a:p>
        </p:txBody>
      </p:sp>
      <p:sp>
        <p:nvSpPr>
          <p:cNvPr id="9" name="Rectángulo 8">
            <a:extLst>
              <a:ext uri="{FF2B5EF4-FFF2-40B4-BE49-F238E27FC236}">
                <a16:creationId xmlns:a16="http://schemas.microsoft.com/office/drawing/2014/main" id="{9D31E6A8-7FC5-D346-B913-27F3CB84C0BF}"/>
              </a:ext>
            </a:extLst>
          </p:cNvPr>
          <p:cNvSpPr/>
          <p:nvPr userDrawn="1"/>
        </p:nvSpPr>
        <p:spPr bwMode="auto">
          <a:xfrm>
            <a:off x="596159" y="67814"/>
            <a:ext cx="405613" cy="405613"/>
          </a:xfrm>
          <a:prstGeom prst="rect">
            <a:avLst/>
          </a:prstGeom>
          <a:solidFill>
            <a:schemeClr val="bg1"/>
          </a:solidFill>
          <a:ln w="25400" cap="flat">
            <a:solidFill>
              <a:schemeClr val="accent2"/>
            </a:solidFill>
            <a:miter lim="800000"/>
          </a:ln>
        </p:spPr>
        <p:txBody>
          <a:bodyPr lIns="0" tIns="0" rIns="0" bIns="0" rtlCol="0" anchor="ctr">
            <a:noAutofit/>
          </a:bodyPr>
          <a:lstStyle/>
          <a:p>
            <a:pPr algn="ctr"/>
            <a:endParaRPr lang="es-ES_tradnl" sz="1400" noProof="0"/>
          </a:p>
        </p:txBody>
      </p:sp>
      <p:sp>
        <p:nvSpPr>
          <p:cNvPr id="8" name="Forma libre 7">
            <a:extLst>
              <a:ext uri="{FF2B5EF4-FFF2-40B4-BE49-F238E27FC236}">
                <a16:creationId xmlns:a16="http://schemas.microsoft.com/office/drawing/2014/main" id="{25E9E268-1CE1-3140-959E-B7BF8EE87A20}"/>
              </a:ext>
            </a:extLst>
          </p:cNvPr>
          <p:cNvSpPr/>
          <p:nvPr userDrawn="1"/>
        </p:nvSpPr>
        <p:spPr>
          <a:xfrm>
            <a:off x="673227" y="136187"/>
            <a:ext cx="251476" cy="268866"/>
          </a:xfrm>
          <a:custGeom>
            <a:avLst/>
            <a:gdLst>
              <a:gd name="connsiteX0" fmla="*/ 3306442 w 4561361"/>
              <a:gd name="connsiteY0" fmla="*/ 3535518 h 4876799"/>
              <a:gd name="connsiteX1" fmla="*/ 3220088 w 4561361"/>
              <a:gd name="connsiteY1" fmla="*/ 3621881 h 4876799"/>
              <a:gd name="connsiteX2" fmla="*/ 3306442 w 4561361"/>
              <a:gd name="connsiteY2" fmla="*/ 3708244 h 4876799"/>
              <a:gd name="connsiteX3" fmla="*/ 3392796 w 4561361"/>
              <a:gd name="connsiteY3" fmla="*/ 3621881 h 4876799"/>
              <a:gd name="connsiteX4" fmla="*/ 3306442 w 4561361"/>
              <a:gd name="connsiteY4" fmla="*/ 3535518 h 4876799"/>
              <a:gd name="connsiteX5" fmla="*/ 1725721 w 4561361"/>
              <a:gd name="connsiteY5" fmla="*/ 3141030 h 4876799"/>
              <a:gd name="connsiteX6" fmla="*/ 1720958 w 4561361"/>
              <a:gd name="connsiteY6" fmla="*/ 3145793 h 4876799"/>
              <a:gd name="connsiteX7" fmla="*/ 1720958 w 4561361"/>
              <a:gd name="connsiteY7" fmla="*/ 3308984 h 4876799"/>
              <a:gd name="connsiteX8" fmla="*/ 1725721 w 4561361"/>
              <a:gd name="connsiteY8" fmla="*/ 3313747 h 4876799"/>
              <a:gd name="connsiteX9" fmla="*/ 1888912 w 4561361"/>
              <a:gd name="connsiteY9" fmla="*/ 3313747 h 4876799"/>
              <a:gd name="connsiteX10" fmla="*/ 1893675 w 4561361"/>
              <a:gd name="connsiteY10" fmla="*/ 3308984 h 4876799"/>
              <a:gd name="connsiteX11" fmla="*/ 1893675 w 4561361"/>
              <a:gd name="connsiteY11" fmla="*/ 3145793 h 4876799"/>
              <a:gd name="connsiteX12" fmla="*/ 1888912 w 4561361"/>
              <a:gd name="connsiteY12" fmla="*/ 3141030 h 4876799"/>
              <a:gd name="connsiteX13" fmla="*/ 1094538 w 4561361"/>
              <a:gd name="connsiteY13" fmla="*/ 3141030 h 4876799"/>
              <a:gd name="connsiteX14" fmla="*/ 1089775 w 4561361"/>
              <a:gd name="connsiteY14" fmla="*/ 3145793 h 4876799"/>
              <a:gd name="connsiteX15" fmla="*/ 1089775 w 4561361"/>
              <a:gd name="connsiteY15" fmla="*/ 3308984 h 4876799"/>
              <a:gd name="connsiteX16" fmla="*/ 1094538 w 4561361"/>
              <a:gd name="connsiteY16" fmla="*/ 3313747 h 4876799"/>
              <a:gd name="connsiteX17" fmla="*/ 1257729 w 4561361"/>
              <a:gd name="connsiteY17" fmla="*/ 3313747 h 4876799"/>
              <a:gd name="connsiteX18" fmla="*/ 1262492 w 4561361"/>
              <a:gd name="connsiteY18" fmla="*/ 3308984 h 4876799"/>
              <a:gd name="connsiteX19" fmla="*/ 1262492 w 4561361"/>
              <a:gd name="connsiteY19" fmla="*/ 3145793 h 4876799"/>
              <a:gd name="connsiteX20" fmla="*/ 1257729 w 4561361"/>
              <a:gd name="connsiteY20" fmla="*/ 3141030 h 4876799"/>
              <a:gd name="connsiteX21" fmla="*/ 463335 w 4561361"/>
              <a:gd name="connsiteY21" fmla="*/ 3141030 h 4876799"/>
              <a:gd name="connsiteX22" fmla="*/ 458572 w 4561361"/>
              <a:gd name="connsiteY22" fmla="*/ 3145793 h 4876799"/>
              <a:gd name="connsiteX23" fmla="*/ 458572 w 4561361"/>
              <a:gd name="connsiteY23" fmla="*/ 3308984 h 4876799"/>
              <a:gd name="connsiteX24" fmla="*/ 463335 w 4561361"/>
              <a:gd name="connsiteY24" fmla="*/ 3313747 h 4876799"/>
              <a:gd name="connsiteX25" fmla="*/ 626536 w 4561361"/>
              <a:gd name="connsiteY25" fmla="*/ 3313747 h 4876799"/>
              <a:gd name="connsiteX26" fmla="*/ 631298 w 4561361"/>
              <a:gd name="connsiteY26" fmla="*/ 3308984 h 4876799"/>
              <a:gd name="connsiteX27" fmla="*/ 631298 w 4561361"/>
              <a:gd name="connsiteY27" fmla="*/ 3145793 h 4876799"/>
              <a:gd name="connsiteX28" fmla="*/ 626536 w 4561361"/>
              <a:gd name="connsiteY28" fmla="*/ 3141030 h 4876799"/>
              <a:gd name="connsiteX29" fmla="*/ 3306451 w 4561361"/>
              <a:gd name="connsiteY29" fmla="*/ 2998155 h 4876799"/>
              <a:gd name="connsiteX30" fmla="*/ 3377889 w 4561361"/>
              <a:gd name="connsiteY30" fmla="*/ 3069593 h 4876799"/>
              <a:gd name="connsiteX31" fmla="*/ 3377889 w 4561361"/>
              <a:gd name="connsiteY31" fmla="*/ 3404101 h 4876799"/>
              <a:gd name="connsiteX32" fmla="*/ 3524222 w 4561361"/>
              <a:gd name="connsiteY32" fmla="*/ 3550443 h 4876799"/>
              <a:gd name="connsiteX33" fmla="*/ 3700939 w 4561361"/>
              <a:gd name="connsiteY33" fmla="*/ 3550443 h 4876799"/>
              <a:gd name="connsiteX34" fmla="*/ 3772377 w 4561361"/>
              <a:gd name="connsiteY34" fmla="*/ 3621881 h 4876799"/>
              <a:gd name="connsiteX35" fmla="*/ 3700939 w 4561361"/>
              <a:gd name="connsiteY35" fmla="*/ 3693318 h 4876799"/>
              <a:gd name="connsiteX36" fmla="*/ 3524222 w 4561361"/>
              <a:gd name="connsiteY36" fmla="*/ 3693318 h 4876799"/>
              <a:gd name="connsiteX37" fmla="*/ 3306451 w 4561361"/>
              <a:gd name="connsiteY37" fmla="*/ 3851119 h 4876799"/>
              <a:gd name="connsiteX38" fmla="*/ 3077223 w 4561361"/>
              <a:gd name="connsiteY38" fmla="*/ 3621881 h 4876799"/>
              <a:gd name="connsiteX39" fmla="*/ 3235014 w 4561361"/>
              <a:gd name="connsiteY39" fmla="*/ 3404101 h 4876799"/>
              <a:gd name="connsiteX40" fmla="*/ 3235014 w 4561361"/>
              <a:gd name="connsiteY40" fmla="*/ 3069593 h 4876799"/>
              <a:gd name="connsiteX41" fmla="*/ 3306451 w 4561361"/>
              <a:gd name="connsiteY41" fmla="*/ 2998155 h 4876799"/>
              <a:gd name="connsiteX42" fmla="*/ 1725721 w 4561361"/>
              <a:gd name="connsiteY42" fmla="*/ 2998155 h 4876799"/>
              <a:gd name="connsiteX43" fmla="*/ 1888912 w 4561361"/>
              <a:gd name="connsiteY43" fmla="*/ 2998155 h 4876799"/>
              <a:gd name="connsiteX44" fmla="*/ 2036550 w 4561361"/>
              <a:gd name="connsiteY44" fmla="*/ 3145793 h 4876799"/>
              <a:gd name="connsiteX45" fmla="*/ 2036550 w 4561361"/>
              <a:gd name="connsiteY45" fmla="*/ 3308984 h 4876799"/>
              <a:gd name="connsiteX46" fmla="*/ 1888912 w 4561361"/>
              <a:gd name="connsiteY46" fmla="*/ 3456622 h 4876799"/>
              <a:gd name="connsiteX47" fmla="*/ 1725721 w 4561361"/>
              <a:gd name="connsiteY47" fmla="*/ 3456622 h 4876799"/>
              <a:gd name="connsiteX48" fmla="*/ 1578083 w 4561361"/>
              <a:gd name="connsiteY48" fmla="*/ 3308984 h 4876799"/>
              <a:gd name="connsiteX49" fmla="*/ 1578083 w 4561361"/>
              <a:gd name="connsiteY49" fmla="*/ 3145793 h 4876799"/>
              <a:gd name="connsiteX50" fmla="*/ 1725721 w 4561361"/>
              <a:gd name="connsiteY50" fmla="*/ 2998155 h 4876799"/>
              <a:gd name="connsiteX51" fmla="*/ 1094538 w 4561361"/>
              <a:gd name="connsiteY51" fmla="*/ 2998155 h 4876799"/>
              <a:gd name="connsiteX52" fmla="*/ 1257729 w 4561361"/>
              <a:gd name="connsiteY52" fmla="*/ 2998155 h 4876799"/>
              <a:gd name="connsiteX53" fmla="*/ 1405367 w 4561361"/>
              <a:gd name="connsiteY53" fmla="*/ 3145793 h 4876799"/>
              <a:gd name="connsiteX54" fmla="*/ 1405367 w 4561361"/>
              <a:gd name="connsiteY54" fmla="*/ 3308984 h 4876799"/>
              <a:gd name="connsiteX55" fmla="*/ 1257729 w 4561361"/>
              <a:gd name="connsiteY55" fmla="*/ 3456622 h 4876799"/>
              <a:gd name="connsiteX56" fmla="*/ 1094538 w 4561361"/>
              <a:gd name="connsiteY56" fmla="*/ 3456622 h 4876799"/>
              <a:gd name="connsiteX57" fmla="*/ 946900 w 4561361"/>
              <a:gd name="connsiteY57" fmla="*/ 3308984 h 4876799"/>
              <a:gd name="connsiteX58" fmla="*/ 946900 w 4561361"/>
              <a:gd name="connsiteY58" fmla="*/ 3145793 h 4876799"/>
              <a:gd name="connsiteX59" fmla="*/ 1094538 w 4561361"/>
              <a:gd name="connsiteY59" fmla="*/ 2998155 h 4876799"/>
              <a:gd name="connsiteX60" fmla="*/ 463335 w 4561361"/>
              <a:gd name="connsiteY60" fmla="*/ 2998155 h 4876799"/>
              <a:gd name="connsiteX61" fmla="*/ 626536 w 4561361"/>
              <a:gd name="connsiteY61" fmla="*/ 2998155 h 4876799"/>
              <a:gd name="connsiteX62" fmla="*/ 774173 w 4561361"/>
              <a:gd name="connsiteY62" fmla="*/ 3145793 h 4876799"/>
              <a:gd name="connsiteX63" fmla="*/ 774173 w 4561361"/>
              <a:gd name="connsiteY63" fmla="*/ 3308984 h 4876799"/>
              <a:gd name="connsiteX64" fmla="*/ 626536 w 4561361"/>
              <a:gd name="connsiteY64" fmla="*/ 3456622 h 4876799"/>
              <a:gd name="connsiteX65" fmla="*/ 463335 w 4561361"/>
              <a:gd name="connsiteY65" fmla="*/ 3456622 h 4876799"/>
              <a:gd name="connsiteX66" fmla="*/ 315697 w 4561361"/>
              <a:gd name="connsiteY66" fmla="*/ 3308984 h 4876799"/>
              <a:gd name="connsiteX67" fmla="*/ 315697 w 4561361"/>
              <a:gd name="connsiteY67" fmla="*/ 3145793 h 4876799"/>
              <a:gd name="connsiteX68" fmla="*/ 463335 w 4561361"/>
              <a:gd name="connsiteY68" fmla="*/ 2998155 h 4876799"/>
              <a:gd name="connsiteX69" fmla="*/ 3306442 w 4561361"/>
              <a:gd name="connsiteY69" fmla="*/ 2825429 h 4876799"/>
              <a:gd name="connsiteX70" fmla="*/ 2510000 w 4561361"/>
              <a:gd name="connsiteY70" fmla="*/ 3621881 h 4876799"/>
              <a:gd name="connsiteX71" fmla="*/ 3306442 w 4561361"/>
              <a:gd name="connsiteY71" fmla="*/ 4418333 h 4876799"/>
              <a:gd name="connsiteX72" fmla="*/ 4102894 w 4561361"/>
              <a:gd name="connsiteY72" fmla="*/ 3621881 h 4876799"/>
              <a:gd name="connsiteX73" fmla="*/ 3306442 w 4561361"/>
              <a:gd name="connsiteY73" fmla="*/ 2825429 h 4876799"/>
              <a:gd name="connsiteX74" fmla="*/ 3306442 w 4561361"/>
              <a:gd name="connsiteY74" fmla="*/ 2682554 h 4876799"/>
              <a:gd name="connsiteX75" fmla="*/ 4245769 w 4561361"/>
              <a:gd name="connsiteY75" fmla="*/ 3621881 h 4876799"/>
              <a:gd name="connsiteX76" fmla="*/ 3306442 w 4561361"/>
              <a:gd name="connsiteY76" fmla="*/ 4561208 h 4876799"/>
              <a:gd name="connsiteX77" fmla="*/ 2367125 w 4561361"/>
              <a:gd name="connsiteY77" fmla="*/ 3621881 h 4876799"/>
              <a:gd name="connsiteX78" fmla="*/ 3306442 w 4561361"/>
              <a:gd name="connsiteY78" fmla="*/ 2682554 h 4876799"/>
              <a:gd name="connsiteX79" fmla="*/ 3306442 w 4561361"/>
              <a:gd name="connsiteY79" fmla="*/ 2509837 h 4876799"/>
              <a:gd name="connsiteX80" fmla="*/ 2194398 w 4561361"/>
              <a:gd name="connsiteY80" fmla="*/ 3621880 h 4876799"/>
              <a:gd name="connsiteX81" fmla="*/ 3306442 w 4561361"/>
              <a:gd name="connsiteY81" fmla="*/ 4733924 h 4876799"/>
              <a:gd name="connsiteX82" fmla="*/ 4418486 w 4561361"/>
              <a:gd name="connsiteY82" fmla="*/ 3621880 h 4876799"/>
              <a:gd name="connsiteX83" fmla="*/ 3306442 w 4561361"/>
              <a:gd name="connsiteY83" fmla="*/ 2509837 h 4876799"/>
              <a:gd name="connsiteX84" fmla="*/ 2359609 w 4561361"/>
              <a:gd name="connsiteY84" fmla="*/ 2509837 h 4876799"/>
              <a:gd name="connsiteX85" fmla="*/ 2352151 w 4561361"/>
              <a:gd name="connsiteY85" fmla="*/ 2517295 h 4876799"/>
              <a:gd name="connsiteX86" fmla="*/ 2352142 w 4561361"/>
              <a:gd name="connsiteY86" fmla="*/ 2517295 h 4876799"/>
              <a:gd name="connsiteX87" fmla="*/ 2352142 w 4561361"/>
              <a:gd name="connsiteY87" fmla="*/ 2675095 h 4876799"/>
              <a:gd name="connsiteX88" fmla="*/ 2359600 w 4561361"/>
              <a:gd name="connsiteY88" fmla="*/ 2682553 h 4876799"/>
              <a:gd name="connsiteX89" fmla="*/ 2475262 w 4561361"/>
              <a:gd name="connsiteY89" fmla="*/ 2682553 h 4876799"/>
              <a:gd name="connsiteX90" fmla="*/ 2524859 w 4561361"/>
              <a:gd name="connsiteY90" fmla="*/ 2640825 h 4876799"/>
              <a:gd name="connsiteX91" fmla="*/ 2524859 w 4561361"/>
              <a:gd name="connsiteY91" fmla="*/ 2517295 h 4876799"/>
              <a:gd name="connsiteX92" fmla="*/ 2517400 w 4561361"/>
              <a:gd name="connsiteY92" fmla="*/ 2509837 h 4876799"/>
              <a:gd name="connsiteX93" fmla="*/ 1725721 w 4561361"/>
              <a:gd name="connsiteY93" fmla="*/ 2509837 h 4876799"/>
              <a:gd name="connsiteX94" fmla="*/ 1720958 w 4561361"/>
              <a:gd name="connsiteY94" fmla="*/ 2514600 h 4876799"/>
              <a:gd name="connsiteX95" fmla="*/ 1720958 w 4561361"/>
              <a:gd name="connsiteY95" fmla="*/ 2677791 h 4876799"/>
              <a:gd name="connsiteX96" fmla="*/ 1725721 w 4561361"/>
              <a:gd name="connsiteY96" fmla="*/ 2682554 h 4876799"/>
              <a:gd name="connsiteX97" fmla="*/ 1888912 w 4561361"/>
              <a:gd name="connsiteY97" fmla="*/ 2682554 h 4876799"/>
              <a:gd name="connsiteX98" fmla="*/ 1893675 w 4561361"/>
              <a:gd name="connsiteY98" fmla="*/ 2677791 h 4876799"/>
              <a:gd name="connsiteX99" fmla="*/ 1893675 w 4561361"/>
              <a:gd name="connsiteY99" fmla="*/ 2514600 h 4876799"/>
              <a:gd name="connsiteX100" fmla="*/ 1888912 w 4561361"/>
              <a:gd name="connsiteY100" fmla="*/ 2509837 h 4876799"/>
              <a:gd name="connsiteX101" fmla="*/ 1094538 w 4561361"/>
              <a:gd name="connsiteY101" fmla="*/ 2509837 h 4876799"/>
              <a:gd name="connsiteX102" fmla="*/ 1089775 w 4561361"/>
              <a:gd name="connsiteY102" fmla="*/ 2514600 h 4876799"/>
              <a:gd name="connsiteX103" fmla="*/ 1089775 w 4561361"/>
              <a:gd name="connsiteY103" fmla="*/ 2677791 h 4876799"/>
              <a:gd name="connsiteX104" fmla="*/ 1094538 w 4561361"/>
              <a:gd name="connsiteY104" fmla="*/ 2682554 h 4876799"/>
              <a:gd name="connsiteX105" fmla="*/ 1257729 w 4561361"/>
              <a:gd name="connsiteY105" fmla="*/ 2682554 h 4876799"/>
              <a:gd name="connsiteX106" fmla="*/ 1262492 w 4561361"/>
              <a:gd name="connsiteY106" fmla="*/ 2677791 h 4876799"/>
              <a:gd name="connsiteX107" fmla="*/ 1262492 w 4561361"/>
              <a:gd name="connsiteY107" fmla="*/ 2514600 h 4876799"/>
              <a:gd name="connsiteX108" fmla="*/ 1257729 w 4561361"/>
              <a:gd name="connsiteY108" fmla="*/ 2509837 h 4876799"/>
              <a:gd name="connsiteX109" fmla="*/ 463335 w 4561361"/>
              <a:gd name="connsiteY109" fmla="*/ 2509837 h 4876799"/>
              <a:gd name="connsiteX110" fmla="*/ 458572 w 4561361"/>
              <a:gd name="connsiteY110" fmla="*/ 2514600 h 4876799"/>
              <a:gd name="connsiteX111" fmla="*/ 458572 w 4561361"/>
              <a:gd name="connsiteY111" fmla="*/ 2677791 h 4876799"/>
              <a:gd name="connsiteX112" fmla="*/ 463335 w 4561361"/>
              <a:gd name="connsiteY112" fmla="*/ 2682554 h 4876799"/>
              <a:gd name="connsiteX113" fmla="*/ 626536 w 4561361"/>
              <a:gd name="connsiteY113" fmla="*/ 2682554 h 4876799"/>
              <a:gd name="connsiteX114" fmla="*/ 631298 w 4561361"/>
              <a:gd name="connsiteY114" fmla="*/ 2677791 h 4876799"/>
              <a:gd name="connsiteX115" fmla="*/ 631298 w 4561361"/>
              <a:gd name="connsiteY115" fmla="*/ 2514600 h 4876799"/>
              <a:gd name="connsiteX116" fmla="*/ 626536 w 4561361"/>
              <a:gd name="connsiteY116" fmla="*/ 2509837 h 4876799"/>
              <a:gd name="connsiteX117" fmla="*/ 1725721 w 4561361"/>
              <a:gd name="connsiteY117" fmla="*/ 2366962 h 4876799"/>
              <a:gd name="connsiteX118" fmla="*/ 1888912 w 4561361"/>
              <a:gd name="connsiteY118" fmla="*/ 2366962 h 4876799"/>
              <a:gd name="connsiteX119" fmla="*/ 2036550 w 4561361"/>
              <a:gd name="connsiteY119" fmla="*/ 2514600 h 4876799"/>
              <a:gd name="connsiteX120" fmla="*/ 2036550 w 4561361"/>
              <a:gd name="connsiteY120" fmla="*/ 2677791 h 4876799"/>
              <a:gd name="connsiteX121" fmla="*/ 1888912 w 4561361"/>
              <a:gd name="connsiteY121" fmla="*/ 2825429 h 4876799"/>
              <a:gd name="connsiteX122" fmla="*/ 1725721 w 4561361"/>
              <a:gd name="connsiteY122" fmla="*/ 2825429 h 4876799"/>
              <a:gd name="connsiteX123" fmla="*/ 1578083 w 4561361"/>
              <a:gd name="connsiteY123" fmla="*/ 2677791 h 4876799"/>
              <a:gd name="connsiteX124" fmla="*/ 1578083 w 4561361"/>
              <a:gd name="connsiteY124" fmla="*/ 2514600 h 4876799"/>
              <a:gd name="connsiteX125" fmla="*/ 1725721 w 4561361"/>
              <a:gd name="connsiteY125" fmla="*/ 2366962 h 4876799"/>
              <a:gd name="connsiteX126" fmla="*/ 1094538 w 4561361"/>
              <a:gd name="connsiteY126" fmla="*/ 2366962 h 4876799"/>
              <a:gd name="connsiteX127" fmla="*/ 1257729 w 4561361"/>
              <a:gd name="connsiteY127" fmla="*/ 2366962 h 4876799"/>
              <a:gd name="connsiteX128" fmla="*/ 1405367 w 4561361"/>
              <a:gd name="connsiteY128" fmla="*/ 2514600 h 4876799"/>
              <a:gd name="connsiteX129" fmla="*/ 1405367 w 4561361"/>
              <a:gd name="connsiteY129" fmla="*/ 2677791 h 4876799"/>
              <a:gd name="connsiteX130" fmla="*/ 1257729 w 4561361"/>
              <a:gd name="connsiteY130" fmla="*/ 2825429 h 4876799"/>
              <a:gd name="connsiteX131" fmla="*/ 1094538 w 4561361"/>
              <a:gd name="connsiteY131" fmla="*/ 2825429 h 4876799"/>
              <a:gd name="connsiteX132" fmla="*/ 946900 w 4561361"/>
              <a:gd name="connsiteY132" fmla="*/ 2677791 h 4876799"/>
              <a:gd name="connsiteX133" fmla="*/ 946900 w 4561361"/>
              <a:gd name="connsiteY133" fmla="*/ 2514600 h 4876799"/>
              <a:gd name="connsiteX134" fmla="*/ 1094538 w 4561361"/>
              <a:gd name="connsiteY134" fmla="*/ 2366962 h 4876799"/>
              <a:gd name="connsiteX135" fmla="*/ 463335 w 4561361"/>
              <a:gd name="connsiteY135" fmla="*/ 2366962 h 4876799"/>
              <a:gd name="connsiteX136" fmla="*/ 626536 w 4561361"/>
              <a:gd name="connsiteY136" fmla="*/ 2366962 h 4876799"/>
              <a:gd name="connsiteX137" fmla="*/ 774173 w 4561361"/>
              <a:gd name="connsiteY137" fmla="*/ 2514600 h 4876799"/>
              <a:gd name="connsiteX138" fmla="*/ 774173 w 4561361"/>
              <a:gd name="connsiteY138" fmla="*/ 2677791 h 4876799"/>
              <a:gd name="connsiteX139" fmla="*/ 626536 w 4561361"/>
              <a:gd name="connsiteY139" fmla="*/ 2825429 h 4876799"/>
              <a:gd name="connsiteX140" fmla="*/ 463335 w 4561361"/>
              <a:gd name="connsiteY140" fmla="*/ 2825429 h 4876799"/>
              <a:gd name="connsiteX141" fmla="*/ 315697 w 4561361"/>
              <a:gd name="connsiteY141" fmla="*/ 2677791 h 4876799"/>
              <a:gd name="connsiteX142" fmla="*/ 315697 w 4561361"/>
              <a:gd name="connsiteY142" fmla="*/ 2514600 h 4876799"/>
              <a:gd name="connsiteX143" fmla="*/ 463335 w 4561361"/>
              <a:gd name="connsiteY143" fmla="*/ 2366962 h 4876799"/>
              <a:gd name="connsiteX144" fmla="*/ 3619187 w 4561361"/>
              <a:gd name="connsiteY144" fmla="*/ 1878653 h 4876799"/>
              <a:gd name="connsiteX145" fmla="*/ 3614424 w 4561361"/>
              <a:gd name="connsiteY145" fmla="*/ 1883416 h 4876799"/>
              <a:gd name="connsiteX146" fmla="*/ 3614424 w 4561361"/>
              <a:gd name="connsiteY146" fmla="*/ 2046607 h 4876799"/>
              <a:gd name="connsiteX147" fmla="*/ 3619187 w 4561361"/>
              <a:gd name="connsiteY147" fmla="*/ 2051370 h 4876799"/>
              <a:gd name="connsiteX148" fmla="*/ 3782378 w 4561361"/>
              <a:gd name="connsiteY148" fmla="*/ 2051370 h 4876799"/>
              <a:gd name="connsiteX149" fmla="*/ 3787141 w 4561361"/>
              <a:gd name="connsiteY149" fmla="*/ 2046607 h 4876799"/>
              <a:gd name="connsiteX150" fmla="*/ 3787141 w 4561361"/>
              <a:gd name="connsiteY150" fmla="*/ 1883416 h 4876799"/>
              <a:gd name="connsiteX151" fmla="*/ 3782378 w 4561361"/>
              <a:gd name="connsiteY151" fmla="*/ 1878653 h 4876799"/>
              <a:gd name="connsiteX152" fmla="*/ 2988003 w 4561361"/>
              <a:gd name="connsiteY152" fmla="*/ 1878653 h 4876799"/>
              <a:gd name="connsiteX153" fmla="*/ 2983240 w 4561361"/>
              <a:gd name="connsiteY153" fmla="*/ 1883416 h 4876799"/>
              <a:gd name="connsiteX154" fmla="*/ 2983240 w 4561361"/>
              <a:gd name="connsiteY154" fmla="*/ 2046607 h 4876799"/>
              <a:gd name="connsiteX155" fmla="*/ 2988003 w 4561361"/>
              <a:gd name="connsiteY155" fmla="*/ 2051370 h 4876799"/>
              <a:gd name="connsiteX156" fmla="*/ 3151194 w 4561361"/>
              <a:gd name="connsiteY156" fmla="*/ 2051370 h 4876799"/>
              <a:gd name="connsiteX157" fmla="*/ 3155957 w 4561361"/>
              <a:gd name="connsiteY157" fmla="*/ 2046607 h 4876799"/>
              <a:gd name="connsiteX158" fmla="*/ 3155957 w 4561361"/>
              <a:gd name="connsiteY158" fmla="*/ 1883416 h 4876799"/>
              <a:gd name="connsiteX159" fmla="*/ 3151194 w 4561361"/>
              <a:gd name="connsiteY159" fmla="*/ 1878653 h 4876799"/>
              <a:gd name="connsiteX160" fmla="*/ 2356914 w 4561361"/>
              <a:gd name="connsiteY160" fmla="*/ 1878653 h 4876799"/>
              <a:gd name="connsiteX161" fmla="*/ 2352152 w 4561361"/>
              <a:gd name="connsiteY161" fmla="*/ 1883416 h 4876799"/>
              <a:gd name="connsiteX162" fmla="*/ 2352152 w 4561361"/>
              <a:gd name="connsiteY162" fmla="*/ 2046607 h 4876799"/>
              <a:gd name="connsiteX163" fmla="*/ 2356914 w 4561361"/>
              <a:gd name="connsiteY163" fmla="*/ 2051370 h 4876799"/>
              <a:gd name="connsiteX164" fmla="*/ 2520106 w 4561361"/>
              <a:gd name="connsiteY164" fmla="*/ 2051370 h 4876799"/>
              <a:gd name="connsiteX165" fmla="*/ 2524869 w 4561361"/>
              <a:gd name="connsiteY165" fmla="*/ 2046607 h 4876799"/>
              <a:gd name="connsiteX166" fmla="*/ 2524869 w 4561361"/>
              <a:gd name="connsiteY166" fmla="*/ 1883416 h 4876799"/>
              <a:gd name="connsiteX167" fmla="*/ 2520106 w 4561361"/>
              <a:gd name="connsiteY167" fmla="*/ 1878653 h 4876799"/>
              <a:gd name="connsiteX168" fmla="*/ 1725721 w 4561361"/>
              <a:gd name="connsiteY168" fmla="*/ 1878644 h 4876799"/>
              <a:gd name="connsiteX169" fmla="*/ 1720958 w 4561361"/>
              <a:gd name="connsiteY169" fmla="*/ 1883406 h 4876799"/>
              <a:gd name="connsiteX170" fmla="*/ 1720958 w 4561361"/>
              <a:gd name="connsiteY170" fmla="*/ 2046598 h 4876799"/>
              <a:gd name="connsiteX171" fmla="*/ 1725721 w 4561361"/>
              <a:gd name="connsiteY171" fmla="*/ 2051360 h 4876799"/>
              <a:gd name="connsiteX172" fmla="*/ 1888912 w 4561361"/>
              <a:gd name="connsiteY172" fmla="*/ 2051360 h 4876799"/>
              <a:gd name="connsiteX173" fmla="*/ 1893675 w 4561361"/>
              <a:gd name="connsiteY173" fmla="*/ 2046598 h 4876799"/>
              <a:gd name="connsiteX174" fmla="*/ 1893675 w 4561361"/>
              <a:gd name="connsiteY174" fmla="*/ 1883406 h 4876799"/>
              <a:gd name="connsiteX175" fmla="*/ 1888912 w 4561361"/>
              <a:gd name="connsiteY175" fmla="*/ 1878644 h 4876799"/>
              <a:gd name="connsiteX176" fmla="*/ 1094538 w 4561361"/>
              <a:gd name="connsiteY176" fmla="*/ 1878644 h 4876799"/>
              <a:gd name="connsiteX177" fmla="*/ 1089775 w 4561361"/>
              <a:gd name="connsiteY177" fmla="*/ 1883406 h 4876799"/>
              <a:gd name="connsiteX178" fmla="*/ 1089775 w 4561361"/>
              <a:gd name="connsiteY178" fmla="*/ 2046598 h 4876799"/>
              <a:gd name="connsiteX179" fmla="*/ 1094538 w 4561361"/>
              <a:gd name="connsiteY179" fmla="*/ 2051360 h 4876799"/>
              <a:gd name="connsiteX180" fmla="*/ 1257729 w 4561361"/>
              <a:gd name="connsiteY180" fmla="*/ 2051360 h 4876799"/>
              <a:gd name="connsiteX181" fmla="*/ 1262492 w 4561361"/>
              <a:gd name="connsiteY181" fmla="*/ 2046598 h 4876799"/>
              <a:gd name="connsiteX182" fmla="*/ 1262492 w 4561361"/>
              <a:gd name="connsiteY182" fmla="*/ 1883406 h 4876799"/>
              <a:gd name="connsiteX183" fmla="*/ 1257729 w 4561361"/>
              <a:gd name="connsiteY183" fmla="*/ 1878644 h 4876799"/>
              <a:gd name="connsiteX184" fmla="*/ 463335 w 4561361"/>
              <a:gd name="connsiteY184" fmla="*/ 1878644 h 4876799"/>
              <a:gd name="connsiteX185" fmla="*/ 458572 w 4561361"/>
              <a:gd name="connsiteY185" fmla="*/ 1883406 h 4876799"/>
              <a:gd name="connsiteX186" fmla="*/ 458572 w 4561361"/>
              <a:gd name="connsiteY186" fmla="*/ 2046598 h 4876799"/>
              <a:gd name="connsiteX187" fmla="*/ 463335 w 4561361"/>
              <a:gd name="connsiteY187" fmla="*/ 2051360 h 4876799"/>
              <a:gd name="connsiteX188" fmla="*/ 626536 w 4561361"/>
              <a:gd name="connsiteY188" fmla="*/ 2051360 h 4876799"/>
              <a:gd name="connsiteX189" fmla="*/ 631298 w 4561361"/>
              <a:gd name="connsiteY189" fmla="*/ 2046598 h 4876799"/>
              <a:gd name="connsiteX190" fmla="*/ 631298 w 4561361"/>
              <a:gd name="connsiteY190" fmla="*/ 1883406 h 4876799"/>
              <a:gd name="connsiteX191" fmla="*/ 626536 w 4561361"/>
              <a:gd name="connsiteY191" fmla="*/ 1878644 h 4876799"/>
              <a:gd name="connsiteX192" fmla="*/ 3619187 w 4561361"/>
              <a:gd name="connsiteY192" fmla="*/ 1735778 h 4876799"/>
              <a:gd name="connsiteX193" fmla="*/ 3782378 w 4561361"/>
              <a:gd name="connsiteY193" fmla="*/ 1735778 h 4876799"/>
              <a:gd name="connsiteX194" fmla="*/ 3930016 w 4561361"/>
              <a:gd name="connsiteY194" fmla="*/ 1883416 h 4876799"/>
              <a:gd name="connsiteX195" fmla="*/ 3930016 w 4561361"/>
              <a:gd name="connsiteY195" fmla="*/ 2046607 h 4876799"/>
              <a:gd name="connsiteX196" fmla="*/ 3782378 w 4561361"/>
              <a:gd name="connsiteY196" fmla="*/ 2194245 h 4876799"/>
              <a:gd name="connsiteX197" fmla="*/ 3619187 w 4561361"/>
              <a:gd name="connsiteY197" fmla="*/ 2194245 h 4876799"/>
              <a:gd name="connsiteX198" fmla="*/ 3471549 w 4561361"/>
              <a:gd name="connsiteY198" fmla="*/ 2046607 h 4876799"/>
              <a:gd name="connsiteX199" fmla="*/ 3471549 w 4561361"/>
              <a:gd name="connsiteY199" fmla="*/ 1883416 h 4876799"/>
              <a:gd name="connsiteX200" fmla="*/ 3619187 w 4561361"/>
              <a:gd name="connsiteY200" fmla="*/ 1735778 h 4876799"/>
              <a:gd name="connsiteX201" fmla="*/ 2988003 w 4561361"/>
              <a:gd name="connsiteY201" fmla="*/ 1735778 h 4876799"/>
              <a:gd name="connsiteX202" fmla="*/ 3151194 w 4561361"/>
              <a:gd name="connsiteY202" fmla="*/ 1735778 h 4876799"/>
              <a:gd name="connsiteX203" fmla="*/ 3298832 w 4561361"/>
              <a:gd name="connsiteY203" fmla="*/ 1883416 h 4876799"/>
              <a:gd name="connsiteX204" fmla="*/ 3298832 w 4561361"/>
              <a:gd name="connsiteY204" fmla="*/ 2046607 h 4876799"/>
              <a:gd name="connsiteX205" fmla="*/ 3151194 w 4561361"/>
              <a:gd name="connsiteY205" fmla="*/ 2194245 h 4876799"/>
              <a:gd name="connsiteX206" fmla="*/ 2988003 w 4561361"/>
              <a:gd name="connsiteY206" fmla="*/ 2194245 h 4876799"/>
              <a:gd name="connsiteX207" fmla="*/ 2840365 w 4561361"/>
              <a:gd name="connsiteY207" fmla="*/ 2046607 h 4876799"/>
              <a:gd name="connsiteX208" fmla="*/ 2840365 w 4561361"/>
              <a:gd name="connsiteY208" fmla="*/ 1883416 h 4876799"/>
              <a:gd name="connsiteX209" fmla="*/ 2988003 w 4561361"/>
              <a:gd name="connsiteY209" fmla="*/ 1735778 h 4876799"/>
              <a:gd name="connsiteX210" fmla="*/ 2356914 w 4561361"/>
              <a:gd name="connsiteY210" fmla="*/ 1735778 h 4876799"/>
              <a:gd name="connsiteX211" fmla="*/ 2520106 w 4561361"/>
              <a:gd name="connsiteY211" fmla="*/ 1735778 h 4876799"/>
              <a:gd name="connsiteX212" fmla="*/ 2667744 w 4561361"/>
              <a:gd name="connsiteY212" fmla="*/ 1883416 h 4876799"/>
              <a:gd name="connsiteX213" fmla="*/ 2667744 w 4561361"/>
              <a:gd name="connsiteY213" fmla="*/ 2046607 h 4876799"/>
              <a:gd name="connsiteX214" fmla="*/ 2520106 w 4561361"/>
              <a:gd name="connsiteY214" fmla="*/ 2194245 h 4876799"/>
              <a:gd name="connsiteX215" fmla="*/ 2356914 w 4561361"/>
              <a:gd name="connsiteY215" fmla="*/ 2194245 h 4876799"/>
              <a:gd name="connsiteX216" fmla="*/ 2209277 w 4561361"/>
              <a:gd name="connsiteY216" fmla="*/ 2046607 h 4876799"/>
              <a:gd name="connsiteX217" fmla="*/ 2209277 w 4561361"/>
              <a:gd name="connsiteY217" fmla="*/ 1883416 h 4876799"/>
              <a:gd name="connsiteX218" fmla="*/ 2356914 w 4561361"/>
              <a:gd name="connsiteY218" fmla="*/ 1735778 h 4876799"/>
              <a:gd name="connsiteX219" fmla="*/ 1725721 w 4561361"/>
              <a:gd name="connsiteY219" fmla="*/ 1735778 h 4876799"/>
              <a:gd name="connsiteX220" fmla="*/ 1888912 w 4561361"/>
              <a:gd name="connsiteY220" fmla="*/ 1735778 h 4876799"/>
              <a:gd name="connsiteX221" fmla="*/ 2036550 w 4561361"/>
              <a:gd name="connsiteY221" fmla="*/ 1883416 h 4876799"/>
              <a:gd name="connsiteX222" fmla="*/ 2036550 w 4561361"/>
              <a:gd name="connsiteY222" fmla="*/ 2046607 h 4876799"/>
              <a:gd name="connsiteX223" fmla="*/ 1888912 w 4561361"/>
              <a:gd name="connsiteY223" fmla="*/ 2194245 h 4876799"/>
              <a:gd name="connsiteX224" fmla="*/ 1725721 w 4561361"/>
              <a:gd name="connsiteY224" fmla="*/ 2194245 h 4876799"/>
              <a:gd name="connsiteX225" fmla="*/ 1578083 w 4561361"/>
              <a:gd name="connsiteY225" fmla="*/ 2046607 h 4876799"/>
              <a:gd name="connsiteX226" fmla="*/ 1578083 w 4561361"/>
              <a:gd name="connsiteY226" fmla="*/ 1883416 h 4876799"/>
              <a:gd name="connsiteX227" fmla="*/ 1725721 w 4561361"/>
              <a:gd name="connsiteY227" fmla="*/ 1735778 h 4876799"/>
              <a:gd name="connsiteX228" fmla="*/ 1094538 w 4561361"/>
              <a:gd name="connsiteY228" fmla="*/ 1735778 h 4876799"/>
              <a:gd name="connsiteX229" fmla="*/ 1257729 w 4561361"/>
              <a:gd name="connsiteY229" fmla="*/ 1735778 h 4876799"/>
              <a:gd name="connsiteX230" fmla="*/ 1405367 w 4561361"/>
              <a:gd name="connsiteY230" fmla="*/ 1883416 h 4876799"/>
              <a:gd name="connsiteX231" fmla="*/ 1405367 w 4561361"/>
              <a:gd name="connsiteY231" fmla="*/ 2046607 h 4876799"/>
              <a:gd name="connsiteX232" fmla="*/ 1257729 w 4561361"/>
              <a:gd name="connsiteY232" fmla="*/ 2194245 h 4876799"/>
              <a:gd name="connsiteX233" fmla="*/ 1094538 w 4561361"/>
              <a:gd name="connsiteY233" fmla="*/ 2194245 h 4876799"/>
              <a:gd name="connsiteX234" fmla="*/ 946900 w 4561361"/>
              <a:gd name="connsiteY234" fmla="*/ 2046607 h 4876799"/>
              <a:gd name="connsiteX235" fmla="*/ 946900 w 4561361"/>
              <a:gd name="connsiteY235" fmla="*/ 1883416 h 4876799"/>
              <a:gd name="connsiteX236" fmla="*/ 1094538 w 4561361"/>
              <a:gd name="connsiteY236" fmla="*/ 1735778 h 4876799"/>
              <a:gd name="connsiteX237" fmla="*/ 463335 w 4561361"/>
              <a:gd name="connsiteY237" fmla="*/ 1735778 h 4876799"/>
              <a:gd name="connsiteX238" fmla="*/ 626536 w 4561361"/>
              <a:gd name="connsiteY238" fmla="*/ 1735778 h 4876799"/>
              <a:gd name="connsiteX239" fmla="*/ 774173 w 4561361"/>
              <a:gd name="connsiteY239" fmla="*/ 1883416 h 4876799"/>
              <a:gd name="connsiteX240" fmla="*/ 774173 w 4561361"/>
              <a:gd name="connsiteY240" fmla="*/ 2046607 h 4876799"/>
              <a:gd name="connsiteX241" fmla="*/ 626536 w 4561361"/>
              <a:gd name="connsiteY241" fmla="*/ 2194245 h 4876799"/>
              <a:gd name="connsiteX242" fmla="*/ 463335 w 4561361"/>
              <a:gd name="connsiteY242" fmla="*/ 2194245 h 4876799"/>
              <a:gd name="connsiteX243" fmla="*/ 315697 w 4561361"/>
              <a:gd name="connsiteY243" fmla="*/ 2046607 h 4876799"/>
              <a:gd name="connsiteX244" fmla="*/ 315697 w 4561361"/>
              <a:gd name="connsiteY244" fmla="*/ 1883416 h 4876799"/>
              <a:gd name="connsiteX245" fmla="*/ 463335 w 4561361"/>
              <a:gd name="connsiteY245" fmla="*/ 1735778 h 4876799"/>
              <a:gd name="connsiteX246" fmla="*/ 142885 w 4561361"/>
              <a:gd name="connsiteY246" fmla="*/ 1247460 h 4876799"/>
              <a:gd name="connsiteX247" fmla="*/ 142885 w 4561361"/>
              <a:gd name="connsiteY247" fmla="*/ 1420177 h 4876799"/>
              <a:gd name="connsiteX248" fmla="*/ 4103056 w 4561361"/>
              <a:gd name="connsiteY248" fmla="*/ 1420177 h 4876799"/>
              <a:gd name="connsiteX249" fmla="*/ 4103056 w 4561361"/>
              <a:gd name="connsiteY249" fmla="*/ 1247460 h 4876799"/>
              <a:gd name="connsiteX250" fmla="*/ 387029 w 4561361"/>
              <a:gd name="connsiteY250" fmla="*/ 458467 h 4876799"/>
              <a:gd name="connsiteX251" fmla="*/ 142885 w 4561361"/>
              <a:gd name="connsiteY251" fmla="*/ 702621 h 4876799"/>
              <a:gd name="connsiteX252" fmla="*/ 142885 w 4561361"/>
              <a:gd name="connsiteY252" fmla="*/ 1104576 h 4876799"/>
              <a:gd name="connsiteX253" fmla="*/ 4103046 w 4561361"/>
              <a:gd name="connsiteY253" fmla="*/ 1104576 h 4876799"/>
              <a:gd name="connsiteX254" fmla="*/ 4103046 w 4561361"/>
              <a:gd name="connsiteY254" fmla="*/ 702612 h 4876799"/>
              <a:gd name="connsiteX255" fmla="*/ 3858892 w 4561361"/>
              <a:gd name="connsiteY255" fmla="*/ 458467 h 4876799"/>
              <a:gd name="connsiteX256" fmla="*/ 3298927 w 4561361"/>
              <a:gd name="connsiteY256" fmla="*/ 458467 h 4876799"/>
              <a:gd name="connsiteX257" fmla="*/ 3298927 w 4561361"/>
              <a:gd name="connsiteY257" fmla="*/ 631184 h 4876799"/>
              <a:gd name="connsiteX258" fmla="*/ 3385290 w 4561361"/>
              <a:gd name="connsiteY258" fmla="*/ 631184 h 4876799"/>
              <a:gd name="connsiteX259" fmla="*/ 3456727 w 4561361"/>
              <a:gd name="connsiteY259" fmla="*/ 702621 h 4876799"/>
              <a:gd name="connsiteX260" fmla="*/ 3385290 w 4561361"/>
              <a:gd name="connsiteY260" fmla="*/ 774059 h 4876799"/>
              <a:gd name="connsiteX261" fmla="*/ 3274876 w 4561361"/>
              <a:gd name="connsiteY261" fmla="*/ 774059 h 4876799"/>
              <a:gd name="connsiteX262" fmla="*/ 3030246 w 4561361"/>
              <a:gd name="connsiteY262" fmla="*/ 931859 h 4876799"/>
              <a:gd name="connsiteX263" fmla="*/ 2785615 w 4561361"/>
              <a:gd name="connsiteY263" fmla="*/ 774059 h 4876799"/>
              <a:gd name="connsiteX264" fmla="*/ 2675201 w 4561361"/>
              <a:gd name="connsiteY264" fmla="*/ 774059 h 4876799"/>
              <a:gd name="connsiteX265" fmla="*/ 2603764 w 4561361"/>
              <a:gd name="connsiteY265" fmla="*/ 702621 h 4876799"/>
              <a:gd name="connsiteX266" fmla="*/ 2675201 w 4561361"/>
              <a:gd name="connsiteY266" fmla="*/ 631184 h 4876799"/>
              <a:gd name="connsiteX267" fmla="*/ 2761564 w 4561361"/>
              <a:gd name="connsiteY267" fmla="*/ 631184 h 4876799"/>
              <a:gd name="connsiteX268" fmla="*/ 2761564 w 4561361"/>
              <a:gd name="connsiteY268" fmla="*/ 458467 h 4876799"/>
              <a:gd name="connsiteX269" fmla="*/ 1484157 w 4561361"/>
              <a:gd name="connsiteY269" fmla="*/ 458467 h 4876799"/>
              <a:gd name="connsiteX270" fmla="*/ 1484157 w 4561361"/>
              <a:gd name="connsiteY270" fmla="*/ 631184 h 4876799"/>
              <a:gd name="connsiteX271" fmla="*/ 1570511 w 4561361"/>
              <a:gd name="connsiteY271" fmla="*/ 631184 h 4876799"/>
              <a:gd name="connsiteX272" fmla="*/ 1641948 w 4561361"/>
              <a:gd name="connsiteY272" fmla="*/ 702621 h 4876799"/>
              <a:gd name="connsiteX273" fmla="*/ 1570511 w 4561361"/>
              <a:gd name="connsiteY273" fmla="*/ 774059 h 4876799"/>
              <a:gd name="connsiteX274" fmla="*/ 1460106 w 4561361"/>
              <a:gd name="connsiteY274" fmla="*/ 774059 h 4876799"/>
              <a:gd name="connsiteX275" fmla="*/ 1215476 w 4561361"/>
              <a:gd name="connsiteY275" fmla="*/ 931859 h 4876799"/>
              <a:gd name="connsiteX276" fmla="*/ 970836 w 4561361"/>
              <a:gd name="connsiteY276" fmla="*/ 774059 h 4876799"/>
              <a:gd name="connsiteX277" fmla="*/ 860431 w 4561361"/>
              <a:gd name="connsiteY277" fmla="*/ 774059 h 4876799"/>
              <a:gd name="connsiteX278" fmla="*/ 788994 w 4561361"/>
              <a:gd name="connsiteY278" fmla="*/ 702621 h 4876799"/>
              <a:gd name="connsiteX279" fmla="*/ 860431 w 4561361"/>
              <a:gd name="connsiteY279" fmla="*/ 631184 h 4876799"/>
              <a:gd name="connsiteX280" fmla="*/ 946785 w 4561361"/>
              <a:gd name="connsiteY280" fmla="*/ 631184 h 4876799"/>
              <a:gd name="connsiteX281" fmla="*/ 946785 w 4561361"/>
              <a:gd name="connsiteY281" fmla="*/ 458467 h 4876799"/>
              <a:gd name="connsiteX282" fmla="*/ 3030246 w 4561361"/>
              <a:gd name="connsiteY282" fmla="*/ 142875 h 4876799"/>
              <a:gd name="connsiteX283" fmla="*/ 2904439 w 4561361"/>
              <a:gd name="connsiteY283" fmla="*/ 268681 h 4876799"/>
              <a:gd name="connsiteX284" fmla="*/ 2904439 w 4561361"/>
              <a:gd name="connsiteY284" fmla="*/ 663178 h 4876799"/>
              <a:gd name="connsiteX285" fmla="*/ 3030246 w 4561361"/>
              <a:gd name="connsiteY285" fmla="*/ 788994 h 4876799"/>
              <a:gd name="connsiteX286" fmla="*/ 3156052 w 4561361"/>
              <a:gd name="connsiteY286" fmla="*/ 663178 h 4876799"/>
              <a:gd name="connsiteX287" fmla="*/ 3156052 w 4561361"/>
              <a:gd name="connsiteY287" fmla="*/ 268681 h 4876799"/>
              <a:gd name="connsiteX288" fmla="*/ 3030246 w 4561361"/>
              <a:gd name="connsiteY288" fmla="*/ 142875 h 4876799"/>
              <a:gd name="connsiteX289" fmla="*/ 1215476 w 4561361"/>
              <a:gd name="connsiteY289" fmla="*/ 142875 h 4876799"/>
              <a:gd name="connsiteX290" fmla="*/ 1089660 w 4561361"/>
              <a:gd name="connsiteY290" fmla="*/ 268681 h 4876799"/>
              <a:gd name="connsiteX291" fmla="*/ 1089660 w 4561361"/>
              <a:gd name="connsiteY291" fmla="*/ 663178 h 4876799"/>
              <a:gd name="connsiteX292" fmla="*/ 1215476 w 4561361"/>
              <a:gd name="connsiteY292" fmla="*/ 788994 h 4876799"/>
              <a:gd name="connsiteX293" fmla="*/ 1341282 w 4561361"/>
              <a:gd name="connsiteY293" fmla="*/ 663178 h 4876799"/>
              <a:gd name="connsiteX294" fmla="*/ 1341282 w 4561361"/>
              <a:gd name="connsiteY294" fmla="*/ 268681 h 4876799"/>
              <a:gd name="connsiteX295" fmla="*/ 1215476 w 4561361"/>
              <a:gd name="connsiteY295" fmla="*/ 142875 h 4876799"/>
              <a:gd name="connsiteX296" fmla="*/ 1215476 w 4561361"/>
              <a:gd name="connsiteY296" fmla="*/ 0 h 4876799"/>
              <a:gd name="connsiteX297" fmla="*/ 1484157 w 4561361"/>
              <a:gd name="connsiteY297" fmla="*/ 268681 h 4876799"/>
              <a:gd name="connsiteX298" fmla="*/ 1484157 w 4561361"/>
              <a:gd name="connsiteY298" fmla="*/ 315592 h 4876799"/>
              <a:gd name="connsiteX299" fmla="*/ 2761564 w 4561361"/>
              <a:gd name="connsiteY299" fmla="*/ 315592 h 4876799"/>
              <a:gd name="connsiteX300" fmla="*/ 2761564 w 4561361"/>
              <a:gd name="connsiteY300" fmla="*/ 268681 h 4876799"/>
              <a:gd name="connsiteX301" fmla="*/ 3030246 w 4561361"/>
              <a:gd name="connsiteY301" fmla="*/ 0 h 4876799"/>
              <a:gd name="connsiteX302" fmla="*/ 3298927 w 4561361"/>
              <a:gd name="connsiteY302" fmla="*/ 268692 h 4876799"/>
              <a:gd name="connsiteX303" fmla="*/ 3298927 w 4561361"/>
              <a:gd name="connsiteY303" fmla="*/ 315601 h 4876799"/>
              <a:gd name="connsiteX304" fmla="*/ 3858892 w 4561361"/>
              <a:gd name="connsiteY304" fmla="*/ 315601 h 4876799"/>
              <a:gd name="connsiteX305" fmla="*/ 4245921 w 4561361"/>
              <a:gd name="connsiteY305" fmla="*/ 702621 h 4876799"/>
              <a:gd name="connsiteX306" fmla="*/ 4245921 w 4561361"/>
              <a:gd name="connsiteY306" fmla="*/ 2790881 h 4876799"/>
              <a:gd name="connsiteX307" fmla="*/ 4561361 w 4561361"/>
              <a:gd name="connsiteY307" fmla="*/ 3621880 h 4876799"/>
              <a:gd name="connsiteX308" fmla="*/ 3306442 w 4561361"/>
              <a:gd name="connsiteY308" fmla="*/ 4876799 h 4876799"/>
              <a:gd name="connsiteX309" fmla="*/ 2141258 w 4561361"/>
              <a:gd name="connsiteY309" fmla="*/ 4087815 h 4876799"/>
              <a:gd name="connsiteX310" fmla="*/ 845601 w 4561361"/>
              <a:gd name="connsiteY310" fmla="*/ 4087815 h 4876799"/>
              <a:gd name="connsiteX311" fmla="*/ 774163 w 4561361"/>
              <a:gd name="connsiteY311" fmla="*/ 4016377 h 4876799"/>
              <a:gd name="connsiteX312" fmla="*/ 845601 w 4561361"/>
              <a:gd name="connsiteY312" fmla="*/ 3944940 h 4876799"/>
              <a:gd name="connsiteX313" fmla="*/ 2093757 w 4561361"/>
              <a:gd name="connsiteY313" fmla="*/ 3944940 h 4876799"/>
              <a:gd name="connsiteX314" fmla="*/ 2060562 w 4561361"/>
              <a:gd name="connsiteY314" fmla="*/ 3772213 h 4876799"/>
              <a:gd name="connsiteX315" fmla="*/ 387029 w 4561361"/>
              <a:gd name="connsiteY315" fmla="*/ 3772213 h 4876799"/>
              <a:gd name="connsiteX316" fmla="*/ 142875 w 4561361"/>
              <a:gd name="connsiteY316" fmla="*/ 3685212 h 4876799"/>
              <a:gd name="connsiteX317" fmla="*/ 142875 w 4561361"/>
              <a:gd name="connsiteY317" fmla="*/ 3700785 h 4876799"/>
              <a:gd name="connsiteX318" fmla="*/ 387029 w 4561361"/>
              <a:gd name="connsiteY318" fmla="*/ 3944930 h 4876799"/>
              <a:gd name="connsiteX319" fmla="*/ 559860 w 4561361"/>
              <a:gd name="connsiteY319" fmla="*/ 3944930 h 4876799"/>
              <a:gd name="connsiteX320" fmla="*/ 631298 w 4561361"/>
              <a:gd name="connsiteY320" fmla="*/ 4016368 h 4876799"/>
              <a:gd name="connsiteX321" fmla="*/ 559860 w 4561361"/>
              <a:gd name="connsiteY321" fmla="*/ 4087805 h 4876799"/>
              <a:gd name="connsiteX322" fmla="*/ 387029 w 4561361"/>
              <a:gd name="connsiteY322" fmla="*/ 4087805 h 4876799"/>
              <a:gd name="connsiteX323" fmla="*/ 0 w 4561361"/>
              <a:gd name="connsiteY323" fmla="*/ 3700785 h 4876799"/>
              <a:gd name="connsiteX324" fmla="*/ 0 w 4561361"/>
              <a:gd name="connsiteY324" fmla="*/ 2107882 h 4876799"/>
              <a:gd name="connsiteX325" fmla="*/ 71438 w 4561361"/>
              <a:gd name="connsiteY325" fmla="*/ 2036444 h 4876799"/>
              <a:gd name="connsiteX326" fmla="*/ 142875 w 4561361"/>
              <a:gd name="connsiteY326" fmla="*/ 2107882 h 4876799"/>
              <a:gd name="connsiteX327" fmla="*/ 142875 w 4561361"/>
              <a:gd name="connsiteY327" fmla="*/ 3385194 h 4876799"/>
              <a:gd name="connsiteX328" fmla="*/ 387029 w 4561361"/>
              <a:gd name="connsiteY328" fmla="*/ 3629338 h 4876799"/>
              <a:gd name="connsiteX329" fmla="*/ 2051618 w 4561361"/>
              <a:gd name="connsiteY329" fmla="*/ 3629338 h 4876799"/>
              <a:gd name="connsiteX330" fmla="*/ 2051523 w 4561361"/>
              <a:gd name="connsiteY330" fmla="*/ 3621880 h 4876799"/>
              <a:gd name="connsiteX331" fmla="*/ 2338692 w 4561361"/>
              <a:gd name="connsiteY331" fmla="*/ 2823800 h 4876799"/>
              <a:gd name="connsiteX332" fmla="*/ 2209276 w 4561361"/>
              <a:gd name="connsiteY332" fmla="*/ 2675095 h 4876799"/>
              <a:gd name="connsiteX333" fmla="*/ 2209276 w 4561361"/>
              <a:gd name="connsiteY333" fmla="*/ 2517295 h 4876799"/>
              <a:gd name="connsiteX334" fmla="*/ 2359609 w 4561361"/>
              <a:gd name="connsiteY334" fmla="*/ 2366962 h 4876799"/>
              <a:gd name="connsiteX335" fmla="*/ 2517400 w 4561361"/>
              <a:gd name="connsiteY335" fmla="*/ 2366962 h 4876799"/>
              <a:gd name="connsiteX336" fmla="*/ 2667734 w 4561361"/>
              <a:gd name="connsiteY336" fmla="*/ 2517295 h 4876799"/>
              <a:gd name="connsiteX337" fmla="*/ 2667734 w 4561361"/>
              <a:gd name="connsiteY337" fmla="*/ 2542079 h 4876799"/>
              <a:gd name="connsiteX338" fmla="*/ 3306442 w 4561361"/>
              <a:gd name="connsiteY338" fmla="*/ 2366962 h 4876799"/>
              <a:gd name="connsiteX339" fmla="*/ 4103046 w 4561361"/>
              <a:gd name="connsiteY339" fmla="*/ 2652931 h 4876799"/>
              <a:gd name="connsiteX340" fmla="*/ 4103046 w 4561361"/>
              <a:gd name="connsiteY340" fmla="*/ 1563052 h 4876799"/>
              <a:gd name="connsiteX341" fmla="*/ 142875 w 4561361"/>
              <a:gd name="connsiteY341" fmla="*/ 1563052 h 4876799"/>
              <a:gd name="connsiteX342" fmla="*/ 142875 w 4561361"/>
              <a:gd name="connsiteY342" fmla="*/ 1822132 h 4876799"/>
              <a:gd name="connsiteX343" fmla="*/ 71438 w 4561361"/>
              <a:gd name="connsiteY343" fmla="*/ 1893569 h 4876799"/>
              <a:gd name="connsiteX344" fmla="*/ 0 w 4561361"/>
              <a:gd name="connsiteY344" fmla="*/ 1822132 h 4876799"/>
              <a:gd name="connsiteX345" fmla="*/ 0 w 4561361"/>
              <a:gd name="connsiteY345" fmla="*/ 702612 h 4876799"/>
              <a:gd name="connsiteX346" fmla="*/ 387029 w 4561361"/>
              <a:gd name="connsiteY346" fmla="*/ 315592 h 4876799"/>
              <a:gd name="connsiteX347" fmla="*/ 946785 w 4561361"/>
              <a:gd name="connsiteY347" fmla="*/ 315592 h 4876799"/>
              <a:gd name="connsiteX348" fmla="*/ 946785 w 4561361"/>
              <a:gd name="connsiteY348" fmla="*/ 268681 h 4876799"/>
              <a:gd name="connsiteX349" fmla="*/ 1215476 w 4561361"/>
              <a:gd name="connsiteY349" fmla="*/ 0 h 487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4561361" h="4876799">
                <a:moveTo>
                  <a:pt x="3306442" y="3535518"/>
                </a:moveTo>
                <a:cubicBezTo>
                  <a:pt x="3258826" y="3535518"/>
                  <a:pt x="3220088" y="3574256"/>
                  <a:pt x="3220088" y="3621881"/>
                </a:cubicBezTo>
                <a:cubicBezTo>
                  <a:pt x="3220088" y="3669506"/>
                  <a:pt x="3258826" y="3708244"/>
                  <a:pt x="3306442" y="3708244"/>
                </a:cubicBezTo>
                <a:cubicBezTo>
                  <a:pt x="3354058" y="3708244"/>
                  <a:pt x="3392796" y="3669506"/>
                  <a:pt x="3392796" y="3621881"/>
                </a:cubicBezTo>
                <a:cubicBezTo>
                  <a:pt x="3392796" y="3574256"/>
                  <a:pt x="3354058" y="3535518"/>
                  <a:pt x="3306442" y="3535518"/>
                </a:cubicBezTo>
                <a:close/>
                <a:moveTo>
                  <a:pt x="1725721" y="3141030"/>
                </a:moveTo>
                <a:cubicBezTo>
                  <a:pt x="1723101" y="3141030"/>
                  <a:pt x="1720958" y="3143164"/>
                  <a:pt x="1720958" y="3145793"/>
                </a:cubicBezTo>
                <a:lnTo>
                  <a:pt x="1720958" y="3308984"/>
                </a:lnTo>
                <a:cubicBezTo>
                  <a:pt x="1720958" y="3311613"/>
                  <a:pt x="1723101" y="3313747"/>
                  <a:pt x="1725721" y="3313747"/>
                </a:cubicBezTo>
                <a:lnTo>
                  <a:pt x="1888912" y="3313747"/>
                </a:lnTo>
                <a:cubicBezTo>
                  <a:pt x="1891532" y="3313747"/>
                  <a:pt x="1893675" y="3311613"/>
                  <a:pt x="1893675" y="3308984"/>
                </a:cubicBezTo>
                <a:lnTo>
                  <a:pt x="1893675" y="3145793"/>
                </a:lnTo>
                <a:cubicBezTo>
                  <a:pt x="1893675" y="3143164"/>
                  <a:pt x="1891532" y="3141030"/>
                  <a:pt x="1888912" y="3141030"/>
                </a:cubicBezTo>
                <a:close/>
                <a:moveTo>
                  <a:pt x="1094538" y="3141030"/>
                </a:moveTo>
                <a:cubicBezTo>
                  <a:pt x="1091918" y="3141030"/>
                  <a:pt x="1089775" y="3143164"/>
                  <a:pt x="1089775" y="3145793"/>
                </a:cubicBezTo>
                <a:lnTo>
                  <a:pt x="1089775" y="3308984"/>
                </a:lnTo>
                <a:cubicBezTo>
                  <a:pt x="1089775" y="3311613"/>
                  <a:pt x="1091918" y="3313747"/>
                  <a:pt x="1094538" y="3313747"/>
                </a:cubicBezTo>
                <a:lnTo>
                  <a:pt x="1257729" y="3313747"/>
                </a:lnTo>
                <a:cubicBezTo>
                  <a:pt x="1260349" y="3313747"/>
                  <a:pt x="1262492" y="3311613"/>
                  <a:pt x="1262492" y="3308984"/>
                </a:cubicBezTo>
                <a:lnTo>
                  <a:pt x="1262492" y="3145793"/>
                </a:lnTo>
                <a:cubicBezTo>
                  <a:pt x="1262492" y="3143164"/>
                  <a:pt x="1260349" y="3141030"/>
                  <a:pt x="1257729" y="3141030"/>
                </a:cubicBezTo>
                <a:close/>
                <a:moveTo>
                  <a:pt x="463335" y="3141030"/>
                </a:moveTo>
                <a:cubicBezTo>
                  <a:pt x="460715" y="3141030"/>
                  <a:pt x="458572" y="3143164"/>
                  <a:pt x="458572" y="3145793"/>
                </a:cubicBezTo>
                <a:lnTo>
                  <a:pt x="458572" y="3308984"/>
                </a:lnTo>
                <a:cubicBezTo>
                  <a:pt x="458572" y="3311613"/>
                  <a:pt x="460715" y="3313747"/>
                  <a:pt x="463335" y="3313747"/>
                </a:cubicBezTo>
                <a:lnTo>
                  <a:pt x="626536" y="3313747"/>
                </a:lnTo>
                <a:cubicBezTo>
                  <a:pt x="629155" y="3313747"/>
                  <a:pt x="631298" y="3311613"/>
                  <a:pt x="631298" y="3308984"/>
                </a:cubicBezTo>
                <a:lnTo>
                  <a:pt x="631298" y="3145793"/>
                </a:lnTo>
                <a:cubicBezTo>
                  <a:pt x="631298" y="3143164"/>
                  <a:pt x="629155" y="3141030"/>
                  <a:pt x="626536" y="3141030"/>
                </a:cubicBezTo>
                <a:close/>
                <a:moveTo>
                  <a:pt x="3306451" y="2998155"/>
                </a:moveTo>
                <a:cubicBezTo>
                  <a:pt x="3345914" y="2998155"/>
                  <a:pt x="3377889" y="3030140"/>
                  <a:pt x="3377889" y="3069593"/>
                </a:cubicBezTo>
                <a:lnTo>
                  <a:pt x="3377889" y="3404101"/>
                </a:lnTo>
                <a:cubicBezTo>
                  <a:pt x="3446907" y="3426799"/>
                  <a:pt x="3501524" y="3481425"/>
                  <a:pt x="3524222" y="3550443"/>
                </a:cubicBezTo>
                <a:lnTo>
                  <a:pt x="3700939" y="3550443"/>
                </a:lnTo>
                <a:cubicBezTo>
                  <a:pt x="3740401" y="3550443"/>
                  <a:pt x="3772377" y="3582428"/>
                  <a:pt x="3772377" y="3621881"/>
                </a:cubicBezTo>
                <a:cubicBezTo>
                  <a:pt x="3772377" y="3661333"/>
                  <a:pt x="3740401" y="3693318"/>
                  <a:pt x="3700939" y="3693318"/>
                </a:cubicBezTo>
                <a:lnTo>
                  <a:pt x="3524222" y="3693318"/>
                </a:lnTo>
                <a:cubicBezTo>
                  <a:pt x="3494132" y="3784834"/>
                  <a:pt x="3407912" y="3851119"/>
                  <a:pt x="3306451" y="3851119"/>
                </a:cubicBezTo>
                <a:cubicBezTo>
                  <a:pt x="3180055" y="3851119"/>
                  <a:pt x="3077223" y="3748287"/>
                  <a:pt x="3077223" y="3621881"/>
                </a:cubicBezTo>
                <a:cubicBezTo>
                  <a:pt x="3077223" y="3520420"/>
                  <a:pt x="3143498" y="3434200"/>
                  <a:pt x="3235014" y="3404101"/>
                </a:cubicBezTo>
                <a:lnTo>
                  <a:pt x="3235014" y="3069593"/>
                </a:lnTo>
                <a:cubicBezTo>
                  <a:pt x="3235014" y="3030140"/>
                  <a:pt x="3266990" y="2998155"/>
                  <a:pt x="3306451" y="2998155"/>
                </a:cubicBezTo>
                <a:close/>
                <a:moveTo>
                  <a:pt x="1725721" y="2998155"/>
                </a:moveTo>
                <a:lnTo>
                  <a:pt x="1888912" y="2998155"/>
                </a:lnTo>
                <a:cubicBezTo>
                  <a:pt x="1970323" y="2998155"/>
                  <a:pt x="2036550" y="3064382"/>
                  <a:pt x="2036550" y="3145793"/>
                </a:cubicBezTo>
                <a:lnTo>
                  <a:pt x="2036550" y="3308984"/>
                </a:lnTo>
                <a:cubicBezTo>
                  <a:pt x="2036550" y="3390394"/>
                  <a:pt x="1970323" y="3456622"/>
                  <a:pt x="1888912" y="3456622"/>
                </a:cubicBezTo>
                <a:lnTo>
                  <a:pt x="1725721" y="3456622"/>
                </a:lnTo>
                <a:cubicBezTo>
                  <a:pt x="1644310" y="3456622"/>
                  <a:pt x="1578083" y="3390394"/>
                  <a:pt x="1578083" y="3308984"/>
                </a:cubicBezTo>
                <a:lnTo>
                  <a:pt x="1578083" y="3145793"/>
                </a:lnTo>
                <a:cubicBezTo>
                  <a:pt x="1578083" y="3064382"/>
                  <a:pt x="1644310" y="2998155"/>
                  <a:pt x="1725721" y="2998155"/>
                </a:cubicBezTo>
                <a:close/>
                <a:moveTo>
                  <a:pt x="1094538" y="2998155"/>
                </a:moveTo>
                <a:lnTo>
                  <a:pt x="1257729" y="2998155"/>
                </a:lnTo>
                <a:cubicBezTo>
                  <a:pt x="1339139" y="2998155"/>
                  <a:pt x="1405367" y="3064382"/>
                  <a:pt x="1405367" y="3145793"/>
                </a:cubicBezTo>
                <a:lnTo>
                  <a:pt x="1405367" y="3308984"/>
                </a:lnTo>
                <a:cubicBezTo>
                  <a:pt x="1405367" y="3390394"/>
                  <a:pt x="1339139" y="3456622"/>
                  <a:pt x="1257729" y="3456622"/>
                </a:cubicBezTo>
                <a:lnTo>
                  <a:pt x="1094538" y="3456622"/>
                </a:lnTo>
                <a:cubicBezTo>
                  <a:pt x="1013127" y="3456622"/>
                  <a:pt x="946900" y="3390394"/>
                  <a:pt x="946900" y="3308984"/>
                </a:cubicBezTo>
                <a:lnTo>
                  <a:pt x="946900" y="3145793"/>
                </a:lnTo>
                <a:cubicBezTo>
                  <a:pt x="946900" y="3064382"/>
                  <a:pt x="1013127" y="2998155"/>
                  <a:pt x="1094538" y="2998155"/>
                </a:cubicBezTo>
                <a:close/>
                <a:moveTo>
                  <a:pt x="463335" y="2998155"/>
                </a:moveTo>
                <a:lnTo>
                  <a:pt x="626536" y="2998155"/>
                </a:lnTo>
                <a:cubicBezTo>
                  <a:pt x="707946" y="2998155"/>
                  <a:pt x="774173" y="3064382"/>
                  <a:pt x="774173" y="3145793"/>
                </a:cubicBezTo>
                <a:lnTo>
                  <a:pt x="774173" y="3308984"/>
                </a:lnTo>
                <a:cubicBezTo>
                  <a:pt x="774173" y="3390394"/>
                  <a:pt x="707946" y="3456622"/>
                  <a:pt x="626536" y="3456622"/>
                </a:cubicBezTo>
                <a:lnTo>
                  <a:pt x="463335" y="3456622"/>
                </a:lnTo>
                <a:cubicBezTo>
                  <a:pt x="381924" y="3456622"/>
                  <a:pt x="315697" y="3390394"/>
                  <a:pt x="315697" y="3308984"/>
                </a:cubicBezTo>
                <a:lnTo>
                  <a:pt x="315697" y="3145793"/>
                </a:lnTo>
                <a:cubicBezTo>
                  <a:pt x="315697" y="3064382"/>
                  <a:pt x="381924" y="2998155"/>
                  <a:pt x="463335" y="2998155"/>
                </a:cubicBezTo>
                <a:close/>
                <a:moveTo>
                  <a:pt x="3306442" y="2825429"/>
                </a:moveTo>
                <a:cubicBezTo>
                  <a:pt x="2867283" y="2825429"/>
                  <a:pt x="2510000" y="3182712"/>
                  <a:pt x="2510000" y="3621881"/>
                </a:cubicBezTo>
                <a:cubicBezTo>
                  <a:pt x="2510000" y="4061050"/>
                  <a:pt x="2867273" y="4418333"/>
                  <a:pt x="3306442" y="4418333"/>
                </a:cubicBezTo>
                <a:cubicBezTo>
                  <a:pt x="3745612" y="4418333"/>
                  <a:pt x="4102894" y="4061050"/>
                  <a:pt x="4102894" y="3621881"/>
                </a:cubicBezTo>
                <a:cubicBezTo>
                  <a:pt x="4102894" y="3182712"/>
                  <a:pt x="3745602" y="2825429"/>
                  <a:pt x="3306442" y="2825429"/>
                </a:cubicBezTo>
                <a:close/>
                <a:moveTo>
                  <a:pt x="3306442" y="2682554"/>
                </a:moveTo>
                <a:cubicBezTo>
                  <a:pt x="3824393" y="2682554"/>
                  <a:pt x="4245769" y="3103931"/>
                  <a:pt x="4245769" y="3621881"/>
                </a:cubicBezTo>
                <a:cubicBezTo>
                  <a:pt x="4245769" y="4139831"/>
                  <a:pt x="3824393" y="4561208"/>
                  <a:pt x="3306442" y="4561208"/>
                </a:cubicBezTo>
                <a:cubicBezTo>
                  <a:pt x="2788501" y="4561208"/>
                  <a:pt x="2367125" y="4139831"/>
                  <a:pt x="2367125" y="3621881"/>
                </a:cubicBezTo>
                <a:cubicBezTo>
                  <a:pt x="2367125" y="3103931"/>
                  <a:pt x="2788501" y="2682554"/>
                  <a:pt x="3306442" y="2682554"/>
                </a:cubicBezTo>
                <a:close/>
                <a:moveTo>
                  <a:pt x="3306442" y="2509837"/>
                </a:moveTo>
                <a:cubicBezTo>
                  <a:pt x="2693261" y="2509837"/>
                  <a:pt x="2194398" y="3008699"/>
                  <a:pt x="2194398" y="3621880"/>
                </a:cubicBezTo>
                <a:cubicBezTo>
                  <a:pt x="2194398" y="4235062"/>
                  <a:pt x="2693261" y="4733924"/>
                  <a:pt x="3306442" y="4733924"/>
                </a:cubicBezTo>
                <a:cubicBezTo>
                  <a:pt x="3919623" y="4733924"/>
                  <a:pt x="4418486" y="4235062"/>
                  <a:pt x="4418486" y="3621880"/>
                </a:cubicBezTo>
                <a:cubicBezTo>
                  <a:pt x="4418486" y="3008699"/>
                  <a:pt x="3919623" y="2509837"/>
                  <a:pt x="3306442" y="2509837"/>
                </a:cubicBezTo>
                <a:close/>
                <a:moveTo>
                  <a:pt x="2359609" y="2509837"/>
                </a:moveTo>
                <a:cubicBezTo>
                  <a:pt x="2355504" y="2509837"/>
                  <a:pt x="2352151" y="2513180"/>
                  <a:pt x="2352151" y="2517295"/>
                </a:cubicBezTo>
                <a:lnTo>
                  <a:pt x="2352142" y="2517295"/>
                </a:lnTo>
                <a:lnTo>
                  <a:pt x="2352142" y="2675095"/>
                </a:lnTo>
                <a:cubicBezTo>
                  <a:pt x="2352142" y="2679201"/>
                  <a:pt x="2355485" y="2682553"/>
                  <a:pt x="2359600" y="2682553"/>
                </a:cubicBezTo>
                <a:lnTo>
                  <a:pt x="2475262" y="2682553"/>
                </a:lnTo>
                <a:cubicBezTo>
                  <a:pt x="2491435" y="2668228"/>
                  <a:pt x="2507961" y="2654312"/>
                  <a:pt x="2524859" y="2640825"/>
                </a:cubicBezTo>
                <a:lnTo>
                  <a:pt x="2524859" y="2517295"/>
                </a:lnTo>
                <a:cubicBezTo>
                  <a:pt x="2524859" y="2513189"/>
                  <a:pt x="2521515" y="2509837"/>
                  <a:pt x="2517400" y="2509837"/>
                </a:cubicBezTo>
                <a:close/>
                <a:moveTo>
                  <a:pt x="1725721" y="2509837"/>
                </a:moveTo>
                <a:cubicBezTo>
                  <a:pt x="1723101" y="2509837"/>
                  <a:pt x="1720958" y="2511971"/>
                  <a:pt x="1720958" y="2514600"/>
                </a:cubicBezTo>
                <a:lnTo>
                  <a:pt x="1720958" y="2677791"/>
                </a:lnTo>
                <a:cubicBezTo>
                  <a:pt x="1720958" y="2680420"/>
                  <a:pt x="1723101" y="2682554"/>
                  <a:pt x="1725721" y="2682554"/>
                </a:cubicBezTo>
                <a:lnTo>
                  <a:pt x="1888912" y="2682554"/>
                </a:lnTo>
                <a:cubicBezTo>
                  <a:pt x="1891532" y="2682554"/>
                  <a:pt x="1893675" y="2680420"/>
                  <a:pt x="1893675" y="2677791"/>
                </a:cubicBezTo>
                <a:lnTo>
                  <a:pt x="1893675" y="2514600"/>
                </a:lnTo>
                <a:cubicBezTo>
                  <a:pt x="1893675" y="2511971"/>
                  <a:pt x="1891532" y="2509837"/>
                  <a:pt x="1888912" y="2509837"/>
                </a:cubicBezTo>
                <a:close/>
                <a:moveTo>
                  <a:pt x="1094538" y="2509837"/>
                </a:moveTo>
                <a:cubicBezTo>
                  <a:pt x="1091918" y="2509837"/>
                  <a:pt x="1089775" y="2511971"/>
                  <a:pt x="1089775" y="2514600"/>
                </a:cubicBezTo>
                <a:lnTo>
                  <a:pt x="1089775" y="2677791"/>
                </a:lnTo>
                <a:cubicBezTo>
                  <a:pt x="1089775" y="2680420"/>
                  <a:pt x="1091918" y="2682554"/>
                  <a:pt x="1094538" y="2682554"/>
                </a:cubicBezTo>
                <a:lnTo>
                  <a:pt x="1257729" y="2682554"/>
                </a:lnTo>
                <a:cubicBezTo>
                  <a:pt x="1260349" y="2682554"/>
                  <a:pt x="1262492" y="2680420"/>
                  <a:pt x="1262492" y="2677791"/>
                </a:cubicBezTo>
                <a:lnTo>
                  <a:pt x="1262492" y="2514600"/>
                </a:lnTo>
                <a:cubicBezTo>
                  <a:pt x="1262492" y="2511971"/>
                  <a:pt x="1260349" y="2509837"/>
                  <a:pt x="1257729" y="2509837"/>
                </a:cubicBezTo>
                <a:close/>
                <a:moveTo>
                  <a:pt x="463335" y="2509837"/>
                </a:moveTo>
                <a:cubicBezTo>
                  <a:pt x="460715" y="2509837"/>
                  <a:pt x="458572" y="2511971"/>
                  <a:pt x="458572" y="2514600"/>
                </a:cubicBezTo>
                <a:lnTo>
                  <a:pt x="458572" y="2677791"/>
                </a:lnTo>
                <a:cubicBezTo>
                  <a:pt x="458572" y="2680420"/>
                  <a:pt x="460715" y="2682554"/>
                  <a:pt x="463335" y="2682554"/>
                </a:cubicBezTo>
                <a:lnTo>
                  <a:pt x="626536" y="2682554"/>
                </a:lnTo>
                <a:cubicBezTo>
                  <a:pt x="629155" y="2682554"/>
                  <a:pt x="631298" y="2680420"/>
                  <a:pt x="631298" y="2677791"/>
                </a:cubicBezTo>
                <a:lnTo>
                  <a:pt x="631298" y="2514600"/>
                </a:lnTo>
                <a:cubicBezTo>
                  <a:pt x="631298" y="2511971"/>
                  <a:pt x="629155" y="2509837"/>
                  <a:pt x="626536" y="2509837"/>
                </a:cubicBezTo>
                <a:close/>
                <a:moveTo>
                  <a:pt x="1725721" y="2366962"/>
                </a:moveTo>
                <a:lnTo>
                  <a:pt x="1888912" y="2366962"/>
                </a:lnTo>
                <a:cubicBezTo>
                  <a:pt x="1970323" y="2366962"/>
                  <a:pt x="2036550" y="2433189"/>
                  <a:pt x="2036550" y="2514600"/>
                </a:cubicBezTo>
                <a:lnTo>
                  <a:pt x="2036550" y="2677791"/>
                </a:lnTo>
                <a:cubicBezTo>
                  <a:pt x="2036550" y="2759201"/>
                  <a:pt x="1970323" y="2825429"/>
                  <a:pt x="1888912" y="2825429"/>
                </a:cubicBezTo>
                <a:lnTo>
                  <a:pt x="1725721" y="2825429"/>
                </a:lnTo>
                <a:cubicBezTo>
                  <a:pt x="1644310" y="2825429"/>
                  <a:pt x="1578083" y="2759201"/>
                  <a:pt x="1578083" y="2677791"/>
                </a:cubicBezTo>
                <a:lnTo>
                  <a:pt x="1578083" y="2514600"/>
                </a:lnTo>
                <a:cubicBezTo>
                  <a:pt x="1578083" y="2433189"/>
                  <a:pt x="1644310" y="2366962"/>
                  <a:pt x="1725721" y="2366962"/>
                </a:cubicBezTo>
                <a:close/>
                <a:moveTo>
                  <a:pt x="1094538" y="2366962"/>
                </a:moveTo>
                <a:lnTo>
                  <a:pt x="1257729" y="2366962"/>
                </a:lnTo>
                <a:cubicBezTo>
                  <a:pt x="1339139" y="2366962"/>
                  <a:pt x="1405367" y="2433189"/>
                  <a:pt x="1405367" y="2514600"/>
                </a:cubicBezTo>
                <a:lnTo>
                  <a:pt x="1405367" y="2677791"/>
                </a:lnTo>
                <a:cubicBezTo>
                  <a:pt x="1405367" y="2759201"/>
                  <a:pt x="1339139" y="2825429"/>
                  <a:pt x="1257729" y="2825429"/>
                </a:cubicBezTo>
                <a:lnTo>
                  <a:pt x="1094538" y="2825429"/>
                </a:lnTo>
                <a:cubicBezTo>
                  <a:pt x="1013127" y="2825429"/>
                  <a:pt x="946900" y="2759201"/>
                  <a:pt x="946900" y="2677791"/>
                </a:cubicBezTo>
                <a:lnTo>
                  <a:pt x="946900" y="2514600"/>
                </a:lnTo>
                <a:cubicBezTo>
                  <a:pt x="946900" y="2433189"/>
                  <a:pt x="1013127" y="2366962"/>
                  <a:pt x="1094538" y="2366962"/>
                </a:cubicBezTo>
                <a:close/>
                <a:moveTo>
                  <a:pt x="463335" y="2366962"/>
                </a:moveTo>
                <a:lnTo>
                  <a:pt x="626536" y="2366962"/>
                </a:lnTo>
                <a:cubicBezTo>
                  <a:pt x="707946" y="2366962"/>
                  <a:pt x="774173" y="2433189"/>
                  <a:pt x="774173" y="2514600"/>
                </a:cubicBezTo>
                <a:lnTo>
                  <a:pt x="774173" y="2677791"/>
                </a:lnTo>
                <a:cubicBezTo>
                  <a:pt x="774173" y="2759201"/>
                  <a:pt x="707946" y="2825429"/>
                  <a:pt x="626536" y="2825429"/>
                </a:cubicBezTo>
                <a:lnTo>
                  <a:pt x="463335" y="2825429"/>
                </a:lnTo>
                <a:cubicBezTo>
                  <a:pt x="381924" y="2825429"/>
                  <a:pt x="315697" y="2759201"/>
                  <a:pt x="315697" y="2677791"/>
                </a:cubicBezTo>
                <a:lnTo>
                  <a:pt x="315697" y="2514600"/>
                </a:lnTo>
                <a:cubicBezTo>
                  <a:pt x="315697" y="2433189"/>
                  <a:pt x="381924" y="2366962"/>
                  <a:pt x="463335" y="2366962"/>
                </a:cubicBezTo>
                <a:close/>
                <a:moveTo>
                  <a:pt x="3619187" y="1878653"/>
                </a:moveTo>
                <a:cubicBezTo>
                  <a:pt x="3616567" y="1878653"/>
                  <a:pt x="3614424" y="1880787"/>
                  <a:pt x="3614424" y="1883416"/>
                </a:cubicBezTo>
                <a:lnTo>
                  <a:pt x="3614424" y="2046607"/>
                </a:lnTo>
                <a:cubicBezTo>
                  <a:pt x="3614424" y="2049236"/>
                  <a:pt x="3616567" y="2051370"/>
                  <a:pt x="3619187" y="2051370"/>
                </a:cubicBezTo>
                <a:lnTo>
                  <a:pt x="3782378" y="2051370"/>
                </a:lnTo>
                <a:cubicBezTo>
                  <a:pt x="3784998" y="2051370"/>
                  <a:pt x="3787141" y="2049236"/>
                  <a:pt x="3787141" y="2046607"/>
                </a:cubicBezTo>
                <a:lnTo>
                  <a:pt x="3787141" y="1883416"/>
                </a:lnTo>
                <a:cubicBezTo>
                  <a:pt x="3787141" y="1880787"/>
                  <a:pt x="3784998" y="1878653"/>
                  <a:pt x="3782378" y="1878653"/>
                </a:cubicBezTo>
                <a:close/>
                <a:moveTo>
                  <a:pt x="2988003" y="1878653"/>
                </a:moveTo>
                <a:cubicBezTo>
                  <a:pt x="2985383" y="1878653"/>
                  <a:pt x="2983240" y="1880787"/>
                  <a:pt x="2983240" y="1883416"/>
                </a:cubicBezTo>
                <a:lnTo>
                  <a:pt x="2983240" y="2046607"/>
                </a:lnTo>
                <a:cubicBezTo>
                  <a:pt x="2983240" y="2049236"/>
                  <a:pt x="2985374" y="2051370"/>
                  <a:pt x="2988003" y="2051370"/>
                </a:cubicBezTo>
                <a:lnTo>
                  <a:pt x="3151194" y="2051370"/>
                </a:lnTo>
                <a:cubicBezTo>
                  <a:pt x="3153814" y="2051370"/>
                  <a:pt x="3155957" y="2049236"/>
                  <a:pt x="3155957" y="2046607"/>
                </a:cubicBezTo>
                <a:lnTo>
                  <a:pt x="3155957" y="1883416"/>
                </a:lnTo>
                <a:cubicBezTo>
                  <a:pt x="3155957" y="1880787"/>
                  <a:pt x="3153814" y="1878653"/>
                  <a:pt x="3151194" y="1878653"/>
                </a:cubicBezTo>
                <a:close/>
                <a:moveTo>
                  <a:pt x="2356914" y="1878653"/>
                </a:moveTo>
                <a:cubicBezTo>
                  <a:pt x="2354295" y="1878653"/>
                  <a:pt x="2352152" y="1880787"/>
                  <a:pt x="2352152" y="1883416"/>
                </a:cubicBezTo>
                <a:lnTo>
                  <a:pt x="2352152" y="2046607"/>
                </a:lnTo>
                <a:cubicBezTo>
                  <a:pt x="2352152" y="2049236"/>
                  <a:pt x="2354295" y="2051370"/>
                  <a:pt x="2356914" y="2051370"/>
                </a:cubicBezTo>
                <a:lnTo>
                  <a:pt x="2520106" y="2051370"/>
                </a:lnTo>
                <a:cubicBezTo>
                  <a:pt x="2522726" y="2051370"/>
                  <a:pt x="2524869" y="2049236"/>
                  <a:pt x="2524869" y="2046607"/>
                </a:cubicBezTo>
                <a:lnTo>
                  <a:pt x="2524869" y="1883416"/>
                </a:lnTo>
                <a:cubicBezTo>
                  <a:pt x="2524869" y="1880787"/>
                  <a:pt x="2522726" y="1878653"/>
                  <a:pt x="2520106" y="1878653"/>
                </a:cubicBezTo>
                <a:close/>
                <a:moveTo>
                  <a:pt x="1725721" y="1878644"/>
                </a:moveTo>
                <a:cubicBezTo>
                  <a:pt x="1723101" y="1878644"/>
                  <a:pt x="1720958" y="1880777"/>
                  <a:pt x="1720958" y="1883406"/>
                </a:cubicBezTo>
                <a:lnTo>
                  <a:pt x="1720958" y="2046598"/>
                </a:lnTo>
                <a:cubicBezTo>
                  <a:pt x="1720958" y="2049227"/>
                  <a:pt x="1723101" y="2051360"/>
                  <a:pt x="1725721" y="2051360"/>
                </a:cubicBezTo>
                <a:lnTo>
                  <a:pt x="1888912" y="2051360"/>
                </a:lnTo>
                <a:cubicBezTo>
                  <a:pt x="1891532" y="2051360"/>
                  <a:pt x="1893675" y="2049227"/>
                  <a:pt x="1893675" y="2046598"/>
                </a:cubicBezTo>
                <a:lnTo>
                  <a:pt x="1893675" y="1883406"/>
                </a:lnTo>
                <a:cubicBezTo>
                  <a:pt x="1893675" y="1880777"/>
                  <a:pt x="1891532" y="1878644"/>
                  <a:pt x="1888912" y="1878644"/>
                </a:cubicBezTo>
                <a:close/>
                <a:moveTo>
                  <a:pt x="1094538" y="1878644"/>
                </a:moveTo>
                <a:cubicBezTo>
                  <a:pt x="1091918" y="1878644"/>
                  <a:pt x="1089775" y="1880777"/>
                  <a:pt x="1089775" y="1883406"/>
                </a:cubicBezTo>
                <a:lnTo>
                  <a:pt x="1089775" y="2046598"/>
                </a:lnTo>
                <a:cubicBezTo>
                  <a:pt x="1089775" y="2049227"/>
                  <a:pt x="1091918" y="2051360"/>
                  <a:pt x="1094538" y="2051360"/>
                </a:cubicBezTo>
                <a:lnTo>
                  <a:pt x="1257729" y="2051360"/>
                </a:lnTo>
                <a:cubicBezTo>
                  <a:pt x="1260349" y="2051360"/>
                  <a:pt x="1262492" y="2049227"/>
                  <a:pt x="1262492" y="2046598"/>
                </a:cubicBezTo>
                <a:lnTo>
                  <a:pt x="1262492" y="1883406"/>
                </a:lnTo>
                <a:cubicBezTo>
                  <a:pt x="1262492" y="1880777"/>
                  <a:pt x="1260349" y="1878644"/>
                  <a:pt x="1257729" y="1878644"/>
                </a:cubicBezTo>
                <a:close/>
                <a:moveTo>
                  <a:pt x="463335" y="1878644"/>
                </a:moveTo>
                <a:cubicBezTo>
                  <a:pt x="460715" y="1878644"/>
                  <a:pt x="458572" y="1880777"/>
                  <a:pt x="458572" y="1883406"/>
                </a:cubicBezTo>
                <a:lnTo>
                  <a:pt x="458572" y="2046598"/>
                </a:lnTo>
                <a:cubicBezTo>
                  <a:pt x="458572" y="2049227"/>
                  <a:pt x="460715" y="2051360"/>
                  <a:pt x="463335" y="2051360"/>
                </a:cubicBezTo>
                <a:lnTo>
                  <a:pt x="626536" y="2051360"/>
                </a:lnTo>
                <a:cubicBezTo>
                  <a:pt x="629155" y="2051360"/>
                  <a:pt x="631298" y="2049227"/>
                  <a:pt x="631298" y="2046598"/>
                </a:cubicBezTo>
                <a:lnTo>
                  <a:pt x="631298" y="1883406"/>
                </a:lnTo>
                <a:cubicBezTo>
                  <a:pt x="631298" y="1880777"/>
                  <a:pt x="629155" y="1878644"/>
                  <a:pt x="626536" y="1878644"/>
                </a:cubicBezTo>
                <a:close/>
                <a:moveTo>
                  <a:pt x="3619187" y="1735778"/>
                </a:moveTo>
                <a:lnTo>
                  <a:pt x="3782378" y="1735778"/>
                </a:lnTo>
                <a:cubicBezTo>
                  <a:pt x="3863788" y="1735778"/>
                  <a:pt x="3930016" y="1802005"/>
                  <a:pt x="3930016" y="1883416"/>
                </a:cubicBezTo>
                <a:lnTo>
                  <a:pt x="3930016" y="2046607"/>
                </a:lnTo>
                <a:cubicBezTo>
                  <a:pt x="3930016" y="2128018"/>
                  <a:pt x="3863788" y="2194245"/>
                  <a:pt x="3782378" y="2194245"/>
                </a:cubicBezTo>
                <a:lnTo>
                  <a:pt x="3619187" y="2194245"/>
                </a:lnTo>
                <a:cubicBezTo>
                  <a:pt x="3537776" y="2194245"/>
                  <a:pt x="3471549" y="2128018"/>
                  <a:pt x="3471549" y="2046607"/>
                </a:cubicBezTo>
                <a:lnTo>
                  <a:pt x="3471549" y="1883416"/>
                </a:lnTo>
                <a:cubicBezTo>
                  <a:pt x="3471549" y="1802005"/>
                  <a:pt x="3537776" y="1735778"/>
                  <a:pt x="3619187" y="1735778"/>
                </a:cubicBezTo>
                <a:close/>
                <a:moveTo>
                  <a:pt x="2988003" y="1735778"/>
                </a:moveTo>
                <a:lnTo>
                  <a:pt x="3151194" y="1735778"/>
                </a:lnTo>
                <a:cubicBezTo>
                  <a:pt x="3232604" y="1735778"/>
                  <a:pt x="3298832" y="1802005"/>
                  <a:pt x="3298832" y="1883416"/>
                </a:cubicBezTo>
                <a:lnTo>
                  <a:pt x="3298832" y="2046607"/>
                </a:lnTo>
                <a:cubicBezTo>
                  <a:pt x="3298832" y="2128018"/>
                  <a:pt x="3232604" y="2194245"/>
                  <a:pt x="3151194" y="2194245"/>
                </a:cubicBezTo>
                <a:lnTo>
                  <a:pt x="2988003" y="2194245"/>
                </a:lnTo>
                <a:cubicBezTo>
                  <a:pt x="2906592" y="2194245"/>
                  <a:pt x="2840365" y="2128018"/>
                  <a:pt x="2840365" y="2046607"/>
                </a:cubicBezTo>
                <a:lnTo>
                  <a:pt x="2840365" y="1883416"/>
                </a:lnTo>
                <a:cubicBezTo>
                  <a:pt x="2840365" y="1802005"/>
                  <a:pt x="2906592" y="1735778"/>
                  <a:pt x="2988003" y="1735778"/>
                </a:cubicBezTo>
                <a:close/>
                <a:moveTo>
                  <a:pt x="2356914" y="1735778"/>
                </a:moveTo>
                <a:lnTo>
                  <a:pt x="2520106" y="1735778"/>
                </a:lnTo>
                <a:cubicBezTo>
                  <a:pt x="2601517" y="1735778"/>
                  <a:pt x="2667744" y="1802005"/>
                  <a:pt x="2667744" y="1883416"/>
                </a:cubicBezTo>
                <a:lnTo>
                  <a:pt x="2667744" y="2046607"/>
                </a:lnTo>
                <a:cubicBezTo>
                  <a:pt x="2667744" y="2128018"/>
                  <a:pt x="2601517" y="2194245"/>
                  <a:pt x="2520106" y="2194245"/>
                </a:cubicBezTo>
                <a:lnTo>
                  <a:pt x="2356914" y="2194245"/>
                </a:lnTo>
                <a:cubicBezTo>
                  <a:pt x="2275504" y="2194245"/>
                  <a:pt x="2209277" y="2128018"/>
                  <a:pt x="2209277" y="2046607"/>
                </a:cubicBezTo>
                <a:lnTo>
                  <a:pt x="2209277" y="1883416"/>
                </a:lnTo>
                <a:cubicBezTo>
                  <a:pt x="2209277" y="1802005"/>
                  <a:pt x="2275504" y="1735778"/>
                  <a:pt x="2356914" y="1735778"/>
                </a:cubicBezTo>
                <a:close/>
                <a:moveTo>
                  <a:pt x="1725721" y="1735778"/>
                </a:moveTo>
                <a:lnTo>
                  <a:pt x="1888912" y="1735778"/>
                </a:lnTo>
                <a:cubicBezTo>
                  <a:pt x="1970323" y="1735778"/>
                  <a:pt x="2036550" y="1802005"/>
                  <a:pt x="2036550" y="1883416"/>
                </a:cubicBezTo>
                <a:lnTo>
                  <a:pt x="2036550" y="2046607"/>
                </a:lnTo>
                <a:cubicBezTo>
                  <a:pt x="2036550" y="2128018"/>
                  <a:pt x="1970323" y="2194245"/>
                  <a:pt x="1888912" y="2194245"/>
                </a:cubicBezTo>
                <a:lnTo>
                  <a:pt x="1725721" y="2194245"/>
                </a:lnTo>
                <a:cubicBezTo>
                  <a:pt x="1644310" y="2194245"/>
                  <a:pt x="1578083" y="2128018"/>
                  <a:pt x="1578083" y="2046607"/>
                </a:cubicBezTo>
                <a:lnTo>
                  <a:pt x="1578083" y="1883416"/>
                </a:lnTo>
                <a:cubicBezTo>
                  <a:pt x="1578083" y="1802005"/>
                  <a:pt x="1644310" y="1735778"/>
                  <a:pt x="1725721" y="1735778"/>
                </a:cubicBezTo>
                <a:close/>
                <a:moveTo>
                  <a:pt x="1094538" y="1735778"/>
                </a:moveTo>
                <a:lnTo>
                  <a:pt x="1257729" y="1735778"/>
                </a:lnTo>
                <a:cubicBezTo>
                  <a:pt x="1339139" y="1735778"/>
                  <a:pt x="1405367" y="1802005"/>
                  <a:pt x="1405367" y="1883416"/>
                </a:cubicBezTo>
                <a:lnTo>
                  <a:pt x="1405367" y="2046607"/>
                </a:lnTo>
                <a:cubicBezTo>
                  <a:pt x="1405367" y="2128018"/>
                  <a:pt x="1339139" y="2194245"/>
                  <a:pt x="1257729" y="2194245"/>
                </a:cubicBezTo>
                <a:lnTo>
                  <a:pt x="1094538" y="2194245"/>
                </a:lnTo>
                <a:cubicBezTo>
                  <a:pt x="1013127" y="2194245"/>
                  <a:pt x="946900" y="2128018"/>
                  <a:pt x="946900" y="2046607"/>
                </a:cubicBezTo>
                <a:lnTo>
                  <a:pt x="946900" y="1883416"/>
                </a:lnTo>
                <a:cubicBezTo>
                  <a:pt x="946900" y="1802005"/>
                  <a:pt x="1013127" y="1735778"/>
                  <a:pt x="1094538" y="1735778"/>
                </a:cubicBezTo>
                <a:close/>
                <a:moveTo>
                  <a:pt x="463335" y="1735778"/>
                </a:moveTo>
                <a:lnTo>
                  <a:pt x="626536" y="1735778"/>
                </a:lnTo>
                <a:cubicBezTo>
                  <a:pt x="707946" y="1735778"/>
                  <a:pt x="774173" y="1802005"/>
                  <a:pt x="774173" y="1883416"/>
                </a:cubicBezTo>
                <a:lnTo>
                  <a:pt x="774173" y="2046607"/>
                </a:lnTo>
                <a:cubicBezTo>
                  <a:pt x="774173" y="2128018"/>
                  <a:pt x="707946" y="2194245"/>
                  <a:pt x="626536" y="2194245"/>
                </a:cubicBezTo>
                <a:lnTo>
                  <a:pt x="463335" y="2194245"/>
                </a:lnTo>
                <a:cubicBezTo>
                  <a:pt x="381924" y="2194245"/>
                  <a:pt x="315697" y="2128018"/>
                  <a:pt x="315697" y="2046607"/>
                </a:cubicBezTo>
                <a:lnTo>
                  <a:pt x="315697" y="1883416"/>
                </a:lnTo>
                <a:cubicBezTo>
                  <a:pt x="315697" y="1802005"/>
                  <a:pt x="381924" y="1735778"/>
                  <a:pt x="463335" y="1735778"/>
                </a:cubicBezTo>
                <a:close/>
                <a:moveTo>
                  <a:pt x="142885" y="1247460"/>
                </a:moveTo>
                <a:lnTo>
                  <a:pt x="142885" y="1420177"/>
                </a:lnTo>
                <a:lnTo>
                  <a:pt x="4103056" y="1420177"/>
                </a:lnTo>
                <a:lnTo>
                  <a:pt x="4103056" y="1247460"/>
                </a:lnTo>
                <a:close/>
                <a:moveTo>
                  <a:pt x="387029" y="458467"/>
                </a:moveTo>
                <a:cubicBezTo>
                  <a:pt x="252412" y="458467"/>
                  <a:pt x="142885" y="567995"/>
                  <a:pt x="142885" y="702621"/>
                </a:cubicBezTo>
                <a:lnTo>
                  <a:pt x="142885" y="1104576"/>
                </a:lnTo>
                <a:lnTo>
                  <a:pt x="4103046" y="1104576"/>
                </a:lnTo>
                <a:lnTo>
                  <a:pt x="4103046" y="702612"/>
                </a:lnTo>
                <a:cubicBezTo>
                  <a:pt x="4103046" y="567995"/>
                  <a:pt x="3993518" y="458467"/>
                  <a:pt x="3858892" y="458467"/>
                </a:cubicBezTo>
                <a:lnTo>
                  <a:pt x="3298927" y="458467"/>
                </a:lnTo>
                <a:lnTo>
                  <a:pt x="3298927" y="631184"/>
                </a:lnTo>
                <a:lnTo>
                  <a:pt x="3385290" y="631184"/>
                </a:lnTo>
                <a:cubicBezTo>
                  <a:pt x="3424752" y="631184"/>
                  <a:pt x="3456727" y="663169"/>
                  <a:pt x="3456727" y="702621"/>
                </a:cubicBezTo>
                <a:cubicBezTo>
                  <a:pt x="3456727" y="742074"/>
                  <a:pt x="3424752" y="774059"/>
                  <a:pt x="3385290" y="774059"/>
                </a:cubicBezTo>
                <a:lnTo>
                  <a:pt x="3274876" y="774059"/>
                </a:lnTo>
                <a:cubicBezTo>
                  <a:pt x="3232576" y="867032"/>
                  <a:pt x="3138859" y="931859"/>
                  <a:pt x="3030246" y="931859"/>
                </a:cubicBezTo>
                <a:cubicBezTo>
                  <a:pt x="2921632" y="931859"/>
                  <a:pt x="2827925" y="867023"/>
                  <a:pt x="2785615" y="774059"/>
                </a:cubicBezTo>
                <a:lnTo>
                  <a:pt x="2675201" y="774059"/>
                </a:lnTo>
                <a:cubicBezTo>
                  <a:pt x="2635739" y="774059"/>
                  <a:pt x="2603764" y="742074"/>
                  <a:pt x="2603764" y="702621"/>
                </a:cubicBezTo>
                <a:cubicBezTo>
                  <a:pt x="2603764" y="663169"/>
                  <a:pt x="2635739" y="631184"/>
                  <a:pt x="2675201" y="631184"/>
                </a:cubicBezTo>
                <a:lnTo>
                  <a:pt x="2761564" y="631184"/>
                </a:lnTo>
                <a:lnTo>
                  <a:pt x="2761564" y="458467"/>
                </a:lnTo>
                <a:lnTo>
                  <a:pt x="1484157" y="458467"/>
                </a:lnTo>
                <a:lnTo>
                  <a:pt x="1484157" y="631184"/>
                </a:lnTo>
                <a:lnTo>
                  <a:pt x="1570511" y="631184"/>
                </a:lnTo>
                <a:cubicBezTo>
                  <a:pt x="1609973" y="631184"/>
                  <a:pt x="1641948" y="663169"/>
                  <a:pt x="1641948" y="702621"/>
                </a:cubicBezTo>
                <a:cubicBezTo>
                  <a:pt x="1641948" y="742074"/>
                  <a:pt x="1609973" y="774059"/>
                  <a:pt x="1570511" y="774059"/>
                </a:cubicBezTo>
                <a:lnTo>
                  <a:pt x="1460106" y="774059"/>
                </a:lnTo>
                <a:cubicBezTo>
                  <a:pt x="1417806" y="867032"/>
                  <a:pt x="1324099" y="931859"/>
                  <a:pt x="1215476" y="931859"/>
                </a:cubicBezTo>
                <a:cubicBezTo>
                  <a:pt x="1106853" y="931859"/>
                  <a:pt x="1013146" y="867023"/>
                  <a:pt x="970836" y="774059"/>
                </a:cubicBezTo>
                <a:lnTo>
                  <a:pt x="860431" y="774059"/>
                </a:lnTo>
                <a:cubicBezTo>
                  <a:pt x="820969" y="774059"/>
                  <a:pt x="788994" y="742074"/>
                  <a:pt x="788994" y="702621"/>
                </a:cubicBezTo>
                <a:cubicBezTo>
                  <a:pt x="788994" y="663169"/>
                  <a:pt x="820969" y="631184"/>
                  <a:pt x="860431" y="631184"/>
                </a:cubicBezTo>
                <a:lnTo>
                  <a:pt x="946785" y="631184"/>
                </a:lnTo>
                <a:lnTo>
                  <a:pt x="946785" y="458467"/>
                </a:lnTo>
                <a:close/>
                <a:moveTo>
                  <a:pt x="3030246" y="142875"/>
                </a:moveTo>
                <a:cubicBezTo>
                  <a:pt x="2960875" y="142875"/>
                  <a:pt x="2904439" y="199311"/>
                  <a:pt x="2904439" y="268681"/>
                </a:cubicBezTo>
                <a:lnTo>
                  <a:pt x="2904439" y="663178"/>
                </a:lnTo>
                <a:cubicBezTo>
                  <a:pt x="2904439" y="732558"/>
                  <a:pt x="2960875" y="788994"/>
                  <a:pt x="3030246" y="788994"/>
                </a:cubicBezTo>
                <a:cubicBezTo>
                  <a:pt x="3099616" y="788994"/>
                  <a:pt x="3156052" y="732549"/>
                  <a:pt x="3156052" y="663178"/>
                </a:cubicBezTo>
                <a:lnTo>
                  <a:pt x="3156052" y="268681"/>
                </a:lnTo>
                <a:cubicBezTo>
                  <a:pt x="3156052" y="199311"/>
                  <a:pt x="3099616" y="142875"/>
                  <a:pt x="3030246" y="142875"/>
                </a:cubicBezTo>
                <a:close/>
                <a:moveTo>
                  <a:pt x="1215476" y="142875"/>
                </a:moveTo>
                <a:cubicBezTo>
                  <a:pt x="1146105" y="142875"/>
                  <a:pt x="1089660" y="199311"/>
                  <a:pt x="1089660" y="268681"/>
                </a:cubicBezTo>
                <a:lnTo>
                  <a:pt x="1089660" y="663178"/>
                </a:lnTo>
                <a:cubicBezTo>
                  <a:pt x="1089660" y="732558"/>
                  <a:pt x="1146105" y="788994"/>
                  <a:pt x="1215476" y="788994"/>
                </a:cubicBezTo>
                <a:cubicBezTo>
                  <a:pt x="1284846" y="788994"/>
                  <a:pt x="1341282" y="732549"/>
                  <a:pt x="1341282" y="663178"/>
                </a:cubicBezTo>
                <a:lnTo>
                  <a:pt x="1341282" y="268681"/>
                </a:lnTo>
                <a:cubicBezTo>
                  <a:pt x="1341282" y="199311"/>
                  <a:pt x="1284846" y="142875"/>
                  <a:pt x="1215476" y="142875"/>
                </a:cubicBezTo>
                <a:close/>
                <a:moveTo>
                  <a:pt x="1215476" y="0"/>
                </a:moveTo>
                <a:cubicBezTo>
                  <a:pt x="1363628" y="0"/>
                  <a:pt x="1484157" y="120529"/>
                  <a:pt x="1484157" y="268681"/>
                </a:cubicBezTo>
                <a:lnTo>
                  <a:pt x="1484157" y="315592"/>
                </a:lnTo>
                <a:lnTo>
                  <a:pt x="2761564" y="315592"/>
                </a:lnTo>
                <a:lnTo>
                  <a:pt x="2761564" y="268681"/>
                </a:lnTo>
                <a:cubicBezTo>
                  <a:pt x="2761564" y="120529"/>
                  <a:pt x="2882094" y="0"/>
                  <a:pt x="3030246" y="0"/>
                </a:cubicBezTo>
                <a:cubicBezTo>
                  <a:pt x="3178397" y="0"/>
                  <a:pt x="3298927" y="120529"/>
                  <a:pt x="3298927" y="268692"/>
                </a:cubicBezTo>
                <a:lnTo>
                  <a:pt x="3298927" y="315601"/>
                </a:lnTo>
                <a:lnTo>
                  <a:pt x="3858892" y="315601"/>
                </a:lnTo>
                <a:cubicBezTo>
                  <a:pt x="4072309" y="315601"/>
                  <a:pt x="4245921" y="489214"/>
                  <a:pt x="4245921" y="702621"/>
                </a:cubicBezTo>
                <a:lnTo>
                  <a:pt x="4245921" y="2790881"/>
                </a:lnTo>
                <a:cubicBezTo>
                  <a:pt x="4442079" y="3012385"/>
                  <a:pt x="4561361" y="3303441"/>
                  <a:pt x="4561361" y="3621880"/>
                </a:cubicBezTo>
                <a:cubicBezTo>
                  <a:pt x="4561361" y="4313843"/>
                  <a:pt x="3998405" y="4876799"/>
                  <a:pt x="3306442" y="4876799"/>
                </a:cubicBezTo>
                <a:cubicBezTo>
                  <a:pt x="2779043" y="4876799"/>
                  <a:pt x="2326643" y="4549739"/>
                  <a:pt x="2141258" y="4087815"/>
                </a:cubicBezTo>
                <a:lnTo>
                  <a:pt x="845601" y="4087815"/>
                </a:lnTo>
                <a:cubicBezTo>
                  <a:pt x="806139" y="4087815"/>
                  <a:pt x="774163" y="4055830"/>
                  <a:pt x="774163" y="4016377"/>
                </a:cubicBezTo>
                <a:cubicBezTo>
                  <a:pt x="774163" y="3976925"/>
                  <a:pt x="806139" y="3944940"/>
                  <a:pt x="845601" y="3944940"/>
                </a:cubicBezTo>
                <a:lnTo>
                  <a:pt x="2093757" y="3944940"/>
                </a:lnTo>
                <a:cubicBezTo>
                  <a:pt x="2078793" y="3888800"/>
                  <a:pt x="2067630" y="3831135"/>
                  <a:pt x="2060562" y="3772213"/>
                </a:cubicBezTo>
                <a:lnTo>
                  <a:pt x="387029" y="3772213"/>
                </a:lnTo>
                <a:cubicBezTo>
                  <a:pt x="294523" y="3772213"/>
                  <a:pt x="209521" y="3739552"/>
                  <a:pt x="142875" y="3685212"/>
                </a:cubicBezTo>
                <a:lnTo>
                  <a:pt x="142875" y="3700785"/>
                </a:lnTo>
                <a:cubicBezTo>
                  <a:pt x="142875" y="3835402"/>
                  <a:pt x="252403" y="3944930"/>
                  <a:pt x="387029" y="3944930"/>
                </a:cubicBezTo>
                <a:lnTo>
                  <a:pt x="559860" y="3944930"/>
                </a:lnTo>
                <a:cubicBezTo>
                  <a:pt x="599323" y="3944930"/>
                  <a:pt x="631298" y="3976915"/>
                  <a:pt x="631298" y="4016368"/>
                </a:cubicBezTo>
                <a:cubicBezTo>
                  <a:pt x="631298" y="4055820"/>
                  <a:pt x="599323" y="4087805"/>
                  <a:pt x="559860" y="4087805"/>
                </a:cubicBezTo>
                <a:lnTo>
                  <a:pt x="387029" y="4087805"/>
                </a:lnTo>
                <a:cubicBezTo>
                  <a:pt x="173612" y="4087805"/>
                  <a:pt x="0" y="3914193"/>
                  <a:pt x="0" y="3700785"/>
                </a:cubicBezTo>
                <a:lnTo>
                  <a:pt x="0" y="2107882"/>
                </a:lnTo>
                <a:cubicBezTo>
                  <a:pt x="0" y="2068429"/>
                  <a:pt x="31975" y="2036444"/>
                  <a:pt x="71438" y="2036444"/>
                </a:cubicBezTo>
                <a:cubicBezTo>
                  <a:pt x="110900" y="2036444"/>
                  <a:pt x="142875" y="2068429"/>
                  <a:pt x="142875" y="2107882"/>
                </a:cubicBezTo>
                <a:lnTo>
                  <a:pt x="142875" y="3385194"/>
                </a:lnTo>
                <a:cubicBezTo>
                  <a:pt x="142875" y="3519810"/>
                  <a:pt x="252403" y="3629338"/>
                  <a:pt x="387029" y="3629338"/>
                </a:cubicBezTo>
                <a:lnTo>
                  <a:pt x="2051618" y="3629338"/>
                </a:lnTo>
                <a:cubicBezTo>
                  <a:pt x="2051599" y="3626843"/>
                  <a:pt x="2051523" y="3624376"/>
                  <a:pt x="2051523" y="3621880"/>
                </a:cubicBezTo>
                <a:cubicBezTo>
                  <a:pt x="2051523" y="3319004"/>
                  <a:pt x="2159375" y="3040855"/>
                  <a:pt x="2338692" y="2823800"/>
                </a:cubicBezTo>
                <a:cubicBezTo>
                  <a:pt x="2265693" y="2813570"/>
                  <a:pt x="2209276" y="2750876"/>
                  <a:pt x="2209276" y="2675095"/>
                </a:cubicBezTo>
                <a:lnTo>
                  <a:pt x="2209276" y="2517295"/>
                </a:lnTo>
                <a:cubicBezTo>
                  <a:pt x="2209276" y="2434399"/>
                  <a:pt x="2276713" y="2366962"/>
                  <a:pt x="2359609" y="2366962"/>
                </a:cubicBezTo>
                <a:lnTo>
                  <a:pt x="2517400" y="2366962"/>
                </a:lnTo>
                <a:cubicBezTo>
                  <a:pt x="2600296" y="2366962"/>
                  <a:pt x="2667734" y="2434399"/>
                  <a:pt x="2667734" y="2517295"/>
                </a:cubicBezTo>
                <a:lnTo>
                  <a:pt x="2667734" y="2542079"/>
                </a:lnTo>
                <a:cubicBezTo>
                  <a:pt x="2854957" y="2430913"/>
                  <a:pt x="3073356" y="2366962"/>
                  <a:pt x="3306442" y="2366962"/>
                </a:cubicBezTo>
                <a:cubicBezTo>
                  <a:pt x="3608632" y="2366962"/>
                  <a:pt x="3886210" y="2474346"/>
                  <a:pt x="4103046" y="2652931"/>
                </a:cubicBezTo>
                <a:lnTo>
                  <a:pt x="4103046" y="1563052"/>
                </a:lnTo>
                <a:lnTo>
                  <a:pt x="142875" y="1563052"/>
                </a:lnTo>
                <a:lnTo>
                  <a:pt x="142875" y="1822132"/>
                </a:lnTo>
                <a:cubicBezTo>
                  <a:pt x="142875" y="1861584"/>
                  <a:pt x="110900" y="1893569"/>
                  <a:pt x="71438" y="1893569"/>
                </a:cubicBezTo>
                <a:cubicBezTo>
                  <a:pt x="31975" y="1893569"/>
                  <a:pt x="0" y="1861584"/>
                  <a:pt x="0" y="1822132"/>
                </a:cubicBezTo>
                <a:lnTo>
                  <a:pt x="0" y="702612"/>
                </a:lnTo>
                <a:cubicBezTo>
                  <a:pt x="0" y="489214"/>
                  <a:pt x="173622" y="315592"/>
                  <a:pt x="387029" y="315592"/>
                </a:cubicBezTo>
                <a:lnTo>
                  <a:pt x="946785" y="315592"/>
                </a:lnTo>
                <a:lnTo>
                  <a:pt x="946785" y="268681"/>
                </a:lnTo>
                <a:cubicBezTo>
                  <a:pt x="946785" y="120529"/>
                  <a:pt x="1067314" y="0"/>
                  <a:pt x="1215476" y="0"/>
                </a:cubicBezTo>
                <a:close/>
              </a:path>
            </a:pathLst>
          </a:custGeom>
          <a:solidFill>
            <a:schemeClr val="tx2"/>
          </a:solidFill>
          <a:ln w="9525" cap="flat">
            <a:noFill/>
            <a:prstDash val="solid"/>
            <a:miter/>
          </a:ln>
        </p:spPr>
        <p:txBody>
          <a:bodyPr rtlCol="0" anchor="ctr"/>
          <a:lstStyle/>
          <a:p>
            <a:endParaRPr lang="en-US"/>
          </a:p>
        </p:txBody>
      </p:sp>
      <p:sp>
        <p:nvSpPr>
          <p:cNvPr id="10" name="Rectangle 12">
            <a:extLst>
              <a:ext uri="{FF2B5EF4-FFF2-40B4-BE49-F238E27FC236}">
                <a16:creationId xmlns:a16="http://schemas.microsoft.com/office/drawing/2014/main" id="{BAD34CB5-195A-1D40-8518-97C9986FDA3D}"/>
              </a:ext>
            </a:extLst>
          </p:cNvPr>
          <p:cNvSpPr/>
          <p:nvPr userDrawn="1"/>
        </p:nvSpPr>
        <p:spPr>
          <a:xfrm>
            <a:off x="9457764" y="6579030"/>
            <a:ext cx="2734235" cy="278969"/>
          </a:xfrm>
          <a:prstGeom prst="rect">
            <a:avLst/>
          </a:prstGeom>
          <a:solidFill>
            <a:schemeClr val="accent2"/>
          </a:solidFill>
        </p:spPr>
        <p:txBody>
          <a:bodyPr wrap="square" lIns="0" tIns="0" rIns="0" bIns="0" rtlCol="0" anchor="ctr" anchorCtr="0">
            <a:noAutofit/>
          </a:bodyPr>
          <a:lstStyle/>
          <a:p>
            <a:pPr algn="ctr"/>
            <a:r>
              <a:rPr lang="en-US" sz="800" b="1">
                <a:solidFill>
                  <a:schemeClr val="tx2"/>
                </a:solidFill>
                <a:cs typeface="Arial" panose="020B0604020202020204" pitchFamily="34" charset="0"/>
              </a:rPr>
              <a:t>CALENDARIO Y PLAN DE PROYECTO</a:t>
            </a:r>
          </a:p>
        </p:txBody>
      </p:sp>
    </p:spTree>
    <p:extLst>
      <p:ext uri="{BB962C8B-B14F-4D97-AF65-F5344CB8AC3E}">
        <p14:creationId xmlns:p14="http://schemas.microsoft.com/office/powerpoint/2010/main" val="2729832442"/>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emplate Propuesta 2022 - Organización y Equipo">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50040F2E-A856-F74D-B747-8F63180F396D}"/>
              </a:ext>
            </a:extLst>
          </p:cNvPr>
          <p:cNvSpPr>
            <a:spLocks noGrp="1"/>
          </p:cNvSpPr>
          <p:nvPr>
            <p:ph type="title"/>
          </p:nvPr>
        </p:nvSpPr>
        <p:spPr>
          <a:xfrm>
            <a:off x="1138892" y="36122"/>
            <a:ext cx="10610449" cy="276999"/>
          </a:xfrm>
        </p:spPr>
        <p:txBody>
          <a:bodyPr wrap="square" lIns="0" anchor="t">
            <a:noAutofit/>
          </a:bodyPr>
          <a:lstStyle>
            <a:lvl1pPr>
              <a:defRPr lang="es-ES_tradnl" cap="all" baseline="0" noProof="0" dirty="0"/>
            </a:lvl1pPr>
          </a:lstStyle>
          <a:p>
            <a:pPr lvl="0"/>
            <a:r>
              <a:rPr lang="es-ES_tradnl" noProof="0"/>
              <a:t>Haga clic para modificar el estilo de título del patrón</a:t>
            </a:r>
          </a:p>
        </p:txBody>
      </p:sp>
      <p:sp>
        <p:nvSpPr>
          <p:cNvPr id="7" name="Marcador de texto 5">
            <a:extLst>
              <a:ext uri="{FF2B5EF4-FFF2-40B4-BE49-F238E27FC236}">
                <a16:creationId xmlns:a16="http://schemas.microsoft.com/office/drawing/2014/main" id="{CC6303D6-D0FC-984A-8419-A50470327A59}"/>
              </a:ext>
            </a:extLst>
          </p:cNvPr>
          <p:cNvSpPr>
            <a:spLocks noGrp="1"/>
          </p:cNvSpPr>
          <p:nvPr>
            <p:ph type="body" sz="quarter" idx="10"/>
          </p:nvPr>
        </p:nvSpPr>
        <p:spPr>
          <a:xfrm>
            <a:off x="442659" y="671500"/>
            <a:ext cx="11306682" cy="5741999"/>
          </a:xfrm>
        </p:spPr>
        <p:txBody>
          <a:bodyPr/>
          <a:lstStyle/>
          <a:p>
            <a:pPr lvl="0"/>
            <a:r>
              <a:rPr lang="es-ES_tradnl" noProof="0"/>
              <a:t>Haga clic para modificar los estilos de texto del patrón</a:t>
            </a:r>
          </a:p>
          <a:p>
            <a:pPr lvl="1"/>
            <a:r>
              <a:rPr lang="es-ES_tradnl" noProof="0"/>
              <a:t>Segundo nivel</a:t>
            </a:r>
          </a:p>
          <a:p>
            <a:pPr lvl="2"/>
            <a:r>
              <a:rPr lang="es-ES_tradnl" noProof="0"/>
              <a:t>Tercer nivel</a:t>
            </a:r>
          </a:p>
          <a:p>
            <a:pPr lvl="3"/>
            <a:r>
              <a:rPr lang="es-ES_tradnl" noProof="0"/>
              <a:t>Cuarto nivel</a:t>
            </a:r>
          </a:p>
          <a:p>
            <a:pPr lvl="4"/>
            <a:r>
              <a:rPr lang="es-ES_tradnl" noProof="0"/>
              <a:t>Quinto nivel</a:t>
            </a:r>
          </a:p>
        </p:txBody>
      </p:sp>
      <p:sp>
        <p:nvSpPr>
          <p:cNvPr id="4" name="Marcador de texto 4">
            <a:extLst>
              <a:ext uri="{FF2B5EF4-FFF2-40B4-BE49-F238E27FC236}">
                <a16:creationId xmlns:a16="http://schemas.microsoft.com/office/drawing/2014/main" id="{DED7AFAC-0516-FB48-9E02-44CC62A80883}"/>
              </a:ext>
            </a:extLst>
          </p:cNvPr>
          <p:cNvSpPr>
            <a:spLocks noGrp="1"/>
          </p:cNvSpPr>
          <p:nvPr>
            <p:ph type="body" sz="quarter" idx="11"/>
          </p:nvPr>
        </p:nvSpPr>
        <p:spPr>
          <a:xfrm>
            <a:off x="1138639" y="290195"/>
            <a:ext cx="10610449" cy="217488"/>
          </a:xfrm>
        </p:spPr>
        <p:txBody>
          <a:bodyPr/>
          <a:lstStyle>
            <a:lvl1pPr>
              <a:defRPr sz="1200">
                <a:solidFill>
                  <a:schemeClr val="tx2"/>
                </a:solidFill>
              </a:defRPr>
            </a:lvl1pPr>
          </a:lstStyle>
          <a:p>
            <a:pPr lvl="0"/>
            <a:r>
              <a:rPr lang="es-ES_tradnl" noProof="0"/>
              <a:t>Haga clic para modificar los estilos de texto del patrón</a:t>
            </a:r>
          </a:p>
        </p:txBody>
      </p:sp>
      <p:sp>
        <p:nvSpPr>
          <p:cNvPr id="9" name="Rectángulo 8">
            <a:extLst>
              <a:ext uri="{FF2B5EF4-FFF2-40B4-BE49-F238E27FC236}">
                <a16:creationId xmlns:a16="http://schemas.microsoft.com/office/drawing/2014/main" id="{9D31E6A8-7FC5-D346-B913-27F3CB84C0BF}"/>
              </a:ext>
            </a:extLst>
          </p:cNvPr>
          <p:cNvSpPr/>
          <p:nvPr userDrawn="1"/>
        </p:nvSpPr>
        <p:spPr bwMode="auto">
          <a:xfrm>
            <a:off x="596159" y="67814"/>
            <a:ext cx="405613" cy="405613"/>
          </a:xfrm>
          <a:prstGeom prst="rect">
            <a:avLst/>
          </a:prstGeom>
          <a:solidFill>
            <a:schemeClr val="bg1"/>
          </a:solidFill>
          <a:ln w="25400" cap="flat">
            <a:solidFill>
              <a:schemeClr val="accent3"/>
            </a:solidFill>
            <a:miter lim="800000"/>
          </a:ln>
        </p:spPr>
        <p:txBody>
          <a:bodyPr lIns="0" tIns="0" rIns="0" bIns="0" rtlCol="0" anchor="ctr">
            <a:noAutofit/>
          </a:bodyPr>
          <a:lstStyle/>
          <a:p>
            <a:pPr algn="ctr"/>
            <a:endParaRPr lang="es-ES_tradnl" sz="1400" noProof="0"/>
          </a:p>
        </p:txBody>
      </p:sp>
      <p:sp>
        <p:nvSpPr>
          <p:cNvPr id="10" name="Forma libre 9">
            <a:extLst>
              <a:ext uri="{FF2B5EF4-FFF2-40B4-BE49-F238E27FC236}">
                <a16:creationId xmlns:a16="http://schemas.microsoft.com/office/drawing/2014/main" id="{98D58498-DC71-3745-8EDE-0D568E99719F}"/>
              </a:ext>
            </a:extLst>
          </p:cNvPr>
          <p:cNvSpPr/>
          <p:nvPr userDrawn="1"/>
        </p:nvSpPr>
        <p:spPr>
          <a:xfrm>
            <a:off x="660833" y="159273"/>
            <a:ext cx="269182" cy="216075"/>
          </a:xfrm>
          <a:custGeom>
            <a:avLst/>
            <a:gdLst>
              <a:gd name="connsiteX0" fmla="*/ 2939529 w 3428447"/>
              <a:gd name="connsiteY0" fmla="*/ 1526219 h 2752048"/>
              <a:gd name="connsiteX1" fmla="*/ 2901496 w 3428447"/>
              <a:gd name="connsiteY1" fmla="*/ 1515999 h 2752048"/>
              <a:gd name="connsiteX2" fmla="*/ 2858110 w 3428447"/>
              <a:gd name="connsiteY2" fmla="*/ 1462164 h 2752048"/>
              <a:gd name="connsiteX3" fmla="*/ 3196762 w 3428447"/>
              <a:gd name="connsiteY3" fmla="*/ 909028 h 2752048"/>
              <a:gd name="connsiteX4" fmla="*/ 3196762 w 3428447"/>
              <a:gd name="connsiteY4" fmla="*/ 730272 h 2752048"/>
              <a:gd name="connsiteX5" fmla="*/ 2993146 w 3428447"/>
              <a:gd name="connsiteY5" fmla="*/ 189386 h 2752048"/>
              <a:gd name="connsiteX6" fmla="*/ 2541927 w 3428447"/>
              <a:gd name="connsiteY6" fmla="*/ 0 h 2752048"/>
              <a:gd name="connsiteX7" fmla="*/ 2539556 w 3428447"/>
              <a:gd name="connsiteY7" fmla="*/ 0 h 2752048"/>
              <a:gd name="connsiteX8" fmla="*/ 1913801 w 3428447"/>
              <a:gd name="connsiteY8" fmla="*/ 499958 h 2752048"/>
              <a:gd name="connsiteX9" fmla="*/ 1715405 w 3428447"/>
              <a:gd name="connsiteY9" fmla="*/ 466325 h 2752048"/>
              <a:gd name="connsiteX10" fmla="*/ 1713024 w 3428447"/>
              <a:gd name="connsiteY10" fmla="*/ 466325 h 2752048"/>
              <a:gd name="connsiteX11" fmla="*/ 1514570 w 3428447"/>
              <a:gd name="connsiteY11" fmla="*/ 499977 h 2752048"/>
              <a:gd name="connsiteX12" fmla="*/ 888606 w 3428447"/>
              <a:gd name="connsiteY12" fmla="*/ 0 h 2752048"/>
              <a:gd name="connsiteX13" fmla="*/ 886235 w 3428447"/>
              <a:gd name="connsiteY13" fmla="*/ 0 h 2752048"/>
              <a:gd name="connsiteX14" fmla="*/ 435140 w 3428447"/>
              <a:gd name="connsiteY14" fmla="*/ 189405 h 2752048"/>
              <a:gd name="connsiteX15" fmla="*/ 231686 w 3428447"/>
              <a:gd name="connsiteY15" fmla="*/ 730272 h 2752048"/>
              <a:gd name="connsiteX16" fmla="*/ 231686 w 3428447"/>
              <a:gd name="connsiteY16" fmla="*/ 909028 h 2752048"/>
              <a:gd name="connsiteX17" fmla="*/ 570138 w 3428447"/>
              <a:gd name="connsiteY17" fmla="*/ 1462202 h 2752048"/>
              <a:gd name="connsiteX18" fmla="*/ 526780 w 3428447"/>
              <a:gd name="connsiteY18" fmla="*/ 1515961 h 2752048"/>
              <a:gd name="connsiteX19" fmla="*/ 488528 w 3428447"/>
              <a:gd name="connsiteY19" fmla="*/ 1526257 h 2752048"/>
              <a:gd name="connsiteX20" fmla="*/ 0 w 3428447"/>
              <a:gd name="connsiteY20" fmla="*/ 2013128 h 2752048"/>
              <a:gd name="connsiteX21" fmla="*/ 0 w 3428447"/>
              <a:gd name="connsiteY21" fmla="*/ 2167309 h 2752048"/>
              <a:gd name="connsiteX22" fmla="*/ 118491 w 3428447"/>
              <a:gd name="connsiteY22" fmla="*/ 2285733 h 2752048"/>
              <a:gd name="connsiteX23" fmla="*/ 665817 w 3428447"/>
              <a:gd name="connsiteY23" fmla="*/ 2285191 h 2752048"/>
              <a:gd name="connsiteX24" fmla="*/ 737178 w 3428447"/>
              <a:gd name="connsiteY24" fmla="*/ 2213686 h 2752048"/>
              <a:gd name="connsiteX25" fmla="*/ 665740 w 3428447"/>
              <a:gd name="connsiteY25" fmla="*/ 2142316 h 2752048"/>
              <a:gd name="connsiteX26" fmla="*/ 665664 w 3428447"/>
              <a:gd name="connsiteY26" fmla="*/ 2142316 h 2752048"/>
              <a:gd name="connsiteX27" fmla="*/ 142865 w 3428447"/>
              <a:gd name="connsiteY27" fmla="*/ 2142830 h 2752048"/>
              <a:gd name="connsiteX28" fmla="*/ 142865 w 3428447"/>
              <a:gd name="connsiteY28" fmla="*/ 2013128 h 2752048"/>
              <a:gd name="connsiteX29" fmla="*/ 435902 w 3428447"/>
              <a:gd name="connsiteY29" fmla="*/ 1689535 h 2752048"/>
              <a:gd name="connsiteX30" fmla="*/ 770858 w 3428447"/>
              <a:gd name="connsiteY30" fmla="*/ 1885778 h 2752048"/>
              <a:gd name="connsiteX31" fmla="*/ 1004230 w 3428447"/>
              <a:gd name="connsiteY31" fmla="*/ 1885788 h 2752048"/>
              <a:gd name="connsiteX32" fmla="*/ 1215695 w 3428447"/>
              <a:gd name="connsiteY32" fmla="*/ 1761677 h 2752048"/>
              <a:gd name="connsiteX33" fmla="*/ 1396860 w 3428447"/>
              <a:gd name="connsiteY33" fmla="*/ 1928441 h 2752048"/>
              <a:gd name="connsiteX34" fmla="*/ 1353588 w 3428447"/>
              <a:gd name="connsiteY34" fmla="*/ 1982267 h 2752048"/>
              <a:gd name="connsiteX35" fmla="*/ 1315412 w 3428447"/>
              <a:gd name="connsiteY35" fmla="*/ 1992535 h 2752048"/>
              <a:gd name="connsiteX36" fmla="*/ 826522 w 3428447"/>
              <a:gd name="connsiteY36" fmla="*/ 2479443 h 2752048"/>
              <a:gd name="connsiteX37" fmla="*/ 826522 w 3428447"/>
              <a:gd name="connsiteY37" fmla="*/ 2633624 h 2752048"/>
              <a:gd name="connsiteX38" fmla="*/ 945213 w 3428447"/>
              <a:gd name="connsiteY38" fmla="*/ 2752049 h 2752048"/>
              <a:gd name="connsiteX39" fmla="*/ 1544917 w 3428447"/>
              <a:gd name="connsiteY39" fmla="*/ 2752049 h 2752048"/>
              <a:gd name="connsiteX40" fmla="*/ 1616355 w 3428447"/>
              <a:gd name="connsiteY40" fmla="*/ 2680611 h 2752048"/>
              <a:gd name="connsiteX41" fmla="*/ 1544917 w 3428447"/>
              <a:gd name="connsiteY41" fmla="*/ 2609174 h 2752048"/>
              <a:gd name="connsiteX42" fmla="*/ 969397 w 3428447"/>
              <a:gd name="connsiteY42" fmla="*/ 2609174 h 2752048"/>
              <a:gd name="connsiteX43" fmla="*/ 969397 w 3428447"/>
              <a:gd name="connsiteY43" fmla="*/ 2479453 h 2752048"/>
              <a:gd name="connsiteX44" fmla="*/ 1262672 w 3428447"/>
              <a:gd name="connsiteY44" fmla="*/ 2155860 h 2752048"/>
              <a:gd name="connsiteX45" fmla="*/ 1597362 w 3428447"/>
              <a:gd name="connsiteY45" fmla="*/ 2352094 h 2752048"/>
              <a:gd name="connsiteX46" fmla="*/ 1714081 w 3428447"/>
              <a:gd name="connsiteY46" fmla="*/ 2392566 h 2752048"/>
              <a:gd name="connsiteX47" fmla="*/ 1830791 w 3428447"/>
              <a:gd name="connsiteY47" fmla="*/ 2352094 h 2752048"/>
              <a:gd name="connsiteX48" fmla="*/ 2165661 w 3428447"/>
              <a:gd name="connsiteY48" fmla="*/ 2155908 h 2752048"/>
              <a:gd name="connsiteX49" fmla="*/ 2458765 w 3428447"/>
              <a:gd name="connsiteY49" fmla="*/ 2479453 h 2752048"/>
              <a:gd name="connsiteX50" fmla="*/ 2458765 w 3428447"/>
              <a:gd name="connsiteY50" fmla="*/ 2609174 h 2752048"/>
              <a:gd name="connsiteX51" fmla="*/ 1887836 w 3428447"/>
              <a:gd name="connsiteY51" fmla="*/ 2609174 h 2752048"/>
              <a:gd name="connsiteX52" fmla="*/ 1816398 w 3428447"/>
              <a:gd name="connsiteY52" fmla="*/ 2680611 h 2752048"/>
              <a:gd name="connsiteX53" fmla="*/ 1887836 w 3428447"/>
              <a:gd name="connsiteY53" fmla="*/ 2752049 h 2752048"/>
              <a:gd name="connsiteX54" fmla="*/ 2483225 w 3428447"/>
              <a:gd name="connsiteY54" fmla="*/ 2752049 h 2752048"/>
              <a:gd name="connsiteX55" fmla="*/ 2601649 w 3428447"/>
              <a:gd name="connsiteY55" fmla="*/ 2633624 h 2752048"/>
              <a:gd name="connsiteX56" fmla="*/ 2601649 w 3428447"/>
              <a:gd name="connsiteY56" fmla="*/ 2479443 h 2752048"/>
              <a:gd name="connsiteX57" fmla="*/ 2112759 w 3428447"/>
              <a:gd name="connsiteY57" fmla="*/ 1992535 h 2752048"/>
              <a:gd name="connsiteX58" fmla="*/ 2074716 w 3428447"/>
              <a:gd name="connsiteY58" fmla="*/ 1982305 h 2752048"/>
              <a:gd name="connsiteX59" fmla="*/ 2031502 w 3428447"/>
              <a:gd name="connsiteY59" fmla="*/ 1928460 h 2752048"/>
              <a:gd name="connsiteX60" fmla="*/ 2212639 w 3428447"/>
              <a:gd name="connsiteY60" fmla="*/ 1761744 h 2752048"/>
              <a:gd name="connsiteX61" fmla="*/ 2424170 w 3428447"/>
              <a:gd name="connsiteY61" fmla="*/ 1885760 h 2752048"/>
              <a:gd name="connsiteX62" fmla="*/ 2540880 w 3428447"/>
              <a:gd name="connsiteY62" fmla="*/ 1926231 h 2752048"/>
              <a:gd name="connsiteX63" fmla="*/ 2657580 w 3428447"/>
              <a:gd name="connsiteY63" fmla="*/ 1885778 h 2752048"/>
              <a:gd name="connsiteX64" fmla="*/ 2992631 w 3428447"/>
              <a:gd name="connsiteY64" fmla="*/ 1689630 h 2752048"/>
              <a:gd name="connsiteX65" fmla="*/ 3285573 w 3428447"/>
              <a:gd name="connsiteY65" fmla="*/ 2013118 h 2752048"/>
              <a:gd name="connsiteX66" fmla="*/ 3285573 w 3428447"/>
              <a:gd name="connsiteY66" fmla="*/ 2142849 h 2752048"/>
              <a:gd name="connsiteX67" fmla="*/ 2762983 w 3428447"/>
              <a:gd name="connsiteY67" fmla="*/ 2142849 h 2752048"/>
              <a:gd name="connsiteX68" fmla="*/ 2691546 w 3428447"/>
              <a:gd name="connsiteY68" fmla="*/ 2214286 h 2752048"/>
              <a:gd name="connsiteX69" fmla="*/ 2762983 w 3428447"/>
              <a:gd name="connsiteY69" fmla="*/ 2285724 h 2752048"/>
              <a:gd name="connsiteX70" fmla="*/ 3309757 w 3428447"/>
              <a:gd name="connsiteY70" fmla="*/ 2285724 h 2752048"/>
              <a:gd name="connsiteX71" fmla="*/ 3428448 w 3428447"/>
              <a:gd name="connsiteY71" fmla="*/ 2167299 h 2752048"/>
              <a:gd name="connsiteX72" fmla="*/ 3428448 w 3428447"/>
              <a:gd name="connsiteY72" fmla="*/ 2013118 h 2752048"/>
              <a:gd name="connsiteX73" fmla="*/ 2939529 w 3428447"/>
              <a:gd name="connsiteY73" fmla="*/ 1526219 h 2752048"/>
              <a:gd name="connsiteX74" fmla="*/ 3053887 w 3428447"/>
              <a:gd name="connsiteY74" fmla="*/ 909028 h 2752048"/>
              <a:gd name="connsiteX75" fmla="*/ 2662314 w 3428447"/>
              <a:gd name="connsiteY75" fmla="*/ 1404204 h 2752048"/>
              <a:gd name="connsiteX76" fmla="*/ 2419360 w 3428447"/>
              <a:gd name="connsiteY76" fmla="*/ 1404271 h 2752048"/>
              <a:gd name="connsiteX77" fmla="*/ 2369773 w 3428447"/>
              <a:gd name="connsiteY77" fmla="*/ 1382573 h 2752048"/>
              <a:gd name="connsiteX78" fmla="*/ 2369973 w 3428447"/>
              <a:gd name="connsiteY78" fmla="*/ 1375343 h 2752048"/>
              <a:gd name="connsiteX79" fmla="*/ 2369973 w 3428447"/>
              <a:gd name="connsiteY79" fmla="*/ 1196588 h 2752048"/>
              <a:gd name="connsiteX80" fmla="*/ 2202542 w 3428447"/>
              <a:gd name="connsiteY80" fmla="*/ 695420 h 2752048"/>
              <a:gd name="connsiteX81" fmla="*/ 2219439 w 3428447"/>
              <a:gd name="connsiteY81" fmla="*/ 678418 h 2752048"/>
              <a:gd name="connsiteX82" fmla="*/ 2303212 w 3428447"/>
              <a:gd name="connsiteY82" fmla="*/ 644481 h 2752048"/>
              <a:gd name="connsiteX83" fmla="*/ 2379355 w 3428447"/>
              <a:gd name="connsiteY83" fmla="*/ 664435 h 2752048"/>
              <a:gd name="connsiteX84" fmla="*/ 2540737 w 3428447"/>
              <a:gd name="connsiteY84" fmla="*/ 695325 h 2752048"/>
              <a:gd name="connsiteX85" fmla="*/ 2702643 w 3428447"/>
              <a:gd name="connsiteY85" fmla="*/ 664369 h 2752048"/>
              <a:gd name="connsiteX86" fmla="*/ 2778652 w 3428447"/>
              <a:gd name="connsiteY86" fmla="*/ 644452 h 2752048"/>
              <a:gd name="connsiteX87" fmla="*/ 2862196 w 3428447"/>
              <a:gd name="connsiteY87" fmla="*/ 678466 h 2752048"/>
              <a:gd name="connsiteX88" fmla="*/ 3053877 w 3428447"/>
              <a:gd name="connsiteY88" fmla="*/ 791994 h 2752048"/>
              <a:gd name="connsiteX89" fmla="*/ 3053877 w 3428447"/>
              <a:gd name="connsiteY89" fmla="*/ 909028 h 2752048"/>
              <a:gd name="connsiteX90" fmla="*/ 2540737 w 3428447"/>
              <a:gd name="connsiteY90" fmla="*/ 142885 h 2752048"/>
              <a:gd name="connsiteX91" fmla="*/ 3049267 w 3428447"/>
              <a:gd name="connsiteY91" fmla="*/ 642090 h 2752048"/>
              <a:gd name="connsiteX92" fmla="*/ 2964209 w 3428447"/>
              <a:gd name="connsiteY92" fmla="*/ 578434 h 2752048"/>
              <a:gd name="connsiteX93" fmla="*/ 2743057 w 3428447"/>
              <a:gd name="connsiteY93" fmla="*/ 506092 h 2752048"/>
              <a:gd name="connsiteX94" fmla="*/ 2665971 w 3428447"/>
              <a:gd name="connsiteY94" fmla="*/ 526294 h 2752048"/>
              <a:gd name="connsiteX95" fmla="*/ 2540737 w 3428447"/>
              <a:gd name="connsiteY95" fmla="*/ 552460 h 2752048"/>
              <a:gd name="connsiteX96" fmla="*/ 2416026 w 3428447"/>
              <a:gd name="connsiteY96" fmla="*/ 526361 h 2752048"/>
              <a:gd name="connsiteX97" fmla="*/ 2338788 w 3428447"/>
              <a:gd name="connsiteY97" fmla="*/ 506120 h 2752048"/>
              <a:gd name="connsiteX98" fmla="*/ 2117398 w 3428447"/>
              <a:gd name="connsiteY98" fmla="*/ 578425 h 2752048"/>
              <a:gd name="connsiteX99" fmla="*/ 2098777 w 3428447"/>
              <a:gd name="connsiteY99" fmla="*/ 596903 h 2752048"/>
              <a:gd name="connsiteX100" fmla="*/ 2045989 w 3428447"/>
              <a:gd name="connsiteY100" fmla="*/ 560984 h 2752048"/>
              <a:gd name="connsiteX101" fmla="*/ 2540737 w 3428447"/>
              <a:gd name="connsiteY101" fmla="*/ 142885 h 2752048"/>
              <a:gd name="connsiteX102" fmla="*/ 1714224 w 3428447"/>
              <a:gd name="connsiteY102" fmla="*/ 609209 h 2752048"/>
              <a:gd name="connsiteX103" fmla="*/ 2222487 w 3428447"/>
              <a:gd name="connsiteY103" fmla="*/ 1108415 h 2752048"/>
              <a:gd name="connsiteX104" fmla="*/ 2137420 w 3428447"/>
              <a:gd name="connsiteY104" fmla="*/ 1044759 h 2752048"/>
              <a:gd name="connsiteX105" fmla="*/ 1979009 w 3428447"/>
              <a:gd name="connsiteY105" fmla="*/ 963854 h 2752048"/>
              <a:gd name="connsiteX106" fmla="*/ 1916259 w 3428447"/>
              <a:gd name="connsiteY106" fmla="*/ 972407 h 2752048"/>
              <a:gd name="connsiteX107" fmla="*/ 1839001 w 3428447"/>
              <a:gd name="connsiteY107" fmla="*/ 992657 h 2752048"/>
              <a:gd name="connsiteX108" fmla="*/ 1714214 w 3428447"/>
              <a:gd name="connsiteY108" fmla="*/ 1018775 h 2752048"/>
              <a:gd name="connsiteX109" fmla="*/ 1588694 w 3428447"/>
              <a:gd name="connsiteY109" fmla="*/ 992505 h 2752048"/>
              <a:gd name="connsiteX110" fmla="*/ 1512265 w 3428447"/>
              <a:gd name="connsiteY110" fmla="*/ 972436 h 2752048"/>
              <a:gd name="connsiteX111" fmla="*/ 1290857 w 3428447"/>
              <a:gd name="connsiteY111" fmla="*/ 1044816 h 2752048"/>
              <a:gd name="connsiteX112" fmla="*/ 1205960 w 3428447"/>
              <a:gd name="connsiteY112" fmla="*/ 1108405 h 2752048"/>
              <a:gd name="connsiteX113" fmla="*/ 1714224 w 3428447"/>
              <a:gd name="connsiteY113" fmla="*/ 609209 h 2752048"/>
              <a:gd name="connsiteX114" fmla="*/ 887435 w 3428447"/>
              <a:gd name="connsiteY114" fmla="*/ 142885 h 2752048"/>
              <a:gd name="connsiteX115" fmla="*/ 1382411 w 3428447"/>
              <a:gd name="connsiteY115" fmla="*/ 561013 h 2752048"/>
              <a:gd name="connsiteX116" fmla="*/ 1329576 w 3428447"/>
              <a:gd name="connsiteY116" fmla="*/ 596970 h 2752048"/>
              <a:gd name="connsiteX117" fmla="*/ 1310726 w 3428447"/>
              <a:gd name="connsiteY117" fmla="*/ 578301 h 2752048"/>
              <a:gd name="connsiteX118" fmla="*/ 1089450 w 3428447"/>
              <a:gd name="connsiteY118" fmla="*/ 506101 h 2752048"/>
              <a:gd name="connsiteX119" fmla="*/ 1012870 w 3428447"/>
              <a:gd name="connsiteY119" fmla="*/ 526199 h 2752048"/>
              <a:gd name="connsiteX120" fmla="*/ 887425 w 3428447"/>
              <a:gd name="connsiteY120" fmla="*/ 552450 h 2752048"/>
              <a:gd name="connsiteX121" fmla="*/ 763200 w 3428447"/>
              <a:gd name="connsiteY121" fmla="*/ 526485 h 2752048"/>
              <a:gd name="connsiteX122" fmla="*/ 685476 w 3428447"/>
              <a:gd name="connsiteY122" fmla="*/ 506111 h 2752048"/>
              <a:gd name="connsiteX123" fmla="*/ 464077 w 3428447"/>
              <a:gd name="connsiteY123" fmla="*/ 578482 h 2752048"/>
              <a:gd name="connsiteX124" fmla="*/ 379181 w 3428447"/>
              <a:gd name="connsiteY124" fmla="*/ 642071 h 2752048"/>
              <a:gd name="connsiteX125" fmla="*/ 887435 w 3428447"/>
              <a:gd name="connsiteY125" fmla="*/ 142885 h 2752048"/>
              <a:gd name="connsiteX126" fmla="*/ 374552 w 3428447"/>
              <a:gd name="connsiteY126" fmla="*/ 909028 h 2752048"/>
              <a:gd name="connsiteX127" fmla="*/ 374552 w 3428447"/>
              <a:gd name="connsiteY127" fmla="*/ 792156 h 2752048"/>
              <a:gd name="connsiteX128" fmla="*/ 566118 w 3428447"/>
              <a:gd name="connsiteY128" fmla="*/ 678475 h 2752048"/>
              <a:gd name="connsiteX129" fmla="*/ 649891 w 3428447"/>
              <a:gd name="connsiteY129" fmla="*/ 644490 h 2752048"/>
              <a:gd name="connsiteX130" fmla="*/ 726491 w 3428447"/>
              <a:gd name="connsiteY130" fmla="*/ 664569 h 2752048"/>
              <a:gd name="connsiteX131" fmla="*/ 887425 w 3428447"/>
              <a:gd name="connsiteY131" fmla="*/ 695325 h 2752048"/>
              <a:gd name="connsiteX132" fmla="*/ 1049588 w 3428447"/>
              <a:gd name="connsiteY132" fmla="*/ 664274 h 2752048"/>
              <a:gd name="connsiteX133" fmla="*/ 1125064 w 3428447"/>
              <a:gd name="connsiteY133" fmla="*/ 644461 h 2752048"/>
              <a:gd name="connsiteX134" fmla="*/ 1208780 w 3428447"/>
              <a:gd name="connsiteY134" fmla="*/ 678399 h 2752048"/>
              <a:gd name="connsiteX135" fmla="*/ 1225830 w 3428447"/>
              <a:gd name="connsiteY135" fmla="*/ 695506 h 2752048"/>
              <a:gd name="connsiteX136" fmla="*/ 1058466 w 3428447"/>
              <a:gd name="connsiteY136" fmla="*/ 1196588 h 2752048"/>
              <a:gd name="connsiteX137" fmla="*/ 1058466 w 3428447"/>
              <a:gd name="connsiteY137" fmla="*/ 1375343 h 2752048"/>
              <a:gd name="connsiteX138" fmla="*/ 1058666 w 3428447"/>
              <a:gd name="connsiteY138" fmla="*/ 1382554 h 2752048"/>
              <a:gd name="connsiteX139" fmla="*/ 1008993 w 3428447"/>
              <a:gd name="connsiteY139" fmla="*/ 1404204 h 2752048"/>
              <a:gd name="connsiteX140" fmla="*/ 765924 w 3428447"/>
              <a:gd name="connsiteY140" fmla="*/ 1404233 h 2752048"/>
              <a:gd name="connsiteX141" fmla="*/ 696678 w 3428447"/>
              <a:gd name="connsiteY141" fmla="*/ 1372514 h 2752048"/>
              <a:gd name="connsiteX142" fmla="*/ 689734 w 3428447"/>
              <a:gd name="connsiteY142" fmla="*/ 1368647 h 2752048"/>
              <a:gd name="connsiteX143" fmla="*/ 689524 w 3428447"/>
              <a:gd name="connsiteY143" fmla="*/ 1368543 h 2752048"/>
              <a:gd name="connsiteX144" fmla="*/ 374552 w 3428447"/>
              <a:gd name="connsiteY144" fmla="*/ 909028 h 2752048"/>
              <a:gd name="connsiteX145" fmla="*/ 930659 w 3428447"/>
              <a:gd name="connsiteY145" fmla="*/ 1763316 h 2752048"/>
              <a:gd name="connsiteX146" fmla="*/ 928049 w 3428447"/>
              <a:gd name="connsiteY146" fmla="*/ 1764925 h 2752048"/>
              <a:gd name="connsiteX147" fmla="*/ 847211 w 3428447"/>
              <a:gd name="connsiteY147" fmla="*/ 1765002 h 2752048"/>
              <a:gd name="connsiteX148" fmla="*/ 844429 w 3428447"/>
              <a:gd name="connsiteY148" fmla="*/ 1763287 h 2752048"/>
              <a:gd name="connsiteX149" fmla="*/ 616601 w 3428447"/>
              <a:gd name="connsiteY149" fmla="*/ 1629804 h 2752048"/>
              <a:gd name="connsiteX150" fmla="*/ 696068 w 3428447"/>
              <a:gd name="connsiteY150" fmla="*/ 1530287 h 2752048"/>
              <a:gd name="connsiteX151" fmla="*/ 716309 w 3428447"/>
              <a:gd name="connsiteY151" fmla="*/ 1538202 h 2752048"/>
              <a:gd name="connsiteX152" fmla="*/ 1058589 w 3428447"/>
              <a:gd name="connsiteY152" fmla="*/ 1538202 h 2752048"/>
              <a:gd name="connsiteX153" fmla="*/ 1084707 w 3428447"/>
              <a:gd name="connsiteY153" fmla="*/ 1527810 h 2752048"/>
              <a:gd name="connsiteX154" fmla="*/ 1135485 w 3428447"/>
              <a:gd name="connsiteY154" fmla="*/ 1643110 h 2752048"/>
              <a:gd name="connsiteX155" fmla="*/ 1757220 w 3428447"/>
              <a:gd name="connsiteY155" fmla="*/ 2229603 h 2752048"/>
              <a:gd name="connsiteX156" fmla="*/ 1754429 w 3428447"/>
              <a:gd name="connsiteY156" fmla="*/ 2231327 h 2752048"/>
              <a:gd name="connsiteX157" fmla="*/ 1673714 w 3428447"/>
              <a:gd name="connsiteY157" fmla="*/ 2231327 h 2752048"/>
              <a:gd name="connsiteX158" fmla="*/ 1670952 w 3428447"/>
              <a:gd name="connsiteY158" fmla="*/ 2229622 h 2752048"/>
              <a:gd name="connsiteX159" fmla="*/ 1443142 w 3428447"/>
              <a:gd name="connsiteY159" fmla="*/ 2096053 h 2752048"/>
              <a:gd name="connsiteX160" fmla="*/ 1522743 w 3428447"/>
              <a:gd name="connsiteY160" fmla="*/ 1996488 h 2752048"/>
              <a:gd name="connsiteX161" fmla="*/ 1543079 w 3428447"/>
              <a:gd name="connsiteY161" fmla="*/ 2004517 h 2752048"/>
              <a:gd name="connsiteX162" fmla="*/ 1714195 w 3428447"/>
              <a:gd name="connsiteY162" fmla="*/ 2038236 h 2752048"/>
              <a:gd name="connsiteX163" fmla="*/ 1885417 w 3428447"/>
              <a:gd name="connsiteY163" fmla="*/ 2004498 h 2752048"/>
              <a:gd name="connsiteX164" fmla="*/ 1905591 w 3428447"/>
              <a:gd name="connsiteY164" fmla="*/ 1996516 h 2752048"/>
              <a:gd name="connsiteX165" fmla="*/ 1985124 w 3428447"/>
              <a:gd name="connsiteY165" fmla="*/ 2096081 h 2752048"/>
              <a:gd name="connsiteX166" fmla="*/ 2227098 w 3428447"/>
              <a:gd name="connsiteY166" fmla="*/ 1375353 h 2752048"/>
              <a:gd name="connsiteX167" fmla="*/ 1835772 w 3428447"/>
              <a:gd name="connsiteY167" fmla="*/ 1870520 h 2752048"/>
              <a:gd name="connsiteX168" fmla="*/ 1592685 w 3428447"/>
              <a:gd name="connsiteY168" fmla="*/ 1870539 h 2752048"/>
              <a:gd name="connsiteX169" fmla="*/ 1201331 w 3428447"/>
              <a:gd name="connsiteY169" fmla="*/ 1375353 h 2752048"/>
              <a:gd name="connsiteX170" fmla="*/ 1201331 w 3428447"/>
              <a:gd name="connsiteY170" fmla="*/ 1258319 h 2752048"/>
              <a:gd name="connsiteX171" fmla="*/ 1392898 w 3428447"/>
              <a:gd name="connsiteY171" fmla="*/ 1144810 h 2752048"/>
              <a:gd name="connsiteX172" fmla="*/ 1476642 w 3428447"/>
              <a:gd name="connsiteY172" fmla="*/ 1110806 h 2752048"/>
              <a:gd name="connsiteX173" fmla="*/ 1551956 w 3428447"/>
              <a:gd name="connsiteY173" fmla="*/ 1130579 h 2752048"/>
              <a:gd name="connsiteX174" fmla="*/ 1714205 w 3428447"/>
              <a:gd name="connsiteY174" fmla="*/ 1161650 h 2752048"/>
              <a:gd name="connsiteX175" fmla="*/ 1875663 w 3428447"/>
              <a:gd name="connsiteY175" fmla="*/ 1130741 h 2752048"/>
              <a:gd name="connsiteX176" fmla="*/ 1951863 w 3428447"/>
              <a:gd name="connsiteY176" fmla="*/ 1110777 h 2752048"/>
              <a:gd name="connsiteX177" fmla="*/ 2035397 w 3428447"/>
              <a:gd name="connsiteY177" fmla="*/ 1144791 h 2752048"/>
              <a:gd name="connsiteX178" fmla="*/ 2227088 w 3428447"/>
              <a:gd name="connsiteY178" fmla="*/ 1258319 h 2752048"/>
              <a:gd name="connsiteX179" fmla="*/ 2227088 w 3428447"/>
              <a:gd name="connsiteY179" fmla="*/ 1375353 h 2752048"/>
              <a:gd name="connsiteX180" fmla="*/ 2584028 w 3428447"/>
              <a:gd name="connsiteY180" fmla="*/ 1763278 h 2752048"/>
              <a:gd name="connsiteX181" fmla="*/ 2581218 w 3428447"/>
              <a:gd name="connsiteY181" fmla="*/ 1765011 h 2752048"/>
              <a:gd name="connsiteX182" fmla="*/ 2500522 w 3428447"/>
              <a:gd name="connsiteY182" fmla="*/ 1765011 h 2752048"/>
              <a:gd name="connsiteX183" fmla="*/ 2497750 w 3428447"/>
              <a:gd name="connsiteY183" fmla="*/ 1763306 h 2752048"/>
              <a:gd name="connsiteX184" fmla="*/ 2292887 w 3428447"/>
              <a:gd name="connsiteY184" fmla="*/ 1643196 h 2752048"/>
              <a:gd name="connsiteX185" fmla="*/ 2343712 w 3428447"/>
              <a:gd name="connsiteY185" fmla="*/ 1527848 h 2752048"/>
              <a:gd name="connsiteX186" fmla="*/ 2369611 w 3428447"/>
              <a:gd name="connsiteY186" fmla="*/ 1538211 h 2752048"/>
              <a:gd name="connsiteX187" fmla="*/ 2540727 w 3428447"/>
              <a:gd name="connsiteY187" fmla="*/ 1571930 h 2752048"/>
              <a:gd name="connsiteX188" fmla="*/ 2711920 w 3428447"/>
              <a:gd name="connsiteY188" fmla="*/ 1538192 h 2752048"/>
              <a:gd name="connsiteX189" fmla="*/ 2732208 w 3428447"/>
              <a:gd name="connsiteY189" fmla="*/ 1530182 h 2752048"/>
              <a:gd name="connsiteX190" fmla="*/ 2811980 w 3428447"/>
              <a:gd name="connsiteY190" fmla="*/ 1629832 h 2752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3428447" h="2752048">
                <a:moveTo>
                  <a:pt x="2939529" y="1526219"/>
                </a:moveTo>
                <a:cubicBezTo>
                  <a:pt x="2926709" y="1522800"/>
                  <a:pt x="2913974" y="1519399"/>
                  <a:pt x="2901496" y="1515999"/>
                </a:cubicBezTo>
                <a:cubicBezTo>
                  <a:pt x="2882627" y="1510817"/>
                  <a:pt x="2868654" y="1486614"/>
                  <a:pt x="2858110" y="1462164"/>
                </a:cubicBezTo>
                <a:cubicBezTo>
                  <a:pt x="3052086" y="1331224"/>
                  <a:pt x="3196762" y="1105662"/>
                  <a:pt x="3196762" y="909028"/>
                </a:cubicBezTo>
                <a:lnTo>
                  <a:pt x="3196762" y="730272"/>
                </a:lnTo>
                <a:cubicBezTo>
                  <a:pt x="3196762" y="509873"/>
                  <a:pt x="3126353" y="322840"/>
                  <a:pt x="2993146" y="189386"/>
                </a:cubicBezTo>
                <a:cubicBezTo>
                  <a:pt x="2874102" y="70123"/>
                  <a:pt x="2713854" y="2857"/>
                  <a:pt x="2541927" y="0"/>
                </a:cubicBezTo>
                <a:cubicBezTo>
                  <a:pt x="2541127" y="0"/>
                  <a:pt x="2540337" y="0"/>
                  <a:pt x="2539556" y="0"/>
                </a:cubicBezTo>
                <a:cubicBezTo>
                  <a:pt x="2283905" y="4239"/>
                  <a:pt x="2003117" y="161220"/>
                  <a:pt x="1913801" y="499958"/>
                </a:cubicBezTo>
                <a:cubicBezTo>
                  <a:pt x="1850765" y="479050"/>
                  <a:pt x="1784052" y="467468"/>
                  <a:pt x="1715405" y="466325"/>
                </a:cubicBezTo>
                <a:cubicBezTo>
                  <a:pt x="1714605" y="466315"/>
                  <a:pt x="1713824" y="466315"/>
                  <a:pt x="1713024" y="466325"/>
                </a:cubicBezTo>
                <a:cubicBezTo>
                  <a:pt x="1644358" y="467468"/>
                  <a:pt x="1577626" y="479060"/>
                  <a:pt x="1514570" y="499977"/>
                </a:cubicBezTo>
                <a:cubicBezTo>
                  <a:pt x="1425045" y="161220"/>
                  <a:pt x="1144200" y="4229"/>
                  <a:pt x="888606" y="0"/>
                </a:cubicBezTo>
                <a:cubicBezTo>
                  <a:pt x="887825" y="0"/>
                  <a:pt x="887035" y="0"/>
                  <a:pt x="886235" y="0"/>
                </a:cubicBezTo>
                <a:cubicBezTo>
                  <a:pt x="714318" y="2857"/>
                  <a:pt x="554126" y="70123"/>
                  <a:pt x="435140" y="189405"/>
                </a:cubicBezTo>
                <a:cubicBezTo>
                  <a:pt x="302038" y="322831"/>
                  <a:pt x="231686" y="509864"/>
                  <a:pt x="231686" y="730272"/>
                </a:cubicBezTo>
                <a:lnTo>
                  <a:pt x="231686" y="909028"/>
                </a:lnTo>
                <a:cubicBezTo>
                  <a:pt x="231686" y="1105624"/>
                  <a:pt x="376238" y="1331224"/>
                  <a:pt x="570138" y="1462202"/>
                </a:cubicBezTo>
                <a:cubicBezTo>
                  <a:pt x="559632" y="1486614"/>
                  <a:pt x="545687" y="1510789"/>
                  <a:pt x="526780" y="1515961"/>
                </a:cubicBezTo>
                <a:cubicBezTo>
                  <a:pt x="514141" y="1519409"/>
                  <a:pt x="501367" y="1522819"/>
                  <a:pt x="488528" y="1526257"/>
                </a:cubicBezTo>
                <a:cubicBezTo>
                  <a:pt x="282350" y="1581360"/>
                  <a:pt x="0" y="1656807"/>
                  <a:pt x="0" y="2013128"/>
                </a:cubicBezTo>
                <a:lnTo>
                  <a:pt x="0" y="2167309"/>
                </a:lnTo>
                <a:cubicBezTo>
                  <a:pt x="0" y="2232603"/>
                  <a:pt x="53121" y="2285733"/>
                  <a:pt x="118491" y="2285733"/>
                </a:cubicBezTo>
                <a:lnTo>
                  <a:pt x="665817" y="2285191"/>
                </a:lnTo>
                <a:cubicBezTo>
                  <a:pt x="705269" y="2285152"/>
                  <a:pt x="737216" y="2253139"/>
                  <a:pt x="737178" y="2213686"/>
                </a:cubicBezTo>
                <a:cubicBezTo>
                  <a:pt x="737140" y="2174253"/>
                  <a:pt x="705174" y="2142316"/>
                  <a:pt x="665740" y="2142316"/>
                </a:cubicBezTo>
                <a:cubicBezTo>
                  <a:pt x="665721" y="2142316"/>
                  <a:pt x="665693" y="2142316"/>
                  <a:pt x="665664" y="2142316"/>
                </a:cubicBezTo>
                <a:lnTo>
                  <a:pt x="142865" y="2142830"/>
                </a:lnTo>
                <a:lnTo>
                  <a:pt x="142865" y="2013128"/>
                </a:lnTo>
                <a:cubicBezTo>
                  <a:pt x="142865" y="1813570"/>
                  <a:pt x="251650" y="1745590"/>
                  <a:pt x="435902" y="1689535"/>
                </a:cubicBezTo>
                <a:lnTo>
                  <a:pt x="770858" y="1885778"/>
                </a:lnTo>
                <a:cubicBezTo>
                  <a:pt x="854535" y="1939614"/>
                  <a:pt x="920239" y="1939633"/>
                  <a:pt x="1004230" y="1885788"/>
                </a:cubicBezTo>
                <a:lnTo>
                  <a:pt x="1215695" y="1761677"/>
                </a:lnTo>
                <a:cubicBezTo>
                  <a:pt x="1267349" y="1825323"/>
                  <a:pt x="1329071" y="1882654"/>
                  <a:pt x="1396860" y="1928441"/>
                </a:cubicBezTo>
                <a:cubicBezTo>
                  <a:pt x="1386316" y="1952901"/>
                  <a:pt x="1372362" y="1977104"/>
                  <a:pt x="1353588" y="1982267"/>
                </a:cubicBezTo>
                <a:cubicBezTo>
                  <a:pt x="1340977" y="1985705"/>
                  <a:pt x="1328233" y="1989106"/>
                  <a:pt x="1315412" y="1992535"/>
                </a:cubicBezTo>
                <a:cubicBezTo>
                  <a:pt x="1109091" y="2047608"/>
                  <a:pt x="826522" y="2123046"/>
                  <a:pt x="826522" y="2479443"/>
                </a:cubicBezTo>
                <a:lnTo>
                  <a:pt x="826522" y="2633624"/>
                </a:lnTo>
                <a:cubicBezTo>
                  <a:pt x="826522" y="2698918"/>
                  <a:pt x="879767" y="2752049"/>
                  <a:pt x="945213" y="2752049"/>
                </a:cubicBezTo>
                <a:lnTo>
                  <a:pt x="1544917" y="2752049"/>
                </a:lnTo>
                <a:cubicBezTo>
                  <a:pt x="1584379" y="2752049"/>
                  <a:pt x="1616355" y="2720064"/>
                  <a:pt x="1616355" y="2680611"/>
                </a:cubicBezTo>
                <a:cubicBezTo>
                  <a:pt x="1616355" y="2641159"/>
                  <a:pt x="1584379" y="2609174"/>
                  <a:pt x="1544917" y="2609174"/>
                </a:cubicBezTo>
                <a:lnTo>
                  <a:pt x="969397" y="2609174"/>
                </a:lnTo>
                <a:lnTo>
                  <a:pt x="969397" y="2479453"/>
                </a:lnTo>
                <a:cubicBezTo>
                  <a:pt x="969397" y="2279875"/>
                  <a:pt x="1078306" y="2211896"/>
                  <a:pt x="1262672" y="2155860"/>
                </a:cubicBezTo>
                <a:lnTo>
                  <a:pt x="1597362" y="2352094"/>
                </a:lnTo>
                <a:cubicBezTo>
                  <a:pt x="1639291" y="2379078"/>
                  <a:pt x="1676686" y="2392566"/>
                  <a:pt x="1714081" y="2392566"/>
                </a:cubicBezTo>
                <a:cubicBezTo>
                  <a:pt x="1751476" y="2392566"/>
                  <a:pt x="1788871" y="2379069"/>
                  <a:pt x="1830791" y="2352094"/>
                </a:cubicBezTo>
                <a:lnTo>
                  <a:pt x="2165661" y="2155908"/>
                </a:lnTo>
                <a:cubicBezTo>
                  <a:pt x="2349922" y="2211934"/>
                  <a:pt x="2458765" y="2279933"/>
                  <a:pt x="2458765" y="2479453"/>
                </a:cubicBezTo>
                <a:lnTo>
                  <a:pt x="2458765" y="2609174"/>
                </a:lnTo>
                <a:lnTo>
                  <a:pt x="1887836" y="2609174"/>
                </a:lnTo>
                <a:cubicBezTo>
                  <a:pt x="1848374" y="2609174"/>
                  <a:pt x="1816398" y="2641159"/>
                  <a:pt x="1816398" y="2680611"/>
                </a:cubicBezTo>
                <a:cubicBezTo>
                  <a:pt x="1816398" y="2720064"/>
                  <a:pt x="1848374" y="2752049"/>
                  <a:pt x="1887836" y="2752049"/>
                </a:cubicBezTo>
                <a:lnTo>
                  <a:pt x="2483225" y="2752049"/>
                </a:lnTo>
                <a:cubicBezTo>
                  <a:pt x="2548519" y="2752049"/>
                  <a:pt x="2601649" y="2698928"/>
                  <a:pt x="2601649" y="2633624"/>
                </a:cubicBezTo>
                <a:lnTo>
                  <a:pt x="2601649" y="2479443"/>
                </a:lnTo>
                <a:cubicBezTo>
                  <a:pt x="2601649" y="2123046"/>
                  <a:pt x="2319081" y="2047618"/>
                  <a:pt x="2112759" y="1992535"/>
                </a:cubicBezTo>
                <a:cubicBezTo>
                  <a:pt x="2099939" y="1989115"/>
                  <a:pt x="2087194" y="1985705"/>
                  <a:pt x="2074716" y="1982305"/>
                </a:cubicBezTo>
                <a:cubicBezTo>
                  <a:pt x="2055905" y="1977142"/>
                  <a:pt x="2041989" y="1952911"/>
                  <a:pt x="2031502" y="1928460"/>
                </a:cubicBezTo>
                <a:cubicBezTo>
                  <a:pt x="2099272" y="1882683"/>
                  <a:pt x="2160984" y="1825371"/>
                  <a:pt x="2212639" y="1761744"/>
                </a:cubicBezTo>
                <a:lnTo>
                  <a:pt x="2424170" y="1885760"/>
                </a:lnTo>
                <a:cubicBezTo>
                  <a:pt x="2466089" y="1912744"/>
                  <a:pt x="2503494" y="1926231"/>
                  <a:pt x="2540880" y="1926231"/>
                </a:cubicBezTo>
                <a:cubicBezTo>
                  <a:pt x="2578275" y="1926231"/>
                  <a:pt x="2615660" y="1912744"/>
                  <a:pt x="2657580" y="1885778"/>
                </a:cubicBezTo>
                <a:lnTo>
                  <a:pt x="2992631" y="1689630"/>
                </a:lnTo>
                <a:cubicBezTo>
                  <a:pt x="3176788" y="1745647"/>
                  <a:pt x="3285573" y="1813665"/>
                  <a:pt x="3285573" y="2013118"/>
                </a:cubicBezTo>
                <a:lnTo>
                  <a:pt x="3285573" y="2142849"/>
                </a:lnTo>
                <a:lnTo>
                  <a:pt x="2762983" y="2142849"/>
                </a:lnTo>
                <a:cubicBezTo>
                  <a:pt x="2723522" y="2142849"/>
                  <a:pt x="2691546" y="2174834"/>
                  <a:pt x="2691546" y="2214286"/>
                </a:cubicBezTo>
                <a:cubicBezTo>
                  <a:pt x="2691546" y="2253739"/>
                  <a:pt x="2723522" y="2285724"/>
                  <a:pt x="2762983" y="2285724"/>
                </a:cubicBezTo>
                <a:lnTo>
                  <a:pt x="3309757" y="2285724"/>
                </a:lnTo>
                <a:cubicBezTo>
                  <a:pt x="3375203" y="2285724"/>
                  <a:pt x="3428448" y="2232603"/>
                  <a:pt x="3428448" y="2167299"/>
                </a:cubicBezTo>
                <a:lnTo>
                  <a:pt x="3428448" y="2013118"/>
                </a:lnTo>
                <a:cubicBezTo>
                  <a:pt x="3428429" y="1656731"/>
                  <a:pt x="3145850" y="1581293"/>
                  <a:pt x="2939529" y="1526219"/>
                </a:cubicBezTo>
                <a:close/>
                <a:moveTo>
                  <a:pt x="3053887" y="909028"/>
                </a:moveTo>
                <a:cubicBezTo>
                  <a:pt x="3053887" y="1095489"/>
                  <a:pt x="2870883" y="1326890"/>
                  <a:pt x="2662314" y="1404204"/>
                </a:cubicBezTo>
                <a:cubicBezTo>
                  <a:pt x="2572569" y="1437399"/>
                  <a:pt x="2508952" y="1437408"/>
                  <a:pt x="2419360" y="1404271"/>
                </a:cubicBezTo>
                <a:cubicBezTo>
                  <a:pt x="2402881" y="1398127"/>
                  <a:pt x="2386308" y="1390793"/>
                  <a:pt x="2369773" y="1382573"/>
                </a:cubicBezTo>
                <a:cubicBezTo>
                  <a:pt x="2369811" y="1380172"/>
                  <a:pt x="2369973" y="1377744"/>
                  <a:pt x="2369973" y="1375343"/>
                </a:cubicBezTo>
                <a:lnTo>
                  <a:pt x="2369973" y="1196588"/>
                </a:lnTo>
                <a:cubicBezTo>
                  <a:pt x="2369973" y="997201"/>
                  <a:pt x="2312165" y="825256"/>
                  <a:pt x="2202542" y="695420"/>
                </a:cubicBezTo>
                <a:cubicBezTo>
                  <a:pt x="2208562" y="689515"/>
                  <a:pt x="2214163" y="683800"/>
                  <a:pt x="2219439" y="678418"/>
                </a:cubicBezTo>
                <a:cubicBezTo>
                  <a:pt x="2256263" y="640842"/>
                  <a:pt x="2262912" y="634070"/>
                  <a:pt x="2303212" y="644481"/>
                </a:cubicBezTo>
                <a:cubicBezTo>
                  <a:pt x="2332596" y="652015"/>
                  <a:pt x="2357638" y="658663"/>
                  <a:pt x="2379355" y="664435"/>
                </a:cubicBezTo>
                <a:cubicBezTo>
                  <a:pt x="2454345" y="684352"/>
                  <a:pt x="2495645" y="695325"/>
                  <a:pt x="2540737" y="695325"/>
                </a:cubicBezTo>
                <a:cubicBezTo>
                  <a:pt x="2586076" y="695325"/>
                  <a:pt x="2627471" y="684333"/>
                  <a:pt x="2702643" y="664369"/>
                </a:cubicBezTo>
                <a:cubicBezTo>
                  <a:pt x="2724303" y="658616"/>
                  <a:pt x="2749277" y="651986"/>
                  <a:pt x="2778652" y="644452"/>
                </a:cubicBezTo>
                <a:cubicBezTo>
                  <a:pt x="2818743" y="634117"/>
                  <a:pt x="2825344" y="640880"/>
                  <a:pt x="2862196" y="678466"/>
                </a:cubicBezTo>
                <a:cubicBezTo>
                  <a:pt x="2898972" y="715975"/>
                  <a:pt x="2951645" y="769372"/>
                  <a:pt x="3053877" y="791994"/>
                </a:cubicBezTo>
                <a:lnTo>
                  <a:pt x="3053877" y="909028"/>
                </a:lnTo>
                <a:close/>
                <a:moveTo>
                  <a:pt x="2540737" y="142885"/>
                </a:moveTo>
                <a:cubicBezTo>
                  <a:pt x="2769022" y="147218"/>
                  <a:pt x="3012958" y="305629"/>
                  <a:pt x="3049267" y="642090"/>
                </a:cubicBezTo>
                <a:cubicBezTo>
                  <a:pt x="3011796" y="626964"/>
                  <a:pt x="2989098" y="603799"/>
                  <a:pt x="2964209" y="578434"/>
                </a:cubicBezTo>
                <a:cubicBezTo>
                  <a:pt x="2921460" y="534838"/>
                  <a:pt x="2862891" y="475136"/>
                  <a:pt x="2743057" y="506092"/>
                </a:cubicBezTo>
                <a:cubicBezTo>
                  <a:pt x="2713330" y="513712"/>
                  <a:pt x="2687974" y="520446"/>
                  <a:pt x="2665971" y="526294"/>
                </a:cubicBezTo>
                <a:cubicBezTo>
                  <a:pt x="2600354" y="543716"/>
                  <a:pt x="2567426" y="552460"/>
                  <a:pt x="2540737" y="552460"/>
                </a:cubicBezTo>
                <a:cubicBezTo>
                  <a:pt x="2514295" y="552460"/>
                  <a:pt x="2481453" y="543735"/>
                  <a:pt x="2416026" y="526361"/>
                </a:cubicBezTo>
                <a:cubicBezTo>
                  <a:pt x="2393966" y="520503"/>
                  <a:pt x="2368534" y="513750"/>
                  <a:pt x="2338788" y="506120"/>
                </a:cubicBezTo>
                <a:cubicBezTo>
                  <a:pt x="2218658" y="475117"/>
                  <a:pt x="2160127" y="534838"/>
                  <a:pt x="2117398" y="578425"/>
                </a:cubicBezTo>
                <a:cubicBezTo>
                  <a:pt x="2111178" y="584768"/>
                  <a:pt x="2105025" y="590902"/>
                  <a:pt x="2098777" y="596903"/>
                </a:cubicBezTo>
                <a:cubicBezTo>
                  <a:pt x="2081746" y="584035"/>
                  <a:pt x="2064144" y="572033"/>
                  <a:pt x="2045989" y="560984"/>
                </a:cubicBezTo>
                <a:cubicBezTo>
                  <a:pt x="2109997" y="277873"/>
                  <a:pt x="2335654" y="146780"/>
                  <a:pt x="2540737" y="142885"/>
                </a:cubicBezTo>
                <a:close/>
                <a:moveTo>
                  <a:pt x="1714224" y="609209"/>
                </a:moveTo>
                <a:cubicBezTo>
                  <a:pt x="1942386" y="613534"/>
                  <a:pt x="2186197" y="771954"/>
                  <a:pt x="2222487" y="1108415"/>
                </a:cubicBezTo>
                <a:cubicBezTo>
                  <a:pt x="2185007" y="1093289"/>
                  <a:pt x="2162299" y="1070124"/>
                  <a:pt x="2137420" y="1044759"/>
                </a:cubicBezTo>
                <a:cubicBezTo>
                  <a:pt x="2102901" y="1009555"/>
                  <a:pt x="2058095" y="963854"/>
                  <a:pt x="1979009" y="963854"/>
                </a:cubicBezTo>
                <a:cubicBezTo>
                  <a:pt x="1960159" y="963854"/>
                  <a:pt x="1939338" y="966454"/>
                  <a:pt x="1916259" y="972407"/>
                </a:cubicBezTo>
                <a:cubicBezTo>
                  <a:pt x="1886455" y="980056"/>
                  <a:pt x="1861042" y="986800"/>
                  <a:pt x="1839001" y="992657"/>
                </a:cubicBezTo>
                <a:cubicBezTo>
                  <a:pt x="1773536" y="1010040"/>
                  <a:pt x="1740675" y="1018775"/>
                  <a:pt x="1714214" y="1018775"/>
                </a:cubicBezTo>
                <a:cubicBezTo>
                  <a:pt x="1687459" y="1018775"/>
                  <a:pt x="1654464" y="1009993"/>
                  <a:pt x="1588694" y="992505"/>
                </a:cubicBezTo>
                <a:cubicBezTo>
                  <a:pt x="1566824" y="986685"/>
                  <a:pt x="1541659" y="979999"/>
                  <a:pt x="1512265" y="972436"/>
                </a:cubicBezTo>
                <a:cubicBezTo>
                  <a:pt x="1392136" y="941461"/>
                  <a:pt x="1333586" y="1001192"/>
                  <a:pt x="1290857" y="1044816"/>
                </a:cubicBezTo>
                <a:cubicBezTo>
                  <a:pt x="1266034" y="1070153"/>
                  <a:pt x="1243365" y="1093289"/>
                  <a:pt x="1205960" y="1108405"/>
                </a:cubicBezTo>
                <a:cubicBezTo>
                  <a:pt x="1242251" y="771935"/>
                  <a:pt x="1486062" y="613534"/>
                  <a:pt x="1714224" y="609209"/>
                </a:cubicBezTo>
                <a:close/>
                <a:moveTo>
                  <a:pt x="887435" y="142885"/>
                </a:moveTo>
                <a:cubicBezTo>
                  <a:pt x="1092470" y="146771"/>
                  <a:pt x="1318174" y="277873"/>
                  <a:pt x="1382411" y="561013"/>
                </a:cubicBezTo>
                <a:cubicBezTo>
                  <a:pt x="1364247" y="572081"/>
                  <a:pt x="1346625" y="584092"/>
                  <a:pt x="1329576" y="596970"/>
                </a:cubicBezTo>
                <a:cubicBezTo>
                  <a:pt x="1323251" y="590912"/>
                  <a:pt x="1317012" y="584711"/>
                  <a:pt x="1310726" y="578301"/>
                </a:cubicBezTo>
                <a:cubicBezTo>
                  <a:pt x="1267968" y="534772"/>
                  <a:pt x="1209408" y="475136"/>
                  <a:pt x="1089450" y="506101"/>
                </a:cubicBezTo>
                <a:cubicBezTo>
                  <a:pt x="1059942" y="513683"/>
                  <a:pt x="1034758" y="520389"/>
                  <a:pt x="1012870" y="526199"/>
                </a:cubicBezTo>
                <a:cubicBezTo>
                  <a:pt x="947157" y="543678"/>
                  <a:pt x="914162" y="552450"/>
                  <a:pt x="887425" y="552450"/>
                </a:cubicBezTo>
                <a:cubicBezTo>
                  <a:pt x="860870" y="552450"/>
                  <a:pt x="828227" y="543773"/>
                  <a:pt x="763200" y="526485"/>
                </a:cubicBezTo>
                <a:cubicBezTo>
                  <a:pt x="741045" y="520589"/>
                  <a:pt x="715451" y="513788"/>
                  <a:pt x="685476" y="506111"/>
                </a:cubicBezTo>
                <a:cubicBezTo>
                  <a:pt x="565337" y="475126"/>
                  <a:pt x="506806" y="534867"/>
                  <a:pt x="464077" y="578482"/>
                </a:cubicBezTo>
                <a:cubicBezTo>
                  <a:pt x="439255" y="603818"/>
                  <a:pt x="416585" y="626955"/>
                  <a:pt x="379181" y="642071"/>
                </a:cubicBezTo>
                <a:cubicBezTo>
                  <a:pt x="415462" y="305619"/>
                  <a:pt x="659273" y="147209"/>
                  <a:pt x="887435" y="142885"/>
                </a:cubicBezTo>
                <a:close/>
                <a:moveTo>
                  <a:pt x="374552" y="909028"/>
                </a:moveTo>
                <a:lnTo>
                  <a:pt x="374552" y="792156"/>
                </a:lnTo>
                <a:cubicBezTo>
                  <a:pt x="476869" y="769563"/>
                  <a:pt x="529352" y="716004"/>
                  <a:pt x="566118" y="678475"/>
                </a:cubicBezTo>
                <a:cubicBezTo>
                  <a:pt x="602971" y="640880"/>
                  <a:pt x="609629" y="634108"/>
                  <a:pt x="649891" y="644490"/>
                </a:cubicBezTo>
                <a:cubicBezTo>
                  <a:pt x="679495" y="652082"/>
                  <a:pt x="704679" y="658778"/>
                  <a:pt x="726491" y="664569"/>
                </a:cubicBezTo>
                <a:cubicBezTo>
                  <a:pt x="801100" y="684400"/>
                  <a:pt x="842191" y="695325"/>
                  <a:pt x="887425" y="695325"/>
                </a:cubicBezTo>
                <a:cubicBezTo>
                  <a:pt x="932840" y="695325"/>
                  <a:pt x="974303" y="684295"/>
                  <a:pt x="1049588" y="664274"/>
                </a:cubicBezTo>
                <a:cubicBezTo>
                  <a:pt x="1071143" y="658539"/>
                  <a:pt x="1095947" y="651948"/>
                  <a:pt x="1125064" y="644461"/>
                </a:cubicBezTo>
                <a:cubicBezTo>
                  <a:pt x="1165317" y="634098"/>
                  <a:pt x="1171927" y="640871"/>
                  <a:pt x="1208780" y="678399"/>
                </a:cubicBezTo>
                <a:cubicBezTo>
                  <a:pt x="1214104" y="683819"/>
                  <a:pt x="1219753" y="689562"/>
                  <a:pt x="1225830" y="695506"/>
                </a:cubicBezTo>
                <a:cubicBezTo>
                  <a:pt x="1116254" y="825332"/>
                  <a:pt x="1058466" y="997249"/>
                  <a:pt x="1058466" y="1196588"/>
                </a:cubicBezTo>
                <a:lnTo>
                  <a:pt x="1058466" y="1375343"/>
                </a:lnTo>
                <a:cubicBezTo>
                  <a:pt x="1058466" y="1377734"/>
                  <a:pt x="1058628" y="1380154"/>
                  <a:pt x="1058666" y="1382554"/>
                </a:cubicBezTo>
                <a:cubicBezTo>
                  <a:pt x="1042083" y="1390783"/>
                  <a:pt x="1025481" y="1398099"/>
                  <a:pt x="1008993" y="1404204"/>
                </a:cubicBezTo>
                <a:cubicBezTo>
                  <a:pt x="919229" y="1437399"/>
                  <a:pt x="855612" y="1437399"/>
                  <a:pt x="765924" y="1404233"/>
                </a:cubicBezTo>
                <a:cubicBezTo>
                  <a:pt x="742445" y="1395517"/>
                  <a:pt x="719290" y="1384849"/>
                  <a:pt x="696678" y="1372514"/>
                </a:cubicBezTo>
                <a:cubicBezTo>
                  <a:pt x="694458" y="1371114"/>
                  <a:pt x="692134" y="1369819"/>
                  <a:pt x="689734" y="1368647"/>
                </a:cubicBezTo>
                <a:cubicBezTo>
                  <a:pt x="689658" y="1368609"/>
                  <a:pt x="689581" y="1368581"/>
                  <a:pt x="689524" y="1368543"/>
                </a:cubicBezTo>
                <a:cubicBezTo>
                  <a:pt x="514731" y="1269911"/>
                  <a:pt x="374552" y="1072239"/>
                  <a:pt x="374552" y="909028"/>
                </a:cubicBezTo>
                <a:close/>
                <a:moveTo>
                  <a:pt x="930659" y="1763316"/>
                </a:moveTo>
                <a:cubicBezTo>
                  <a:pt x="929773" y="1763830"/>
                  <a:pt x="928897" y="1764373"/>
                  <a:pt x="928049" y="1764925"/>
                </a:cubicBezTo>
                <a:cubicBezTo>
                  <a:pt x="889778" y="1789671"/>
                  <a:pt x="885253" y="1789690"/>
                  <a:pt x="847211" y="1765002"/>
                </a:cubicBezTo>
                <a:cubicBezTo>
                  <a:pt x="846296" y="1764402"/>
                  <a:pt x="845372" y="1763830"/>
                  <a:pt x="844429" y="1763287"/>
                </a:cubicBezTo>
                <a:lnTo>
                  <a:pt x="616601" y="1629804"/>
                </a:lnTo>
                <a:cubicBezTo>
                  <a:pt x="655434" y="1603477"/>
                  <a:pt x="679904" y="1564567"/>
                  <a:pt x="696068" y="1530287"/>
                </a:cubicBezTo>
                <a:cubicBezTo>
                  <a:pt x="702774" y="1533049"/>
                  <a:pt x="709536" y="1535687"/>
                  <a:pt x="716309" y="1538202"/>
                </a:cubicBezTo>
                <a:cubicBezTo>
                  <a:pt x="837848" y="1583169"/>
                  <a:pt x="937012" y="1583160"/>
                  <a:pt x="1058589" y="1538202"/>
                </a:cubicBezTo>
                <a:cubicBezTo>
                  <a:pt x="1067295" y="1534982"/>
                  <a:pt x="1076001" y="1531487"/>
                  <a:pt x="1084707" y="1527810"/>
                </a:cubicBezTo>
                <a:cubicBezTo>
                  <a:pt x="1097471" y="1566624"/>
                  <a:pt x="1114606" y="1605324"/>
                  <a:pt x="1135485" y="1643110"/>
                </a:cubicBezTo>
                <a:close/>
                <a:moveTo>
                  <a:pt x="1757220" y="2229603"/>
                </a:moveTo>
                <a:cubicBezTo>
                  <a:pt x="1756267" y="2230155"/>
                  <a:pt x="1755353" y="2230727"/>
                  <a:pt x="1754429" y="2231327"/>
                </a:cubicBezTo>
                <a:cubicBezTo>
                  <a:pt x="1716367" y="2256034"/>
                  <a:pt x="1711833" y="2256063"/>
                  <a:pt x="1673714" y="2231327"/>
                </a:cubicBezTo>
                <a:cubicBezTo>
                  <a:pt x="1672809" y="2230736"/>
                  <a:pt x="1671895" y="2230165"/>
                  <a:pt x="1670952" y="2229622"/>
                </a:cubicBezTo>
                <a:lnTo>
                  <a:pt x="1443142" y="2096053"/>
                </a:lnTo>
                <a:cubicBezTo>
                  <a:pt x="1482004" y="2069687"/>
                  <a:pt x="1506550" y="2030825"/>
                  <a:pt x="1522743" y="1996488"/>
                </a:cubicBezTo>
                <a:cubicBezTo>
                  <a:pt x="1529496" y="1999269"/>
                  <a:pt x="1536259" y="2001993"/>
                  <a:pt x="1543079" y="2004517"/>
                </a:cubicBezTo>
                <a:cubicBezTo>
                  <a:pt x="1603848" y="2026996"/>
                  <a:pt x="1659017" y="2038236"/>
                  <a:pt x="1714195" y="2038236"/>
                </a:cubicBezTo>
                <a:cubicBezTo>
                  <a:pt x="1769393" y="2038236"/>
                  <a:pt x="1824600" y="2026987"/>
                  <a:pt x="1885417" y="2004498"/>
                </a:cubicBezTo>
                <a:cubicBezTo>
                  <a:pt x="1892180" y="2001993"/>
                  <a:pt x="1898885" y="1999279"/>
                  <a:pt x="1905591" y="1996516"/>
                </a:cubicBezTo>
                <a:cubicBezTo>
                  <a:pt x="1921745" y="2030844"/>
                  <a:pt x="1946243" y="2069706"/>
                  <a:pt x="1985124" y="2096081"/>
                </a:cubicBezTo>
                <a:close/>
                <a:moveTo>
                  <a:pt x="2227098" y="1375353"/>
                </a:moveTo>
                <a:cubicBezTo>
                  <a:pt x="2227098" y="1561786"/>
                  <a:pt x="2044208" y="1793186"/>
                  <a:pt x="1835772" y="1870520"/>
                </a:cubicBezTo>
                <a:cubicBezTo>
                  <a:pt x="1746037" y="1903724"/>
                  <a:pt x="1682401" y="1903724"/>
                  <a:pt x="1592685" y="1870539"/>
                </a:cubicBezTo>
                <a:cubicBezTo>
                  <a:pt x="1384202" y="1793262"/>
                  <a:pt x="1201331" y="1561862"/>
                  <a:pt x="1201331" y="1375353"/>
                </a:cubicBezTo>
                <a:lnTo>
                  <a:pt x="1201331" y="1258319"/>
                </a:lnTo>
                <a:cubicBezTo>
                  <a:pt x="1303525" y="1235697"/>
                  <a:pt x="1356150" y="1182310"/>
                  <a:pt x="1392898" y="1144810"/>
                </a:cubicBezTo>
                <a:cubicBezTo>
                  <a:pt x="1429741" y="1107196"/>
                  <a:pt x="1436380" y="1100433"/>
                  <a:pt x="1476642" y="1110806"/>
                </a:cubicBezTo>
                <a:cubicBezTo>
                  <a:pt x="1505655" y="1118264"/>
                  <a:pt x="1530429" y="1124855"/>
                  <a:pt x="1551956" y="1130579"/>
                </a:cubicBezTo>
                <a:cubicBezTo>
                  <a:pt x="1627280" y="1150620"/>
                  <a:pt x="1668780" y="1161650"/>
                  <a:pt x="1714205" y="1161650"/>
                </a:cubicBezTo>
                <a:cubicBezTo>
                  <a:pt x="1759306" y="1161650"/>
                  <a:pt x="1800635" y="1150677"/>
                  <a:pt x="1875663" y="1130741"/>
                </a:cubicBezTo>
                <a:cubicBezTo>
                  <a:pt x="1897361" y="1124979"/>
                  <a:pt x="1922383" y="1118330"/>
                  <a:pt x="1951863" y="1110777"/>
                </a:cubicBezTo>
                <a:cubicBezTo>
                  <a:pt x="1991887" y="1100452"/>
                  <a:pt x="1998545" y="1107205"/>
                  <a:pt x="2035397" y="1144791"/>
                </a:cubicBezTo>
                <a:cubicBezTo>
                  <a:pt x="2072183" y="1182300"/>
                  <a:pt x="2124866" y="1235697"/>
                  <a:pt x="2227088" y="1258319"/>
                </a:cubicBezTo>
                <a:lnTo>
                  <a:pt x="2227088" y="1375353"/>
                </a:lnTo>
                <a:close/>
                <a:moveTo>
                  <a:pt x="2584028" y="1763278"/>
                </a:moveTo>
                <a:cubicBezTo>
                  <a:pt x="2583075" y="1763839"/>
                  <a:pt x="2582142" y="1764411"/>
                  <a:pt x="2581218" y="1765011"/>
                </a:cubicBezTo>
                <a:cubicBezTo>
                  <a:pt x="2543147" y="1789719"/>
                  <a:pt x="2538613" y="1789747"/>
                  <a:pt x="2500522" y="1765011"/>
                </a:cubicBezTo>
                <a:cubicBezTo>
                  <a:pt x="2499608" y="1764420"/>
                  <a:pt x="2498693" y="1763849"/>
                  <a:pt x="2497750" y="1763306"/>
                </a:cubicBezTo>
                <a:lnTo>
                  <a:pt x="2292887" y="1643196"/>
                </a:lnTo>
                <a:cubicBezTo>
                  <a:pt x="2313785" y="1605391"/>
                  <a:pt x="2330939" y="1566672"/>
                  <a:pt x="2343712" y="1527848"/>
                </a:cubicBezTo>
                <a:cubicBezTo>
                  <a:pt x="2352332" y="1531496"/>
                  <a:pt x="2360971" y="1534982"/>
                  <a:pt x="2369611" y="1538211"/>
                </a:cubicBezTo>
                <a:cubicBezTo>
                  <a:pt x="2430380" y="1560690"/>
                  <a:pt x="2485539" y="1571930"/>
                  <a:pt x="2540727" y="1571930"/>
                </a:cubicBezTo>
                <a:cubicBezTo>
                  <a:pt x="2595915" y="1571930"/>
                  <a:pt x="2651122" y="1560681"/>
                  <a:pt x="2711920" y="1538192"/>
                </a:cubicBezTo>
                <a:cubicBezTo>
                  <a:pt x="2718721" y="1535678"/>
                  <a:pt x="2725465" y="1532944"/>
                  <a:pt x="2732208" y="1530182"/>
                </a:cubicBezTo>
                <a:cubicBezTo>
                  <a:pt x="2748429" y="1564548"/>
                  <a:pt x="2773013" y="1603458"/>
                  <a:pt x="2811980" y="1629832"/>
                </a:cubicBezTo>
                <a:close/>
              </a:path>
            </a:pathLst>
          </a:custGeom>
          <a:solidFill>
            <a:schemeClr val="tx2"/>
          </a:solidFill>
          <a:ln w="9525" cap="flat">
            <a:noFill/>
            <a:prstDash val="solid"/>
            <a:miter/>
          </a:ln>
        </p:spPr>
        <p:txBody>
          <a:bodyPr rtlCol="0" anchor="ctr"/>
          <a:lstStyle/>
          <a:p>
            <a:endParaRPr lang="en-US"/>
          </a:p>
        </p:txBody>
      </p:sp>
      <p:sp>
        <p:nvSpPr>
          <p:cNvPr id="8" name="Rectangle 12">
            <a:extLst>
              <a:ext uri="{FF2B5EF4-FFF2-40B4-BE49-F238E27FC236}">
                <a16:creationId xmlns:a16="http://schemas.microsoft.com/office/drawing/2014/main" id="{9406322E-9A17-5C4D-9008-8F991E58BCE8}"/>
              </a:ext>
            </a:extLst>
          </p:cNvPr>
          <p:cNvSpPr/>
          <p:nvPr userDrawn="1"/>
        </p:nvSpPr>
        <p:spPr>
          <a:xfrm>
            <a:off x="9457764" y="6579030"/>
            <a:ext cx="2734235" cy="278969"/>
          </a:xfrm>
          <a:prstGeom prst="rect">
            <a:avLst/>
          </a:prstGeom>
          <a:solidFill>
            <a:schemeClr val="accent3"/>
          </a:solidFill>
        </p:spPr>
        <p:txBody>
          <a:bodyPr wrap="square" lIns="0" tIns="0" rIns="0" bIns="0" rtlCol="0" anchor="ctr" anchorCtr="0">
            <a:noAutofit/>
          </a:bodyPr>
          <a:lstStyle/>
          <a:p>
            <a:pPr algn="ctr"/>
            <a:r>
              <a:rPr lang="en-US" sz="800" b="1">
                <a:solidFill>
                  <a:schemeClr val="bg1"/>
                </a:solidFill>
                <a:cs typeface="Arial" panose="020B0604020202020204" pitchFamily="34" charset="0"/>
              </a:rPr>
              <a:t>ORGANIZACIÓN Y EQUIPO</a:t>
            </a:r>
          </a:p>
        </p:txBody>
      </p:sp>
    </p:spTree>
    <p:extLst>
      <p:ext uri="{BB962C8B-B14F-4D97-AF65-F5344CB8AC3E}">
        <p14:creationId xmlns:p14="http://schemas.microsoft.com/office/powerpoint/2010/main" val="283215235"/>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emplate Propuesta 2022 - Oferta Económica">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50040F2E-A856-F74D-B747-8F63180F396D}"/>
              </a:ext>
            </a:extLst>
          </p:cNvPr>
          <p:cNvSpPr>
            <a:spLocks noGrp="1"/>
          </p:cNvSpPr>
          <p:nvPr>
            <p:ph type="title"/>
          </p:nvPr>
        </p:nvSpPr>
        <p:spPr>
          <a:xfrm>
            <a:off x="1138892" y="36122"/>
            <a:ext cx="10610449" cy="276999"/>
          </a:xfrm>
        </p:spPr>
        <p:txBody>
          <a:bodyPr/>
          <a:lstStyle>
            <a:lvl1pPr>
              <a:defRPr cap="all" baseline="0"/>
            </a:lvl1pPr>
          </a:lstStyle>
          <a:p>
            <a:r>
              <a:rPr lang="es-ES_tradnl" noProof="0"/>
              <a:t>Haga clic para modificar el estilo de título del patrón</a:t>
            </a:r>
          </a:p>
        </p:txBody>
      </p:sp>
      <p:sp>
        <p:nvSpPr>
          <p:cNvPr id="7" name="Marcador de texto 5">
            <a:extLst>
              <a:ext uri="{FF2B5EF4-FFF2-40B4-BE49-F238E27FC236}">
                <a16:creationId xmlns:a16="http://schemas.microsoft.com/office/drawing/2014/main" id="{CC6303D6-D0FC-984A-8419-A50470327A59}"/>
              </a:ext>
            </a:extLst>
          </p:cNvPr>
          <p:cNvSpPr>
            <a:spLocks noGrp="1"/>
          </p:cNvSpPr>
          <p:nvPr>
            <p:ph type="body" sz="quarter" idx="10"/>
          </p:nvPr>
        </p:nvSpPr>
        <p:spPr>
          <a:xfrm>
            <a:off x="442659" y="671500"/>
            <a:ext cx="11306682" cy="5741999"/>
          </a:xfrm>
        </p:spPr>
        <p:txBody>
          <a:bodyPr/>
          <a:lstStyle/>
          <a:p>
            <a:pPr lvl="0"/>
            <a:r>
              <a:rPr lang="es-ES_tradnl" noProof="0"/>
              <a:t>Haga clic para modificar los estilos de texto del patrón</a:t>
            </a:r>
          </a:p>
          <a:p>
            <a:pPr lvl="1"/>
            <a:r>
              <a:rPr lang="es-ES_tradnl" noProof="0"/>
              <a:t>Segundo nivel</a:t>
            </a:r>
          </a:p>
          <a:p>
            <a:pPr lvl="2"/>
            <a:r>
              <a:rPr lang="es-ES_tradnl" noProof="0"/>
              <a:t>Tercer nivel</a:t>
            </a:r>
          </a:p>
          <a:p>
            <a:pPr lvl="3"/>
            <a:r>
              <a:rPr lang="es-ES_tradnl" noProof="0"/>
              <a:t>Cuarto nivel</a:t>
            </a:r>
          </a:p>
          <a:p>
            <a:pPr lvl="4"/>
            <a:r>
              <a:rPr lang="es-ES_tradnl" noProof="0"/>
              <a:t>Quinto nivel</a:t>
            </a:r>
          </a:p>
        </p:txBody>
      </p:sp>
      <p:sp>
        <p:nvSpPr>
          <p:cNvPr id="4" name="Marcador de texto 4">
            <a:extLst>
              <a:ext uri="{FF2B5EF4-FFF2-40B4-BE49-F238E27FC236}">
                <a16:creationId xmlns:a16="http://schemas.microsoft.com/office/drawing/2014/main" id="{DED7AFAC-0516-FB48-9E02-44CC62A80883}"/>
              </a:ext>
            </a:extLst>
          </p:cNvPr>
          <p:cNvSpPr>
            <a:spLocks noGrp="1"/>
          </p:cNvSpPr>
          <p:nvPr>
            <p:ph type="body" sz="quarter" idx="11"/>
          </p:nvPr>
        </p:nvSpPr>
        <p:spPr>
          <a:xfrm>
            <a:off x="1138639" y="290195"/>
            <a:ext cx="10610449" cy="217488"/>
          </a:xfrm>
        </p:spPr>
        <p:txBody>
          <a:bodyPr/>
          <a:lstStyle>
            <a:lvl1pPr>
              <a:defRPr sz="1200">
                <a:solidFill>
                  <a:schemeClr val="tx2"/>
                </a:solidFill>
              </a:defRPr>
            </a:lvl1pPr>
          </a:lstStyle>
          <a:p>
            <a:pPr lvl="0"/>
            <a:r>
              <a:rPr lang="es-ES_tradnl" noProof="0"/>
              <a:t>Haga clic para modificar los estilos de texto del patrón</a:t>
            </a:r>
          </a:p>
        </p:txBody>
      </p:sp>
      <p:sp>
        <p:nvSpPr>
          <p:cNvPr id="9" name="Rectángulo 8">
            <a:extLst>
              <a:ext uri="{FF2B5EF4-FFF2-40B4-BE49-F238E27FC236}">
                <a16:creationId xmlns:a16="http://schemas.microsoft.com/office/drawing/2014/main" id="{9D31E6A8-7FC5-D346-B913-27F3CB84C0BF}"/>
              </a:ext>
            </a:extLst>
          </p:cNvPr>
          <p:cNvSpPr/>
          <p:nvPr userDrawn="1"/>
        </p:nvSpPr>
        <p:spPr bwMode="auto">
          <a:xfrm>
            <a:off x="596159" y="67814"/>
            <a:ext cx="405613" cy="405613"/>
          </a:xfrm>
          <a:prstGeom prst="rect">
            <a:avLst/>
          </a:prstGeom>
          <a:solidFill>
            <a:schemeClr val="bg1"/>
          </a:solidFill>
          <a:ln w="25400" cap="flat">
            <a:solidFill>
              <a:schemeClr val="accent4"/>
            </a:solidFill>
            <a:miter lim="800000"/>
          </a:ln>
        </p:spPr>
        <p:txBody>
          <a:bodyPr lIns="0" tIns="0" rIns="0" bIns="0" rtlCol="0" anchor="ctr">
            <a:noAutofit/>
          </a:bodyPr>
          <a:lstStyle/>
          <a:p>
            <a:pPr algn="ctr"/>
            <a:endParaRPr lang="es-ES_tradnl" sz="1400" noProof="0"/>
          </a:p>
        </p:txBody>
      </p:sp>
      <p:sp>
        <p:nvSpPr>
          <p:cNvPr id="8" name="Forma libre 7">
            <a:extLst>
              <a:ext uri="{FF2B5EF4-FFF2-40B4-BE49-F238E27FC236}">
                <a16:creationId xmlns:a16="http://schemas.microsoft.com/office/drawing/2014/main" id="{1BCAD8B1-2543-DA47-A4DB-61BA2B292295}"/>
              </a:ext>
            </a:extLst>
          </p:cNvPr>
          <p:cNvSpPr/>
          <p:nvPr userDrawn="1"/>
        </p:nvSpPr>
        <p:spPr>
          <a:xfrm>
            <a:off x="691052" y="135729"/>
            <a:ext cx="215826" cy="269783"/>
          </a:xfrm>
          <a:custGeom>
            <a:avLst/>
            <a:gdLst>
              <a:gd name="connsiteX0" fmla="*/ 1600200 w 3657600"/>
              <a:gd name="connsiteY0" fmla="*/ 3657600 h 4572000"/>
              <a:gd name="connsiteX1" fmla="*/ 1524000 w 3657600"/>
              <a:gd name="connsiteY1" fmla="*/ 3733800 h 4572000"/>
              <a:gd name="connsiteX2" fmla="*/ 1524000 w 3657600"/>
              <a:gd name="connsiteY2" fmla="*/ 4038600 h 4572000"/>
              <a:gd name="connsiteX3" fmla="*/ 1600200 w 3657600"/>
              <a:gd name="connsiteY3" fmla="*/ 4114800 h 4572000"/>
              <a:gd name="connsiteX4" fmla="*/ 2057400 w 3657600"/>
              <a:gd name="connsiteY4" fmla="*/ 4114800 h 4572000"/>
              <a:gd name="connsiteX5" fmla="*/ 2133600 w 3657600"/>
              <a:gd name="connsiteY5" fmla="*/ 4038600 h 4572000"/>
              <a:gd name="connsiteX6" fmla="*/ 2133600 w 3657600"/>
              <a:gd name="connsiteY6" fmla="*/ 3733800 h 4572000"/>
              <a:gd name="connsiteX7" fmla="*/ 2057400 w 3657600"/>
              <a:gd name="connsiteY7" fmla="*/ 3657600 h 4572000"/>
              <a:gd name="connsiteX8" fmla="*/ 533400 w 3657600"/>
              <a:gd name="connsiteY8" fmla="*/ 3657600 h 4572000"/>
              <a:gd name="connsiteX9" fmla="*/ 457200 w 3657600"/>
              <a:gd name="connsiteY9" fmla="*/ 3733800 h 4572000"/>
              <a:gd name="connsiteX10" fmla="*/ 457200 w 3657600"/>
              <a:gd name="connsiteY10" fmla="*/ 4038600 h 4572000"/>
              <a:gd name="connsiteX11" fmla="*/ 533400 w 3657600"/>
              <a:gd name="connsiteY11" fmla="*/ 4114800 h 4572000"/>
              <a:gd name="connsiteX12" fmla="*/ 990600 w 3657600"/>
              <a:gd name="connsiteY12" fmla="*/ 4114800 h 4572000"/>
              <a:gd name="connsiteX13" fmla="*/ 1066800 w 3657600"/>
              <a:gd name="connsiteY13" fmla="*/ 4038600 h 4572000"/>
              <a:gd name="connsiteX14" fmla="*/ 1066800 w 3657600"/>
              <a:gd name="connsiteY14" fmla="*/ 3733800 h 4572000"/>
              <a:gd name="connsiteX15" fmla="*/ 990600 w 3657600"/>
              <a:gd name="connsiteY15" fmla="*/ 3657600 h 4572000"/>
              <a:gd name="connsiteX16" fmla="*/ 1600200 w 3657600"/>
              <a:gd name="connsiteY16" fmla="*/ 3505200 h 4572000"/>
              <a:gd name="connsiteX17" fmla="*/ 2057400 w 3657600"/>
              <a:gd name="connsiteY17" fmla="*/ 3505200 h 4572000"/>
              <a:gd name="connsiteX18" fmla="*/ 2286000 w 3657600"/>
              <a:gd name="connsiteY18" fmla="*/ 3733800 h 4572000"/>
              <a:gd name="connsiteX19" fmla="*/ 2286000 w 3657600"/>
              <a:gd name="connsiteY19" fmla="*/ 4038600 h 4572000"/>
              <a:gd name="connsiteX20" fmla="*/ 2057400 w 3657600"/>
              <a:gd name="connsiteY20" fmla="*/ 4267200 h 4572000"/>
              <a:gd name="connsiteX21" fmla="*/ 1600200 w 3657600"/>
              <a:gd name="connsiteY21" fmla="*/ 4267200 h 4572000"/>
              <a:gd name="connsiteX22" fmla="*/ 1371600 w 3657600"/>
              <a:gd name="connsiteY22" fmla="*/ 4038600 h 4572000"/>
              <a:gd name="connsiteX23" fmla="*/ 1371600 w 3657600"/>
              <a:gd name="connsiteY23" fmla="*/ 3733800 h 4572000"/>
              <a:gd name="connsiteX24" fmla="*/ 1600200 w 3657600"/>
              <a:gd name="connsiteY24" fmla="*/ 3505200 h 4572000"/>
              <a:gd name="connsiteX25" fmla="*/ 533400 w 3657600"/>
              <a:gd name="connsiteY25" fmla="*/ 3505200 h 4572000"/>
              <a:gd name="connsiteX26" fmla="*/ 990600 w 3657600"/>
              <a:gd name="connsiteY26" fmla="*/ 3505200 h 4572000"/>
              <a:gd name="connsiteX27" fmla="*/ 1219200 w 3657600"/>
              <a:gd name="connsiteY27" fmla="*/ 3733800 h 4572000"/>
              <a:gd name="connsiteX28" fmla="*/ 1219200 w 3657600"/>
              <a:gd name="connsiteY28" fmla="*/ 4038600 h 4572000"/>
              <a:gd name="connsiteX29" fmla="*/ 990600 w 3657600"/>
              <a:gd name="connsiteY29" fmla="*/ 4267200 h 4572000"/>
              <a:gd name="connsiteX30" fmla="*/ 533400 w 3657600"/>
              <a:gd name="connsiteY30" fmla="*/ 4267200 h 4572000"/>
              <a:gd name="connsiteX31" fmla="*/ 304800 w 3657600"/>
              <a:gd name="connsiteY31" fmla="*/ 4038600 h 4572000"/>
              <a:gd name="connsiteX32" fmla="*/ 304800 w 3657600"/>
              <a:gd name="connsiteY32" fmla="*/ 3733800 h 4572000"/>
              <a:gd name="connsiteX33" fmla="*/ 533400 w 3657600"/>
              <a:gd name="connsiteY33" fmla="*/ 3505200 h 4572000"/>
              <a:gd name="connsiteX34" fmla="*/ 2667000 w 3657600"/>
              <a:gd name="connsiteY34" fmla="*/ 2743200 h 4572000"/>
              <a:gd name="connsiteX35" fmla="*/ 2590800 w 3657600"/>
              <a:gd name="connsiteY35" fmla="*/ 2819400 h 4572000"/>
              <a:gd name="connsiteX36" fmla="*/ 2590800 w 3657600"/>
              <a:gd name="connsiteY36" fmla="*/ 4038600 h 4572000"/>
              <a:gd name="connsiteX37" fmla="*/ 2667000 w 3657600"/>
              <a:gd name="connsiteY37" fmla="*/ 4114800 h 4572000"/>
              <a:gd name="connsiteX38" fmla="*/ 3124200 w 3657600"/>
              <a:gd name="connsiteY38" fmla="*/ 4114800 h 4572000"/>
              <a:gd name="connsiteX39" fmla="*/ 3200400 w 3657600"/>
              <a:gd name="connsiteY39" fmla="*/ 4038600 h 4572000"/>
              <a:gd name="connsiteX40" fmla="*/ 3200400 w 3657600"/>
              <a:gd name="connsiteY40" fmla="*/ 2819400 h 4572000"/>
              <a:gd name="connsiteX41" fmla="*/ 3124200 w 3657600"/>
              <a:gd name="connsiteY41" fmla="*/ 2743200 h 4572000"/>
              <a:gd name="connsiteX42" fmla="*/ 1600200 w 3657600"/>
              <a:gd name="connsiteY42" fmla="*/ 2743200 h 4572000"/>
              <a:gd name="connsiteX43" fmla="*/ 1524000 w 3657600"/>
              <a:gd name="connsiteY43" fmla="*/ 2819400 h 4572000"/>
              <a:gd name="connsiteX44" fmla="*/ 1524000 w 3657600"/>
              <a:gd name="connsiteY44" fmla="*/ 3124200 h 4572000"/>
              <a:gd name="connsiteX45" fmla="*/ 1600200 w 3657600"/>
              <a:gd name="connsiteY45" fmla="*/ 3200400 h 4572000"/>
              <a:gd name="connsiteX46" fmla="*/ 2057400 w 3657600"/>
              <a:gd name="connsiteY46" fmla="*/ 3200400 h 4572000"/>
              <a:gd name="connsiteX47" fmla="*/ 2133600 w 3657600"/>
              <a:gd name="connsiteY47" fmla="*/ 3124200 h 4572000"/>
              <a:gd name="connsiteX48" fmla="*/ 2133600 w 3657600"/>
              <a:gd name="connsiteY48" fmla="*/ 2819400 h 4572000"/>
              <a:gd name="connsiteX49" fmla="*/ 2057400 w 3657600"/>
              <a:gd name="connsiteY49" fmla="*/ 2743200 h 4572000"/>
              <a:gd name="connsiteX50" fmla="*/ 533400 w 3657600"/>
              <a:gd name="connsiteY50" fmla="*/ 2743200 h 4572000"/>
              <a:gd name="connsiteX51" fmla="*/ 457200 w 3657600"/>
              <a:gd name="connsiteY51" fmla="*/ 2819400 h 4572000"/>
              <a:gd name="connsiteX52" fmla="*/ 457200 w 3657600"/>
              <a:gd name="connsiteY52" fmla="*/ 3124200 h 4572000"/>
              <a:gd name="connsiteX53" fmla="*/ 533400 w 3657600"/>
              <a:gd name="connsiteY53" fmla="*/ 3200400 h 4572000"/>
              <a:gd name="connsiteX54" fmla="*/ 990600 w 3657600"/>
              <a:gd name="connsiteY54" fmla="*/ 3200400 h 4572000"/>
              <a:gd name="connsiteX55" fmla="*/ 1066800 w 3657600"/>
              <a:gd name="connsiteY55" fmla="*/ 3124200 h 4572000"/>
              <a:gd name="connsiteX56" fmla="*/ 1066800 w 3657600"/>
              <a:gd name="connsiteY56" fmla="*/ 2819400 h 4572000"/>
              <a:gd name="connsiteX57" fmla="*/ 990600 w 3657600"/>
              <a:gd name="connsiteY57" fmla="*/ 2743200 h 4572000"/>
              <a:gd name="connsiteX58" fmla="*/ 2667000 w 3657600"/>
              <a:gd name="connsiteY58" fmla="*/ 2590800 h 4572000"/>
              <a:gd name="connsiteX59" fmla="*/ 3124200 w 3657600"/>
              <a:gd name="connsiteY59" fmla="*/ 2590800 h 4572000"/>
              <a:gd name="connsiteX60" fmla="*/ 3352800 w 3657600"/>
              <a:gd name="connsiteY60" fmla="*/ 2819400 h 4572000"/>
              <a:gd name="connsiteX61" fmla="*/ 3352800 w 3657600"/>
              <a:gd name="connsiteY61" fmla="*/ 4038600 h 4572000"/>
              <a:gd name="connsiteX62" fmla="*/ 3124200 w 3657600"/>
              <a:gd name="connsiteY62" fmla="*/ 4267200 h 4572000"/>
              <a:gd name="connsiteX63" fmla="*/ 2667000 w 3657600"/>
              <a:gd name="connsiteY63" fmla="*/ 4267200 h 4572000"/>
              <a:gd name="connsiteX64" fmla="*/ 2438400 w 3657600"/>
              <a:gd name="connsiteY64" fmla="*/ 4038600 h 4572000"/>
              <a:gd name="connsiteX65" fmla="*/ 2438400 w 3657600"/>
              <a:gd name="connsiteY65" fmla="*/ 2819400 h 4572000"/>
              <a:gd name="connsiteX66" fmla="*/ 2667000 w 3657600"/>
              <a:gd name="connsiteY66" fmla="*/ 2590800 h 4572000"/>
              <a:gd name="connsiteX67" fmla="*/ 1600200 w 3657600"/>
              <a:gd name="connsiteY67" fmla="*/ 2590800 h 4572000"/>
              <a:gd name="connsiteX68" fmla="*/ 2057400 w 3657600"/>
              <a:gd name="connsiteY68" fmla="*/ 2590800 h 4572000"/>
              <a:gd name="connsiteX69" fmla="*/ 2286000 w 3657600"/>
              <a:gd name="connsiteY69" fmla="*/ 2819400 h 4572000"/>
              <a:gd name="connsiteX70" fmla="*/ 2286000 w 3657600"/>
              <a:gd name="connsiteY70" fmla="*/ 3124200 h 4572000"/>
              <a:gd name="connsiteX71" fmla="*/ 2057400 w 3657600"/>
              <a:gd name="connsiteY71" fmla="*/ 3352800 h 4572000"/>
              <a:gd name="connsiteX72" fmla="*/ 1600200 w 3657600"/>
              <a:gd name="connsiteY72" fmla="*/ 3352800 h 4572000"/>
              <a:gd name="connsiteX73" fmla="*/ 1371600 w 3657600"/>
              <a:gd name="connsiteY73" fmla="*/ 3124200 h 4572000"/>
              <a:gd name="connsiteX74" fmla="*/ 1371600 w 3657600"/>
              <a:gd name="connsiteY74" fmla="*/ 2819400 h 4572000"/>
              <a:gd name="connsiteX75" fmla="*/ 1600200 w 3657600"/>
              <a:gd name="connsiteY75" fmla="*/ 2590800 h 4572000"/>
              <a:gd name="connsiteX76" fmla="*/ 533400 w 3657600"/>
              <a:gd name="connsiteY76" fmla="*/ 2590800 h 4572000"/>
              <a:gd name="connsiteX77" fmla="*/ 990600 w 3657600"/>
              <a:gd name="connsiteY77" fmla="*/ 2590800 h 4572000"/>
              <a:gd name="connsiteX78" fmla="*/ 1219200 w 3657600"/>
              <a:gd name="connsiteY78" fmla="*/ 2819400 h 4572000"/>
              <a:gd name="connsiteX79" fmla="*/ 1219200 w 3657600"/>
              <a:gd name="connsiteY79" fmla="*/ 3124200 h 4572000"/>
              <a:gd name="connsiteX80" fmla="*/ 990600 w 3657600"/>
              <a:gd name="connsiteY80" fmla="*/ 3352800 h 4572000"/>
              <a:gd name="connsiteX81" fmla="*/ 533400 w 3657600"/>
              <a:gd name="connsiteY81" fmla="*/ 3352800 h 4572000"/>
              <a:gd name="connsiteX82" fmla="*/ 304800 w 3657600"/>
              <a:gd name="connsiteY82" fmla="*/ 3124200 h 4572000"/>
              <a:gd name="connsiteX83" fmla="*/ 304800 w 3657600"/>
              <a:gd name="connsiteY83" fmla="*/ 2819400 h 4572000"/>
              <a:gd name="connsiteX84" fmla="*/ 533400 w 3657600"/>
              <a:gd name="connsiteY84" fmla="*/ 2590800 h 4572000"/>
              <a:gd name="connsiteX85" fmla="*/ 2667000 w 3657600"/>
              <a:gd name="connsiteY85" fmla="*/ 1828800 h 4572000"/>
              <a:gd name="connsiteX86" fmla="*/ 2590800 w 3657600"/>
              <a:gd name="connsiteY86" fmla="*/ 1905000 h 4572000"/>
              <a:gd name="connsiteX87" fmla="*/ 2590800 w 3657600"/>
              <a:gd name="connsiteY87" fmla="*/ 2209800 h 4572000"/>
              <a:gd name="connsiteX88" fmla="*/ 2667000 w 3657600"/>
              <a:gd name="connsiteY88" fmla="*/ 2286000 h 4572000"/>
              <a:gd name="connsiteX89" fmla="*/ 3124200 w 3657600"/>
              <a:gd name="connsiteY89" fmla="*/ 2286000 h 4572000"/>
              <a:gd name="connsiteX90" fmla="*/ 3200400 w 3657600"/>
              <a:gd name="connsiteY90" fmla="*/ 2209800 h 4572000"/>
              <a:gd name="connsiteX91" fmla="*/ 3200400 w 3657600"/>
              <a:gd name="connsiteY91" fmla="*/ 1905000 h 4572000"/>
              <a:gd name="connsiteX92" fmla="*/ 3124200 w 3657600"/>
              <a:gd name="connsiteY92" fmla="*/ 1828800 h 4572000"/>
              <a:gd name="connsiteX93" fmla="*/ 1600200 w 3657600"/>
              <a:gd name="connsiteY93" fmla="*/ 1828800 h 4572000"/>
              <a:gd name="connsiteX94" fmla="*/ 1524000 w 3657600"/>
              <a:gd name="connsiteY94" fmla="*/ 1905000 h 4572000"/>
              <a:gd name="connsiteX95" fmla="*/ 1524000 w 3657600"/>
              <a:gd name="connsiteY95" fmla="*/ 2209800 h 4572000"/>
              <a:gd name="connsiteX96" fmla="*/ 1600200 w 3657600"/>
              <a:gd name="connsiteY96" fmla="*/ 2286000 h 4572000"/>
              <a:gd name="connsiteX97" fmla="*/ 2057400 w 3657600"/>
              <a:gd name="connsiteY97" fmla="*/ 2286000 h 4572000"/>
              <a:gd name="connsiteX98" fmla="*/ 2133600 w 3657600"/>
              <a:gd name="connsiteY98" fmla="*/ 2209800 h 4572000"/>
              <a:gd name="connsiteX99" fmla="*/ 2133600 w 3657600"/>
              <a:gd name="connsiteY99" fmla="*/ 1905000 h 4572000"/>
              <a:gd name="connsiteX100" fmla="*/ 2057400 w 3657600"/>
              <a:gd name="connsiteY100" fmla="*/ 1828800 h 4572000"/>
              <a:gd name="connsiteX101" fmla="*/ 533400 w 3657600"/>
              <a:gd name="connsiteY101" fmla="*/ 1828800 h 4572000"/>
              <a:gd name="connsiteX102" fmla="*/ 457200 w 3657600"/>
              <a:gd name="connsiteY102" fmla="*/ 1905000 h 4572000"/>
              <a:gd name="connsiteX103" fmla="*/ 457200 w 3657600"/>
              <a:gd name="connsiteY103" fmla="*/ 2209800 h 4572000"/>
              <a:gd name="connsiteX104" fmla="*/ 533400 w 3657600"/>
              <a:gd name="connsiteY104" fmla="*/ 2286000 h 4572000"/>
              <a:gd name="connsiteX105" fmla="*/ 990600 w 3657600"/>
              <a:gd name="connsiteY105" fmla="*/ 2286000 h 4572000"/>
              <a:gd name="connsiteX106" fmla="*/ 1066800 w 3657600"/>
              <a:gd name="connsiteY106" fmla="*/ 2209800 h 4572000"/>
              <a:gd name="connsiteX107" fmla="*/ 1066800 w 3657600"/>
              <a:gd name="connsiteY107" fmla="*/ 1905000 h 4572000"/>
              <a:gd name="connsiteX108" fmla="*/ 990600 w 3657600"/>
              <a:gd name="connsiteY108" fmla="*/ 1828800 h 4572000"/>
              <a:gd name="connsiteX109" fmla="*/ 2667000 w 3657600"/>
              <a:gd name="connsiteY109" fmla="*/ 1676400 h 4572000"/>
              <a:gd name="connsiteX110" fmla="*/ 3124200 w 3657600"/>
              <a:gd name="connsiteY110" fmla="*/ 1676400 h 4572000"/>
              <a:gd name="connsiteX111" fmla="*/ 3352800 w 3657600"/>
              <a:gd name="connsiteY111" fmla="*/ 1905000 h 4572000"/>
              <a:gd name="connsiteX112" fmla="*/ 3352800 w 3657600"/>
              <a:gd name="connsiteY112" fmla="*/ 2209800 h 4572000"/>
              <a:gd name="connsiteX113" fmla="*/ 3124200 w 3657600"/>
              <a:gd name="connsiteY113" fmla="*/ 2438400 h 4572000"/>
              <a:gd name="connsiteX114" fmla="*/ 2667000 w 3657600"/>
              <a:gd name="connsiteY114" fmla="*/ 2438400 h 4572000"/>
              <a:gd name="connsiteX115" fmla="*/ 2438400 w 3657600"/>
              <a:gd name="connsiteY115" fmla="*/ 2209800 h 4572000"/>
              <a:gd name="connsiteX116" fmla="*/ 2438400 w 3657600"/>
              <a:gd name="connsiteY116" fmla="*/ 1905000 h 4572000"/>
              <a:gd name="connsiteX117" fmla="*/ 2667000 w 3657600"/>
              <a:gd name="connsiteY117" fmla="*/ 1676400 h 4572000"/>
              <a:gd name="connsiteX118" fmla="*/ 1600200 w 3657600"/>
              <a:gd name="connsiteY118" fmla="*/ 1676400 h 4572000"/>
              <a:gd name="connsiteX119" fmla="*/ 2057400 w 3657600"/>
              <a:gd name="connsiteY119" fmla="*/ 1676400 h 4572000"/>
              <a:gd name="connsiteX120" fmla="*/ 2286000 w 3657600"/>
              <a:gd name="connsiteY120" fmla="*/ 1905000 h 4572000"/>
              <a:gd name="connsiteX121" fmla="*/ 2286000 w 3657600"/>
              <a:gd name="connsiteY121" fmla="*/ 2209800 h 4572000"/>
              <a:gd name="connsiteX122" fmla="*/ 2057400 w 3657600"/>
              <a:gd name="connsiteY122" fmla="*/ 2438400 h 4572000"/>
              <a:gd name="connsiteX123" fmla="*/ 1600200 w 3657600"/>
              <a:gd name="connsiteY123" fmla="*/ 2438400 h 4572000"/>
              <a:gd name="connsiteX124" fmla="*/ 1371600 w 3657600"/>
              <a:gd name="connsiteY124" fmla="*/ 2209800 h 4572000"/>
              <a:gd name="connsiteX125" fmla="*/ 1371600 w 3657600"/>
              <a:gd name="connsiteY125" fmla="*/ 1905000 h 4572000"/>
              <a:gd name="connsiteX126" fmla="*/ 1600200 w 3657600"/>
              <a:gd name="connsiteY126" fmla="*/ 1676400 h 4572000"/>
              <a:gd name="connsiteX127" fmla="*/ 533400 w 3657600"/>
              <a:gd name="connsiteY127" fmla="*/ 1676400 h 4572000"/>
              <a:gd name="connsiteX128" fmla="*/ 990600 w 3657600"/>
              <a:gd name="connsiteY128" fmla="*/ 1676400 h 4572000"/>
              <a:gd name="connsiteX129" fmla="*/ 1219200 w 3657600"/>
              <a:gd name="connsiteY129" fmla="*/ 1905000 h 4572000"/>
              <a:gd name="connsiteX130" fmla="*/ 1219200 w 3657600"/>
              <a:gd name="connsiteY130" fmla="*/ 2209800 h 4572000"/>
              <a:gd name="connsiteX131" fmla="*/ 990600 w 3657600"/>
              <a:gd name="connsiteY131" fmla="*/ 2438400 h 4572000"/>
              <a:gd name="connsiteX132" fmla="*/ 533400 w 3657600"/>
              <a:gd name="connsiteY132" fmla="*/ 2438400 h 4572000"/>
              <a:gd name="connsiteX133" fmla="*/ 304800 w 3657600"/>
              <a:gd name="connsiteY133" fmla="*/ 2209800 h 4572000"/>
              <a:gd name="connsiteX134" fmla="*/ 304800 w 3657600"/>
              <a:gd name="connsiteY134" fmla="*/ 1905000 h 4572000"/>
              <a:gd name="connsiteX135" fmla="*/ 533400 w 3657600"/>
              <a:gd name="connsiteY135" fmla="*/ 1676400 h 4572000"/>
              <a:gd name="connsiteX136" fmla="*/ 2895600 w 3657600"/>
              <a:gd name="connsiteY136" fmla="*/ 685800 h 4572000"/>
              <a:gd name="connsiteX137" fmla="*/ 2819400 w 3657600"/>
              <a:gd name="connsiteY137" fmla="*/ 762000 h 4572000"/>
              <a:gd name="connsiteX138" fmla="*/ 2819400 w 3657600"/>
              <a:gd name="connsiteY138" fmla="*/ 914400 h 4572000"/>
              <a:gd name="connsiteX139" fmla="*/ 2895600 w 3657600"/>
              <a:gd name="connsiteY139" fmla="*/ 990600 h 4572000"/>
              <a:gd name="connsiteX140" fmla="*/ 2971800 w 3657600"/>
              <a:gd name="connsiteY140" fmla="*/ 914400 h 4572000"/>
              <a:gd name="connsiteX141" fmla="*/ 2971800 w 3657600"/>
              <a:gd name="connsiteY141" fmla="*/ 762000 h 4572000"/>
              <a:gd name="connsiteX142" fmla="*/ 2895600 w 3657600"/>
              <a:gd name="connsiteY142" fmla="*/ 685800 h 4572000"/>
              <a:gd name="connsiteX143" fmla="*/ 2895600 w 3657600"/>
              <a:gd name="connsiteY143" fmla="*/ 533400 h 4572000"/>
              <a:gd name="connsiteX144" fmla="*/ 3124200 w 3657600"/>
              <a:gd name="connsiteY144" fmla="*/ 762000 h 4572000"/>
              <a:gd name="connsiteX145" fmla="*/ 3124200 w 3657600"/>
              <a:gd name="connsiteY145" fmla="*/ 914400 h 4572000"/>
              <a:gd name="connsiteX146" fmla="*/ 2895600 w 3657600"/>
              <a:gd name="connsiteY146" fmla="*/ 1143000 h 4572000"/>
              <a:gd name="connsiteX147" fmla="*/ 2667000 w 3657600"/>
              <a:gd name="connsiteY147" fmla="*/ 914400 h 4572000"/>
              <a:gd name="connsiteX148" fmla="*/ 2667000 w 3657600"/>
              <a:gd name="connsiteY148" fmla="*/ 762000 h 4572000"/>
              <a:gd name="connsiteX149" fmla="*/ 2895600 w 3657600"/>
              <a:gd name="connsiteY149" fmla="*/ 533400 h 4572000"/>
              <a:gd name="connsiteX150" fmla="*/ 533400 w 3657600"/>
              <a:gd name="connsiteY150" fmla="*/ 457201 h 4572000"/>
              <a:gd name="connsiteX151" fmla="*/ 457200 w 3657600"/>
              <a:gd name="connsiteY151" fmla="*/ 533400 h 4572000"/>
              <a:gd name="connsiteX152" fmla="*/ 457200 w 3657600"/>
              <a:gd name="connsiteY152" fmla="*/ 1143000 h 4572000"/>
              <a:gd name="connsiteX153" fmla="*/ 533400 w 3657600"/>
              <a:gd name="connsiteY153" fmla="*/ 1219200 h 4572000"/>
              <a:gd name="connsiteX154" fmla="*/ 3124200 w 3657600"/>
              <a:gd name="connsiteY154" fmla="*/ 1219200 h 4572000"/>
              <a:gd name="connsiteX155" fmla="*/ 3200400 w 3657600"/>
              <a:gd name="connsiteY155" fmla="*/ 1143000 h 4572000"/>
              <a:gd name="connsiteX156" fmla="*/ 3200400 w 3657600"/>
              <a:gd name="connsiteY156" fmla="*/ 533400 h 4572000"/>
              <a:gd name="connsiteX157" fmla="*/ 3124200 w 3657600"/>
              <a:gd name="connsiteY157" fmla="*/ 457201 h 4572000"/>
              <a:gd name="connsiteX158" fmla="*/ 533400 w 3657600"/>
              <a:gd name="connsiteY158" fmla="*/ 304800 h 4572000"/>
              <a:gd name="connsiteX159" fmla="*/ 3124200 w 3657600"/>
              <a:gd name="connsiteY159" fmla="*/ 304800 h 4572000"/>
              <a:gd name="connsiteX160" fmla="*/ 3352800 w 3657600"/>
              <a:gd name="connsiteY160" fmla="*/ 533400 h 4572000"/>
              <a:gd name="connsiteX161" fmla="*/ 3352800 w 3657600"/>
              <a:gd name="connsiteY161" fmla="*/ 1143000 h 4572000"/>
              <a:gd name="connsiteX162" fmla="*/ 3124200 w 3657600"/>
              <a:gd name="connsiteY162" fmla="*/ 1371600 h 4572000"/>
              <a:gd name="connsiteX163" fmla="*/ 533400 w 3657600"/>
              <a:gd name="connsiteY163" fmla="*/ 1371600 h 4572000"/>
              <a:gd name="connsiteX164" fmla="*/ 304800 w 3657600"/>
              <a:gd name="connsiteY164" fmla="*/ 1143000 h 4572000"/>
              <a:gd name="connsiteX165" fmla="*/ 304800 w 3657600"/>
              <a:gd name="connsiteY165" fmla="*/ 533400 h 4572000"/>
              <a:gd name="connsiteX166" fmla="*/ 533400 w 3657600"/>
              <a:gd name="connsiteY166" fmla="*/ 304800 h 4572000"/>
              <a:gd name="connsiteX167" fmla="*/ 533400 w 3657600"/>
              <a:gd name="connsiteY167" fmla="*/ 152400 h 4572000"/>
              <a:gd name="connsiteX168" fmla="*/ 152400 w 3657600"/>
              <a:gd name="connsiteY168" fmla="*/ 533400 h 4572000"/>
              <a:gd name="connsiteX169" fmla="*/ 152400 w 3657600"/>
              <a:gd name="connsiteY169" fmla="*/ 4038600 h 4572000"/>
              <a:gd name="connsiteX170" fmla="*/ 533400 w 3657600"/>
              <a:gd name="connsiteY170" fmla="*/ 4419600 h 4572000"/>
              <a:gd name="connsiteX171" fmla="*/ 3124200 w 3657600"/>
              <a:gd name="connsiteY171" fmla="*/ 4419600 h 4572000"/>
              <a:gd name="connsiteX172" fmla="*/ 3505200 w 3657600"/>
              <a:gd name="connsiteY172" fmla="*/ 4038600 h 4572000"/>
              <a:gd name="connsiteX173" fmla="*/ 3505200 w 3657600"/>
              <a:gd name="connsiteY173" fmla="*/ 533400 h 4572000"/>
              <a:gd name="connsiteX174" fmla="*/ 3124200 w 3657600"/>
              <a:gd name="connsiteY174" fmla="*/ 152400 h 4572000"/>
              <a:gd name="connsiteX175" fmla="*/ 533400 w 3657600"/>
              <a:gd name="connsiteY175" fmla="*/ 0 h 4572000"/>
              <a:gd name="connsiteX176" fmla="*/ 3124200 w 3657600"/>
              <a:gd name="connsiteY176" fmla="*/ 0 h 4572000"/>
              <a:gd name="connsiteX177" fmla="*/ 3657600 w 3657600"/>
              <a:gd name="connsiteY177" fmla="*/ 533400 h 4572000"/>
              <a:gd name="connsiteX178" fmla="*/ 3657600 w 3657600"/>
              <a:gd name="connsiteY178" fmla="*/ 4038600 h 4572000"/>
              <a:gd name="connsiteX179" fmla="*/ 3124200 w 3657600"/>
              <a:gd name="connsiteY179" fmla="*/ 4572000 h 4572000"/>
              <a:gd name="connsiteX180" fmla="*/ 533400 w 3657600"/>
              <a:gd name="connsiteY180" fmla="*/ 4572000 h 4572000"/>
              <a:gd name="connsiteX181" fmla="*/ 0 w 3657600"/>
              <a:gd name="connsiteY181" fmla="*/ 4038600 h 4572000"/>
              <a:gd name="connsiteX182" fmla="*/ 0 w 3657600"/>
              <a:gd name="connsiteY182" fmla="*/ 533400 h 4572000"/>
              <a:gd name="connsiteX183" fmla="*/ 533400 w 3657600"/>
              <a:gd name="connsiteY183" fmla="*/ 0 h 457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3657600" h="4572000">
                <a:moveTo>
                  <a:pt x="1600200" y="3657600"/>
                </a:moveTo>
                <a:cubicBezTo>
                  <a:pt x="1558115" y="3657600"/>
                  <a:pt x="1524000" y="3691715"/>
                  <a:pt x="1524000" y="3733800"/>
                </a:cubicBezTo>
                <a:lnTo>
                  <a:pt x="1524000" y="4038600"/>
                </a:lnTo>
                <a:cubicBezTo>
                  <a:pt x="1524000" y="4080685"/>
                  <a:pt x="1558115" y="4114800"/>
                  <a:pt x="1600200" y="4114800"/>
                </a:cubicBezTo>
                <a:lnTo>
                  <a:pt x="2057400" y="4114800"/>
                </a:lnTo>
                <a:cubicBezTo>
                  <a:pt x="2099485" y="4114800"/>
                  <a:pt x="2133600" y="4080685"/>
                  <a:pt x="2133600" y="4038600"/>
                </a:cubicBezTo>
                <a:lnTo>
                  <a:pt x="2133600" y="3733800"/>
                </a:lnTo>
                <a:cubicBezTo>
                  <a:pt x="2133600" y="3691715"/>
                  <a:pt x="2099485" y="3657600"/>
                  <a:pt x="2057400" y="3657600"/>
                </a:cubicBezTo>
                <a:close/>
                <a:moveTo>
                  <a:pt x="533400" y="3657600"/>
                </a:moveTo>
                <a:cubicBezTo>
                  <a:pt x="491315" y="3657600"/>
                  <a:pt x="457200" y="3691715"/>
                  <a:pt x="457200" y="3733800"/>
                </a:cubicBezTo>
                <a:lnTo>
                  <a:pt x="457200" y="4038600"/>
                </a:lnTo>
                <a:cubicBezTo>
                  <a:pt x="457200" y="4080685"/>
                  <a:pt x="491315" y="4114800"/>
                  <a:pt x="533400" y="4114800"/>
                </a:cubicBezTo>
                <a:lnTo>
                  <a:pt x="990600" y="4114800"/>
                </a:lnTo>
                <a:cubicBezTo>
                  <a:pt x="1032685" y="4114800"/>
                  <a:pt x="1066800" y="4080685"/>
                  <a:pt x="1066800" y="4038600"/>
                </a:cubicBezTo>
                <a:lnTo>
                  <a:pt x="1066800" y="3733800"/>
                </a:lnTo>
                <a:cubicBezTo>
                  <a:pt x="1066800" y="3691715"/>
                  <a:pt x="1032685" y="3657600"/>
                  <a:pt x="990600" y="3657600"/>
                </a:cubicBezTo>
                <a:close/>
                <a:moveTo>
                  <a:pt x="1600200" y="3505200"/>
                </a:moveTo>
                <a:lnTo>
                  <a:pt x="2057400" y="3505200"/>
                </a:lnTo>
                <a:cubicBezTo>
                  <a:pt x="2183656" y="3505200"/>
                  <a:pt x="2286000" y="3607544"/>
                  <a:pt x="2286000" y="3733800"/>
                </a:cubicBezTo>
                <a:lnTo>
                  <a:pt x="2286000" y="4038600"/>
                </a:lnTo>
                <a:cubicBezTo>
                  <a:pt x="2286000" y="4164856"/>
                  <a:pt x="2183656" y="4267200"/>
                  <a:pt x="2057400" y="4267200"/>
                </a:cubicBezTo>
                <a:lnTo>
                  <a:pt x="1600200" y="4267200"/>
                </a:lnTo>
                <a:cubicBezTo>
                  <a:pt x="1473944" y="4267200"/>
                  <a:pt x="1371600" y="4164856"/>
                  <a:pt x="1371600" y="4038600"/>
                </a:cubicBezTo>
                <a:lnTo>
                  <a:pt x="1371600" y="3733800"/>
                </a:lnTo>
                <a:cubicBezTo>
                  <a:pt x="1371600" y="3607544"/>
                  <a:pt x="1473944" y="3505200"/>
                  <a:pt x="1600200" y="3505200"/>
                </a:cubicBezTo>
                <a:close/>
                <a:moveTo>
                  <a:pt x="533400" y="3505200"/>
                </a:moveTo>
                <a:lnTo>
                  <a:pt x="990600" y="3505200"/>
                </a:lnTo>
                <a:cubicBezTo>
                  <a:pt x="1116856" y="3505200"/>
                  <a:pt x="1219200" y="3607544"/>
                  <a:pt x="1219200" y="3733800"/>
                </a:cubicBezTo>
                <a:lnTo>
                  <a:pt x="1219200" y="4038600"/>
                </a:lnTo>
                <a:cubicBezTo>
                  <a:pt x="1219200" y="4164856"/>
                  <a:pt x="1116856" y="4267200"/>
                  <a:pt x="990600" y="4267200"/>
                </a:cubicBezTo>
                <a:lnTo>
                  <a:pt x="533400" y="4267200"/>
                </a:lnTo>
                <a:cubicBezTo>
                  <a:pt x="407144" y="4267200"/>
                  <a:pt x="304800" y="4164856"/>
                  <a:pt x="304800" y="4038600"/>
                </a:cubicBezTo>
                <a:lnTo>
                  <a:pt x="304800" y="3733800"/>
                </a:lnTo>
                <a:cubicBezTo>
                  <a:pt x="304800" y="3607544"/>
                  <a:pt x="407144" y="3505200"/>
                  <a:pt x="533400" y="3505200"/>
                </a:cubicBezTo>
                <a:close/>
                <a:moveTo>
                  <a:pt x="2667000" y="2743200"/>
                </a:moveTo>
                <a:cubicBezTo>
                  <a:pt x="2624915" y="2743200"/>
                  <a:pt x="2590800" y="2777315"/>
                  <a:pt x="2590800" y="2819400"/>
                </a:cubicBezTo>
                <a:lnTo>
                  <a:pt x="2590800" y="4038600"/>
                </a:lnTo>
                <a:cubicBezTo>
                  <a:pt x="2590800" y="4080685"/>
                  <a:pt x="2624915" y="4114800"/>
                  <a:pt x="2667000" y="4114800"/>
                </a:cubicBezTo>
                <a:lnTo>
                  <a:pt x="3124200" y="4114800"/>
                </a:lnTo>
                <a:cubicBezTo>
                  <a:pt x="3166285" y="4114800"/>
                  <a:pt x="3200400" y="4080685"/>
                  <a:pt x="3200400" y="4038600"/>
                </a:cubicBezTo>
                <a:lnTo>
                  <a:pt x="3200400" y="2819400"/>
                </a:lnTo>
                <a:cubicBezTo>
                  <a:pt x="3200400" y="2777315"/>
                  <a:pt x="3166285" y="2743200"/>
                  <a:pt x="3124200" y="2743200"/>
                </a:cubicBezTo>
                <a:close/>
                <a:moveTo>
                  <a:pt x="1600200" y="2743200"/>
                </a:moveTo>
                <a:cubicBezTo>
                  <a:pt x="1558115" y="2743200"/>
                  <a:pt x="1524000" y="2777315"/>
                  <a:pt x="1524000" y="2819400"/>
                </a:cubicBezTo>
                <a:lnTo>
                  <a:pt x="1524000" y="3124200"/>
                </a:lnTo>
                <a:cubicBezTo>
                  <a:pt x="1524000" y="3166285"/>
                  <a:pt x="1558115" y="3200400"/>
                  <a:pt x="1600200" y="3200400"/>
                </a:cubicBezTo>
                <a:lnTo>
                  <a:pt x="2057400" y="3200400"/>
                </a:lnTo>
                <a:cubicBezTo>
                  <a:pt x="2099485" y="3200400"/>
                  <a:pt x="2133600" y="3166285"/>
                  <a:pt x="2133600" y="3124200"/>
                </a:cubicBezTo>
                <a:lnTo>
                  <a:pt x="2133600" y="2819400"/>
                </a:lnTo>
                <a:cubicBezTo>
                  <a:pt x="2133600" y="2777315"/>
                  <a:pt x="2099485" y="2743200"/>
                  <a:pt x="2057400" y="2743200"/>
                </a:cubicBezTo>
                <a:close/>
                <a:moveTo>
                  <a:pt x="533400" y="2743200"/>
                </a:moveTo>
                <a:cubicBezTo>
                  <a:pt x="491315" y="2743200"/>
                  <a:pt x="457200" y="2777315"/>
                  <a:pt x="457200" y="2819400"/>
                </a:cubicBezTo>
                <a:lnTo>
                  <a:pt x="457200" y="3124200"/>
                </a:lnTo>
                <a:cubicBezTo>
                  <a:pt x="457200" y="3166285"/>
                  <a:pt x="491315" y="3200400"/>
                  <a:pt x="533400" y="3200400"/>
                </a:cubicBezTo>
                <a:lnTo>
                  <a:pt x="990600" y="3200400"/>
                </a:lnTo>
                <a:cubicBezTo>
                  <a:pt x="1032685" y="3200400"/>
                  <a:pt x="1066800" y="3166285"/>
                  <a:pt x="1066800" y="3124200"/>
                </a:cubicBezTo>
                <a:lnTo>
                  <a:pt x="1066800" y="2819400"/>
                </a:lnTo>
                <a:cubicBezTo>
                  <a:pt x="1066800" y="2777315"/>
                  <a:pt x="1032685" y="2743200"/>
                  <a:pt x="990600" y="2743200"/>
                </a:cubicBezTo>
                <a:close/>
                <a:moveTo>
                  <a:pt x="2667000" y="2590800"/>
                </a:moveTo>
                <a:lnTo>
                  <a:pt x="3124200" y="2590800"/>
                </a:lnTo>
                <a:cubicBezTo>
                  <a:pt x="3250456" y="2590800"/>
                  <a:pt x="3352800" y="2693144"/>
                  <a:pt x="3352800" y="2819400"/>
                </a:cubicBezTo>
                <a:lnTo>
                  <a:pt x="3352800" y="4038600"/>
                </a:lnTo>
                <a:cubicBezTo>
                  <a:pt x="3352800" y="4164856"/>
                  <a:pt x="3250456" y="4267200"/>
                  <a:pt x="3124200" y="4267200"/>
                </a:cubicBezTo>
                <a:lnTo>
                  <a:pt x="2667000" y="4267200"/>
                </a:lnTo>
                <a:cubicBezTo>
                  <a:pt x="2540744" y="4267200"/>
                  <a:pt x="2438400" y="4164856"/>
                  <a:pt x="2438400" y="4038600"/>
                </a:cubicBezTo>
                <a:lnTo>
                  <a:pt x="2438400" y="2819400"/>
                </a:lnTo>
                <a:cubicBezTo>
                  <a:pt x="2438400" y="2693144"/>
                  <a:pt x="2540744" y="2590800"/>
                  <a:pt x="2667000" y="2590800"/>
                </a:cubicBezTo>
                <a:close/>
                <a:moveTo>
                  <a:pt x="1600200" y="2590800"/>
                </a:moveTo>
                <a:lnTo>
                  <a:pt x="2057400" y="2590800"/>
                </a:lnTo>
                <a:cubicBezTo>
                  <a:pt x="2183656" y="2590800"/>
                  <a:pt x="2286000" y="2693144"/>
                  <a:pt x="2286000" y="2819400"/>
                </a:cubicBezTo>
                <a:lnTo>
                  <a:pt x="2286000" y="3124200"/>
                </a:lnTo>
                <a:cubicBezTo>
                  <a:pt x="2286000" y="3250456"/>
                  <a:pt x="2183656" y="3352800"/>
                  <a:pt x="2057400" y="3352800"/>
                </a:cubicBezTo>
                <a:lnTo>
                  <a:pt x="1600200" y="3352800"/>
                </a:lnTo>
                <a:cubicBezTo>
                  <a:pt x="1473944" y="3352800"/>
                  <a:pt x="1371600" y="3250456"/>
                  <a:pt x="1371600" y="3124200"/>
                </a:cubicBezTo>
                <a:lnTo>
                  <a:pt x="1371600" y="2819400"/>
                </a:lnTo>
                <a:cubicBezTo>
                  <a:pt x="1371600" y="2693144"/>
                  <a:pt x="1473944" y="2590800"/>
                  <a:pt x="1600200" y="2590800"/>
                </a:cubicBezTo>
                <a:close/>
                <a:moveTo>
                  <a:pt x="533400" y="2590800"/>
                </a:moveTo>
                <a:lnTo>
                  <a:pt x="990600" y="2590800"/>
                </a:lnTo>
                <a:cubicBezTo>
                  <a:pt x="1116856" y="2590800"/>
                  <a:pt x="1219200" y="2693144"/>
                  <a:pt x="1219200" y="2819400"/>
                </a:cubicBezTo>
                <a:lnTo>
                  <a:pt x="1219200" y="3124200"/>
                </a:lnTo>
                <a:cubicBezTo>
                  <a:pt x="1219200" y="3250456"/>
                  <a:pt x="1116856" y="3352800"/>
                  <a:pt x="990600" y="3352800"/>
                </a:cubicBezTo>
                <a:lnTo>
                  <a:pt x="533400" y="3352800"/>
                </a:lnTo>
                <a:cubicBezTo>
                  <a:pt x="407144" y="3352800"/>
                  <a:pt x="304800" y="3250456"/>
                  <a:pt x="304800" y="3124200"/>
                </a:cubicBezTo>
                <a:lnTo>
                  <a:pt x="304800" y="2819400"/>
                </a:lnTo>
                <a:cubicBezTo>
                  <a:pt x="304800" y="2693144"/>
                  <a:pt x="407144" y="2590800"/>
                  <a:pt x="533400" y="2590800"/>
                </a:cubicBezTo>
                <a:close/>
                <a:moveTo>
                  <a:pt x="2667000" y="1828800"/>
                </a:moveTo>
                <a:cubicBezTo>
                  <a:pt x="2624915" y="1828800"/>
                  <a:pt x="2590800" y="1862915"/>
                  <a:pt x="2590800" y="1905000"/>
                </a:cubicBezTo>
                <a:lnTo>
                  <a:pt x="2590800" y="2209800"/>
                </a:lnTo>
                <a:cubicBezTo>
                  <a:pt x="2590800" y="2251885"/>
                  <a:pt x="2624915" y="2286000"/>
                  <a:pt x="2667000" y="2286000"/>
                </a:cubicBezTo>
                <a:lnTo>
                  <a:pt x="3124200" y="2286000"/>
                </a:lnTo>
                <a:cubicBezTo>
                  <a:pt x="3166285" y="2286000"/>
                  <a:pt x="3200400" y="2251885"/>
                  <a:pt x="3200400" y="2209800"/>
                </a:cubicBezTo>
                <a:lnTo>
                  <a:pt x="3200400" y="1905000"/>
                </a:lnTo>
                <a:cubicBezTo>
                  <a:pt x="3200400" y="1862915"/>
                  <a:pt x="3166285" y="1828800"/>
                  <a:pt x="3124200" y="1828800"/>
                </a:cubicBezTo>
                <a:close/>
                <a:moveTo>
                  <a:pt x="1600200" y="1828800"/>
                </a:moveTo>
                <a:cubicBezTo>
                  <a:pt x="1558115" y="1828800"/>
                  <a:pt x="1524000" y="1862915"/>
                  <a:pt x="1524000" y="1905000"/>
                </a:cubicBezTo>
                <a:lnTo>
                  <a:pt x="1524000" y="2209800"/>
                </a:lnTo>
                <a:cubicBezTo>
                  <a:pt x="1524000" y="2251885"/>
                  <a:pt x="1558115" y="2286000"/>
                  <a:pt x="1600200" y="2286000"/>
                </a:cubicBezTo>
                <a:lnTo>
                  <a:pt x="2057400" y="2286000"/>
                </a:lnTo>
                <a:cubicBezTo>
                  <a:pt x="2099485" y="2286000"/>
                  <a:pt x="2133600" y="2251885"/>
                  <a:pt x="2133600" y="2209800"/>
                </a:cubicBezTo>
                <a:lnTo>
                  <a:pt x="2133600" y="1905000"/>
                </a:lnTo>
                <a:cubicBezTo>
                  <a:pt x="2133600" y="1862915"/>
                  <a:pt x="2099485" y="1828800"/>
                  <a:pt x="2057400" y="1828800"/>
                </a:cubicBezTo>
                <a:close/>
                <a:moveTo>
                  <a:pt x="533400" y="1828800"/>
                </a:moveTo>
                <a:cubicBezTo>
                  <a:pt x="491315" y="1828800"/>
                  <a:pt x="457200" y="1862915"/>
                  <a:pt x="457200" y="1905000"/>
                </a:cubicBezTo>
                <a:lnTo>
                  <a:pt x="457200" y="2209800"/>
                </a:lnTo>
                <a:cubicBezTo>
                  <a:pt x="457200" y="2251885"/>
                  <a:pt x="491315" y="2286000"/>
                  <a:pt x="533400" y="2286000"/>
                </a:cubicBezTo>
                <a:lnTo>
                  <a:pt x="990600" y="2286000"/>
                </a:lnTo>
                <a:cubicBezTo>
                  <a:pt x="1032685" y="2286000"/>
                  <a:pt x="1066800" y="2251885"/>
                  <a:pt x="1066800" y="2209800"/>
                </a:cubicBezTo>
                <a:lnTo>
                  <a:pt x="1066800" y="1905000"/>
                </a:lnTo>
                <a:cubicBezTo>
                  <a:pt x="1066800" y="1862915"/>
                  <a:pt x="1032685" y="1828800"/>
                  <a:pt x="990600" y="1828800"/>
                </a:cubicBezTo>
                <a:close/>
                <a:moveTo>
                  <a:pt x="2667000" y="1676400"/>
                </a:moveTo>
                <a:lnTo>
                  <a:pt x="3124200" y="1676400"/>
                </a:lnTo>
                <a:cubicBezTo>
                  <a:pt x="3250456" y="1676400"/>
                  <a:pt x="3352800" y="1778744"/>
                  <a:pt x="3352800" y="1905000"/>
                </a:cubicBezTo>
                <a:lnTo>
                  <a:pt x="3352800" y="2209800"/>
                </a:lnTo>
                <a:cubicBezTo>
                  <a:pt x="3352800" y="2336056"/>
                  <a:pt x="3250456" y="2438400"/>
                  <a:pt x="3124200" y="2438400"/>
                </a:cubicBezTo>
                <a:lnTo>
                  <a:pt x="2667000" y="2438400"/>
                </a:lnTo>
                <a:cubicBezTo>
                  <a:pt x="2540744" y="2438400"/>
                  <a:pt x="2438400" y="2336056"/>
                  <a:pt x="2438400" y="2209800"/>
                </a:cubicBezTo>
                <a:lnTo>
                  <a:pt x="2438400" y="1905000"/>
                </a:lnTo>
                <a:cubicBezTo>
                  <a:pt x="2438400" y="1778744"/>
                  <a:pt x="2540744" y="1676400"/>
                  <a:pt x="2667000" y="1676400"/>
                </a:cubicBezTo>
                <a:close/>
                <a:moveTo>
                  <a:pt x="1600200" y="1676400"/>
                </a:moveTo>
                <a:lnTo>
                  <a:pt x="2057400" y="1676400"/>
                </a:lnTo>
                <a:cubicBezTo>
                  <a:pt x="2183656" y="1676400"/>
                  <a:pt x="2286000" y="1778744"/>
                  <a:pt x="2286000" y="1905000"/>
                </a:cubicBezTo>
                <a:lnTo>
                  <a:pt x="2286000" y="2209800"/>
                </a:lnTo>
                <a:cubicBezTo>
                  <a:pt x="2286000" y="2336056"/>
                  <a:pt x="2183656" y="2438400"/>
                  <a:pt x="2057400" y="2438400"/>
                </a:cubicBezTo>
                <a:lnTo>
                  <a:pt x="1600200" y="2438400"/>
                </a:lnTo>
                <a:cubicBezTo>
                  <a:pt x="1473944" y="2438400"/>
                  <a:pt x="1371600" y="2336056"/>
                  <a:pt x="1371600" y="2209800"/>
                </a:cubicBezTo>
                <a:lnTo>
                  <a:pt x="1371600" y="1905000"/>
                </a:lnTo>
                <a:cubicBezTo>
                  <a:pt x="1371600" y="1778744"/>
                  <a:pt x="1473944" y="1676400"/>
                  <a:pt x="1600200" y="1676400"/>
                </a:cubicBezTo>
                <a:close/>
                <a:moveTo>
                  <a:pt x="533400" y="1676400"/>
                </a:moveTo>
                <a:lnTo>
                  <a:pt x="990600" y="1676400"/>
                </a:lnTo>
                <a:cubicBezTo>
                  <a:pt x="1116856" y="1676400"/>
                  <a:pt x="1219200" y="1778744"/>
                  <a:pt x="1219200" y="1905000"/>
                </a:cubicBezTo>
                <a:lnTo>
                  <a:pt x="1219200" y="2209800"/>
                </a:lnTo>
                <a:cubicBezTo>
                  <a:pt x="1219200" y="2336056"/>
                  <a:pt x="1116856" y="2438400"/>
                  <a:pt x="990600" y="2438400"/>
                </a:cubicBezTo>
                <a:lnTo>
                  <a:pt x="533400" y="2438400"/>
                </a:lnTo>
                <a:cubicBezTo>
                  <a:pt x="407144" y="2438400"/>
                  <a:pt x="304800" y="2336056"/>
                  <a:pt x="304800" y="2209800"/>
                </a:cubicBezTo>
                <a:lnTo>
                  <a:pt x="304800" y="1905000"/>
                </a:lnTo>
                <a:cubicBezTo>
                  <a:pt x="304800" y="1778744"/>
                  <a:pt x="407144" y="1676400"/>
                  <a:pt x="533400" y="1676400"/>
                </a:cubicBezTo>
                <a:close/>
                <a:moveTo>
                  <a:pt x="2895600" y="685800"/>
                </a:moveTo>
                <a:cubicBezTo>
                  <a:pt x="2853515" y="685800"/>
                  <a:pt x="2819400" y="719915"/>
                  <a:pt x="2819400" y="762000"/>
                </a:cubicBezTo>
                <a:lnTo>
                  <a:pt x="2819400" y="914400"/>
                </a:lnTo>
                <a:cubicBezTo>
                  <a:pt x="2819400" y="956485"/>
                  <a:pt x="2853515" y="990600"/>
                  <a:pt x="2895600" y="990600"/>
                </a:cubicBezTo>
                <a:cubicBezTo>
                  <a:pt x="2937685" y="990600"/>
                  <a:pt x="2971800" y="956485"/>
                  <a:pt x="2971800" y="914400"/>
                </a:cubicBezTo>
                <a:lnTo>
                  <a:pt x="2971800" y="762000"/>
                </a:lnTo>
                <a:cubicBezTo>
                  <a:pt x="2971800" y="719915"/>
                  <a:pt x="2937685" y="685800"/>
                  <a:pt x="2895600" y="685800"/>
                </a:cubicBezTo>
                <a:close/>
                <a:moveTo>
                  <a:pt x="2895600" y="533400"/>
                </a:moveTo>
                <a:cubicBezTo>
                  <a:pt x="3021856" y="533400"/>
                  <a:pt x="3124200" y="635744"/>
                  <a:pt x="3124200" y="762000"/>
                </a:cubicBezTo>
                <a:lnTo>
                  <a:pt x="3124200" y="914400"/>
                </a:lnTo>
                <a:cubicBezTo>
                  <a:pt x="3124200" y="1040656"/>
                  <a:pt x="3021856" y="1143000"/>
                  <a:pt x="2895600" y="1143000"/>
                </a:cubicBezTo>
                <a:cubicBezTo>
                  <a:pt x="2769344" y="1143000"/>
                  <a:pt x="2667000" y="1040656"/>
                  <a:pt x="2667000" y="914400"/>
                </a:cubicBezTo>
                <a:lnTo>
                  <a:pt x="2667000" y="762000"/>
                </a:lnTo>
                <a:cubicBezTo>
                  <a:pt x="2667000" y="635744"/>
                  <a:pt x="2769344" y="533400"/>
                  <a:pt x="2895600" y="533400"/>
                </a:cubicBezTo>
                <a:close/>
                <a:moveTo>
                  <a:pt x="533400" y="457201"/>
                </a:moveTo>
                <a:cubicBezTo>
                  <a:pt x="491315" y="457201"/>
                  <a:pt x="457200" y="491316"/>
                  <a:pt x="457200" y="533400"/>
                </a:cubicBezTo>
                <a:lnTo>
                  <a:pt x="457200" y="1143000"/>
                </a:lnTo>
                <a:cubicBezTo>
                  <a:pt x="457200" y="1185085"/>
                  <a:pt x="491315" y="1219200"/>
                  <a:pt x="533400" y="1219200"/>
                </a:cubicBezTo>
                <a:lnTo>
                  <a:pt x="3124200" y="1219200"/>
                </a:lnTo>
                <a:cubicBezTo>
                  <a:pt x="3166285" y="1219200"/>
                  <a:pt x="3200400" y="1185085"/>
                  <a:pt x="3200400" y="1143000"/>
                </a:cubicBezTo>
                <a:lnTo>
                  <a:pt x="3200400" y="533400"/>
                </a:lnTo>
                <a:cubicBezTo>
                  <a:pt x="3200400" y="491316"/>
                  <a:pt x="3166285" y="457201"/>
                  <a:pt x="3124200" y="457201"/>
                </a:cubicBezTo>
                <a:close/>
                <a:moveTo>
                  <a:pt x="533400" y="304800"/>
                </a:moveTo>
                <a:lnTo>
                  <a:pt x="3124200" y="304800"/>
                </a:lnTo>
                <a:cubicBezTo>
                  <a:pt x="3250456" y="304800"/>
                  <a:pt x="3352800" y="407148"/>
                  <a:pt x="3352800" y="533400"/>
                </a:cubicBezTo>
                <a:lnTo>
                  <a:pt x="3352800" y="1143000"/>
                </a:lnTo>
                <a:cubicBezTo>
                  <a:pt x="3352800" y="1269256"/>
                  <a:pt x="3250456" y="1371600"/>
                  <a:pt x="3124200" y="1371600"/>
                </a:cubicBezTo>
                <a:lnTo>
                  <a:pt x="533400" y="1371600"/>
                </a:lnTo>
                <a:cubicBezTo>
                  <a:pt x="407144" y="1371600"/>
                  <a:pt x="304800" y="1269256"/>
                  <a:pt x="304800" y="1143000"/>
                </a:cubicBezTo>
                <a:lnTo>
                  <a:pt x="304800" y="533400"/>
                </a:lnTo>
                <a:cubicBezTo>
                  <a:pt x="304800" y="407148"/>
                  <a:pt x="407144" y="304800"/>
                  <a:pt x="533400" y="304800"/>
                </a:cubicBezTo>
                <a:close/>
                <a:moveTo>
                  <a:pt x="533400" y="152400"/>
                </a:moveTo>
                <a:cubicBezTo>
                  <a:pt x="323080" y="152652"/>
                  <a:pt x="152651" y="323084"/>
                  <a:pt x="152400" y="533400"/>
                </a:cubicBezTo>
                <a:lnTo>
                  <a:pt x="152400" y="4038600"/>
                </a:lnTo>
                <a:cubicBezTo>
                  <a:pt x="152651" y="4248920"/>
                  <a:pt x="323080" y="4419349"/>
                  <a:pt x="533400" y="4419600"/>
                </a:cubicBezTo>
                <a:lnTo>
                  <a:pt x="3124200" y="4419600"/>
                </a:lnTo>
                <a:cubicBezTo>
                  <a:pt x="3334520" y="4419349"/>
                  <a:pt x="3504949" y="4248920"/>
                  <a:pt x="3505200" y="4038600"/>
                </a:cubicBezTo>
                <a:lnTo>
                  <a:pt x="3505200" y="533400"/>
                </a:lnTo>
                <a:cubicBezTo>
                  <a:pt x="3504949" y="323084"/>
                  <a:pt x="3334520" y="152652"/>
                  <a:pt x="3124200" y="152400"/>
                </a:cubicBezTo>
                <a:close/>
                <a:moveTo>
                  <a:pt x="533400" y="0"/>
                </a:moveTo>
                <a:lnTo>
                  <a:pt x="3124200" y="0"/>
                </a:lnTo>
                <a:cubicBezTo>
                  <a:pt x="3418652" y="336"/>
                  <a:pt x="3657265" y="238950"/>
                  <a:pt x="3657600" y="533400"/>
                </a:cubicBezTo>
                <a:lnTo>
                  <a:pt x="3657600" y="4038600"/>
                </a:lnTo>
                <a:cubicBezTo>
                  <a:pt x="3657265" y="4333052"/>
                  <a:pt x="3418652" y="4571665"/>
                  <a:pt x="3124200" y="4572000"/>
                </a:cubicBezTo>
                <a:lnTo>
                  <a:pt x="533400" y="4572000"/>
                </a:lnTo>
                <a:cubicBezTo>
                  <a:pt x="238948" y="4571665"/>
                  <a:pt x="336" y="4333052"/>
                  <a:pt x="0" y="4038600"/>
                </a:cubicBezTo>
                <a:lnTo>
                  <a:pt x="0" y="533400"/>
                </a:lnTo>
                <a:cubicBezTo>
                  <a:pt x="336" y="238950"/>
                  <a:pt x="238948" y="336"/>
                  <a:pt x="533400" y="0"/>
                </a:cubicBezTo>
                <a:close/>
              </a:path>
            </a:pathLst>
          </a:custGeom>
          <a:solidFill>
            <a:schemeClr val="tx2"/>
          </a:solidFill>
          <a:ln w="76200" cap="flat">
            <a:noFill/>
            <a:prstDash val="solid"/>
            <a:miter/>
          </a:ln>
        </p:spPr>
        <p:txBody>
          <a:bodyPr rtlCol="0" anchor="ctr"/>
          <a:lstStyle/>
          <a:p>
            <a:endParaRPr lang="en-US"/>
          </a:p>
        </p:txBody>
      </p:sp>
      <p:sp>
        <p:nvSpPr>
          <p:cNvPr id="10" name="Rectangle 12">
            <a:extLst>
              <a:ext uri="{FF2B5EF4-FFF2-40B4-BE49-F238E27FC236}">
                <a16:creationId xmlns:a16="http://schemas.microsoft.com/office/drawing/2014/main" id="{6F78DFC5-000B-8C46-AE81-AA51C58404F2}"/>
              </a:ext>
            </a:extLst>
          </p:cNvPr>
          <p:cNvSpPr/>
          <p:nvPr userDrawn="1"/>
        </p:nvSpPr>
        <p:spPr>
          <a:xfrm>
            <a:off x="9457764" y="6579030"/>
            <a:ext cx="2734235" cy="278969"/>
          </a:xfrm>
          <a:prstGeom prst="rect">
            <a:avLst/>
          </a:prstGeom>
          <a:solidFill>
            <a:schemeClr val="accent4"/>
          </a:solidFill>
        </p:spPr>
        <p:txBody>
          <a:bodyPr wrap="square" lIns="0" tIns="0" rIns="0" bIns="0" rtlCol="0" anchor="ctr" anchorCtr="0">
            <a:noAutofit/>
          </a:bodyPr>
          <a:lstStyle/>
          <a:p>
            <a:pPr algn="ctr"/>
            <a:r>
              <a:rPr lang="en-US" sz="800" b="1">
                <a:solidFill>
                  <a:schemeClr val="bg1"/>
                </a:solidFill>
                <a:cs typeface="Arial" panose="020B0604020202020204" pitchFamily="34" charset="0"/>
              </a:rPr>
              <a:t>COSTES ESTIMADOS</a:t>
            </a:r>
          </a:p>
        </p:txBody>
      </p:sp>
    </p:spTree>
    <p:extLst>
      <p:ext uri="{BB962C8B-B14F-4D97-AF65-F5344CB8AC3E}">
        <p14:creationId xmlns:p14="http://schemas.microsoft.com/office/powerpoint/2010/main" val="2140513001"/>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emplate Propuesta 2022 - Propuesta de Valor">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50040F2E-A856-F74D-B747-8F63180F396D}"/>
              </a:ext>
            </a:extLst>
          </p:cNvPr>
          <p:cNvSpPr>
            <a:spLocks noGrp="1"/>
          </p:cNvSpPr>
          <p:nvPr>
            <p:ph type="title"/>
          </p:nvPr>
        </p:nvSpPr>
        <p:spPr>
          <a:xfrm>
            <a:off x="1138892" y="36122"/>
            <a:ext cx="10610449" cy="276999"/>
          </a:xfrm>
        </p:spPr>
        <p:txBody>
          <a:bodyPr/>
          <a:lstStyle>
            <a:lvl1pPr>
              <a:defRPr cap="all" baseline="0"/>
            </a:lvl1pPr>
          </a:lstStyle>
          <a:p>
            <a:r>
              <a:rPr lang="es-ES_tradnl" noProof="0"/>
              <a:t>Haga clic para modificar el estilo de título del patrón</a:t>
            </a:r>
          </a:p>
        </p:txBody>
      </p:sp>
      <p:sp>
        <p:nvSpPr>
          <p:cNvPr id="4" name="Marcador de texto 4">
            <a:extLst>
              <a:ext uri="{FF2B5EF4-FFF2-40B4-BE49-F238E27FC236}">
                <a16:creationId xmlns:a16="http://schemas.microsoft.com/office/drawing/2014/main" id="{DED7AFAC-0516-FB48-9E02-44CC62A80883}"/>
              </a:ext>
            </a:extLst>
          </p:cNvPr>
          <p:cNvSpPr>
            <a:spLocks noGrp="1"/>
          </p:cNvSpPr>
          <p:nvPr>
            <p:ph type="body" sz="quarter" idx="11"/>
          </p:nvPr>
        </p:nvSpPr>
        <p:spPr>
          <a:xfrm>
            <a:off x="1138639" y="290195"/>
            <a:ext cx="10610449" cy="217488"/>
          </a:xfrm>
        </p:spPr>
        <p:txBody>
          <a:bodyPr/>
          <a:lstStyle>
            <a:lvl1pPr>
              <a:defRPr sz="1200">
                <a:solidFill>
                  <a:schemeClr val="tx2"/>
                </a:solidFill>
              </a:defRPr>
            </a:lvl1pPr>
          </a:lstStyle>
          <a:p>
            <a:pPr lvl="0"/>
            <a:r>
              <a:rPr lang="es-ES_tradnl" noProof="0"/>
              <a:t>Haga clic para modificar los estilos de texto del patrón</a:t>
            </a:r>
          </a:p>
        </p:txBody>
      </p:sp>
      <p:sp>
        <p:nvSpPr>
          <p:cNvPr id="9" name="Rectángulo 8">
            <a:extLst>
              <a:ext uri="{FF2B5EF4-FFF2-40B4-BE49-F238E27FC236}">
                <a16:creationId xmlns:a16="http://schemas.microsoft.com/office/drawing/2014/main" id="{9D31E6A8-7FC5-D346-B913-27F3CB84C0BF}"/>
              </a:ext>
            </a:extLst>
          </p:cNvPr>
          <p:cNvSpPr/>
          <p:nvPr userDrawn="1"/>
        </p:nvSpPr>
        <p:spPr bwMode="auto">
          <a:xfrm>
            <a:off x="596159" y="67814"/>
            <a:ext cx="405613" cy="405613"/>
          </a:xfrm>
          <a:prstGeom prst="rect">
            <a:avLst/>
          </a:prstGeom>
          <a:solidFill>
            <a:schemeClr val="bg1"/>
          </a:solidFill>
          <a:ln w="25400" cap="flat">
            <a:solidFill>
              <a:schemeClr val="accent6"/>
            </a:solidFill>
            <a:miter lim="800000"/>
          </a:ln>
        </p:spPr>
        <p:txBody>
          <a:bodyPr lIns="0" tIns="0" rIns="0" bIns="0" rtlCol="0" anchor="ctr">
            <a:noAutofit/>
          </a:bodyPr>
          <a:lstStyle/>
          <a:p>
            <a:pPr algn="ctr"/>
            <a:endParaRPr lang="es-ES_tradnl" sz="1400" noProof="0"/>
          </a:p>
        </p:txBody>
      </p:sp>
      <p:sp>
        <p:nvSpPr>
          <p:cNvPr id="11" name="Rectangle 12">
            <a:extLst>
              <a:ext uri="{FF2B5EF4-FFF2-40B4-BE49-F238E27FC236}">
                <a16:creationId xmlns:a16="http://schemas.microsoft.com/office/drawing/2014/main" id="{76E17A97-AF6C-4C45-A2C7-7F159E8CF989}"/>
              </a:ext>
            </a:extLst>
          </p:cNvPr>
          <p:cNvSpPr/>
          <p:nvPr userDrawn="1"/>
        </p:nvSpPr>
        <p:spPr>
          <a:xfrm>
            <a:off x="9457765" y="6579030"/>
            <a:ext cx="2734235" cy="278969"/>
          </a:xfrm>
          <a:prstGeom prst="rect">
            <a:avLst/>
          </a:prstGeom>
          <a:solidFill>
            <a:schemeClr val="accent6"/>
          </a:solidFill>
        </p:spPr>
        <p:txBody>
          <a:bodyPr wrap="square" lIns="0" tIns="0" rIns="0" bIns="0" rtlCol="0" anchor="ctr" anchorCtr="0">
            <a:noAutofit/>
          </a:bodyPr>
          <a:lstStyle/>
          <a:p>
            <a:pPr algn="ctr"/>
            <a:r>
              <a:rPr lang="en-US" sz="800" b="1">
                <a:solidFill>
                  <a:schemeClr val="bg1"/>
                </a:solidFill>
                <a:cs typeface="Arial" panose="020B0604020202020204" pitchFamily="34" charset="0"/>
              </a:rPr>
              <a:t>NUESTRA PROPUESTA DE VALOR</a:t>
            </a:r>
          </a:p>
        </p:txBody>
      </p:sp>
      <p:sp>
        <p:nvSpPr>
          <p:cNvPr id="12" name="Gráfico 5">
            <a:extLst>
              <a:ext uri="{FF2B5EF4-FFF2-40B4-BE49-F238E27FC236}">
                <a16:creationId xmlns:a16="http://schemas.microsoft.com/office/drawing/2014/main" id="{1DD10BD7-906F-894A-9324-871E53291A86}"/>
              </a:ext>
            </a:extLst>
          </p:cNvPr>
          <p:cNvSpPr/>
          <p:nvPr userDrawn="1"/>
        </p:nvSpPr>
        <p:spPr>
          <a:xfrm>
            <a:off x="664737" y="130484"/>
            <a:ext cx="268456" cy="268455"/>
          </a:xfrm>
          <a:custGeom>
            <a:avLst/>
            <a:gdLst>
              <a:gd name="connsiteX0" fmla="*/ 241811 w 4876786"/>
              <a:gd name="connsiteY0" fmla="*/ 4308967 h 4876779"/>
              <a:gd name="connsiteX1" fmla="*/ 810768 w 4876786"/>
              <a:gd name="connsiteY1" fmla="*/ 4311492 h 4876779"/>
              <a:gd name="connsiteX2" fmla="*/ 821007 w 4876786"/>
              <a:gd name="connsiteY2" fmla="*/ 4311492 h 4876779"/>
              <a:gd name="connsiteX3" fmla="*/ 944794 w 4876786"/>
              <a:gd name="connsiteY3" fmla="*/ 4331084 h 4876779"/>
              <a:gd name="connsiteX4" fmla="*/ 2577465 w 4876786"/>
              <a:gd name="connsiteY4" fmla="*/ 4857293 h 4876779"/>
              <a:gd name="connsiteX5" fmla="*/ 2947530 w 4876786"/>
              <a:gd name="connsiteY5" fmla="*/ 4794057 h 4876779"/>
              <a:gd name="connsiteX6" fmla="*/ 4772682 w 4876786"/>
              <a:gd name="connsiteY6" fmla="*/ 3407655 h 4876779"/>
              <a:gd name="connsiteX7" fmla="*/ 4820317 w 4876786"/>
              <a:gd name="connsiteY7" fmla="*/ 3030293 h 4876779"/>
              <a:gd name="connsiteX8" fmla="*/ 4809258 w 4876786"/>
              <a:gd name="connsiteY8" fmla="*/ 3016949 h 4876779"/>
              <a:gd name="connsiteX9" fmla="*/ 4806496 w 4876786"/>
              <a:gd name="connsiteY9" fmla="*/ 3013777 h 4876779"/>
              <a:gd name="connsiteX10" fmla="*/ 4462844 w 4876786"/>
              <a:gd name="connsiteY10" fmla="*/ 2968914 h 4876779"/>
              <a:gd name="connsiteX11" fmla="*/ 4145280 w 4876786"/>
              <a:gd name="connsiteY11" fmla="*/ 3169910 h 4876779"/>
              <a:gd name="connsiteX12" fmla="*/ 4145280 w 4876786"/>
              <a:gd name="connsiteY12" fmla="*/ 2298992 h 4876779"/>
              <a:gd name="connsiteX13" fmla="*/ 4218432 w 4876786"/>
              <a:gd name="connsiteY13" fmla="*/ 2275827 h 4876779"/>
              <a:gd name="connsiteX14" fmla="*/ 4375709 w 4876786"/>
              <a:gd name="connsiteY14" fmla="*/ 1962493 h 4876779"/>
              <a:gd name="connsiteX15" fmla="*/ 4361565 w 4876786"/>
              <a:gd name="connsiteY15" fmla="*/ 1928517 h 4876779"/>
              <a:gd name="connsiteX16" fmla="*/ 4135279 w 4876786"/>
              <a:gd name="connsiteY16" fmla="*/ 1506512 h 4876779"/>
              <a:gd name="connsiteX17" fmla="*/ 4086511 w 4876786"/>
              <a:gd name="connsiteY17" fmla="*/ 1465869 h 4876779"/>
              <a:gd name="connsiteX18" fmla="*/ 3157966 w 4876786"/>
              <a:gd name="connsiteY18" fmla="*/ 1201303 h 4876779"/>
              <a:gd name="connsiteX19" fmla="*/ 3542338 w 4876786"/>
              <a:gd name="connsiteY19" fmla="*/ 693144 h 4876779"/>
              <a:gd name="connsiteX20" fmla="*/ 3544453 w 4876786"/>
              <a:gd name="connsiteY20" fmla="*/ 690058 h 4876779"/>
              <a:gd name="connsiteX21" fmla="*/ 3542014 w 4876786"/>
              <a:gd name="connsiteY21" fmla="*/ 481822 h 4876779"/>
              <a:gd name="connsiteX22" fmla="*/ 3306394 w 4876786"/>
              <a:gd name="connsiteY22" fmla="*/ 80705 h 4876779"/>
              <a:gd name="connsiteX23" fmla="*/ 3300546 w 4876786"/>
              <a:gd name="connsiteY23" fmla="*/ 72581 h 4876779"/>
              <a:gd name="connsiteX24" fmla="*/ 3152613 w 4876786"/>
              <a:gd name="connsiteY24" fmla="*/ 0 h 4876779"/>
              <a:gd name="connsiteX25" fmla="*/ 2211877 w 4876786"/>
              <a:gd name="connsiteY25" fmla="*/ 0 h 4876779"/>
              <a:gd name="connsiteX26" fmla="*/ 2063944 w 4876786"/>
              <a:gd name="connsiteY26" fmla="*/ 72257 h 4876779"/>
              <a:gd name="connsiteX27" fmla="*/ 2058095 w 4876786"/>
              <a:gd name="connsiteY27" fmla="*/ 80381 h 4876779"/>
              <a:gd name="connsiteX28" fmla="*/ 1822380 w 4876786"/>
              <a:gd name="connsiteY28" fmla="*/ 481498 h 4876779"/>
              <a:gd name="connsiteX29" fmla="*/ 1822380 w 4876786"/>
              <a:gd name="connsiteY29" fmla="*/ 692829 h 4876779"/>
              <a:gd name="connsiteX30" fmla="*/ 2206838 w 4876786"/>
              <a:gd name="connsiteY30" fmla="*/ 1200988 h 4876779"/>
              <a:gd name="connsiteX31" fmla="*/ 1278217 w 4876786"/>
              <a:gd name="connsiteY31" fmla="*/ 1466126 h 4876779"/>
              <a:gd name="connsiteX32" fmla="*/ 1228801 w 4876786"/>
              <a:gd name="connsiteY32" fmla="*/ 1506769 h 4876779"/>
              <a:gd name="connsiteX33" fmla="*/ 1002602 w 4876786"/>
              <a:gd name="connsiteY33" fmla="*/ 1930317 h 4876779"/>
              <a:gd name="connsiteX34" fmla="*/ 1113711 w 4876786"/>
              <a:gd name="connsiteY34" fmla="*/ 2262473 h 4876779"/>
              <a:gd name="connsiteX35" fmla="*/ 1146058 w 4876786"/>
              <a:gd name="connsiteY35" fmla="*/ 2275837 h 4876779"/>
              <a:gd name="connsiteX36" fmla="*/ 1219210 w 4876786"/>
              <a:gd name="connsiteY36" fmla="*/ 2298754 h 4876779"/>
              <a:gd name="connsiteX37" fmla="*/ 1219210 w 4876786"/>
              <a:gd name="connsiteY37" fmla="*/ 2980858 h 4876779"/>
              <a:gd name="connsiteX38" fmla="*/ 964311 w 4876786"/>
              <a:gd name="connsiteY38" fmla="*/ 3120009 h 4876779"/>
              <a:gd name="connsiteX39" fmla="*/ 769725 w 4876786"/>
              <a:gd name="connsiteY39" fmla="*/ 3169910 h 4876779"/>
              <a:gd name="connsiteX40" fmla="*/ 243840 w 4876786"/>
              <a:gd name="connsiteY40" fmla="*/ 3169910 h 4876779"/>
              <a:gd name="connsiteX41" fmla="*/ 0 w 4876786"/>
              <a:gd name="connsiteY41" fmla="*/ 3413751 h 4876779"/>
              <a:gd name="connsiteX42" fmla="*/ 0 w 4876786"/>
              <a:gd name="connsiteY42" fmla="*/ 4065127 h 4876779"/>
              <a:gd name="connsiteX43" fmla="*/ 241811 w 4876786"/>
              <a:gd name="connsiteY43" fmla="*/ 4308967 h 4876779"/>
              <a:gd name="connsiteX44" fmla="*/ 3982717 w 4876786"/>
              <a:gd name="connsiteY44" fmla="*/ 3272981 h 4876779"/>
              <a:gd name="connsiteX45" fmla="*/ 3762451 w 4876786"/>
              <a:gd name="connsiteY45" fmla="*/ 3412379 h 4876779"/>
              <a:gd name="connsiteX46" fmla="*/ 3509591 w 4876786"/>
              <a:gd name="connsiteY46" fmla="*/ 3142450 h 4876779"/>
              <a:gd name="connsiteX47" fmla="*/ 2763517 w 4876786"/>
              <a:gd name="connsiteY47" fmla="*/ 3024178 h 4876779"/>
              <a:gd name="connsiteX48" fmla="*/ 2763517 w 4876786"/>
              <a:gd name="connsiteY48" fmla="*/ 2220478 h 4876779"/>
              <a:gd name="connsiteX49" fmla="*/ 2942825 w 4876786"/>
              <a:gd name="connsiteY49" fmla="*/ 2490569 h 4876779"/>
              <a:gd name="connsiteX50" fmla="*/ 3219831 w 4876786"/>
              <a:gd name="connsiteY50" fmla="*/ 2590295 h 4876779"/>
              <a:gd name="connsiteX51" fmla="*/ 3982727 w 4876786"/>
              <a:gd name="connsiteY51" fmla="*/ 2350113 h 4876779"/>
              <a:gd name="connsiteX52" fmla="*/ 3982727 w 4876786"/>
              <a:gd name="connsiteY52" fmla="*/ 3272981 h 4876779"/>
              <a:gd name="connsiteX53" fmla="*/ 4220061 w 4876786"/>
              <a:gd name="connsiteY53" fmla="*/ 2074421 h 4876779"/>
              <a:gd name="connsiteX54" fmla="*/ 4169340 w 4876786"/>
              <a:gd name="connsiteY54" fmla="*/ 2120998 h 4876779"/>
              <a:gd name="connsiteX55" fmla="*/ 3171139 w 4876786"/>
              <a:gd name="connsiteY55" fmla="*/ 2435228 h 4876779"/>
              <a:gd name="connsiteX56" fmla="*/ 3078642 w 4876786"/>
              <a:gd name="connsiteY56" fmla="*/ 2401253 h 4876779"/>
              <a:gd name="connsiteX57" fmla="*/ 2811066 w 4876786"/>
              <a:gd name="connsiteY57" fmla="*/ 1998269 h 4876779"/>
              <a:gd name="connsiteX58" fmla="*/ 4023360 w 4876786"/>
              <a:gd name="connsiteY58" fmla="*/ 1641034 h 4876779"/>
              <a:gd name="connsiteX59" fmla="*/ 4217299 w 4876786"/>
              <a:gd name="connsiteY59" fmla="*/ 2004193 h 4876779"/>
              <a:gd name="connsiteX60" fmla="*/ 4220061 w 4876786"/>
              <a:gd name="connsiteY60" fmla="*/ 2074421 h 4876779"/>
              <a:gd name="connsiteX61" fmla="*/ 2600963 w 4876786"/>
              <a:gd name="connsiteY61" fmla="*/ 1453115 h 4876779"/>
              <a:gd name="connsiteX62" fmla="*/ 1993392 w 4876786"/>
              <a:gd name="connsiteY62" fmla="*/ 650234 h 4876779"/>
              <a:gd name="connsiteX63" fmla="*/ 2600963 w 4876786"/>
              <a:gd name="connsiteY63" fmla="*/ 650234 h 4876779"/>
              <a:gd name="connsiteX64" fmla="*/ 2763517 w 4876786"/>
              <a:gd name="connsiteY64" fmla="*/ 650234 h 4876779"/>
              <a:gd name="connsiteX65" fmla="*/ 3370926 w 4876786"/>
              <a:gd name="connsiteY65" fmla="*/ 650234 h 4876779"/>
              <a:gd name="connsiteX66" fmla="*/ 2763517 w 4876786"/>
              <a:gd name="connsiteY66" fmla="*/ 1453277 h 4876779"/>
              <a:gd name="connsiteX67" fmla="*/ 3169920 w 4876786"/>
              <a:gd name="connsiteY67" fmla="*/ 169221 h 4876779"/>
              <a:gd name="connsiteX68" fmla="*/ 3356867 w 4876786"/>
              <a:gd name="connsiteY68" fmla="*/ 487670 h 4876779"/>
              <a:gd name="connsiteX69" fmla="*/ 2855862 w 4876786"/>
              <a:gd name="connsiteY69" fmla="*/ 487670 h 4876779"/>
              <a:gd name="connsiteX70" fmla="*/ 3126772 w 4876786"/>
              <a:gd name="connsiteY70" fmla="*/ 162554 h 4876779"/>
              <a:gd name="connsiteX71" fmla="*/ 3152623 w 4876786"/>
              <a:gd name="connsiteY71" fmla="*/ 162554 h 4876779"/>
              <a:gd name="connsiteX72" fmla="*/ 3169920 w 4876786"/>
              <a:gd name="connsiteY72" fmla="*/ 169221 h 4876779"/>
              <a:gd name="connsiteX73" fmla="*/ 2682240 w 4876786"/>
              <a:gd name="connsiteY73" fmla="*/ 441998 h 4876779"/>
              <a:gd name="connsiteX74" fmla="*/ 2449459 w 4876786"/>
              <a:gd name="connsiteY74" fmla="*/ 162554 h 4876779"/>
              <a:gd name="connsiteX75" fmla="*/ 2915031 w 4876786"/>
              <a:gd name="connsiteY75" fmla="*/ 162554 h 4876779"/>
              <a:gd name="connsiteX76" fmla="*/ 2194560 w 4876786"/>
              <a:gd name="connsiteY76" fmla="*/ 169221 h 4876779"/>
              <a:gd name="connsiteX77" fmla="*/ 2211877 w 4876786"/>
              <a:gd name="connsiteY77" fmla="*/ 162554 h 4876779"/>
              <a:gd name="connsiteX78" fmla="*/ 2237727 w 4876786"/>
              <a:gd name="connsiteY78" fmla="*/ 162554 h 4876779"/>
              <a:gd name="connsiteX79" fmla="*/ 2508628 w 4876786"/>
              <a:gd name="connsiteY79" fmla="*/ 487670 h 4876779"/>
              <a:gd name="connsiteX80" fmla="*/ 2007622 w 4876786"/>
              <a:gd name="connsiteY80" fmla="*/ 487670 h 4876779"/>
              <a:gd name="connsiteX81" fmla="*/ 2311689 w 4876786"/>
              <a:gd name="connsiteY81" fmla="*/ 1340387 h 4876779"/>
              <a:gd name="connsiteX82" fmla="*/ 2528059 w 4876786"/>
              <a:gd name="connsiteY82" fmla="*/ 1626413 h 4876779"/>
              <a:gd name="connsiteX83" fmla="*/ 2682250 w 4876786"/>
              <a:gd name="connsiteY83" fmla="*/ 1706880 h 4876779"/>
              <a:gd name="connsiteX84" fmla="*/ 2834078 w 4876786"/>
              <a:gd name="connsiteY84" fmla="*/ 1629423 h 4876779"/>
              <a:gd name="connsiteX85" fmla="*/ 3052725 w 4876786"/>
              <a:gd name="connsiteY85" fmla="*/ 1340387 h 4876779"/>
              <a:gd name="connsiteX86" fmla="*/ 3772138 w 4876786"/>
              <a:gd name="connsiteY86" fmla="*/ 1545622 h 4876779"/>
              <a:gd name="connsiteX87" fmla="*/ 2682240 w 4876786"/>
              <a:gd name="connsiteY87" fmla="*/ 1866748 h 4876779"/>
              <a:gd name="connsiteX88" fmla="*/ 1592361 w 4876786"/>
              <a:gd name="connsiteY88" fmla="*/ 1545612 h 4876779"/>
              <a:gd name="connsiteX89" fmla="*/ 1144581 w 4876786"/>
              <a:gd name="connsiteY89" fmla="*/ 2074345 h 4876779"/>
              <a:gd name="connsiteX90" fmla="*/ 1146372 w 4876786"/>
              <a:gd name="connsiteY90" fmla="*/ 2005336 h 4876779"/>
              <a:gd name="connsiteX91" fmla="*/ 1341120 w 4876786"/>
              <a:gd name="connsiteY91" fmla="*/ 1641043 h 4876779"/>
              <a:gd name="connsiteX92" fmla="*/ 2553415 w 4876786"/>
              <a:gd name="connsiteY92" fmla="*/ 1998269 h 4876779"/>
              <a:gd name="connsiteX93" fmla="*/ 2285190 w 4876786"/>
              <a:gd name="connsiteY93" fmla="*/ 2401824 h 4876779"/>
              <a:gd name="connsiteX94" fmla="*/ 2193103 w 4876786"/>
              <a:gd name="connsiteY94" fmla="*/ 2435228 h 4876779"/>
              <a:gd name="connsiteX95" fmla="*/ 1194816 w 4876786"/>
              <a:gd name="connsiteY95" fmla="*/ 2121399 h 4876779"/>
              <a:gd name="connsiteX96" fmla="*/ 1144743 w 4876786"/>
              <a:gd name="connsiteY96" fmla="*/ 2074336 h 4876779"/>
              <a:gd name="connsiteX97" fmla="*/ 1144581 w 4876786"/>
              <a:gd name="connsiteY97" fmla="*/ 2074336 h 4876779"/>
              <a:gd name="connsiteX98" fmla="*/ 2144325 w 4876786"/>
              <a:gd name="connsiteY98" fmla="*/ 2590305 h 4876779"/>
              <a:gd name="connsiteX99" fmla="*/ 2216582 w 4876786"/>
              <a:gd name="connsiteY99" fmla="*/ 2601440 h 4876779"/>
              <a:gd name="connsiteX100" fmla="*/ 2420922 w 4876786"/>
              <a:gd name="connsiteY100" fmla="*/ 2491064 h 4876779"/>
              <a:gd name="connsiteX101" fmla="*/ 2600954 w 4876786"/>
              <a:gd name="connsiteY101" fmla="*/ 2220487 h 4876779"/>
              <a:gd name="connsiteX102" fmla="*/ 2600954 w 4876786"/>
              <a:gd name="connsiteY102" fmla="*/ 2998422 h 4876779"/>
              <a:gd name="connsiteX103" fmla="*/ 1667132 w 4876786"/>
              <a:gd name="connsiteY103" fmla="*/ 2850413 h 4876779"/>
              <a:gd name="connsiteX104" fmla="*/ 1381754 w 4876786"/>
              <a:gd name="connsiteY104" fmla="*/ 2894305 h 4876779"/>
              <a:gd name="connsiteX105" fmla="*/ 1381754 w 4876786"/>
              <a:gd name="connsiteY105" fmla="*/ 2350132 h 4876779"/>
              <a:gd name="connsiteX106" fmla="*/ 162563 w 4876786"/>
              <a:gd name="connsiteY106" fmla="*/ 3413751 h 4876779"/>
              <a:gd name="connsiteX107" fmla="*/ 243840 w 4876786"/>
              <a:gd name="connsiteY107" fmla="*/ 3332474 h 4876779"/>
              <a:gd name="connsiteX108" fmla="*/ 769725 w 4876786"/>
              <a:gd name="connsiteY108" fmla="*/ 3332474 h 4876779"/>
              <a:gd name="connsiteX109" fmla="*/ 1042254 w 4876786"/>
              <a:gd name="connsiteY109" fmla="*/ 3262980 h 4876779"/>
              <a:gd name="connsiteX110" fmla="*/ 1442314 w 4876786"/>
              <a:gd name="connsiteY110" fmla="*/ 3044581 h 4876779"/>
              <a:gd name="connsiteX111" fmla="*/ 1642101 w 4876786"/>
              <a:gd name="connsiteY111" fmla="*/ 3011015 h 4876779"/>
              <a:gd name="connsiteX112" fmla="*/ 3484560 w 4876786"/>
              <a:gd name="connsiteY112" fmla="*/ 3303051 h 4876779"/>
              <a:gd name="connsiteX113" fmla="*/ 3599307 w 4876786"/>
              <a:gd name="connsiteY113" fmla="*/ 3459947 h 4876779"/>
              <a:gd name="connsiteX114" fmla="*/ 3463671 w 4876786"/>
              <a:gd name="connsiteY114" fmla="*/ 3576314 h 4876779"/>
              <a:gd name="connsiteX115" fmla="*/ 1869443 w 4876786"/>
              <a:gd name="connsiteY115" fmla="*/ 3576314 h 4876779"/>
              <a:gd name="connsiteX116" fmla="*/ 1788166 w 4876786"/>
              <a:gd name="connsiteY116" fmla="*/ 3657591 h 4876779"/>
              <a:gd name="connsiteX117" fmla="*/ 1869443 w 4876786"/>
              <a:gd name="connsiteY117" fmla="*/ 3738867 h 4876779"/>
              <a:gd name="connsiteX118" fmla="*/ 2248529 w 4876786"/>
              <a:gd name="connsiteY118" fmla="*/ 3738867 h 4876779"/>
              <a:gd name="connsiteX119" fmla="*/ 2729218 w 4876786"/>
              <a:gd name="connsiteY119" fmla="*/ 4104056 h 4876779"/>
              <a:gd name="connsiteX120" fmla="*/ 2958513 w 4876786"/>
              <a:gd name="connsiteY120" fmla="*/ 4113724 h 4876779"/>
              <a:gd name="connsiteX121" fmla="*/ 4550702 w 4876786"/>
              <a:gd name="connsiteY121" fmla="*/ 3105855 h 4876779"/>
              <a:gd name="connsiteX122" fmla="*/ 4684567 w 4876786"/>
              <a:gd name="connsiteY122" fmla="*/ 3121457 h 4876779"/>
              <a:gd name="connsiteX123" fmla="*/ 4686596 w 4876786"/>
              <a:gd name="connsiteY123" fmla="*/ 3123810 h 4876779"/>
              <a:gd name="connsiteX124" fmla="*/ 4679280 w 4876786"/>
              <a:gd name="connsiteY124" fmla="*/ 3274209 h 4876779"/>
              <a:gd name="connsiteX125" fmla="*/ 4673756 w 4876786"/>
              <a:gd name="connsiteY125" fmla="*/ 3278886 h 4876779"/>
              <a:gd name="connsiteX126" fmla="*/ 2849270 w 4876786"/>
              <a:gd name="connsiteY126" fmla="*/ 4664650 h 4876779"/>
              <a:gd name="connsiteX127" fmla="*/ 2627290 w 4876786"/>
              <a:gd name="connsiteY127" fmla="*/ 4702445 h 4876779"/>
              <a:gd name="connsiteX128" fmla="*/ 994381 w 4876786"/>
              <a:gd name="connsiteY128" fmla="*/ 4176322 h 4876779"/>
              <a:gd name="connsiteX129" fmla="*/ 821007 w 4876786"/>
              <a:gd name="connsiteY129" fmla="*/ 4148928 h 4876779"/>
              <a:gd name="connsiteX130" fmla="*/ 820112 w 4876786"/>
              <a:gd name="connsiteY130" fmla="*/ 4148928 h 4876779"/>
              <a:gd name="connsiteX131" fmla="*/ 243021 w 4876786"/>
              <a:gd name="connsiteY131" fmla="*/ 4146404 h 4876779"/>
              <a:gd name="connsiteX132" fmla="*/ 162801 w 4876786"/>
              <a:gd name="connsiteY132" fmla="*/ 4065127 h 4876779"/>
              <a:gd name="connsiteX133" fmla="*/ 3246730 w 4876786"/>
              <a:gd name="connsiteY133" fmla="*/ 3738877 h 4876779"/>
              <a:gd name="connsiteX134" fmla="*/ 2871540 w 4876786"/>
              <a:gd name="connsiteY134" fmla="*/ 3976459 h 4876779"/>
              <a:gd name="connsiteX135" fmla="*/ 2827401 w 4876786"/>
              <a:gd name="connsiteY135" fmla="*/ 3974592 h 4876779"/>
              <a:gd name="connsiteX136" fmla="*/ 2517239 w 4876786"/>
              <a:gd name="connsiteY136" fmla="*/ 3738877 h 4876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4876786" h="4876779">
                <a:moveTo>
                  <a:pt x="241811" y="4308967"/>
                </a:moveTo>
                <a:cubicBezTo>
                  <a:pt x="412985" y="4309939"/>
                  <a:pt x="676980" y="4311492"/>
                  <a:pt x="810768" y="4311492"/>
                </a:cubicBezTo>
                <a:cubicBezTo>
                  <a:pt x="814178" y="4311815"/>
                  <a:pt x="817607" y="4311815"/>
                  <a:pt x="821007" y="4311492"/>
                </a:cubicBezTo>
                <a:cubicBezTo>
                  <a:pt x="863041" y="4311549"/>
                  <a:pt x="904799" y="4318159"/>
                  <a:pt x="944794" y="4331084"/>
                </a:cubicBezTo>
                <a:lnTo>
                  <a:pt x="2577465" y="4857293"/>
                </a:lnTo>
                <a:cubicBezTo>
                  <a:pt x="2703748" y="4897870"/>
                  <a:pt x="2841889" y="4874266"/>
                  <a:pt x="2947530" y="4794057"/>
                </a:cubicBezTo>
                <a:lnTo>
                  <a:pt x="4772682" y="3407655"/>
                </a:lnTo>
                <a:cubicBezTo>
                  <a:pt x="4890040" y="3316605"/>
                  <a:pt x="4911376" y="3147651"/>
                  <a:pt x="4820317" y="3030293"/>
                </a:cubicBezTo>
                <a:cubicBezTo>
                  <a:pt x="4816774" y="3025731"/>
                  <a:pt x="4813088" y="3021273"/>
                  <a:pt x="4809258" y="3016949"/>
                </a:cubicBezTo>
                <a:lnTo>
                  <a:pt x="4806496" y="3013777"/>
                </a:lnTo>
                <a:cubicBezTo>
                  <a:pt x="4718647" y="2916184"/>
                  <a:pt x="4572800" y="2897143"/>
                  <a:pt x="4462844" y="2968914"/>
                </a:cubicBezTo>
                <a:lnTo>
                  <a:pt x="4145280" y="3169910"/>
                </a:lnTo>
                <a:lnTo>
                  <a:pt x="4145280" y="2298992"/>
                </a:lnTo>
                <a:lnTo>
                  <a:pt x="4218432" y="2275827"/>
                </a:lnTo>
                <a:cubicBezTo>
                  <a:pt x="4348391" y="2232736"/>
                  <a:pt x="4418800" y="2092452"/>
                  <a:pt x="4375709" y="1962493"/>
                </a:cubicBezTo>
                <a:cubicBezTo>
                  <a:pt x="4371842" y="1950834"/>
                  <a:pt x="4367117" y="1939471"/>
                  <a:pt x="4361565" y="1928517"/>
                </a:cubicBezTo>
                <a:cubicBezTo>
                  <a:pt x="4361565" y="1928517"/>
                  <a:pt x="4136012" y="1505864"/>
                  <a:pt x="4135279" y="1506512"/>
                </a:cubicBezTo>
                <a:cubicBezTo>
                  <a:pt x="4125278" y="1486853"/>
                  <a:pt x="4107647" y="1472165"/>
                  <a:pt x="4086511" y="1465869"/>
                </a:cubicBezTo>
                <a:lnTo>
                  <a:pt x="3157966" y="1201303"/>
                </a:lnTo>
                <a:lnTo>
                  <a:pt x="3542338" y="693144"/>
                </a:lnTo>
                <a:lnTo>
                  <a:pt x="3544453" y="690058"/>
                </a:lnTo>
                <a:cubicBezTo>
                  <a:pt x="3587867" y="627145"/>
                  <a:pt x="3586896" y="543697"/>
                  <a:pt x="3542014" y="481822"/>
                </a:cubicBezTo>
                <a:lnTo>
                  <a:pt x="3306394" y="80705"/>
                </a:lnTo>
                <a:cubicBezTo>
                  <a:pt x="3304632" y="77867"/>
                  <a:pt x="3302670" y="75152"/>
                  <a:pt x="3300546" y="72581"/>
                </a:cubicBezTo>
                <a:cubicBezTo>
                  <a:pt x="3265065" y="26880"/>
                  <a:pt x="3210478" y="95"/>
                  <a:pt x="3152613" y="0"/>
                </a:cubicBezTo>
                <a:lnTo>
                  <a:pt x="2211877" y="0"/>
                </a:lnTo>
                <a:cubicBezTo>
                  <a:pt x="2154069" y="19"/>
                  <a:pt x="2099501" y="26680"/>
                  <a:pt x="2063944" y="72257"/>
                </a:cubicBezTo>
                <a:cubicBezTo>
                  <a:pt x="2061810" y="74828"/>
                  <a:pt x="2059857" y="77543"/>
                  <a:pt x="2058095" y="80381"/>
                </a:cubicBezTo>
                <a:lnTo>
                  <a:pt x="1822380" y="481498"/>
                </a:lnTo>
                <a:cubicBezTo>
                  <a:pt x="1777213" y="544706"/>
                  <a:pt x="1777213" y="629622"/>
                  <a:pt x="1822380" y="692829"/>
                </a:cubicBezTo>
                <a:lnTo>
                  <a:pt x="2206838" y="1200988"/>
                </a:lnTo>
                <a:lnTo>
                  <a:pt x="1278217" y="1466126"/>
                </a:lnTo>
                <a:cubicBezTo>
                  <a:pt x="1257071" y="1472698"/>
                  <a:pt x="1239326" y="1487281"/>
                  <a:pt x="1228801" y="1506769"/>
                </a:cubicBezTo>
                <a:lnTo>
                  <a:pt x="1002602" y="1930317"/>
                </a:lnTo>
                <a:cubicBezTo>
                  <a:pt x="941565" y="2052723"/>
                  <a:pt x="991305" y="2201428"/>
                  <a:pt x="1113711" y="2262473"/>
                </a:cubicBezTo>
                <a:cubicBezTo>
                  <a:pt x="1124169" y="2267684"/>
                  <a:pt x="1134980" y="2272151"/>
                  <a:pt x="1146058" y="2275837"/>
                </a:cubicBezTo>
                <a:lnTo>
                  <a:pt x="1219210" y="2298754"/>
                </a:lnTo>
                <a:lnTo>
                  <a:pt x="1219210" y="2980858"/>
                </a:lnTo>
                <a:lnTo>
                  <a:pt x="964311" y="3120009"/>
                </a:lnTo>
                <a:cubicBezTo>
                  <a:pt x="904637" y="3152642"/>
                  <a:pt x="837743" y="3169796"/>
                  <a:pt x="769725" y="3169910"/>
                </a:cubicBezTo>
                <a:lnTo>
                  <a:pt x="243840" y="3169910"/>
                </a:lnTo>
                <a:cubicBezTo>
                  <a:pt x="109176" y="3169910"/>
                  <a:pt x="0" y="3279086"/>
                  <a:pt x="0" y="3413751"/>
                </a:cubicBezTo>
                <a:lnTo>
                  <a:pt x="0" y="4065127"/>
                </a:lnTo>
                <a:cubicBezTo>
                  <a:pt x="257" y="4198906"/>
                  <a:pt x="108042" y="4307596"/>
                  <a:pt x="241811" y="4308967"/>
                </a:cubicBezTo>
                <a:close/>
                <a:moveTo>
                  <a:pt x="3982717" y="3272981"/>
                </a:moveTo>
                <a:lnTo>
                  <a:pt x="3762451" y="3412379"/>
                </a:lnTo>
                <a:cubicBezTo>
                  <a:pt x="3751021" y="3274619"/>
                  <a:pt x="3646303" y="3162834"/>
                  <a:pt x="3509591" y="3142450"/>
                </a:cubicBezTo>
                <a:lnTo>
                  <a:pt x="2763517" y="3024178"/>
                </a:lnTo>
                <a:lnTo>
                  <a:pt x="2763517" y="2220478"/>
                </a:lnTo>
                <a:lnTo>
                  <a:pt x="2942825" y="2490569"/>
                </a:lnTo>
                <a:cubicBezTo>
                  <a:pt x="3002499" y="2581980"/>
                  <a:pt x="3115580" y="2622690"/>
                  <a:pt x="3219831" y="2590295"/>
                </a:cubicBezTo>
                <a:lnTo>
                  <a:pt x="3982727" y="2350113"/>
                </a:lnTo>
                <a:lnTo>
                  <a:pt x="3982727" y="3272981"/>
                </a:lnTo>
                <a:close/>
                <a:moveTo>
                  <a:pt x="4220061" y="2074421"/>
                </a:moveTo>
                <a:cubicBezTo>
                  <a:pt x="4210965" y="2096748"/>
                  <a:pt x="4192362" y="2113836"/>
                  <a:pt x="4169340" y="2120998"/>
                </a:cubicBezTo>
                <a:lnTo>
                  <a:pt x="3171139" y="2435228"/>
                </a:lnTo>
                <a:cubicBezTo>
                  <a:pt x="3136173" y="2446010"/>
                  <a:pt x="3098311" y="2432104"/>
                  <a:pt x="3078642" y="2401253"/>
                </a:cubicBezTo>
                <a:lnTo>
                  <a:pt x="2811066" y="1998269"/>
                </a:lnTo>
                <a:lnTo>
                  <a:pt x="4023360" y="1641034"/>
                </a:lnTo>
                <a:lnTo>
                  <a:pt x="4217299" y="2004193"/>
                </a:lnTo>
                <a:cubicBezTo>
                  <a:pt x="4228491" y="2026063"/>
                  <a:pt x="4229510" y="2051742"/>
                  <a:pt x="4220061" y="2074421"/>
                </a:cubicBezTo>
                <a:close/>
                <a:moveTo>
                  <a:pt x="2600963" y="1453115"/>
                </a:moveTo>
                <a:lnTo>
                  <a:pt x="1993392" y="650234"/>
                </a:lnTo>
                <a:lnTo>
                  <a:pt x="2600963" y="650234"/>
                </a:lnTo>
                <a:close/>
                <a:moveTo>
                  <a:pt x="2763517" y="650234"/>
                </a:moveTo>
                <a:lnTo>
                  <a:pt x="3370926" y="650234"/>
                </a:lnTo>
                <a:lnTo>
                  <a:pt x="2763517" y="1453277"/>
                </a:lnTo>
                <a:close/>
                <a:moveTo>
                  <a:pt x="3169920" y="169221"/>
                </a:moveTo>
                <a:lnTo>
                  <a:pt x="3356867" y="487670"/>
                </a:lnTo>
                <a:lnTo>
                  <a:pt x="2855862" y="487670"/>
                </a:lnTo>
                <a:lnTo>
                  <a:pt x="3126772" y="162554"/>
                </a:lnTo>
                <a:lnTo>
                  <a:pt x="3152623" y="162554"/>
                </a:lnTo>
                <a:cubicBezTo>
                  <a:pt x="3159033" y="162411"/>
                  <a:pt x="3165253" y="164802"/>
                  <a:pt x="3169920" y="169221"/>
                </a:cubicBezTo>
                <a:close/>
                <a:moveTo>
                  <a:pt x="2682240" y="441998"/>
                </a:moveTo>
                <a:lnTo>
                  <a:pt x="2449459" y="162554"/>
                </a:lnTo>
                <a:lnTo>
                  <a:pt x="2915031" y="162554"/>
                </a:lnTo>
                <a:close/>
                <a:moveTo>
                  <a:pt x="2194560" y="169221"/>
                </a:moveTo>
                <a:cubicBezTo>
                  <a:pt x="2199227" y="164802"/>
                  <a:pt x="2205447" y="162411"/>
                  <a:pt x="2211877" y="162554"/>
                </a:cubicBezTo>
                <a:lnTo>
                  <a:pt x="2237727" y="162554"/>
                </a:lnTo>
                <a:lnTo>
                  <a:pt x="2508628" y="487670"/>
                </a:lnTo>
                <a:lnTo>
                  <a:pt x="2007622" y="487670"/>
                </a:lnTo>
                <a:close/>
                <a:moveTo>
                  <a:pt x="2311689" y="1340387"/>
                </a:moveTo>
                <a:lnTo>
                  <a:pt x="2528059" y="1626413"/>
                </a:lnTo>
                <a:cubicBezTo>
                  <a:pt x="2563035" y="1677029"/>
                  <a:pt x="2620728" y="1707137"/>
                  <a:pt x="2682250" y="1706880"/>
                </a:cubicBezTo>
                <a:cubicBezTo>
                  <a:pt x="2742467" y="1707375"/>
                  <a:pt x="2799131" y="1678457"/>
                  <a:pt x="2834078" y="1629423"/>
                </a:cubicBezTo>
                <a:lnTo>
                  <a:pt x="3052725" y="1340387"/>
                </a:lnTo>
                <a:lnTo>
                  <a:pt x="3772138" y="1545622"/>
                </a:lnTo>
                <a:lnTo>
                  <a:pt x="2682240" y="1866748"/>
                </a:lnTo>
                <a:lnTo>
                  <a:pt x="1592361" y="1545612"/>
                </a:lnTo>
                <a:close/>
                <a:moveTo>
                  <a:pt x="1144581" y="2074345"/>
                </a:moveTo>
                <a:cubicBezTo>
                  <a:pt x="1134961" y="2052209"/>
                  <a:pt x="1135618" y="2026949"/>
                  <a:pt x="1146372" y="2005336"/>
                </a:cubicBezTo>
                <a:lnTo>
                  <a:pt x="1341120" y="1641043"/>
                </a:lnTo>
                <a:lnTo>
                  <a:pt x="2553415" y="1998269"/>
                </a:lnTo>
                <a:lnTo>
                  <a:pt x="2285190" y="2401824"/>
                </a:lnTo>
                <a:cubicBezTo>
                  <a:pt x="2265407" y="2432285"/>
                  <a:pt x="2227812" y="2445925"/>
                  <a:pt x="2193103" y="2435228"/>
                </a:cubicBezTo>
                <a:lnTo>
                  <a:pt x="1194816" y="2121399"/>
                </a:lnTo>
                <a:cubicBezTo>
                  <a:pt x="1172042" y="2113798"/>
                  <a:pt x="1153744" y="2096595"/>
                  <a:pt x="1144743" y="2074336"/>
                </a:cubicBezTo>
                <a:lnTo>
                  <a:pt x="1144581" y="2074336"/>
                </a:lnTo>
                <a:close/>
                <a:moveTo>
                  <a:pt x="2144325" y="2590305"/>
                </a:moveTo>
                <a:cubicBezTo>
                  <a:pt x="2167709" y="2597668"/>
                  <a:pt x="2192074" y="2601420"/>
                  <a:pt x="2216582" y="2601440"/>
                </a:cubicBezTo>
                <a:cubicBezTo>
                  <a:pt x="2298964" y="2601525"/>
                  <a:pt x="2375830" y="2560015"/>
                  <a:pt x="2420922" y="2491064"/>
                </a:cubicBezTo>
                <a:lnTo>
                  <a:pt x="2600954" y="2220487"/>
                </a:lnTo>
                <a:lnTo>
                  <a:pt x="2600954" y="2998422"/>
                </a:lnTo>
                <a:lnTo>
                  <a:pt x="1667132" y="2850413"/>
                </a:lnTo>
                <a:cubicBezTo>
                  <a:pt x="1569758" y="2835774"/>
                  <a:pt x="1470231" y="2851080"/>
                  <a:pt x="1381754" y="2894305"/>
                </a:cubicBezTo>
                <a:lnTo>
                  <a:pt x="1381754" y="2350132"/>
                </a:lnTo>
                <a:close/>
                <a:moveTo>
                  <a:pt x="162563" y="3413751"/>
                </a:moveTo>
                <a:cubicBezTo>
                  <a:pt x="162563" y="3368859"/>
                  <a:pt x="198958" y="3332474"/>
                  <a:pt x="243840" y="3332474"/>
                </a:cubicBezTo>
                <a:lnTo>
                  <a:pt x="769725" y="3332474"/>
                </a:lnTo>
                <a:cubicBezTo>
                  <a:pt x="864946" y="3332398"/>
                  <a:pt x="958625" y="3308509"/>
                  <a:pt x="1042254" y="3262980"/>
                </a:cubicBezTo>
                <a:lnTo>
                  <a:pt x="1442314" y="3044581"/>
                </a:lnTo>
                <a:cubicBezTo>
                  <a:pt x="1503645" y="3012424"/>
                  <a:pt x="1573625" y="3000671"/>
                  <a:pt x="1642101" y="3011015"/>
                </a:cubicBezTo>
                <a:lnTo>
                  <a:pt x="3484560" y="3303051"/>
                </a:lnTo>
                <a:cubicBezTo>
                  <a:pt x="3559569" y="3314691"/>
                  <a:pt x="3610947" y="3384937"/>
                  <a:pt x="3599307" y="3459947"/>
                </a:cubicBezTo>
                <a:cubicBezTo>
                  <a:pt x="3588925" y="3526850"/>
                  <a:pt x="3531375" y="3576219"/>
                  <a:pt x="3463671" y="3576314"/>
                </a:cubicBezTo>
                <a:lnTo>
                  <a:pt x="1869443" y="3576314"/>
                </a:lnTo>
                <a:cubicBezTo>
                  <a:pt x="1824552" y="3576314"/>
                  <a:pt x="1788166" y="3612699"/>
                  <a:pt x="1788166" y="3657591"/>
                </a:cubicBezTo>
                <a:cubicBezTo>
                  <a:pt x="1788166" y="3702482"/>
                  <a:pt x="1824561" y="3738867"/>
                  <a:pt x="1869443" y="3738867"/>
                </a:cubicBezTo>
                <a:lnTo>
                  <a:pt x="2248529" y="3738867"/>
                </a:lnTo>
                <a:lnTo>
                  <a:pt x="2729218" y="4104056"/>
                </a:lnTo>
                <a:cubicBezTo>
                  <a:pt x="2796207" y="4154624"/>
                  <a:pt x="2887494" y="4158482"/>
                  <a:pt x="2958513" y="4113724"/>
                </a:cubicBezTo>
                <a:lnTo>
                  <a:pt x="4550702" y="3105855"/>
                </a:lnTo>
                <a:cubicBezTo>
                  <a:pt x="4593212" y="3077928"/>
                  <a:pt x="4649629" y="3084500"/>
                  <a:pt x="4684567" y="3121457"/>
                </a:cubicBezTo>
                <a:cubicBezTo>
                  <a:pt x="4685205" y="3122276"/>
                  <a:pt x="4685881" y="3123067"/>
                  <a:pt x="4686596" y="3123810"/>
                </a:cubicBezTo>
                <a:cubicBezTo>
                  <a:pt x="4726105" y="3167367"/>
                  <a:pt x="4722829" y="3234700"/>
                  <a:pt x="4679280" y="3274209"/>
                </a:cubicBezTo>
                <a:cubicBezTo>
                  <a:pt x="4677490" y="3275829"/>
                  <a:pt x="4675651" y="3277391"/>
                  <a:pt x="4673756" y="3278886"/>
                </a:cubicBezTo>
                <a:lnTo>
                  <a:pt x="2849270" y="4664650"/>
                </a:lnTo>
                <a:cubicBezTo>
                  <a:pt x="2785872" y="4712704"/>
                  <a:pt x="2703024" y="4726810"/>
                  <a:pt x="2627290" y="4702445"/>
                </a:cubicBezTo>
                <a:lnTo>
                  <a:pt x="994381" y="4176322"/>
                </a:lnTo>
                <a:cubicBezTo>
                  <a:pt x="938374" y="4158225"/>
                  <a:pt x="879872" y="4148976"/>
                  <a:pt x="821007" y="4148928"/>
                </a:cubicBezTo>
                <a:lnTo>
                  <a:pt x="820112" y="4148928"/>
                </a:lnTo>
                <a:cubicBezTo>
                  <a:pt x="692258" y="4148518"/>
                  <a:pt x="418024" y="4147461"/>
                  <a:pt x="243021" y="4146404"/>
                </a:cubicBezTo>
                <a:cubicBezTo>
                  <a:pt x="198549" y="4145823"/>
                  <a:pt x="162792" y="4109609"/>
                  <a:pt x="162801" y="4065127"/>
                </a:cubicBezTo>
                <a:close/>
                <a:moveTo>
                  <a:pt x="3246730" y="3738877"/>
                </a:moveTo>
                <a:lnTo>
                  <a:pt x="2871540" y="3976459"/>
                </a:lnTo>
                <a:cubicBezTo>
                  <a:pt x="2857843" y="3984955"/>
                  <a:pt x="2840336" y="3984212"/>
                  <a:pt x="2827401" y="3974592"/>
                </a:cubicBezTo>
                <a:lnTo>
                  <a:pt x="2517239" y="3738877"/>
                </a:lnTo>
                <a:close/>
              </a:path>
            </a:pathLst>
          </a:custGeom>
          <a:solidFill>
            <a:srgbClr val="000000"/>
          </a:solidFill>
          <a:ln w="9525" cap="flat">
            <a:noFill/>
            <a:prstDash val="solid"/>
            <a:miter/>
          </a:ln>
        </p:spPr>
        <p:txBody>
          <a:bodyPr rtlCol="0" anchor="ctr"/>
          <a:lstStyle/>
          <a:p>
            <a:endParaRPr lang="es-ES"/>
          </a:p>
        </p:txBody>
      </p:sp>
    </p:spTree>
    <p:extLst>
      <p:ext uri="{BB962C8B-B14F-4D97-AF65-F5344CB8AC3E}">
        <p14:creationId xmlns:p14="http://schemas.microsoft.com/office/powerpoint/2010/main" val="1158298562"/>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25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8683617"/>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6" name="Picture Placeholder 5"/>
          <p:cNvSpPr>
            <a:spLocks noGrp="1"/>
          </p:cNvSpPr>
          <p:nvPr>
            <p:ph type="pic" sz="quarter" idx="13" hasCustomPrompt="1"/>
          </p:nvPr>
        </p:nvSpPr>
        <p:spPr>
          <a:xfrm>
            <a:off x="0" y="0"/>
            <a:ext cx="12192000" cy="6858000"/>
          </a:xfrm>
          <a:prstGeom prst="rect">
            <a:avLst/>
          </a:prstGeom>
          <a:pattFill prst="pct10">
            <a:fgClr>
              <a:schemeClr val="tx1"/>
            </a:fgClr>
            <a:bgClr>
              <a:schemeClr val="bg1"/>
            </a:bgClr>
          </a:pattFill>
        </p:spPr>
        <p:txBody>
          <a:bodyPr wrap="square" anchor="ctr">
            <a:noAutofit/>
          </a:bodyPr>
          <a:lstStyle>
            <a:lvl1pPr algn="ctr">
              <a:defRPr sz="1600" b="0" i="0">
                <a:latin typeface="Arial Normal" charset="0"/>
                <a:ea typeface="Arial Normal" charset="0"/>
                <a:cs typeface="Arial Normal" charset="0"/>
              </a:defRPr>
            </a:lvl1pPr>
          </a:lstStyle>
          <a:p>
            <a:r>
              <a:rPr lang="en-US"/>
              <a:t>Insert Image</a:t>
            </a:r>
          </a:p>
        </p:txBody>
      </p:sp>
    </p:spTree>
    <p:extLst>
      <p:ext uri="{BB962C8B-B14F-4D97-AF65-F5344CB8AC3E}">
        <p14:creationId xmlns:p14="http://schemas.microsoft.com/office/powerpoint/2010/main" val="1836158046"/>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2021 - Introducción">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50040F2E-A856-F74D-B747-8F63180F396D}"/>
              </a:ext>
            </a:extLst>
          </p:cNvPr>
          <p:cNvSpPr>
            <a:spLocks noGrp="1"/>
          </p:cNvSpPr>
          <p:nvPr>
            <p:ph type="title"/>
          </p:nvPr>
        </p:nvSpPr>
        <p:spPr>
          <a:xfrm>
            <a:off x="1138892" y="36122"/>
            <a:ext cx="10610449" cy="276999"/>
          </a:xfrm>
        </p:spPr>
        <p:txBody>
          <a:bodyPr/>
          <a:lstStyle>
            <a:lvl1pPr>
              <a:defRPr cap="all" baseline="0"/>
            </a:lvl1pPr>
          </a:lstStyle>
          <a:p>
            <a:r>
              <a:rPr lang="es-ES_tradnl" noProof="0"/>
              <a:t>Haga clic para modificar el estilo de título del patrón</a:t>
            </a:r>
          </a:p>
        </p:txBody>
      </p:sp>
      <p:sp>
        <p:nvSpPr>
          <p:cNvPr id="4" name="Marcador de texto 4">
            <a:extLst>
              <a:ext uri="{FF2B5EF4-FFF2-40B4-BE49-F238E27FC236}">
                <a16:creationId xmlns:a16="http://schemas.microsoft.com/office/drawing/2014/main" id="{DED7AFAC-0516-FB48-9E02-44CC62A80883}"/>
              </a:ext>
            </a:extLst>
          </p:cNvPr>
          <p:cNvSpPr>
            <a:spLocks noGrp="1"/>
          </p:cNvSpPr>
          <p:nvPr>
            <p:ph type="body" sz="quarter" idx="11"/>
          </p:nvPr>
        </p:nvSpPr>
        <p:spPr>
          <a:xfrm>
            <a:off x="1138639" y="290195"/>
            <a:ext cx="10610449" cy="217488"/>
          </a:xfrm>
        </p:spPr>
        <p:txBody>
          <a:bodyPr/>
          <a:lstStyle>
            <a:lvl1pPr>
              <a:defRPr sz="1200">
                <a:solidFill>
                  <a:schemeClr val="tx2"/>
                </a:solidFill>
              </a:defRPr>
            </a:lvl1pPr>
          </a:lstStyle>
          <a:p>
            <a:pPr lvl="0"/>
            <a:r>
              <a:rPr lang="es-ES_tradnl" noProof="0"/>
              <a:t>Haga clic para modificar los estilos de texto del patrón</a:t>
            </a:r>
          </a:p>
        </p:txBody>
      </p:sp>
      <p:sp>
        <p:nvSpPr>
          <p:cNvPr id="9" name="Rectángulo 8">
            <a:extLst>
              <a:ext uri="{FF2B5EF4-FFF2-40B4-BE49-F238E27FC236}">
                <a16:creationId xmlns:a16="http://schemas.microsoft.com/office/drawing/2014/main" id="{9D31E6A8-7FC5-D346-B913-27F3CB84C0BF}"/>
              </a:ext>
            </a:extLst>
          </p:cNvPr>
          <p:cNvSpPr/>
          <p:nvPr userDrawn="1"/>
        </p:nvSpPr>
        <p:spPr bwMode="auto">
          <a:xfrm>
            <a:off x="596159" y="67814"/>
            <a:ext cx="405613" cy="405613"/>
          </a:xfrm>
          <a:prstGeom prst="rect">
            <a:avLst/>
          </a:prstGeom>
          <a:solidFill>
            <a:schemeClr val="bg1"/>
          </a:solidFill>
          <a:ln w="25400" cap="flat">
            <a:solidFill>
              <a:schemeClr val="accent6"/>
            </a:solidFill>
            <a:miter lim="800000"/>
          </a:ln>
        </p:spPr>
        <p:txBody>
          <a:bodyPr lIns="0" tIns="0" rIns="0" bIns="0" rtlCol="0" anchor="ctr">
            <a:noAutofit/>
          </a:bodyPr>
          <a:lstStyle/>
          <a:p>
            <a:pPr algn="ctr"/>
            <a:endParaRPr lang="es-ES_tradnl" sz="1400" noProof="0"/>
          </a:p>
        </p:txBody>
      </p:sp>
      <p:sp>
        <p:nvSpPr>
          <p:cNvPr id="11" name="Rectangle 12">
            <a:extLst>
              <a:ext uri="{FF2B5EF4-FFF2-40B4-BE49-F238E27FC236}">
                <a16:creationId xmlns:a16="http://schemas.microsoft.com/office/drawing/2014/main" id="{76E17A97-AF6C-4C45-A2C7-7F159E8CF989}"/>
              </a:ext>
            </a:extLst>
          </p:cNvPr>
          <p:cNvSpPr/>
          <p:nvPr userDrawn="1"/>
        </p:nvSpPr>
        <p:spPr>
          <a:xfrm>
            <a:off x="9457765" y="6579030"/>
            <a:ext cx="2734235" cy="278969"/>
          </a:xfrm>
          <a:prstGeom prst="rect">
            <a:avLst/>
          </a:prstGeom>
          <a:solidFill>
            <a:schemeClr val="accent6"/>
          </a:solidFill>
        </p:spPr>
        <p:txBody>
          <a:bodyPr wrap="square" lIns="0" tIns="0" rIns="0" bIns="0" rtlCol="0" anchor="ctr" anchorCtr="0">
            <a:noAutofit/>
          </a:bodyPr>
          <a:lstStyle/>
          <a:p>
            <a:pPr algn="ctr"/>
            <a:r>
              <a:rPr lang="en-US" sz="800" b="1">
                <a:solidFill>
                  <a:schemeClr val="bg1"/>
                </a:solidFill>
                <a:cs typeface="Arial" panose="020B0604020202020204" pitchFamily="34" charset="0"/>
              </a:rPr>
              <a:t>NUESTRA PROPUESTA DE VALOR</a:t>
            </a:r>
          </a:p>
        </p:txBody>
      </p:sp>
      <p:sp>
        <p:nvSpPr>
          <p:cNvPr id="12" name="Gráfico 5">
            <a:extLst>
              <a:ext uri="{FF2B5EF4-FFF2-40B4-BE49-F238E27FC236}">
                <a16:creationId xmlns:a16="http://schemas.microsoft.com/office/drawing/2014/main" id="{1DD10BD7-906F-894A-9324-871E53291A86}"/>
              </a:ext>
            </a:extLst>
          </p:cNvPr>
          <p:cNvSpPr/>
          <p:nvPr userDrawn="1"/>
        </p:nvSpPr>
        <p:spPr>
          <a:xfrm>
            <a:off x="664737" y="130484"/>
            <a:ext cx="268456" cy="268455"/>
          </a:xfrm>
          <a:custGeom>
            <a:avLst/>
            <a:gdLst>
              <a:gd name="connsiteX0" fmla="*/ 241811 w 4876786"/>
              <a:gd name="connsiteY0" fmla="*/ 4308967 h 4876779"/>
              <a:gd name="connsiteX1" fmla="*/ 810768 w 4876786"/>
              <a:gd name="connsiteY1" fmla="*/ 4311492 h 4876779"/>
              <a:gd name="connsiteX2" fmla="*/ 821007 w 4876786"/>
              <a:gd name="connsiteY2" fmla="*/ 4311492 h 4876779"/>
              <a:gd name="connsiteX3" fmla="*/ 944794 w 4876786"/>
              <a:gd name="connsiteY3" fmla="*/ 4331084 h 4876779"/>
              <a:gd name="connsiteX4" fmla="*/ 2577465 w 4876786"/>
              <a:gd name="connsiteY4" fmla="*/ 4857293 h 4876779"/>
              <a:gd name="connsiteX5" fmla="*/ 2947530 w 4876786"/>
              <a:gd name="connsiteY5" fmla="*/ 4794057 h 4876779"/>
              <a:gd name="connsiteX6" fmla="*/ 4772682 w 4876786"/>
              <a:gd name="connsiteY6" fmla="*/ 3407655 h 4876779"/>
              <a:gd name="connsiteX7" fmla="*/ 4820317 w 4876786"/>
              <a:gd name="connsiteY7" fmla="*/ 3030293 h 4876779"/>
              <a:gd name="connsiteX8" fmla="*/ 4809258 w 4876786"/>
              <a:gd name="connsiteY8" fmla="*/ 3016949 h 4876779"/>
              <a:gd name="connsiteX9" fmla="*/ 4806496 w 4876786"/>
              <a:gd name="connsiteY9" fmla="*/ 3013777 h 4876779"/>
              <a:gd name="connsiteX10" fmla="*/ 4462844 w 4876786"/>
              <a:gd name="connsiteY10" fmla="*/ 2968914 h 4876779"/>
              <a:gd name="connsiteX11" fmla="*/ 4145280 w 4876786"/>
              <a:gd name="connsiteY11" fmla="*/ 3169910 h 4876779"/>
              <a:gd name="connsiteX12" fmla="*/ 4145280 w 4876786"/>
              <a:gd name="connsiteY12" fmla="*/ 2298992 h 4876779"/>
              <a:gd name="connsiteX13" fmla="*/ 4218432 w 4876786"/>
              <a:gd name="connsiteY13" fmla="*/ 2275827 h 4876779"/>
              <a:gd name="connsiteX14" fmla="*/ 4375709 w 4876786"/>
              <a:gd name="connsiteY14" fmla="*/ 1962493 h 4876779"/>
              <a:gd name="connsiteX15" fmla="*/ 4361565 w 4876786"/>
              <a:gd name="connsiteY15" fmla="*/ 1928517 h 4876779"/>
              <a:gd name="connsiteX16" fmla="*/ 4135279 w 4876786"/>
              <a:gd name="connsiteY16" fmla="*/ 1506512 h 4876779"/>
              <a:gd name="connsiteX17" fmla="*/ 4086511 w 4876786"/>
              <a:gd name="connsiteY17" fmla="*/ 1465869 h 4876779"/>
              <a:gd name="connsiteX18" fmla="*/ 3157966 w 4876786"/>
              <a:gd name="connsiteY18" fmla="*/ 1201303 h 4876779"/>
              <a:gd name="connsiteX19" fmla="*/ 3542338 w 4876786"/>
              <a:gd name="connsiteY19" fmla="*/ 693144 h 4876779"/>
              <a:gd name="connsiteX20" fmla="*/ 3544453 w 4876786"/>
              <a:gd name="connsiteY20" fmla="*/ 690058 h 4876779"/>
              <a:gd name="connsiteX21" fmla="*/ 3542014 w 4876786"/>
              <a:gd name="connsiteY21" fmla="*/ 481822 h 4876779"/>
              <a:gd name="connsiteX22" fmla="*/ 3306394 w 4876786"/>
              <a:gd name="connsiteY22" fmla="*/ 80705 h 4876779"/>
              <a:gd name="connsiteX23" fmla="*/ 3300546 w 4876786"/>
              <a:gd name="connsiteY23" fmla="*/ 72581 h 4876779"/>
              <a:gd name="connsiteX24" fmla="*/ 3152613 w 4876786"/>
              <a:gd name="connsiteY24" fmla="*/ 0 h 4876779"/>
              <a:gd name="connsiteX25" fmla="*/ 2211877 w 4876786"/>
              <a:gd name="connsiteY25" fmla="*/ 0 h 4876779"/>
              <a:gd name="connsiteX26" fmla="*/ 2063944 w 4876786"/>
              <a:gd name="connsiteY26" fmla="*/ 72257 h 4876779"/>
              <a:gd name="connsiteX27" fmla="*/ 2058095 w 4876786"/>
              <a:gd name="connsiteY27" fmla="*/ 80381 h 4876779"/>
              <a:gd name="connsiteX28" fmla="*/ 1822380 w 4876786"/>
              <a:gd name="connsiteY28" fmla="*/ 481498 h 4876779"/>
              <a:gd name="connsiteX29" fmla="*/ 1822380 w 4876786"/>
              <a:gd name="connsiteY29" fmla="*/ 692829 h 4876779"/>
              <a:gd name="connsiteX30" fmla="*/ 2206838 w 4876786"/>
              <a:gd name="connsiteY30" fmla="*/ 1200988 h 4876779"/>
              <a:gd name="connsiteX31" fmla="*/ 1278217 w 4876786"/>
              <a:gd name="connsiteY31" fmla="*/ 1466126 h 4876779"/>
              <a:gd name="connsiteX32" fmla="*/ 1228801 w 4876786"/>
              <a:gd name="connsiteY32" fmla="*/ 1506769 h 4876779"/>
              <a:gd name="connsiteX33" fmla="*/ 1002602 w 4876786"/>
              <a:gd name="connsiteY33" fmla="*/ 1930317 h 4876779"/>
              <a:gd name="connsiteX34" fmla="*/ 1113711 w 4876786"/>
              <a:gd name="connsiteY34" fmla="*/ 2262473 h 4876779"/>
              <a:gd name="connsiteX35" fmla="*/ 1146058 w 4876786"/>
              <a:gd name="connsiteY35" fmla="*/ 2275837 h 4876779"/>
              <a:gd name="connsiteX36" fmla="*/ 1219210 w 4876786"/>
              <a:gd name="connsiteY36" fmla="*/ 2298754 h 4876779"/>
              <a:gd name="connsiteX37" fmla="*/ 1219210 w 4876786"/>
              <a:gd name="connsiteY37" fmla="*/ 2980858 h 4876779"/>
              <a:gd name="connsiteX38" fmla="*/ 964311 w 4876786"/>
              <a:gd name="connsiteY38" fmla="*/ 3120009 h 4876779"/>
              <a:gd name="connsiteX39" fmla="*/ 769725 w 4876786"/>
              <a:gd name="connsiteY39" fmla="*/ 3169910 h 4876779"/>
              <a:gd name="connsiteX40" fmla="*/ 243840 w 4876786"/>
              <a:gd name="connsiteY40" fmla="*/ 3169910 h 4876779"/>
              <a:gd name="connsiteX41" fmla="*/ 0 w 4876786"/>
              <a:gd name="connsiteY41" fmla="*/ 3413751 h 4876779"/>
              <a:gd name="connsiteX42" fmla="*/ 0 w 4876786"/>
              <a:gd name="connsiteY42" fmla="*/ 4065127 h 4876779"/>
              <a:gd name="connsiteX43" fmla="*/ 241811 w 4876786"/>
              <a:gd name="connsiteY43" fmla="*/ 4308967 h 4876779"/>
              <a:gd name="connsiteX44" fmla="*/ 3982717 w 4876786"/>
              <a:gd name="connsiteY44" fmla="*/ 3272981 h 4876779"/>
              <a:gd name="connsiteX45" fmla="*/ 3762451 w 4876786"/>
              <a:gd name="connsiteY45" fmla="*/ 3412379 h 4876779"/>
              <a:gd name="connsiteX46" fmla="*/ 3509591 w 4876786"/>
              <a:gd name="connsiteY46" fmla="*/ 3142450 h 4876779"/>
              <a:gd name="connsiteX47" fmla="*/ 2763517 w 4876786"/>
              <a:gd name="connsiteY47" fmla="*/ 3024178 h 4876779"/>
              <a:gd name="connsiteX48" fmla="*/ 2763517 w 4876786"/>
              <a:gd name="connsiteY48" fmla="*/ 2220478 h 4876779"/>
              <a:gd name="connsiteX49" fmla="*/ 2942825 w 4876786"/>
              <a:gd name="connsiteY49" fmla="*/ 2490569 h 4876779"/>
              <a:gd name="connsiteX50" fmla="*/ 3219831 w 4876786"/>
              <a:gd name="connsiteY50" fmla="*/ 2590295 h 4876779"/>
              <a:gd name="connsiteX51" fmla="*/ 3982727 w 4876786"/>
              <a:gd name="connsiteY51" fmla="*/ 2350113 h 4876779"/>
              <a:gd name="connsiteX52" fmla="*/ 3982727 w 4876786"/>
              <a:gd name="connsiteY52" fmla="*/ 3272981 h 4876779"/>
              <a:gd name="connsiteX53" fmla="*/ 4220061 w 4876786"/>
              <a:gd name="connsiteY53" fmla="*/ 2074421 h 4876779"/>
              <a:gd name="connsiteX54" fmla="*/ 4169340 w 4876786"/>
              <a:gd name="connsiteY54" fmla="*/ 2120998 h 4876779"/>
              <a:gd name="connsiteX55" fmla="*/ 3171139 w 4876786"/>
              <a:gd name="connsiteY55" fmla="*/ 2435228 h 4876779"/>
              <a:gd name="connsiteX56" fmla="*/ 3078642 w 4876786"/>
              <a:gd name="connsiteY56" fmla="*/ 2401253 h 4876779"/>
              <a:gd name="connsiteX57" fmla="*/ 2811066 w 4876786"/>
              <a:gd name="connsiteY57" fmla="*/ 1998269 h 4876779"/>
              <a:gd name="connsiteX58" fmla="*/ 4023360 w 4876786"/>
              <a:gd name="connsiteY58" fmla="*/ 1641034 h 4876779"/>
              <a:gd name="connsiteX59" fmla="*/ 4217299 w 4876786"/>
              <a:gd name="connsiteY59" fmla="*/ 2004193 h 4876779"/>
              <a:gd name="connsiteX60" fmla="*/ 4220061 w 4876786"/>
              <a:gd name="connsiteY60" fmla="*/ 2074421 h 4876779"/>
              <a:gd name="connsiteX61" fmla="*/ 2600963 w 4876786"/>
              <a:gd name="connsiteY61" fmla="*/ 1453115 h 4876779"/>
              <a:gd name="connsiteX62" fmla="*/ 1993392 w 4876786"/>
              <a:gd name="connsiteY62" fmla="*/ 650234 h 4876779"/>
              <a:gd name="connsiteX63" fmla="*/ 2600963 w 4876786"/>
              <a:gd name="connsiteY63" fmla="*/ 650234 h 4876779"/>
              <a:gd name="connsiteX64" fmla="*/ 2763517 w 4876786"/>
              <a:gd name="connsiteY64" fmla="*/ 650234 h 4876779"/>
              <a:gd name="connsiteX65" fmla="*/ 3370926 w 4876786"/>
              <a:gd name="connsiteY65" fmla="*/ 650234 h 4876779"/>
              <a:gd name="connsiteX66" fmla="*/ 2763517 w 4876786"/>
              <a:gd name="connsiteY66" fmla="*/ 1453277 h 4876779"/>
              <a:gd name="connsiteX67" fmla="*/ 3169920 w 4876786"/>
              <a:gd name="connsiteY67" fmla="*/ 169221 h 4876779"/>
              <a:gd name="connsiteX68" fmla="*/ 3356867 w 4876786"/>
              <a:gd name="connsiteY68" fmla="*/ 487670 h 4876779"/>
              <a:gd name="connsiteX69" fmla="*/ 2855862 w 4876786"/>
              <a:gd name="connsiteY69" fmla="*/ 487670 h 4876779"/>
              <a:gd name="connsiteX70" fmla="*/ 3126772 w 4876786"/>
              <a:gd name="connsiteY70" fmla="*/ 162554 h 4876779"/>
              <a:gd name="connsiteX71" fmla="*/ 3152623 w 4876786"/>
              <a:gd name="connsiteY71" fmla="*/ 162554 h 4876779"/>
              <a:gd name="connsiteX72" fmla="*/ 3169920 w 4876786"/>
              <a:gd name="connsiteY72" fmla="*/ 169221 h 4876779"/>
              <a:gd name="connsiteX73" fmla="*/ 2682240 w 4876786"/>
              <a:gd name="connsiteY73" fmla="*/ 441998 h 4876779"/>
              <a:gd name="connsiteX74" fmla="*/ 2449459 w 4876786"/>
              <a:gd name="connsiteY74" fmla="*/ 162554 h 4876779"/>
              <a:gd name="connsiteX75" fmla="*/ 2915031 w 4876786"/>
              <a:gd name="connsiteY75" fmla="*/ 162554 h 4876779"/>
              <a:gd name="connsiteX76" fmla="*/ 2194560 w 4876786"/>
              <a:gd name="connsiteY76" fmla="*/ 169221 h 4876779"/>
              <a:gd name="connsiteX77" fmla="*/ 2211877 w 4876786"/>
              <a:gd name="connsiteY77" fmla="*/ 162554 h 4876779"/>
              <a:gd name="connsiteX78" fmla="*/ 2237727 w 4876786"/>
              <a:gd name="connsiteY78" fmla="*/ 162554 h 4876779"/>
              <a:gd name="connsiteX79" fmla="*/ 2508628 w 4876786"/>
              <a:gd name="connsiteY79" fmla="*/ 487670 h 4876779"/>
              <a:gd name="connsiteX80" fmla="*/ 2007622 w 4876786"/>
              <a:gd name="connsiteY80" fmla="*/ 487670 h 4876779"/>
              <a:gd name="connsiteX81" fmla="*/ 2311689 w 4876786"/>
              <a:gd name="connsiteY81" fmla="*/ 1340387 h 4876779"/>
              <a:gd name="connsiteX82" fmla="*/ 2528059 w 4876786"/>
              <a:gd name="connsiteY82" fmla="*/ 1626413 h 4876779"/>
              <a:gd name="connsiteX83" fmla="*/ 2682250 w 4876786"/>
              <a:gd name="connsiteY83" fmla="*/ 1706880 h 4876779"/>
              <a:gd name="connsiteX84" fmla="*/ 2834078 w 4876786"/>
              <a:gd name="connsiteY84" fmla="*/ 1629423 h 4876779"/>
              <a:gd name="connsiteX85" fmla="*/ 3052725 w 4876786"/>
              <a:gd name="connsiteY85" fmla="*/ 1340387 h 4876779"/>
              <a:gd name="connsiteX86" fmla="*/ 3772138 w 4876786"/>
              <a:gd name="connsiteY86" fmla="*/ 1545622 h 4876779"/>
              <a:gd name="connsiteX87" fmla="*/ 2682240 w 4876786"/>
              <a:gd name="connsiteY87" fmla="*/ 1866748 h 4876779"/>
              <a:gd name="connsiteX88" fmla="*/ 1592361 w 4876786"/>
              <a:gd name="connsiteY88" fmla="*/ 1545612 h 4876779"/>
              <a:gd name="connsiteX89" fmla="*/ 1144581 w 4876786"/>
              <a:gd name="connsiteY89" fmla="*/ 2074345 h 4876779"/>
              <a:gd name="connsiteX90" fmla="*/ 1146372 w 4876786"/>
              <a:gd name="connsiteY90" fmla="*/ 2005336 h 4876779"/>
              <a:gd name="connsiteX91" fmla="*/ 1341120 w 4876786"/>
              <a:gd name="connsiteY91" fmla="*/ 1641043 h 4876779"/>
              <a:gd name="connsiteX92" fmla="*/ 2553415 w 4876786"/>
              <a:gd name="connsiteY92" fmla="*/ 1998269 h 4876779"/>
              <a:gd name="connsiteX93" fmla="*/ 2285190 w 4876786"/>
              <a:gd name="connsiteY93" fmla="*/ 2401824 h 4876779"/>
              <a:gd name="connsiteX94" fmla="*/ 2193103 w 4876786"/>
              <a:gd name="connsiteY94" fmla="*/ 2435228 h 4876779"/>
              <a:gd name="connsiteX95" fmla="*/ 1194816 w 4876786"/>
              <a:gd name="connsiteY95" fmla="*/ 2121399 h 4876779"/>
              <a:gd name="connsiteX96" fmla="*/ 1144743 w 4876786"/>
              <a:gd name="connsiteY96" fmla="*/ 2074336 h 4876779"/>
              <a:gd name="connsiteX97" fmla="*/ 1144581 w 4876786"/>
              <a:gd name="connsiteY97" fmla="*/ 2074336 h 4876779"/>
              <a:gd name="connsiteX98" fmla="*/ 2144325 w 4876786"/>
              <a:gd name="connsiteY98" fmla="*/ 2590305 h 4876779"/>
              <a:gd name="connsiteX99" fmla="*/ 2216582 w 4876786"/>
              <a:gd name="connsiteY99" fmla="*/ 2601440 h 4876779"/>
              <a:gd name="connsiteX100" fmla="*/ 2420922 w 4876786"/>
              <a:gd name="connsiteY100" fmla="*/ 2491064 h 4876779"/>
              <a:gd name="connsiteX101" fmla="*/ 2600954 w 4876786"/>
              <a:gd name="connsiteY101" fmla="*/ 2220487 h 4876779"/>
              <a:gd name="connsiteX102" fmla="*/ 2600954 w 4876786"/>
              <a:gd name="connsiteY102" fmla="*/ 2998422 h 4876779"/>
              <a:gd name="connsiteX103" fmla="*/ 1667132 w 4876786"/>
              <a:gd name="connsiteY103" fmla="*/ 2850413 h 4876779"/>
              <a:gd name="connsiteX104" fmla="*/ 1381754 w 4876786"/>
              <a:gd name="connsiteY104" fmla="*/ 2894305 h 4876779"/>
              <a:gd name="connsiteX105" fmla="*/ 1381754 w 4876786"/>
              <a:gd name="connsiteY105" fmla="*/ 2350132 h 4876779"/>
              <a:gd name="connsiteX106" fmla="*/ 162563 w 4876786"/>
              <a:gd name="connsiteY106" fmla="*/ 3413751 h 4876779"/>
              <a:gd name="connsiteX107" fmla="*/ 243840 w 4876786"/>
              <a:gd name="connsiteY107" fmla="*/ 3332474 h 4876779"/>
              <a:gd name="connsiteX108" fmla="*/ 769725 w 4876786"/>
              <a:gd name="connsiteY108" fmla="*/ 3332474 h 4876779"/>
              <a:gd name="connsiteX109" fmla="*/ 1042254 w 4876786"/>
              <a:gd name="connsiteY109" fmla="*/ 3262980 h 4876779"/>
              <a:gd name="connsiteX110" fmla="*/ 1442314 w 4876786"/>
              <a:gd name="connsiteY110" fmla="*/ 3044581 h 4876779"/>
              <a:gd name="connsiteX111" fmla="*/ 1642101 w 4876786"/>
              <a:gd name="connsiteY111" fmla="*/ 3011015 h 4876779"/>
              <a:gd name="connsiteX112" fmla="*/ 3484560 w 4876786"/>
              <a:gd name="connsiteY112" fmla="*/ 3303051 h 4876779"/>
              <a:gd name="connsiteX113" fmla="*/ 3599307 w 4876786"/>
              <a:gd name="connsiteY113" fmla="*/ 3459947 h 4876779"/>
              <a:gd name="connsiteX114" fmla="*/ 3463671 w 4876786"/>
              <a:gd name="connsiteY114" fmla="*/ 3576314 h 4876779"/>
              <a:gd name="connsiteX115" fmla="*/ 1869443 w 4876786"/>
              <a:gd name="connsiteY115" fmla="*/ 3576314 h 4876779"/>
              <a:gd name="connsiteX116" fmla="*/ 1788166 w 4876786"/>
              <a:gd name="connsiteY116" fmla="*/ 3657591 h 4876779"/>
              <a:gd name="connsiteX117" fmla="*/ 1869443 w 4876786"/>
              <a:gd name="connsiteY117" fmla="*/ 3738867 h 4876779"/>
              <a:gd name="connsiteX118" fmla="*/ 2248529 w 4876786"/>
              <a:gd name="connsiteY118" fmla="*/ 3738867 h 4876779"/>
              <a:gd name="connsiteX119" fmla="*/ 2729218 w 4876786"/>
              <a:gd name="connsiteY119" fmla="*/ 4104056 h 4876779"/>
              <a:gd name="connsiteX120" fmla="*/ 2958513 w 4876786"/>
              <a:gd name="connsiteY120" fmla="*/ 4113724 h 4876779"/>
              <a:gd name="connsiteX121" fmla="*/ 4550702 w 4876786"/>
              <a:gd name="connsiteY121" fmla="*/ 3105855 h 4876779"/>
              <a:gd name="connsiteX122" fmla="*/ 4684567 w 4876786"/>
              <a:gd name="connsiteY122" fmla="*/ 3121457 h 4876779"/>
              <a:gd name="connsiteX123" fmla="*/ 4686596 w 4876786"/>
              <a:gd name="connsiteY123" fmla="*/ 3123810 h 4876779"/>
              <a:gd name="connsiteX124" fmla="*/ 4679280 w 4876786"/>
              <a:gd name="connsiteY124" fmla="*/ 3274209 h 4876779"/>
              <a:gd name="connsiteX125" fmla="*/ 4673756 w 4876786"/>
              <a:gd name="connsiteY125" fmla="*/ 3278886 h 4876779"/>
              <a:gd name="connsiteX126" fmla="*/ 2849270 w 4876786"/>
              <a:gd name="connsiteY126" fmla="*/ 4664650 h 4876779"/>
              <a:gd name="connsiteX127" fmla="*/ 2627290 w 4876786"/>
              <a:gd name="connsiteY127" fmla="*/ 4702445 h 4876779"/>
              <a:gd name="connsiteX128" fmla="*/ 994381 w 4876786"/>
              <a:gd name="connsiteY128" fmla="*/ 4176322 h 4876779"/>
              <a:gd name="connsiteX129" fmla="*/ 821007 w 4876786"/>
              <a:gd name="connsiteY129" fmla="*/ 4148928 h 4876779"/>
              <a:gd name="connsiteX130" fmla="*/ 820112 w 4876786"/>
              <a:gd name="connsiteY130" fmla="*/ 4148928 h 4876779"/>
              <a:gd name="connsiteX131" fmla="*/ 243021 w 4876786"/>
              <a:gd name="connsiteY131" fmla="*/ 4146404 h 4876779"/>
              <a:gd name="connsiteX132" fmla="*/ 162801 w 4876786"/>
              <a:gd name="connsiteY132" fmla="*/ 4065127 h 4876779"/>
              <a:gd name="connsiteX133" fmla="*/ 3246730 w 4876786"/>
              <a:gd name="connsiteY133" fmla="*/ 3738877 h 4876779"/>
              <a:gd name="connsiteX134" fmla="*/ 2871540 w 4876786"/>
              <a:gd name="connsiteY134" fmla="*/ 3976459 h 4876779"/>
              <a:gd name="connsiteX135" fmla="*/ 2827401 w 4876786"/>
              <a:gd name="connsiteY135" fmla="*/ 3974592 h 4876779"/>
              <a:gd name="connsiteX136" fmla="*/ 2517239 w 4876786"/>
              <a:gd name="connsiteY136" fmla="*/ 3738877 h 4876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4876786" h="4876779">
                <a:moveTo>
                  <a:pt x="241811" y="4308967"/>
                </a:moveTo>
                <a:cubicBezTo>
                  <a:pt x="412985" y="4309939"/>
                  <a:pt x="676980" y="4311492"/>
                  <a:pt x="810768" y="4311492"/>
                </a:cubicBezTo>
                <a:cubicBezTo>
                  <a:pt x="814178" y="4311815"/>
                  <a:pt x="817607" y="4311815"/>
                  <a:pt x="821007" y="4311492"/>
                </a:cubicBezTo>
                <a:cubicBezTo>
                  <a:pt x="863041" y="4311549"/>
                  <a:pt x="904799" y="4318159"/>
                  <a:pt x="944794" y="4331084"/>
                </a:cubicBezTo>
                <a:lnTo>
                  <a:pt x="2577465" y="4857293"/>
                </a:lnTo>
                <a:cubicBezTo>
                  <a:pt x="2703748" y="4897870"/>
                  <a:pt x="2841889" y="4874266"/>
                  <a:pt x="2947530" y="4794057"/>
                </a:cubicBezTo>
                <a:lnTo>
                  <a:pt x="4772682" y="3407655"/>
                </a:lnTo>
                <a:cubicBezTo>
                  <a:pt x="4890040" y="3316605"/>
                  <a:pt x="4911376" y="3147651"/>
                  <a:pt x="4820317" y="3030293"/>
                </a:cubicBezTo>
                <a:cubicBezTo>
                  <a:pt x="4816774" y="3025731"/>
                  <a:pt x="4813088" y="3021273"/>
                  <a:pt x="4809258" y="3016949"/>
                </a:cubicBezTo>
                <a:lnTo>
                  <a:pt x="4806496" y="3013777"/>
                </a:lnTo>
                <a:cubicBezTo>
                  <a:pt x="4718647" y="2916184"/>
                  <a:pt x="4572800" y="2897143"/>
                  <a:pt x="4462844" y="2968914"/>
                </a:cubicBezTo>
                <a:lnTo>
                  <a:pt x="4145280" y="3169910"/>
                </a:lnTo>
                <a:lnTo>
                  <a:pt x="4145280" y="2298992"/>
                </a:lnTo>
                <a:lnTo>
                  <a:pt x="4218432" y="2275827"/>
                </a:lnTo>
                <a:cubicBezTo>
                  <a:pt x="4348391" y="2232736"/>
                  <a:pt x="4418800" y="2092452"/>
                  <a:pt x="4375709" y="1962493"/>
                </a:cubicBezTo>
                <a:cubicBezTo>
                  <a:pt x="4371842" y="1950834"/>
                  <a:pt x="4367117" y="1939471"/>
                  <a:pt x="4361565" y="1928517"/>
                </a:cubicBezTo>
                <a:cubicBezTo>
                  <a:pt x="4361565" y="1928517"/>
                  <a:pt x="4136012" y="1505864"/>
                  <a:pt x="4135279" y="1506512"/>
                </a:cubicBezTo>
                <a:cubicBezTo>
                  <a:pt x="4125278" y="1486853"/>
                  <a:pt x="4107647" y="1472165"/>
                  <a:pt x="4086511" y="1465869"/>
                </a:cubicBezTo>
                <a:lnTo>
                  <a:pt x="3157966" y="1201303"/>
                </a:lnTo>
                <a:lnTo>
                  <a:pt x="3542338" y="693144"/>
                </a:lnTo>
                <a:lnTo>
                  <a:pt x="3544453" y="690058"/>
                </a:lnTo>
                <a:cubicBezTo>
                  <a:pt x="3587867" y="627145"/>
                  <a:pt x="3586896" y="543697"/>
                  <a:pt x="3542014" y="481822"/>
                </a:cubicBezTo>
                <a:lnTo>
                  <a:pt x="3306394" y="80705"/>
                </a:lnTo>
                <a:cubicBezTo>
                  <a:pt x="3304632" y="77867"/>
                  <a:pt x="3302670" y="75152"/>
                  <a:pt x="3300546" y="72581"/>
                </a:cubicBezTo>
                <a:cubicBezTo>
                  <a:pt x="3265065" y="26880"/>
                  <a:pt x="3210478" y="95"/>
                  <a:pt x="3152613" y="0"/>
                </a:cubicBezTo>
                <a:lnTo>
                  <a:pt x="2211877" y="0"/>
                </a:lnTo>
                <a:cubicBezTo>
                  <a:pt x="2154069" y="19"/>
                  <a:pt x="2099501" y="26680"/>
                  <a:pt x="2063944" y="72257"/>
                </a:cubicBezTo>
                <a:cubicBezTo>
                  <a:pt x="2061810" y="74828"/>
                  <a:pt x="2059857" y="77543"/>
                  <a:pt x="2058095" y="80381"/>
                </a:cubicBezTo>
                <a:lnTo>
                  <a:pt x="1822380" y="481498"/>
                </a:lnTo>
                <a:cubicBezTo>
                  <a:pt x="1777213" y="544706"/>
                  <a:pt x="1777213" y="629622"/>
                  <a:pt x="1822380" y="692829"/>
                </a:cubicBezTo>
                <a:lnTo>
                  <a:pt x="2206838" y="1200988"/>
                </a:lnTo>
                <a:lnTo>
                  <a:pt x="1278217" y="1466126"/>
                </a:lnTo>
                <a:cubicBezTo>
                  <a:pt x="1257071" y="1472698"/>
                  <a:pt x="1239326" y="1487281"/>
                  <a:pt x="1228801" y="1506769"/>
                </a:cubicBezTo>
                <a:lnTo>
                  <a:pt x="1002602" y="1930317"/>
                </a:lnTo>
                <a:cubicBezTo>
                  <a:pt x="941565" y="2052723"/>
                  <a:pt x="991305" y="2201428"/>
                  <a:pt x="1113711" y="2262473"/>
                </a:cubicBezTo>
                <a:cubicBezTo>
                  <a:pt x="1124169" y="2267684"/>
                  <a:pt x="1134980" y="2272151"/>
                  <a:pt x="1146058" y="2275837"/>
                </a:cubicBezTo>
                <a:lnTo>
                  <a:pt x="1219210" y="2298754"/>
                </a:lnTo>
                <a:lnTo>
                  <a:pt x="1219210" y="2980858"/>
                </a:lnTo>
                <a:lnTo>
                  <a:pt x="964311" y="3120009"/>
                </a:lnTo>
                <a:cubicBezTo>
                  <a:pt x="904637" y="3152642"/>
                  <a:pt x="837743" y="3169796"/>
                  <a:pt x="769725" y="3169910"/>
                </a:cubicBezTo>
                <a:lnTo>
                  <a:pt x="243840" y="3169910"/>
                </a:lnTo>
                <a:cubicBezTo>
                  <a:pt x="109176" y="3169910"/>
                  <a:pt x="0" y="3279086"/>
                  <a:pt x="0" y="3413751"/>
                </a:cubicBezTo>
                <a:lnTo>
                  <a:pt x="0" y="4065127"/>
                </a:lnTo>
                <a:cubicBezTo>
                  <a:pt x="257" y="4198906"/>
                  <a:pt x="108042" y="4307596"/>
                  <a:pt x="241811" y="4308967"/>
                </a:cubicBezTo>
                <a:close/>
                <a:moveTo>
                  <a:pt x="3982717" y="3272981"/>
                </a:moveTo>
                <a:lnTo>
                  <a:pt x="3762451" y="3412379"/>
                </a:lnTo>
                <a:cubicBezTo>
                  <a:pt x="3751021" y="3274619"/>
                  <a:pt x="3646303" y="3162834"/>
                  <a:pt x="3509591" y="3142450"/>
                </a:cubicBezTo>
                <a:lnTo>
                  <a:pt x="2763517" y="3024178"/>
                </a:lnTo>
                <a:lnTo>
                  <a:pt x="2763517" y="2220478"/>
                </a:lnTo>
                <a:lnTo>
                  <a:pt x="2942825" y="2490569"/>
                </a:lnTo>
                <a:cubicBezTo>
                  <a:pt x="3002499" y="2581980"/>
                  <a:pt x="3115580" y="2622690"/>
                  <a:pt x="3219831" y="2590295"/>
                </a:cubicBezTo>
                <a:lnTo>
                  <a:pt x="3982727" y="2350113"/>
                </a:lnTo>
                <a:lnTo>
                  <a:pt x="3982727" y="3272981"/>
                </a:lnTo>
                <a:close/>
                <a:moveTo>
                  <a:pt x="4220061" y="2074421"/>
                </a:moveTo>
                <a:cubicBezTo>
                  <a:pt x="4210965" y="2096748"/>
                  <a:pt x="4192362" y="2113836"/>
                  <a:pt x="4169340" y="2120998"/>
                </a:cubicBezTo>
                <a:lnTo>
                  <a:pt x="3171139" y="2435228"/>
                </a:lnTo>
                <a:cubicBezTo>
                  <a:pt x="3136173" y="2446010"/>
                  <a:pt x="3098311" y="2432104"/>
                  <a:pt x="3078642" y="2401253"/>
                </a:cubicBezTo>
                <a:lnTo>
                  <a:pt x="2811066" y="1998269"/>
                </a:lnTo>
                <a:lnTo>
                  <a:pt x="4023360" y="1641034"/>
                </a:lnTo>
                <a:lnTo>
                  <a:pt x="4217299" y="2004193"/>
                </a:lnTo>
                <a:cubicBezTo>
                  <a:pt x="4228491" y="2026063"/>
                  <a:pt x="4229510" y="2051742"/>
                  <a:pt x="4220061" y="2074421"/>
                </a:cubicBezTo>
                <a:close/>
                <a:moveTo>
                  <a:pt x="2600963" y="1453115"/>
                </a:moveTo>
                <a:lnTo>
                  <a:pt x="1993392" y="650234"/>
                </a:lnTo>
                <a:lnTo>
                  <a:pt x="2600963" y="650234"/>
                </a:lnTo>
                <a:close/>
                <a:moveTo>
                  <a:pt x="2763517" y="650234"/>
                </a:moveTo>
                <a:lnTo>
                  <a:pt x="3370926" y="650234"/>
                </a:lnTo>
                <a:lnTo>
                  <a:pt x="2763517" y="1453277"/>
                </a:lnTo>
                <a:close/>
                <a:moveTo>
                  <a:pt x="3169920" y="169221"/>
                </a:moveTo>
                <a:lnTo>
                  <a:pt x="3356867" y="487670"/>
                </a:lnTo>
                <a:lnTo>
                  <a:pt x="2855862" y="487670"/>
                </a:lnTo>
                <a:lnTo>
                  <a:pt x="3126772" y="162554"/>
                </a:lnTo>
                <a:lnTo>
                  <a:pt x="3152623" y="162554"/>
                </a:lnTo>
                <a:cubicBezTo>
                  <a:pt x="3159033" y="162411"/>
                  <a:pt x="3165253" y="164802"/>
                  <a:pt x="3169920" y="169221"/>
                </a:cubicBezTo>
                <a:close/>
                <a:moveTo>
                  <a:pt x="2682240" y="441998"/>
                </a:moveTo>
                <a:lnTo>
                  <a:pt x="2449459" y="162554"/>
                </a:lnTo>
                <a:lnTo>
                  <a:pt x="2915031" y="162554"/>
                </a:lnTo>
                <a:close/>
                <a:moveTo>
                  <a:pt x="2194560" y="169221"/>
                </a:moveTo>
                <a:cubicBezTo>
                  <a:pt x="2199227" y="164802"/>
                  <a:pt x="2205447" y="162411"/>
                  <a:pt x="2211877" y="162554"/>
                </a:cubicBezTo>
                <a:lnTo>
                  <a:pt x="2237727" y="162554"/>
                </a:lnTo>
                <a:lnTo>
                  <a:pt x="2508628" y="487670"/>
                </a:lnTo>
                <a:lnTo>
                  <a:pt x="2007622" y="487670"/>
                </a:lnTo>
                <a:close/>
                <a:moveTo>
                  <a:pt x="2311689" y="1340387"/>
                </a:moveTo>
                <a:lnTo>
                  <a:pt x="2528059" y="1626413"/>
                </a:lnTo>
                <a:cubicBezTo>
                  <a:pt x="2563035" y="1677029"/>
                  <a:pt x="2620728" y="1707137"/>
                  <a:pt x="2682250" y="1706880"/>
                </a:cubicBezTo>
                <a:cubicBezTo>
                  <a:pt x="2742467" y="1707375"/>
                  <a:pt x="2799131" y="1678457"/>
                  <a:pt x="2834078" y="1629423"/>
                </a:cubicBezTo>
                <a:lnTo>
                  <a:pt x="3052725" y="1340387"/>
                </a:lnTo>
                <a:lnTo>
                  <a:pt x="3772138" y="1545622"/>
                </a:lnTo>
                <a:lnTo>
                  <a:pt x="2682240" y="1866748"/>
                </a:lnTo>
                <a:lnTo>
                  <a:pt x="1592361" y="1545612"/>
                </a:lnTo>
                <a:close/>
                <a:moveTo>
                  <a:pt x="1144581" y="2074345"/>
                </a:moveTo>
                <a:cubicBezTo>
                  <a:pt x="1134961" y="2052209"/>
                  <a:pt x="1135618" y="2026949"/>
                  <a:pt x="1146372" y="2005336"/>
                </a:cubicBezTo>
                <a:lnTo>
                  <a:pt x="1341120" y="1641043"/>
                </a:lnTo>
                <a:lnTo>
                  <a:pt x="2553415" y="1998269"/>
                </a:lnTo>
                <a:lnTo>
                  <a:pt x="2285190" y="2401824"/>
                </a:lnTo>
                <a:cubicBezTo>
                  <a:pt x="2265407" y="2432285"/>
                  <a:pt x="2227812" y="2445925"/>
                  <a:pt x="2193103" y="2435228"/>
                </a:cubicBezTo>
                <a:lnTo>
                  <a:pt x="1194816" y="2121399"/>
                </a:lnTo>
                <a:cubicBezTo>
                  <a:pt x="1172042" y="2113798"/>
                  <a:pt x="1153744" y="2096595"/>
                  <a:pt x="1144743" y="2074336"/>
                </a:cubicBezTo>
                <a:lnTo>
                  <a:pt x="1144581" y="2074336"/>
                </a:lnTo>
                <a:close/>
                <a:moveTo>
                  <a:pt x="2144325" y="2590305"/>
                </a:moveTo>
                <a:cubicBezTo>
                  <a:pt x="2167709" y="2597668"/>
                  <a:pt x="2192074" y="2601420"/>
                  <a:pt x="2216582" y="2601440"/>
                </a:cubicBezTo>
                <a:cubicBezTo>
                  <a:pt x="2298964" y="2601525"/>
                  <a:pt x="2375830" y="2560015"/>
                  <a:pt x="2420922" y="2491064"/>
                </a:cubicBezTo>
                <a:lnTo>
                  <a:pt x="2600954" y="2220487"/>
                </a:lnTo>
                <a:lnTo>
                  <a:pt x="2600954" y="2998422"/>
                </a:lnTo>
                <a:lnTo>
                  <a:pt x="1667132" y="2850413"/>
                </a:lnTo>
                <a:cubicBezTo>
                  <a:pt x="1569758" y="2835774"/>
                  <a:pt x="1470231" y="2851080"/>
                  <a:pt x="1381754" y="2894305"/>
                </a:cubicBezTo>
                <a:lnTo>
                  <a:pt x="1381754" y="2350132"/>
                </a:lnTo>
                <a:close/>
                <a:moveTo>
                  <a:pt x="162563" y="3413751"/>
                </a:moveTo>
                <a:cubicBezTo>
                  <a:pt x="162563" y="3368859"/>
                  <a:pt x="198958" y="3332474"/>
                  <a:pt x="243840" y="3332474"/>
                </a:cubicBezTo>
                <a:lnTo>
                  <a:pt x="769725" y="3332474"/>
                </a:lnTo>
                <a:cubicBezTo>
                  <a:pt x="864946" y="3332398"/>
                  <a:pt x="958625" y="3308509"/>
                  <a:pt x="1042254" y="3262980"/>
                </a:cubicBezTo>
                <a:lnTo>
                  <a:pt x="1442314" y="3044581"/>
                </a:lnTo>
                <a:cubicBezTo>
                  <a:pt x="1503645" y="3012424"/>
                  <a:pt x="1573625" y="3000671"/>
                  <a:pt x="1642101" y="3011015"/>
                </a:cubicBezTo>
                <a:lnTo>
                  <a:pt x="3484560" y="3303051"/>
                </a:lnTo>
                <a:cubicBezTo>
                  <a:pt x="3559569" y="3314691"/>
                  <a:pt x="3610947" y="3384937"/>
                  <a:pt x="3599307" y="3459947"/>
                </a:cubicBezTo>
                <a:cubicBezTo>
                  <a:pt x="3588925" y="3526850"/>
                  <a:pt x="3531375" y="3576219"/>
                  <a:pt x="3463671" y="3576314"/>
                </a:cubicBezTo>
                <a:lnTo>
                  <a:pt x="1869443" y="3576314"/>
                </a:lnTo>
                <a:cubicBezTo>
                  <a:pt x="1824552" y="3576314"/>
                  <a:pt x="1788166" y="3612699"/>
                  <a:pt x="1788166" y="3657591"/>
                </a:cubicBezTo>
                <a:cubicBezTo>
                  <a:pt x="1788166" y="3702482"/>
                  <a:pt x="1824561" y="3738867"/>
                  <a:pt x="1869443" y="3738867"/>
                </a:cubicBezTo>
                <a:lnTo>
                  <a:pt x="2248529" y="3738867"/>
                </a:lnTo>
                <a:lnTo>
                  <a:pt x="2729218" y="4104056"/>
                </a:lnTo>
                <a:cubicBezTo>
                  <a:pt x="2796207" y="4154624"/>
                  <a:pt x="2887494" y="4158482"/>
                  <a:pt x="2958513" y="4113724"/>
                </a:cubicBezTo>
                <a:lnTo>
                  <a:pt x="4550702" y="3105855"/>
                </a:lnTo>
                <a:cubicBezTo>
                  <a:pt x="4593212" y="3077928"/>
                  <a:pt x="4649629" y="3084500"/>
                  <a:pt x="4684567" y="3121457"/>
                </a:cubicBezTo>
                <a:cubicBezTo>
                  <a:pt x="4685205" y="3122276"/>
                  <a:pt x="4685881" y="3123067"/>
                  <a:pt x="4686596" y="3123810"/>
                </a:cubicBezTo>
                <a:cubicBezTo>
                  <a:pt x="4726105" y="3167367"/>
                  <a:pt x="4722829" y="3234700"/>
                  <a:pt x="4679280" y="3274209"/>
                </a:cubicBezTo>
                <a:cubicBezTo>
                  <a:pt x="4677490" y="3275829"/>
                  <a:pt x="4675651" y="3277391"/>
                  <a:pt x="4673756" y="3278886"/>
                </a:cubicBezTo>
                <a:lnTo>
                  <a:pt x="2849270" y="4664650"/>
                </a:lnTo>
                <a:cubicBezTo>
                  <a:pt x="2785872" y="4712704"/>
                  <a:pt x="2703024" y="4726810"/>
                  <a:pt x="2627290" y="4702445"/>
                </a:cubicBezTo>
                <a:lnTo>
                  <a:pt x="994381" y="4176322"/>
                </a:lnTo>
                <a:cubicBezTo>
                  <a:pt x="938374" y="4158225"/>
                  <a:pt x="879872" y="4148976"/>
                  <a:pt x="821007" y="4148928"/>
                </a:cubicBezTo>
                <a:lnTo>
                  <a:pt x="820112" y="4148928"/>
                </a:lnTo>
                <a:cubicBezTo>
                  <a:pt x="692258" y="4148518"/>
                  <a:pt x="418024" y="4147461"/>
                  <a:pt x="243021" y="4146404"/>
                </a:cubicBezTo>
                <a:cubicBezTo>
                  <a:pt x="198549" y="4145823"/>
                  <a:pt x="162792" y="4109609"/>
                  <a:pt x="162801" y="4065127"/>
                </a:cubicBezTo>
                <a:close/>
                <a:moveTo>
                  <a:pt x="3246730" y="3738877"/>
                </a:moveTo>
                <a:lnTo>
                  <a:pt x="2871540" y="3976459"/>
                </a:lnTo>
                <a:cubicBezTo>
                  <a:pt x="2857843" y="3984955"/>
                  <a:pt x="2840336" y="3984212"/>
                  <a:pt x="2827401" y="3974592"/>
                </a:cubicBezTo>
                <a:lnTo>
                  <a:pt x="2517239" y="3738877"/>
                </a:lnTo>
                <a:close/>
              </a:path>
            </a:pathLst>
          </a:custGeom>
          <a:solidFill>
            <a:srgbClr val="000000"/>
          </a:solidFill>
          <a:ln w="9525" cap="flat">
            <a:noFill/>
            <a:prstDash val="solid"/>
            <a:miter/>
          </a:ln>
        </p:spPr>
        <p:txBody>
          <a:bodyPr rtlCol="0" anchor="ctr"/>
          <a:lstStyle/>
          <a:p>
            <a:endParaRPr lang="es-ES"/>
          </a:p>
        </p:txBody>
      </p:sp>
    </p:spTree>
    <p:extLst>
      <p:ext uri="{BB962C8B-B14F-4D97-AF65-F5344CB8AC3E}">
        <p14:creationId xmlns:p14="http://schemas.microsoft.com/office/powerpoint/2010/main" val="3132089577"/>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troducción-Referencias">
    <p:spTree>
      <p:nvGrpSpPr>
        <p:cNvPr id="1" name=""/>
        <p:cNvGrpSpPr/>
        <p:nvPr/>
      </p:nvGrpSpPr>
      <p:grpSpPr>
        <a:xfrm>
          <a:off x="0" y="0"/>
          <a:ext cx="0" cy="0"/>
          <a:chOff x="0" y="0"/>
          <a:chExt cx="0" cy="0"/>
        </a:xfrm>
      </p:grpSpPr>
      <p:sp>
        <p:nvSpPr>
          <p:cNvPr id="92" name="27 Título"/>
          <p:cNvSpPr>
            <a:spLocks noGrp="1"/>
          </p:cNvSpPr>
          <p:nvPr userDrawn="1">
            <p:ph type="title" hasCustomPrompt="1"/>
          </p:nvPr>
        </p:nvSpPr>
        <p:spPr>
          <a:xfrm>
            <a:off x="1235961" y="334929"/>
            <a:ext cx="8936800" cy="518277"/>
          </a:xfrm>
        </p:spPr>
        <p:txBody>
          <a:bodyPr>
            <a:noAutofit/>
          </a:bodyPr>
          <a:lstStyle>
            <a:lvl1pPr>
              <a:defRPr sz="2000">
                <a:solidFill>
                  <a:schemeClr val="tx1"/>
                </a:solidFill>
              </a:defRPr>
            </a:lvl1pPr>
          </a:lstStyle>
          <a:p>
            <a:r>
              <a:rPr lang="es-ES"/>
              <a:t>Título</a:t>
            </a:r>
            <a:endParaRPr lang="en-US"/>
          </a:p>
        </p:txBody>
      </p:sp>
      <p:sp>
        <p:nvSpPr>
          <p:cNvPr id="6" name="21 CuadroTexto"/>
          <p:cNvSpPr txBox="1"/>
          <p:nvPr userDrawn="1"/>
        </p:nvSpPr>
        <p:spPr>
          <a:xfrm>
            <a:off x="1192823" y="19050"/>
            <a:ext cx="8988270" cy="248400"/>
          </a:xfrm>
          <a:prstGeom prst="rect">
            <a:avLst/>
          </a:prstGeom>
        </p:spPr>
        <p:txBody>
          <a:bodyPr vert="horz" lIns="0" tIns="0" rIns="0" bIns="0" rtlCol="0" anchor="ctr">
            <a:noAutofit/>
          </a:bodyPr>
          <a:lstStyle/>
          <a:p>
            <a:pPr marL="144000" marR="0" lvl="0" indent="0" algn="l" defTabSz="914400" rtl="0" eaLnBrk="1" fontAlgn="base" latinLnBrk="0" hangingPunct="1">
              <a:lnSpc>
                <a:spcPct val="100000"/>
              </a:lnSpc>
              <a:spcBef>
                <a:spcPts val="600"/>
              </a:spcBef>
              <a:spcAft>
                <a:spcPts val="300"/>
              </a:spcAft>
              <a:buClr>
                <a:srgbClr val="505150"/>
              </a:buClr>
              <a:buSzPct val="88000"/>
              <a:buFont typeface="Arial" pitchFamily="34" charset="0"/>
              <a:buNone/>
              <a:tabLst>
                <a:tab pos="1346200" algn="l"/>
              </a:tabLst>
              <a:defRPr/>
            </a:pPr>
            <a:r>
              <a:rPr kumimoji="0" lang="es-ES" sz="1050" b="0" i="0" u="none" strike="noStrike" kern="1200" cap="none" spc="0" normalizeH="0" baseline="0" noProof="0">
                <a:ln>
                  <a:noFill/>
                </a:ln>
                <a:solidFill>
                  <a:schemeClr val="tx1"/>
                </a:solidFill>
                <a:effectLst/>
                <a:uLnTx/>
                <a:uFillTx/>
                <a:latin typeface="+mn-lt"/>
                <a:ea typeface="+mn-ea"/>
                <a:cs typeface="+mn-cs"/>
                <a:sym typeface="Droid Sans" charset="0"/>
              </a:rPr>
              <a:t>Introducción</a:t>
            </a:r>
          </a:p>
        </p:txBody>
      </p:sp>
      <p:sp>
        <p:nvSpPr>
          <p:cNvPr id="7" name="26 Marcador de contenido"/>
          <p:cNvSpPr>
            <a:spLocks noGrp="1"/>
          </p:cNvSpPr>
          <p:nvPr>
            <p:ph sz="quarter" idx="26" hasCustomPrompt="1"/>
          </p:nvPr>
        </p:nvSpPr>
        <p:spPr>
          <a:xfrm>
            <a:off x="1192823" y="863255"/>
            <a:ext cx="8988270" cy="225425"/>
          </a:xfrm>
        </p:spPr>
        <p:txBody>
          <a:bodyPr anchor="ctr">
            <a:noAutofit/>
          </a:bodyPr>
          <a:lstStyle>
            <a:lvl1pPr marL="144000">
              <a:defRPr sz="1000" cap="all" spc="300" baseline="0">
                <a:solidFill>
                  <a:schemeClr val="tx1"/>
                </a:solidFill>
              </a:defRPr>
            </a:lvl1pPr>
            <a:lvl7pPr>
              <a:defRPr>
                <a:solidFill>
                  <a:schemeClr val="tx1">
                    <a:lumMod val="50000"/>
                    <a:lumOff val="50000"/>
                  </a:schemeClr>
                </a:solidFill>
              </a:defRPr>
            </a:lvl7pPr>
          </a:lstStyle>
          <a:p>
            <a:pPr lvl="0"/>
            <a:r>
              <a:rPr lang="es-ES"/>
              <a:t>Subtítulo</a:t>
            </a:r>
            <a:endParaRPr lang="en-US"/>
          </a:p>
        </p:txBody>
      </p:sp>
      <p:sp>
        <p:nvSpPr>
          <p:cNvPr id="2" name="Marcador de número de diapositiva 1"/>
          <p:cNvSpPr>
            <a:spLocks noGrp="1"/>
          </p:cNvSpPr>
          <p:nvPr>
            <p:ph type="sldNum" sz="quarter" idx="27"/>
          </p:nvPr>
        </p:nvSpPr>
        <p:spPr/>
        <p:txBody>
          <a:bodyPr/>
          <a:lstStyle/>
          <a:p>
            <a:pPr marL="7938" algn="ctr" fontAlgn="base">
              <a:spcAft>
                <a:spcPct val="0"/>
              </a:spcAft>
              <a:buClr>
                <a:srgbClr val="505150"/>
              </a:buClr>
              <a:buSzPct val="88000"/>
            </a:pPr>
            <a:fld id="{B90C96D8-0395-4AF3-8A78-0E88AEC6FB3C}" type="slidenum">
              <a:rPr lang="es-ES" smtClean="0"/>
              <a:pPr marL="7938" algn="ctr" fontAlgn="base">
                <a:spcAft>
                  <a:spcPct val="0"/>
                </a:spcAft>
                <a:buClr>
                  <a:srgbClr val="505150"/>
                </a:buClr>
                <a:buSzPct val="88000"/>
              </a:pPr>
              <a:t>‹Nº›</a:t>
            </a:fld>
            <a:endParaRPr lang="es-ES"/>
          </a:p>
        </p:txBody>
      </p:sp>
      <p:sp>
        <p:nvSpPr>
          <p:cNvPr id="9" name="Shape 3655"/>
          <p:cNvSpPr/>
          <p:nvPr userDrawn="1"/>
        </p:nvSpPr>
        <p:spPr>
          <a:xfrm>
            <a:off x="442277" y="432864"/>
            <a:ext cx="432977" cy="351794"/>
          </a:xfrm>
          <a:custGeom>
            <a:avLst/>
            <a:gdLst/>
            <a:ahLst/>
            <a:cxnLst>
              <a:cxn ang="0">
                <a:pos x="wd2" y="hd2"/>
              </a:cxn>
              <a:cxn ang="5400000">
                <a:pos x="wd2" y="hd2"/>
              </a:cxn>
              <a:cxn ang="10800000">
                <a:pos x="wd2" y="hd2"/>
              </a:cxn>
              <a:cxn ang="16200000">
                <a:pos x="wd2" y="hd2"/>
              </a:cxn>
            </a:cxnLst>
            <a:rect l="0" t="0" r="r" b="b"/>
            <a:pathLst>
              <a:path w="21600" h="21600" extrusionOk="0">
                <a:moveTo>
                  <a:pt x="18164" y="4419"/>
                </a:moveTo>
                <a:lnTo>
                  <a:pt x="9327" y="4419"/>
                </a:lnTo>
                <a:cubicBezTo>
                  <a:pt x="9056" y="4419"/>
                  <a:pt x="8836" y="4638"/>
                  <a:pt x="8836" y="4909"/>
                </a:cubicBezTo>
                <a:cubicBezTo>
                  <a:pt x="8836" y="5180"/>
                  <a:pt x="9056" y="5400"/>
                  <a:pt x="9327" y="5400"/>
                </a:cubicBezTo>
                <a:lnTo>
                  <a:pt x="18164" y="5400"/>
                </a:lnTo>
                <a:cubicBezTo>
                  <a:pt x="18435" y="5400"/>
                  <a:pt x="18655" y="5180"/>
                  <a:pt x="18655" y="4909"/>
                </a:cubicBezTo>
                <a:cubicBezTo>
                  <a:pt x="18655" y="4638"/>
                  <a:pt x="18435" y="4419"/>
                  <a:pt x="18164" y="4419"/>
                </a:cubicBezTo>
                <a:moveTo>
                  <a:pt x="20618" y="19636"/>
                </a:moveTo>
                <a:cubicBezTo>
                  <a:pt x="20618" y="20179"/>
                  <a:pt x="20178" y="20618"/>
                  <a:pt x="19636" y="20618"/>
                </a:cubicBezTo>
                <a:lnTo>
                  <a:pt x="1964" y="20618"/>
                </a:lnTo>
                <a:cubicBezTo>
                  <a:pt x="1421" y="20618"/>
                  <a:pt x="982" y="20179"/>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2"/>
                  <a:pt x="879" y="21600"/>
                  <a:pt x="1964" y="21600"/>
                </a:cubicBezTo>
                <a:lnTo>
                  <a:pt x="19636" y="21600"/>
                </a:lnTo>
                <a:cubicBezTo>
                  <a:pt x="20721" y="21600"/>
                  <a:pt x="21600" y="20722"/>
                  <a:pt x="21600" y="19636"/>
                </a:cubicBezTo>
                <a:lnTo>
                  <a:pt x="21600" y="1964"/>
                </a:lnTo>
                <a:cubicBezTo>
                  <a:pt x="21600" y="879"/>
                  <a:pt x="20721" y="0"/>
                  <a:pt x="19636" y="0"/>
                </a:cubicBezTo>
                <a:moveTo>
                  <a:pt x="18164" y="10310"/>
                </a:moveTo>
                <a:lnTo>
                  <a:pt x="9327" y="10310"/>
                </a:lnTo>
                <a:cubicBezTo>
                  <a:pt x="9056" y="10310"/>
                  <a:pt x="8836" y="10529"/>
                  <a:pt x="8836" y="10800"/>
                </a:cubicBezTo>
                <a:cubicBezTo>
                  <a:pt x="8836" y="11071"/>
                  <a:pt x="9056" y="11291"/>
                  <a:pt x="9327" y="11291"/>
                </a:cubicBezTo>
                <a:lnTo>
                  <a:pt x="18164" y="11291"/>
                </a:lnTo>
                <a:cubicBezTo>
                  <a:pt x="18435" y="11291"/>
                  <a:pt x="18655" y="11071"/>
                  <a:pt x="18655" y="10800"/>
                </a:cubicBezTo>
                <a:cubicBezTo>
                  <a:pt x="18655" y="10529"/>
                  <a:pt x="18435" y="10310"/>
                  <a:pt x="18164" y="10310"/>
                </a:cubicBezTo>
                <a:moveTo>
                  <a:pt x="5445" y="16156"/>
                </a:moveTo>
                <a:lnTo>
                  <a:pt x="4909" y="14728"/>
                </a:lnTo>
                <a:lnTo>
                  <a:pt x="4374" y="16156"/>
                </a:lnTo>
                <a:lnTo>
                  <a:pt x="2945" y="16156"/>
                </a:lnTo>
                <a:lnTo>
                  <a:pt x="4106" y="17049"/>
                </a:lnTo>
                <a:lnTo>
                  <a:pt x="3571" y="18655"/>
                </a:lnTo>
                <a:lnTo>
                  <a:pt x="4909" y="17673"/>
                </a:lnTo>
                <a:lnTo>
                  <a:pt x="6248" y="18655"/>
                </a:lnTo>
                <a:lnTo>
                  <a:pt x="5713" y="17049"/>
                </a:lnTo>
                <a:lnTo>
                  <a:pt x="6873" y="16156"/>
                </a:lnTo>
                <a:cubicBezTo>
                  <a:pt x="6873" y="16156"/>
                  <a:pt x="5445" y="16156"/>
                  <a:pt x="5445" y="16156"/>
                </a:cubicBezTo>
                <a:close/>
                <a:moveTo>
                  <a:pt x="4909" y="8836"/>
                </a:moveTo>
                <a:lnTo>
                  <a:pt x="4374" y="10265"/>
                </a:lnTo>
                <a:lnTo>
                  <a:pt x="2945" y="10265"/>
                </a:lnTo>
                <a:lnTo>
                  <a:pt x="4106" y="11158"/>
                </a:lnTo>
                <a:lnTo>
                  <a:pt x="3571" y="12764"/>
                </a:lnTo>
                <a:lnTo>
                  <a:pt x="4909" y="11782"/>
                </a:lnTo>
                <a:lnTo>
                  <a:pt x="6248" y="12764"/>
                </a:lnTo>
                <a:lnTo>
                  <a:pt x="5713" y="11158"/>
                </a:lnTo>
                <a:lnTo>
                  <a:pt x="6873" y="10265"/>
                </a:lnTo>
                <a:lnTo>
                  <a:pt x="5445" y="10265"/>
                </a:lnTo>
                <a:cubicBezTo>
                  <a:pt x="5445" y="10265"/>
                  <a:pt x="4909" y="8836"/>
                  <a:pt x="4909" y="8836"/>
                </a:cubicBezTo>
                <a:close/>
                <a:moveTo>
                  <a:pt x="4909" y="2945"/>
                </a:moveTo>
                <a:lnTo>
                  <a:pt x="4374" y="4374"/>
                </a:lnTo>
                <a:lnTo>
                  <a:pt x="2945" y="4374"/>
                </a:lnTo>
                <a:lnTo>
                  <a:pt x="4106" y="5267"/>
                </a:lnTo>
                <a:lnTo>
                  <a:pt x="3571" y="6873"/>
                </a:lnTo>
                <a:lnTo>
                  <a:pt x="4909" y="5891"/>
                </a:lnTo>
                <a:lnTo>
                  <a:pt x="6248" y="6873"/>
                </a:lnTo>
                <a:lnTo>
                  <a:pt x="5713" y="5267"/>
                </a:lnTo>
                <a:lnTo>
                  <a:pt x="6873" y="4374"/>
                </a:lnTo>
                <a:lnTo>
                  <a:pt x="5445" y="4374"/>
                </a:lnTo>
                <a:cubicBezTo>
                  <a:pt x="5445" y="4374"/>
                  <a:pt x="4909" y="2945"/>
                  <a:pt x="4909" y="2945"/>
                </a:cubicBezTo>
                <a:close/>
                <a:moveTo>
                  <a:pt x="18164" y="16200"/>
                </a:moveTo>
                <a:lnTo>
                  <a:pt x="9327" y="16200"/>
                </a:lnTo>
                <a:cubicBezTo>
                  <a:pt x="9056" y="16200"/>
                  <a:pt x="8836" y="16421"/>
                  <a:pt x="8836" y="16692"/>
                </a:cubicBezTo>
                <a:cubicBezTo>
                  <a:pt x="8836" y="16962"/>
                  <a:pt x="9056" y="17183"/>
                  <a:pt x="9327" y="17183"/>
                </a:cubicBezTo>
                <a:lnTo>
                  <a:pt x="18164" y="17183"/>
                </a:lnTo>
                <a:cubicBezTo>
                  <a:pt x="18435" y="17183"/>
                  <a:pt x="18655" y="16962"/>
                  <a:pt x="18655" y="16692"/>
                </a:cubicBezTo>
                <a:cubicBezTo>
                  <a:pt x="18655" y="16421"/>
                  <a:pt x="18435" y="16200"/>
                  <a:pt x="18164" y="16200"/>
                </a:cubicBezTo>
              </a:path>
            </a:pathLst>
          </a:custGeom>
          <a:solidFill>
            <a:schemeClr val="tx1"/>
          </a:solidFill>
          <a:ln w="12700">
            <a:miter lim="400000"/>
          </a:ln>
        </p:spPr>
        <p:txBody>
          <a:bodyPr lIns="38100" tIns="38100" rIns="38100" bIns="38100" anchor="ctr"/>
          <a:lstStyle/>
          <a:p>
            <a:endParaRPr sz="1800">
              <a:solidFill>
                <a:prstClr val="black"/>
              </a:solidFill>
            </a:endParaRPr>
          </a:p>
        </p:txBody>
      </p:sp>
    </p:spTree>
    <p:extLst>
      <p:ext uri="{BB962C8B-B14F-4D97-AF65-F5344CB8AC3E}">
        <p14:creationId xmlns:p14="http://schemas.microsoft.com/office/powerpoint/2010/main" val="3644767353"/>
      </p:ext>
    </p:extLst>
  </p:cSld>
  <p:clrMapOvr>
    <a:masterClrMapping/>
  </p:clrMapOvr>
  <p:transition spd="slow"/>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_Template Propuesta 2022 - Anexos">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50040F2E-A856-F74D-B747-8F63180F396D}"/>
              </a:ext>
            </a:extLst>
          </p:cNvPr>
          <p:cNvSpPr>
            <a:spLocks noGrp="1"/>
          </p:cNvSpPr>
          <p:nvPr>
            <p:ph type="title"/>
          </p:nvPr>
        </p:nvSpPr>
        <p:spPr>
          <a:xfrm>
            <a:off x="1138892" y="36122"/>
            <a:ext cx="10610449" cy="276999"/>
          </a:xfrm>
        </p:spPr>
        <p:txBody>
          <a:bodyPr wrap="square" lIns="0" anchor="t">
            <a:noAutofit/>
          </a:bodyPr>
          <a:lstStyle>
            <a:lvl1pPr>
              <a:defRPr lang="es-ES_tradnl" cap="all" baseline="0" noProof="0" dirty="0"/>
            </a:lvl1pPr>
          </a:lstStyle>
          <a:p>
            <a:pPr lvl="0"/>
            <a:r>
              <a:rPr lang="es-ES_tradnl" noProof="0"/>
              <a:t>Haga clic para modificar el estilo de título del patrón</a:t>
            </a:r>
          </a:p>
        </p:txBody>
      </p:sp>
      <p:sp>
        <p:nvSpPr>
          <p:cNvPr id="7" name="Marcador de texto 5">
            <a:extLst>
              <a:ext uri="{FF2B5EF4-FFF2-40B4-BE49-F238E27FC236}">
                <a16:creationId xmlns:a16="http://schemas.microsoft.com/office/drawing/2014/main" id="{CC6303D6-D0FC-984A-8419-A50470327A59}"/>
              </a:ext>
            </a:extLst>
          </p:cNvPr>
          <p:cNvSpPr>
            <a:spLocks noGrp="1"/>
          </p:cNvSpPr>
          <p:nvPr>
            <p:ph type="body" sz="quarter" idx="10"/>
          </p:nvPr>
        </p:nvSpPr>
        <p:spPr>
          <a:xfrm>
            <a:off x="442659" y="671500"/>
            <a:ext cx="11306682" cy="5741999"/>
          </a:xfrm>
        </p:spPr>
        <p:txBody>
          <a:bodyPr/>
          <a:lstStyle/>
          <a:p>
            <a:pPr lvl="0"/>
            <a:r>
              <a:rPr lang="es-ES_tradnl" noProof="0"/>
              <a:t>Haga clic para modificar los estilos de texto del patrón</a:t>
            </a:r>
          </a:p>
          <a:p>
            <a:pPr lvl="1"/>
            <a:r>
              <a:rPr lang="es-ES_tradnl" noProof="0"/>
              <a:t>Segundo nivel</a:t>
            </a:r>
          </a:p>
          <a:p>
            <a:pPr lvl="2"/>
            <a:r>
              <a:rPr lang="es-ES_tradnl" noProof="0"/>
              <a:t>Tercer nivel</a:t>
            </a:r>
          </a:p>
          <a:p>
            <a:pPr lvl="3"/>
            <a:r>
              <a:rPr lang="es-ES_tradnl" noProof="0"/>
              <a:t>Cuarto nivel</a:t>
            </a:r>
          </a:p>
          <a:p>
            <a:pPr lvl="4"/>
            <a:r>
              <a:rPr lang="es-ES_tradnl" noProof="0"/>
              <a:t>Quinto nivel</a:t>
            </a:r>
          </a:p>
        </p:txBody>
      </p:sp>
      <p:sp>
        <p:nvSpPr>
          <p:cNvPr id="4" name="Marcador de texto 4">
            <a:extLst>
              <a:ext uri="{FF2B5EF4-FFF2-40B4-BE49-F238E27FC236}">
                <a16:creationId xmlns:a16="http://schemas.microsoft.com/office/drawing/2014/main" id="{DED7AFAC-0516-FB48-9E02-44CC62A80883}"/>
              </a:ext>
            </a:extLst>
          </p:cNvPr>
          <p:cNvSpPr>
            <a:spLocks noGrp="1"/>
          </p:cNvSpPr>
          <p:nvPr>
            <p:ph type="body" sz="quarter" idx="11"/>
          </p:nvPr>
        </p:nvSpPr>
        <p:spPr>
          <a:xfrm>
            <a:off x="1138639" y="290195"/>
            <a:ext cx="10610449" cy="217488"/>
          </a:xfrm>
        </p:spPr>
        <p:txBody>
          <a:bodyPr/>
          <a:lstStyle>
            <a:lvl1pPr>
              <a:defRPr sz="1200">
                <a:solidFill>
                  <a:schemeClr val="tx2"/>
                </a:solidFill>
              </a:defRPr>
            </a:lvl1pPr>
          </a:lstStyle>
          <a:p>
            <a:pPr lvl="0"/>
            <a:r>
              <a:rPr lang="es-ES_tradnl" noProof="0"/>
              <a:t>Haga clic para modificar los estilos de texto del patrón</a:t>
            </a:r>
          </a:p>
        </p:txBody>
      </p:sp>
      <p:sp>
        <p:nvSpPr>
          <p:cNvPr id="9" name="Rectángulo 8">
            <a:extLst>
              <a:ext uri="{FF2B5EF4-FFF2-40B4-BE49-F238E27FC236}">
                <a16:creationId xmlns:a16="http://schemas.microsoft.com/office/drawing/2014/main" id="{9D31E6A8-7FC5-D346-B913-27F3CB84C0BF}"/>
              </a:ext>
            </a:extLst>
          </p:cNvPr>
          <p:cNvSpPr/>
          <p:nvPr userDrawn="1"/>
        </p:nvSpPr>
        <p:spPr bwMode="auto">
          <a:xfrm>
            <a:off x="596159" y="67814"/>
            <a:ext cx="405613" cy="405613"/>
          </a:xfrm>
          <a:prstGeom prst="rect">
            <a:avLst/>
          </a:prstGeom>
          <a:solidFill>
            <a:schemeClr val="bg1"/>
          </a:solidFill>
          <a:ln w="25400" cap="flat">
            <a:solidFill>
              <a:schemeClr val="accent3">
                <a:lumMod val="60000"/>
                <a:lumOff val="40000"/>
              </a:schemeClr>
            </a:solidFill>
            <a:miter lim="800000"/>
          </a:ln>
        </p:spPr>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4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10" name="Shape 3609">
            <a:extLst>
              <a:ext uri="{FF2B5EF4-FFF2-40B4-BE49-F238E27FC236}">
                <a16:creationId xmlns:a16="http://schemas.microsoft.com/office/drawing/2014/main" id="{984874FB-B9FA-E147-BBBC-0509024A0EEF}"/>
              </a:ext>
            </a:extLst>
          </p:cNvPr>
          <p:cNvSpPr/>
          <p:nvPr userDrawn="1"/>
        </p:nvSpPr>
        <p:spPr>
          <a:xfrm>
            <a:off x="694071" y="163967"/>
            <a:ext cx="207824" cy="207823"/>
          </a:xfrm>
          <a:custGeom>
            <a:avLst/>
            <a:gdLst/>
            <a:ahLst/>
            <a:cxnLst>
              <a:cxn ang="0">
                <a:pos x="wd2" y="hd2"/>
              </a:cxn>
              <a:cxn ang="5400000">
                <a:pos x="wd2" y="hd2"/>
              </a:cxn>
              <a:cxn ang="10800000">
                <a:pos x="wd2" y="hd2"/>
              </a:cxn>
              <a:cxn ang="16200000">
                <a:pos x="wd2" y="hd2"/>
              </a:cxn>
            </a:cxnLst>
            <a:rect l="0" t="0" r="r" b="b"/>
            <a:pathLst>
              <a:path w="21600" h="21600" extrusionOk="0">
                <a:moveTo>
                  <a:pt x="4418" y="11782"/>
                </a:moveTo>
                <a:lnTo>
                  <a:pt x="14236" y="11782"/>
                </a:lnTo>
                <a:cubicBezTo>
                  <a:pt x="14507" y="11782"/>
                  <a:pt x="14727" y="11562"/>
                  <a:pt x="14727" y="11291"/>
                </a:cubicBezTo>
                <a:cubicBezTo>
                  <a:pt x="14727" y="11020"/>
                  <a:pt x="14507" y="10800"/>
                  <a:pt x="14236" y="10800"/>
                </a:cubicBezTo>
                <a:lnTo>
                  <a:pt x="4418" y="10800"/>
                </a:lnTo>
                <a:cubicBezTo>
                  <a:pt x="4147" y="10800"/>
                  <a:pt x="3927" y="11020"/>
                  <a:pt x="3927" y="11291"/>
                </a:cubicBezTo>
                <a:cubicBezTo>
                  <a:pt x="3927" y="11562"/>
                  <a:pt x="4147" y="11782"/>
                  <a:pt x="4418" y="11782"/>
                </a:cubicBezTo>
                <a:moveTo>
                  <a:pt x="20618" y="20618"/>
                </a:moveTo>
                <a:lnTo>
                  <a:pt x="5891" y="20618"/>
                </a:lnTo>
                <a:lnTo>
                  <a:pt x="5891" y="16200"/>
                </a:lnTo>
                <a:cubicBezTo>
                  <a:pt x="5891" y="15929"/>
                  <a:pt x="5671" y="15709"/>
                  <a:pt x="5400" y="15709"/>
                </a:cubicBezTo>
                <a:lnTo>
                  <a:pt x="982" y="15709"/>
                </a:lnTo>
                <a:lnTo>
                  <a:pt x="982" y="982"/>
                </a:lnTo>
                <a:lnTo>
                  <a:pt x="20618" y="982"/>
                </a:lnTo>
                <a:cubicBezTo>
                  <a:pt x="20618" y="982"/>
                  <a:pt x="20618" y="20618"/>
                  <a:pt x="20618" y="20618"/>
                </a:cubicBezTo>
                <a:close/>
                <a:moveTo>
                  <a:pt x="4909" y="20127"/>
                </a:moveTo>
                <a:lnTo>
                  <a:pt x="1473" y="16691"/>
                </a:lnTo>
                <a:lnTo>
                  <a:pt x="4909" y="16691"/>
                </a:lnTo>
                <a:cubicBezTo>
                  <a:pt x="4909" y="16691"/>
                  <a:pt x="4909" y="20127"/>
                  <a:pt x="4909" y="20127"/>
                </a:cubicBezTo>
                <a:close/>
                <a:moveTo>
                  <a:pt x="20618" y="0"/>
                </a:moveTo>
                <a:lnTo>
                  <a:pt x="982" y="0"/>
                </a:lnTo>
                <a:cubicBezTo>
                  <a:pt x="440" y="0"/>
                  <a:pt x="0" y="440"/>
                  <a:pt x="0" y="982"/>
                </a:cubicBezTo>
                <a:lnTo>
                  <a:pt x="0" y="16691"/>
                </a:lnTo>
                <a:lnTo>
                  <a:pt x="4909" y="21600"/>
                </a:lnTo>
                <a:lnTo>
                  <a:pt x="20618" y="21600"/>
                </a:lnTo>
                <a:cubicBezTo>
                  <a:pt x="21160" y="21600"/>
                  <a:pt x="21600" y="21161"/>
                  <a:pt x="21600" y="20618"/>
                </a:cubicBezTo>
                <a:lnTo>
                  <a:pt x="21600" y="982"/>
                </a:lnTo>
                <a:cubicBezTo>
                  <a:pt x="21600" y="440"/>
                  <a:pt x="21160" y="0"/>
                  <a:pt x="20618" y="0"/>
                </a:cubicBezTo>
                <a:moveTo>
                  <a:pt x="4418" y="8836"/>
                </a:moveTo>
                <a:lnTo>
                  <a:pt x="17182" y="8836"/>
                </a:lnTo>
                <a:cubicBezTo>
                  <a:pt x="17453" y="8836"/>
                  <a:pt x="17673" y="8617"/>
                  <a:pt x="17673" y="8345"/>
                </a:cubicBezTo>
                <a:cubicBezTo>
                  <a:pt x="17673" y="8075"/>
                  <a:pt x="17453" y="7855"/>
                  <a:pt x="17182" y="7855"/>
                </a:cubicBezTo>
                <a:lnTo>
                  <a:pt x="4418" y="7855"/>
                </a:lnTo>
                <a:cubicBezTo>
                  <a:pt x="4147" y="7855"/>
                  <a:pt x="3927" y="8075"/>
                  <a:pt x="3927" y="8345"/>
                </a:cubicBezTo>
                <a:cubicBezTo>
                  <a:pt x="3927" y="8617"/>
                  <a:pt x="4147" y="8836"/>
                  <a:pt x="4418" y="8836"/>
                </a:cubicBezTo>
                <a:moveTo>
                  <a:pt x="4418" y="5891"/>
                </a:moveTo>
                <a:lnTo>
                  <a:pt x="10309" y="5891"/>
                </a:lnTo>
                <a:cubicBezTo>
                  <a:pt x="10580" y="5891"/>
                  <a:pt x="10800" y="5672"/>
                  <a:pt x="10800" y="5400"/>
                </a:cubicBezTo>
                <a:cubicBezTo>
                  <a:pt x="10800" y="5129"/>
                  <a:pt x="10580" y="4909"/>
                  <a:pt x="10309" y="4909"/>
                </a:cubicBezTo>
                <a:lnTo>
                  <a:pt x="4418" y="4909"/>
                </a:lnTo>
                <a:cubicBezTo>
                  <a:pt x="4147" y="4909"/>
                  <a:pt x="3927" y="5129"/>
                  <a:pt x="3927" y="5400"/>
                </a:cubicBezTo>
                <a:cubicBezTo>
                  <a:pt x="3927" y="5672"/>
                  <a:pt x="4147" y="5891"/>
                  <a:pt x="4418" y="5891"/>
                </a:cubicBezTo>
              </a:path>
            </a:pathLst>
          </a:custGeom>
          <a:solidFill>
            <a:schemeClr val="tx2"/>
          </a:solidFill>
          <a:ln w="12700">
            <a:miter lim="400000"/>
          </a:ln>
        </p:spPr>
        <p:txBody>
          <a:bodyPr lIns="38100" tIns="38100" rIns="38100" bIns="381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 name="Rectangle 12">
            <a:extLst>
              <a:ext uri="{FF2B5EF4-FFF2-40B4-BE49-F238E27FC236}">
                <a16:creationId xmlns:a16="http://schemas.microsoft.com/office/drawing/2014/main" id="{76E17A97-AF6C-4C45-A2C7-7F159E8CF989}"/>
              </a:ext>
            </a:extLst>
          </p:cNvPr>
          <p:cNvSpPr/>
          <p:nvPr userDrawn="1"/>
        </p:nvSpPr>
        <p:spPr>
          <a:xfrm>
            <a:off x="9457765" y="6579030"/>
            <a:ext cx="2734235" cy="278969"/>
          </a:xfrm>
          <a:prstGeom prst="rect">
            <a:avLst/>
          </a:prstGeom>
          <a:solidFill>
            <a:schemeClr val="accent3">
              <a:lumMod val="60000"/>
              <a:lumOff val="40000"/>
            </a:schemeClr>
          </a:solid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ANEXOS</a:t>
            </a:r>
          </a:p>
        </p:txBody>
      </p:sp>
    </p:spTree>
    <p:extLst>
      <p:ext uri="{BB962C8B-B14F-4D97-AF65-F5344CB8AC3E}">
        <p14:creationId xmlns:p14="http://schemas.microsoft.com/office/powerpoint/2010/main" val="2935392163"/>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Only">
  <p:cSld name="str - general (título y nume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6DDE8FC-D7A6-4741-B4E6-95DC363B1FF4}"/>
              </a:ext>
            </a:extLst>
          </p:cNvPr>
          <p:cNvSpPr>
            <a:spLocks noGrp="1"/>
          </p:cNvSpPr>
          <p:nvPr>
            <p:ph type="title" hasCustomPrompt="1"/>
          </p:nvPr>
        </p:nvSpPr>
        <p:spPr>
          <a:xfrm>
            <a:off x="347502" y="219070"/>
            <a:ext cx="10515600" cy="365721"/>
          </a:xfrm>
        </p:spPr>
        <p:txBody>
          <a:bodyPr/>
          <a:lstStyle>
            <a:lvl1pPr>
              <a:defRPr sz="1800"/>
            </a:lvl1pPr>
          </a:lstStyle>
          <a:p>
            <a:r>
              <a:rPr lang="es-ES"/>
              <a:t>Haga clic para modificar el estilo de título del patrón </a:t>
            </a:r>
          </a:p>
        </p:txBody>
      </p:sp>
      <p:sp>
        <p:nvSpPr>
          <p:cNvPr id="5" name="Rectángulo 4">
            <a:extLst>
              <a:ext uri="{FF2B5EF4-FFF2-40B4-BE49-F238E27FC236}">
                <a16:creationId xmlns:a16="http://schemas.microsoft.com/office/drawing/2014/main" id="{D8AAFF47-09E5-284E-8593-50ABF65A3231}"/>
              </a:ext>
            </a:extLst>
          </p:cNvPr>
          <p:cNvSpPr/>
          <p:nvPr userDrawn="1"/>
        </p:nvSpPr>
        <p:spPr>
          <a:xfrm>
            <a:off x="0" y="6579031"/>
            <a:ext cx="12192000" cy="27896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 name="Page Placeholder Gray">
            <a:extLst>
              <a:ext uri="{FF2B5EF4-FFF2-40B4-BE49-F238E27FC236}">
                <a16:creationId xmlns:a16="http://schemas.microsoft.com/office/drawing/2014/main" id="{A2B004A2-055B-C94D-B5F9-C5B01DE0DCA4}"/>
              </a:ext>
            </a:extLst>
          </p:cNvPr>
          <p:cNvSpPr txBox="1"/>
          <p:nvPr userDrawn="1"/>
        </p:nvSpPr>
        <p:spPr>
          <a:xfrm>
            <a:off x="11623729" y="6664293"/>
            <a:ext cx="448170" cy="107722"/>
          </a:xfrm>
          <a:prstGeom prst="rect">
            <a:avLst/>
          </a:prstGeom>
          <a:noFill/>
        </p:spPr>
        <p:txBody>
          <a:bodyPr wrap="square" lIns="0" tIns="0" rIns="0" bIns="0" rtlCol="0" anchor="t" anchorCtr="0">
            <a:spAutoFit/>
          </a:bodyPr>
          <a:lstStyle/>
          <a:p>
            <a:pPr algn="ctr"/>
            <a:fld id="{9AE4D82F-B047-469B-AC52-A46321747EAF}" type="slidenum">
              <a:rPr lang="en-GB" sz="700" smtClean="0">
                <a:solidFill>
                  <a:srgbClr val="646464"/>
                </a:solidFill>
                <a:latin typeface="Arial" panose="020B0604020202020204" pitchFamily="34" charset="0"/>
                <a:cs typeface="Arial" panose="020B0604020202020204" pitchFamily="34" charset="0"/>
              </a:rPr>
              <a:pPr algn="ctr"/>
              <a:t>‹Nº›</a:t>
            </a:fld>
            <a:endParaRPr lang="en-GB" sz="800">
              <a:solidFill>
                <a:srgbClr val="646464"/>
              </a:solidFill>
              <a:latin typeface="Arial" panose="020B0604020202020204" pitchFamily="34" charset="0"/>
              <a:cs typeface="Arial" panose="020B0604020202020204" pitchFamily="34" charset="0"/>
            </a:endParaRPr>
          </a:p>
        </p:txBody>
      </p:sp>
      <p:sp>
        <p:nvSpPr>
          <p:cNvPr id="8" name="Rectangle 12">
            <a:extLst>
              <a:ext uri="{FF2B5EF4-FFF2-40B4-BE49-F238E27FC236}">
                <a16:creationId xmlns:a16="http://schemas.microsoft.com/office/drawing/2014/main" id="{C7F68D79-FD9F-794B-A85B-C63205077C43}"/>
              </a:ext>
            </a:extLst>
          </p:cNvPr>
          <p:cNvSpPr/>
          <p:nvPr userDrawn="1"/>
        </p:nvSpPr>
        <p:spPr>
          <a:xfrm>
            <a:off x="192152" y="6663354"/>
            <a:ext cx="5834311" cy="107722"/>
          </a:xfrm>
          <a:prstGeom prst="rect">
            <a:avLst/>
          </a:prstGeom>
          <a:noFill/>
        </p:spPr>
        <p:txBody>
          <a:bodyPr wrap="square" lIns="0" tIns="0" rIns="0" bIns="0" rtlCol="0" anchor="t" anchorCtr="0">
            <a:spAutoFit/>
          </a:bodyPr>
          <a:lstStyle/>
          <a:p>
            <a:r>
              <a:rPr lang="en-US" sz="700">
                <a:solidFill>
                  <a:srgbClr val="646464"/>
                </a:solidFill>
                <a:latin typeface="Arial" panose="020B0604020202020204" pitchFamily="34" charset="0"/>
                <a:cs typeface="Arial" panose="020B0604020202020204" pitchFamily="34" charset="0"/>
              </a:rPr>
              <a:t>Stratesys Technology Solutions -  All Rights Reserved - </a:t>
            </a:r>
            <a:r>
              <a:rPr lang="en-US" sz="700" noProof="0">
                <a:solidFill>
                  <a:srgbClr val="646464"/>
                </a:solidFill>
                <a:latin typeface="Arial" panose="020B0604020202020204" pitchFamily="34" charset="0"/>
                <a:cs typeface="Arial" panose="020B0604020202020204" pitchFamily="34" charset="0"/>
              </a:rPr>
              <a:t>Confidential</a:t>
            </a:r>
            <a:endParaRPr lang="en-US" sz="700">
              <a:solidFill>
                <a:srgbClr val="646464"/>
              </a:solidFill>
              <a:latin typeface="EYInterstate Light" panose="02000506000000020004" pitchFamily="2" charset="0"/>
            </a:endParaRPr>
          </a:p>
        </p:txBody>
      </p:sp>
    </p:spTree>
    <p:extLst>
      <p:ext uri="{BB962C8B-B14F-4D97-AF65-F5344CB8AC3E}">
        <p14:creationId xmlns:p14="http://schemas.microsoft.com/office/powerpoint/2010/main" val="4178799379"/>
      </p:ext>
    </p:extLst>
  </p:cSld>
  <p:clrMapOvr>
    <a:masterClrMapping/>
  </p:clrMapOvr>
  <p:extLst>
    <p:ext uri="{DCECCB84-F9BA-43D5-87BE-67443E8EF086}">
      <p15:sldGuideLst xmlns:p15="http://schemas.microsoft.com/office/powerpoint/2012/main">
        <p15:guide id="1" orient="horz" pos="2319">
          <p15:clr>
            <a:srgbClr val="FBAE40"/>
          </p15:clr>
        </p15:guide>
        <p15:guide id="2" pos="279">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PPT Corporativa 2022 - Imagen Lateral">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3DEBDAB1-EC3B-E842-B160-885DDB9F8FEB}"/>
              </a:ext>
            </a:extLst>
          </p:cNvPr>
          <p:cNvSpPr>
            <a:spLocks noGrp="1"/>
          </p:cNvSpPr>
          <p:nvPr>
            <p:ph type="pic" sz="quarter" idx="16" hasCustomPrompt="1"/>
          </p:nvPr>
        </p:nvSpPr>
        <p:spPr>
          <a:xfrm>
            <a:off x="0" y="455151"/>
            <a:ext cx="2575249" cy="6126124"/>
          </a:xfrm>
          <a:prstGeom prst="rect">
            <a:avLst/>
          </a:prstGeom>
          <a:noFill/>
        </p:spPr>
        <p:txBody>
          <a:bodyPr wrap="square" anchor="ctr">
            <a:noAutofit/>
          </a:bodyPr>
          <a:lstStyle>
            <a:lvl1pPr algn="ctr">
              <a:defRPr sz="1600" b="0" i="0">
                <a:latin typeface="Arial Normal" charset="0"/>
                <a:ea typeface="Arial Normal" charset="0"/>
                <a:cs typeface="Arial Normal" charset="0"/>
              </a:defRPr>
            </a:lvl1pPr>
          </a:lstStyle>
          <a:p>
            <a:r>
              <a:rPr lang="en-US" err="1"/>
              <a:t>Insertar</a:t>
            </a:r>
            <a:r>
              <a:rPr lang="en-US"/>
              <a:t> Imagen</a:t>
            </a:r>
          </a:p>
        </p:txBody>
      </p:sp>
      <p:sp>
        <p:nvSpPr>
          <p:cNvPr id="2" name="Título 1">
            <a:extLst>
              <a:ext uri="{FF2B5EF4-FFF2-40B4-BE49-F238E27FC236}">
                <a16:creationId xmlns:a16="http://schemas.microsoft.com/office/drawing/2014/main" id="{005E2AB4-BFF1-E9B5-F86E-CEBEB4109F37}"/>
              </a:ext>
            </a:extLst>
          </p:cNvPr>
          <p:cNvSpPr>
            <a:spLocks noGrp="1"/>
          </p:cNvSpPr>
          <p:nvPr>
            <p:ph type="title"/>
          </p:nvPr>
        </p:nvSpPr>
        <p:spPr/>
        <p:txBody>
          <a:bodyPr/>
          <a:lstStyle/>
          <a:p>
            <a:r>
              <a:rPr lang="es-ES"/>
              <a:t>Haga clic para modificar el estilo de título del patrón</a:t>
            </a:r>
          </a:p>
        </p:txBody>
      </p:sp>
      <p:sp>
        <p:nvSpPr>
          <p:cNvPr id="4" name="Marcador de texto 5">
            <a:extLst>
              <a:ext uri="{FF2B5EF4-FFF2-40B4-BE49-F238E27FC236}">
                <a16:creationId xmlns:a16="http://schemas.microsoft.com/office/drawing/2014/main" id="{84DC47D3-2298-C7FB-99A6-6584E41F2344}"/>
              </a:ext>
            </a:extLst>
          </p:cNvPr>
          <p:cNvSpPr>
            <a:spLocks noGrp="1"/>
          </p:cNvSpPr>
          <p:nvPr>
            <p:ph type="body" sz="quarter" idx="10"/>
          </p:nvPr>
        </p:nvSpPr>
        <p:spPr>
          <a:xfrm>
            <a:off x="2892971" y="671500"/>
            <a:ext cx="8856369" cy="5741999"/>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Tree>
    <p:extLst>
      <p:ext uri="{BB962C8B-B14F-4D97-AF65-F5344CB8AC3E}">
        <p14:creationId xmlns:p14="http://schemas.microsoft.com/office/powerpoint/2010/main" val="17193453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tr -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121247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tr - solo ti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6DDE8FC-D7A6-4741-B4E6-95DC363B1FF4}"/>
              </a:ext>
            </a:extLst>
          </p:cNvPr>
          <p:cNvSpPr>
            <a:spLocks noGrp="1"/>
          </p:cNvSpPr>
          <p:nvPr>
            <p:ph type="title" hasCustomPrompt="1"/>
          </p:nvPr>
        </p:nvSpPr>
        <p:spPr>
          <a:xfrm>
            <a:off x="347502" y="219070"/>
            <a:ext cx="10515600" cy="365721"/>
          </a:xfrm>
        </p:spPr>
        <p:txBody>
          <a:bodyPr/>
          <a:lstStyle>
            <a:lvl1pPr>
              <a:defRPr sz="1800"/>
            </a:lvl1pPr>
          </a:lstStyle>
          <a:p>
            <a:r>
              <a:rPr lang="es-ES"/>
              <a:t>Haga clic para modificar el estilo de título del patrón </a:t>
            </a:r>
          </a:p>
        </p:txBody>
      </p:sp>
      <p:sp>
        <p:nvSpPr>
          <p:cNvPr id="5" name="Marcador de texto 4">
            <a:extLst>
              <a:ext uri="{FF2B5EF4-FFF2-40B4-BE49-F238E27FC236}">
                <a16:creationId xmlns:a16="http://schemas.microsoft.com/office/drawing/2014/main" id="{550CA370-40C0-4847-964D-47467936036C}"/>
              </a:ext>
            </a:extLst>
          </p:cNvPr>
          <p:cNvSpPr>
            <a:spLocks noGrp="1"/>
          </p:cNvSpPr>
          <p:nvPr>
            <p:ph type="body" sz="quarter" idx="10"/>
          </p:nvPr>
        </p:nvSpPr>
        <p:spPr>
          <a:xfrm>
            <a:off x="347663" y="564894"/>
            <a:ext cx="10515600" cy="3317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1673749469"/>
      </p:ext>
    </p:extLst>
  </p:cSld>
  <p:clrMapOvr>
    <a:masterClrMapping/>
  </p:clrMapOvr>
  <p:extLst>
    <p:ext uri="{DCECCB84-F9BA-43D5-87BE-67443E8EF086}">
      <p15:sldGuideLst xmlns:p15="http://schemas.microsoft.com/office/powerpoint/2012/main">
        <p15:guide id="1" orient="horz" pos="595">
          <p15:clr>
            <a:srgbClr val="FBAE40"/>
          </p15:clr>
        </p15:guide>
        <p15:guide id="2" pos="279">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Only">
  <p:cSld name="str - general (título y nume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6DDE8FC-D7A6-4741-B4E6-95DC363B1FF4}"/>
              </a:ext>
            </a:extLst>
          </p:cNvPr>
          <p:cNvSpPr>
            <a:spLocks noGrp="1"/>
          </p:cNvSpPr>
          <p:nvPr>
            <p:ph type="title" hasCustomPrompt="1"/>
          </p:nvPr>
        </p:nvSpPr>
        <p:spPr>
          <a:xfrm>
            <a:off x="347502" y="219070"/>
            <a:ext cx="10515600" cy="365721"/>
          </a:xfrm>
        </p:spPr>
        <p:txBody>
          <a:bodyPr/>
          <a:lstStyle>
            <a:lvl1pPr>
              <a:defRPr sz="1800"/>
            </a:lvl1pPr>
          </a:lstStyle>
          <a:p>
            <a:r>
              <a:rPr lang="es-ES"/>
              <a:t>Haga clic para modificar el estilo de título del patrón </a:t>
            </a:r>
          </a:p>
        </p:txBody>
      </p:sp>
      <p:sp>
        <p:nvSpPr>
          <p:cNvPr id="5" name="Rectángulo 4">
            <a:extLst>
              <a:ext uri="{FF2B5EF4-FFF2-40B4-BE49-F238E27FC236}">
                <a16:creationId xmlns:a16="http://schemas.microsoft.com/office/drawing/2014/main" id="{D8AAFF47-09E5-284E-8593-50ABF65A3231}"/>
              </a:ext>
            </a:extLst>
          </p:cNvPr>
          <p:cNvSpPr/>
          <p:nvPr userDrawn="1"/>
        </p:nvSpPr>
        <p:spPr>
          <a:xfrm>
            <a:off x="0" y="6579031"/>
            <a:ext cx="12192000" cy="27896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 name="Page Placeholder Gray">
            <a:extLst>
              <a:ext uri="{FF2B5EF4-FFF2-40B4-BE49-F238E27FC236}">
                <a16:creationId xmlns:a16="http://schemas.microsoft.com/office/drawing/2014/main" id="{A2B004A2-055B-C94D-B5F9-C5B01DE0DCA4}"/>
              </a:ext>
            </a:extLst>
          </p:cNvPr>
          <p:cNvSpPr txBox="1"/>
          <p:nvPr userDrawn="1"/>
        </p:nvSpPr>
        <p:spPr>
          <a:xfrm>
            <a:off x="11623729" y="6664293"/>
            <a:ext cx="448170" cy="107722"/>
          </a:xfrm>
          <a:prstGeom prst="rect">
            <a:avLst/>
          </a:prstGeom>
          <a:noFill/>
        </p:spPr>
        <p:txBody>
          <a:bodyPr wrap="square" lIns="0" tIns="0" rIns="0" bIns="0" rtlCol="0" anchor="t" anchorCtr="0">
            <a:spAutoFit/>
          </a:bodyPr>
          <a:lstStyle/>
          <a:p>
            <a:pPr algn="ctr"/>
            <a:fld id="{9AE4D82F-B047-469B-AC52-A46321747EAF}" type="slidenum">
              <a:rPr lang="en-GB" sz="700" smtClean="0">
                <a:solidFill>
                  <a:srgbClr val="646464"/>
                </a:solidFill>
                <a:latin typeface="Arial" panose="020B0604020202020204" pitchFamily="34" charset="0"/>
                <a:cs typeface="Arial" panose="020B0604020202020204" pitchFamily="34" charset="0"/>
              </a:rPr>
              <a:pPr algn="ctr"/>
              <a:t>‹Nº›</a:t>
            </a:fld>
            <a:endParaRPr lang="en-GB" sz="800">
              <a:solidFill>
                <a:srgbClr val="646464"/>
              </a:solidFill>
              <a:latin typeface="Arial" panose="020B0604020202020204" pitchFamily="34" charset="0"/>
              <a:cs typeface="Arial" panose="020B0604020202020204" pitchFamily="34" charset="0"/>
            </a:endParaRPr>
          </a:p>
        </p:txBody>
      </p:sp>
      <p:sp>
        <p:nvSpPr>
          <p:cNvPr id="8" name="Rectangle 12">
            <a:extLst>
              <a:ext uri="{FF2B5EF4-FFF2-40B4-BE49-F238E27FC236}">
                <a16:creationId xmlns:a16="http://schemas.microsoft.com/office/drawing/2014/main" id="{C7F68D79-FD9F-794B-A85B-C63205077C43}"/>
              </a:ext>
            </a:extLst>
          </p:cNvPr>
          <p:cNvSpPr/>
          <p:nvPr userDrawn="1"/>
        </p:nvSpPr>
        <p:spPr>
          <a:xfrm>
            <a:off x="192152" y="6663354"/>
            <a:ext cx="5834311" cy="107722"/>
          </a:xfrm>
          <a:prstGeom prst="rect">
            <a:avLst/>
          </a:prstGeom>
          <a:noFill/>
        </p:spPr>
        <p:txBody>
          <a:bodyPr wrap="square" lIns="0" tIns="0" rIns="0" bIns="0" rtlCol="0" anchor="t" anchorCtr="0">
            <a:spAutoFit/>
          </a:bodyPr>
          <a:lstStyle/>
          <a:p>
            <a:r>
              <a:rPr lang="en-US" sz="700">
                <a:solidFill>
                  <a:srgbClr val="646464"/>
                </a:solidFill>
                <a:latin typeface="Arial" panose="020B0604020202020204" pitchFamily="34" charset="0"/>
                <a:cs typeface="Arial" panose="020B0604020202020204" pitchFamily="34" charset="0"/>
              </a:rPr>
              <a:t>Stratesys Technology Solutions -  All Rights Reserved - </a:t>
            </a:r>
            <a:r>
              <a:rPr lang="en-US" sz="700" noProof="0">
                <a:solidFill>
                  <a:srgbClr val="646464"/>
                </a:solidFill>
                <a:latin typeface="Arial" panose="020B0604020202020204" pitchFamily="34" charset="0"/>
                <a:cs typeface="Arial" panose="020B0604020202020204" pitchFamily="34" charset="0"/>
              </a:rPr>
              <a:t>Confidential</a:t>
            </a:r>
            <a:endParaRPr lang="en-US" sz="700">
              <a:solidFill>
                <a:srgbClr val="646464"/>
              </a:solidFill>
              <a:latin typeface="EYInterstate Light" panose="02000506000000020004" pitchFamily="2" charset="0"/>
            </a:endParaRPr>
          </a:p>
        </p:txBody>
      </p:sp>
    </p:spTree>
    <p:extLst>
      <p:ext uri="{BB962C8B-B14F-4D97-AF65-F5344CB8AC3E}">
        <p14:creationId xmlns:p14="http://schemas.microsoft.com/office/powerpoint/2010/main" val="1938288082"/>
      </p:ext>
    </p:extLst>
  </p:cSld>
  <p:clrMapOvr>
    <a:masterClrMapping/>
  </p:clrMapOvr>
  <p:extLst>
    <p:ext uri="{DCECCB84-F9BA-43D5-87BE-67443E8EF086}">
      <p15:sldGuideLst xmlns:p15="http://schemas.microsoft.com/office/powerpoint/2012/main">
        <p15:guide id="1" orient="horz" pos="2319">
          <p15:clr>
            <a:srgbClr val="FBAE40"/>
          </p15:clr>
        </p15:guide>
        <p15:guide id="2" pos="279">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A039635E-60D6-42E2-8E4E-AE4AE9B594FA}"/>
              </a:ext>
            </a:extLst>
          </p:cNvPr>
          <p:cNvPicPr>
            <a:picLocks noChangeAspect="1"/>
          </p:cNvPicPr>
          <p:nvPr userDrawn="1"/>
        </p:nvPicPr>
        <p:blipFill>
          <a:blip r:embed="rId2"/>
          <a:stretch>
            <a:fillRect/>
          </a:stretch>
        </p:blipFill>
        <p:spPr>
          <a:xfrm>
            <a:off x="10604816" y="256394"/>
            <a:ext cx="1135722" cy="257730"/>
          </a:xfrm>
          <a:prstGeom prst="rect">
            <a:avLst/>
          </a:prstGeom>
        </p:spPr>
      </p:pic>
    </p:spTree>
    <p:extLst>
      <p:ext uri="{BB962C8B-B14F-4D97-AF65-F5344CB8AC3E}">
        <p14:creationId xmlns:p14="http://schemas.microsoft.com/office/powerpoint/2010/main" val="278102413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userDrawn="1">
  <p:cSld name="34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052516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6" name="Picture Placeholder 5"/>
          <p:cNvSpPr>
            <a:spLocks noGrp="1"/>
          </p:cNvSpPr>
          <p:nvPr>
            <p:ph type="pic" sz="quarter" idx="13" hasCustomPrompt="1"/>
          </p:nvPr>
        </p:nvSpPr>
        <p:spPr>
          <a:xfrm>
            <a:off x="0" y="0"/>
            <a:ext cx="12192000" cy="6580094"/>
          </a:xfrm>
          <a:prstGeom prst="rect">
            <a:avLst/>
          </a:prstGeom>
          <a:pattFill prst="pct10">
            <a:fgClr>
              <a:schemeClr val="tx1"/>
            </a:fgClr>
            <a:bgClr>
              <a:schemeClr val="bg1"/>
            </a:bgClr>
          </a:pattFill>
        </p:spPr>
        <p:txBody>
          <a:bodyPr wrap="square" anchor="ctr">
            <a:noAutofit/>
          </a:bodyPr>
          <a:lstStyle>
            <a:lvl1pPr algn="ctr">
              <a:defRPr sz="1600" b="0" i="0">
                <a:latin typeface="Arial Normal" charset="0"/>
                <a:ea typeface="Arial Normal" charset="0"/>
                <a:cs typeface="Arial Normal" charset="0"/>
              </a:defRPr>
            </a:lvl1pPr>
          </a:lstStyle>
          <a:p>
            <a:r>
              <a:rPr lang="en-US"/>
              <a:t>Insert Image</a:t>
            </a:r>
          </a:p>
        </p:txBody>
      </p:sp>
    </p:spTree>
    <p:extLst>
      <p:ext uri="{BB962C8B-B14F-4D97-AF65-F5344CB8AC3E}">
        <p14:creationId xmlns:p14="http://schemas.microsoft.com/office/powerpoint/2010/main" val="1310056447"/>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35_Title Slide">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EB7EAF3-F2FC-874A-84AE-9338997091C4}"/>
              </a:ext>
            </a:extLst>
          </p:cNvPr>
          <p:cNvSpPr>
            <a:spLocks noGrp="1"/>
          </p:cNvSpPr>
          <p:nvPr>
            <p:ph type="title"/>
          </p:nvPr>
        </p:nvSpPr>
        <p:spPr/>
        <p:txBody>
          <a:bodyPr/>
          <a:lstStyle/>
          <a:p>
            <a:r>
              <a:rPr lang="es-ES"/>
              <a:t>Haga clic para modificar el estilo de título del patrón</a:t>
            </a:r>
            <a:endParaRPr lang="en-US"/>
          </a:p>
        </p:txBody>
      </p:sp>
    </p:spTree>
    <p:extLst>
      <p:ext uri="{BB962C8B-B14F-4D97-AF65-F5344CB8AC3E}">
        <p14:creationId xmlns:p14="http://schemas.microsoft.com/office/powerpoint/2010/main" val="2665375960"/>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Nuestro Entendimiento del Proyecto">
    <p:spTree>
      <p:nvGrpSpPr>
        <p:cNvPr id="1" name=""/>
        <p:cNvGrpSpPr/>
        <p:nvPr/>
      </p:nvGrpSpPr>
      <p:grpSpPr>
        <a:xfrm>
          <a:off x="0" y="0"/>
          <a:ext cx="0" cy="0"/>
          <a:chOff x="0" y="0"/>
          <a:chExt cx="0" cy="0"/>
        </a:xfrm>
      </p:grpSpPr>
      <p:sp>
        <p:nvSpPr>
          <p:cNvPr id="23" name="22 Marcador de texto"/>
          <p:cNvSpPr>
            <a:spLocks noGrp="1"/>
          </p:cNvSpPr>
          <p:nvPr>
            <p:ph type="body" sz="quarter" idx="23"/>
          </p:nvPr>
        </p:nvSpPr>
        <p:spPr>
          <a:xfrm>
            <a:off x="423986" y="1320801"/>
            <a:ext cx="11344031" cy="5151940"/>
          </a:xfrm>
        </p:spPr>
        <p:txBody>
          <a:bodyPr>
            <a:noAutofit/>
          </a:bodyPr>
          <a:lstStyle>
            <a:lvl5pPr marL="858838" indent="-171450">
              <a:defRPr kumimoji="0" lang="es-ES" sz="1100" b="0" i="0" u="none" strike="noStrike" kern="1200" cap="none" spc="0" normalizeH="0" baseline="0" noProof="0" dirty="0" smtClean="0">
                <a:ln>
                  <a:noFill/>
                </a:ln>
                <a:solidFill>
                  <a:srgbClr val="494949"/>
                </a:solidFill>
                <a:effectLst/>
                <a:uLnTx/>
                <a:uFillTx/>
                <a:latin typeface="+mn-lt"/>
                <a:ea typeface="+mn-ea"/>
                <a:cs typeface="+mn-cs"/>
              </a:defRPr>
            </a:lvl5pPr>
            <a:lvl6pPr marL="969962" indent="0">
              <a:defRPr kumimoji="0" lang="es-ES" sz="1100" b="0" i="0" u="none" strike="noStrike" kern="1200" cap="none" spc="0" normalizeH="0" baseline="0" noProof="0" dirty="0" smtClean="0">
                <a:ln>
                  <a:noFill/>
                </a:ln>
                <a:solidFill>
                  <a:schemeClr val="tx1"/>
                </a:solidFill>
                <a:effectLst/>
                <a:uLnTx/>
                <a:uFillTx/>
                <a:latin typeface="+mn-lt"/>
                <a:ea typeface="+mn-ea"/>
                <a:cs typeface="+mn-cs"/>
              </a:defRPr>
            </a:lvl6pPr>
            <a:lvl7pPr>
              <a:defRPr/>
            </a:lvl7pPr>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a:p>
            <a:pPr marL="846138" marR="0" lvl="4" indent="-158750" algn="l" defTabSz="914400" rtl="0" eaLnBrk="1" fontAlgn="auto" latinLnBrk="0" hangingPunct="1">
              <a:lnSpc>
                <a:spcPct val="100000"/>
              </a:lnSpc>
              <a:spcBef>
                <a:spcPts val="0"/>
              </a:spcBef>
              <a:spcAft>
                <a:spcPts val="200"/>
              </a:spcAft>
              <a:buClr>
                <a:schemeClr val="accent1">
                  <a:lumMod val="90000"/>
                </a:schemeClr>
              </a:buClr>
              <a:buSzTx/>
              <a:buFont typeface="Arial" pitchFamily="34" charset="0"/>
              <a:buChar char="•"/>
              <a:tabLst/>
              <a:defRPr/>
            </a:pPr>
            <a:r>
              <a:rPr lang="es-ES" noProof="0"/>
              <a:t>Quinto nivel</a:t>
            </a:r>
          </a:p>
          <a:p>
            <a:pPr marL="1111250" lvl="5" indent="-141288" algn="l" defTabSz="914400" rtl="0" eaLnBrk="1" latinLnBrk="0" hangingPunct="1">
              <a:spcBef>
                <a:spcPct val="20000"/>
              </a:spcBef>
              <a:buFontTx/>
              <a:buNone/>
              <a:tabLst/>
            </a:pPr>
            <a:r>
              <a:rPr lang="es-ES" noProof="0"/>
              <a:t>- </a:t>
            </a:r>
            <a:r>
              <a:rPr lang="es-ES" noProof="0" err="1"/>
              <a:t>bhhh</a:t>
            </a:r>
            <a:endParaRPr lang="es-ES" noProof="0"/>
          </a:p>
        </p:txBody>
      </p:sp>
      <p:sp>
        <p:nvSpPr>
          <p:cNvPr id="92" name="27 Título"/>
          <p:cNvSpPr>
            <a:spLocks noGrp="1"/>
          </p:cNvSpPr>
          <p:nvPr userDrawn="1">
            <p:ph type="title" hasCustomPrompt="1"/>
          </p:nvPr>
        </p:nvSpPr>
        <p:spPr>
          <a:xfrm>
            <a:off x="1235961" y="334929"/>
            <a:ext cx="8936800" cy="518277"/>
          </a:xfrm>
        </p:spPr>
        <p:txBody>
          <a:bodyPr>
            <a:noAutofit/>
          </a:bodyPr>
          <a:lstStyle>
            <a:lvl1pPr>
              <a:defRPr sz="2000">
                <a:solidFill>
                  <a:schemeClr val="tx1"/>
                </a:solidFill>
              </a:defRPr>
            </a:lvl1pPr>
          </a:lstStyle>
          <a:p>
            <a:r>
              <a:rPr lang="es-ES"/>
              <a:t>Título</a:t>
            </a:r>
            <a:endParaRPr lang="en-US"/>
          </a:p>
        </p:txBody>
      </p:sp>
      <p:sp>
        <p:nvSpPr>
          <p:cNvPr id="6" name="21 CuadroTexto"/>
          <p:cNvSpPr txBox="1"/>
          <p:nvPr userDrawn="1"/>
        </p:nvSpPr>
        <p:spPr>
          <a:xfrm>
            <a:off x="1192823" y="19050"/>
            <a:ext cx="8988270" cy="248400"/>
          </a:xfrm>
          <a:prstGeom prst="rect">
            <a:avLst/>
          </a:prstGeom>
        </p:spPr>
        <p:txBody>
          <a:bodyPr vert="horz" lIns="0" tIns="0" rIns="0" bIns="0" rtlCol="0" anchor="ctr">
            <a:noAutofit/>
          </a:bodyPr>
          <a:lstStyle/>
          <a:p>
            <a:pPr marL="144000" marR="0" lvl="0" indent="0" algn="l" defTabSz="914400" rtl="0" eaLnBrk="1" fontAlgn="base" latinLnBrk="0" hangingPunct="1">
              <a:lnSpc>
                <a:spcPct val="100000"/>
              </a:lnSpc>
              <a:spcBef>
                <a:spcPts val="600"/>
              </a:spcBef>
              <a:spcAft>
                <a:spcPts val="300"/>
              </a:spcAft>
              <a:buClr>
                <a:srgbClr val="505150"/>
              </a:buClr>
              <a:buSzPct val="88000"/>
              <a:buFont typeface="Arial" pitchFamily="34" charset="0"/>
              <a:buNone/>
              <a:tabLst>
                <a:tab pos="1346200" algn="l"/>
              </a:tabLst>
              <a:defRPr/>
            </a:pPr>
            <a:r>
              <a:rPr kumimoji="0" lang="es-ES" sz="1050" b="0" i="0" u="none" strike="noStrike" kern="1200" cap="none" spc="0" normalizeH="0" baseline="0" noProof="0">
                <a:ln>
                  <a:noFill/>
                </a:ln>
                <a:solidFill>
                  <a:schemeClr val="tx1"/>
                </a:solidFill>
                <a:effectLst/>
                <a:uLnTx/>
                <a:uFillTx/>
                <a:latin typeface="+mn-lt"/>
                <a:ea typeface="+mn-ea"/>
                <a:cs typeface="+mn-cs"/>
                <a:sym typeface="Droid Sans" charset="0"/>
              </a:rPr>
              <a:t>Nuestro Entendimiento del Proyecto</a:t>
            </a:r>
          </a:p>
        </p:txBody>
      </p:sp>
      <p:sp>
        <p:nvSpPr>
          <p:cNvPr id="7" name="26 Marcador de contenido"/>
          <p:cNvSpPr>
            <a:spLocks noGrp="1"/>
          </p:cNvSpPr>
          <p:nvPr>
            <p:ph sz="quarter" idx="26" hasCustomPrompt="1"/>
          </p:nvPr>
        </p:nvSpPr>
        <p:spPr>
          <a:xfrm>
            <a:off x="1192823" y="863255"/>
            <a:ext cx="8988270" cy="225425"/>
          </a:xfrm>
        </p:spPr>
        <p:txBody>
          <a:bodyPr anchor="ctr">
            <a:noAutofit/>
          </a:bodyPr>
          <a:lstStyle>
            <a:lvl1pPr marL="144000">
              <a:defRPr sz="1000" cap="all" spc="300" baseline="0">
                <a:solidFill>
                  <a:schemeClr val="tx1"/>
                </a:solidFill>
              </a:defRPr>
            </a:lvl1pPr>
            <a:lvl7pPr>
              <a:defRPr>
                <a:solidFill>
                  <a:schemeClr val="tx1">
                    <a:lumMod val="50000"/>
                    <a:lumOff val="50000"/>
                  </a:schemeClr>
                </a:solidFill>
              </a:defRPr>
            </a:lvl7pPr>
          </a:lstStyle>
          <a:p>
            <a:pPr lvl="0"/>
            <a:r>
              <a:rPr lang="es-ES"/>
              <a:t>Subtítulo</a:t>
            </a:r>
            <a:endParaRPr lang="en-US"/>
          </a:p>
        </p:txBody>
      </p:sp>
      <p:sp>
        <p:nvSpPr>
          <p:cNvPr id="2" name="Marcador de número de diapositiva 1"/>
          <p:cNvSpPr>
            <a:spLocks noGrp="1"/>
          </p:cNvSpPr>
          <p:nvPr>
            <p:ph type="sldNum" sz="quarter" idx="27"/>
          </p:nvPr>
        </p:nvSpPr>
        <p:spPr/>
        <p:txBody>
          <a:bodyPr/>
          <a:lstStyle/>
          <a:p>
            <a:pPr marL="7938" algn="ctr" fontAlgn="base">
              <a:spcAft>
                <a:spcPct val="0"/>
              </a:spcAft>
              <a:buClr>
                <a:srgbClr val="505150"/>
              </a:buClr>
              <a:buSzPct val="88000"/>
            </a:pPr>
            <a:fld id="{B90C96D8-0395-4AF3-8A78-0E88AEC6FB3C}" type="slidenum">
              <a:rPr lang="es-ES" smtClean="0"/>
              <a:pPr marL="7938" algn="ctr" fontAlgn="base">
                <a:spcAft>
                  <a:spcPct val="0"/>
                </a:spcAft>
                <a:buClr>
                  <a:srgbClr val="505150"/>
                </a:buClr>
                <a:buSzPct val="88000"/>
              </a:pPr>
              <a:t>‹Nº›</a:t>
            </a:fld>
            <a:endParaRPr lang="es-ES"/>
          </a:p>
        </p:txBody>
      </p:sp>
      <p:sp>
        <p:nvSpPr>
          <p:cNvPr id="9" name="Freeform 97"/>
          <p:cNvSpPr>
            <a:spLocks noEditPoints="1"/>
          </p:cNvSpPr>
          <p:nvPr userDrawn="1"/>
        </p:nvSpPr>
        <p:spPr bwMode="auto">
          <a:xfrm>
            <a:off x="412671" y="444887"/>
            <a:ext cx="492190" cy="330232"/>
          </a:xfrm>
          <a:custGeom>
            <a:avLst/>
            <a:gdLst/>
            <a:ahLst/>
            <a:cxnLst>
              <a:cxn ang="0">
                <a:pos x="202" y="316"/>
              </a:cxn>
              <a:cxn ang="0">
                <a:pos x="115" y="410"/>
              </a:cxn>
              <a:cxn ang="0">
                <a:pos x="7" y="280"/>
              </a:cxn>
              <a:cxn ang="0">
                <a:pos x="55" y="107"/>
              </a:cxn>
              <a:cxn ang="0">
                <a:pos x="83" y="61"/>
              </a:cxn>
              <a:cxn ang="0">
                <a:pos x="200" y="62"/>
              </a:cxn>
              <a:cxn ang="0">
                <a:pos x="200" y="92"/>
              </a:cxn>
              <a:cxn ang="0">
                <a:pos x="292" y="105"/>
              </a:cxn>
              <a:cxn ang="0">
                <a:pos x="303" y="88"/>
              </a:cxn>
              <a:cxn ang="0">
                <a:pos x="363" y="11"/>
              </a:cxn>
              <a:cxn ang="0">
                <a:pos x="420" y="61"/>
              </a:cxn>
              <a:cxn ang="0">
                <a:pos x="449" y="105"/>
              </a:cxn>
              <a:cxn ang="0">
                <a:pos x="498" y="286"/>
              </a:cxn>
              <a:cxn ang="0">
                <a:pos x="302" y="323"/>
              </a:cxn>
              <a:cxn ang="0">
                <a:pos x="41" y="230"/>
              </a:cxn>
              <a:cxn ang="0">
                <a:pos x="93" y="211"/>
              </a:cxn>
              <a:cxn ang="0">
                <a:pos x="204" y="291"/>
              </a:cxn>
              <a:cxn ang="0">
                <a:pos x="308" y="274"/>
              </a:cxn>
              <a:cxn ang="0">
                <a:pos x="463" y="231"/>
              </a:cxn>
              <a:cxn ang="0">
                <a:pos x="430" y="111"/>
              </a:cxn>
              <a:cxn ang="0">
                <a:pos x="333" y="91"/>
              </a:cxn>
              <a:cxn ang="0">
                <a:pos x="281" y="122"/>
              </a:cxn>
              <a:cxn ang="0">
                <a:pos x="207" y="126"/>
              </a:cxn>
              <a:cxn ang="0">
                <a:pos x="176" y="96"/>
              </a:cxn>
              <a:cxn ang="0">
                <a:pos x="75" y="109"/>
              </a:cxn>
              <a:cxn ang="0">
                <a:pos x="481" y="311"/>
              </a:cxn>
              <a:cxn ang="0">
                <a:pos x="321" y="311"/>
              </a:cxn>
              <a:cxn ang="0">
                <a:pos x="481" y="311"/>
              </a:cxn>
              <a:cxn ang="0">
                <a:pos x="85" y="233"/>
              </a:cxn>
              <a:cxn ang="0">
                <a:pos x="24" y="295"/>
              </a:cxn>
              <a:cxn ang="0">
                <a:pos x="113" y="389"/>
              </a:cxn>
              <a:cxn ang="0">
                <a:pos x="102" y="231"/>
              </a:cxn>
              <a:cxn ang="0">
                <a:pos x="350" y="33"/>
              </a:cxn>
              <a:cxn ang="0">
                <a:pos x="397" y="55"/>
              </a:cxn>
              <a:cxn ang="0">
                <a:pos x="145" y="55"/>
              </a:cxn>
              <a:cxn ang="0">
                <a:pos x="151" y="33"/>
              </a:cxn>
              <a:cxn ang="0">
                <a:pos x="251" y="211"/>
              </a:cxn>
              <a:cxn ang="0">
                <a:pos x="251" y="291"/>
              </a:cxn>
              <a:cxn ang="0">
                <a:pos x="251" y="211"/>
              </a:cxn>
              <a:cxn ang="0">
                <a:pos x="251" y="270"/>
              </a:cxn>
              <a:cxn ang="0">
                <a:pos x="252" y="231"/>
              </a:cxn>
              <a:cxn ang="0">
                <a:pos x="420" y="365"/>
              </a:cxn>
              <a:cxn ang="0">
                <a:pos x="380" y="336"/>
              </a:cxn>
              <a:cxn ang="0">
                <a:pos x="361" y="301"/>
              </a:cxn>
              <a:cxn ang="0">
                <a:pos x="352" y="319"/>
              </a:cxn>
              <a:cxn ang="0">
                <a:pos x="420" y="365"/>
              </a:cxn>
              <a:cxn ang="0">
                <a:pos x="99" y="371"/>
              </a:cxn>
              <a:cxn ang="0">
                <a:pos x="100" y="350"/>
              </a:cxn>
              <a:cxn ang="0">
                <a:pos x="61" y="307"/>
              </a:cxn>
              <a:cxn ang="0">
                <a:pos x="42" y="314"/>
              </a:cxn>
            </a:cxnLst>
            <a:rect l="0" t="0" r="r" b="b"/>
            <a:pathLst>
              <a:path w="511" h="422">
                <a:moveTo>
                  <a:pt x="301" y="316"/>
                </a:moveTo>
                <a:cubicBezTo>
                  <a:pt x="271" y="336"/>
                  <a:pt x="229" y="335"/>
                  <a:pt x="202" y="316"/>
                </a:cubicBezTo>
                <a:cubicBezTo>
                  <a:pt x="201" y="323"/>
                  <a:pt x="199" y="330"/>
                  <a:pt x="198" y="337"/>
                </a:cubicBezTo>
                <a:cubicBezTo>
                  <a:pt x="188" y="375"/>
                  <a:pt x="153" y="405"/>
                  <a:pt x="115" y="410"/>
                </a:cubicBezTo>
                <a:cubicBezTo>
                  <a:pt x="66" y="415"/>
                  <a:pt x="24" y="389"/>
                  <a:pt x="7" y="343"/>
                </a:cubicBezTo>
                <a:cubicBezTo>
                  <a:pt x="0" y="322"/>
                  <a:pt x="0" y="301"/>
                  <a:pt x="7" y="280"/>
                </a:cubicBezTo>
                <a:cubicBezTo>
                  <a:pt x="12" y="263"/>
                  <a:pt x="17" y="246"/>
                  <a:pt x="21" y="229"/>
                </a:cubicBezTo>
                <a:cubicBezTo>
                  <a:pt x="32" y="189"/>
                  <a:pt x="43" y="148"/>
                  <a:pt x="55" y="107"/>
                </a:cubicBezTo>
                <a:cubicBezTo>
                  <a:pt x="59" y="92"/>
                  <a:pt x="67" y="77"/>
                  <a:pt x="80" y="67"/>
                </a:cubicBezTo>
                <a:cubicBezTo>
                  <a:pt x="82" y="66"/>
                  <a:pt x="82" y="63"/>
                  <a:pt x="83" y="61"/>
                </a:cubicBezTo>
                <a:cubicBezTo>
                  <a:pt x="87" y="40"/>
                  <a:pt x="98" y="25"/>
                  <a:pt x="118" y="16"/>
                </a:cubicBezTo>
                <a:cubicBezTo>
                  <a:pt x="155" y="0"/>
                  <a:pt x="195" y="24"/>
                  <a:pt x="200" y="62"/>
                </a:cubicBezTo>
                <a:cubicBezTo>
                  <a:pt x="202" y="70"/>
                  <a:pt x="200" y="79"/>
                  <a:pt x="199" y="88"/>
                </a:cubicBezTo>
                <a:cubicBezTo>
                  <a:pt x="199" y="89"/>
                  <a:pt x="199" y="91"/>
                  <a:pt x="200" y="92"/>
                </a:cubicBezTo>
                <a:cubicBezTo>
                  <a:pt x="204" y="97"/>
                  <a:pt x="208" y="101"/>
                  <a:pt x="212" y="106"/>
                </a:cubicBezTo>
                <a:cubicBezTo>
                  <a:pt x="239" y="88"/>
                  <a:pt x="265" y="88"/>
                  <a:pt x="292" y="105"/>
                </a:cubicBezTo>
                <a:cubicBezTo>
                  <a:pt x="296" y="102"/>
                  <a:pt x="300" y="98"/>
                  <a:pt x="303" y="94"/>
                </a:cubicBezTo>
                <a:cubicBezTo>
                  <a:pt x="304" y="92"/>
                  <a:pt x="304" y="90"/>
                  <a:pt x="303" y="88"/>
                </a:cubicBezTo>
                <a:cubicBezTo>
                  <a:pt x="298" y="67"/>
                  <a:pt x="302" y="48"/>
                  <a:pt x="316" y="32"/>
                </a:cubicBezTo>
                <a:cubicBezTo>
                  <a:pt x="329" y="17"/>
                  <a:pt x="344" y="10"/>
                  <a:pt x="363" y="11"/>
                </a:cubicBezTo>
                <a:cubicBezTo>
                  <a:pt x="385" y="12"/>
                  <a:pt x="402" y="22"/>
                  <a:pt x="412" y="41"/>
                </a:cubicBezTo>
                <a:cubicBezTo>
                  <a:pt x="416" y="47"/>
                  <a:pt x="417" y="54"/>
                  <a:pt x="420" y="61"/>
                </a:cubicBezTo>
                <a:cubicBezTo>
                  <a:pt x="421" y="63"/>
                  <a:pt x="421" y="65"/>
                  <a:pt x="423" y="66"/>
                </a:cubicBezTo>
                <a:cubicBezTo>
                  <a:pt x="436" y="76"/>
                  <a:pt x="444" y="90"/>
                  <a:pt x="449" y="105"/>
                </a:cubicBezTo>
                <a:cubicBezTo>
                  <a:pt x="456" y="130"/>
                  <a:pt x="463" y="154"/>
                  <a:pt x="470" y="179"/>
                </a:cubicBezTo>
                <a:cubicBezTo>
                  <a:pt x="479" y="215"/>
                  <a:pt x="489" y="251"/>
                  <a:pt x="498" y="286"/>
                </a:cubicBezTo>
                <a:cubicBezTo>
                  <a:pt x="511" y="340"/>
                  <a:pt x="479" y="394"/>
                  <a:pt x="426" y="408"/>
                </a:cubicBezTo>
                <a:cubicBezTo>
                  <a:pt x="367" y="422"/>
                  <a:pt x="309" y="382"/>
                  <a:pt x="302" y="323"/>
                </a:cubicBezTo>
                <a:cubicBezTo>
                  <a:pt x="302" y="321"/>
                  <a:pt x="301" y="319"/>
                  <a:pt x="301" y="316"/>
                </a:cubicBezTo>
                <a:close/>
                <a:moveTo>
                  <a:pt x="41" y="230"/>
                </a:moveTo>
                <a:cubicBezTo>
                  <a:pt x="42" y="230"/>
                  <a:pt x="42" y="230"/>
                  <a:pt x="43" y="230"/>
                </a:cubicBezTo>
                <a:cubicBezTo>
                  <a:pt x="58" y="219"/>
                  <a:pt x="74" y="213"/>
                  <a:pt x="93" y="211"/>
                </a:cubicBezTo>
                <a:cubicBezTo>
                  <a:pt x="138" y="207"/>
                  <a:pt x="180" y="234"/>
                  <a:pt x="196" y="277"/>
                </a:cubicBezTo>
                <a:cubicBezTo>
                  <a:pt x="198" y="282"/>
                  <a:pt x="200" y="287"/>
                  <a:pt x="204" y="291"/>
                </a:cubicBezTo>
                <a:cubicBezTo>
                  <a:pt x="218" y="307"/>
                  <a:pt x="237" y="312"/>
                  <a:pt x="258" y="310"/>
                </a:cubicBezTo>
                <a:cubicBezTo>
                  <a:pt x="282" y="308"/>
                  <a:pt x="299" y="297"/>
                  <a:pt x="308" y="274"/>
                </a:cubicBezTo>
                <a:cubicBezTo>
                  <a:pt x="327" y="224"/>
                  <a:pt x="385" y="198"/>
                  <a:pt x="434" y="217"/>
                </a:cubicBezTo>
                <a:cubicBezTo>
                  <a:pt x="444" y="220"/>
                  <a:pt x="453" y="226"/>
                  <a:pt x="463" y="231"/>
                </a:cubicBezTo>
                <a:cubicBezTo>
                  <a:pt x="459" y="216"/>
                  <a:pt x="455" y="202"/>
                  <a:pt x="451" y="187"/>
                </a:cubicBezTo>
                <a:cubicBezTo>
                  <a:pt x="444" y="162"/>
                  <a:pt x="437" y="136"/>
                  <a:pt x="430" y="111"/>
                </a:cubicBezTo>
                <a:cubicBezTo>
                  <a:pt x="426" y="98"/>
                  <a:pt x="419" y="87"/>
                  <a:pt x="407" y="80"/>
                </a:cubicBezTo>
                <a:cubicBezTo>
                  <a:pt x="384" y="69"/>
                  <a:pt x="354" y="70"/>
                  <a:pt x="333" y="91"/>
                </a:cubicBezTo>
                <a:cubicBezTo>
                  <a:pt x="325" y="100"/>
                  <a:pt x="317" y="109"/>
                  <a:pt x="308" y="118"/>
                </a:cubicBezTo>
                <a:cubicBezTo>
                  <a:pt x="301" y="126"/>
                  <a:pt x="291" y="130"/>
                  <a:pt x="281" y="122"/>
                </a:cubicBezTo>
                <a:cubicBezTo>
                  <a:pt x="263" y="109"/>
                  <a:pt x="240" y="109"/>
                  <a:pt x="223" y="123"/>
                </a:cubicBezTo>
                <a:cubicBezTo>
                  <a:pt x="218" y="127"/>
                  <a:pt x="213" y="128"/>
                  <a:pt x="207" y="126"/>
                </a:cubicBezTo>
                <a:cubicBezTo>
                  <a:pt x="203" y="124"/>
                  <a:pt x="199" y="121"/>
                  <a:pt x="196" y="118"/>
                </a:cubicBezTo>
                <a:cubicBezTo>
                  <a:pt x="189" y="111"/>
                  <a:pt x="183" y="104"/>
                  <a:pt x="176" y="96"/>
                </a:cubicBezTo>
                <a:cubicBezTo>
                  <a:pt x="162" y="81"/>
                  <a:pt x="145" y="72"/>
                  <a:pt x="123" y="74"/>
                </a:cubicBezTo>
                <a:cubicBezTo>
                  <a:pt x="97" y="76"/>
                  <a:pt x="83" y="84"/>
                  <a:pt x="75" y="109"/>
                </a:cubicBezTo>
                <a:cubicBezTo>
                  <a:pt x="63" y="149"/>
                  <a:pt x="52" y="189"/>
                  <a:pt x="41" y="230"/>
                </a:cubicBezTo>
                <a:close/>
                <a:moveTo>
                  <a:pt x="481" y="311"/>
                </a:moveTo>
                <a:cubicBezTo>
                  <a:pt x="480" y="266"/>
                  <a:pt x="445" y="231"/>
                  <a:pt x="401" y="231"/>
                </a:cubicBezTo>
                <a:cubicBezTo>
                  <a:pt x="357" y="231"/>
                  <a:pt x="321" y="267"/>
                  <a:pt x="321" y="311"/>
                </a:cubicBezTo>
                <a:cubicBezTo>
                  <a:pt x="321" y="355"/>
                  <a:pt x="357" y="390"/>
                  <a:pt x="401" y="390"/>
                </a:cubicBezTo>
                <a:cubicBezTo>
                  <a:pt x="445" y="390"/>
                  <a:pt x="481" y="355"/>
                  <a:pt x="481" y="311"/>
                </a:cubicBezTo>
                <a:close/>
                <a:moveTo>
                  <a:pt x="102" y="231"/>
                </a:moveTo>
                <a:cubicBezTo>
                  <a:pt x="96" y="231"/>
                  <a:pt x="90" y="232"/>
                  <a:pt x="85" y="233"/>
                </a:cubicBezTo>
                <a:cubicBezTo>
                  <a:pt x="69" y="236"/>
                  <a:pt x="57" y="244"/>
                  <a:pt x="45" y="255"/>
                </a:cubicBezTo>
                <a:cubicBezTo>
                  <a:pt x="32" y="266"/>
                  <a:pt x="28" y="281"/>
                  <a:pt x="24" y="295"/>
                </a:cubicBezTo>
                <a:cubicBezTo>
                  <a:pt x="21" y="305"/>
                  <a:pt x="22" y="316"/>
                  <a:pt x="24" y="327"/>
                </a:cubicBezTo>
                <a:cubicBezTo>
                  <a:pt x="32" y="368"/>
                  <a:pt x="71" y="395"/>
                  <a:pt x="113" y="389"/>
                </a:cubicBezTo>
                <a:cubicBezTo>
                  <a:pt x="157" y="383"/>
                  <a:pt x="187" y="343"/>
                  <a:pt x="180" y="300"/>
                </a:cubicBezTo>
                <a:cubicBezTo>
                  <a:pt x="174" y="260"/>
                  <a:pt x="142" y="231"/>
                  <a:pt x="102" y="231"/>
                </a:cubicBezTo>
                <a:close/>
                <a:moveTo>
                  <a:pt x="397" y="55"/>
                </a:moveTo>
                <a:cubicBezTo>
                  <a:pt x="392" y="40"/>
                  <a:pt x="371" y="27"/>
                  <a:pt x="350" y="33"/>
                </a:cubicBezTo>
                <a:cubicBezTo>
                  <a:pt x="328" y="39"/>
                  <a:pt x="319" y="62"/>
                  <a:pt x="322" y="74"/>
                </a:cubicBezTo>
                <a:cubicBezTo>
                  <a:pt x="344" y="55"/>
                  <a:pt x="369" y="50"/>
                  <a:pt x="397" y="55"/>
                </a:cubicBezTo>
                <a:close/>
                <a:moveTo>
                  <a:pt x="105" y="56"/>
                </a:moveTo>
                <a:cubicBezTo>
                  <a:pt x="119" y="53"/>
                  <a:pt x="132" y="52"/>
                  <a:pt x="145" y="55"/>
                </a:cubicBezTo>
                <a:cubicBezTo>
                  <a:pt x="159" y="57"/>
                  <a:pt x="170" y="64"/>
                  <a:pt x="181" y="73"/>
                </a:cubicBezTo>
                <a:cubicBezTo>
                  <a:pt x="182" y="54"/>
                  <a:pt x="169" y="37"/>
                  <a:pt x="151" y="33"/>
                </a:cubicBezTo>
                <a:cubicBezTo>
                  <a:pt x="132" y="28"/>
                  <a:pt x="112" y="38"/>
                  <a:pt x="105" y="56"/>
                </a:cubicBezTo>
                <a:close/>
                <a:moveTo>
                  <a:pt x="251" y="211"/>
                </a:moveTo>
                <a:cubicBezTo>
                  <a:pt x="273" y="211"/>
                  <a:pt x="291" y="229"/>
                  <a:pt x="291" y="251"/>
                </a:cubicBezTo>
                <a:cubicBezTo>
                  <a:pt x="291" y="273"/>
                  <a:pt x="273" y="291"/>
                  <a:pt x="251" y="291"/>
                </a:cubicBezTo>
                <a:cubicBezTo>
                  <a:pt x="229" y="291"/>
                  <a:pt x="211" y="273"/>
                  <a:pt x="211" y="251"/>
                </a:cubicBezTo>
                <a:cubicBezTo>
                  <a:pt x="211" y="229"/>
                  <a:pt x="229" y="211"/>
                  <a:pt x="251" y="211"/>
                </a:cubicBezTo>
                <a:close/>
                <a:moveTo>
                  <a:pt x="232" y="251"/>
                </a:moveTo>
                <a:cubicBezTo>
                  <a:pt x="232" y="262"/>
                  <a:pt x="240" y="270"/>
                  <a:pt x="251" y="270"/>
                </a:cubicBezTo>
                <a:cubicBezTo>
                  <a:pt x="262" y="271"/>
                  <a:pt x="271" y="262"/>
                  <a:pt x="271" y="251"/>
                </a:cubicBezTo>
                <a:cubicBezTo>
                  <a:pt x="271" y="240"/>
                  <a:pt x="263" y="231"/>
                  <a:pt x="252" y="231"/>
                </a:cubicBezTo>
                <a:cubicBezTo>
                  <a:pt x="240" y="231"/>
                  <a:pt x="232" y="240"/>
                  <a:pt x="232" y="251"/>
                </a:cubicBezTo>
                <a:close/>
                <a:moveTo>
                  <a:pt x="420" y="365"/>
                </a:moveTo>
                <a:cubicBezTo>
                  <a:pt x="423" y="358"/>
                  <a:pt x="418" y="351"/>
                  <a:pt x="409" y="350"/>
                </a:cubicBezTo>
                <a:cubicBezTo>
                  <a:pt x="397" y="350"/>
                  <a:pt x="388" y="345"/>
                  <a:pt x="380" y="336"/>
                </a:cubicBezTo>
                <a:cubicBezTo>
                  <a:pt x="374" y="329"/>
                  <a:pt x="372" y="321"/>
                  <a:pt x="371" y="312"/>
                </a:cubicBezTo>
                <a:cubicBezTo>
                  <a:pt x="371" y="305"/>
                  <a:pt x="366" y="301"/>
                  <a:pt x="361" y="301"/>
                </a:cubicBezTo>
                <a:cubicBezTo>
                  <a:pt x="355" y="301"/>
                  <a:pt x="351" y="306"/>
                  <a:pt x="351" y="312"/>
                </a:cubicBezTo>
                <a:cubicBezTo>
                  <a:pt x="351" y="314"/>
                  <a:pt x="351" y="317"/>
                  <a:pt x="352" y="319"/>
                </a:cubicBezTo>
                <a:cubicBezTo>
                  <a:pt x="355" y="347"/>
                  <a:pt x="380" y="370"/>
                  <a:pt x="408" y="371"/>
                </a:cubicBezTo>
                <a:cubicBezTo>
                  <a:pt x="413" y="371"/>
                  <a:pt x="417" y="370"/>
                  <a:pt x="420" y="365"/>
                </a:cubicBezTo>
                <a:close/>
                <a:moveTo>
                  <a:pt x="43" y="323"/>
                </a:moveTo>
                <a:cubicBezTo>
                  <a:pt x="47" y="349"/>
                  <a:pt x="73" y="371"/>
                  <a:pt x="99" y="371"/>
                </a:cubicBezTo>
                <a:cubicBezTo>
                  <a:pt x="106" y="371"/>
                  <a:pt x="111" y="367"/>
                  <a:pt x="112" y="361"/>
                </a:cubicBezTo>
                <a:cubicBezTo>
                  <a:pt x="112" y="355"/>
                  <a:pt x="107" y="351"/>
                  <a:pt x="100" y="350"/>
                </a:cubicBezTo>
                <a:cubicBezTo>
                  <a:pt x="80" y="350"/>
                  <a:pt x="62" y="332"/>
                  <a:pt x="62" y="313"/>
                </a:cubicBezTo>
                <a:cubicBezTo>
                  <a:pt x="62" y="311"/>
                  <a:pt x="61" y="309"/>
                  <a:pt x="61" y="307"/>
                </a:cubicBezTo>
                <a:cubicBezTo>
                  <a:pt x="59" y="302"/>
                  <a:pt x="54" y="300"/>
                  <a:pt x="49" y="301"/>
                </a:cubicBezTo>
                <a:cubicBezTo>
                  <a:pt x="44" y="303"/>
                  <a:pt x="42" y="307"/>
                  <a:pt x="42" y="314"/>
                </a:cubicBezTo>
                <a:cubicBezTo>
                  <a:pt x="42" y="317"/>
                  <a:pt x="42" y="320"/>
                  <a:pt x="43" y="323"/>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r>
              <a:rPr lang="es-ES" sz="1800">
                <a:latin typeface="+mj-lt"/>
                <a:cs typeface="Arial" pitchFamily="34" charset="0"/>
              </a:rPr>
              <a:t> </a:t>
            </a:r>
          </a:p>
        </p:txBody>
      </p:sp>
    </p:spTree>
    <p:extLst>
      <p:ext uri="{BB962C8B-B14F-4D97-AF65-F5344CB8AC3E}">
        <p14:creationId xmlns:p14="http://schemas.microsoft.com/office/powerpoint/2010/main" val="3918499160"/>
      </p:ext>
    </p:extLst>
  </p:cSld>
  <p:clrMapOvr>
    <a:masterClrMapping/>
  </p:clrMapOvr>
  <p:transition spd="slow"/>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DEFAUL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791400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11F8D1A-1348-40EF-9D14-15850B039E2A}"/>
              </a:ext>
            </a:extLst>
          </p:cNvPr>
          <p:cNvSpPr/>
          <p:nvPr userDrawn="1"/>
        </p:nvSpPr>
        <p:spPr>
          <a:xfrm>
            <a:off x="0" y="1"/>
            <a:ext cx="12192000" cy="6857999"/>
          </a:xfrm>
          <a:prstGeom prst="rect">
            <a:avLst/>
          </a:prstGeom>
          <a:solidFill>
            <a:srgbClr val="080E26">
              <a:alpha val="8588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23671436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2144F76-AA61-4872-9F75-01B35B35CE64}"/>
              </a:ext>
            </a:extLst>
          </p:cNvPr>
          <p:cNvPicPr>
            <a:picLocks noChangeAspect="1"/>
          </p:cNvPicPr>
          <p:nvPr userDrawn="1"/>
        </p:nvPicPr>
        <p:blipFill>
          <a:blip r:embed="rId2">
            <a:alphaModFix amt="62000"/>
          </a:blip>
          <a:stretch>
            <a:fillRect/>
          </a:stretch>
        </p:blipFill>
        <p:spPr>
          <a:xfrm>
            <a:off x="0" y="0"/>
            <a:ext cx="12192000" cy="6858000"/>
          </a:xfrm>
          <a:prstGeom prst="rect">
            <a:avLst/>
          </a:prstGeom>
        </p:spPr>
      </p:pic>
      <p:sp>
        <p:nvSpPr>
          <p:cNvPr id="3" name="Rectangle 5">
            <a:extLst>
              <a:ext uri="{FF2B5EF4-FFF2-40B4-BE49-F238E27FC236}">
                <a16:creationId xmlns:a16="http://schemas.microsoft.com/office/drawing/2014/main" id="{3253BC1F-5C42-53CA-A764-C4DC52191026}"/>
              </a:ext>
            </a:extLst>
          </p:cNvPr>
          <p:cNvSpPr/>
          <p:nvPr userDrawn="1"/>
        </p:nvSpPr>
        <p:spPr>
          <a:xfrm>
            <a:off x="0" y="2"/>
            <a:ext cx="12192000" cy="6857999"/>
          </a:xfrm>
          <a:prstGeom prst="rect">
            <a:avLst/>
          </a:prstGeom>
          <a:solidFill>
            <a:srgbClr val="080E26">
              <a:alpha val="8588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9687202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sp>
        <p:nvSpPr>
          <p:cNvPr id="6" name="Picture Placeholder 5"/>
          <p:cNvSpPr>
            <a:spLocks noGrp="1"/>
          </p:cNvSpPr>
          <p:nvPr>
            <p:ph type="pic" sz="quarter" idx="13" hasCustomPrompt="1"/>
          </p:nvPr>
        </p:nvSpPr>
        <p:spPr>
          <a:xfrm>
            <a:off x="0" y="0"/>
            <a:ext cx="12192000" cy="6858000"/>
          </a:xfrm>
          <a:prstGeom prst="rect">
            <a:avLst/>
          </a:prstGeom>
          <a:pattFill prst="pct10">
            <a:fgClr>
              <a:schemeClr val="tx1"/>
            </a:fgClr>
            <a:bgClr>
              <a:schemeClr val="bg1"/>
            </a:bgClr>
          </a:pattFill>
        </p:spPr>
        <p:txBody>
          <a:bodyPr wrap="square" anchor="ctr">
            <a:noAutofit/>
          </a:bodyPr>
          <a:lstStyle>
            <a:lvl1pPr algn="ctr">
              <a:defRPr sz="1600" b="0" i="0">
                <a:latin typeface="Arial Normal" charset="0"/>
                <a:ea typeface="Arial Normal" charset="0"/>
                <a:cs typeface="Arial Normal" charset="0"/>
              </a:defRPr>
            </a:lvl1pPr>
          </a:lstStyle>
          <a:p>
            <a:r>
              <a:rPr lang="en-US"/>
              <a:t>Insert Image</a:t>
            </a:r>
          </a:p>
        </p:txBody>
      </p:sp>
    </p:spTree>
    <p:extLst>
      <p:ext uri="{BB962C8B-B14F-4D97-AF65-F5344CB8AC3E}">
        <p14:creationId xmlns:p14="http://schemas.microsoft.com/office/powerpoint/2010/main" val="2757958213"/>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Template Propuesta 2022 - Índice">
    <p:spTree>
      <p:nvGrpSpPr>
        <p:cNvPr id="1" name=""/>
        <p:cNvGrpSpPr/>
        <p:nvPr/>
      </p:nvGrpSpPr>
      <p:grpSpPr>
        <a:xfrm>
          <a:off x="0" y="0"/>
          <a:ext cx="0" cy="0"/>
          <a:chOff x="0" y="0"/>
          <a:chExt cx="0" cy="0"/>
        </a:xfrm>
      </p:grpSpPr>
      <p:sp>
        <p:nvSpPr>
          <p:cNvPr id="2" name="Marcador de título 2">
            <a:extLst>
              <a:ext uri="{FF2B5EF4-FFF2-40B4-BE49-F238E27FC236}">
                <a16:creationId xmlns:a16="http://schemas.microsoft.com/office/drawing/2014/main" id="{4D18D6AF-517D-B14D-DD42-04B0D273754E}"/>
              </a:ext>
            </a:extLst>
          </p:cNvPr>
          <p:cNvSpPr>
            <a:spLocks noGrp="1"/>
          </p:cNvSpPr>
          <p:nvPr>
            <p:ph type="title"/>
          </p:nvPr>
        </p:nvSpPr>
        <p:spPr>
          <a:xfrm>
            <a:off x="598206" y="96496"/>
            <a:ext cx="11151135" cy="276999"/>
          </a:xfrm>
          <a:prstGeom prst="rect">
            <a:avLst/>
          </a:prstGeom>
        </p:spPr>
        <p:txBody>
          <a:bodyPr wrap="square" lIns="0" anchor="t">
            <a:noAutofit/>
          </a:bodyPr>
          <a:lstStyle/>
          <a:p>
            <a:pPr lvl="0"/>
            <a:r>
              <a:rPr lang="es-ES"/>
              <a:t>HAGA CLIC PARA MODIFICAR EL ESTILO DE TÍTULO DEL PATRÓN</a:t>
            </a:r>
            <a:endParaRPr lang="en-US"/>
          </a:p>
        </p:txBody>
      </p:sp>
    </p:spTree>
    <p:extLst>
      <p:ext uri="{BB962C8B-B14F-4D97-AF65-F5344CB8AC3E}">
        <p14:creationId xmlns:p14="http://schemas.microsoft.com/office/powerpoint/2010/main" val="1377434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sp>
        <p:nvSpPr>
          <p:cNvPr id="6" name="Picture Placeholder 5"/>
          <p:cNvSpPr>
            <a:spLocks noGrp="1"/>
          </p:cNvSpPr>
          <p:nvPr>
            <p:ph type="pic" sz="quarter" idx="13" hasCustomPrompt="1"/>
          </p:nvPr>
        </p:nvSpPr>
        <p:spPr>
          <a:xfrm>
            <a:off x="0" y="0"/>
            <a:ext cx="12192000" cy="6858000"/>
          </a:xfrm>
          <a:prstGeom prst="rect">
            <a:avLst/>
          </a:prstGeom>
          <a:pattFill prst="pct10">
            <a:fgClr>
              <a:schemeClr val="tx1"/>
            </a:fgClr>
            <a:bgClr>
              <a:schemeClr val="bg1"/>
            </a:bgClr>
          </a:pattFill>
        </p:spPr>
        <p:txBody>
          <a:bodyPr wrap="square" anchor="ctr">
            <a:noAutofit/>
          </a:bodyPr>
          <a:lstStyle>
            <a:lvl1pPr algn="ctr">
              <a:defRPr sz="1600" b="0" i="0">
                <a:latin typeface="Arial Normal" charset="0"/>
                <a:ea typeface="Arial Normal" charset="0"/>
                <a:cs typeface="Arial Normal" charset="0"/>
              </a:defRPr>
            </a:lvl1pPr>
          </a:lstStyle>
          <a:p>
            <a:r>
              <a:rPr lang="en-US"/>
              <a:t>Insert Image</a:t>
            </a:r>
          </a:p>
        </p:txBody>
      </p:sp>
    </p:spTree>
    <p:extLst>
      <p:ext uri="{BB962C8B-B14F-4D97-AF65-F5344CB8AC3E}">
        <p14:creationId xmlns:p14="http://schemas.microsoft.com/office/powerpoint/2010/main" val="1082989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2_PPT Corporativa 2022 - Slide Tipo">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01D9E51-6968-66D1-D72C-0A4D50583347}"/>
              </a:ext>
            </a:extLst>
          </p:cNvPr>
          <p:cNvSpPr/>
          <p:nvPr userDrawn="1"/>
        </p:nvSpPr>
        <p:spPr bwMode="auto">
          <a:xfrm>
            <a:off x="0" y="0"/>
            <a:ext cx="12192000" cy="1309816"/>
          </a:xfrm>
          <a:prstGeom prst="rect">
            <a:avLst/>
          </a:prstGeom>
          <a:solidFill>
            <a:srgbClr val="F5F6FA"/>
          </a:solidFill>
          <a:ln>
            <a:noFill/>
          </a:ln>
        </p:spPr>
        <p:txBody>
          <a:bodyPr lIns="0" tIns="0" rIns="0" bIns="0" rtlCol="0" anchor="ctr"/>
          <a:lstStyle/>
          <a:p>
            <a:pPr algn="ctr"/>
            <a:endParaRPr lang="es-ES_tradnl"/>
          </a:p>
        </p:txBody>
      </p:sp>
      <p:sp>
        <p:nvSpPr>
          <p:cNvPr id="4" name="Marcador de posición de imagen 3">
            <a:extLst>
              <a:ext uri="{FF2B5EF4-FFF2-40B4-BE49-F238E27FC236}">
                <a16:creationId xmlns:a16="http://schemas.microsoft.com/office/drawing/2014/main" id="{03C7EEA0-A09B-49FB-2D96-050980CF711F}"/>
              </a:ext>
            </a:extLst>
          </p:cNvPr>
          <p:cNvSpPr>
            <a:spLocks noGrp="1"/>
          </p:cNvSpPr>
          <p:nvPr>
            <p:ph type="pic" sz="quarter" idx="10"/>
          </p:nvPr>
        </p:nvSpPr>
        <p:spPr>
          <a:xfrm>
            <a:off x="5751252" y="1901608"/>
            <a:ext cx="3055864" cy="3054784"/>
          </a:xfrm>
          <a:prstGeom prst="ellipse">
            <a:avLst/>
          </a:prstGeom>
        </p:spPr>
        <p:txBody>
          <a:bodyPr/>
          <a:lstStyle/>
          <a:p>
            <a:endParaRPr lang="en-US"/>
          </a:p>
        </p:txBody>
      </p:sp>
    </p:spTree>
    <p:extLst>
      <p:ext uri="{BB962C8B-B14F-4D97-AF65-F5344CB8AC3E}">
        <p14:creationId xmlns:p14="http://schemas.microsoft.com/office/powerpoint/2010/main" val="3275293366"/>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emplate Propuesta 2022 - Introducción">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50040F2E-A856-F74D-B747-8F63180F396D}"/>
              </a:ext>
            </a:extLst>
          </p:cNvPr>
          <p:cNvSpPr>
            <a:spLocks noGrp="1"/>
          </p:cNvSpPr>
          <p:nvPr>
            <p:ph type="title"/>
          </p:nvPr>
        </p:nvSpPr>
        <p:spPr>
          <a:xfrm>
            <a:off x="1138892" y="36122"/>
            <a:ext cx="10610449" cy="276999"/>
          </a:xfrm>
        </p:spPr>
        <p:txBody>
          <a:bodyPr wrap="square" lIns="0" anchor="t">
            <a:noAutofit/>
          </a:bodyPr>
          <a:lstStyle>
            <a:lvl1pPr>
              <a:defRPr lang="es-ES_tradnl" cap="all" baseline="0" noProof="0" dirty="0"/>
            </a:lvl1pPr>
          </a:lstStyle>
          <a:p>
            <a:pPr lvl="0"/>
            <a:r>
              <a:rPr lang="es-ES_tradnl" noProof="0"/>
              <a:t>Haga clic para modificar el estilo de título del patrón</a:t>
            </a:r>
          </a:p>
        </p:txBody>
      </p:sp>
      <p:sp>
        <p:nvSpPr>
          <p:cNvPr id="7" name="Marcador de texto 5">
            <a:extLst>
              <a:ext uri="{FF2B5EF4-FFF2-40B4-BE49-F238E27FC236}">
                <a16:creationId xmlns:a16="http://schemas.microsoft.com/office/drawing/2014/main" id="{CC6303D6-D0FC-984A-8419-A50470327A59}"/>
              </a:ext>
            </a:extLst>
          </p:cNvPr>
          <p:cNvSpPr>
            <a:spLocks noGrp="1"/>
          </p:cNvSpPr>
          <p:nvPr>
            <p:ph type="body" sz="quarter" idx="10"/>
          </p:nvPr>
        </p:nvSpPr>
        <p:spPr>
          <a:xfrm>
            <a:off x="442659" y="671500"/>
            <a:ext cx="11306682" cy="5741999"/>
          </a:xfrm>
        </p:spPr>
        <p:txBody>
          <a:bodyPr/>
          <a:lstStyle/>
          <a:p>
            <a:pPr lvl="0"/>
            <a:r>
              <a:rPr lang="es-ES_tradnl" noProof="0"/>
              <a:t>Haga clic para modificar los estilos de texto del patrón</a:t>
            </a:r>
          </a:p>
          <a:p>
            <a:pPr lvl="1"/>
            <a:r>
              <a:rPr lang="es-ES_tradnl" noProof="0"/>
              <a:t>Segundo nivel</a:t>
            </a:r>
          </a:p>
          <a:p>
            <a:pPr lvl="2"/>
            <a:r>
              <a:rPr lang="es-ES_tradnl" noProof="0"/>
              <a:t>Tercer nivel</a:t>
            </a:r>
          </a:p>
          <a:p>
            <a:pPr lvl="3"/>
            <a:r>
              <a:rPr lang="es-ES_tradnl" noProof="0"/>
              <a:t>Cuarto nivel</a:t>
            </a:r>
          </a:p>
          <a:p>
            <a:pPr lvl="4"/>
            <a:r>
              <a:rPr lang="es-ES_tradnl" noProof="0"/>
              <a:t>Quinto nivel</a:t>
            </a:r>
          </a:p>
        </p:txBody>
      </p:sp>
      <p:sp>
        <p:nvSpPr>
          <p:cNvPr id="4" name="Marcador de texto 4">
            <a:extLst>
              <a:ext uri="{FF2B5EF4-FFF2-40B4-BE49-F238E27FC236}">
                <a16:creationId xmlns:a16="http://schemas.microsoft.com/office/drawing/2014/main" id="{DED7AFAC-0516-FB48-9E02-44CC62A80883}"/>
              </a:ext>
            </a:extLst>
          </p:cNvPr>
          <p:cNvSpPr>
            <a:spLocks noGrp="1"/>
          </p:cNvSpPr>
          <p:nvPr>
            <p:ph type="body" sz="quarter" idx="11"/>
          </p:nvPr>
        </p:nvSpPr>
        <p:spPr>
          <a:xfrm>
            <a:off x="1138639" y="290195"/>
            <a:ext cx="10610449" cy="217488"/>
          </a:xfrm>
        </p:spPr>
        <p:txBody>
          <a:bodyPr/>
          <a:lstStyle>
            <a:lvl1pPr>
              <a:defRPr sz="1200">
                <a:solidFill>
                  <a:schemeClr val="tx2"/>
                </a:solidFill>
              </a:defRPr>
            </a:lvl1pPr>
          </a:lstStyle>
          <a:p>
            <a:pPr lvl="0"/>
            <a:r>
              <a:rPr lang="es-ES_tradnl" noProof="0"/>
              <a:t>Haga clic para modificar los estilos de texto del patrón</a:t>
            </a:r>
          </a:p>
        </p:txBody>
      </p:sp>
      <p:grpSp>
        <p:nvGrpSpPr>
          <p:cNvPr id="8" name="Grupo 7">
            <a:extLst>
              <a:ext uri="{FF2B5EF4-FFF2-40B4-BE49-F238E27FC236}">
                <a16:creationId xmlns:a16="http://schemas.microsoft.com/office/drawing/2014/main" id="{B5B8CF7A-33AF-534D-A707-F1AFA19DADF1}"/>
              </a:ext>
            </a:extLst>
          </p:cNvPr>
          <p:cNvGrpSpPr/>
          <p:nvPr userDrawn="1"/>
        </p:nvGrpSpPr>
        <p:grpSpPr>
          <a:xfrm>
            <a:off x="596159" y="67814"/>
            <a:ext cx="405613" cy="405613"/>
            <a:chOff x="663989" y="1147969"/>
            <a:chExt cx="405613" cy="405613"/>
          </a:xfrm>
        </p:grpSpPr>
        <p:sp>
          <p:nvSpPr>
            <p:cNvPr id="9" name="Rectángulo 8">
              <a:extLst>
                <a:ext uri="{FF2B5EF4-FFF2-40B4-BE49-F238E27FC236}">
                  <a16:creationId xmlns:a16="http://schemas.microsoft.com/office/drawing/2014/main" id="{9D31E6A8-7FC5-D346-B913-27F3CB84C0BF}"/>
                </a:ext>
              </a:extLst>
            </p:cNvPr>
            <p:cNvSpPr/>
            <p:nvPr userDrawn="1"/>
          </p:nvSpPr>
          <p:spPr bwMode="auto">
            <a:xfrm>
              <a:off x="663989" y="1147969"/>
              <a:ext cx="405613" cy="405613"/>
            </a:xfrm>
            <a:prstGeom prst="rect">
              <a:avLst/>
            </a:prstGeom>
            <a:solidFill>
              <a:schemeClr val="bg1"/>
            </a:solidFill>
            <a:ln w="25400" cap="flat">
              <a:solidFill>
                <a:srgbClr val="7ECDD1"/>
              </a:solidFill>
              <a:miter lim="800000"/>
            </a:ln>
          </p:spPr>
          <p:txBody>
            <a:bodyPr lIns="0" tIns="0" rIns="0" bIns="0" rtlCol="0" anchor="ctr">
              <a:noAutofit/>
            </a:bodyPr>
            <a:lstStyle/>
            <a:p>
              <a:pPr algn="ctr"/>
              <a:endParaRPr lang="es-ES_tradnl" sz="1400" noProof="0"/>
            </a:p>
          </p:txBody>
        </p:sp>
        <p:sp>
          <p:nvSpPr>
            <p:cNvPr id="10" name="Shape 3609">
              <a:extLst>
                <a:ext uri="{FF2B5EF4-FFF2-40B4-BE49-F238E27FC236}">
                  <a16:creationId xmlns:a16="http://schemas.microsoft.com/office/drawing/2014/main" id="{984874FB-B9FA-E147-BBBC-0509024A0EEF}"/>
                </a:ext>
              </a:extLst>
            </p:cNvPr>
            <p:cNvSpPr/>
            <p:nvPr userDrawn="1"/>
          </p:nvSpPr>
          <p:spPr>
            <a:xfrm>
              <a:off x="761901" y="1244122"/>
              <a:ext cx="207824" cy="207823"/>
            </a:xfrm>
            <a:custGeom>
              <a:avLst/>
              <a:gdLst/>
              <a:ahLst/>
              <a:cxnLst>
                <a:cxn ang="0">
                  <a:pos x="wd2" y="hd2"/>
                </a:cxn>
                <a:cxn ang="5400000">
                  <a:pos x="wd2" y="hd2"/>
                </a:cxn>
                <a:cxn ang="10800000">
                  <a:pos x="wd2" y="hd2"/>
                </a:cxn>
                <a:cxn ang="16200000">
                  <a:pos x="wd2" y="hd2"/>
                </a:cxn>
              </a:cxnLst>
              <a:rect l="0" t="0" r="r" b="b"/>
              <a:pathLst>
                <a:path w="21600" h="21600" extrusionOk="0">
                  <a:moveTo>
                    <a:pt x="4418" y="11782"/>
                  </a:moveTo>
                  <a:lnTo>
                    <a:pt x="14236" y="11782"/>
                  </a:lnTo>
                  <a:cubicBezTo>
                    <a:pt x="14507" y="11782"/>
                    <a:pt x="14727" y="11562"/>
                    <a:pt x="14727" y="11291"/>
                  </a:cubicBezTo>
                  <a:cubicBezTo>
                    <a:pt x="14727" y="11020"/>
                    <a:pt x="14507" y="10800"/>
                    <a:pt x="14236" y="10800"/>
                  </a:cubicBezTo>
                  <a:lnTo>
                    <a:pt x="4418" y="10800"/>
                  </a:lnTo>
                  <a:cubicBezTo>
                    <a:pt x="4147" y="10800"/>
                    <a:pt x="3927" y="11020"/>
                    <a:pt x="3927" y="11291"/>
                  </a:cubicBezTo>
                  <a:cubicBezTo>
                    <a:pt x="3927" y="11562"/>
                    <a:pt x="4147" y="11782"/>
                    <a:pt x="4418" y="11782"/>
                  </a:cubicBezTo>
                  <a:moveTo>
                    <a:pt x="20618" y="20618"/>
                  </a:moveTo>
                  <a:lnTo>
                    <a:pt x="5891" y="20618"/>
                  </a:lnTo>
                  <a:lnTo>
                    <a:pt x="5891" y="16200"/>
                  </a:lnTo>
                  <a:cubicBezTo>
                    <a:pt x="5891" y="15929"/>
                    <a:pt x="5671" y="15709"/>
                    <a:pt x="5400" y="15709"/>
                  </a:cubicBezTo>
                  <a:lnTo>
                    <a:pt x="982" y="15709"/>
                  </a:lnTo>
                  <a:lnTo>
                    <a:pt x="982" y="982"/>
                  </a:lnTo>
                  <a:lnTo>
                    <a:pt x="20618" y="982"/>
                  </a:lnTo>
                  <a:cubicBezTo>
                    <a:pt x="20618" y="982"/>
                    <a:pt x="20618" y="20618"/>
                    <a:pt x="20618" y="20618"/>
                  </a:cubicBezTo>
                  <a:close/>
                  <a:moveTo>
                    <a:pt x="4909" y="20127"/>
                  </a:moveTo>
                  <a:lnTo>
                    <a:pt x="1473" y="16691"/>
                  </a:lnTo>
                  <a:lnTo>
                    <a:pt x="4909" y="16691"/>
                  </a:lnTo>
                  <a:cubicBezTo>
                    <a:pt x="4909" y="16691"/>
                    <a:pt x="4909" y="20127"/>
                    <a:pt x="4909" y="20127"/>
                  </a:cubicBezTo>
                  <a:close/>
                  <a:moveTo>
                    <a:pt x="20618" y="0"/>
                  </a:moveTo>
                  <a:lnTo>
                    <a:pt x="982" y="0"/>
                  </a:lnTo>
                  <a:cubicBezTo>
                    <a:pt x="440" y="0"/>
                    <a:pt x="0" y="440"/>
                    <a:pt x="0" y="982"/>
                  </a:cubicBezTo>
                  <a:lnTo>
                    <a:pt x="0" y="16691"/>
                  </a:lnTo>
                  <a:lnTo>
                    <a:pt x="4909" y="21600"/>
                  </a:lnTo>
                  <a:lnTo>
                    <a:pt x="20618" y="21600"/>
                  </a:lnTo>
                  <a:cubicBezTo>
                    <a:pt x="21160" y="21600"/>
                    <a:pt x="21600" y="21161"/>
                    <a:pt x="21600" y="20618"/>
                  </a:cubicBezTo>
                  <a:lnTo>
                    <a:pt x="21600" y="982"/>
                  </a:lnTo>
                  <a:cubicBezTo>
                    <a:pt x="21600" y="440"/>
                    <a:pt x="21160" y="0"/>
                    <a:pt x="20618" y="0"/>
                  </a:cubicBezTo>
                  <a:moveTo>
                    <a:pt x="4418" y="8836"/>
                  </a:moveTo>
                  <a:lnTo>
                    <a:pt x="17182" y="8836"/>
                  </a:lnTo>
                  <a:cubicBezTo>
                    <a:pt x="17453" y="8836"/>
                    <a:pt x="17673" y="8617"/>
                    <a:pt x="17673" y="8345"/>
                  </a:cubicBezTo>
                  <a:cubicBezTo>
                    <a:pt x="17673" y="8075"/>
                    <a:pt x="17453" y="7855"/>
                    <a:pt x="17182" y="7855"/>
                  </a:cubicBezTo>
                  <a:lnTo>
                    <a:pt x="4418" y="7855"/>
                  </a:lnTo>
                  <a:cubicBezTo>
                    <a:pt x="4147" y="7855"/>
                    <a:pt x="3927" y="8075"/>
                    <a:pt x="3927" y="8345"/>
                  </a:cubicBezTo>
                  <a:cubicBezTo>
                    <a:pt x="3927" y="8617"/>
                    <a:pt x="4147" y="8836"/>
                    <a:pt x="4418" y="8836"/>
                  </a:cubicBezTo>
                  <a:moveTo>
                    <a:pt x="4418" y="5891"/>
                  </a:moveTo>
                  <a:lnTo>
                    <a:pt x="10309" y="5891"/>
                  </a:lnTo>
                  <a:cubicBezTo>
                    <a:pt x="10580" y="5891"/>
                    <a:pt x="10800" y="5672"/>
                    <a:pt x="10800" y="5400"/>
                  </a:cubicBezTo>
                  <a:cubicBezTo>
                    <a:pt x="10800" y="5129"/>
                    <a:pt x="10580" y="4909"/>
                    <a:pt x="10309" y="4909"/>
                  </a:cubicBezTo>
                  <a:lnTo>
                    <a:pt x="4418" y="4909"/>
                  </a:lnTo>
                  <a:cubicBezTo>
                    <a:pt x="4147" y="4909"/>
                    <a:pt x="3927" y="5129"/>
                    <a:pt x="3927" y="5400"/>
                  </a:cubicBezTo>
                  <a:cubicBezTo>
                    <a:pt x="3927" y="5672"/>
                    <a:pt x="4147" y="5891"/>
                    <a:pt x="4418" y="5891"/>
                  </a:cubicBezTo>
                </a:path>
              </a:pathLst>
            </a:custGeom>
            <a:solidFill>
              <a:schemeClr val="tx2"/>
            </a:solidFill>
            <a:ln w="12700">
              <a:miter lim="400000"/>
            </a:ln>
          </p:spPr>
          <p:txBody>
            <a:bodyPr lIns="38100" tIns="38100" rIns="38100" bIns="38100" anchor="ctr">
              <a:noAutofit/>
            </a:bodyPr>
            <a:lstStyle/>
            <a:p>
              <a:endParaRPr lang="es-ES_tradnl" noProof="0">
                <a:solidFill>
                  <a:prstClr val="black"/>
                </a:solidFill>
              </a:endParaRPr>
            </a:p>
          </p:txBody>
        </p:sp>
      </p:grpSp>
      <p:sp>
        <p:nvSpPr>
          <p:cNvPr id="11" name="Rectangle 12">
            <a:extLst>
              <a:ext uri="{FF2B5EF4-FFF2-40B4-BE49-F238E27FC236}">
                <a16:creationId xmlns:a16="http://schemas.microsoft.com/office/drawing/2014/main" id="{76E17A97-AF6C-4C45-A2C7-7F159E8CF989}"/>
              </a:ext>
            </a:extLst>
          </p:cNvPr>
          <p:cNvSpPr/>
          <p:nvPr userDrawn="1"/>
        </p:nvSpPr>
        <p:spPr>
          <a:xfrm>
            <a:off x="9457765" y="6579030"/>
            <a:ext cx="2734235" cy="278969"/>
          </a:xfrm>
          <a:prstGeom prst="rect">
            <a:avLst/>
          </a:prstGeom>
          <a:solidFill>
            <a:schemeClr val="accent1"/>
          </a:solidFill>
        </p:spPr>
        <p:txBody>
          <a:bodyPr wrap="square" lIns="0" tIns="0" rIns="0" bIns="0" rtlCol="0" anchor="ctr" anchorCtr="0">
            <a:noAutofit/>
          </a:bodyPr>
          <a:lstStyle/>
          <a:p>
            <a:pPr algn="ctr"/>
            <a:endParaRPr lang="en-US" sz="800" b="1">
              <a:solidFill>
                <a:schemeClr val="tx2"/>
              </a:solidFill>
              <a:cs typeface="Arial" panose="020B0604020202020204" pitchFamily="34" charset="0"/>
            </a:endParaRPr>
          </a:p>
        </p:txBody>
      </p:sp>
    </p:spTree>
    <p:extLst>
      <p:ext uri="{BB962C8B-B14F-4D97-AF65-F5344CB8AC3E}">
        <p14:creationId xmlns:p14="http://schemas.microsoft.com/office/powerpoint/2010/main" val="3598551583"/>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obj">
  <p:cSld name="Title and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9005" b="1" i="0">
                <a:solidFill>
                  <a:srgbClr val="FBD6F6"/>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sz="2244" b="1" i="0">
                <a:solidFill>
                  <a:srgbClr val="424242"/>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defRPr sz="788" b="0" i="0">
                <a:solidFill>
                  <a:srgbClr val="303031"/>
                </a:solidFill>
                <a:latin typeface="Calibri"/>
                <a:cs typeface="Calibri"/>
              </a:defRPr>
            </a:lvl1pPr>
          </a:lstStyle>
          <a:p>
            <a:pPr marL="7701">
              <a:spcBef>
                <a:spcPts val="64"/>
              </a:spcBef>
            </a:pPr>
            <a:r>
              <a:rPr lang="es-ES" spc="49"/>
              <a:t>Julio</a:t>
            </a:r>
            <a:r>
              <a:rPr lang="es-ES" spc="36"/>
              <a:t> </a:t>
            </a:r>
            <a:r>
              <a:rPr lang="es-ES" spc="61"/>
              <a:t>2024</a:t>
            </a:r>
          </a:p>
        </p:txBody>
      </p:sp>
      <p:sp>
        <p:nvSpPr>
          <p:cNvPr id="5" name="Holder 5"/>
          <p:cNvSpPr>
            <a:spLocks noGrp="1"/>
          </p:cNvSpPr>
          <p:nvPr>
            <p:ph type="dt" sz="half" idx="6"/>
          </p:nvPr>
        </p:nvSpPr>
        <p:spPr/>
        <p:txBody>
          <a:bodyPr lIns="0" tIns="0" rIns="0" bIns="0"/>
          <a:lstStyle>
            <a:lvl1pPr>
              <a:defRPr sz="788" b="0" i="0">
                <a:solidFill>
                  <a:schemeClr val="bg1"/>
                </a:solidFill>
                <a:latin typeface="Calibri"/>
                <a:cs typeface="Calibri"/>
              </a:defRPr>
            </a:lvl1pPr>
          </a:lstStyle>
          <a:p>
            <a:pPr marL="7701">
              <a:spcBef>
                <a:spcPts val="64"/>
              </a:spcBef>
            </a:pPr>
            <a:r>
              <a:rPr lang="es-ES" spc="39">
                <a:solidFill>
                  <a:srgbClr val="303031"/>
                </a:solidFill>
              </a:rPr>
              <a:t>Puig </a:t>
            </a:r>
            <a:r>
              <a:rPr lang="es-ES" spc="167">
                <a:solidFill>
                  <a:srgbClr val="303031"/>
                </a:solidFill>
              </a:rPr>
              <a:t>-</a:t>
            </a:r>
            <a:r>
              <a:rPr lang="es-ES" spc="42">
                <a:solidFill>
                  <a:srgbClr val="303031"/>
                </a:solidFill>
              </a:rPr>
              <a:t> Estrategia</a:t>
            </a:r>
            <a:r>
              <a:rPr lang="es-ES" spc="39">
                <a:solidFill>
                  <a:srgbClr val="303031"/>
                </a:solidFill>
              </a:rPr>
              <a:t> UX</a:t>
            </a:r>
            <a:r>
              <a:rPr lang="es-ES" spc="42">
                <a:solidFill>
                  <a:srgbClr val="303031"/>
                </a:solidFill>
              </a:rPr>
              <a:t> &amp; </a:t>
            </a:r>
            <a:r>
              <a:rPr lang="es-ES" spc="49">
                <a:solidFill>
                  <a:srgbClr val="303031"/>
                </a:solidFill>
              </a:rPr>
              <a:t>Diseño</a:t>
            </a:r>
            <a:r>
              <a:rPr lang="es-ES" spc="39">
                <a:solidFill>
                  <a:srgbClr val="303031"/>
                </a:solidFill>
              </a:rPr>
              <a:t> </a:t>
            </a:r>
            <a:r>
              <a:rPr lang="es-ES" spc="167">
                <a:solidFill>
                  <a:srgbClr val="303031"/>
                </a:solidFill>
              </a:rPr>
              <a:t>-</a:t>
            </a:r>
            <a:r>
              <a:rPr lang="es-ES" spc="42">
                <a:solidFill>
                  <a:srgbClr val="303031"/>
                </a:solidFill>
              </a:rPr>
              <a:t> </a:t>
            </a:r>
            <a:r>
              <a:rPr lang="es-ES" spc="55">
                <a:solidFill>
                  <a:srgbClr val="303031"/>
                </a:solidFill>
              </a:rPr>
              <a:t>Conceptualización</a:t>
            </a:r>
            <a:r>
              <a:rPr lang="es-ES" spc="39">
                <a:solidFill>
                  <a:srgbClr val="303031"/>
                </a:solidFill>
              </a:rPr>
              <a:t> </a:t>
            </a:r>
            <a:r>
              <a:rPr lang="es-ES" spc="167">
                <a:solidFill>
                  <a:srgbClr val="303031"/>
                </a:solidFill>
              </a:rPr>
              <a:t>-</a:t>
            </a:r>
            <a:r>
              <a:rPr lang="es-ES" spc="42">
                <a:solidFill>
                  <a:srgbClr val="303031"/>
                </a:solidFill>
              </a:rPr>
              <a:t> </a:t>
            </a:r>
            <a:r>
              <a:rPr lang="es-ES" spc="39">
                <a:solidFill>
                  <a:srgbClr val="303031"/>
                </a:solidFill>
              </a:rPr>
              <a:t>Nueva</a:t>
            </a:r>
            <a:r>
              <a:rPr lang="es-ES" spc="42">
                <a:solidFill>
                  <a:srgbClr val="303031"/>
                </a:solidFill>
              </a:rPr>
              <a:t> herramienta</a:t>
            </a:r>
            <a:r>
              <a:rPr lang="es-ES" spc="39">
                <a:solidFill>
                  <a:srgbClr val="303031"/>
                </a:solidFill>
              </a:rPr>
              <a:t> </a:t>
            </a:r>
            <a:r>
              <a:rPr lang="es-ES" spc="49">
                <a:solidFill>
                  <a:srgbClr val="303031"/>
                </a:solidFill>
              </a:rPr>
              <a:t>Data</a:t>
            </a:r>
            <a:r>
              <a:rPr lang="es-ES" spc="42">
                <a:solidFill>
                  <a:srgbClr val="303031"/>
                </a:solidFill>
              </a:rPr>
              <a:t> </a:t>
            </a:r>
            <a:r>
              <a:rPr lang="es-ES" spc="39">
                <a:solidFill>
                  <a:srgbClr val="303031"/>
                </a:solidFill>
              </a:rPr>
              <a:t>Quality</a:t>
            </a: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º›</a:t>
            </a:fld>
            <a:endParaRPr/>
          </a:p>
        </p:txBody>
      </p:sp>
    </p:spTree>
    <p:extLst>
      <p:ext uri="{BB962C8B-B14F-4D97-AF65-F5344CB8AC3E}">
        <p14:creationId xmlns:p14="http://schemas.microsoft.com/office/powerpoint/2010/main" val="288060430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0737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lcance de la Colaboración">
    <p:spTree>
      <p:nvGrpSpPr>
        <p:cNvPr id="1" name=""/>
        <p:cNvGrpSpPr/>
        <p:nvPr/>
      </p:nvGrpSpPr>
      <p:grpSpPr>
        <a:xfrm>
          <a:off x="0" y="0"/>
          <a:ext cx="0" cy="0"/>
          <a:chOff x="0" y="0"/>
          <a:chExt cx="0" cy="0"/>
        </a:xfrm>
      </p:grpSpPr>
      <p:sp>
        <p:nvSpPr>
          <p:cNvPr id="23" name="22 Marcador de texto"/>
          <p:cNvSpPr>
            <a:spLocks noGrp="1"/>
          </p:cNvSpPr>
          <p:nvPr>
            <p:ph type="body" sz="quarter" idx="23"/>
          </p:nvPr>
        </p:nvSpPr>
        <p:spPr>
          <a:xfrm>
            <a:off x="423986" y="1320801"/>
            <a:ext cx="11344031" cy="5151940"/>
          </a:xfrm>
        </p:spPr>
        <p:txBody>
          <a:bodyPr>
            <a:noAutofit/>
          </a:bodyPr>
          <a:lstStyle>
            <a:lvl5pPr marL="969962" indent="0">
              <a:defRPr kumimoji="0" lang="es-ES" sz="1100" b="0" i="0" u="none" strike="noStrike" kern="1200" cap="none" spc="0" normalizeH="0" baseline="0" noProof="0" dirty="0" smtClean="0">
                <a:ln>
                  <a:noFill/>
                </a:ln>
                <a:solidFill>
                  <a:srgbClr val="494949"/>
                </a:solidFill>
                <a:effectLst/>
                <a:uLnTx/>
                <a:uFillTx/>
                <a:latin typeface="+mn-lt"/>
                <a:ea typeface="+mn-ea"/>
                <a:cs typeface="+mn-cs"/>
              </a:defRPr>
            </a:lvl5pPr>
            <a:lvl6pPr marL="858838" indent="-171450">
              <a:defRPr kumimoji="0" lang="es-ES" sz="1100" b="0" i="0" u="none" strike="noStrike" kern="1200" cap="none" spc="0" normalizeH="0" baseline="0" noProof="0" dirty="0" smtClean="0">
                <a:ln>
                  <a:noFill/>
                </a:ln>
                <a:solidFill>
                  <a:schemeClr val="tx1"/>
                </a:solidFill>
                <a:effectLst/>
                <a:uLnTx/>
                <a:uFillTx/>
                <a:latin typeface="+mn-lt"/>
                <a:ea typeface="+mn-ea"/>
                <a:cs typeface="+mn-cs"/>
              </a:defRPr>
            </a:lvl6pPr>
            <a:lvl7pPr>
              <a:defRPr/>
            </a:lvl7pPr>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a:p>
            <a:pPr marL="846138" marR="0" lvl="4" indent="-158750" algn="l" defTabSz="914400" rtl="0" eaLnBrk="1" fontAlgn="auto" latinLnBrk="0" hangingPunct="1">
              <a:lnSpc>
                <a:spcPct val="100000"/>
              </a:lnSpc>
              <a:spcBef>
                <a:spcPts val="0"/>
              </a:spcBef>
              <a:spcAft>
                <a:spcPts val="200"/>
              </a:spcAft>
              <a:buClr>
                <a:schemeClr val="accent1">
                  <a:lumMod val="90000"/>
                </a:schemeClr>
              </a:buClr>
              <a:buSzTx/>
              <a:buFont typeface="Arial" pitchFamily="34" charset="0"/>
              <a:buChar char="•"/>
              <a:tabLst/>
              <a:defRPr/>
            </a:pPr>
            <a:r>
              <a:rPr lang="es-ES" noProof="0"/>
              <a:t>Quinto nivel</a:t>
            </a:r>
          </a:p>
          <a:p>
            <a:pPr marL="1111250" marR="0" lvl="5" indent="-141288" algn="l" defTabSz="914400" rtl="0" eaLnBrk="1" fontAlgn="auto" latinLnBrk="0" hangingPunct="1">
              <a:lnSpc>
                <a:spcPct val="100000"/>
              </a:lnSpc>
              <a:spcBef>
                <a:spcPct val="20000"/>
              </a:spcBef>
              <a:spcAft>
                <a:spcPts val="200"/>
              </a:spcAft>
              <a:buClr>
                <a:schemeClr val="accent1">
                  <a:lumMod val="90000"/>
                </a:schemeClr>
              </a:buClr>
              <a:buSzTx/>
              <a:buFontTx/>
              <a:buNone/>
              <a:tabLst/>
              <a:defRPr/>
            </a:pPr>
            <a:r>
              <a:rPr lang="es-ES" noProof="0"/>
              <a:t>- </a:t>
            </a:r>
            <a:r>
              <a:rPr lang="es-ES" noProof="0" err="1"/>
              <a:t>bhhh</a:t>
            </a:r>
            <a:endParaRPr lang="es-ES" noProof="0"/>
          </a:p>
        </p:txBody>
      </p:sp>
      <p:sp>
        <p:nvSpPr>
          <p:cNvPr id="92" name="27 Título"/>
          <p:cNvSpPr>
            <a:spLocks noGrp="1"/>
          </p:cNvSpPr>
          <p:nvPr userDrawn="1">
            <p:ph type="title" hasCustomPrompt="1"/>
          </p:nvPr>
        </p:nvSpPr>
        <p:spPr>
          <a:xfrm>
            <a:off x="1235961" y="334929"/>
            <a:ext cx="8936800" cy="518277"/>
          </a:xfrm>
        </p:spPr>
        <p:txBody>
          <a:bodyPr>
            <a:noAutofit/>
          </a:bodyPr>
          <a:lstStyle>
            <a:lvl1pPr>
              <a:defRPr sz="2000">
                <a:solidFill>
                  <a:schemeClr val="tx1"/>
                </a:solidFill>
              </a:defRPr>
            </a:lvl1pPr>
          </a:lstStyle>
          <a:p>
            <a:r>
              <a:rPr lang="es-ES"/>
              <a:t>Título</a:t>
            </a:r>
            <a:endParaRPr lang="en-US"/>
          </a:p>
        </p:txBody>
      </p:sp>
      <p:sp>
        <p:nvSpPr>
          <p:cNvPr id="6" name="21 CuadroTexto"/>
          <p:cNvSpPr txBox="1"/>
          <p:nvPr userDrawn="1"/>
        </p:nvSpPr>
        <p:spPr>
          <a:xfrm>
            <a:off x="1192823" y="19050"/>
            <a:ext cx="8988270" cy="248400"/>
          </a:xfrm>
          <a:prstGeom prst="rect">
            <a:avLst/>
          </a:prstGeom>
        </p:spPr>
        <p:txBody>
          <a:bodyPr vert="horz" lIns="0" tIns="0" rIns="0" bIns="0" rtlCol="0" anchor="ctr">
            <a:noAutofit/>
          </a:bodyPr>
          <a:lstStyle/>
          <a:p>
            <a:pPr marL="144000" marR="0" lvl="0" indent="0" algn="l" defTabSz="914400" rtl="0" eaLnBrk="1" fontAlgn="base" latinLnBrk="0" hangingPunct="1">
              <a:lnSpc>
                <a:spcPct val="100000"/>
              </a:lnSpc>
              <a:spcBef>
                <a:spcPts val="600"/>
              </a:spcBef>
              <a:spcAft>
                <a:spcPts val="300"/>
              </a:spcAft>
              <a:buClr>
                <a:srgbClr val="505150"/>
              </a:buClr>
              <a:buSzPct val="88000"/>
              <a:buFont typeface="Arial" pitchFamily="34" charset="0"/>
              <a:buNone/>
              <a:tabLst>
                <a:tab pos="1346200" algn="l"/>
              </a:tabLst>
              <a:defRPr/>
            </a:pPr>
            <a:r>
              <a:rPr kumimoji="0" lang="es-ES" sz="1050" b="0" i="0" u="none" strike="noStrike" kern="1200" cap="none" spc="0" normalizeH="0" baseline="0" noProof="0">
                <a:ln>
                  <a:noFill/>
                </a:ln>
                <a:solidFill>
                  <a:schemeClr val="tx1"/>
                </a:solidFill>
                <a:effectLst/>
                <a:uLnTx/>
                <a:uFillTx/>
                <a:latin typeface="+mn-lt"/>
                <a:ea typeface="+mn-ea"/>
                <a:cs typeface="+mn-cs"/>
                <a:sym typeface="Droid Sans" charset="0"/>
              </a:rPr>
              <a:t>Propuesta de Solución y Alcance</a:t>
            </a:r>
          </a:p>
        </p:txBody>
      </p:sp>
      <p:sp>
        <p:nvSpPr>
          <p:cNvPr id="7" name="26 Marcador de contenido"/>
          <p:cNvSpPr>
            <a:spLocks noGrp="1"/>
          </p:cNvSpPr>
          <p:nvPr>
            <p:ph sz="quarter" idx="26" hasCustomPrompt="1"/>
          </p:nvPr>
        </p:nvSpPr>
        <p:spPr>
          <a:xfrm>
            <a:off x="1192823" y="863255"/>
            <a:ext cx="8988270" cy="225425"/>
          </a:xfrm>
        </p:spPr>
        <p:txBody>
          <a:bodyPr anchor="ctr">
            <a:noAutofit/>
          </a:bodyPr>
          <a:lstStyle>
            <a:lvl1pPr marL="144000">
              <a:defRPr sz="1000" cap="all" spc="300" baseline="0">
                <a:solidFill>
                  <a:schemeClr val="tx1"/>
                </a:solidFill>
              </a:defRPr>
            </a:lvl1pPr>
            <a:lvl7pPr>
              <a:defRPr>
                <a:solidFill>
                  <a:schemeClr val="tx1">
                    <a:lumMod val="50000"/>
                    <a:lumOff val="50000"/>
                  </a:schemeClr>
                </a:solidFill>
              </a:defRPr>
            </a:lvl7pPr>
          </a:lstStyle>
          <a:p>
            <a:pPr lvl="0"/>
            <a:r>
              <a:rPr lang="es-ES"/>
              <a:t>Subtítulo</a:t>
            </a:r>
            <a:endParaRPr lang="en-US"/>
          </a:p>
        </p:txBody>
      </p:sp>
      <p:sp>
        <p:nvSpPr>
          <p:cNvPr id="2" name="Marcador de número de diapositiva 1"/>
          <p:cNvSpPr>
            <a:spLocks noGrp="1"/>
          </p:cNvSpPr>
          <p:nvPr>
            <p:ph type="sldNum" sz="quarter" idx="27"/>
          </p:nvPr>
        </p:nvSpPr>
        <p:spPr/>
        <p:txBody>
          <a:bodyPr/>
          <a:lstStyle/>
          <a:p>
            <a:pPr marL="7938" algn="ctr" fontAlgn="base">
              <a:spcAft>
                <a:spcPct val="0"/>
              </a:spcAft>
              <a:buClr>
                <a:srgbClr val="505150"/>
              </a:buClr>
              <a:buSzPct val="88000"/>
            </a:pPr>
            <a:fld id="{B90C96D8-0395-4AF3-8A78-0E88AEC6FB3C}" type="slidenum">
              <a:rPr lang="es-ES" smtClean="0"/>
              <a:pPr marL="7938" algn="ctr" fontAlgn="base">
                <a:spcAft>
                  <a:spcPct val="0"/>
                </a:spcAft>
                <a:buClr>
                  <a:srgbClr val="505150"/>
                </a:buClr>
                <a:buSzPct val="88000"/>
              </a:pPr>
              <a:t>‹Nº›</a:t>
            </a:fld>
            <a:endParaRPr lang="es-ES"/>
          </a:p>
        </p:txBody>
      </p:sp>
      <p:sp>
        <p:nvSpPr>
          <p:cNvPr id="10" name="Shape 3779"/>
          <p:cNvSpPr/>
          <p:nvPr userDrawn="1"/>
        </p:nvSpPr>
        <p:spPr>
          <a:xfrm>
            <a:off x="438721" y="430245"/>
            <a:ext cx="456561" cy="371010"/>
          </a:xfrm>
          <a:custGeom>
            <a:avLst/>
            <a:gdLst/>
            <a:ahLst/>
            <a:cxnLst>
              <a:cxn ang="0">
                <a:pos x="wd2" y="hd2"/>
              </a:cxn>
              <a:cxn ang="5400000">
                <a:pos x="wd2" y="hd2"/>
              </a:cxn>
              <a:cxn ang="10800000">
                <a:pos x="wd2" y="hd2"/>
              </a:cxn>
              <a:cxn ang="16200000">
                <a:pos x="wd2" y="hd2"/>
              </a:cxn>
            </a:cxnLst>
            <a:rect l="0" t="0" r="r" b="b"/>
            <a:pathLst>
              <a:path w="21530" h="21600" extrusionOk="0">
                <a:moveTo>
                  <a:pt x="6365" y="15409"/>
                </a:moveTo>
                <a:cubicBezTo>
                  <a:pt x="5782" y="14888"/>
                  <a:pt x="4858" y="14006"/>
                  <a:pt x="3935" y="12896"/>
                </a:cubicBezTo>
                <a:cubicBezTo>
                  <a:pt x="2587" y="11273"/>
                  <a:pt x="979" y="8836"/>
                  <a:pt x="979" y="6431"/>
                </a:cubicBezTo>
                <a:cubicBezTo>
                  <a:pt x="979" y="3427"/>
                  <a:pt x="3396" y="982"/>
                  <a:pt x="6366" y="982"/>
                </a:cubicBezTo>
                <a:cubicBezTo>
                  <a:pt x="9336" y="982"/>
                  <a:pt x="11752" y="3427"/>
                  <a:pt x="11752" y="6431"/>
                </a:cubicBezTo>
                <a:cubicBezTo>
                  <a:pt x="11752" y="10209"/>
                  <a:pt x="7888" y="14044"/>
                  <a:pt x="6365" y="15409"/>
                </a:cubicBezTo>
                <a:moveTo>
                  <a:pt x="6366" y="0"/>
                </a:moveTo>
                <a:cubicBezTo>
                  <a:pt x="2850" y="0"/>
                  <a:pt x="0" y="2879"/>
                  <a:pt x="0" y="6431"/>
                </a:cubicBezTo>
                <a:cubicBezTo>
                  <a:pt x="0" y="11655"/>
                  <a:pt x="6366" y="16701"/>
                  <a:pt x="6366" y="16701"/>
                </a:cubicBezTo>
                <a:cubicBezTo>
                  <a:pt x="6366" y="16701"/>
                  <a:pt x="12732" y="11655"/>
                  <a:pt x="12732" y="6431"/>
                </a:cubicBezTo>
                <a:cubicBezTo>
                  <a:pt x="12732" y="2879"/>
                  <a:pt x="9882" y="0"/>
                  <a:pt x="6366" y="0"/>
                </a:cubicBezTo>
                <a:moveTo>
                  <a:pt x="17357" y="19604"/>
                </a:moveTo>
                <a:cubicBezTo>
                  <a:pt x="17127" y="19764"/>
                  <a:pt x="16856" y="19909"/>
                  <a:pt x="16554" y="20033"/>
                </a:cubicBezTo>
                <a:cubicBezTo>
                  <a:pt x="16303" y="20137"/>
                  <a:pt x="16184" y="20424"/>
                  <a:pt x="16287" y="20675"/>
                </a:cubicBezTo>
                <a:cubicBezTo>
                  <a:pt x="16365" y="20865"/>
                  <a:pt x="16548" y="20979"/>
                  <a:pt x="16740" y="20979"/>
                </a:cubicBezTo>
                <a:cubicBezTo>
                  <a:pt x="16802" y="20979"/>
                  <a:pt x="16866" y="20968"/>
                  <a:pt x="16926" y="20943"/>
                </a:cubicBezTo>
                <a:cubicBezTo>
                  <a:pt x="17294" y="20790"/>
                  <a:pt x="17627" y="20611"/>
                  <a:pt x="17915" y="20411"/>
                </a:cubicBezTo>
                <a:cubicBezTo>
                  <a:pt x="18137" y="20256"/>
                  <a:pt x="18192" y="19950"/>
                  <a:pt x="18039" y="19727"/>
                </a:cubicBezTo>
                <a:cubicBezTo>
                  <a:pt x="17884" y="19505"/>
                  <a:pt x="17578" y="19449"/>
                  <a:pt x="17357" y="19604"/>
                </a:cubicBezTo>
                <a:moveTo>
                  <a:pt x="16249" y="13042"/>
                </a:moveTo>
                <a:cubicBezTo>
                  <a:pt x="16108" y="12790"/>
                  <a:pt x="16023" y="12529"/>
                  <a:pt x="15995" y="12265"/>
                </a:cubicBezTo>
                <a:cubicBezTo>
                  <a:pt x="15966" y="11996"/>
                  <a:pt x="15731" y="11801"/>
                  <a:pt x="15456" y="11830"/>
                </a:cubicBezTo>
                <a:cubicBezTo>
                  <a:pt x="15187" y="11859"/>
                  <a:pt x="14992" y="12100"/>
                  <a:pt x="15021" y="12371"/>
                </a:cubicBezTo>
                <a:cubicBezTo>
                  <a:pt x="15064" y="12767"/>
                  <a:pt x="15189" y="13155"/>
                  <a:pt x="15395" y="13522"/>
                </a:cubicBezTo>
                <a:cubicBezTo>
                  <a:pt x="15484" y="13682"/>
                  <a:pt x="15651" y="13774"/>
                  <a:pt x="15822" y="13774"/>
                </a:cubicBezTo>
                <a:cubicBezTo>
                  <a:pt x="15904" y="13774"/>
                  <a:pt x="15985" y="13753"/>
                  <a:pt x="16061" y="13710"/>
                </a:cubicBezTo>
                <a:cubicBezTo>
                  <a:pt x="16297" y="13578"/>
                  <a:pt x="16381" y="13279"/>
                  <a:pt x="16249" y="13042"/>
                </a:cubicBezTo>
                <a:moveTo>
                  <a:pt x="18249" y="15254"/>
                </a:moveTo>
                <a:cubicBezTo>
                  <a:pt x="18041" y="14981"/>
                  <a:pt x="17802" y="14708"/>
                  <a:pt x="17538" y="14439"/>
                </a:cubicBezTo>
                <a:cubicBezTo>
                  <a:pt x="17349" y="14246"/>
                  <a:pt x="17038" y="14244"/>
                  <a:pt x="16845" y="14434"/>
                </a:cubicBezTo>
                <a:cubicBezTo>
                  <a:pt x="16653" y="14624"/>
                  <a:pt x="16651" y="14935"/>
                  <a:pt x="16841" y="15129"/>
                </a:cubicBezTo>
                <a:cubicBezTo>
                  <a:pt x="17076" y="15368"/>
                  <a:pt x="17289" y="15612"/>
                  <a:pt x="17471" y="15851"/>
                </a:cubicBezTo>
                <a:cubicBezTo>
                  <a:pt x="17567" y="15977"/>
                  <a:pt x="17713" y="16043"/>
                  <a:pt x="17860" y="16043"/>
                </a:cubicBezTo>
                <a:cubicBezTo>
                  <a:pt x="17964" y="16043"/>
                  <a:pt x="18068" y="16011"/>
                  <a:pt x="18157" y="15943"/>
                </a:cubicBezTo>
                <a:cubicBezTo>
                  <a:pt x="18372" y="15777"/>
                  <a:pt x="18413" y="15469"/>
                  <a:pt x="18249" y="15254"/>
                </a:cubicBezTo>
                <a:moveTo>
                  <a:pt x="21476" y="5929"/>
                </a:moveTo>
                <a:cubicBezTo>
                  <a:pt x="21352" y="5687"/>
                  <a:pt x="21056" y="5592"/>
                  <a:pt x="20817" y="5717"/>
                </a:cubicBezTo>
                <a:cubicBezTo>
                  <a:pt x="20817" y="5717"/>
                  <a:pt x="20649" y="5803"/>
                  <a:pt x="20371" y="5962"/>
                </a:cubicBezTo>
                <a:cubicBezTo>
                  <a:pt x="20136" y="6097"/>
                  <a:pt x="20054" y="6396"/>
                  <a:pt x="20188" y="6632"/>
                </a:cubicBezTo>
                <a:cubicBezTo>
                  <a:pt x="20278" y="6791"/>
                  <a:pt x="20444" y="6880"/>
                  <a:pt x="20614" y="6880"/>
                </a:cubicBezTo>
                <a:cubicBezTo>
                  <a:pt x="20696" y="6880"/>
                  <a:pt x="20779" y="6859"/>
                  <a:pt x="20856" y="6815"/>
                </a:cubicBezTo>
                <a:cubicBezTo>
                  <a:pt x="21107" y="6672"/>
                  <a:pt x="21260" y="6593"/>
                  <a:pt x="21265" y="6590"/>
                </a:cubicBezTo>
                <a:cubicBezTo>
                  <a:pt x="21505" y="6466"/>
                  <a:pt x="21600" y="6170"/>
                  <a:pt x="21476" y="5929"/>
                </a:cubicBezTo>
                <a:moveTo>
                  <a:pt x="18659" y="16886"/>
                </a:moveTo>
                <a:cubicBezTo>
                  <a:pt x="18395" y="16941"/>
                  <a:pt x="18224" y="17201"/>
                  <a:pt x="18279" y="17467"/>
                </a:cubicBezTo>
                <a:cubicBezTo>
                  <a:pt x="18312" y="17625"/>
                  <a:pt x="18329" y="17782"/>
                  <a:pt x="18329" y="17929"/>
                </a:cubicBezTo>
                <a:cubicBezTo>
                  <a:pt x="18329" y="18050"/>
                  <a:pt x="18318" y="18171"/>
                  <a:pt x="18296" y="18287"/>
                </a:cubicBezTo>
                <a:cubicBezTo>
                  <a:pt x="18244" y="18554"/>
                  <a:pt x="18417" y="18811"/>
                  <a:pt x="18683" y="18862"/>
                </a:cubicBezTo>
                <a:cubicBezTo>
                  <a:pt x="18715" y="18869"/>
                  <a:pt x="18746" y="18872"/>
                  <a:pt x="18777" y="18872"/>
                </a:cubicBezTo>
                <a:cubicBezTo>
                  <a:pt x="19007" y="18872"/>
                  <a:pt x="19212" y="18708"/>
                  <a:pt x="19257" y="18473"/>
                </a:cubicBezTo>
                <a:cubicBezTo>
                  <a:pt x="19291" y="18296"/>
                  <a:pt x="19308" y="18114"/>
                  <a:pt x="19308" y="17929"/>
                </a:cubicBezTo>
                <a:cubicBezTo>
                  <a:pt x="19308" y="17715"/>
                  <a:pt x="19285" y="17492"/>
                  <a:pt x="19239" y="17268"/>
                </a:cubicBezTo>
                <a:cubicBezTo>
                  <a:pt x="19183" y="17001"/>
                  <a:pt x="18922" y="16832"/>
                  <a:pt x="18659" y="16886"/>
                </a:cubicBezTo>
                <a:moveTo>
                  <a:pt x="18590" y="7107"/>
                </a:moveTo>
                <a:cubicBezTo>
                  <a:pt x="18317" y="7304"/>
                  <a:pt x="18035" y="7518"/>
                  <a:pt x="17756" y="7745"/>
                </a:cubicBezTo>
                <a:cubicBezTo>
                  <a:pt x="17546" y="7917"/>
                  <a:pt x="17515" y="8227"/>
                  <a:pt x="17685" y="8437"/>
                </a:cubicBezTo>
                <a:cubicBezTo>
                  <a:pt x="17783" y="8556"/>
                  <a:pt x="17924" y="8617"/>
                  <a:pt x="18066" y="8617"/>
                </a:cubicBezTo>
                <a:cubicBezTo>
                  <a:pt x="18174" y="8617"/>
                  <a:pt x="18284" y="8581"/>
                  <a:pt x="18374" y="8507"/>
                </a:cubicBezTo>
                <a:cubicBezTo>
                  <a:pt x="18637" y="8292"/>
                  <a:pt x="18903" y="8090"/>
                  <a:pt x="19161" y="7905"/>
                </a:cubicBezTo>
                <a:cubicBezTo>
                  <a:pt x="19380" y="7747"/>
                  <a:pt x="19431" y="7440"/>
                  <a:pt x="19273" y="7220"/>
                </a:cubicBezTo>
                <a:cubicBezTo>
                  <a:pt x="19116" y="6999"/>
                  <a:pt x="18810" y="6949"/>
                  <a:pt x="18590" y="7107"/>
                </a:cubicBezTo>
                <a:moveTo>
                  <a:pt x="14704" y="20512"/>
                </a:moveTo>
                <a:cubicBezTo>
                  <a:pt x="14393" y="20556"/>
                  <a:pt x="14064" y="20590"/>
                  <a:pt x="13729" y="20612"/>
                </a:cubicBezTo>
                <a:cubicBezTo>
                  <a:pt x="13459" y="20629"/>
                  <a:pt x="13254" y="20863"/>
                  <a:pt x="13272" y="21134"/>
                </a:cubicBezTo>
                <a:cubicBezTo>
                  <a:pt x="13289" y="21394"/>
                  <a:pt x="13504" y="21593"/>
                  <a:pt x="13760" y="21593"/>
                </a:cubicBezTo>
                <a:cubicBezTo>
                  <a:pt x="13770" y="21593"/>
                  <a:pt x="13781" y="21592"/>
                  <a:pt x="13792" y="21592"/>
                </a:cubicBezTo>
                <a:cubicBezTo>
                  <a:pt x="14152" y="21568"/>
                  <a:pt x="14506" y="21533"/>
                  <a:pt x="14842" y="21485"/>
                </a:cubicBezTo>
                <a:cubicBezTo>
                  <a:pt x="15110" y="21447"/>
                  <a:pt x="15295" y="21198"/>
                  <a:pt x="15258" y="20929"/>
                </a:cubicBezTo>
                <a:cubicBezTo>
                  <a:pt x="15220" y="20661"/>
                  <a:pt x="14973" y="20472"/>
                  <a:pt x="14704" y="20512"/>
                </a:cubicBezTo>
                <a:moveTo>
                  <a:pt x="8893" y="20109"/>
                </a:moveTo>
                <a:cubicBezTo>
                  <a:pt x="8581" y="19998"/>
                  <a:pt x="8298" y="19866"/>
                  <a:pt x="8052" y="19722"/>
                </a:cubicBezTo>
                <a:cubicBezTo>
                  <a:pt x="7818" y="19582"/>
                  <a:pt x="7519" y="19663"/>
                  <a:pt x="7382" y="19896"/>
                </a:cubicBezTo>
                <a:cubicBezTo>
                  <a:pt x="7244" y="20130"/>
                  <a:pt x="7323" y="20432"/>
                  <a:pt x="7556" y="20569"/>
                </a:cubicBezTo>
                <a:cubicBezTo>
                  <a:pt x="7855" y="20744"/>
                  <a:pt x="8194" y="20901"/>
                  <a:pt x="8562" y="21034"/>
                </a:cubicBezTo>
                <a:cubicBezTo>
                  <a:pt x="8617" y="21053"/>
                  <a:pt x="8672" y="21063"/>
                  <a:pt x="8728" y="21063"/>
                </a:cubicBezTo>
                <a:cubicBezTo>
                  <a:pt x="8929" y="21063"/>
                  <a:pt x="9116" y="20938"/>
                  <a:pt x="9189" y="20738"/>
                </a:cubicBezTo>
                <a:cubicBezTo>
                  <a:pt x="9280" y="20482"/>
                  <a:pt x="9148" y="20200"/>
                  <a:pt x="8893" y="20109"/>
                </a:cubicBezTo>
                <a:moveTo>
                  <a:pt x="11750" y="20618"/>
                </a:moveTo>
                <a:cubicBezTo>
                  <a:pt x="11411" y="20600"/>
                  <a:pt x="11082" y="20572"/>
                  <a:pt x="10771" y="20533"/>
                </a:cubicBezTo>
                <a:cubicBezTo>
                  <a:pt x="10502" y="20493"/>
                  <a:pt x="10258" y="20690"/>
                  <a:pt x="10224" y="20959"/>
                </a:cubicBezTo>
                <a:cubicBezTo>
                  <a:pt x="10191" y="21229"/>
                  <a:pt x="10382" y="21474"/>
                  <a:pt x="10650" y="21508"/>
                </a:cubicBezTo>
                <a:cubicBezTo>
                  <a:pt x="10984" y="21549"/>
                  <a:pt x="11337" y="21581"/>
                  <a:pt x="11699" y="21600"/>
                </a:cubicBezTo>
                <a:cubicBezTo>
                  <a:pt x="11708" y="21600"/>
                  <a:pt x="11716" y="21600"/>
                  <a:pt x="11725" y="21600"/>
                </a:cubicBezTo>
                <a:cubicBezTo>
                  <a:pt x="11983" y="21600"/>
                  <a:pt x="12200" y="21397"/>
                  <a:pt x="12214" y="21135"/>
                </a:cubicBezTo>
                <a:cubicBezTo>
                  <a:pt x="12228" y="20863"/>
                  <a:pt x="12021" y="20632"/>
                  <a:pt x="11750" y="20618"/>
                </a:cubicBezTo>
                <a:moveTo>
                  <a:pt x="6840" y="18180"/>
                </a:moveTo>
                <a:cubicBezTo>
                  <a:pt x="6836" y="17912"/>
                  <a:pt x="6619" y="17696"/>
                  <a:pt x="6351" y="17696"/>
                </a:cubicBezTo>
                <a:cubicBezTo>
                  <a:pt x="6080" y="17696"/>
                  <a:pt x="5861" y="17916"/>
                  <a:pt x="5861" y="18188"/>
                </a:cubicBezTo>
                <a:cubicBezTo>
                  <a:pt x="5861" y="18235"/>
                  <a:pt x="5867" y="18484"/>
                  <a:pt x="5997" y="18834"/>
                </a:cubicBezTo>
                <a:cubicBezTo>
                  <a:pt x="6070" y="19033"/>
                  <a:pt x="6256" y="19156"/>
                  <a:pt x="6456" y="19156"/>
                </a:cubicBezTo>
                <a:cubicBezTo>
                  <a:pt x="6512" y="19156"/>
                  <a:pt x="6570" y="19145"/>
                  <a:pt x="6626" y="19124"/>
                </a:cubicBezTo>
                <a:cubicBezTo>
                  <a:pt x="6879" y="19030"/>
                  <a:pt x="7009" y="18748"/>
                  <a:pt x="6915" y="18493"/>
                </a:cubicBezTo>
                <a:cubicBezTo>
                  <a:pt x="6848" y="18314"/>
                  <a:pt x="6841" y="18191"/>
                  <a:pt x="6840" y="18180"/>
                </a:cubicBezTo>
                <a:moveTo>
                  <a:pt x="15760" y="10798"/>
                </a:moveTo>
                <a:cubicBezTo>
                  <a:pt x="15838" y="10844"/>
                  <a:pt x="15924" y="10866"/>
                  <a:pt x="16008" y="10866"/>
                </a:cubicBezTo>
                <a:cubicBezTo>
                  <a:pt x="16176" y="10866"/>
                  <a:pt x="16339" y="10780"/>
                  <a:pt x="16431" y="10625"/>
                </a:cubicBezTo>
                <a:cubicBezTo>
                  <a:pt x="16577" y="10376"/>
                  <a:pt x="16761" y="10120"/>
                  <a:pt x="16977" y="9861"/>
                </a:cubicBezTo>
                <a:cubicBezTo>
                  <a:pt x="17151" y="9653"/>
                  <a:pt x="17124" y="9343"/>
                  <a:pt x="16916" y="9169"/>
                </a:cubicBezTo>
                <a:cubicBezTo>
                  <a:pt x="16709" y="8994"/>
                  <a:pt x="16400" y="9022"/>
                  <a:pt x="16227" y="9230"/>
                </a:cubicBezTo>
                <a:cubicBezTo>
                  <a:pt x="15976" y="9529"/>
                  <a:pt x="15760" y="9832"/>
                  <a:pt x="15587" y="10125"/>
                </a:cubicBezTo>
                <a:cubicBezTo>
                  <a:pt x="15450" y="10359"/>
                  <a:pt x="15527" y="10659"/>
                  <a:pt x="15760" y="10798"/>
                </a:cubicBezTo>
                <a:moveTo>
                  <a:pt x="6366" y="8841"/>
                </a:moveTo>
                <a:cubicBezTo>
                  <a:pt x="5014" y="8841"/>
                  <a:pt x="3917" y="7741"/>
                  <a:pt x="3917" y="6385"/>
                </a:cubicBezTo>
                <a:cubicBezTo>
                  <a:pt x="3917" y="5027"/>
                  <a:pt x="5014" y="3927"/>
                  <a:pt x="6366" y="3927"/>
                </a:cubicBezTo>
                <a:cubicBezTo>
                  <a:pt x="7719" y="3927"/>
                  <a:pt x="8814" y="5027"/>
                  <a:pt x="8814" y="6385"/>
                </a:cubicBezTo>
                <a:cubicBezTo>
                  <a:pt x="8814" y="7741"/>
                  <a:pt x="7719" y="8841"/>
                  <a:pt x="6366" y="8841"/>
                </a:cubicBezTo>
                <a:moveTo>
                  <a:pt x="6366" y="2955"/>
                </a:moveTo>
                <a:cubicBezTo>
                  <a:pt x="4473" y="2955"/>
                  <a:pt x="2938" y="4494"/>
                  <a:pt x="2938" y="6392"/>
                </a:cubicBezTo>
                <a:cubicBezTo>
                  <a:pt x="2938" y="8291"/>
                  <a:pt x="4473" y="9831"/>
                  <a:pt x="6366" y="9831"/>
                </a:cubicBezTo>
                <a:cubicBezTo>
                  <a:pt x="8259" y="9831"/>
                  <a:pt x="9794" y="8291"/>
                  <a:pt x="9794" y="6392"/>
                </a:cubicBezTo>
                <a:cubicBezTo>
                  <a:pt x="9794" y="4494"/>
                  <a:pt x="8259" y="2955"/>
                  <a:pt x="6366" y="2955"/>
                </a:cubicBezTo>
              </a:path>
            </a:pathLst>
          </a:custGeom>
          <a:solidFill>
            <a:schemeClr val="tx1"/>
          </a:solidFill>
          <a:ln w="12700">
            <a:miter lim="400000"/>
          </a:ln>
        </p:spPr>
        <p:txBody>
          <a:bodyPr lIns="38100" tIns="38100" rIns="38100" bIns="38100" anchor="ctr"/>
          <a:lstStyle/>
          <a:p>
            <a:endParaRPr sz="1800">
              <a:solidFill>
                <a:prstClr val="black"/>
              </a:solidFill>
            </a:endParaRPr>
          </a:p>
        </p:txBody>
      </p:sp>
    </p:spTree>
    <p:extLst>
      <p:ext uri="{BB962C8B-B14F-4D97-AF65-F5344CB8AC3E}">
        <p14:creationId xmlns:p14="http://schemas.microsoft.com/office/powerpoint/2010/main" val="420224954"/>
      </p:ext>
    </p:extLst>
  </p:cSld>
  <p:clrMapOvr>
    <a:masterClrMapping/>
  </p:clrMapOvr>
  <p:transition spd="slow"/>
</p:sldLayout>
</file>

<file path=ppt/slideLayouts/slideLayout150.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4246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spTree>
      <p:nvGrpSpPr>
        <p:cNvPr id="1" name=""/>
        <p:cNvGrpSpPr/>
        <p:nvPr/>
      </p:nvGrpSpPr>
      <p:grpSpPr>
        <a:xfrm>
          <a:off x="0" y="0"/>
          <a:ext cx="0" cy="0"/>
          <a:chOff x="0" y="0"/>
          <a:chExt cx="0" cy="0"/>
        </a:xfrm>
      </p:grpSpPr>
      <p:pic>
        <p:nvPicPr>
          <p:cNvPr id="1337246954" name="SAP Logo Placeholder" descr="{&quot;templafy&quot;:{&quot;id&quot;:&quot;4710aed8-854d-4843-a773-106b253f449d&quot;}}"/>
          <p:cNvPicPr>
            <a:picLocks noChangeAspect="1"/>
          </p:cNvPicPr>
          <p:nvPr/>
        </p:nvPicPr>
        <p:blipFill>
          <a:blip r:embed="rId2"/>
          <a:stretch>
            <a:fillRect/>
          </a:stretch>
        </p:blipFill>
        <p:spPr>
          <a:xfrm>
            <a:off x="9690116" y="6053329"/>
            <a:ext cx="2212276" cy="536449"/>
          </a:xfrm>
          <a:prstGeom prst="rect">
            <a:avLst/>
          </a:prstGeom>
        </p:spPr>
      </p:pic>
      <p:sp>
        <p:nvSpPr>
          <p:cNvPr id="12" name="Partner Logo Placeholder">
            <a:extLst>
              <a:ext uri="{FF2B5EF4-FFF2-40B4-BE49-F238E27FC236}">
                <a16:creationId xmlns:a16="http://schemas.microsoft.com/office/drawing/2014/main" id="{37451236-BF8E-934B-B7DE-1ADB8A004F3F}"/>
              </a:ext>
            </a:extLst>
          </p:cNvPr>
          <p:cNvSpPr>
            <a:spLocks noGrp="1"/>
          </p:cNvSpPr>
          <p:nvPr>
            <p:ph type="pic" sz="quarter" idx="15" hasCustomPrompt="1"/>
          </p:nvPr>
        </p:nvSpPr>
        <p:spPr>
          <a:xfrm>
            <a:off x="282501" y="6161088"/>
            <a:ext cx="953840"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3" name="Title"/>
          <p:cNvSpPr>
            <a:spLocks noGrp="1"/>
          </p:cNvSpPr>
          <p:nvPr>
            <p:ph type="title" hasCustomPrompt="1"/>
          </p:nvPr>
        </p:nvSpPr>
        <p:spPr>
          <a:xfrm>
            <a:off x="287925" y="4024430"/>
            <a:ext cx="10896336" cy="997196"/>
          </a:xfrm>
        </p:spPr>
        <p:txBody>
          <a:bodyPr vert="horz" wrap="square" lIns="0" tIns="0" rIns="0" bIns="0" rtlCol="0">
            <a:noAutofit/>
          </a:bodyPr>
          <a:lstStyle>
            <a:lvl1pPr>
              <a:lnSpc>
                <a:spcPct val="90000"/>
              </a:lnSpc>
              <a:defRPr lang="de-DE" sz="3599" b="1" i="0" dirty="0">
                <a:latin typeface="Arial" panose="020B0604020202020204" pitchFamily="34" charset="0"/>
                <a:ea typeface="+mn-ea"/>
                <a:cs typeface="72" panose="020B0503030000000003" pitchFamily="34" charset="0"/>
              </a:defRPr>
            </a:lvl1pPr>
          </a:lstStyle>
          <a:p>
            <a:pPr lvl="0"/>
            <a:r>
              <a:rPr lang="en-US"/>
              <a:t>Title Goes Here</a:t>
            </a:r>
            <a:br>
              <a:rPr lang="en-US"/>
            </a:br>
            <a:r>
              <a:rPr lang="en-US"/>
              <a:t>and Here and Here</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p:nvPr>
        </p:nvSpPr>
        <p:spPr>
          <a:xfrm>
            <a:off x="0" y="-1"/>
            <a:ext cx="12192000" cy="3430800"/>
          </a:xfrm>
        </p:spPr>
        <p:txBody>
          <a:bodyPr/>
          <a:lstStyle/>
          <a:p>
            <a:endParaRPr lang="en-GB"/>
          </a:p>
        </p:txBody>
      </p:sp>
      <p:sp>
        <p:nvSpPr>
          <p:cNvPr id="10" name="TextBox 9" descr="{&quot;templafy&quot;:{&quot;id&quot;:&quot;951f164f-6d90-47ae-ac92-117d8190a17b&quot;}}">
            <a:extLst>
              <a:ext uri="{FF2B5EF4-FFF2-40B4-BE49-F238E27FC236}">
                <a16:creationId xmlns:a16="http://schemas.microsoft.com/office/drawing/2014/main" id="{798F9B08-2B9F-444B-8020-ACD960A0FAE7}"/>
              </a:ext>
            </a:extLst>
          </p:cNvPr>
          <p:cNvSpPr txBox="1"/>
          <p:nvPr userDrawn="1"/>
        </p:nvSpPr>
        <p:spPr>
          <a:xfrm>
            <a:off x="282501" y="5725533"/>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latin typeface="Arial" panose="020B0604020202020204" pitchFamily="34" charset="0"/>
                <a:ea typeface="Arial Unicode MS" pitchFamily="34" charset="-128"/>
                <a:cs typeface="Arial Unicode MS" pitchFamily="34" charset="-128"/>
              </a:rPr>
              <a:t>Public</a:t>
            </a:r>
          </a:p>
        </p:txBody>
      </p:sp>
      <p:pic>
        <p:nvPicPr>
          <p:cNvPr id="723039377" name="Acquired Company Logo Placeholder" descr="{&quot;templafy&quot;:{&quot;id&quot;:&quot;081c24c2-2671-4534-a997-d6518be39762&quot;}}"/>
          <p:cNvPicPr>
            <a:picLocks noChangeAspect="1"/>
          </p:cNvPicPr>
          <p:nvPr/>
        </p:nvPicPr>
        <p:blipFill>
          <a:blip r:embed="rId3"/>
          <a:stretch>
            <a:fillRect/>
          </a:stretch>
        </p:blipFill>
        <p:spPr>
          <a:xfrm>
            <a:off x="282502" y="3590142"/>
            <a:ext cx="1804102" cy="219475"/>
          </a:xfrm>
          <a:prstGeom prst="rect">
            <a:avLst/>
          </a:prstGeom>
        </p:spPr>
      </p:pic>
    </p:spTree>
    <p:extLst>
      <p:ext uri="{BB962C8B-B14F-4D97-AF65-F5344CB8AC3E}">
        <p14:creationId xmlns:p14="http://schemas.microsoft.com/office/powerpoint/2010/main" val="424382664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Blue cover without anvil">
    <p:bg>
      <p:bgPr>
        <a:solidFill>
          <a:srgbClr val="DAF2FF"/>
        </a:solidFill>
        <a:effectLst/>
      </p:bgPr>
    </p:bg>
    <p:spTree>
      <p:nvGrpSpPr>
        <p:cNvPr id="1" name=""/>
        <p:cNvGrpSpPr/>
        <p:nvPr/>
      </p:nvGrpSpPr>
      <p:grpSpPr>
        <a:xfrm>
          <a:off x="0" y="0"/>
          <a:ext cx="0" cy="0"/>
          <a:chOff x="0" y="0"/>
          <a:chExt cx="0" cy="0"/>
        </a:xfrm>
      </p:grpSpPr>
      <p:pic>
        <p:nvPicPr>
          <p:cNvPr id="3" name="Image 2" descr="preencoded.png">
            <a:extLst>
              <a:ext uri="{FF2B5EF4-FFF2-40B4-BE49-F238E27FC236}">
                <a16:creationId xmlns:a16="http://schemas.microsoft.com/office/drawing/2014/main" id="{26A9AB58-5C92-F95E-0D83-14F832C10E7C}"/>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289270" y="1275474"/>
            <a:ext cx="8849612" cy="4363327"/>
          </a:xfrm>
          <a:prstGeom prst="rect">
            <a:avLst/>
          </a:prstGeom>
        </p:spPr>
      </p:pic>
      <p:pic>
        <p:nvPicPr>
          <p:cNvPr id="1635398939" name="SAP Logo Placeholder" descr="{&quot;templafy&quot;:{&quot;id&quot;:&quot;58f89819-4054-47eb-9172-ec3f593e7f3f&quot;}}"/>
          <p:cNvPicPr>
            <a:picLocks noChangeAspect="1"/>
          </p:cNvPicPr>
          <p:nvPr/>
        </p:nvPicPr>
        <p:blipFill>
          <a:blip r:embed="rId4"/>
          <a:stretch>
            <a:fillRect/>
          </a:stretch>
        </p:blipFill>
        <p:spPr>
          <a:xfrm>
            <a:off x="9690116" y="6053329"/>
            <a:ext cx="2212276" cy="536449"/>
          </a:xfrm>
          <a:prstGeom prst="rect">
            <a:avLst/>
          </a:prstGeom>
        </p:spPr>
      </p:pic>
      <p:sp>
        <p:nvSpPr>
          <p:cNvPr id="4" name="Title"/>
          <p:cNvSpPr>
            <a:spLocks noGrp="1"/>
          </p:cNvSpPr>
          <p:nvPr>
            <p:ph type="title" hasCustomPrompt="1"/>
          </p:nvPr>
        </p:nvSpPr>
        <p:spPr>
          <a:xfrm>
            <a:off x="287925" y="2706317"/>
            <a:ext cx="10897962" cy="997196"/>
          </a:xfrm>
        </p:spPr>
        <p:txBody>
          <a:bodyPr>
            <a:noAutofit/>
          </a:bodyPr>
          <a:lstStyle>
            <a:lvl1pPr>
              <a:lnSpc>
                <a:spcPct val="90000"/>
              </a:lnSpc>
              <a:defRPr sz="3599" b="1" i="0">
                <a:latin typeface="Arial" panose="020B0604020202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2116068370" name="Acquired Company Logo Placeholder" descr="{&quot;templafy&quot;:{&quot;id&quot;:&quot;6f9190f9-cd6a-483b-87b2-90fa1ac4028c&quot;}}"/>
          <p:cNvPicPr>
            <a:picLocks noChangeAspect="1"/>
          </p:cNvPicPr>
          <p:nvPr/>
        </p:nvPicPr>
        <p:blipFill>
          <a:blip r:embed="rId5"/>
          <a:stretch>
            <a:fillRect/>
          </a:stretch>
        </p:blipFill>
        <p:spPr>
          <a:xfrm>
            <a:off x="282502" y="2141328"/>
            <a:ext cx="1804102" cy="219475"/>
          </a:xfrm>
          <a:prstGeom prst="rect">
            <a:avLst/>
          </a:prstGeom>
        </p:spPr>
      </p:pic>
      <p:sp>
        <p:nvSpPr>
          <p:cNvPr id="11" name="TextBox 10" descr="{&quot;templafy&quot;:{&quot;id&quot;:&quot;4b6de2ed-f32b-48b3-b8ba-dbbec53f3a3b&quot;}}">
            <a:extLst>
              <a:ext uri="{FF2B5EF4-FFF2-40B4-BE49-F238E27FC236}">
                <a16:creationId xmlns:a16="http://schemas.microsoft.com/office/drawing/2014/main" id="{AC53B201-90B9-4E7D-A16A-96A3B827889D}"/>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latin typeface="Arial" panose="020B0604020202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60465208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Pink cover with anvil">
    <p:bg>
      <p:bgPr>
        <a:solidFill>
          <a:srgbClr val="510080"/>
        </a:solidFill>
        <a:effectLst/>
      </p:bgPr>
    </p:bg>
    <p:spTree>
      <p:nvGrpSpPr>
        <p:cNvPr id="1" name=""/>
        <p:cNvGrpSpPr/>
        <p:nvPr/>
      </p:nvGrpSpPr>
      <p:grpSpPr>
        <a:xfrm>
          <a:off x="0" y="0"/>
          <a:ext cx="0" cy="0"/>
          <a:chOff x="0" y="0"/>
          <a:chExt cx="0" cy="0"/>
        </a:xfrm>
      </p:grpSpPr>
      <p:pic>
        <p:nvPicPr>
          <p:cNvPr id="3" name="Image 2" descr="preencoded.png">
            <a:extLst>
              <a:ext uri="{FF2B5EF4-FFF2-40B4-BE49-F238E27FC236}">
                <a16:creationId xmlns:a16="http://schemas.microsoft.com/office/drawing/2014/main" id="{26A9AB58-5C92-F95E-0D83-14F832C10E7C}"/>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289270" y="1275474"/>
            <a:ext cx="8849612" cy="4363327"/>
          </a:xfrm>
          <a:prstGeom prst="rect">
            <a:avLst/>
          </a:prstGeom>
        </p:spPr>
      </p:pic>
      <p:sp>
        <p:nvSpPr>
          <p:cNvPr id="4" name="Title"/>
          <p:cNvSpPr>
            <a:spLocks noGrp="1"/>
          </p:cNvSpPr>
          <p:nvPr>
            <p:ph type="title" hasCustomPrompt="1"/>
          </p:nvPr>
        </p:nvSpPr>
        <p:spPr>
          <a:xfrm>
            <a:off x="287925" y="2706317"/>
            <a:ext cx="10897962" cy="997196"/>
          </a:xfrm>
        </p:spPr>
        <p:txBody>
          <a:bodyPr>
            <a:noAutofit/>
          </a:bodyPr>
          <a:lstStyle>
            <a:lvl1pPr>
              <a:lnSpc>
                <a:spcPct val="90000"/>
              </a:lnSpc>
              <a:defRPr sz="3599" b="1" i="0">
                <a:solidFill>
                  <a:schemeClr val="bg1"/>
                </a:solidFill>
                <a:latin typeface="Arial" panose="020B0604020202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sp>
        <p:nvSpPr>
          <p:cNvPr id="11" name="TextBox 10" descr="{&quot;templafy&quot;:{&quot;id&quot;:&quot;79aafd0f-5655-4944-b2c0-3839fae66405&quot;}}">
            <a:extLst>
              <a:ext uri="{FF2B5EF4-FFF2-40B4-BE49-F238E27FC236}">
                <a16:creationId xmlns:a16="http://schemas.microsoft.com/office/drawing/2014/main" id="{AC53B201-90B9-4E7D-A16A-96A3B827889D}"/>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Arial" panose="020B0604020202020204" pitchFamily="34" charset="0"/>
                <a:ea typeface="Arial Unicode MS" pitchFamily="34" charset="-128"/>
                <a:cs typeface="Arial Unicode MS" pitchFamily="34" charset="-128"/>
              </a:rPr>
              <a:t>Public</a:t>
            </a:r>
          </a:p>
        </p:txBody>
      </p:sp>
      <p:pic>
        <p:nvPicPr>
          <p:cNvPr id="1751415251" name="SAP Logo Placeholder" descr="{&quot;templafy&quot;:{&quot;id&quot;:&quot;8ceae1ac-302d-4090-849e-c1506bae0604&quot;}}"/>
          <p:cNvPicPr>
            <a:picLocks noChangeAspect="1"/>
          </p:cNvPicPr>
          <p:nvPr/>
        </p:nvPicPr>
        <p:blipFill>
          <a:blip r:embed="rId4"/>
          <a:stretch>
            <a:fillRect/>
          </a:stretch>
        </p:blipFill>
        <p:spPr>
          <a:xfrm>
            <a:off x="9690116" y="6053329"/>
            <a:ext cx="2212276" cy="536449"/>
          </a:xfrm>
          <a:prstGeom prst="rect">
            <a:avLst/>
          </a:prstGeom>
        </p:spPr>
      </p:pic>
      <p:pic>
        <p:nvPicPr>
          <p:cNvPr id="77111342" name="Acquired Company Logo Placeholder" descr="{&quot;templafy&quot;:{&quot;id&quot;:&quot;3dbb0e85-a7f8-4178-aff6-c9db5e1e1041&quot;}}"/>
          <p:cNvPicPr>
            <a:picLocks noChangeAspect="1"/>
          </p:cNvPicPr>
          <p:nvPr/>
        </p:nvPicPr>
        <p:blipFill>
          <a:blip r:embed="rId5"/>
          <a:stretch>
            <a:fillRect/>
          </a:stretch>
        </p:blipFill>
        <p:spPr>
          <a:xfrm>
            <a:off x="282502" y="2045822"/>
            <a:ext cx="1804102" cy="225572"/>
          </a:xfrm>
          <a:prstGeom prst="rect">
            <a:avLst/>
          </a:prstGeom>
        </p:spPr>
      </p:pic>
    </p:spTree>
    <p:extLst>
      <p:ext uri="{BB962C8B-B14F-4D97-AF65-F5344CB8AC3E}">
        <p14:creationId xmlns:p14="http://schemas.microsoft.com/office/powerpoint/2010/main" val="42204757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White cover with anvil and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D5D32D2A-E2F7-EA9D-8CB4-F270F09B15EC}"/>
              </a:ext>
            </a:extLst>
          </p:cNvPr>
          <p:cNvSpPr>
            <a:spLocks noGrp="1"/>
          </p:cNvSpPr>
          <p:nvPr>
            <p:ph type="pic" sz="quarter" idx="16" hasCustomPrompt="1"/>
          </p:nvPr>
        </p:nvSpPr>
        <p:spPr>
          <a:xfrm>
            <a:off x="7154310" y="0"/>
            <a:ext cx="5037689" cy="6858000"/>
          </a:xfrm>
        </p:spPr>
        <p:txBody>
          <a:bodyPr anchor="ctr" anchorCtr="0"/>
          <a:lstStyle>
            <a:lvl1pPr algn="ctr">
              <a:defRPr/>
            </a:lvl1pPr>
          </a:lstStyle>
          <a:p>
            <a:r>
              <a:rPr lang="en-US"/>
              <a:t>Click to insert picture</a:t>
            </a:r>
          </a:p>
        </p:txBody>
      </p:sp>
      <p:pic>
        <p:nvPicPr>
          <p:cNvPr id="5" name="Image 1" descr="preencoded.png">
            <a:extLst>
              <a:ext uri="{FF2B5EF4-FFF2-40B4-BE49-F238E27FC236}">
                <a16:creationId xmlns:a16="http://schemas.microsoft.com/office/drawing/2014/main" id="{A0D58351-7331-A48C-A343-895ED628F55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538989" y="1004446"/>
            <a:ext cx="6257605" cy="3073190"/>
          </a:xfrm>
          <a:prstGeom prst="rect">
            <a:avLst/>
          </a:prstGeom>
        </p:spPr>
      </p:pic>
      <p:pic>
        <p:nvPicPr>
          <p:cNvPr id="432825020" name="SAP Logo Placeholder" descr="{&quot;templafy&quot;:{&quot;id&quot;:&quot;c4770692-c0cc-4522-a542-2eae275f7fb7&quot;}}"/>
          <p:cNvPicPr>
            <a:picLocks noChangeAspect="1"/>
          </p:cNvPicPr>
          <p:nvPr/>
        </p:nvPicPr>
        <p:blipFill>
          <a:blip r:embed="rId4"/>
          <a:stretch>
            <a:fillRect/>
          </a:stretch>
        </p:blipFill>
        <p:spPr>
          <a:xfrm>
            <a:off x="4708027" y="6053329"/>
            <a:ext cx="2212276" cy="536449"/>
          </a:xfrm>
          <a:prstGeom prst="rect">
            <a:avLst/>
          </a:prstGeom>
        </p:spPr>
      </p:pic>
      <p:sp>
        <p:nvSpPr>
          <p:cNvPr id="4" name="Title"/>
          <p:cNvSpPr>
            <a:spLocks noGrp="1"/>
          </p:cNvSpPr>
          <p:nvPr>
            <p:ph type="title" hasCustomPrompt="1"/>
          </p:nvPr>
        </p:nvSpPr>
        <p:spPr>
          <a:xfrm>
            <a:off x="287926" y="2706317"/>
            <a:ext cx="6631578" cy="997196"/>
          </a:xfrm>
        </p:spPr>
        <p:txBody>
          <a:bodyPr>
            <a:noAutofit/>
          </a:bodyPr>
          <a:lstStyle>
            <a:lvl1pPr>
              <a:lnSpc>
                <a:spcPct val="90000"/>
              </a:lnSpc>
              <a:defRPr sz="3599" b="1" i="0">
                <a:latin typeface="Arial" panose="020B0604020202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929586497" name="Acquired Company Logo Placeholder" descr="{&quot;templafy&quot;:{&quot;id&quot;:&quot;c2a23bac-c06f-41eb-b719-d70147a840ac&quot;}}"/>
          <p:cNvPicPr>
            <a:picLocks noChangeAspect="1"/>
          </p:cNvPicPr>
          <p:nvPr/>
        </p:nvPicPr>
        <p:blipFill>
          <a:blip r:embed="rId5"/>
          <a:stretch>
            <a:fillRect/>
          </a:stretch>
        </p:blipFill>
        <p:spPr>
          <a:xfrm>
            <a:off x="282502" y="531984"/>
            <a:ext cx="1804102" cy="219475"/>
          </a:xfrm>
          <a:prstGeom prst="rect">
            <a:avLst/>
          </a:prstGeom>
        </p:spPr>
      </p:pic>
      <p:sp>
        <p:nvSpPr>
          <p:cNvPr id="11" name="TextBox 10" descr="{&quot;templafy&quot;:{&quot;id&quot;:&quot;46fe93cf-6f1e-421d-9e18-f932061cafb4&quot;}}">
            <a:extLst>
              <a:ext uri="{FF2B5EF4-FFF2-40B4-BE49-F238E27FC236}">
                <a16:creationId xmlns:a16="http://schemas.microsoft.com/office/drawing/2014/main" id="{AC53B201-90B9-4E7D-A16A-96A3B827889D}"/>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latin typeface="Arial" panose="020B0604020202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10022531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Green cover with anvil and image">
    <p:bg>
      <p:bgPr>
        <a:solidFill>
          <a:srgbClr val="BDEA86"/>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D5D32D2A-E2F7-EA9D-8CB4-F270F09B15EC}"/>
              </a:ext>
            </a:extLst>
          </p:cNvPr>
          <p:cNvSpPr>
            <a:spLocks noGrp="1"/>
          </p:cNvSpPr>
          <p:nvPr>
            <p:ph type="pic" sz="quarter" idx="16" hasCustomPrompt="1"/>
          </p:nvPr>
        </p:nvSpPr>
        <p:spPr>
          <a:xfrm>
            <a:off x="7154310" y="0"/>
            <a:ext cx="5037689" cy="6858000"/>
          </a:xfrm>
        </p:spPr>
        <p:txBody>
          <a:bodyPr anchor="ctr" anchorCtr="0"/>
          <a:lstStyle>
            <a:lvl1pPr algn="ctr">
              <a:defRPr/>
            </a:lvl1pPr>
          </a:lstStyle>
          <a:p>
            <a:r>
              <a:rPr lang="en-US"/>
              <a:t>Click to insert picture</a:t>
            </a:r>
          </a:p>
        </p:txBody>
      </p:sp>
      <p:pic>
        <p:nvPicPr>
          <p:cNvPr id="5" name="Image 1" descr="preencoded.png">
            <a:extLst>
              <a:ext uri="{FF2B5EF4-FFF2-40B4-BE49-F238E27FC236}">
                <a16:creationId xmlns:a16="http://schemas.microsoft.com/office/drawing/2014/main" id="{A0D58351-7331-A48C-A343-895ED628F55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538989" y="1004446"/>
            <a:ext cx="6257605" cy="3073190"/>
          </a:xfrm>
          <a:prstGeom prst="rect">
            <a:avLst/>
          </a:prstGeom>
        </p:spPr>
      </p:pic>
      <p:pic>
        <p:nvPicPr>
          <p:cNvPr id="1397132550" name="SAP Logo Placeholder" descr="{&quot;templafy&quot;:{&quot;id&quot;:&quot;618bb97b-9852-45fe-b49a-e16c60a05a89&quot;}}"/>
          <p:cNvPicPr>
            <a:picLocks noChangeAspect="1"/>
          </p:cNvPicPr>
          <p:nvPr/>
        </p:nvPicPr>
        <p:blipFill>
          <a:blip r:embed="rId4"/>
          <a:stretch>
            <a:fillRect/>
          </a:stretch>
        </p:blipFill>
        <p:spPr>
          <a:xfrm>
            <a:off x="4708027" y="6053329"/>
            <a:ext cx="2212276" cy="536449"/>
          </a:xfrm>
          <a:prstGeom prst="rect">
            <a:avLst/>
          </a:prstGeom>
        </p:spPr>
      </p:pic>
      <p:sp>
        <p:nvSpPr>
          <p:cNvPr id="4" name="Title"/>
          <p:cNvSpPr>
            <a:spLocks noGrp="1"/>
          </p:cNvSpPr>
          <p:nvPr>
            <p:ph type="title" hasCustomPrompt="1"/>
          </p:nvPr>
        </p:nvSpPr>
        <p:spPr>
          <a:xfrm>
            <a:off x="287926" y="2706317"/>
            <a:ext cx="6631578" cy="997196"/>
          </a:xfrm>
        </p:spPr>
        <p:txBody>
          <a:bodyPr>
            <a:noAutofit/>
          </a:bodyPr>
          <a:lstStyle>
            <a:lvl1pPr>
              <a:lnSpc>
                <a:spcPct val="90000"/>
              </a:lnSpc>
              <a:defRPr sz="3599" b="1" i="0">
                <a:latin typeface="Arial" panose="020B0604020202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340440099" name="Acquired Company Logo Placeholder" descr="{&quot;templafy&quot;:{&quot;id&quot;:&quot;2d52d3b0-a848-4265-9a8a-90de3b193ffb&quot;}}"/>
          <p:cNvPicPr>
            <a:picLocks noChangeAspect="1"/>
          </p:cNvPicPr>
          <p:nvPr/>
        </p:nvPicPr>
        <p:blipFill>
          <a:blip r:embed="rId5"/>
          <a:stretch>
            <a:fillRect/>
          </a:stretch>
        </p:blipFill>
        <p:spPr>
          <a:xfrm>
            <a:off x="282502" y="531984"/>
            <a:ext cx="1804102" cy="219475"/>
          </a:xfrm>
          <a:prstGeom prst="rect">
            <a:avLst/>
          </a:prstGeom>
        </p:spPr>
      </p:pic>
      <p:sp>
        <p:nvSpPr>
          <p:cNvPr id="11" name="TextBox 10" descr="{&quot;templafy&quot;:{&quot;id&quot;:&quot;60a1870a-18bc-4499-9363-54e36564caaf&quot;}}">
            <a:extLst>
              <a:ext uri="{FF2B5EF4-FFF2-40B4-BE49-F238E27FC236}">
                <a16:creationId xmlns:a16="http://schemas.microsoft.com/office/drawing/2014/main" id="{AC53B201-90B9-4E7D-A16A-96A3B827889D}"/>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latin typeface="Arial" panose="020B0604020202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35609641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Teal cover with anvil and image">
    <p:bg>
      <p:bgPr>
        <a:solidFill>
          <a:srgbClr val="C1FCED"/>
        </a:solidFill>
        <a:effectLst/>
      </p:bgPr>
    </p:bg>
    <p:spTree>
      <p:nvGrpSpPr>
        <p:cNvPr id="1" name=""/>
        <p:cNvGrpSpPr/>
        <p:nvPr/>
      </p:nvGrpSpPr>
      <p:grpSpPr>
        <a:xfrm>
          <a:off x="0" y="0"/>
          <a:ext cx="0" cy="0"/>
          <a:chOff x="0" y="0"/>
          <a:chExt cx="0" cy="0"/>
        </a:xfrm>
      </p:grpSpPr>
      <p:pic>
        <p:nvPicPr>
          <p:cNvPr id="5" name="Image 1" descr="preencoded.png">
            <a:extLst>
              <a:ext uri="{FF2B5EF4-FFF2-40B4-BE49-F238E27FC236}">
                <a16:creationId xmlns:a16="http://schemas.microsoft.com/office/drawing/2014/main" id="{A0D58351-7331-A48C-A343-895ED628F55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752160" y="1722606"/>
            <a:ext cx="4871924" cy="2392664"/>
          </a:xfrm>
          <a:prstGeom prst="rect">
            <a:avLst/>
          </a:prstGeom>
        </p:spPr>
      </p:pic>
      <p:pic>
        <p:nvPicPr>
          <p:cNvPr id="310001125" name="SAP Logo Placeholder" descr="{&quot;templafy&quot;:{&quot;id&quot;:&quot;793dd059-b2e1-4ac1-a398-c35105668908&quot;}}"/>
          <p:cNvPicPr>
            <a:picLocks noChangeAspect="1"/>
          </p:cNvPicPr>
          <p:nvPr/>
        </p:nvPicPr>
        <p:blipFill>
          <a:blip r:embed="rId4"/>
          <a:stretch>
            <a:fillRect/>
          </a:stretch>
        </p:blipFill>
        <p:spPr>
          <a:xfrm>
            <a:off x="3639156" y="6053329"/>
            <a:ext cx="2212276" cy="536449"/>
          </a:xfrm>
          <a:prstGeom prst="rect">
            <a:avLst/>
          </a:prstGeom>
        </p:spPr>
      </p:pic>
      <p:sp>
        <p:nvSpPr>
          <p:cNvPr id="4" name="Title"/>
          <p:cNvSpPr>
            <a:spLocks noGrp="1"/>
          </p:cNvSpPr>
          <p:nvPr>
            <p:ph type="title" hasCustomPrompt="1"/>
          </p:nvPr>
        </p:nvSpPr>
        <p:spPr>
          <a:xfrm>
            <a:off x="287925" y="2706317"/>
            <a:ext cx="5534584" cy="997196"/>
          </a:xfrm>
        </p:spPr>
        <p:txBody>
          <a:bodyPr>
            <a:noAutofit/>
          </a:bodyPr>
          <a:lstStyle>
            <a:lvl1pPr>
              <a:lnSpc>
                <a:spcPct val="90000"/>
              </a:lnSpc>
              <a:defRPr sz="3599" b="1" i="0">
                <a:latin typeface="Arial" panose="020B0604020202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243189441" name="Acquired Company Logo Placeholder" descr="{&quot;templafy&quot;:{&quot;id&quot;:&quot;fab4e593-532c-439c-9c7a-397ee8f5d2e2&quot;}}"/>
          <p:cNvPicPr>
            <a:picLocks noChangeAspect="1"/>
          </p:cNvPicPr>
          <p:nvPr/>
        </p:nvPicPr>
        <p:blipFill>
          <a:blip r:embed="rId5"/>
          <a:stretch>
            <a:fillRect/>
          </a:stretch>
        </p:blipFill>
        <p:spPr>
          <a:xfrm>
            <a:off x="282502" y="531984"/>
            <a:ext cx="1804102" cy="219475"/>
          </a:xfrm>
          <a:prstGeom prst="rect">
            <a:avLst/>
          </a:prstGeom>
        </p:spPr>
      </p:pic>
      <p:sp>
        <p:nvSpPr>
          <p:cNvPr id="11" name="TextBox 10" descr="{&quot;templafy&quot;:{&quot;id&quot;:&quot;9d4989cd-9f58-4ad5-8a39-9ae0c0b79ab2&quot;}}">
            <a:extLst>
              <a:ext uri="{FF2B5EF4-FFF2-40B4-BE49-F238E27FC236}">
                <a16:creationId xmlns:a16="http://schemas.microsoft.com/office/drawing/2014/main" id="{AC53B201-90B9-4E7D-A16A-96A3B827889D}"/>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latin typeface="Arial" panose="020B0604020202020204" pitchFamily="34" charset="0"/>
                <a:ea typeface="Arial Unicode MS" pitchFamily="34" charset="-128"/>
                <a:cs typeface="Arial Unicode MS" pitchFamily="34" charset="-128"/>
              </a:rPr>
              <a:t>Public</a:t>
            </a:r>
          </a:p>
        </p:txBody>
      </p:sp>
      <p:sp>
        <p:nvSpPr>
          <p:cNvPr id="9" name="Picture Placeholder 8">
            <a:extLst>
              <a:ext uri="{FF2B5EF4-FFF2-40B4-BE49-F238E27FC236}">
                <a16:creationId xmlns:a16="http://schemas.microsoft.com/office/drawing/2014/main" id="{D5D32D2A-E2F7-EA9D-8CB4-F270F09B15EC}"/>
              </a:ext>
            </a:extLst>
          </p:cNvPr>
          <p:cNvSpPr>
            <a:spLocks noGrp="1"/>
          </p:cNvSpPr>
          <p:nvPr>
            <p:ph type="pic" sz="quarter" idx="16" hasCustomPrompt="1"/>
          </p:nvPr>
        </p:nvSpPr>
        <p:spPr>
          <a:xfrm>
            <a:off x="6067433" y="0"/>
            <a:ext cx="6124567" cy="6858000"/>
          </a:xfrm>
        </p:spPr>
        <p:txBody>
          <a:bodyPr anchor="ctr" anchorCtr="0"/>
          <a:lstStyle>
            <a:lvl1pPr algn="ctr">
              <a:defRPr/>
            </a:lvl1pPr>
          </a:lstStyle>
          <a:p>
            <a:r>
              <a:rPr lang="en-US"/>
              <a:t>Click to insert picture</a:t>
            </a:r>
          </a:p>
        </p:txBody>
      </p:sp>
    </p:spTree>
    <p:extLst>
      <p:ext uri="{BB962C8B-B14F-4D97-AF65-F5344CB8AC3E}">
        <p14:creationId xmlns:p14="http://schemas.microsoft.com/office/powerpoint/2010/main" val="25768718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Blue cover with image in anvil shape">
    <p:bg>
      <p:bgPr>
        <a:solidFill>
          <a:srgbClr val="0179F5"/>
        </a:solidFill>
        <a:effectLst/>
      </p:bgPr>
    </p:bg>
    <p:spTree>
      <p:nvGrpSpPr>
        <p:cNvPr id="1" name=""/>
        <p:cNvGrpSpPr/>
        <p:nvPr/>
      </p:nvGrpSpPr>
      <p:grpSpPr>
        <a:xfrm>
          <a:off x="0" y="0"/>
          <a:ext cx="0" cy="0"/>
          <a:chOff x="0" y="0"/>
          <a:chExt cx="0" cy="0"/>
        </a:xfrm>
      </p:grpSpPr>
      <p:pic>
        <p:nvPicPr>
          <p:cNvPr id="1376515853" name="SAP Logo Placeholder" descr="{&quot;templafy&quot;:{&quot;id&quot;:&quot;46581949-1c1b-4bf8-a3f6-99912671c392&quot;}}"/>
          <p:cNvPicPr>
            <a:picLocks noChangeAspect="1"/>
          </p:cNvPicPr>
          <p:nvPr/>
        </p:nvPicPr>
        <p:blipFill>
          <a:blip r:embed="rId2"/>
          <a:stretch>
            <a:fillRect/>
          </a:stretch>
        </p:blipFill>
        <p:spPr>
          <a:xfrm>
            <a:off x="9690116" y="6053329"/>
            <a:ext cx="2212276" cy="536449"/>
          </a:xfrm>
          <a:prstGeom prst="rect">
            <a:avLst/>
          </a:prstGeom>
        </p:spPr>
      </p:pic>
      <p:sp>
        <p:nvSpPr>
          <p:cNvPr id="6" name="Title">
            <a:extLst>
              <a:ext uri="{FF2B5EF4-FFF2-40B4-BE49-F238E27FC236}">
                <a16:creationId xmlns:a16="http://schemas.microsoft.com/office/drawing/2014/main" id="{729E6C33-847C-5792-E2BD-5963C662ECED}"/>
              </a:ext>
            </a:extLst>
          </p:cNvPr>
          <p:cNvSpPr>
            <a:spLocks noGrp="1"/>
          </p:cNvSpPr>
          <p:nvPr>
            <p:ph type="title" hasCustomPrompt="1"/>
          </p:nvPr>
        </p:nvSpPr>
        <p:spPr>
          <a:xfrm>
            <a:off x="287926" y="2706317"/>
            <a:ext cx="5528264" cy="997196"/>
          </a:xfrm>
        </p:spPr>
        <p:txBody>
          <a:bodyPr>
            <a:noAutofit/>
          </a:bodyPr>
          <a:lstStyle>
            <a:lvl1pPr>
              <a:lnSpc>
                <a:spcPct val="90000"/>
              </a:lnSpc>
              <a:defRPr sz="3599" b="1">
                <a:solidFill>
                  <a:schemeClr val="bg1"/>
                </a:solidFill>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077077229" name="Acquired Company Logo Placeholder" descr="{&quot;templafy&quot;:{&quot;id&quot;:&quot;6f69446d-56e6-4b21-9eff-19b0c1924da4&quot;}}"/>
          <p:cNvPicPr>
            <a:picLocks noChangeAspect="1"/>
          </p:cNvPicPr>
          <p:nvPr/>
        </p:nvPicPr>
        <p:blipFill>
          <a:blip r:embed="rId3"/>
          <a:stretch>
            <a:fillRect/>
          </a:stretch>
        </p:blipFill>
        <p:spPr>
          <a:xfrm>
            <a:off x="282502" y="2045822"/>
            <a:ext cx="1804102" cy="225572"/>
          </a:xfrm>
          <a:prstGeom prst="rect">
            <a:avLst/>
          </a:prstGeom>
        </p:spPr>
      </p:pic>
      <p:sp>
        <p:nvSpPr>
          <p:cNvPr id="14" name="Picture Placeholder 5">
            <a:extLst>
              <a:ext uri="{FF2B5EF4-FFF2-40B4-BE49-F238E27FC236}">
                <a16:creationId xmlns:a16="http://schemas.microsoft.com/office/drawing/2014/main" id="{D2BFABF1-DD81-F2D4-FD65-DBCD6636029A}"/>
              </a:ext>
            </a:extLst>
          </p:cNvPr>
          <p:cNvSpPr>
            <a:spLocks noGrp="1"/>
          </p:cNvSpPr>
          <p:nvPr>
            <p:ph type="pic" sz="quarter" idx="10" hasCustomPrompt="1"/>
          </p:nvPr>
        </p:nvSpPr>
        <p:spPr>
          <a:xfrm>
            <a:off x="6067916" y="2029240"/>
            <a:ext cx="5710200" cy="2828844"/>
          </a:xfrm>
          <a:custGeom>
            <a:avLst/>
            <a:gdLst>
              <a:gd name="connsiteX0" fmla="*/ 0 w 5453062"/>
              <a:gd name="connsiteY0" fmla="*/ 0 h 2700337"/>
              <a:gd name="connsiteX1" fmla="*/ 5453062 w 5453062"/>
              <a:gd name="connsiteY1" fmla="*/ 0 h 2700337"/>
              <a:gd name="connsiteX2" fmla="*/ 5453062 w 5453062"/>
              <a:gd name="connsiteY2" fmla="*/ 2700337 h 2700337"/>
              <a:gd name="connsiteX3" fmla="*/ 0 w 5453062"/>
              <a:gd name="connsiteY3" fmla="*/ 2700337 h 2700337"/>
              <a:gd name="connsiteX4" fmla="*/ 0 w 5453062"/>
              <a:gd name="connsiteY4" fmla="*/ 0 h 2700337"/>
              <a:gd name="connsiteX0" fmla="*/ 0 w 5453062"/>
              <a:gd name="connsiteY0" fmla="*/ 0 h 2758526"/>
              <a:gd name="connsiteX1" fmla="*/ 5453062 w 5453062"/>
              <a:gd name="connsiteY1" fmla="*/ 0 h 2758526"/>
              <a:gd name="connsiteX2" fmla="*/ 2751426 w 5453062"/>
              <a:gd name="connsiteY2" fmla="*/ 2758526 h 2758526"/>
              <a:gd name="connsiteX3" fmla="*/ 0 w 5453062"/>
              <a:gd name="connsiteY3" fmla="*/ 2700337 h 2758526"/>
              <a:gd name="connsiteX4" fmla="*/ 0 w 5453062"/>
              <a:gd name="connsiteY4" fmla="*/ 0 h 2758526"/>
              <a:gd name="connsiteX0" fmla="*/ 0 w 5453062"/>
              <a:gd name="connsiteY0" fmla="*/ 0 h 2700337"/>
              <a:gd name="connsiteX1" fmla="*/ 5453062 w 5453062"/>
              <a:gd name="connsiteY1" fmla="*/ 0 h 2700337"/>
              <a:gd name="connsiteX2" fmla="*/ 2726487 w 5453062"/>
              <a:gd name="connsiteY2" fmla="*/ 2700336 h 2700337"/>
              <a:gd name="connsiteX3" fmla="*/ 0 w 5453062"/>
              <a:gd name="connsiteY3" fmla="*/ 2700337 h 2700337"/>
              <a:gd name="connsiteX4" fmla="*/ 0 w 5453062"/>
              <a:gd name="connsiteY4" fmla="*/ 0 h 2700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3062" h="2700337">
                <a:moveTo>
                  <a:pt x="0" y="0"/>
                </a:moveTo>
                <a:lnTo>
                  <a:pt x="5453062" y="0"/>
                </a:lnTo>
                <a:lnTo>
                  <a:pt x="2726487" y="2700336"/>
                </a:lnTo>
                <a:lnTo>
                  <a:pt x="0" y="2700337"/>
                </a:lnTo>
                <a:lnTo>
                  <a:pt x="0" y="0"/>
                </a:lnTo>
                <a:close/>
              </a:path>
            </a:pathLst>
          </a:custGeom>
        </p:spPr>
        <p:txBody>
          <a:bodyPr anchor="ctr" anchorCtr="0"/>
          <a:lstStyle>
            <a:lvl1pPr algn="l">
              <a:defRPr>
                <a:solidFill>
                  <a:schemeClr val="bg1"/>
                </a:solidFill>
              </a:defRPr>
            </a:lvl1pPr>
          </a:lstStyle>
          <a:p>
            <a:r>
              <a:rPr lang="en-US"/>
              <a:t>         Click to add image</a:t>
            </a:r>
          </a:p>
        </p:txBody>
      </p:sp>
      <p:sp>
        <p:nvSpPr>
          <p:cNvPr id="15" name="TextBox 14" descr="{&quot;templafy&quot;:{&quot;id&quot;:&quot;7938f324-d63d-4b17-b918-cd9daf9b5e57&quot;}}">
            <a:extLst>
              <a:ext uri="{FF2B5EF4-FFF2-40B4-BE49-F238E27FC236}">
                <a16:creationId xmlns:a16="http://schemas.microsoft.com/office/drawing/2014/main" id="{0FA9D6E6-AE97-2973-2805-63C5FBC0F61C}"/>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Arial" panose="020B0604020202020204" pitchFamily="34" charset="0"/>
                <a:ea typeface="Arial Unicode MS" pitchFamily="34" charset="-128"/>
                <a:cs typeface="72" panose="020B0503030000000003" pitchFamily="34" charset="0"/>
              </a:rPr>
              <a:t>Public</a:t>
            </a:r>
          </a:p>
        </p:txBody>
      </p:sp>
    </p:spTree>
    <p:extLst>
      <p:ext uri="{BB962C8B-B14F-4D97-AF65-F5344CB8AC3E}">
        <p14:creationId xmlns:p14="http://schemas.microsoft.com/office/powerpoint/2010/main" val="24028766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869" y="1620000"/>
            <a:ext cx="11182288" cy="4716000"/>
          </a:xfrm>
        </p:spPr>
        <p:txBody>
          <a:bodyPr>
            <a:normAutofit/>
          </a:bodyPr>
          <a:lstStyle>
            <a:lvl1pPr marL="0" marR="0" indent="0" algn="l" defTabSz="1088231" rtl="0" eaLnBrk="1" fontAlgn="auto" latinLnBrk="0" hangingPunct="1">
              <a:lnSpc>
                <a:spcPct val="100000"/>
              </a:lnSpc>
              <a:spcBef>
                <a:spcPts val="2999"/>
              </a:spcBef>
              <a:spcAft>
                <a:spcPts val="0"/>
              </a:spcAft>
              <a:buClr>
                <a:schemeClr val="accent1"/>
              </a:buClr>
              <a:buSzPct val="80000"/>
              <a:buFontTx/>
              <a:buNone/>
              <a:tabLst/>
              <a:defRPr sz="1999" b="0"/>
            </a:lvl1pPr>
            <a:lvl2pPr marL="179910" marR="0" indent="-179910" algn="l" defTabSz="1088231" rtl="0" eaLnBrk="1" fontAlgn="auto" latinLnBrk="0" hangingPunct="1">
              <a:lnSpc>
                <a:spcPct val="100000"/>
              </a:lnSpc>
              <a:spcBef>
                <a:spcPts val="600"/>
              </a:spcBef>
              <a:spcAft>
                <a:spcPts val="0"/>
              </a:spcAft>
              <a:buClr>
                <a:schemeClr val="tx1"/>
              </a:buClr>
              <a:buSzPct val="100000"/>
              <a:buFont typeface="Wingdings" panose="05000000000000000000" pitchFamily="2" charset="2"/>
              <a:buChar char="§"/>
              <a:tabLst/>
              <a:defRPr sz="1799"/>
            </a:lvl2pPr>
            <a:lvl3pPr marL="359820" marR="0" indent="-179298" algn="l" defTabSz="1088231" rtl="0" eaLnBrk="1" fontAlgn="auto" latinLnBrk="0" hangingPunct="1">
              <a:lnSpc>
                <a:spcPct val="100000"/>
              </a:lnSpc>
              <a:spcBef>
                <a:spcPts val="400"/>
              </a:spcBef>
              <a:spcAft>
                <a:spcPts val="0"/>
              </a:spcAft>
              <a:buClr>
                <a:schemeClr val="tx1"/>
              </a:buClr>
              <a:buSzPct val="100000"/>
              <a:buFont typeface="Arial" pitchFamily="34" charset="0"/>
              <a:buChar char="–"/>
              <a:tabLst/>
              <a:defRPr sz="1799" baseline="0"/>
            </a:lvl3pPr>
            <a:lvl4pPr marL="539730" marR="0" indent="-179910" algn="l" defTabSz="1088231"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b="1"/>
            </a:lvl1pPr>
          </a:lstStyle>
          <a:p>
            <a:r>
              <a:rPr lang="en-US"/>
              <a:t>Agenda</a:t>
            </a:r>
          </a:p>
        </p:txBody>
      </p:sp>
    </p:spTree>
    <p:extLst>
      <p:ext uri="{BB962C8B-B14F-4D97-AF65-F5344CB8AC3E}">
        <p14:creationId xmlns:p14="http://schemas.microsoft.com/office/powerpoint/2010/main" val="396764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3869" y="3090446"/>
            <a:ext cx="11182288" cy="677108"/>
          </a:xfrm>
        </p:spPr>
        <p:txBody>
          <a:bodyPr anchor="ctr" anchorCtr="0">
            <a:noAutofit/>
          </a:bodyPr>
          <a:lstStyle>
            <a:lvl1pPr>
              <a:defRPr sz="4399" b="0" i="0">
                <a:solidFill>
                  <a:schemeClr val="tx1"/>
                </a:solidFill>
                <a:latin typeface="Arial" panose="020B0604020202020204" pitchFamily="34" charset="0"/>
              </a:defRPr>
            </a:lvl1pPr>
          </a:lstStyle>
          <a:p>
            <a:r>
              <a:rPr lang="en-US"/>
              <a:t>Divider page</a:t>
            </a:r>
            <a:endParaRPr lang="de-DE"/>
          </a:p>
        </p:txBody>
      </p:sp>
    </p:spTree>
    <p:extLst>
      <p:ext uri="{BB962C8B-B14F-4D97-AF65-F5344CB8AC3E}">
        <p14:creationId xmlns:p14="http://schemas.microsoft.com/office/powerpoint/2010/main" val="499621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Marco Metodológico">
    <p:spTree>
      <p:nvGrpSpPr>
        <p:cNvPr id="1" name=""/>
        <p:cNvGrpSpPr/>
        <p:nvPr/>
      </p:nvGrpSpPr>
      <p:grpSpPr>
        <a:xfrm>
          <a:off x="0" y="0"/>
          <a:ext cx="0" cy="0"/>
          <a:chOff x="0" y="0"/>
          <a:chExt cx="0" cy="0"/>
        </a:xfrm>
      </p:grpSpPr>
      <p:sp>
        <p:nvSpPr>
          <p:cNvPr id="23" name="22 Marcador de texto"/>
          <p:cNvSpPr>
            <a:spLocks noGrp="1"/>
          </p:cNvSpPr>
          <p:nvPr>
            <p:ph type="body" sz="quarter" idx="23"/>
          </p:nvPr>
        </p:nvSpPr>
        <p:spPr>
          <a:xfrm>
            <a:off x="423986" y="1320801"/>
            <a:ext cx="11344031" cy="5151940"/>
          </a:xfrm>
        </p:spPr>
        <p:txBody>
          <a:bodyPr>
            <a:noAutofit/>
          </a:bodyPr>
          <a:lstStyle>
            <a:lvl5pPr marL="969962" indent="0">
              <a:defRPr kumimoji="0" lang="es-ES" sz="1100" b="0" i="0" u="none" strike="noStrike" kern="1200" cap="none" spc="0" normalizeH="0" baseline="0" noProof="0" dirty="0" smtClean="0">
                <a:ln>
                  <a:noFill/>
                </a:ln>
                <a:solidFill>
                  <a:srgbClr val="494949"/>
                </a:solidFill>
                <a:effectLst/>
                <a:uLnTx/>
                <a:uFillTx/>
                <a:latin typeface="+mn-lt"/>
                <a:ea typeface="+mn-ea"/>
                <a:cs typeface="+mn-cs"/>
              </a:defRPr>
            </a:lvl5pPr>
            <a:lvl6pPr marL="858838" indent="-171450">
              <a:defRPr kumimoji="0" lang="es-ES" sz="1100" b="0" i="0" u="none" strike="noStrike" kern="1200" cap="none" spc="0" normalizeH="0" baseline="0" noProof="0" dirty="0" smtClean="0">
                <a:ln>
                  <a:noFill/>
                </a:ln>
                <a:solidFill>
                  <a:schemeClr val="tx1"/>
                </a:solidFill>
                <a:effectLst/>
                <a:uLnTx/>
                <a:uFillTx/>
                <a:latin typeface="+mn-lt"/>
                <a:ea typeface="+mn-ea"/>
                <a:cs typeface="+mn-cs"/>
              </a:defRPr>
            </a:lvl6pPr>
            <a:lvl7pPr>
              <a:defRPr/>
            </a:lvl7pPr>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a:p>
            <a:pPr marL="846138" marR="0" lvl="4" indent="-158750" algn="l" defTabSz="914400" rtl="0" eaLnBrk="1" fontAlgn="auto" latinLnBrk="0" hangingPunct="1">
              <a:lnSpc>
                <a:spcPct val="100000"/>
              </a:lnSpc>
              <a:spcBef>
                <a:spcPts val="0"/>
              </a:spcBef>
              <a:spcAft>
                <a:spcPts val="200"/>
              </a:spcAft>
              <a:buClr>
                <a:schemeClr val="accent1">
                  <a:lumMod val="90000"/>
                </a:schemeClr>
              </a:buClr>
              <a:buSzTx/>
              <a:buFont typeface="Arial" pitchFamily="34" charset="0"/>
              <a:buChar char="•"/>
              <a:tabLst/>
              <a:defRPr/>
            </a:pPr>
            <a:r>
              <a:rPr lang="es-ES" noProof="0"/>
              <a:t>Quinto nivel</a:t>
            </a:r>
          </a:p>
          <a:p>
            <a:pPr marL="1111250" marR="0" lvl="5" indent="-141288" algn="l" defTabSz="914400" rtl="0" eaLnBrk="1" fontAlgn="auto" latinLnBrk="0" hangingPunct="1">
              <a:lnSpc>
                <a:spcPct val="100000"/>
              </a:lnSpc>
              <a:spcBef>
                <a:spcPct val="20000"/>
              </a:spcBef>
              <a:spcAft>
                <a:spcPts val="200"/>
              </a:spcAft>
              <a:buClr>
                <a:schemeClr val="accent1">
                  <a:lumMod val="90000"/>
                </a:schemeClr>
              </a:buClr>
              <a:buSzTx/>
              <a:buFontTx/>
              <a:buNone/>
              <a:tabLst/>
              <a:defRPr/>
            </a:pPr>
            <a:r>
              <a:rPr lang="es-ES" noProof="0"/>
              <a:t>- </a:t>
            </a:r>
            <a:r>
              <a:rPr lang="es-ES" noProof="0" err="1"/>
              <a:t>bhhh</a:t>
            </a:r>
            <a:endParaRPr lang="es-ES" noProof="0"/>
          </a:p>
        </p:txBody>
      </p:sp>
      <p:sp>
        <p:nvSpPr>
          <p:cNvPr id="92" name="27 Título"/>
          <p:cNvSpPr>
            <a:spLocks noGrp="1"/>
          </p:cNvSpPr>
          <p:nvPr userDrawn="1">
            <p:ph type="title" hasCustomPrompt="1"/>
          </p:nvPr>
        </p:nvSpPr>
        <p:spPr>
          <a:xfrm>
            <a:off x="1235961" y="334929"/>
            <a:ext cx="8936800" cy="518277"/>
          </a:xfrm>
        </p:spPr>
        <p:txBody>
          <a:bodyPr>
            <a:noAutofit/>
          </a:bodyPr>
          <a:lstStyle>
            <a:lvl1pPr>
              <a:defRPr sz="2000">
                <a:solidFill>
                  <a:schemeClr val="tx1"/>
                </a:solidFill>
              </a:defRPr>
            </a:lvl1pPr>
          </a:lstStyle>
          <a:p>
            <a:r>
              <a:rPr lang="es-ES"/>
              <a:t>Título</a:t>
            </a:r>
            <a:endParaRPr lang="en-US"/>
          </a:p>
        </p:txBody>
      </p:sp>
      <p:sp>
        <p:nvSpPr>
          <p:cNvPr id="6" name="21 CuadroTexto"/>
          <p:cNvSpPr txBox="1"/>
          <p:nvPr userDrawn="1"/>
        </p:nvSpPr>
        <p:spPr>
          <a:xfrm>
            <a:off x="1192823" y="19050"/>
            <a:ext cx="8988270" cy="248400"/>
          </a:xfrm>
          <a:prstGeom prst="rect">
            <a:avLst/>
          </a:prstGeom>
        </p:spPr>
        <p:txBody>
          <a:bodyPr vert="horz" lIns="0" tIns="0" rIns="0" bIns="0" rtlCol="0" anchor="ctr">
            <a:noAutofit/>
          </a:bodyPr>
          <a:lstStyle/>
          <a:p>
            <a:pPr marL="144000" marR="0" lvl="0" indent="0" algn="l" defTabSz="914400" rtl="0" eaLnBrk="1" fontAlgn="base" latinLnBrk="0" hangingPunct="1">
              <a:lnSpc>
                <a:spcPct val="100000"/>
              </a:lnSpc>
              <a:spcBef>
                <a:spcPts val="600"/>
              </a:spcBef>
              <a:spcAft>
                <a:spcPts val="300"/>
              </a:spcAft>
              <a:buClr>
                <a:srgbClr val="505150"/>
              </a:buClr>
              <a:buSzPct val="88000"/>
              <a:buFont typeface="Arial" pitchFamily="34" charset="0"/>
              <a:buNone/>
              <a:tabLst>
                <a:tab pos="1346200" algn="l"/>
              </a:tabLst>
              <a:defRPr/>
            </a:pPr>
            <a:r>
              <a:rPr kumimoji="0" lang="es-ES" sz="1050" b="0" i="0" u="none" strike="noStrike" kern="1200" cap="none" spc="0" normalizeH="0" baseline="0" noProof="0">
                <a:ln>
                  <a:noFill/>
                </a:ln>
                <a:solidFill>
                  <a:schemeClr val="tx1"/>
                </a:solidFill>
                <a:effectLst/>
                <a:uLnTx/>
                <a:uFillTx/>
                <a:latin typeface="+mn-lt"/>
                <a:ea typeface="+mn-ea"/>
                <a:cs typeface="+mn-cs"/>
                <a:sym typeface="Droid Sans" charset="0"/>
              </a:rPr>
              <a:t>Marco Metodológico, Gobierno, Gestión del Cambio y Soporte</a:t>
            </a:r>
          </a:p>
        </p:txBody>
      </p:sp>
      <p:sp>
        <p:nvSpPr>
          <p:cNvPr id="7" name="26 Marcador de contenido"/>
          <p:cNvSpPr>
            <a:spLocks noGrp="1"/>
          </p:cNvSpPr>
          <p:nvPr>
            <p:ph sz="quarter" idx="26" hasCustomPrompt="1"/>
          </p:nvPr>
        </p:nvSpPr>
        <p:spPr>
          <a:xfrm>
            <a:off x="1192823" y="863255"/>
            <a:ext cx="8988270" cy="225425"/>
          </a:xfrm>
        </p:spPr>
        <p:txBody>
          <a:bodyPr anchor="ctr">
            <a:noAutofit/>
          </a:bodyPr>
          <a:lstStyle>
            <a:lvl1pPr marL="144000">
              <a:defRPr sz="1000" cap="all" spc="300" baseline="0">
                <a:solidFill>
                  <a:schemeClr val="tx1"/>
                </a:solidFill>
              </a:defRPr>
            </a:lvl1pPr>
            <a:lvl7pPr>
              <a:defRPr>
                <a:solidFill>
                  <a:schemeClr val="tx1">
                    <a:lumMod val="50000"/>
                    <a:lumOff val="50000"/>
                  </a:schemeClr>
                </a:solidFill>
              </a:defRPr>
            </a:lvl7pPr>
          </a:lstStyle>
          <a:p>
            <a:pPr lvl="0"/>
            <a:r>
              <a:rPr lang="es-ES"/>
              <a:t>Subtítulo</a:t>
            </a:r>
            <a:endParaRPr lang="en-US"/>
          </a:p>
        </p:txBody>
      </p:sp>
      <p:sp>
        <p:nvSpPr>
          <p:cNvPr id="2" name="Marcador de número de diapositiva 1"/>
          <p:cNvSpPr>
            <a:spLocks noGrp="1"/>
          </p:cNvSpPr>
          <p:nvPr>
            <p:ph type="sldNum" sz="quarter" idx="27"/>
          </p:nvPr>
        </p:nvSpPr>
        <p:spPr/>
        <p:txBody>
          <a:bodyPr/>
          <a:lstStyle/>
          <a:p>
            <a:pPr marL="7938" algn="ctr" fontAlgn="base">
              <a:spcAft>
                <a:spcPct val="0"/>
              </a:spcAft>
              <a:buClr>
                <a:srgbClr val="505150"/>
              </a:buClr>
              <a:buSzPct val="88000"/>
            </a:pPr>
            <a:fld id="{B90C96D8-0395-4AF3-8A78-0E88AEC6FB3C}" type="slidenum">
              <a:rPr lang="es-ES" smtClean="0"/>
              <a:pPr marL="7938" algn="ctr" fontAlgn="base">
                <a:spcAft>
                  <a:spcPct val="0"/>
                </a:spcAft>
                <a:buClr>
                  <a:srgbClr val="505150"/>
                </a:buClr>
                <a:buSzPct val="88000"/>
              </a:pPr>
              <a:t>‹Nº›</a:t>
            </a:fld>
            <a:endParaRPr lang="es-ES"/>
          </a:p>
        </p:txBody>
      </p:sp>
      <p:sp>
        <p:nvSpPr>
          <p:cNvPr id="8" name="Shape 3664"/>
          <p:cNvSpPr/>
          <p:nvPr userDrawn="1"/>
        </p:nvSpPr>
        <p:spPr>
          <a:xfrm>
            <a:off x="446456" y="422017"/>
            <a:ext cx="424622" cy="345005"/>
          </a:xfrm>
          <a:custGeom>
            <a:avLst/>
            <a:gdLst/>
            <a:ahLst/>
            <a:cxnLst>
              <a:cxn ang="0">
                <a:pos x="wd2" y="hd2"/>
              </a:cxn>
              <a:cxn ang="5400000">
                <a:pos x="wd2" y="hd2"/>
              </a:cxn>
              <a:cxn ang="10800000">
                <a:pos x="wd2" y="hd2"/>
              </a:cxn>
              <a:cxn ang="16200000">
                <a:pos x="wd2" y="hd2"/>
              </a:cxn>
            </a:cxnLst>
            <a:rect l="0" t="0" r="r" b="b"/>
            <a:pathLst>
              <a:path w="21600" h="21600" extrusionOk="0">
                <a:moveTo>
                  <a:pt x="10800" y="14727"/>
                </a:moveTo>
                <a:cubicBezTo>
                  <a:pt x="8631" y="14727"/>
                  <a:pt x="6873" y="12969"/>
                  <a:pt x="6873" y="10800"/>
                </a:cubicBezTo>
                <a:cubicBezTo>
                  <a:pt x="6873" y="8631"/>
                  <a:pt x="8631" y="6873"/>
                  <a:pt x="10800" y="6873"/>
                </a:cubicBezTo>
                <a:cubicBezTo>
                  <a:pt x="12969" y="6873"/>
                  <a:pt x="14727" y="8631"/>
                  <a:pt x="14727" y="10800"/>
                </a:cubicBezTo>
                <a:cubicBezTo>
                  <a:pt x="14727" y="12969"/>
                  <a:pt x="12969" y="14727"/>
                  <a:pt x="10800" y="14727"/>
                </a:cubicBezTo>
                <a:moveTo>
                  <a:pt x="10800" y="5891"/>
                </a:moveTo>
                <a:cubicBezTo>
                  <a:pt x="8088" y="5891"/>
                  <a:pt x="5891" y="8089"/>
                  <a:pt x="5891" y="10800"/>
                </a:cubicBezTo>
                <a:cubicBezTo>
                  <a:pt x="5891" y="13512"/>
                  <a:pt x="8088" y="15709"/>
                  <a:pt x="10800" y="15709"/>
                </a:cubicBezTo>
                <a:cubicBezTo>
                  <a:pt x="13512" y="15709"/>
                  <a:pt x="15709" y="13512"/>
                  <a:pt x="15709" y="10800"/>
                </a:cubicBezTo>
                <a:cubicBezTo>
                  <a:pt x="15709" y="8089"/>
                  <a:pt x="13512" y="5891"/>
                  <a:pt x="10800" y="5891"/>
                </a:cubicBezTo>
                <a:moveTo>
                  <a:pt x="20618" y="12013"/>
                </a:moveTo>
                <a:cubicBezTo>
                  <a:pt x="20614" y="12014"/>
                  <a:pt x="20611" y="12016"/>
                  <a:pt x="20607" y="12017"/>
                </a:cubicBezTo>
                <a:lnTo>
                  <a:pt x="19602" y="12268"/>
                </a:lnTo>
                <a:cubicBezTo>
                  <a:pt x="19256" y="12354"/>
                  <a:pt x="18984" y="12622"/>
                  <a:pt x="18892" y="12966"/>
                </a:cubicBezTo>
                <a:cubicBezTo>
                  <a:pt x="18703" y="13673"/>
                  <a:pt x="18421" y="14351"/>
                  <a:pt x="18053" y="14986"/>
                </a:cubicBezTo>
                <a:cubicBezTo>
                  <a:pt x="17873" y="15295"/>
                  <a:pt x="17876" y="15677"/>
                  <a:pt x="18060" y="15984"/>
                </a:cubicBezTo>
                <a:lnTo>
                  <a:pt x="18601" y="16885"/>
                </a:lnTo>
                <a:lnTo>
                  <a:pt x="16886" y="18600"/>
                </a:lnTo>
                <a:cubicBezTo>
                  <a:pt x="16882" y="18599"/>
                  <a:pt x="16878" y="18597"/>
                  <a:pt x="16875" y="18595"/>
                </a:cubicBezTo>
                <a:lnTo>
                  <a:pt x="15978" y="18057"/>
                </a:lnTo>
                <a:cubicBezTo>
                  <a:pt x="15822" y="17964"/>
                  <a:pt x="15648" y="17917"/>
                  <a:pt x="15473" y="17917"/>
                </a:cubicBezTo>
                <a:cubicBezTo>
                  <a:pt x="15304" y="17917"/>
                  <a:pt x="15134" y="17961"/>
                  <a:pt x="14982" y="18049"/>
                </a:cubicBezTo>
                <a:cubicBezTo>
                  <a:pt x="14348" y="18415"/>
                  <a:pt x="13671" y="18696"/>
                  <a:pt x="12968" y="18884"/>
                </a:cubicBezTo>
                <a:cubicBezTo>
                  <a:pt x="12624" y="18976"/>
                  <a:pt x="12356" y="19248"/>
                  <a:pt x="12269" y="19594"/>
                </a:cubicBezTo>
                <a:lnTo>
                  <a:pt x="12016" y="20608"/>
                </a:lnTo>
                <a:cubicBezTo>
                  <a:pt x="12015" y="20611"/>
                  <a:pt x="12014" y="20614"/>
                  <a:pt x="12012" y="20619"/>
                </a:cubicBezTo>
                <a:lnTo>
                  <a:pt x="9587" y="20619"/>
                </a:lnTo>
                <a:lnTo>
                  <a:pt x="9331" y="19594"/>
                </a:lnTo>
                <a:cubicBezTo>
                  <a:pt x="9244" y="19248"/>
                  <a:pt x="8976" y="18976"/>
                  <a:pt x="8632" y="18884"/>
                </a:cubicBezTo>
                <a:cubicBezTo>
                  <a:pt x="7929" y="18696"/>
                  <a:pt x="7251" y="18415"/>
                  <a:pt x="6617" y="18049"/>
                </a:cubicBezTo>
                <a:cubicBezTo>
                  <a:pt x="6465" y="17961"/>
                  <a:pt x="6296" y="17917"/>
                  <a:pt x="6127" y="17917"/>
                </a:cubicBezTo>
                <a:cubicBezTo>
                  <a:pt x="5951" y="17917"/>
                  <a:pt x="5777" y="17964"/>
                  <a:pt x="5621" y="18057"/>
                </a:cubicBezTo>
                <a:lnTo>
                  <a:pt x="4725" y="18595"/>
                </a:lnTo>
                <a:cubicBezTo>
                  <a:pt x="4722" y="18597"/>
                  <a:pt x="4718" y="18599"/>
                  <a:pt x="4714" y="18600"/>
                </a:cubicBezTo>
                <a:lnTo>
                  <a:pt x="3000" y="16885"/>
                </a:lnTo>
                <a:lnTo>
                  <a:pt x="3540" y="15983"/>
                </a:lnTo>
                <a:cubicBezTo>
                  <a:pt x="3724" y="15677"/>
                  <a:pt x="3727" y="15295"/>
                  <a:pt x="3548" y="14986"/>
                </a:cubicBezTo>
                <a:cubicBezTo>
                  <a:pt x="3179" y="14351"/>
                  <a:pt x="2897" y="13672"/>
                  <a:pt x="2708" y="12966"/>
                </a:cubicBezTo>
                <a:cubicBezTo>
                  <a:pt x="2616" y="12622"/>
                  <a:pt x="2343" y="12354"/>
                  <a:pt x="1998" y="12268"/>
                </a:cubicBezTo>
                <a:lnTo>
                  <a:pt x="993" y="12017"/>
                </a:lnTo>
                <a:cubicBezTo>
                  <a:pt x="989" y="12016"/>
                  <a:pt x="986" y="12014"/>
                  <a:pt x="982" y="12013"/>
                </a:cubicBezTo>
                <a:lnTo>
                  <a:pt x="982" y="9587"/>
                </a:lnTo>
                <a:lnTo>
                  <a:pt x="1998" y="9333"/>
                </a:lnTo>
                <a:cubicBezTo>
                  <a:pt x="2343" y="9247"/>
                  <a:pt x="2616" y="8979"/>
                  <a:pt x="2708" y="8634"/>
                </a:cubicBezTo>
                <a:cubicBezTo>
                  <a:pt x="2897" y="7928"/>
                  <a:pt x="3179" y="7250"/>
                  <a:pt x="3548" y="6615"/>
                </a:cubicBezTo>
                <a:cubicBezTo>
                  <a:pt x="3727" y="6305"/>
                  <a:pt x="3724" y="5924"/>
                  <a:pt x="3540" y="5617"/>
                </a:cubicBezTo>
                <a:lnTo>
                  <a:pt x="3005" y="4725"/>
                </a:lnTo>
                <a:cubicBezTo>
                  <a:pt x="3004" y="4722"/>
                  <a:pt x="3002" y="4718"/>
                  <a:pt x="3000" y="4714"/>
                </a:cubicBezTo>
                <a:lnTo>
                  <a:pt x="4715" y="3000"/>
                </a:lnTo>
                <a:lnTo>
                  <a:pt x="5621" y="3544"/>
                </a:lnTo>
                <a:cubicBezTo>
                  <a:pt x="5777" y="3637"/>
                  <a:pt x="5951" y="3683"/>
                  <a:pt x="6127" y="3683"/>
                </a:cubicBezTo>
                <a:cubicBezTo>
                  <a:pt x="6296" y="3683"/>
                  <a:pt x="6465" y="3640"/>
                  <a:pt x="6618" y="3551"/>
                </a:cubicBezTo>
                <a:cubicBezTo>
                  <a:pt x="7251" y="3185"/>
                  <a:pt x="7929" y="2904"/>
                  <a:pt x="8632" y="2717"/>
                </a:cubicBezTo>
                <a:cubicBezTo>
                  <a:pt x="8976" y="2624"/>
                  <a:pt x="9244" y="2353"/>
                  <a:pt x="9331" y="2007"/>
                </a:cubicBezTo>
                <a:lnTo>
                  <a:pt x="9587" y="982"/>
                </a:lnTo>
                <a:lnTo>
                  <a:pt x="12012" y="982"/>
                </a:lnTo>
                <a:cubicBezTo>
                  <a:pt x="12014" y="986"/>
                  <a:pt x="12015" y="989"/>
                  <a:pt x="12016" y="993"/>
                </a:cubicBezTo>
                <a:lnTo>
                  <a:pt x="12269" y="2007"/>
                </a:lnTo>
                <a:cubicBezTo>
                  <a:pt x="12356" y="2353"/>
                  <a:pt x="12624" y="2624"/>
                  <a:pt x="12968" y="2717"/>
                </a:cubicBezTo>
                <a:cubicBezTo>
                  <a:pt x="13671" y="2904"/>
                  <a:pt x="14348" y="3185"/>
                  <a:pt x="14982" y="3551"/>
                </a:cubicBezTo>
                <a:cubicBezTo>
                  <a:pt x="15134" y="3640"/>
                  <a:pt x="15304" y="3683"/>
                  <a:pt x="15473" y="3683"/>
                </a:cubicBezTo>
                <a:cubicBezTo>
                  <a:pt x="15648" y="3683"/>
                  <a:pt x="15822" y="3637"/>
                  <a:pt x="15978" y="3544"/>
                </a:cubicBezTo>
                <a:lnTo>
                  <a:pt x="16884" y="3000"/>
                </a:lnTo>
                <a:lnTo>
                  <a:pt x="18600" y="4714"/>
                </a:lnTo>
                <a:cubicBezTo>
                  <a:pt x="18598" y="4718"/>
                  <a:pt x="18597" y="4722"/>
                  <a:pt x="18595" y="4726"/>
                </a:cubicBezTo>
                <a:lnTo>
                  <a:pt x="18060" y="5617"/>
                </a:lnTo>
                <a:cubicBezTo>
                  <a:pt x="17876" y="5924"/>
                  <a:pt x="17873" y="6305"/>
                  <a:pt x="18053" y="6615"/>
                </a:cubicBezTo>
                <a:cubicBezTo>
                  <a:pt x="18421" y="7249"/>
                  <a:pt x="18703" y="7928"/>
                  <a:pt x="18892" y="8634"/>
                </a:cubicBezTo>
                <a:cubicBezTo>
                  <a:pt x="18984" y="8979"/>
                  <a:pt x="19256" y="9247"/>
                  <a:pt x="19602" y="9333"/>
                </a:cubicBezTo>
                <a:lnTo>
                  <a:pt x="20618" y="9587"/>
                </a:lnTo>
                <a:cubicBezTo>
                  <a:pt x="20618" y="9587"/>
                  <a:pt x="20618" y="12013"/>
                  <a:pt x="20618" y="12013"/>
                </a:cubicBezTo>
                <a:close/>
                <a:moveTo>
                  <a:pt x="20880" y="8641"/>
                </a:moveTo>
                <a:lnTo>
                  <a:pt x="19841" y="8380"/>
                </a:lnTo>
                <a:cubicBezTo>
                  <a:pt x="19626" y="7580"/>
                  <a:pt x="19308" y="6822"/>
                  <a:pt x="18902" y="6122"/>
                </a:cubicBezTo>
                <a:lnTo>
                  <a:pt x="19455" y="5201"/>
                </a:lnTo>
                <a:cubicBezTo>
                  <a:pt x="19625" y="4871"/>
                  <a:pt x="19736" y="4463"/>
                  <a:pt x="19455" y="4182"/>
                </a:cubicBezTo>
                <a:lnTo>
                  <a:pt x="17419" y="2146"/>
                </a:lnTo>
                <a:cubicBezTo>
                  <a:pt x="17292" y="2018"/>
                  <a:pt x="17136" y="1968"/>
                  <a:pt x="16975" y="1968"/>
                </a:cubicBezTo>
                <a:cubicBezTo>
                  <a:pt x="16778" y="1968"/>
                  <a:pt x="16572" y="2043"/>
                  <a:pt x="16400" y="2146"/>
                </a:cubicBezTo>
                <a:lnTo>
                  <a:pt x="15473" y="2702"/>
                </a:lnTo>
                <a:cubicBezTo>
                  <a:pt x="14775" y="2298"/>
                  <a:pt x="14020" y="1982"/>
                  <a:pt x="13222" y="1768"/>
                </a:cubicBezTo>
                <a:lnTo>
                  <a:pt x="12960" y="720"/>
                </a:lnTo>
                <a:cubicBezTo>
                  <a:pt x="12848" y="367"/>
                  <a:pt x="12638" y="0"/>
                  <a:pt x="12240" y="0"/>
                </a:cubicBezTo>
                <a:lnTo>
                  <a:pt x="9360" y="0"/>
                </a:lnTo>
                <a:cubicBezTo>
                  <a:pt x="8962" y="0"/>
                  <a:pt x="8730" y="367"/>
                  <a:pt x="8640" y="720"/>
                </a:cubicBezTo>
                <a:lnTo>
                  <a:pt x="8378" y="1768"/>
                </a:lnTo>
                <a:cubicBezTo>
                  <a:pt x="7580" y="1982"/>
                  <a:pt x="6825" y="2298"/>
                  <a:pt x="6127" y="2702"/>
                </a:cubicBezTo>
                <a:lnTo>
                  <a:pt x="5200" y="2146"/>
                </a:lnTo>
                <a:cubicBezTo>
                  <a:pt x="5028" y="2043"/>
                  <a:pt x="4822" y="1968"/>
                  <a:pt x="4625" y="1968"/>
                </a:cubicBezTo>
                <a:cubicBezTo>
                  <a:pt x="4464" y="1968"/>
                  <a:pt x="4308" y="2018"/>
                  <a:pt x="4181" y="2146"/>
                </a:cubicBezTo>
                <a:lnTo>
                  <a:pt x="2145" y="4182"/>
                </a:lnTo>
                <a:cubicBezTo>
                  <a:pt x="1864" y="4463"/>
                  <a:pt x="1975" y="4871"/>
                  <a:pt x="2145" y="5201"/>
                </a:cubicBezTo>
                <a:lnTo>
                  <a:pt x="2698" y="6122"/>
                </a:lnTo>
                <a:cubicBezTo>
                  <a:pt x="2292" y="6822"/>
                  <a:pt x="1973" y="7580"/>
                  <a:pt x="1759" y="8380"/>
                </a:cubicBezTo>
                <a:lnTo>
                  <a:pt x="720" y="8641"/>
                </a:lnTo>
                <a:cubicBezTo>
                  <a:pt x="367" y="8730"/>
                  <a:pt x="0" y="8963"/>
                  <a:pt x="0" y="9361"/>
                </a:cubicBezTo>
                <a:lnTo>
                  <a:pt x="0" y="12240"/>
                </a:lnTo>
                <a:cubicBezTo>
                  <a:pt x="0" y="12638"/>
                  <a:pt x="367" y="12848"/>
                  <a:pt x="720" y="12960"/>
                </a:cubicBezTo>
                <a:lnTo>
                  <a:pt x="1759" y="13220"/>
                </a:lnTo>
                <a:cubicBezTo>
                  <a:pt x="1973" y="14021"/>
                  <a:pt x="2292" y="14778"/>
                  <a:pt x="2698" y="15479"/>
                </a:cubicBezTo>
                <a:lnTo>
                  <a:pt x="2145" y="16400"/>
                </a:lnTo>
                <a:cubicBezTo>
                  <a:pt x="1959" y="16714"/>
                  <a:pt x="1864" y="17138"/>
                  <a:pt x="2145" y="17419"/>
                </a:cubicBezTo>
                <a:lnTo>
                  <a:pt x="4181" y="19455"/>
                </a:lnTo>
                <a:cubicBezTo>
                  <a:pt x="4305" y="19579"/>
                  <a:pt x="4454" y="19627"/>
                  <a:pt x="4610" y="19627"/>
                </a:cubicBezTo>
                <a:cubicBezTo>
                  <a:pt x="4807" y="19627"/>
                  <a:pt x="5016" y="19550"/>
                  <a:pt x="5200" y="19455"/>
                </a:cubicBezTo>
                <a:lnTo>
                  <a:pt x="6127" y="18899"/>
                </a:lnTo>
                <a:cubicBezTo>
                  <a:pt x="6825" y="19303"/>
                  <a:pt x="7580" y="19619"/>
                  <a:pt x="8378" y="19832"/>
                </a:cubicBezTo>
                <a:lnTo>
                  <a:pt x="8640" y="20880"/>
                </a:lnTo>
                <a:cubicBezTo>
                  <a:pt x="8730" y="21233"/>
                  <a:pt x="8962" y="21600"/>
                  <a:pt x="9360" y="21600"/>
                </a:cubicBezTo>
                <a:lnTo>
                  <a:pt x="12240" y="21600"/>
                </a:lnTo>
                <a:cubicBezTo>
                  <a:pt x="12638" y="21600"/>
                  <a:pt x="12848" y="21233"/>
                  <a:pt x="12960" y="20880"/>
                </a:cubicBezTo>
                <a:lnTo>
                  <a:pt x="13222" y="19832"/>
                </a:lnTo>
                <a:cubicBezTo>
                  <a:pt x="14020" y="19619"/>
                  <a:pt x="14775" y="19303"/>
                  <a:pt x="15473" y="18899"/>
                </a:cubicBezTo>
                <a:lnTo>
                  <a:pt x="16400" y="19455"/>
                </a:lnTo>
                <a:cubicBezTo>
                  <a:pt x="16584" y="19550"/>
                  <a:pt x="16793" y="19627"/>
                  <a:pt x="16990" y="19627"/>
                </a:cubicBezTo>
                <a:cubicBezTo>
                  <a:pt x="17146" y="19627"/>
                  <a:pt x="17294" y="19579"/>
                  <a:pt x="17419" y="19455"/>
                </a:cubicBezTo>
                <a:lnTo>
                  <a:pt x="19455" y="17419"/>
                </a:lnTo>
                <a:cubicBezTo>
                  <a:pt x="19736" y="17138"/>
                  <a:pt x="19641" y="16714"/>
                  <a:pt x="19455" y="16400"/>
                </a:cubicBezTo>
                <a:lnTo>
                  <a:pt x="18902" y="15479"/>
                </a:lnTo>
                <a:cubicBezTo>
                  <a:pt x="19308" y="14778"/>
                  <a:pt x="19626" y="14021"/>
                  <a:pt x="19841" y="13220"/>
                </a:cubicBezTo>
                <a:lnTo>
                  <a:pt x="20880" y="12960"/>
                </a:lnTo>
                <a:cubicBezTo>
                  <a:pt x="21233" y="12848"/>
                  <a:pt x="21600" y="12638"/>
                  <a:pt x="21600" y="12240"/>
                </a:cubicBezTo>
                <a:lnTo>
                  <a:pt x="21600" y="9361"/>
                </a:lnTo>
                <a:cubicBezTo>
                  <a:pt x="21600" y="8963"/>
                  <a:pt x="21233" y="8730"/>
                  <a:pt x="20880" y="8641"/>
                </a:cubicBezTo>
              </a:path>
            </a:pathLst>
          </a:custGeom>
          <a:solidFill>
            <a:schemeClr val="tx1"/>
          </a:solidFill>
          <a:ln w="12700">
            <a:miter lim="400000"/>
          </a:ln>
        </p:spPr>
        <p:txBody>
          <a:bodyPr lIns="38100" tIns="38100" rIns="38100" bIns="38100" anchor="ctr"/>
          <a:lstStyle/>
          <a:p>
            <a:endParaRPr sz="1800">
              <a:solidFill>
                <a:prstClr val="black"/>
              </a:solidFill>
            </a:endParaRPr>
          </a:p>
        </p:txBody>
      </p:sp>
    </p:spTree>
    <p:extLst>
      <p:ext uri="{BB962C8B-B14F-4D97-AF65-F5344CB8AC3E}">
        <p14:creationId xmlns:p14="http://schemas.microsoft.com/office/powerpoint/2010/main" val="2291797053"/>
      </p:ext>
    </p:extLst>
  </p:cSld>
  <p:clrMapOvr>
    <a:masterClrMapping/>
  </p:clrMapOvr>
  <p:transition spd="slow"/>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2000" cy="3430800"/>
          </a:xfrm>
          <a:noFill/>
        </p:spPr>
        <p:txBody>
          <a:bodyPr tIns="324000"/>
          <a:lstStyle>
            <a:lvl1pPr marL="0" marR="0" indent="0" algn="ctr" defTabSz="1088231"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231"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3869" y="1375046"/>
            <a:ext cx="11182288" cy="677108"/>
          </a:xfrm>
        </p:spPr>
        <p:txBody>
          <a:bodyPr anchor="t" anchorCtr="0">
            <a:noAutofit/>
          </a:bodyPr>
          <a:lstStyle>
            <a:lvl1pPr>
              <a:defRPr sz="4399" b="0" i="0">
                <a:solidFill>
                  <a:schemeClr val="tx1"/>
                </a:solidFill>
                <a:latin typeface="Arial" panose="020B0604020202020204" pitchFamily="34" charset="0"/>
              </a:defRPr>
            </a:lvl1pPr>
          </a:lstStyle>
          <a:p>
            <a:r>
              <a:rPr lang="en-US"/>
              <a:t>Divider page</a:t>
            </a:r>
            <a:endParaRPr lang="de-DE"/>
          </a:p>
        </p:txBody>
      </p:sp>
    </p:spTree>
    <p:extLst>
      <p:ext uri="{BB962C8B-B14F-4D97-AF65-F5344CB8AC3E}">
        <p14:creationId xmlns:p14="http://schemas.microsoft.com/office/powerpoint/2010/main" val="2691749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1"/>
            </a:lvl1pPr>
          </a:lstStyle>
          <a:p>
            <a:r>
              <a:rPr lang="en-US" noProof="0"/>
              <a:t>Insert page title (sentence case)</a:t>
            </a:r>
            <a:endParaRPr lang="en-US"/>
          </a:p>
        </p:txBody>
      </p:sp>
    </p:spTree>
    <p:extLst>
      <p:ext uri="{BB962C8B-B14F-4D97-AF65-F5344CB8AC3E}">
        <p14:creationId xmlns:p14="http://schemas.microsoft.com/office/powerpoint/2010/main" val="358262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868" y="1620000"/>
            <a:ext cx="11183565"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lvl1pPr>
              <a:defRPr b="1"/>
            </a:lvl1pPr>
          </a:lstStyle>
          <a:p>
            <a:r>
              <a:rPr lang="en-US" noProof="0"/>
              <a:t>Insert page title (sentence case)</a:t>
            </a:r>
            <a:endParaRPr lang="en-US"/>
          </a:p>
        </p:txBody>
      </p:sp>
    </p:spTree>
    <p:extLst>
      <p:ext uri="{BB962C8B-B14F-4D97-AF65-F5344CB8AC3E}">
        <p14:creationId xmlns:p14="http://schemas.microsoft.com/office/powerpoint/2010/main" val="3089339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0820" y="1620000"/>
            <a:ext cx="5326613"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3869" y="1620000"/>
            <a:ext cx="5326613"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135688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102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4361" y="1620000"/>
            <a:ext cx="3563072"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4115" y="1620000"/>
            <a:ext cx="3563072"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3869" y="1620000"/>
            <a:ext cx="3563072"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637464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399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0820" y="4770000"/>
            <a:ext cx="5326613" cy="156600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0820" y="1620000"/>
            <a:ext cx="5326613" cy="2631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3869" y="4770000"/>
            <a:ext cx="5326613" cy="156600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3869" y="1620000"/>
            <a:ext cx="5326613" cy="2631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516886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7116" y="4354922"/>
            <a:ext cx="3390317"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7116" y="1620000"/>
            <a:ext cx="3390317" cy="2232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0493" y="4354922"/>
            <a:ext cx="3390317"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0493" y="1620000"/>
            <a:ext cx="3390317" cy="2232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3869" y="4354922"/>
            <a:ext cx="3390317"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3869" y="1620000"/>
            <a:ext cx="3390317" cy="2232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209933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2462" y="3878221"/>
            <a:ext cx="2414971"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2462" y="1620000"/>
            <a:ext cx="2414971"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49599" y="3878221"/>
            <a:ext cx="2414971"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49599" y="1620000"/>
            <a:ext cx="2414971"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6734" y="3878221"/>
            <a:ext cx="2414971"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6734" y="1620000"/>
            <a:ext cx="2414971"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3869" y="3878220"/>
            <a:ext cx="2414971"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3869" y="1620000"/>
            <a:ext cx="2414971"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487832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3869" y="1800000"/>
            <a:ext cx="11182288" cy="3285032"/>
          </a:xfrm>
        </p:spPr>
        <p:txBody>
          <a:bodyPr/>
          <a:lstStyle>
            <a:lvl1pPr marL="395802" indent="-395802">
              <a:lnSpc>
                <a:spcPct val="90000"/>
              </a:lnSpc>
              <a:spcBef>
                <a:spcPts val="600"/>
              </a:spcBef>
              <a:defRPr sz="5997" b="1"/>
            </a:lvl1pPr>
            <a:lvl2pPr marL="395802"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3623784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5059" y="0"/>
            <a:ext cx="4066941"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868" y="1620000"/>
            <a:ext cx="7090154"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3870" y="504000"/>
            <a:ext cx="709015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704864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Gestión y Calidad del Proyecto">
    <p:spTree>
      <p:nvGrpSpPr>
        <p:cNvPr id="1" name=""/>
        <p:cNvGrpSpPr/>
        <p:nvPr/>
      </p:nvGrpSpPr>
      <p:grpSpPr>
        <a:xfrm>
          <a:off x="0" y="0"/>
          <a:ext cx="0" cy="0"/>
          <a:chOff x="0" y="0"/>
          <a:chExt cx="0" cy="0"/>
        </a:xfrm>
      </p:grpSpPr>
      <p:sp>
        <p:nvSpPr>
          <p:cNvPr id="23" name="22 Marcador de texto"/>
          <p:cNvSpPr>
            <a:spLocks noGrp="1"/>
          </p:cNvSpPr>
          <p:nvPr>
            <p:ph type="body" sz="quarter" idx="23"/>
          </p:nvPr>
        </p:nvSpPr>
        <p:spPr>
          <a:xfrm>
            <a:off x="423986" y="1320801"/>
            <a:ext cx="11344031" cy="5151940"/>
          </a:xfrm>
        </p:spPr>
        <p:txBody>
          <a:bodyPr>
            <a:noAutofit/>
          </a:bodyPr>
          <a:lstStyle>
            <a:lvl5pPr marL="969962" indent="0">
              <a:defRPr kumimoji="0" lang="es-ES" sz="1100" b="0" i="0" u="none" strike="noStrike" kern="1200" cap="none" spc="0" normalizeH="0" baseline="0" noProof="0" dirty="0" smtClean="0">
                <a:ln>
                  <a:noFill/>
                </a:ln>
                <a:solidFill>
                  <a:srgbClr val="494949"/>
                </a:solidFill>
                <a:effectLst/>
                <a:uLnTx/>
                <a:uFillTx/>
                <a:latin typeface="+mn-lt"/>
                <a:ea typeface="+mn-ea"/>
                <a:cs typeface="+mn-cs"/>
              </a:defRPr>
            </a:lvl5pPr>
            <a:lvl6pPr marL="858838" indent="-171450">
              <a:defRPr kumimoji="0" lang="es-ES" sz="1100" b="0" i="0" u="none" strike="noStrike" kern="1200" cap="none" spc="0" normalizeH="0" baseline="0" noProof="0" dirty="0" smtClean="0">
                <a:ln>
                  <a:noFill/>
                </a:ln>
                <a:solidFill>
                  <a:schemeClr val="tx1"/>
                </a:solidFill>
                <a:effectLst/>
                <a:uLnTx/>
                <a:uFillTx/>
                <a:latin typeface="+mn-lt"/>
                <a:ea typeface="+mn-ea"/>
                <a:cs typeface="+mn-cs"/>
              </a:defRPr>
            </a:lvl6pPr>
            <a:lvl7pPr>
              <a:defRPr/>
            </a:lvl7pPr>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a:p>
            <a:pPr marL="846138" marR="0" lvl="4" indent="-158750" algn="l" defTabSz="914400" rtl="0" eaLnBrk="1" fontAlgn="auto" latinLnBrk="0" hangingPunct="1">
              <a:lnSpc>
                <a:spcPct val="100000"/>
              </a:lnSpc>
              <a:spcBef>
                <a:spcPts val="0"/>
              </a:spcBef>
              <a:spcAft>
                <a:spcPts val="200"/>
              </a:spcAft>
              <a:buClr>
                <a:schemeClr val="accent1">
                  <a:lumMod val="90000"/>
                </a:schemeClr>
              </a:buClr>
              <a:buSzTx/>
              <a:buFont typeface="Arial" pitchFamily="34" charset="0"/>
              <a:buChar char="•"/>
              <a:tabLst/>
              <a:defRPr/>
            </a:pPr>
            <a:r>
              <a:rPr lang="es-ES" noProof="0"/>
              <a:t>Quinto nivel</a:t>
            </a:r>
          </a:p>
          <a:p>
            <a:pPr marL="1111250" marR="0" lvl="5" indent="-141288" algn="l" defTabSz="914400" rtl="0" eaLnBrk="1" fontAlgn="auto" latinLnBrk="0" hangingPunct="1">
              <a:lnSpc>
                <a:spcPct val="100000"/>
              </a:lnSpc>
              <a:spcBef>
                <a:spcPct val="20000"/>
              </a:spcBef>
              <a:spcAft>
                <a:spcPts val="200"/>
              </a:spcAft>
              <a:buClr>
                <a:schemeClr val="accent1">
                  <a:lumMod val="90000"/>
                </a:schemeClr>
              </a:buClr>
              <a:buSzTx/>
              <a:buFontTx/>
              <a:buNone/>
              <a:tabLst/>
              <a:defRPr/>
            </a:pPr>
            <a:r>
              <a:rPr lang="es-ES" noProof="0"/>
              <a:t>- </a:t>
            </a:r>
            <a:r>
              <a:rPr lang="es-ES" noProof="0" err="1"/>
              <a:t>bhhh</a:t>
            </a:r>
            <a:endParaRPr lang="es-ES" noProof="0"/>
          </a:p>
        </p:txBody>
      </p:sp>
      <p:sp>
        <p:nvSpPr>
          <p:cNvPr id="92" name="27 Título"/>
          <p:cNvSpPr>
            <a:spLocks noGrp="1"/>
          </p:cNvSpPr>
          <p:nvPr userDrawn="1">
            <p:ph type="title" hasCustomPrompt="1"/>
          </p:nvPr>
        </p:nvSpPr>
        <p:spPr>
          <a:xfrm>
            <a:off x="1235961" y="334929"/>
            <a:ext cx="8936800" cy="518277"/>
          </a:xfrm>
        </p:spPr>
        <p:txBody>
          <a:bodyPr>
            <a:noAutofit/>
          </a:bodyPr>
          <a:lstStyle>
            <a:lvl1pPr>
              <a:defRPr sz="2000">
                <a:solidFill>
                  <a:schemeClr val="tx1"/>
                </a:solidFill>
              </a:defRPr>
            </a:lvl1pPr>
          </a:lstStyle>
          <a:p>
            <a:r>
              <a:rPr lang="es-ES"/>
              <a:t>Título</a:t>
            </a:r>
            <a:endParaRPr lang="en-US"/>
          </a:p>
        </p:txBody>
      </p:sp>
      <p:sp>
        <p:nvSpPr>
          <p:cNvPr id="6" name="21 CuadroTexto"/>
          <p:cNvSpPr txBox="1"/>
          <p:nvPr userDrawn="1"/>
        </p:nvSpPr>
        <p:spPr>
          <a:xfrm>
            <a:off x="1192823" y="19050"/>
            <a:ext cx="8988270" cy="248400"/>
          </a:xfrm>
          <a:prstGeom prst="rect">
            <a:avLst/>
          </a:prstGeom>
        </p:spPr>
        <p:txBody>
          <a:bodyPr vert="horz" lIns="0" tIns="0" rIns="0" bIns="0" rtlCol="0" anchor="ctr">
            <a:noAutofit/>
          </a:bodyPr>
          <a:lstStyle/>
          <a:p>
            <a:pPr marL="144000" marR="0" lvl="0" indent="0" algn="l" defTabSz="914400" rtl="0" eaLnBrk="1" fontAlgn="base" latinLnBrk="0" hangingPunct="1">
              <a:lnSpc>
                <a:spcPct val="100000"/>
              </a:lnSpc>
              <a:spcBef>
                <a:spcPts val="600"/>
              </a:spcBef>
              <a:spcAft>
                <a:spcPts val="300"/>
              </a:spcAft>
              <a:buClr>
                <a:srgbClr val="505150"/>
              </a:buClr>
              <a:buSzPct val="88000"/>
              <a:buFont typeface="Arial" pitchFamily="34" charset="0"/>
              <a:buNone/>
              <a:tabLst>
                <a:tab pos="1346200" algn="l"/>
              </a:tabLst>
              <a:defRPr/>
            </a:pPr>
            <a:r>
              <a:rPr kumimoji="0" lang="es-ES" sz="1050" b="0" i="0" u="none" strike="noStrike" kern="1200" cap="none" spc="0" normalizeH="0" baseline="0" noProof="0">
                <a:ln>
                  <a:noFill/>
                </a:ln>
                <a:solidFill>
                  <a:schemeClr val="tx1"/>
                </a:solidFill>
                <a:effectLst/>
                <a:uLnTx/>
                <a:uFillTx/>
                <a:latin typeface="+mn-lt"/>
                <a:ea typeface="+mn-ea"/>
                <a:cs typeface="+mn-cs"/>
                <a:sym typeface="Droid Sans" charset="0"/>
              </a:rPr>
              <a:t>Gestión y Calidad del Proyecto</a:t>
            </a:r>
          </a:p>
        </p:txBody>
      </p:sp>
      <p:sp>
        <p:nvSpPr>
          <p:cNvPr id="7" name="26 Marcador de contenido"/>
          <p:cNvSpPr>
            <a:spLocks noGrp="1"/>
          </p:cNvSpPr>
          <p:nvPr>
            <p:ph sz="quarter" idx="26" hasCustomPrompt="1"/>
          </p:nvPr>
        </p:nvSpPr>
        <p:spPr>
          <a:xfrm>
            <a:off x="1192823" y="863255"/>
            <a:ext cx="8988270" cy="225425"/>
          </a:xfrm>
        </p:spPr>
        <p:txBody>
          <a:bodyPr anchor="ctr">
            <a:noAutofit/>
          </a:bodyPr>
          <a:lstStyle>
            <a:lvl1pPr marL="144000">
              <a:defRPr sz="1000" cap="all" spc="300" baseline="0">
                <a:solidFill>
                  <a:schemeClr val="tx1"/>
                </a:solidFill>
              </a:defRPr>
            </a:lvl1pPr>
            <a:lvl7pPr>
              <a:defRPr>
                <a:solidFill>
                  <a:schemeClr val="tx1">
                    <a:lumMod val="50000"/>
                    <a:lumOff val="50000"/>
                  </a:schemeClr>
                </a:solidFill>
              </a:defRPr>
            </a:lvl7pPr>
          </a:lstStyle>
          <a:p>
            <a:pPr lvl="0"/>
            <a:r>
              <a:rPr lang="es-ES"/>
              <a:t>Subtítulo</a:t>
            </a:r>
            <a:endParaRPr lang="en-US"/>
          </a:p>
        </p:txBody>
      </p:sp>
      <p:sp>
        <p:nvSpPr>
          <p:cNvPr id="2" name="Marcador de número de diapositiva 1"/>
          <p:cNvSpPr>
            <a:spLocks noGrp="1"/>
          </p:cNvSpPr>
          <p:nvPr>
            <p:ph type="sldNum" sz="quarter" idx="27"/>
          </p:nvPr>
        </p:nvSpPr>
        <p:spPr/>
        <p:txBody>
          <a:bodyPr/>
          <a:lstStyle/>
          <a:p>
            <a:pPr marL="7938" algn="ctr" fontAlgn="base">
              <a:spcAft>
                <a:spcPct val="0"/>
              </a:spcAft>
              <a:buClr>
                <a:srgbClr val="505150"/>
              </a:buClr>
              <a:buSzPct val="88000"/>
            </a:pPr>
            <a:fld id="{B90C96D8-0395-4AF3-8A78-0E88AEC6FB3C}" type="slidenum">
              <a:rPr lang="es-ES" smtClean="0"/>
              <a:pPr marL="7938" algn="ctr" fontAlgn="base">
                <a:spcAft>
                  <a:spcPct val="0"/>
                </a:spcAft>
                <a:buClr>
                  <a:srgbClr val="505150"/>
                </a:buClr>
                <a:buSzPct val="88000"/>
              </a:pPr>
              <a:t>‹Nº›</a:t>
            </a:fld>
            <a:endParaRPr lang="es-ES"/>
          </a:p>
        </p:txBody>
      </p:sp>
      <p:grpSp>
        <p:nvGrpSpPr>
          <p:cNvPr id="9" name="14 Grupo"/>
          <p:cNvGrpSpPr/>
          <p:nvPr userDrawn="1"/>
        </p:nvGrpSpPr>
        <p:grpSpPr>
          <a:xfrm>
            <a:off x="296020" y="311499"/>
            <a:ext cx="706422" cy="576912"/>
            <a:chOff x="-2475707" y="1268760"/>
            <a:chExt cx="4951413" cy="4976813"/>
          </a:xfrm>
          <a:solidFill>
            <a:schemeClr val="tx1"/>
          </a:solidFill>
        </p:grpSpPr>
        <p:sp>
          <p:nvSpPr>
            <p:cNvPr id="10" name="Freeform 6"/>
            <p:cNvSpPr>
              <a:spLocks/>
            </p:cNvSpPr>
            <p:nvPr/>
          </p:nvSpPr>
          <p:spPr bwMode="auto">
            <a:xfrm>
              <a:off x="-675482" y="2270472"/>
              <a:ext cx="714375" cy="228600"/>
            </a:xfrm>
            <a:custGeom>
              <a:avLst/>
              <a:gdLst/>
              <a:ahLst/>
              <a:cxnLst>
                <a:cxn ang="0">
                  <a:pos x="846" y="0"/>
                </a:cxn>
                <a:cxn ang="0">
                  <a:pos x="867" y="4"/>
                </a:cxn>
                <a:cxn ang="0">
                  <a:pos x="884" y="16"/>
                </a:cxn>
                <a:cxn ang="0">
                  <a:pos x="896" y="33"/>
                </a:cxn>
                <a:cxn ang="0">
                  <a:pos x="900" y="54"/>
                </a:cxn>
                <a:cxn ang="0">
                  <a:pos x="896" y="75"/>
                </a:cxn>
                <a:cxn ang="0">
                  <a:pos x="884" y="92"/>
                </a:cxn>
                <a:cxn ang="0">
                  <a:pos x="867" y="103"/>
                </a:cxn>
                <a:cxn ang="0">
                  <a:pos x="846" y="109"/>
                </a:cxn>
                <a:cxn ang="0">
                  <a:pos x="713" y="113"/>
                </a:cxn>
                <a:cxn ang="0">
                  <a:pos x="581" y="128"/>
                </a:cxn>
                <a:cxn ang="0">
                  <a:pos x="452" y="153"/>
                </a:cxn>
                <a:cxn ang="0">
                  <a:pos x="324" y="185"/>
                </a:cxn>
                <a:cxn ang="0">
                  <a:pos x="200" y="229"/>
                </a:cxn>
                <a:cxn ang="0">
                  <a:pos x="78" y="282"/>
                </a:cxn>
                <a:cxn ang="0">
                  <a:pos x="67" y="286"/>
                </a:cxn>
                <a:cxn ang="0">
                  <a:pos x="55" y="288"/>
                </a:cxn>
                <a:cxn ang="0">
                  <a:pos x="36" y="284"/>
                </a:cxn>
                <a:cxn ang="0">
                  <a:pos x="19" y="275"/>
                </a:cxn>
                <a:cxn ang="0">
                  <a:pos x="6" y="258"/>
                </a:cxn>
                <a:cxn ang="0">
                  <a:pos x="0" y="237"/>
                </a:cxn>
                <a:cxn ang="0">
                  <a:pos x="4" y="216"/>
                </a:cxn>
                <a:cxn ang="0">
                  <a:pos x="13" y="198"/>
                </a:cxn>
                <a:cxn ang="0">
                  <a:pos x="31" y="185"/>
                </a:cxn>
                <a:cxn ang="0">
                  <a:pos x="160" y="128"/>
                </a:cxn>
                <a:cxn ang="0">
                  <a:pos x="292" y="82"/>
                </a:cxn>
                <a:cxn ang="0">
                  <a:pos x="427" y="46"/>
                </a:cxn>
                <a:cxn ang="0">
                  <a:pos x="564" y="19"/>
                </a:cxn>
                <a:cxn ang="0">
                  <a:pos x="703" y="4"/>
                </a:cxn>
                <a:cxn ang="0">
                  <a:pos x="846" y="0"/>
                </a:cxn>
              </a:cxnLst>
              <a:rect l="0" t="0" r="r" b="b"/>
              <a:pathLst>
                <a:path w="900" h="288">
                  <a:moveTo>
                    <a:pt x="846" y="0"/>
                  </a:moveTo>
                  <a:lnTo>
                    <a:pt x="867" y="4"/>
                  </a:lnTo>
                  <a:lnTo>
                    <a:pt x="884" y="16"/>
                  </a:lnTo>
                  <a:lnTo>
                    <a:pt x="896" y="33"/>
                  </a:lnTo>
                  <a:lnTo>
                    <a:pt x="900" y="54"/>
                  </a:lnTo>
                  <a:lnTo>
                    <a:pt x="896" y="75"/>
                  </a:lnTo>
                  <a:lnTo>
                    <a:pt x="884" y="92"/>
                  </a:lnTo>
                  <a:lnTo>
                    <a:pt x="867" y="103"/>
                  </a:lnTo>
                  <a:lnTo>
                    <a:pt x="846" y="109"/>
                  </a:lnTo>
                  <a:lnTo>
                    <a:pt x="713" y="113"/>
                  </a:lnTo>
                  <a:lnTo>
                    <a:pt x="581" y="128"/>
                  </a:lnTo>
                  <a:lnTo>
                    <a:pt x="452" y="153"/>
                  </a:lnTo>
                  <a:lnTo>
                    <a:pt x="324" y="185"/>
                  </a:lnTo>
                  <a:lnTo>
                    <a:pt x="200" y="229"/>
                  </a:lnTo>
                  <a:lnTo>
                    <a:pt x="78" y="282"/>
                  </a:lnTo>
                  <a:lnTo>
                    <a:pt x="67" y="286"/>
                  </a:lnTo>
                  <a:lnTo>
                    <a:pt x="55" y="288"/>
                  </a:lnTo>
                  <a:lnTo>
                    <a:pt x="36" y="284"/>
                  </a:lnTo>
                  <a:lnTo>
                    <a:pt x="19" y="275"/>
                  </a:lnTo>
                  <a:lnTo>
                    <a:pt x="6" y="258"/>
                  </a:lnTo>
                  <a:lnTo>
                    <a:pt x="0" y="237"/>
                  </a:lnTo>
                  <a:lnTo>
                    <a:pt x="4" y="216"/>
                  </a:lnTo>
                  <a:lnTo>
                    <a:pt x="13" y="198"/>
                  </a:lnTo>
                  <a:lnTo>
                    <a:pt x="31" y="185"/>
                  </a:lnTo>
                  <a:lnTo>
                    <a:pt x="160" y="128"/>
                  </a:lnTo>
                  <a:lnTo>
                    <a:pt x="292" y="82"/>
                  </a:lnTo>
                  <a:lnTo>
                    <a:pt x="427" y="46"/>
                  </a:lnTo>
                  <a:lnTo>
                    <a:pt x="564" y="19"/>
                  </a:lnTo>
                  <a:lnTo>
                    <a:pt x="703" y="4"/>
                  </a:lnTo>
                  <a:lnTo>
                    <a:pt x="8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ES" sz="1800"/>
            </a:p>
          </p:txBody>
        </p:sp>
        <p:sp>
          <p:nvSpPr>
            <p:cNvPr id="11" name="Freeform 7"/>
            <p:cNvSpPr>
              <a:spLocks/>
            </p:cNvSpPr>
            <p:nvPr/>
          </p:nvSpPr>
          <p:spPr bwMode="auto">
            <a:xfrm>
              <a:off x="-1493044" y="2691160"/>
              <a:ext cx="511175" cy="1109663"/>
            </a:xfrm>
            <a:custGeom>
              <a:avLst/>
              <a:gdLst/>
              <a:ahLst/>
              <a:cxnLst>
                <a:cxn ang="0">
                  <a:pos x="587" y="0"/>
                </a:cxn>
                <a:cxn ang="0">
                  <a:pos x="608" y="4"/>
                </a:cxn>
                <a:cxn ang="0">
                  <a:pos x="625" y="17"/>
                </a:cxn>
                <a:cxn ang="0">
                  <a:pos x="636" y="34"/>
                </a:cxn>
                <a:cxn ang="0">
                  <a:pos x="642" y="55"/>
                </a:cxn>
                <a:cxn ang="0">
                  <a:pos x="636" y="76"/>
                </a:cxn>
                <a:cxn ang="0">
                  <a:pos x="625" y="93"/>
                </a:cxn>
                <a:cxn ang="0">
                  <a:pos x="537" y="187"/>
                </a:cxn>
                <a:cxn ang="0">
                  <a:pos x="459" y="286"/>
                </a:cxn>
                <a:cxn ang="0">
                  <a:pos x="387" y="389"/>
                </a:cxn>
                <a:cxn ang="0">
                  <a:pos x="322" y="497"/>
                </a:cxn>
                <a:cxn ang="0">
                  <a:pos x="267" y="608"/>
                </a:cxn>
                <a:cxn ang="0">
                  <a:pos x="219" y="724"/>
                </a:cxn>
                <a:cxn ang="0">
                  <a:pos x="179" y="842"/>
                </a:cxn>
                <a:cxn ang="0">
                  <a:pos x="149" y="964"/>
                </a:cxn>
                <a:cxn ang="0">
                  <a:pos x="126" y="1088"/>
                </a:cxn>
                <a:cxn ang="0">
                  <a:pos x="112" y="1214"/>
                </a:cxn>
                <a:cxn ang="0">
                  <a:pos x="108" y="1341"/>
                </a:cxn>
                <a:cxn ang="0">
                  <a:pos x="105" y="1362"/>
                </a:cxn>
                <a:cxn ang="0">
                  <a:pos x="91" y="1381"/>
                </a:cxn>
                <a:cxn ang="0">
                  <a:pos x="74" y="1393"/>
                </a:cxn>
                <a:cxn ang="0">
                  <a:pos x="53" y="1397"/>
                </a:cxn>
                <a:cxn ang="0">
                  <a:pos x="32" y="1393"/>
                </a:cxn>
                <a:cxn ang="0">
                  <a:pos x="15" y="1381"/>
                </a:cxn>
                <a:cxn ang="0">
                  <a:pos x="4" y="1362"/>
                </a:cxn>
                <a:cxn ang="0">
                  <a:pos x="0" y="1341"/>
                </a:cxn>
                <a:cxn ang="0">
                  <a:pos x="4" y="1206"/>
                </a:cxn>
                <a:cxn ang="0">
                  <a:pos x="19" y="1073"/>
                </a:cxn>
                <a:cxn ang="0">
                  <a:pos x="42" y="941"/>
                </a:cxn>
                <a:cxn ang="0">
                  <a:pos x="74" y="812"/>
                </a:cxn>
                <a:cxn ang="0">
                  <a:pos x="116" y="686"/>
                </a:cxn>
                <a:cxn ang="0">
                  <a:pos x="168" y="564"/>
                </a:cxn>
                <a:cxn ang="0">
                  <a:pos x="227" y="446"/>
                </a:cxn>
                <a:cxn ang="0">
                  <a:pos x="295" y="330"/>
                </a:cxn>
                <a:cxn ang="0">
                  <a:pos x="372" y="221"/>
                </a:cxn>
                <a:cxn ang="0">
                  <a:pos x="455" y="116"/>
                </a:cxn>
                <a:cxn ang="0">
                  <a:pos x="549" y="17"/>
                </a:cxn>
                <a:cxn ang="0">
                  <a:pos x="566" y="4"/>
                </a:cxn>
                <a:cxn ang="0">
                  <a:pos x="587" y="0"/>
                </a:cxn>
              </a:cxnLst>
              <a:rect l="0" t="0" r="r" b="b"/>
              <a:pathLst>
                <a:path w="642" h="1397">
                  <a:moveTo>
                    <a:pt x="587" y="0"/>
                  </a:moveTo>
                  <a:lnTo>
                    <a:pt x="608" y="4"/>
                  </a:lnTo>
                  <a:lnTo>
                    <a:pt x="625" y="17"/>
                  </a:lnTo>
                  <a:lnTo>
                    <a:pt x="636" y="34"/>
                  </a:lnTo>
                  <a:lnTo>
                    <a:pt x="642" y="55"/>
                  </a:lnTo>
                  <a:lnTo>
                    <a:pt x="636" y="76"/>
                  </a:lnTo>
                  <a:lnTo>
                    <a:pt x="625" y="93"/>
                  </a:lnTo>
                  <a:lnTo>
                    <a:pt x="537" y="187"/>
                  </a:lnTo>
                  <a:lnTo>
                    <a:pt x="459" y="286"/>
                  </a:lnTo>
                  <a:lnTo>
                    <a:pt x="387" y="389"/>
                  </a:lnTo>
                  <a:lnTo>
                    <a:pt x="322" y="497"/>
                  </a:lnTo>
                  <a:lnTo>
                    <a:pt x="267" y="608"/>
                  </a:lnTo>
                  <a:lnTo>
                    <a:pt x="219" y="724"/>
                  </a:lnTo>
                  <a:lnTo>
                    <a:pt x="179" y="842"/>
                  </a:lnTo>
                  <a:lnTo>
                    <a:pt x="149" y="964"/>
                  </a:lnTo>
                  <a:lnTo>
                    <a:pt x="126" y="1088"/>
                  </a:lnTo>
                  <a:lnTo>
                    <a:pt x="112" y="1214"/>
                  </a:lnTo>
                  <a:lnTo>
                    <a:pt x="108" y="1341"/>
                  </a:lnTo>
                  <a:lnTo>
                    <a:pt x="105" y="1362"/>
                  </a:lnTo>
                  <a:lnTo>
                    <a:pt x="91" y="1381"/>
                  </a:lnTo>
                  <a:lnTo>
                    <a:pt x="74" y="1393"/>
                  </a:lnTo>
                  <a:lnTo>
                    <a:pt x="53" y="1397"/>
                  </a:lnTo>
                  <a:lnTo>
                    <a:pt x="32" y="1393"/>
                  </a:lnTo>
                  <a:lnTo>
                    <a:pt x="15" y="1381"/>
                  </a:lnTo>
                  <a:lnTo>
                    <a:pt x="4" y="1362"/>
                  </a:lnTo>
                  <a:lnTo>
                    <a:pt x="0" y="1341"/>
                  </a:lnTo>
                  <a:lnTo>
                    <a:pt x="4" y="1206"/>
                  </a:lnTo>
                  <a:lnTo>
                    <a:pt x="19" y="1073"/>
                  </a:lnTo>
                  <a:lnTo>
                    <a:pt x="42" y="941"/>
                  </a:lnTo>
                  <a:lnTo>
                    <a:pt x="74" y="812"/>
                  </a:lnTo>
                  <a:lnTo>
                    <a:pt x="116" y="686"/>
                  </a:lnTo>
                  <a:lnTo>
                    <a:pt x="168" y="564"/>
                  </a:lnTo>
                  <a:lnTo>
                    <a:pt x="227" y="446"/>
                  </a:lnTo>
                  <a:lnTo>
                    <a:pt x="295" y="330"/>
                  </a:lnTo>
                  <a:lnTo>
                    <a:pt x="372" y="221"/>
                  </a:lnTo>
                  <a:lnTo>
                    <a:pt x="455" y="116"/>
                  </a:lnTo>
                  <a:lnTo>
                    <a:pt x="549" y="17"/>
                  </a:lnTo>
                  <a:lnTo>
                    <a:pt x="566" y="4"/>
                  </a:lnTo>
                  <a:lnTo>
                    <a:pt x="58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ES" sz="1800"/>
            </a:p>
          </p:txBody>
        </p:sp>
        <p:sp>
          <p:nvSpPr>
            <p:cNvPr id="12" name="Freeform 8"/>
            <p:cNvSpPr>
              <a:spLocks/>
            </p:cNvSpPr>
            <p:nvPr/>
          </p:nvSpPr>
          <p:spPr bwMode="auto">
            <a:xfrm>
              <a:off x="973931" y="3715097"/>
              <a:ext cx="509588" cy="1106488"/>
            </a:xfrm>
            <a:custGeom>
              <a:avLst/>
              <a:gdLst/>
              <a:ahLst/>
              <a:cxnLst>
                <a:cxn ang="0">
                  <a:pos x="588" y="0"/>
                </a:cxn>
                <a:cxn ang="0">
                  <a:pos x="609" y="4"/>
                </a:cxn>
                <a:cxn ang="0">
                  <a:pos x="627" y="15"/>
                </a:cxn>
                <a:cxn ang="0">
                  <a:pos x="638" y="32"/>
                </a:cxn>
                <a:cxn ang="0">
                  <a:pos x="642" y="53"/>
                </a:cxn>
                <a:cxn ang="0">
                  <a:pos x="638" y="191"/>
                </a:cxn>
                <a:cxn ang="0">
                  <a:pos x="623" y="324"/>
                </a:cxn>
                <a:cxn ang="0">
                  <a:pos x="600" y="455"/>
                </a:cxn>
                <a:cxn ang="0">
                  <a:pos x="567" y="585"/>
                </a:cxn>
                <a:cxn ang="0">
                  <a:pos x="526" y="711"/>
                </a:cxn>
                <a:cxn ang="0">
                  <a:pos x="474" y="833"/>
                </a:cxn>
                <a:cxn ang="0">
                  <a:pos x="415" y="951"/>
                </a:cxn>
                <a:cxn ang="0">
                  <a:pos x="346" y="1065"/>
                </a:cxn>
                <a:cxn ang="0">
                  <a:pos x="270" y="1176"/>
                </a:cxn>
                <a:cxn ang="0">
                  <a:pos x="186" y="1280"/>
                </a:cxn>
                <a:cxn ang="0">
                  <a:pos x="93" y="1380"/>
                </a:cxn>
                <a:cxn ang="0">
                  <a:pos x="76" y="1391"/>
                </a:cxn>
                <a:cxn ang="0">
                  <a:pos x="55" y="1395"/>
                </a:cxn>
                <a:cxn ang="0">
                  <a:pos x="34" y="1391"/>
                </a:cxn>
                <a:cxn ang="0">
                  <a:pos x="17" y="1380"/>
                </a:cxn>
                <a:cxn ang="0">
                  <a:pos x="5" y="1362"/>
                </a:cxn>
                <a:cxn ang="0">
                  <a:pos x="0" y="1341"/>
                </a:cxn>
                <a:cxn ang="0">
                  <a:pos x="5" y="1321"/>
                </a:cxn>
                <a:cxn ang="0">
                  <a:pos x="17" y="1303"/>
                </a:cxn>
                <a:cxn ang="0">
                  <a:pos x="104" y="1210"/>
                </a:cxn>
                <a:cxn ang="0">
                  <a:pos x="182" y="1111"/>
                </a:cxn>
                <a:cxn ang="0">
                  <a:pos x="255" y="1006"/>
                </a:cxn>
                <a:cxn ang="0">
                  <a:pos x="320" y="899"/>
                </a:cxn>
                <a:cxn ang="0">
                  <a:pos x="375" y="787"/>
                </a:cxn>
                <a:cxn ang="0">
                  <a:pos x="423" y="673"/>
                </a:cxn>
                <a:cxn ang="0">
                  <a:pos x="463" y="555"/>
                </a:cxn>
                <a:cxn ang="0">
                  <a:pos x="493" y="433"/>
                </a:cxn>
                <a:cxn ang="0">
                  <a:pos x="516" y="309"/>
                </a:cxn>
                <a:cxn ang="0">
                  <a:pos x="529" y="181"/>
                </a:cxn>
                <a:cxn ang="0">
                  <a:pos x="533" y="53"/>
                </a:cxn>
                <a:cxn ang="0">
                  <a:pos x="539" y="32"/>
                </a:cxn>
                <a:cxn ang="0">
                  <a:pos x="550" y="15"/>
                </a:cxn>
                <a:cxn ang="0">
                  <a:pos x="567" y="4"/>
                </a:cxn>
                <a:cxn ang="0">
                  <a:pos x="588" y="0"/>
                </a:cxn>
              </a:cxnLst>
              <a:rect l="0" t="0" r="r" b="b"/>
              <a:pathLst>
                <a:path w="642" h="1395">
                  <a:moveTo>
                    <a:pt x="588" y="0"/>
                  </a:moveTo>
                  <a:lnTo>
                    <a:pt x="609" y="4"/>
                  </a:lnTo>
                  <a:lnTo>
                    <a:pt x="627" y="15"/>
                  </a:lnTo>
                  <a:lnTo>
                    <a:pt x="638" y="32"/>
                  </a:lnTo>
                  <a:lnTo>
                    <a:pt x="642" y="53"/>
                  </a:lnTo>
                  <a:lnTo>
                    <a:pt x="638" y="191"/>
                  </a:lnTo>
                  <a:lnTo>
                    <a:pt x="623" y="324"/>
                  </a:lnTo>
                  <a:lnTo>
                    <a:pt x="600" y="455"/>
                  </a:lnTo>
                  <a:lnTo>
                    <a:pt x="567" y="585"/>
                  </a:lnTo>
                  <a:lnTo>
                    <a:pt x="526" y="711"/>
                  </a:lnTo>
                  <a:lnTo>
                    <a:pt x="474" y="833"/>
                  </a:lnTo>
                  <a:lnTo>
                    <a:pt x="415" y="951"/>
                  </a:lnTo>
                  <a:lnTo>
                    <a:pt x="346" y="1065"/>
                  </a:lnTo>
                  <a:lnTo>
                    <a:pt x="270" y="1176"/>
                  </a:lnTo>
                  <a:lnTo>
                    <a:pt x="186" y="1280"/>
                  </a:lnTo>
                  <a:lnTo>
                    <a:pt x="93" y="1380"/>
                  </a:lnTo>
                  <a:lnTo>
                    <a:pt x="76" y="1391"/>
                  </a:lnTo>
                  <a:lnTo>
                    <a:pt x="55" y="1395"/>
                  </a:lnTo>
                  <a:lnTo>
                    <a:pt x="34" y="1391"/>
                  </a:lnTo>
                  <a:lnTo>
                    <a:pt x="17" y="1380"/>
                  </a:lnTo>
                  <a:lnTo>
                    <a:pt x="5" y="1362"/>
                  </a:lnTo>
                  <a:lnTo>
                    <a:pt x="0" y="1341"/>
                  </a:lnTo>
                  <a:lnTo>
                    <a:pt x="5" y="1321"/>
                  </a:lnTo>
                  <a:lnTo>
                    <a:pt x="17" y="1303"/>
                  </a:lnTo>
                  <a:lnTo>
                    <a:pt x="104" y="1210"/>
                  </a:lnTo>
                  <a:lnTo>
                    <a:pt x="182" y="1111"/>
                  </a:lnTo>
                  <a:lnTo>
                    <a:pt x="255" y="1006"/>
                  </a:lnTo>
                  <a:lnTo>
                    <a:pt x="320" y="899"/>
                  </a:lnTo>
                  <a:lnTo>
                    <a:pt x="375" y="787"/>
                  </a:lnTo>
                  <a:lnTo>
                    <a:pt x="423" y="673"/>
                  </a:lnTo>
                  <a:lnTo>
                    <a:pt x="463" y="555"/>
                  </a:lnTo>
                  <a:lnTo>
                    <a:pt x="493" y="433"/>
                  </a:lnTo>
                  <a:lnTo>
                    <a:pt x="516" y="309"/>
                  </a:lnTo>
                  <a:lnTo>
                    <a:pt x="529" y="181"/>
                  </a:lnTo>
                  <a:lnTo>
                    <a:pt x="533" y="53"/>
                  </a:lnTo>
                  <a:lnTo>
                    <a:pt x="539" y="32"/>
                  </a:lnTo>
                  <a:lnTo>
                    <a:pt x="550" y="15"/>
                  </a:lnTo>
                  <a:lnTo>
                    <a:pt x="567" y="4"/>
                  </a:lnTo>
                  <a:lnTo>
                    <a:pt x="58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ES" sz="1800"/>
            </a:p>
          </p:txBody>
        </p:sp>
        <p:sp>
          <p:nvSpPr>
            <p:cNvPr id="13" name="Freeform 9"/>
            <p:cNvSpPr>
              <a:spLocks noEditPoints="1"/>
            </p:cNvSpPr>
            <p:nvPr/>
          </p:nvSpPr>
          <p:spPr bwMode="auto">
            <a:xfrm>
              <a:off x="-1259682" y="2502247"/>
              <a:ext cx="2509838" cy="2509838"/>
            </a:xfrm>
            <a:custGeom>
              <a:avLst/>
              <a:gdLst/>
              <a:ahLst/>
              <a:cxnLst>
                <a:cxn ang="0">
                  <a:pos x="1636" y="1955"/>
                </a:cxn>
                <a:cxn ang="0">
                  <a:pos x="1981" y="2997"/>
                </a:cxn>
                <a:cxn ang="0">
                  <a:pos x="2400" y="2805"/>
                </a:cxn>
                <a:cxn ang="0">
                  <a:pos x="1354" y="1884"/>
                </a:cxn>
                <a:cxn ang="0">
                  <a:pos x="862" y="2866"/>
                </a:cxn>
                <a:cxn ang="0">
                  <a:pos x="1294" y="3024"/>
                </a:cxn>
                <a:cxn ang="0">
                  <a:pos x="1466" y="1941"/>
                </a:cxn>
                <a:cxn ang="0">
                  <a:pos x="1943" y="1696"/>
                </a:cxn>
                <a:cxn ang="0">
                  <a:pos x="2737" y="2492"/>
                </a:cxn>
                <a:cxn ang="0">
                  <a:pos x="2964" y="2090"/>
                </a:cxn>
                <a:cxn ang="0">
                  <a:pos x="3052" y="1635"/>
                </a:cxn>
                <a:cxn ang="0">
                  <a:pos x="138" y="1867"/>
                </a:cxn>
                <a:cxn ang="0">
                  <a:pos x="296" y="2300"/>
                </a:cxn>
                <a:cxn ang="0">
                  <a:pos x="1277" y="1808"/>
                </a:cxn>
                <a:cxn ang="0">
                  <a:pos x="111" y="1635"/>
                </a:cxn>
                <a:cxn ang="0">
                  <a:pos x="1432" y="1355"/>
                </a:cxn>
                <a:cxn ang="0">
                  <a:pos x="1315" y="1526"/>
                </a:cxn>
                <a:cxn ang="0">
                  <a:pos x="1355" y="1730"/>
                </a:cxn>
                <a:cxn ang="0">
                  <a:pos x="1529" y="1846"/>
                </a:cxn>
                <a:cxn ang="0">
                  <a:pos x="1731" y="1806"/>
                </a:cxn>
                <a:cxn ang="0">
                  <a:pos x="1832" y="1684"/>
                </a:cxn>
                <a:cxn ang="0">
                  <a:pos x="1832" y="1476"/>
                </a:cxn>
                <a:cxn ang="0">
                  <a:pos x="1685" y="1330"/>
                </a:cxn>
                <a:cxn ang="0">
                  <a:pos x="1885" y="1353"/>
                </a:cxn>
                <a:cxn ang="0">
                  <a:pos x="3052" y="1526"/>
                </a:cxn>
                <a:cxn ang="0">
                  <a:pos x="2964" y="1071"/>
                </a:cxn>
                <a:cxn ang="0">
                  <a:pos x="2737" y="669"/>
                </a:cxn>
                <a:cxn ang="0">
                  <a:pos x="357" y="762"/>
                </a:cxn>
                <a:cxn ang="0">
                  <a:pos x="164" y="1181"/>
                </a:cxn>
                <a:cxn ang="0">
                  <a:pos x="1205" y="1526"/>
                </a:cxn>
                <a:cxn ang="0">
                  <a:pos x="502" y="579"/>
                </a:cxn>
                <a:cxn ang="0">
                  <a:pos x="1756" y="1242"/>
                </a:cxn>
                <a:cxn ang="0">
                  <a:pos x="2400" y="356"/>
                </a:cxn>
                <a:cxn ang="0">
                  <a:pos x="1981" y="164"/>
                </a:cxn>
                <a:cxn ang="0">
                  <a:pos x="1527" y="108"/>
                </a:cxn>
                <a:cxn ang="0">
                  <a:pos x="1071" y="198"/>
                </a:cxn>
                <a:cxn ang="0">
                  <a:pos x="669" y="425"/>
                </a:cxn>
                <a:cxn ang="0">
                  <a:pos x="1466" y="1219"/>
                </a:cxn>
                <a:cxn ang="0">
                  <a:pos x="1708" y="4"/>
                </a:cxn>
                <a:cxn ang="0">
                  <a:pos x="2186" y="120"/>
                </a:cxn>
                <a:cxn ang="0">
                  <a:pos x="2608" y="377"/>
                </a:cxn>
                <a:cxn ang="0">
                  <a:pos x="2932" y="756"/>
                </a:cxn>
                <a:cxn ang="0">
                  <a:pos x="3118" y="1210"/>
                </a:cxn>
                <a:cxn ang="0">
                  <a:pos x="3158" y="1705"/>
                </a:cxn>
                <a:cxn ang="0">
                  <a:pos x="3042" y="2185"/>
                </a:cxn>
                <a:cxn ang="0">
                  <a:pos x="2785" y="2605"/>
                </a:cxn>
                <a:cxn ang="0">
                  <a:pos x="2406" y="2930"/>
                </a:cxn>
                <a:cxn ang="0">
                  <a:pos x="1952" y="3117"/>
                </a:cxn>
                <a:cxn ang="0">
                  <a:pos x="1455" y="3155"/>
                </a:cxn>
                <a:cxn ang="0">
                  <a:pos x="976" y="3041"/>
                </a:cxn>
                <a:cxn ang="0">
                  <a:pos x="555" y="2784"/>
                </a:cxn>
                <a:cxn ang="0">
                  <a:pos x="231" y="2404"/>
                </a:cxn>
                <a:cxn ang="0">
                  <a:pos x="44" y="1951"/>
                </a:cxn>
                <a:cxn ang="0">
                  <a:pos x="4" y="1454"/>
                </a:cxn>
                <a:cxn ang="0">
                  <a:pos x="120" y="975"/>
                </a:cxn>
                <a:cxn ang="0">
                  <a:pos x="378" y="554"/>
                </a:cxn>
                <a:cxn ang="0">
                  <a:pos x="757" y="230"/>
                </a:cxn>
                <a:cxn ang="0">
                  <a:pos x="1211" y="44"/>
                </a:cxn>
              </a:cxnLst>
              <a:rect l="0" t="0" r="r" b="b"/>
              <a:pathLst>
                <a:path w="3162" h="3161">
                  <a:moveTo>
                    <a:pt x="1809" y="1884"/>
                  </a:moveTo>
                  <a:lnTo>
                    <a:pt x="1756" y="1919"/>
                  </a:lnTo>
                  <a:lnTo>
                    <a:pt x="1697" y="1941"/>
                  </a:lnTo>
                  <a:lnTo>
                    <a:pt x="1636" y="1955"/>
                  </a:lnTo>
                  <a:lnTo>
                    <a:pt x="1636" y="3050"/>
                  </a:lnTo>
                  <a:lnTo>
                    <a:pt x="1754" y="3043"/>
                  </a:lnTo>
                  <a:lnTo>
                    <a:pt x="1868" y="3024"/>
                  </a:lnTo>
                  <a:lnTo>
                    <a:pt x="1981" y="2997"/>
                  </a:lnTo>
                  <a:lnTo>
                    <a:pt x="2091" y="2961"/>
                  </a:lnTo>
                  <a:lnTo>
                    <a:pt x="2198" y="2917"/>
                  </a:lnTo>
                  <a:lnTo>
                    <a:pt x="2301" y="2866"/>
                  </a:lnTo>
                  <a:lnTo>
                    <a:pt x="2400" y="2805"/>
                  </a:lnTo>
                  <a:lnTo>
                    <a:pt x="2493" y="2736"/>
                  </a:lnTo>
                  <a:lnTo>
                    <a:pt x="2583" y="2658"/>
                  </a:lnTo>
                  <a:lnTo>
                    <a:pt x="1809" y="1884"/>
                  </a:lnTo>
                  <a:close/>
                  <a:moveTo>
                    <a:pt x="1354" y="1884"/>
                  </a:moveTo>
                  <a:lnTo>
                    <a:pt x="580" y="2658"/>
                  </a:lnTo>
                  <a:lnTo>
                    <a:pt x="669" y="2736"/>
                  </a:lnTo>
                  <a:lnTo>
                    <a:pt x="763" y="2805"/>
                  </a:lnTo>
                  <a:lnTo>
                    <a:pt x="862" y="2866"/>
                  </a:lnTo>
                  <a:lnTo>
                    <a:pt x="965" y="2917"/>
                  </a:lnTo>
                  <a:lnTo>
                    <a:pt x="1071" y="2961"/>
                  </a:lnTo>
                  <a:lnTo>
                    <a:pt x="1182" y="2997"/>
                  </a:lnTo>
                  <a:lnTo>
                    <a:pt x="1294" y="3024"/>
                  </a:lnTo>
                  <a:lnTo>
                    <a:pt x="1409" y="3043"/>
                  </a:lnTo>
                  <a:lnTo>
                    <a:pt x="1527" y="3050"/>
                  </a:lnTo>
                  <a:lnTo>
                    <a:pt x="1527" y="1955"/>
                  </a:lnTo>
                  <a:lnTo>
                    <a:pt x="1466" y="1941"/>
                  </a:lnTo>
                  <a:lnTo>
                    <a:pt x="1407" y="1919"/>
                  </a:lnTo>
                  <a:lnTo>
                    <a:pt x="1354" y="1884"/>
                  </a:lnTo>
                  <a:close/>
                  <a:moveTo>
                    <a:pt x="1958" y="1635"/>
                  </a:moveTo>
                  <a:lnTo>
                    <a:pt x="1943" y="1696"/>
                  </a:lnTo>
                  <a:lnTo>
                    <a:pt x="1920" y="1755"/>
                  </a:lnTo>
                  <a:lnTo>
                    <a:pt x="1885" y="1808"/>
                  </a:lnTo>
                  <a:lnTo>
                    <a:pt x="2661" y="2582"/>
                  </a:lnTo>
                  <a:lnTo>
                    <a:pt x="2737" y="2492"/>
                  </a:lnTo>
                  <a:lnTo>
                    <a:pt x="2806" y="2399"/>
                  </a:lnTo>
                  <a:lnTo>
                    <a:pt x="2867" y="2300"/>
                  </a:lnTo>
                  <a:lnTo>
                    <a:pt x="2918" y="2197"/>
                  </a:lnTo>
                  <a:lnTo>
                    <a:pt x="2964" y="2090"/>
                  </a:lnTo>
                  <a:lnTo>
                    <a:pt x="2998" y="1980"/>
                  </a:lnTo>
                  <a:lnTo>
                    <a:pt x="3025" y="1867"/>
                  </a:lnTo>
                  <a:lnTo>
                    <a:pt x="3044" y="1753"/>
                  </a:lnTo>
                  <a:lnTo>
                    <a:pt x="3052" y="1635"/>
                  </a:lnTo>
                  <a:lnTo>
                    <a:pt x="1958" y="1635"/>
                  </a:lnTo>
                  <a:close/>
                  <a:moveTo>
                    <a:pt x="111" y="1635"/>
                  </a:moveTo>
                  <a:lnTo>
                    <a:pt x="119" y="1753"/>
                  </a:lnTo>
                  <a:lnTo>
                    <a:pt x="138" y="1867"/>
                  </a:lnTo>
                  <a:lnTo>
                    <a:pt x="164" y="1980"/>
                  </a:lnTo>
                  <a:lnTo>
                    <a:pt x="199" y="2090"/>
                  </a:lnTo>
                  <a:lnTo>
                    <a:pt x="244" y="2197"/>
                  </a:lnTo>
                  <a:lnTo>
                    <a:pt x="296" y="2300"/>
                  </a:lnTo>
                  <a:lnTo>
                    <a:pt x="357" y="2399"/>
                  </a:lnTo>
                  <a:lnTo>
                    <a:pt x="425" y="2492"/>
                  </a:lnTo>
                  <a:lnTo>
                    <a:pt x="502" y="2582"/>
                  </a:lnTo>
                  <a:lnTo>
                    <a:pt x="1277" y="1808"/>
                  </a:lnTo>
                  <a:lnTo>
                    <a:pt x="1243" y="1755"/>
                  </a:lnTo>
                  <a:lnTo>
                    <a:pt x="1220" y="1696"/>
                  </a:lnTo>
                  <a:lnTo>
                    <a:pt x="1205" y="1635"/>
                  </a:lnTo>
                  <a:lnTo>
                    <a:pt x="111" y="1635"/>
                  </a:lnTo>
                  <a:close/>
                  <a:moveTo>
                    <a:pt x="1580" y="1309"/>
                  </a:moveTo>
                  <a:lnTo>
                    <a:pt x="1529" y="1315"/>
                  </a:lnTo>
                  <a:lnTo>
                    <a:pt x="1477" y="1330"/>
                  </a:lnTo>
                  <a:lnTo>
                    <a:pt x="1432" y="1355"/>
                  </a:lnTo>
                  <a:lnTo>
                    <a:pt x="1390" y="1389"/>
                  </a:lnTo>
                  <a:lnTo>
                    <a:pt x="1355" y="1431"/>
                  </a:lnTo>
                  <a:lnTo>
                    <a:pt x="1331" y="1476"/>
                  </a:lnTo>
                  <a:lnTo>
                    <a:pt x="1315" y="1526"/>
                  </a:lnTo>
                  <a:lnTo>
                    <a:pt x="1310" y="1579"/>
                  </a:lnTo>
                  <a:lnTo>
                    <a:pt x="1315" y="1633"/>
                  </a:lnTo>
                  <a:lnTo>
                    <a:pt x="1331" y="1684"/>
                  </a:lnTo>
                  <a:lnTo>
                    <a:pt x="1355" y="1730"/>
                  </a:lnTo>
                  <a:lnTo>
                    <a:pt x="1390" y="1772"/>
                  </a:lnTo>
                  <a:lnTo>
                    <a:pt x="1432" y="1806"/>
                  </a:lnTo>
                  <a:lnTo>
                    <a:pt x="1477" y="1831"/>
                  </a:lnTo>
                  <a:lnTo>
                    <a:pt x="1529" y="1846"/>
                  </a:lnTo>
                  <a:lnTo>
                    <a:pt x="1582" y="1850"/>
                  </a:lnTo>
                  <a:lnTo>
                    <a:pt x="1634" y="1846"/>
                  </a:lnTo>
                  <a:lnTo>
                    <a:pt x="1685" y="1831"/>
                  </a:lnTo>
                  <a:lnTo>
                    <a:pt x="1731" y="1806"/>
                  </a:lnTo>
                  <a:lnTo>
                    <a:pt x="1773" y="1772"/>
                  </a:lnTo>
                  <a:lnTo>
                    <a:pt x="1773" y="1772"/>
                  </a:lnTo>
                  <a:lnTo>
                    <a:pt x="1807" y="1730"/>
                  </a:lnTo>
                  <a:lnTo>
                    <a:pt x="1832" y="1684"/>
                  </a:lnTo>
                  <a:lnTo>
                    <a:pt x="1847" y="1633"/>
                  </a:lnTo>
                  <a:lnTo>
                    <a:pt x="1853" y="1579"/>
                  </a:lnTo>
                  <a:lnTo>
                    <a:pt x="1847" y="1526"/>
                  </a:lnTo>
                  <a:lnTo>
                    <a:pt x="1832" y="1476"/>
                  </a:lnTo>
                  <a:lnTo>
                    <a:pt x="1807" y="1431"/>
                  </a:lnTo>
                  <a:lnTo>
                    <a:pt x="1773" y="1389"/>
                  </a:lnTo>
                  <a:lnTo>
                    <a:pt x="1731" y="1355"/>
                  </a:lnTo>
                  <a:lnTo>
                    <a:pt x="1685" y="1330"/>
                  </a:lnTo>
                  <a:lnTo>
                    <a:pt x="1634" y="1315"/>
                  </a:lnTo>
                  <a:lnTo>
                    <a:pt x="1580" y="1309"/>
                  </a:lnTo>
                  <a:close/>
                  <a:moveTo>
                    <a:pt x="2661" y="579"/>
                  </a:moveTo>
                  <a:lnTo>
                    <a:pt x="1885" y="1353"/>
                  </a:lnTo>
                  <a:lnTo>
                    <a:pt x="1920" y="1406"/>
                  </a:lnTo>
                  <a:lnTo>
                    <a:pt x="1943" y="1465"/>
                  </a:lnTo>
                  <a:lnTo>
                    <a:pt x="1958" y="1526"/>
                  </a:lnTo>
                  <a:lnTo>
                    <a:pt x="3052" y="1526"/>
                  </a:lnTo>
                  <a:lnTo>
                    <a:pt x="3044" y="1408"/>
                  </a:lnTo>
                  <a:lnTo>
                    <a:pt x="3025" y="1294"/>
                  </a:lnTo>
                  <a:lnTo>
                    <a:pt x="2998" y="1181"/>
                  </a:lnTo>
                  <a:lnTo>
                    <a:pt x="2964" y="1071"/>
                  </a:lnTo>
                  <a:lnTo>
                    <a:pt x="2918" y="964"/>
                  </a:lnTo>
                  <a:lnTo>
                    <a:pt x="2867" y="861"/>
                  </a:lnTo>
                  <a:lnTo>
                    <a:pt x="2806" y="762"/>
                  </a:lnTo>
                  <a:lnTo>
                    <a:pt x="2737" y="669"/>
                  </a:lnTo>
                  <a:lnTo>
                    <a:pt x="2661" y="579"/>
                  </a:lnTo>
                  <a:close/>
                  <a:moveTo>
                    <a:pt x="502" y="579"/>
                  </a:moveTo>
                  <a:lnTo>
                    <a:pt x="425" y="669"/>
                  </a:lnTo>
                  <a:lnTo>
                    <a:pt x="357" y="762"/>
                  </a:lnTo>
                  <a:lnTo>
                    <a:pt x="296" y="861"/>
                  </a:lnTo>
                  <a:lnTo>
                    <a:pt x="244" y="964"/>
                  </a:lnTo>
                  <a:lnTo>
                    <a:pt x="199" y="1071"/>
                  </a:lnTo>
                  <a:lnTo>
                    <a:pt x="164" y="1181"/>
                  </a:lnTo>
                  <a:lnTo>
                    <a:pt x="138" y="1294"/>
                  </a:lnTo>
                  <a:lnTo>
                    <a:pt x="119" y="1408"/>
                  </a:lnTo>
                  <a:lnTo>
                    <a:pt x="111" y="1526"/>
                  </a:lnTo>
                  <a:lnTo>
                    <a:pt x="1205" y="1526"/>
                  </a:lnTo>
                  <a:lnTo>
                    <a:pt x="1220" y="1465"/>
                  </a:lnTo>
                  <a:lnTo>
                    <a:pt x="1243" y="1406"/>
                  </a:lnTo>
                  <a:lnTo>
                    <a:pt x="1277" y="1353"/>
                  </a:lnTo>
                  <a:lnTo>
                    <a:pt x="502" y="579"/>
                  </a:lnTo>
                  <a:close/>
                  <a:moveTo>
                    <a:pt x="1636" y="108"/>
                  </a:moveTo>
                  <a:lnTo>
                    <a:pt x="1636" y="1204"/>
                  </a:lnTo>
                  <a:lnTo>
                    <a:pt x="1697" y="1219"/>
                  </a:lnTo>
                  <a:lnTo>
                    <a:pt x="1756" y="1242"/>
                  </a:lnTo>
                  <a:lnTo>
                    <a:pt x="1809" y="1276"/>
                  </a:lnTo>
                  <a:lnTo>
                    <a:pt x="2583" y="501"/>
                  </a:lnTo>
                  <a:lnTo>
                    <a:pt x="2493" y="425"/>
                  </a:lnTo>
                  <a:lnTo>
                    <a:pt x="2400" y="356"/>
                  </a:lnTo>
                  <a:lnTo>
                    <a:pt x="2301" y="295"/>
                  </a:lnTo>
                  <a:lnTo>
                    <a:pt x="2198" y="242"/>
                  </a:lnTo>
                  <a:lnTo>
                    <a:pt x="2091" y="198"/>
                  </a:lnTo>
                  <a:lnTo>
                    <a:pt x="1981" y="164"/>
                  </a:lnTo>
                  <a:lnTo>
                    <a:pt x="1868" y="137"/>
                  </a:lnTo>
                  <a:lnTo>
                    <a:pt x="1754" y="118"/>
                  </a:lnTo>
                  <a:lnTo>
                    <a:pt x="1636" y="108"/>
                  </a:lnTo>
                  <a:close/>
                  <a:moveTo>
                    <a:pt x="1527" y="108"/>
                  </a:moveTo>
                  <a:lnTo>
                    <a:pt x="1409" y="118"/>
                  </a:lnTo>
                  <a:lnTo>
                    <a:pt x="1294" y="137"/>
                  </a:lnTo>
                  <a:lnTo>
                    <a:pt x="1182" y="164"/>
                  </a:lnTo>
                  <a:lnTo>
                    <a:pt x="1071" y="198"/>
                  </a:lnTo>
                  <a:lnTo>
                    <a:pt x="965" y="242"/>
                  </a:lnTo>
                  <a:lnTo>
                    <a:pt x="862" y="295"/>
                  </a:lnTo>
                  <a:lnTo>
                    <a:pt x="763" y="356"/>
                  </a:lnTo>
                  <a:lnTo>
                    <a:pt x="669" y="425"/>
                  </a:lnTo>
                  <a:lnTo>
                    <a:pt x="580" y="501"/>
                  </a:lnTo>
                  <a:lnTo>
                    <a:pt x="1354" y="1276"/>
                  </a:lnTo>
                  <a:lnTo>
                    <a:pt x="1407" y="1242"/>
                  </a:lnTo>
                  <a:lnTo>
                    <a:pt x="1466" y="1219"/>
                  </a:lnTo>
                  <a:lnTo>
                    <a:pt x="1527" y="1204"/>
                  </a:lnTo>
                  <a:lnTo>
                    <a:pt x="1527" y="108"/>
                  </a:lnTo>
                  <a:close/>
                  <a:moveTo>
                    <a:pt x="1582" y="0"/>
                  </a:moveTo>
                  <a:lnTo>
                    <a:pt x="1708" y="4"/>
                  </a:lnTo>
                  <a:lnTo>
                    <a:pt x="1832" y="19"/>
                  </a:lnTo>
                  <a:lnTo>
                    <a:pt x="1952" y="44"/>
                  </a:lnTo>
                  <a:lnTo>
                    <a:pt x="2072" y="76"/>
                  </a:lnTo>
                  <a:lnTo>
                    <a:pt x="2186" y="120"/>
                  </a:lnTo>
                  <a:lnTo>
                    <a:pt x="2299" y="171"/>
                  </a:lnTo>
                  <a:lnTo>
                    <a:pt x="2406" y="230"/>
                  </a:lnTo>
                  <a:lnTo>
                    <a:pt x="2509" y="299"/>
                  </a:lnTo>
                  <a:lnTo>
                    <a:pt x="2608" y="377"/>
                  </a:lnTo>
                  <a:lnTo>
                    <a:pt x="2699" y="463"/>
                  </a:lnTo>
                  <a:lnTo>
                    <a:pt x="2785" y="554"/>
                  </a:lnTo>
                  <a:lnTo>
                    <a:pt x="2863" y="653"/>
                  </a:lnTo>
                  <a:lnTo>
                    <a:pt x="2932" y="756"/>
                  </a:lnTo>
                  <a:lnTo>
                    <a:pt x="2991" y="863"/>
                  </a:lnTo>
                  <a:lnTo>
                    <a:pt x="3042" y="975"/>
                  </a:lnTo>
                  <a:lnTo>
                    <a:pt x="3086" y="1090"/>
                  </a:lnTo>
                  <a:lnTo>
                    <a:pt x="3118" y="1210"/>
                  </a:lnTo>
                  <a:lnTo>
                    <a:pt x="3143" y="1330"/>
                  </a:lnTo>
                  <a:lnTo>
                    <a:pt x="3158" y="1454"/>
                  </a:lnTo>
                  <a:lnTo>
                    <a:pt x="3162" y="1579"/>
                  </a:lnTo>
                  <a:lnTo>
                    <a:pt x="3158" y="1705"/>
                  </a:lnTo>
                  <a:lnTo>
                    <a:pt x="3143" y="1829"/>
                  </a:lnTo>
                  <a:lnTo>
                    <a:pt x="3118" y="1951"/>
                  </a:lnTo>
                  <a:lnTo>
                    <a:pt x="3086" y="2069"/>
                  </a:lnTo>
                  <a:lnTo>
                    <a:pt x="3042" y="2185"/>
                  </a:lnTo>
                  <a:lnTo>
                    <a:pt x="2991" y="2298"/>
                  </a:lnTo>
                  <a:lnTo>
                    <a:pt x="2932" y="2404"/>
                  </a:lnTo>
                  <a:lnTo>
                    <a:pt x="2863" y="2507"/>
                  </a:lnTo>
                  <a:lnTo>
                    <a:pt x="2785" y="2605"/>
                  </a:lnTo>
                  <a:lnTo>
                    <a:pt x="2699" y="2698"/>
                  </a:lnTo>
                  <a:lnTo>
                    <a:pt x="2608" y="2784"/>
                  </a:lnTo>
                  <a:lnTo>
                    <a:pt x="2509" y="2860"/>
                  </a:lnTo>
                  <a:lnTo>
                    <a:pt x="2406" y="2930"/>
                  </a:lnTo>
                  <a:lnTo>
                    <a:pt x="2299" y="2989"/>
                  </a:lnTo>
                  <a:lnTo>
                    <a:pt x="2186" y="3041"/>
                  </a:lnTo>
                  <a:lnTo>
                    <a:pt x="2072" y="3085"/>
                  </a:lnTo>
                  <a:lnTo>
                    <a:pt x="1952" y="3117"/>
                  </a:lnTo>
                  <a:lnTo>
                    <a:pt x="1832" y="3142"/>
                  </a:lnTo>
                  <a:lnTo>
                    <a:pt x="1708" y="3155"/>
                  </a:lnTo>
                  <a:lnTo>
                    <a:pt x="1582" y="3161"/>
                  </a:lnTo>
                  <a:lnTo>
                    <a:pt x="1455" y="3155"/>
                  </a:lnTo>
                  <a:lnTo>
                    <a:pt x="1331" y="3142"/>
                  </a:lnTo>
                  <a:lnTo>
                    <a:pt x="1211" y="3117"/>
                  </a:lnTo>
                  <a:lnTo>
                    <a:pt x="1091" y="3085"/>
                  </a:lnTo>
                  <a:lnTo>
                    <a:pt x="976" y="3041"/>
                  </a:lnTo>
                  <a:lnTo>
                    <a:pt x="864" y="2989"/>
                  </a:lnTo>
                  <a:lnTo>
                    <a:pt x="757" y="2930"/>
                  </a:lnTo>
                  <a:lnTo>
                    <a:pt x="654" y="2860"/>
                  </a:lnTo>
                  <a:lnTo>
                    <a:pt x="555" y="2784"/>
                  </a:lnTo>
                  <a:lnTo>
                    <a:pt x="464" y="2698"/>
                  </a:lnTo>
                  <a:lnTo>
                    <a:pt x="378" y="2605"/>
                  </a:lnTo>
                  <a:lnTo>
                    <a:pt x="300" y="2507"/>
                  </a:lnTo>
                  <a:lnTo>
                    <a:pt x="231" y="2404"/>
                  </a:lnTo>
                  <a:lnTo>
                    <a:pt x="172" y="2298"/>
                  </a:lnTo>
                  <a:lnTo>
                    <a:pt x="120" y="2185"/>
                  </a:lnTo>
                  <a:lnTo>
                    <a:pt x="77" y="2069"/>
                  </a:lnTo>
                  <a:lnTo>
                    <a:pt x="44" y="1951"/>
                  </a:lnTo>
                  <a:lnTo>
                    <a:pt x="19" y="1829"/>
                  </a:lnTo>
                  <a:lnTo>
                    <a:pt x="4" y="1705"/>
                  </a:lnTo>
                  <a:lnTo>
                    <a:pt x="0" y="1579"/>
                  </a:lnTo>
                  <a:lnTo>
                    <a:pt x="4" y="1454"/>
                  </a:lnTo>
                  <a:lnTo>
                    <a:pt x="19" y="1330"/>
                  </a:lnTo>
                  <a:lnTo>
                    <a:pt x="44" y="1210"/>
                  </a:lnTo>
                  <a:lnTo>
                    <a:pt x="77" y="1090"/>
                  </a:lnTo>
                  <a:lnTo>
                    <a:pt x="120" y="975"/>
                  </a:lnTo>
                  <a:lnTo>
                    <a:pt x="172" y="863"/>
                  </a:lnTo>
                  <a:lnTo>
                    <a:pt x="231" y="756"/>
                  </a:lnTo>
                  <a:lnTo>
                    <a:pt x="300" y="653"/>
                  </a:lnTo>
                  <a:lnTo>
                    <a:pt x="378" y="554"/>
                  </a:lnTo>
                  <a:lnTo>
                    <a:pt x="464" y="463"/>
                  </a:lnTo>
                  <a:lnTo>
                    <a:pt x="555" y="377"/>
                  </a:lnTo>
                  <a:lnTo>
                    <a:pt x="654" y="299"/>
                  </a:lnTo>
                  <a:lnTo>
                    <a:pt x="757" y="230"/>
                  </a:lnTo>
                  <a:lnTo>
                    <a:pt x="864" y="171"/>
                  </a:lnTo>
                  <a:lnTo>
                    <a:pt x="976" y="120"/>
                  </a:lnTo>
                  <a:lnTo>
                    <a:pt x="1091" y="76"/>
                  </a:lnTo>
                  <a:lnTo>
                    <a:pt x="1211" y="44"/>
                  </a:lnTo>
                  <a:lnTo>
                    <a:pt x="1331" y="19"/>
                  </a:lnTo>
                  <a:lnTo>
                    <a:pt x="1455" y="4"/>
                  </a:lnTo>
                  <a:lnTo>
                    <a:pt x="158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ES" sz="1800"/>
            </a:p>
          </p:txBody>
        </p:sp>
        <p:sp>
          <p:nvSpPr>
            <p:cNvPr id="14" name="Freeform 10"/>
            <p:cNvSpPr>
              <a:spLocks noEditPoints="1"/>
            </p:cNvSpPr>
            <p:nvPr/>
          </p:nvSpPr>
          <p:spPr bwMode="auto">
            <a:xfrm>
              <a:off x="-2475707" y="1268760"/>
              <a:ext cx="4951413" cy="4976813"/>
            </a:xfrm>
            <a:custGeom>
              <a:avLst/>
              <a:gdLst/>
              <a:ahLst/>
              <a:cxnLst>
                <a:cxn ang="0">
                  <a:pos x="3063" y="6156"/>
                </a:cxn>
                <a:cxn ang="0">
                  <a:pos x="3194" y="5526"/>
                </a:cxn>
                <a:cxn ang="0">
                  <a:pos x="966" y="5188"/>
                </a:cxn>
                <a:cxn ang="0">
                  <a:pos x="1487" y="4981"/>
                </a:cxn>
                <a:cxn ang="0">
                  <a:pos x="4894" y="4762"/>
                </a:cxn>
                <a:cxn ang="0">
                  <a:pos x="5104" y="5282"/>
                </a:cxn>
                <a:cxn ang="0">
                  <a:pos x="5310" y="5152"/>
                </a:cxn>
                <a:cxn ang="0">
                  <a:pos x="5480" y="3085"/>
                </a:cxn>
                <a:cxn ang="0">
                  <a:pos x="6108" y="3216"/>
                </a:cxn>
                <a:cxn ang="0">
                  <a:pos x="183" y="3014"/>
                </a:cxn>
                <a:cxn ang="0">
                  <a:pos x="656" y="3260"/>
                </a:cxn>
                <a:cxn ang="0">
                  <a:pos x="656" y="3011"/>
                </a:cxn>
                <a:cxn ang="0">
                  <a:pos x="1919" y="1536"/>
                </a:cxn>
                <a:cxn ang="0">
                  <a:pos x="1138" y="2849"/>
                </a:cxn>
                <a:cxn ang="0">
                  <a:pos x="1513" y="4329"/>
                </a:cxn>
                <a:cxn ang="0">
                  <a:pos x="2826" y="5108"/>
                </a:cxn>
                <a:cxn ang="0">
                  <a:pos x="4307" y="4735"/>
                </a:cxn>
                <a:cxn ang="0">
                  <a:pos x="5089" y="3422"/>
                </a:cxn>
                <a:cxn ang="0">
                  <a:pos x="4713" y="1942"/>
                </a:cxn>
                <a:cxn ang="0">
                  <a:pos x="3400" y="1160"/>
                </a:cxn>
                <a:cxn ang="0">
                  <a:pos x="4755" y="1381"/>
                </a:cxn>
                <a:cxn ang="0">
                  <a:pos x="5289" y="1122"/>
                </a:cxn>
                <a:cxn ang="0">
                  <a:pos x="1062" y="930"/>
                </a:cxn>
                <a:cxn ang="0">
                  <a:pos x="1321" y="1461"/>
                </a:cxn>
                <a:cxn ang="0">
                  <a:pos x="1494" y="1290"/>
                </a:cxn>
                <a:cxn ang="0">
                  <a:pos x="2988" y="217"/>
                </a:cxn>
                <a:cxn ang="0">
                  <a:pos x="3234" y="690"/>
                </a:cxn>
                <a:cxn ang="0">
                  <a:pos x="3181" y="6"/>
                </a:cxn>
                <a:cxn ang="0">
                  <a:pos x="3282" y="812"/>
                </a:cxn>
                <a:cxn ang="0">
                  <a:pos x="4103" y="1278"/>
                </a:cxn>
                <a:cxn ang="0">
                  <a:pos x="4677" y="1237"/>
                </a:cxn>
                <a:cxn ang="0">
                  <a:pos x="5348" y="915"/>
                </a:cxn>
                <a:cxn ang="0">
                  <a:pos x="4967" y="1580"/>
                </a:cxn>
                <a:cxn ang="0">
                  <a:pos x="5030" y="2262"/>
                </a:cxn>
                <a:cxn ang="0">
                  <a:pos x="5459" y="2940"/>
                </a:cxn>
                <a:cxn ang="0">
                  <a:pos x="6238" y="3119"/>
                </a:cxn>
                <a:cxn ang="0">
                  <a:pos x="5497" y="3352"/>
                </a:cxn>
                <a:cxn ang="0">
                  <a:pos x="5087" y="3870"/>
                </a:cxn>
                <a:cxn ang="0">
                  <a:pos x="4936" y="4657"/>
                </a:cxn>
                <a:cxn ang="0">
                  <a:pos x="5386" y="5301"/>
                </a:cxn>
                <a:cxn ang="0">
                  <a:pos x="4717" y="5047"/>
                </a:cxn>
                <a:cxn ang="0">
                  <a:pos x="4237" y="4914"/>
                </a:cxn>
                <a:cxn ang="0">
                  <a:pos x="3248" y="5432"/>
                </a:cxn>
                <a:cxn ang="0">
                  <a:pos x="3227" y="6248"/>
                </a:cxn>
                <a:cxn ang="0">
                  <a:pos x="2880" y="5613"/>
                </a:cxn>
                <a:cxn ang="0">
                  <a:pos x="2647" y="5187"/>
                </a:cxn>
                <a:cxn ang="0">
                  <a:pos x="1622" y="4859"/>
                </a:cxn>
                <a:cxn ang="0">
                  <a:pos x="1056" y="5427"/>
                </a:cxn>
                <a:cxn ang="0">
                  <a:pos x="894" y="5068"/>
                </a:cxn>
                <a:cxn ang="0">
                  <a:pos x="1509" y="4497"/>
                </a:cxn>
                <a:cxn ang="0">
                  <a:pos x="869" y="3190"/>
                </a:cxn>
                <a:cxn ang="0">
                  <a:pos x="80" y="3321"/>
                </a:cxn>
                <a:cxn ang="0">
                  <a:pos x="168" y="2906"/>
                </a:cxn>
                <a:cxn ang="0">
                  <a:pos x="1018" y="2936"/>
                </a:cxn>
                <a:cxn ang="0">
                  <a:pos x="1500" y="1545"/>
                </a:cxn>
                <a:cxn ang="0">
                  <a:pos x="852" y="1101"/>
                </a:cxn>
                <a:cxn ang="0">
                  <a:pos x="1132" y="821"/>
                </a:cxn>
                <a:cxn ang="0">
                  <a:pos x="1576" y="1469"/>
                </a:cxn>
                <a:cxn ang="0">
                  <a:pos x="2920" y="1040"/>
                </a:cxn>
                <a:cxn ang="0">
                  <a:pos x="2886" y="168"/>
                </a:cxn>
              </a:cxnLst>
              <a:rect l="0" t="0" r="r" b="b"/>
              <a:pathLst>
                <a:path w="6238" h="6271">
                  <a:moveTo>
                    <a:pt x="3097" y="5505"/>
                  </a:moveTo>
                  <a:lnTo>
                    <a:pt x="3063" y="5510"/>
                  </a:lnTo>
                  <a:lnTo>
                    <a:pt x="3032" y="5526"/>
                  </a:lnTo>
                  <a:lnTo>
                    <a:pt x="3009" y="5550"/>
                  </a:lnTo>
                  <a:lnTo>
                    <a:pt x="2994" y="5579"/>
                  </a:lnTo>
                  <a:lnTo>
                    <a:pt x="2988" y="5613"/>
                  </a:lnTo>
                  <a:lnTo>
                    <a:pt x="2988" y="6052"/>
                  </a:lnTo>
                  <a:lnTo>
                    <a:pt x="2994" y="6086"/>
                  </a:lnTo>
                  <a:lnTo>
                    <a:pt x="3009" y="6116"/>
                  </a:lnTo>
                  <a:lnTo>
                    <a:pt x="3032" y="6139"/>
                  </a:lnTo>
                  <a:lnTo>
                    <a:pt x="3063" y="6156"/>
                  </a:lnTo>
                  <a:lnTo>
                    <a:pt x="3097" y="6162"/>
                  </a:lnTo>
                  <a:lnTo>
                    <a:pt x="3130" y="6162"/>
                  </a:lnTo>
                  <a:lnTo>
                    <a:pt x="3164" y="6156"/>
                  </a:lnTo>
                  <a:lnTo>
                    <a:pt x="3194" y="6139"/>
                  </a:lnTo>
                  <a:lnTo>
                    <a:pt x="3217" y="6116"/>
                  </a:lnTo>
                  <a:lnTo>
                    <a:pt x="3234" y="6086"/>
                  </a:lnTo>
                  <a:lnTo>
                    <a:pt x="3238" y="6052"/>
                  </a:lnTo>
                  <a:lnTo>
                    <a:pt x="3238" y="5613"/>
                  </a:lnTo>
                  <a:lnTo>
                    <a:pt x="3234" y="5579"/>
                  </a:lnTo>
                  <a:lnTo>
                    <a:pt x="3217" y="5550"/>
                  </a:lnTo>
                  <a:lnTo>
                    <a:pt x="3194" y="5526"/>
                  </a:lnTo>
                  <a:lnTo>
                    <a:pt x="3164" y="5510"/>
                  </a:lnTo>
                  <a:lnTo>
                    <a:pt x="3130" y="5505"/>
                  </a:lnTo>
                  <a:lnTo>
                    <a:pt x="3097" y="5505"/>
                  </a:lnTo>
                  <a:close/>
                  <a:moveTo>
                    <a:pt x="1386" y="4771"/>
                  </a:moveTo>
                  <a:lnTo>
                    <a:pt x="1357" y="4775"/>
                  </a:lnTo>
                  <a:lnTo>
                    <a:pt x="1332" y="4785"/>
                  </a:lnTo>
                  <a:lnTo>
                    <a:pt x="1309" y="4802"/>
                  </a:lnTo>
                  <a:lnTo>
                    <a:pt x="999" y="5112"/>
                  </a:lnTo>
                  <a:lnTo>
                    <a:pt x="982" y="5135"/>
                  </a:lnTo>
                  <a:lnTo>
                    <a:pt x="970" y="5162"/>
                  </a:lnTo>
                  <a:lnTo>
                    <a:pt x="966" y="5188"/>
                  </a:lnTo>
                  <a:lnTo>
                    <a:pt x="970" y="5217"/>
                  </a:lnTo>
                  <a:lnTo>
                    <a:pt x="982" y="5244"/>
                  </a:lnTo>
                  <a:lnTo>
                    <a:pt x="999" y="5267"/>
                  </a:lnTo>
                  <a:lnTo>
                    <a:pt x="1023" y="5289"/>
                  </a:lnTo>
                  <a:lnTo>
                    <a:pt x="1044" y="5307"/>
                  </a:lnTo>
                  <a:lnTo>
                    <a:pt x="1071" y="5318"/>
                  </a:lnTo>
                  <a:lnTo>
                    <a:pt x="1100" y="5322"/>
                  </a:lnTo>
                  <a:lnTo>
                    <a:pt x="1128" y="5318"/>
                  </a:lnTo>
                  <a:lnTo>
                    <a:pt x="1153" y="5307"/>
                  </a:lnTo>
                  <a:lnTo>
                    <a:pt x="1176" y="5289"/>
                  </a:lnTo>
                  <a:lnTo>
                    <a:pt x="1487" y="4981"/>
                  </a:lnTo>
                  <a:lnTo>
                    <a:pt x="1504" y="4958"/>
                  </a:lnTo>
                  <a:lnTo>
                    <a:pt x="1515" y="4931"/>
                  </a:lnTo>
                  <a:lnTo>
                    <a:pt x="1519" y="4903"/>
                  </a:lnTo>
                  <a:lnTo>
                    <a:pt x="1515" y="4874"/>
                  </a:lnTo>
                  <a:lnTo>
                    <a:pt x="1504" y="4849"/>
                  </a:lnTo>
                  <a:lnTo>
                    <a:pt x="1487" y="4826"/>
                  </a:lnTo>
                  <a:lnTo>
                    <a:pt x="1462" y="4802"/>
                  </a:lnTo>
                  <a:lnTo>
                    <a:pt x="1439" y="4785"/>
                  </a:lnTo>
                  <a:lnTo>
                    <a:pt x="1414" y="4775"/>
                  </a:lnTo>
                  <a:lnTo>
                    <a:pt x="1386" y="4771"/>
                  </a:lnTo>
                  <a:close/>
                  <a:moveTo>
                    <a:pt x="4894" y="4762"/>
                  </a:moveTo>
                  <a:lnTo>
                    <a:pt x="4866" y="4765"/>
                  </a:lnTo>
                  <a:lnTo>
                    <a:pt x="4841" y="4777"/>
                  </a:lnTo>
                  <a:lnTo>
                    <a:pt x="4818" y="4794"/>
                  </a:lnTo>
                  <a:lnTo>
                    <a:pt x="4793" y="4817"/>
                  </a:lnTo>
                  <a:lnTo>
                    <a:pt x="4776" y="4840"/>
                  </a:lnTo>
                  <a:lnTo>
                    <a:pt x="4765" y="4866"/>
                  </a:lnTo>
                  <a:lnTo>
                    <a:pt x="4761" y="4895"/>
                  </a:lnTo>
                  <a:lnTo>
                    <a:pt x="4765" y="4922"/>
                  </a:lnTo>
                  <a:lnTo>
                    <a:pt x="4776" y="4948"/>
                  </a:lnTo>
                  <a:lnTo>
                    <a:pt x="4793" y="4971"/>
                  </a:lnTo>
                  <a:lnTo>
                    <a:pt x="5104" y="5282"/>
                  </a:lnTo>
                  <a:lnTo>
                    <a:pt x="5127" y="5299"/>
                  </a:lnTo>
                  <a:lnTo>
                    <a:pt x="5152" y="5309"/>
                  </a:lnTo>
                  <a:lnTo>
                    <a:pt x="5180" y="5312"/>
                  </a:lnTo>
                  <a:lnTo>
                    <a:pt x="5209" y="5309"/>
                  </a:lnTo>
                  <a:lnTo>
                    <a:pt x="5236" y="5299"/>
                  </a:lnTo>
                  <a:lnTo>
                    <a:pt x="5257" y="5282"/>
                  </a:lnTo>
                  <a:lnTo>
                    <a:pt x="5281" y="5257"/>
                  </a:lnTo>
                  <a:lnTo>
                    <a:pt x="5298" y="5234"/>
                  </a:lnTo>
                  <a:lnTo>
                    <a:pt x="5310" y="5208"/>
                  </a:lnTo>
                  <a:lnTo>
                    <a:pt x="5314" y="5181"/>
                  </a:lnTo>
                  <a:lnTo>
                    <a:pt x="5310" y="5152"/>
                  </a:lnTo>
                  <a:lnTo>
                    <a:pt x="5298" y="5127"/>
                  </a:lnTo>
                  <a:lnTo>
                    <a:pt x="5281" y="5103"/>
                  </a:lnTo>
                  <a:lnTo>
                    <a:pt x="4971" y="4794"/>
                  </a:lnTo>
                  <a:lnTo>
                    <a:pt x="4950" y="4777"/>
                  </a:lnTo>
                  <a:lnTo>
                    <a:pt x="4923" y="4765"/>
                  </a:lnTo>
                  <a:lnTo>
                    <a:pt x="4894" y="4762"/>
                  </a:lnTo>
                  <a:close/>
                  <a:moveTo>
                    <a:pt x="5582" y="3011"/>
                  </a:moveTo>
                  <a:lnTo>
                    <a:pt x="5548" y="3014"/>
                  </a:lnTo>
                  <a:lnTo>
                    <a:pt x="5518" y="3031"/>
                  </a:lnTo>
                  <a:lnTo>
                    <a:pt x="5495" y="3054"/>
                  </a:lnTo>
                  <a:lnTo>
                    <a:pt x="5480" y="3085"/>
                  </a:lnTo>
                  <a:lnTo>
                    <a:pt x="5474" y="3119"/>
                  </a:lnTo>
                  <a:lnTo>
                    <a:pt x="5474" y="3152"/>
                  </a:lnTo>
                  <a:lnTo>
                    <a:pt x="5480" y="3186"/>
                  </a:lnTo>
                  <a:lnTo>
                    <a:pt x="5495" y="3216"/>
                  </a:lnTo>
                  <a:lnTo>
                    <a:pt x="5518" y="3239"/>
                  </a:lnTo>
                  <a:lnTo>
                    <a:pt x="5548" y="3254"/>
                  </a:lnTo>
                  <a:lnTo>
                    <a:pt x="5582" y="3260"/>
                  </a:lnTo>
                  <a:lnTo>
                    <a:pt x="6021" y="3260"/>
                  </a:lnTo>
                  <a:lnTo>
                    <a:pt x="6055" y="3254"/>
                  </a:lnTo>
                  <a:lnTo>
                    <a:pt x="6086" y="3239"/>
                  </a:lnTo>
                  <a:lnTo>
                    <a:pt x="6108" y="3216"/>
                  </a:lnTo>
                  <a:lnTo>
                    <a:pt x="6124" y="3186"/>
                  </a:lnTo>
                  <a:lnTo>
                    <a:pt x="6129" y="3152"/>
                  </a:lnTo>
                  <a:lnTo>
                    <a:pt x="6129" y="3119"/>
                  </a:lnTo>
                  <a:lnTo>
                    <a:pt x="6124" y="3085"/>
                  </a:lnTo>
                  <a:lnTo>
                    <a:pt x="6108" y="3054"/>
                  </a:lnTo>
                  <a:lnTo>
                    <a:pt x="6086" y="3031"/>
                  </a:lnTo>
                  <a:lnTo>
                    <a:pt x="6055" y="3014"/>
                  </a:lnTo>
                  <a:lnTo>
                    <a:pt x="6021" y="3011"/>
                  </a:lnTo>
                  <a:lnTo>
                    <a:pt x="5582" y="3011"/>
                  </a:lnTo>
                  <a:close/>
                  <a:moveTo>
                    <a:pt x="217" y="3009"/>
                  </a:moveTo>
                  <a:lnTo>
                    <a:pt x="183" y="3014"/>
                  </a:lnTo>
                  <a:lnTo>
                    <a:pt x="152" y="3030"/>
                  </a:lnTo>
                  <a:lnTo>
                    <a:pt x="130" y="3054"/>
                  </a:lnTo>
                  <a:lnTo>
                    <a:pt x="114" y="3085"/>
                  </a:lnTo>
                  <a:lnTo>
                    <a:pt x="109" y="3119"/>
                  </a:lnTo>
                  <a:lnTo>
                    <a:pt x="109" y="3152"/>
                  </a:lnTo>
                  <a:lnTo>
                    <a:pt x="114" y="3186"/>
                  </a:lnTo>
                  <a:lnTo>
                    <a:pt x="130" y="3216"/>
                  </a:lnTo>
                  <a:lnTo>
                    <a:pt x="152" y="3239"/>
                  </a:lnTo>
                  <a:lnTo>
                    <a:pt x="183" y="3254"/>
                  </a:lnTo>
                  <a:lnTo>
                    <a:pt x="217" y="3260"/>
                  </a:lnTo>
                  <a:lnTo>
                    <a:pt x="656" y="3260"/>
                  </a:lnTo>
                  <a:lnTo>
                    <a:pt x="690" y="3254"/>
                  </a:lnTo>
                  <a:lnTo>
                    <a:pt x="719" y="3239"/>
                  </a:lnTo>
                  <a:lnTo>
                    <a:pt x="743" y="3216"/>
                  </a:lnTo>
                  <a:lnTo>
                    <a:pt x="759" y="3186"/>
                  </a:lnTo>
                  <a:lnTo>
                    <a:pt x="764" y="3152"/>
                  </a:lnTo>
                  <a:lnTo>
                    <a:pt x="764" y="3119"/>
                  </a:lnTo>
                  <a:lnTo>
                    <a:pt x="759" y="3085"/>
                  </a:lnTo>
                  <a:lnTo>
                    <a:pt x="743" y="3054"/>
                  </a:lnTo>
                  <a:lnTo>
                    <a:pt x="719" y="3031"/>
                  </a:lnTo>
                  <a:lnTo>
                    <a:pt x="690" y="3014"/>
                  </a:lnTo>
                  <a:lnTo>
                    <a:pt x="656" y="3011"/>
                  </a:lnTo>
                  <a:lnTo>
                    <a:pt x="217" y="3009"/>
                  </a:lnTo>
                  <a:close/>
                  <a:moveTo>
                    <a:pt x="3114" y="1141"/>
                  </a:moveTo>
                  <a:lnTo>
                    <a:pt x="2969" y="1145"/>
                  </a:lnTo>
                  <a:lnTo>
                    <a:pt x="2826" y="1160"/>
                  </a:lnTo>
                  <a:lnTo>
                    <a:pt x="2685" y="1185"/>
                  </a:lnTo>
                  <a:lnTo>
                    <a:pt x="2548" y="1221"/>
                  </a:lnTo>
                  <a:lnTo>
                    <a:pt x="2415" y="1265"/>
                  </a:lnTo>
                  <a:lnTo>
                    <a:pt x="2285" y="1320"/>
                  </a:lnTo>
                  <a:lnTo>
                    <a:pt x="2159" y="1383"/>
                  </a:lnTo>
                  <a:lnTo>
                    <a:pt x="2037" y="1456"/>
                  </a:lnTo>
                  <a:lnTo>
                    <a:pt x="1919" y="1536"/>
                  </a:lnTo>
                  <a:lnTo>
                    <a:pt x="1809" y="1625"/>
                  </a:lnTo>
                  <a:lnTo>
                    <a:pt x="1702" y="1724"/>
                  </a:lnTo>
                  <a:lnTo>
                    <a:pt x="1605" y="1831"/>
                  </a:lnTo>
                  <a:lnTo>
                    <a:pt x="1513" y="1942"/>
                  </a:lnTo>
                  <a:lnTo>
                    <a:pt x="1433" y="2060"/>
                  </a:lnTo>
                  <a:lnTo>
                    <a:pt x="1361" y="2180"/>
                  </a:lnTo>
                  <a:lnTo>
                    <a:pt x="1298" y="2307"/>
                  </a:lnTo>
                  <a:lnTo>
                    <a:pt x="1243" y="2437"/>
                  </a:lnTo>
                  <a:lnTo>
                    <a:pt x="1199" y="2570"/>
                  </a:lnTo>
                  <a:lnTo>
                    <a:pt x="1165" y="2708"/>
                  </a:lnTo>
                  <a:lnTo>
                    <a:pt x="1138" y="2849"/>
                  </a:lnTo>
                  <a:lnTo>
                    <a:pt x="1123" y="2991"/>
                  </a:lnTo>
                  <a:lnTo>
                    <a:pt x="1119" y="3134"/>
                  </a:lnTo>
                  <a:lnTo>
                    <a:pt x="1123" y="3279"/>
                  </a:lnTo>
                  <a:lnTo>
                    <a:pt x="1138" y="3422"/>
                  </a:lnTo>
                  <a:lnTo>
                    <a:pt x="1165" y="3561"/>
                  </a:lnTo>
                  <a:lnTo>
                    <a:pt x="1199" y="3698"/>
                  </a:lnTo>
                  <a:lnTo>
                    <a:pt x="1243" y="3834"/>
                  </a:lnTo>
                  <a:lnTo>
                    <a:pt x="1298" y="3963"/>
                  </a:lnTo>
                  <a:lnTo>
                    <a:pt x="1361" y="4089"/>
                  </a:lnTo>
                  <a:lnTo>
                    <a:pt x="1433" y="4211"/>
                  </a:lnTo>
                  <a:lnTo>
                    <a:pt x="1513" y="4329"/>
                  </a:lnTo>
                  <a:lnTo>
                    <a:pt x="1605" y="4440"/>
                  </a:lnTo>
                  <a:lnTo>
                    <a:pt x="1702" y="4546"/>
                  </a:lnTo>
                  <a:lnTo>
                    <a:pt x="1809" y="4643"/>
                  </a:lnTo>
                  <a:lnTo>
                    <a:pt x="1919" y="4735"/>
                  </a:lnTo>
                  <a:lnTo>
                    <a:pt x="2037" y="4815"/>
                  </a:lnTo>
                  <a:lnTo>
                    <a:pt x="2159" y="4887"/>
                  </a:lnTo>
                  <a:lnTo>
                    <a:pt x="2285" y="4950"/>
                  </a:lnTo>
                  <a:lnTo>
                    <a:pt x="2415" y="5006"/>
                  </a:lnTo>
                  <a:lnTo>
                    <a:pt x="2548" y="5049"/>
                  </a:lnTo>
                  <a:lnTo>
                    <a:pt x="2685" y="5084"/>
                  </a:lnTo>
                  <a:lnTo>
                    <a:pt x="2826" y="5108"/>
                  </a:lnTo>
                  <a:lnTo>
                    <a:pt x="2969" y="5124"/>
                  </a:lnTo>
                  <a:lnTo>
                    <a:pt x="3114" y="5129"/>
                  </a:lnTo>
                  <a:lnTo>
                    <a:pt x="3257" y="5124"/>
                  </a:lnTo>
                  <a:lnTo>
                    <a:pt x="3400" y="5108"/>
                  </a:lnTo>
                  <a:lnTo>
                    <a:pt x="3541" y="5084"/>
                  </a:lnTo>
                  <a:lnTo>
                    <a:pt x="3678" y="5049"/>
                  </a:lnTo>
                  <a:lnTo>
                    <a:pt x="3812" y="5006"/>
                  </a:lnTo>
                  <a:lnTo>
                    <a:pt x="3941" y="4950"/>
                  </a:lnTo>
                  <a:lnTo>
                    <a:pt x="4067" y="4887"/>
                  </a:lnTo>
                  <a:lnTo>
                    <a:pt x="4189" y="4815"/>
                  </a:lnTo>
                  <a:lnTo>
                    <a:pt x="4307" y="4735"/>
                  </a:lnTo>
                  <a:lnTo>
                    <a:pt x="4418" y="4643"/>
                  </a:lnTo>
                  <a:lnTo>
                    <a:pt x="4525" y="4546"/>
                  </a:lnTo>
                  <a:lnTo>
                    <a:pt x="4622" y="4440"/>
                  </a:lnTo>
                  <a:lnTo>
                    <a:pt x="4713" y="4329"/>
                  </a:lnTo>
                  <a:lnTo>
                    <a:pt x="4793" y="4211"/>
                  </a:lnTo>
                  <a:lnTo>
                    <a:pt x="4866" y="4089"/>
                  </a:lnTo>
                  <a:lnTo>
                    <a:pt x="4929" y="3963"/>
                  </a:lnTo>
                  <a:lnTo>
                    <a:pt x="4984" y="3834"/>
                  </a:lnTo>
                  <a:lnTo>
                    <a:pt x="5028" y="3698"/>
                  </a:lnTo>
                  <a:lnTo>
                    <a:pt x="5062" y="3561"/>
                  </a:lnTo>
                  <a:lnTo>
                    <a:pt x="5089" y="3422"/>
                  </a:lnTo>
                  <a:lnTo>
                    <a:pt x="5104" y="3279"/>
                  </a:lnTo>
                  <a:lnTo>
                    <a:pt x="5108" y="3134"/>
                  </a:lnTo>
                  <a:lnTo>
                    <a:pt x="5104" y="2991"/>
                  </a:lnTo>
                  <a:lnTo>
                    <a:pt x="5089" y="2849"/>
                  </a:lnTo>
                  <a:lnTo>
                    <a:pt x="5062" y="2708"/>
                  </a:lnTo>
                  <a:lnTo>
                    <a:pt x="5028" y="2570"/>
                  </a:lnTo>
                  <a:lnTo>
                    <a:pt x="4984" y="2437"/>
                  </a:lnTo>
                  <a:lnTo>
                    <a:pt x="4929" y="2307"/>
                  </a:lnTo>
                  <a:lnTo>
                    <a:pt x="4866" y="2180"/>
                  </a:lnTo>
                  <a:lnTo>
                    <a:pt x="4793" y="2058"/>
                  </a:lnTo>
                  <a:lnTo>
                    <a:pt x="4713" y="1942"/>
                  </a:lnTo>
                  <a:lnTo>
                    <a:pt x="4622" y="1831"/>
                  </a:lnTo>
                  <a:lnTo>
                    <a:pt x="4525" y="1724"/>
                  </a:lnTo>
                  <a:lnTo>
                    <a:pt x="4418" y="1625"/>
                  </a:lnTo>
                  <a:lnTo>
                    <a:pt x="4307" y="1536"/>
                  </a:lnTo>
                  <a:lnTo>
                    <a:pt x="4189" y="1456"/>
                  </a:lnTo>
                  <a:lnTo>
                    <a:pt x="4069" y="1383"/>
                  </a:lnTo>
                  <a:lnTo>
                    <a:pt x="3941" y="1320"/>
                  </a:lnTo>
                  <a:lnTo>
                    <a:pt x="3812" y="1265"/>
                  </a:lnTo>
                  <a:lnTo>
                    <a:pt x="3678" y="1221"/>
                  </a:lnTo>
                  <a:lnTo>
                    <a:pt x="3541" y="1185"/>
                  </a:lnTo>
                  <a:lnTo>
                    <a:pt x="3400" y="1160"/>
                  </a:lnTo>
                  <a:lnTo>
                    <a:pt x="3257" y="1145"/>
                  </a:lnTo>
                  <a:lnTo>
                    <a:pt x="3114" y="1141"/>
                  </a:lnTo>
                  <a:close/>
                  <a:moveTo>
                    <a:pt x="5171" y="935"/>
                  </a:moveTo>
                  <a:lnTo>
                    <a:pt x="5142" y="939"/>
                  </a:lnTo>
                  <a:lnTo>
                    <a:pt x="5116" y="951"/>
                  </a:lnTo>
                  <a:lnTo>
                    <a:pt x="5093" y="968"/>
                  </a:lnTo>
                  <a:lnTo>
                    <a:pt x="4784" y="1278"/>
                  </a:lnTo>
                  <a:lnTo>
                    <a:pt x="4765" y="1301"/>
                  </a:lnTo>
                  <a:lnTo>
                    <a:pt x="4755" y="1326"/>
                  </a:lnTo>
                  <a:lnTo>
                    <a:pt x="4751" y="1355"/>
                  </a:lnTo>
                  <a:lnTo>
                    <a:pt x="4755" y="1381"/>
                  </a:lnTo>
                  <a:lnTo>
                    <a:pt x="4765" y="1408"/>
                  </a:lnTo>
                  <a:lnTo>
                    <a:pt x="4784" y="1431"/>
                  </a:lnTo>
                  <a:lnTo>
                    <a:pt x="4807" y="1456"/>
                  </a:lnTo>
                  <a:lnTo>
                    <a:pt x="4830" y="1473"/>
                  </a:lnTo>
                  <a:lnTo>
                    <a:pt x="4856" y="1484"/>
                  </a:lnTo>
                  <a:lnTo>
                    <a:pt x="4883" y="1486"/>
                  </a:lnTo>
                  <a:lnTo>
                    <a:pt x="4912" y="1484"/>
                  </a:lnTo>
                  <a:lnTo>
                    <a:pt x="4938" y="1473"/>
                  </a:lnTo>
                  <a:lnTo>
                    <a:pt x="4961" y="1456"/>
                  </a:lnTo>
                  <a:lnTo>
                    <a:pt x="5270" y="1145"/>
                  </a:lnTo>
                  <a:lnTo>
                    <a:pt x="5289" y="1122"/>
                  </a:lnTo>
                  <a:lnTo>
                    <a:pt x="5298" y="1097"/>
                  </a:lnTo>
                  <a:lnTo>
                    <a:pt x="5302" y="1069"/>
                  </a:lnTo>
                  <a:lnTo>
                    <a:pt x="5298" y="1040"/>
                  </a:lnTo>
                  <a:lnTo>
                    <a:pt x="5289" y="1014"/>
                  </a:lnTo>
                  <a:lnTo>
                    <a:pt x="5270" y="993"/>
                  </a:lnTo>
                  <a:lnTo>
                    <a:pt x="5247" y="968"/>
                  </a:lnTo>
                  <a:lnTo>
                    <a:pt x="5224" y="951"/>
                  </a:lnTo>
                  <a:lnTo>
                    <a:pt x="5197" y="939"/>
                  </a:lnTo>
                  <a:lnTo>
                    <a:pt x="5171" y="935"/>
                  </a:lnTo>
                  <a:close/>
                  <a:moveTo>
                    <a:pt x="1090" y="926"/>
                  </a:moveTo>
                  <a:lnTo>
                    <a:pt x="1062" y="930"/>
                  </a:lnTo>
                  <a:lnTo>
                    <a:pt x="1035" y="939"/>
                  </a:lnTo>
                  <a:lnTo>
                    <a:pt x="1012" y="956"/>
                  </a:lnTo>
                  <a:lnTo>
                    <a:pt x="989" y="981"/>
                  </a:lnTo>
                  <a:lnTo>
                    <a:pt x="972" y="1004"/>
                  </a:lnTo>
                  <a:lnTo>
                    <a:pt x="961" y="1029"/>
                  </a:lnTo>
                  <a:lnTo>
                    <a:pt x="957" y="1057"/>
                  </a:lnTo>
                  <a:lnTo>
                    <a:pt x="961" y="1086"/>
                  </a:lnTo>
                  <a:lnTo>
                    <a:pt x="972" y="1113"/>
                  </a:lnTo>
                  <a:lnTo>
                    <a:pt x="989" y="1136"/>
                  </a:lnTo>
                  <a:lnTo>
                    <a:pt x="1298" y="1444"/>
                  </a:lnTo>
                  <a:lnTo>
                    <a:pt x="1321" y="1461"/>
                  </a:lnTo>
                  <a:lnTo>
                    <a:pt x="1347" y="1473"/>
                  </a:lnTo>
                  <a:lnTo>
                    <a:pt x="1376" y="1477"/>
                  </a:lnTo>
                  <a:lnTo>
                    <a:pt x="1403" y="1473"/>
                  </a:lnTo>
                  <a:lnTo>
                    <a:pt x="1429" y="1461"/>
                  </a:lnTo>
                  <a:lnTo>
                    <a:pt x="1452" y="1444"/>
                  </a:lnTo>
                  <a:lnTo>
                    <a:pt x="1475" y="1421"/>
                  </a:lnTo>
                  <a:lnTo>
                    <a:pt x="1494" y="1399"/>
                  </a:lnTo>
                  <a:lnTo>
                    <a:pt x="1504" y="1372"/>
                  </a:lnTo>
                  <a:lnTo>
                    <a:pt x="1508" y="1343"/>
                  </a:lnTo>
                  <a:lnTo>
                    <a:pt x="1504" y="1317"/>
                  </a:lnTo>
                  <a:lnTo>
                    <a:pt x="1494" y="1290"/>
                  </a:lnTo>
                  <a:lnTo>
                    <a:pt x="1475" y="1267"/>
                  </a:lnTo>
                  <a:lnTo>
                    <a:pt x="1166" y="956"/>
                  </a:lnTo>
                  <a:lnTo>
                    <a:pt x="1144" y="939"/>
                  </a:lnTo>
                  <a:lnTo>
                    <a:pt x="1117" y="930"/>
                  </a:lnTo>
                  <a:lnTo>
                    <a:pt x="1090" y="926"/>
                  </a:lnTo>
                  <a:close/>
                  <a:moveTo>
                    <a:pt x="3097" y="109"/>
                  </a:moveTo>
                  <a:lnTo>
                    <a:pt x="3063" y="114"/>
                  </a:lnTo>
                  <a:lnTo>
                    <a:pt x="3032" y="129"/>
                  </a:lnTo>
                  <a:lnTo>
                    <a:pt x="3009" y="154"/>
                  </a:lnTo>
                  <a:lnTo>
                    <a:pt x="2994" y="183"/>
                  </a:lnTo>
                  <a:lnTo>
                    <a:pt x="2988" y="217"/>
                  </a:lnTo>
                  <a:lnTo>
                    <a:pt x="2988" y="655"/>
                  </a:lnTo>
                  <a:lnTo>
                    <a:pt x="2994" y="690"/>
                  </a:lnTo>
                  <a:lnTo>
                    <a:pt x="3009" y="720"/>
                  </a:lnTo>
                  <a:lnTo>
                    <a:pt x="3032" y="743"/>
                  </a:lnTo>
                  <a:lnTo>
                    <a:pt x="3063" y="758"/>
                  </a:lnTo>
                  <a:lnTo>
                    <a:pt x="3097" y="764"/>
                  </a:lnTo>
                  <a:lnTo>
                    <a:pt x="3130" y="764"/>
                  </a:lnTo>
                  <a:lnTo>
                    <a:pt x="3164" y="758"/>
                  </a:lnTo>
                  <a:lnTo>
                    <a:pt x="3194" y="743"/>
                  </a:lnTo>
                  <a:lnTo>
                    <a:pt x="3217" y="720"/>
                  </a:lnTo>
                  <a:lnTo>
                    <a:pt x="3234" y="690"/>
                  </a:lnTo>
                  <a:lnTo>
                    <a:pt x="3238" y="655"/>
                  </a:lnTo>
                  <a:lnTo>
                    <a:pt x="3238" y="217"/>
                  </a:lnTo>
                  <a:lnTo>
                    <a:pt x="3234" y="183"/>
                  </a:lnTo>
                  <a:lnTo>
                    <a:pt x="3217" y="154"/>
                  </a:lnTo>
                  <a:lnTo>
                    <a:pt x="3194" y="129"/>
                  </a:lnTo>
                  <a:lnTo>
                    <a:pt x="3164" y="114"/>
                  </a:lnTo>
                  <a:lnTo>
                    <a:pt x="3130" y="109"/>
                  </a:lnTo>
                  <a:lnTo>
                    <a:pt x="3097" y="109"/>
                  </a:lnTo>
                  <a:close/>
                  <a:moveTo>
                    <a:pt x="3097" y="0"/>
                  </a:moveTo>
                  <a:lnTo>
                    <a:pt x="3130" y="0"/>
                  </a:lnTo>
                  <a:lnTo>
                    <a:pt x="3181" y="6"/>
                  </a:lnTo>
                  <a:lnTo>
                    <a:pt x="3227" y="23"/>
                  </a:lnTo>
                  <a:lnTo>
                    <a:pt x="3267" y="48"/>
                  </a:lnTo>
                  <a:lnTo>
                    <a:pt x="3299" y="82"/>
                  </a:lnTo>
                  <a:lnTo>
                    <a:pt x="3326" y="122"/>
                  </a:lnTo>
                  <a:lnTo>
                    <a:pt x="3343" y="168"/>
                  </a:lnTo>
                  <a:lnTo>
                    <a:pt x="3349" y="217"/>
                  </a:lnTo>
                  <a:lnTo>
                    <a:pt x="3349" y="655"/>
                  </a:lnTo>
                  <a:lnTo>
                    <a:pt x="3343" y="701"/>
                  </a:lnTo>
                  <a:lnTo>
                    <a:pt x="3330" y="743"/>
                  </a:lnTo>
                  <a:lnTo>
                    <a:pt x="3309" y="779"/>
                  </a:lnTo>
                  <a:lnTo>
                    <a:pt x="3282" y="812"/>
                  </a:lnTo>
                  <a:lnTo>
                    <a:pt x="3248" y="838"/>
                  </a:lnTo>
                  <a:lnTo>
                    <a:pt x="3210" y="857"/>
                  </a:lnTo>
                  <a:lnTo>
                    <a:pt x="3168" y="871"/>
                  </a:lnTo>
                  <a:lnTo>
                    <a:pt x="3168" y="1033"/>
                  </a:lnTo>
                  <a:lnTo>
                    <a:pt x="3309" y="1040"/>
                  </a:lnTo>
                  <a:lnTo>
                    <a:pt x="3448" y="1057"/>
                  </a:lnTo>
                  <a:lnTo>
                    <a:pt x="3585" y="1084"/>
                  </a:lnTo>
                  <a:lnTo>
                    <a:pt x="3720" y="1120"/>
                  </a:lnTo>
                  <a:lnTo>
                    <a:pt x="3852" y="1164"/>
                  </a:lnTo>
                  <a:lnTo>
                    <a:pt x="3980" y="1217"/>
                  </a:lnTo>
                  <a:lnTo>
                    <a:pt x="4103" y="1278"/>
                  </a:lnTo>
                  <a:lnTo>
                    <a:pt x="4224" y="1347"/>
                  </a:lnTo>
                  <a:lnTo>
                    <a:pt x="4340" y="1425"/>
                  </a:lnTo>
                  <a:lnTo>
                    <a:pt x="4450" y="1511"/>
                  </a:lnTo>
                  <a:lnTo>
                    <a:pt x="4557" y="1604"/>
                  </a:lnTo>
                  <a:lnTo>
                    <a:pt x="4683" y="1479"/>
                  </a:lnTo>
                  <a:lnTo>
                    <a:pt x="4660" y="1440"/>
                  </a:lnTo>
                  <a:lnTo>
                    <a:pt x="4647" y="1400"/>
                  </a:lnTo>
                  <a:lnTo>
                    <a:pt x="4643" y="1358"/>
                  </a:lnTo>
                  <a:lnTo>
                    <a:pt x="4647" y="1315"/>
                  </a:lnTo>
                  <a:lnTo>
                    <a:pt x="4658" y="1275"/>
                  </a:lnTo>
                  <a:lnTo>
                    <a:pt x="4677" y="1237"/>
                  </a:lnTo>
                  <a:lnTo>
                    <a:pt x="4706" y="1200"/>
                  </a:lnTo>
                  <a:lnTo>
                    <a:pt x="5016" y="892"/>
                  </a:lnTo>
                  <a:lnTo>
                    <a:pt x="5049" y="863"/>
                  </a:lnTo>
                  <a:lnTo>
                    <a:pt x="5087" y="844"/>
                  </a:lnTo>
                  <a:lnTo>
                    <a:pt x="5127" y="831"/>
                  </a:lnTo>
                  <a:lnTo>
                    <a:pt x="5171" y="827"/>
                  </a:lnTo>
                  <a:lnTo>
                    <a:pt x="5213" y="831"/>
                  </a:lnTo>
                  <a:lnTo>
                    <a:pt x="5253" y="844"/>
                  </a:lnTo>
                  <a:lnTo>
                    <a:pt x="5291" y="863"/>
                  </a:lnTo>
                  <a:lnTo>
                    <a:pt x="5323" y="892"/>
                  </a:lnTo>
                  <a:lnTo>
                    <a:pt x="5348" y="915"/>
                  </a:lnTo>
                  <a:lnTo>
                    <a:pt x="5375" y="949"/>
                  </a:lnTo>
                  <a:lnTo>
                    <a:pt x="5396" y="985"/>
                  </a:lnTo>
                  <a:lnTo>
                    <a:pt x="5407" y="1025"/>
                  </a:lnTo>
                  <a:lnTo>
                    <a:pt x="5411" y="1069"/>
                  </a:lnTo>
                  <a:lnTo>
                    <a:pt x="5407" y="1111"/>
                  </a:lnTo>
                  <a:lnTo>
                    <a:pt x="5396" y="1153"/>
                  </a:lnTo>
                  <a:lnTo>
                    <a:pt x="5375" y="1189"/>
                  </a:lnTo>
                  <a:lnTo>
                    <a:pt x="5348" y="1223"/>
                  </a:lnTo>
                  <a:lnTo>
                    <a:pt x="5037" y="1532"/>
                  </a:lnTo>
                  <a:lnTo>
                    <a:pt x="5005" y="1559"/>
                  </a:lnTo>
                  <a:lnTo>
                    <a:pt x="4967" y="1580"/>
                  </a:lnTo>
                  <a:lnTo>
                    <a:pt x="4927" y="1591"/>
                  </a:lnTo>
                  <a:lnTo>
                    <a:pt x="4883" y="1597"/>
                  </a:lnTo>
                  <a:lnTo>
                    <a:pt x="4839" y="1591"/>
                  </a:lnTo>
                  <a:lnTo>
                    <a:pt x="4797" y="1578"/>
                  </a:lnTo>
                  <a:lnTo>
                    <a:pt x="4759" y="1557"/>
                  </a:lnTo>
                  <a:lnTo>
                    <a:pt x="4633" y="1681"/>
                  </a:lnTo>
                  <a:lnTo>
                    <a:pt x="4729" y="1787"/>
                  </a:lnTo>
                  <a:lnTo>
                    <a:pt x="4816" y="1900"/>
                  </a:lnTo>
                  <a:lnTo>
                    <a:pt x="4896" y="2016"/>
                  </a:lnTo>
                  <a:lnTo>
                    <a:pt x="4967" y="2138"/>
                  </a:lnTo>
                  <a:lnTo>
                    <a:pt x="5030" y="2262"/>
                  </a:lnTo>
                  <a:lnTo>
                    <a:pt x="5083" y="2391"/>
                  </a:lnTo>
                  <a:lnTo>
                    <a:pt x="5127" y="2525"/>
                  </a:lnTo>
                  <a:lnTo>
                    <a:pt x="5163" y="2660"/>
                  </a:lnTo>
                  <a:lnTo>
                    <a:pt x="5190" y="2797"/>
                  </a:lnTo>
                  <a:lnTo>
                    <a:pt x="5209" y="2938"/>
                  </a:lnTo>
                  <a:lnTo>
                    <a:pt x="5217" y="3081"/>
                  </a:lnTo>
                  <a:lnTo>
                    <a:pt x="5369" y="3081"/>
                  </a:lnTo>
                  <a:lnTo>
                    <a:pt x="5380" y="3039"/>
                  </a:lnTo>
                  <a:lnTo>
                    <a:pt x="5399" y="3001"/>
                  </a:lnTo>
                  <a:lnTo>
                    <a:pt x="5426" y="2967"/>
                  </a:lnTo>
                  <a:lnTo>
                    <a:pt x="5459" y="2940"/>
                  </a:lnTo>
                  <a:lnTo>
                    <a:pt x="5497" y="2919"/>
                  </a:lnTo>
                  <a:lnTo>
                    <a:pt x="5539" y="2906"/>
                  </a:lnTo>
                  <a:lnTo>
                    <a:pt x="5582" y="2900"/>
                  </a:lnTo>
                  <a:lnTo>
                    <a:pt x="6021" y="2900"/>
                  </a:lnTo>
                  <a:lnTo>
                    <a:pt x="6070" y="2906"/>
                  </a:lnTo>
                  <a:lnTo>
                    <a:pt x="6116" y="2923"/>
                  </a:lnTo>
                  <a:lnTo>
                    <a:pt x="6156" y="2950"/>
                  </a:lnTo>
                  <a:lnTo>
                    <a:pt x="6190" y="2982"/>
                  </a:lnTo>
                  <a:lnTo>
                    <a:pt x="6217" y="3022"/>
                  </a:lnTo>
                  <a:lnTo>
                    <a:pt x="6232" y="3068"/>
                  </a:lnTo>
                  <a:lnTo>
                    <a:pt x="6238" y="3119"/>
                  </a:lnTo>
                  <a:lnTo>
                    <a:pt x="6238" y="3152"/>
                  </a:lnTo>
                  <a:lnTo>
                    <a:pt x="6232" y="3201"/>
                  </a:lnTo>
                  <a:lnTo>
                    <a:pt x="6217" y="3247"/>
                  </a:lnTo>
                  <a:lnTo>
                    <a:pt x="6190" y="3289"/>
                  </a:lnTo>
                  <a:lnTo>
                    <a:pt x="6156" y="3321"/>
                  </a:lnTo>
                  <a:lnTo>
                    <a:pt x="6116" y="3348"/>
                  </a:lnTo>
                  <a:lnTo>
                    <a:pt x="6070" y="3363"/>
                  </a:lnTo>
                  <a:lnTo>
                    <a:pt x="6021" y="3369"/>
                  </a:lnTo>
                  <a:lnTo>
                    <a:pt x="5582" y="3369"/>
                  </a:lnTo>
                  <a:lnTo>
                    <a:pt x="5539" y="3365"/>
                  </a:lnTo>
                  <a:lnTo>
                    <a:pt x="5497" y="3352"/>
                  </a:lnTo>
                  <a:lnTo>
                    <a:pt x="5459" y="3331"/>
                  </a:lnTo>
                  <a:lnTo>
                    <a:pt x="5426" y="3304"/>
                  </a:lnTo>
                  <a:lnTo>
                    <a:pt x="5399" y="3270"/>
                  </a:lnTo>
                  <a:lnTo>
                    <a:pt x="5380" y="3232"/>
                  </a:lnTo>
                  <a:lnTo>
                    <a:pt x="5369" y="3190"/>
                  </a:lnTo>
                  <a:lnTo>
                    <a:pt x="5217" y="3190"/>
                  </a:lnTo>
                  <a:lnTo>
                    <a:pt x="5209" y="3331"/>
                  </a:lnTo>
                  <a:lnTo>
                    <a:pt x="5192" y="3468"/>
                  </a:lnTo>
                  <a:lnTo>
                    <a:pt x="5165" y="3605"/>
                  </a:lnTo>
                  <a:lnTo>
                    <a:pt x="5131" y="3738"/>
                  </a:lnTo>
                  <a:lnTo>
                    <a:pt x="5087" y="3870"/>
                  </a:lnTo>
                  <a:lnTo>
                    <a:pt x="5034" y="3998"/>
                  </a:lnTo>
                  <a:lnTo>
                    <a:pt x="4973" y="4121"/>
                  </a:lnTo>
                  <a:lnTo>
                    <a:pt x="4904" y="4241"/>
                  </a:lnTo>
                  <a:lnTo>
                    <a:pt x="4828" y="4356"/>
                  </a:lnTo>
                  <a:lnTo>
                    <a:pt x="4742" y="4466"/>
                  </a:lnTo>
                  <a:lnTo>
                    <a:pt x="4649" y="4573"/>
                  </a:lnTo>
                  <a:lnTo>
                    <a:pt x="4769" y="4693"/>
                  </a:lnTo>
                  <a:lnTo>
                    <a:pt x="4809" y="4670"/>
                  </a:lnTo>
                  <a:lnTo>
                    <a:pt x="4851" y="4657"/>
                  </a:lnTo>
                  <a:lnTo>
                    <a:pt x="4894" y="4653"/>
                  </a:lnTo>
                  <a:lnTo>
                    <a:pt x="4936" y="4657"/>
                  </a:lnTo>
                  <a:lnTo>
                    <a:pt x="4978" y="4670"/>
                  </a:lnTo>
                  <a:lnTo>
                    <a:pt x="5014" y="4689"/>
                  </a:lnTo>
                  <a:lnTo>
                    <a:pt x="5049" y="4716"/>
                  </a:lnTo>
                  <a:lnTo>
                    <a:pt x="5358" y="5026"/>
                  </a:lnTo>
                  <a:lnTo>
                    <a:pt x="5386" y="5061"/>
                  </a:lnTo>
                  <a:lnTo>
                    <a:pt x="5405" y="5099"/>
                  </a:lnTo>
                  <a:lnTo>
                    <a:pt x="5419" y="5139"/>
                  </a:lnTo>
                  <a:lnTo>
                    <a:pt x="5422" y="5181"/>
                  </a:lnTo>
                  <a:lnTo>
                    <a:pt x="5419" y="5223"/>
                  </a:lnTo>
                  <a:lnTo>
                    <a:pt x="5405" y="5263"/>
                  </a:lnTo>
                  <a:lnTo>
                    <a:pt x="5386" y="5301"/>
                  </a:lnTo>
                  <a:lnTo>
                    <a:pt x="5358" y="5333"/>
                  </a:lnTo>
                  <a:lnTo>
                    <a:pt x="5335" y="5358"/>
                  </a:lnTo>
                  <a:lnTo>
                    <a:pt x="5300" y="5385"/>
                  </a:lnTo>
                  <a:lnTo>
                    <a:pt x="5264" y="5406"/>
                  </a:lnTo>
                  <a:lnTo>
                    <a:pt x="5224" y="5417"/>
                  </a:lnTo>
                  <a:lnTo>
                    <a:pt x="5180" y="5421"/>
                  </a:lnTo>
                  <a:lnTo>
                    <a:pt x="5138" y="5417"/>
                  </a:lnTo>
                  <a:lnTo>
                    <a:pt x="5096" y="5406"/>
                  </a:lnTo>
                  <a:lnTo>
                    <a:pt x="5060" y="5385"/>
                  </a:lnTo>
                  <a:lnTo>
                    <a:pt x="5026" y="5358"/>
                  </a:lnTo>
                  <a:lnTo>
                    <a:pt x="4717" y="5047"/>
                  </a:lnTo>
                  <a:lnTo>
                    <a:pt x="4689" y="5013"/>
                  </a:lnTo>
                  <a:lnTo>
                    <a:pt x="4668" y="4975"/>
                  </a:lnTo>
                  <a:lnTo>
                    <a:pt x="4656" y="4933"/>
                  </a:lnTo>
                  <a:lnTo>
                    <a:pt x="4654" y="4891"/>
                  </a:lnTo>
                  <a:lnTo>
                    <a:pt x="4658" y="4849"/>
                  </a:lnTo>
                  <a:lnTo>
                    <a:pt x="4671" y="4807"/>
                  </a:lnTo>
                  <a:lnTo>
                    <a:pt x="4692" y="4769"/>
                  </a:lnTo>
                  <a:lnTo>
                    <a:pt x="4572" y="4649"/>
                  </a:lnTo>
                  <a:lnTo>
                    <a:pt x="4466" y="4746"/>
                  </a:lnTo>
                  <a:lnTo>
                    <a:pt x="4355" y="4834"/>
                  </a:lnTo>
                  <a:lnTo>
                    <a:pt x="4237" y="4914"/>
                  </a:lnTo>
                  <a:lnTo>
                    <a:pt x="4115" y="4985"/>
                  </a:lnTo>
                  <a:lnTo>
                    <a:pt x="3989" y="5047"/>
                  </a:lnTo>
                  <a:lnTo>
                    <a:pt x="3859" y="5103"/>
                  </a:lnTo>
                  <a:lnTo>
                    <a:pt x="3728" y="5148"/>
                  </a:lnTo>
                  <a:lnTo>
                    <a:pt x="3591" y="5185"/>
                  </a:lnTo>
                  <a:lnTo>
                    <a:pt x="3452" y="5211"/>
                  </a:lnTo>
                  <a:lnTo>
                    <a:pt x="3311" y="5228"/>
                  </a:lnTo>
                  <a:lnTo>
                    <a:pt x="3168" y="5238"/>
                  </a:lnTo>
                  <a:lnTo>
                    <a:pt x="3168" y="5400"/>
                  </a:lnTo>
                  <a:lnTo>
                    <a:pt x="3210" y="5411"/>
                  </a:lnTo>
                  <a:lnTo>
                    <a:pt x="3248" y="5432"/>
                  </a:lnTo>
                  <a:lnTo>
                    <a:pt x="3282" y="5459"/>
                  </a:lnTo>
                  <a:lnTo>
                    <a:pt x="3309" y="5491"/>
                  </a:lnTo>
                  <a:lnTo>
                    <a:pt x="3330" y="5528"/>
                  </a:lnTo>
                  <a:lnTo>
                    <a:pt x="3343" y="5570"/>
                  </a:lnTo>
                  <a:lnTo>
                    <a:pt x="3349" y="5613"/>
                  </a:lnTo>
                  <a:lnTo>
                    <a:pt x="3349" y="6054"/>
                  </a:lnTo>
                  <a:lnTo>
                    <a:pt x="3343" y="6103"/>
                  </a:lnTo>
                  <a:lnTo>
                    <a:pt x="3326" y="6149"/>
                  </a:lnTo>
                  <a:lnTo>
                    <a:pt x="3299" y="6189"/>
                  </a:lnTo>
                  <a:lnTo>
                    <a:pt x="3267" y="6223"/>
                  </a:lnTo>
                  <a:lnTo>
                    <a:pt x="3227" y="6248"/>
                  </a:lnTo>
                  <a:lnTo>
                    <a:pt x="3181" y="6265"/>
                  </a:lnTo>
                  <a:lnTo>
                    <a:pt x="3130" y="6271"/>
                  </a:lnTo>
                  <a:lnTo>
                    <a:pt x="3097" y="6271"/>
                  </a:lnTo>
                  <a:lnTo>
                    <a:pt x="3048" y="6265"/>
                  </a:lnTo>
                  <a:lnTo>
                    <a:pt x="3002" y="6248"/>
                  </a:lnTo>
                  <a:lnTo>
                    <a:pt x="2960" y="6223"/>
                  </a:lnTo>
                  <a:lnTo>
                    <a:pt x="2928" y="6189"/>
                  </a:lnTo>
                  <a:lnTo>
                    <a:pt x="2901" y="6149"/>
                  </a:lnTo>
                  <a:lnTo>
                    <a:pt x="2886" y="6103"/>
                  </a:lnTo>
                  <a:lnTo>
                    <a:pt x="2880" y="6054"/>
                  </a:lnTo>
                  <a:lnTo>
                    <a:pt x="2880" y="5613"/>
                  </a:lnTo>
                  <a:lnTo>
                    <a:pt x="2884" y="5570"/>
                  </a:lnTo>
                  <a:lnTo>
                    <a:pt x="2897" y="5528"/>
                  </a:lnTo>
                  <a:lnTo>
                    <a:pt x="2918" y="5491"/>
                  </a:lnTo>
                  <a:lnTo>
                    <a:pt x="2945" y="5459"/>
                  </a:lnTo>
                  <a:lnTo>
                    <a:pt x="2979" y="5432"/>
                  </a:lnTo>
                  <a:lnTo>
                    <a:pt x="3017" y="5411"/>
                  </a:lnTo>
                  <a:lnTo>
                    <a:pt x="3059" y="5400"/>
                  </a:lnTo>
                  <a:lnTo>
                    <a:pt x="3059" y="5238"/>
                  </a:lnTo>
                  <a:lnTo>
                    <a:pt x="2920" y="5230"/>
                  </a:lnTo>
                  <a:lnTo>
                    <a:pt x="2783" y="5213"/>
                  </a:lnTo>
                  <a:lnTo>
                    <a:pt x="2647" y="5187"/>
                  </a:lnTo>
                  <a:lnTo>
                    <a:pt x="2514" y="5152"/>
                  </a:lnTo>
                  <a:lnTo>
                    <a:pt x="2384" y="5110"/>
                  </a:lnTo>
                  <a:lnTo>
                    <a:pt x="2259" y="5059"/>
                  </a:lnTo>
                  <a:lnTo>
                    <a:pt x="2135" y="4998"/>
                  </a:lnTo>
                  <a:lnTo>
                    <a:pt x="2016" y="4931"/>
                  </a:lnTo>
                  <a:lnTo>
                    <a:pt x="1900" y="4855"/>
                  </a:lnTo>
                  <a:lnTo>
                    <a:pt x="1792" y="4771"/>
                  </a:lnTo>
                  <a:lnTo>
                    <a:pt x="1685" y="4680"/>
                  </a:lnTo>
                  <a:lnTo>
                    <a:pt x="1588" y="4779"/>
                  </a:lnTo>
                  <a:lnTo>
                    <a:pt x="1609" y="4817"/>
                  </a:lnTo>
                  <a:lnTo>
                    <a:pt x="1622" y="4859"/>
                  </a:lnTo>
                  <a:lnTo>
                    <a:pt x="1628" y="4903"/>
                  </a:lnTo>
                  <a:lnTo>
                    <a:pt x="1622" y="4946"/>
                  </a:lnTo>
                  <a:lnTo>
                    <a:pt x="1611" y="4986"/>
                  </a:lnTo>
                  <a:lnTo>
                    <a:pt x="1591" y="5025"/>
                  </a:lnTo>
                  <a:lnTo>
                    <a:pt x="1563" y="5057"/>
                  </a:lnTo>
                  <a:lnTo>
                    <a:pt x="1254" y="5368"/>
                  </a:lnTo>
                  <a:lnTo>
                    <a:pt x="1220" y="5394"/>
                  </a:lnTo>
                  <a:lnTo>
                    <a:pt x="1184" y="5413"/>
                  </a:lnTo>
                  <a:lnTo>
                    <a:pt x="1142" y="5427"/>
                  </a:lnTo>
                  <a:lnTo>
                    <a:pt x="1100" y="5430"/>
                  </a:lnTo>
                  <a:lnTo>
                    <a:pt x="1056" y="5427"/>
                  </a:lnTo>
                  <a:lnTo>
                    <a:pt x="1016" y="5413"/>
                  </a:lnTo>
                  <a:lnTo>
                    <a:pt x="980" y="5394"/>
                  </a:lnTo>
                  <a:lnTo>
                    <a:pt x="945" y="5368"/>
                  </a:lnTo>
                  <a:lnTo>
                    <a:pt x="922" y="5343"/>
                  </a:lnTo>
                  <a:lnTo>
                    <a:pt x="894" y="5310"/>
                  </a:lnTo>
                  <a:lnTo>
                    <a:pt x="875" y="5272"/>
                  </a:lnTo>
                  <a:lnTo>
                    <a:pt x="861" y="5232"/>
                  </a:lnTo>
                  <a:lnTo>
                    <a:pt x="858" y="5188"/>
                  </a:lnTo>
                  <a:lnTo>
                    <a:pt x="861" y="5147"/>
                  </a:lnTo>
                  <a:lnTo>
                    <a:pt x="875" y="5107"/>
                  </a:lnTo>
                  <a:lnTo>
                    <a:pt x="894" y="5068"/>
                  </a:lnTo>
                  <a:lnTo>
                    <a:pt x="922" y="5036"/>
                  </a:lnTo>
                  <a:lnTo>
                    <a:pt x="1231" y="4725"/>
                  </a:lnTo>
                  <a:lnTo>
                    <a:pt x="1266" y="4699"/>
                  </a:lnTo>
                  <a:lnTo>
                    <a:pt x="1302" y="4678"/>
                  </a:lnTo>
                  <a:lnTo>
                    <a:pt x="1344" y="4666"/>
                  </a:lnTo>
                  <a:lnTo>
                    <a:pt x="1386" y="4663"/>
                  </a:lnTo>
                  <a:lnTo>
                    <a:pt x="1429" y="4666"/>
                  </a:lnTo>
                  <a:lnTo>
                    <a:pt x="1471" y="4680"/>
                  </a:lnTo>
                  <a:lnTo>
                    <a:pt x="1509" y="4701"/>
                  </a:lnTo>
                  <a:lnTo>
                    <a:pt x="1607" y="4603"/>
                  </a:lnTo>
                  <a:lnTo>
                    <a:pt x="1509" y="4497"/>
                  </a:lnTo>
                  <a:lnTo>
                    <a:pt x="1420" y="4384"/>
                  </a:lnTo>
                  <a:lnTo>
                    <a:pt x="1340" y="4266"/>
                  </a:lnTo>
                  <a:lnTo>
                    <a:pt x="1267" y="4144"/>
                  </a:lnTo>
                  <a:lnTo>
                    <a:pt x="1203" y="4019"/>
                  </a:lnTo>
                  <a:lnTo>
                    <a:pt x="1147" y="3887"/>
                  </a:lnTo>
                  <a:lnTo>
                    <a:pt x="1102" y="3754"/>
                  </a:lnTo>
                  <a:lnTo>
                    <a:pt x="1064" y="3616"/>
                  </a:lnTo>
                  <a:lnTo>
                    <a:pt x="1037" y="3475"/>
                  </a:lnTo>
                  <a:lnTo>
                    <a:pt x="1018" y="3334"/>
                  </a:lnTo>
                  <a:lnTo>
                    <a:pt x="1010" y="3190"/>
                  </a:lnTo>
                  <a:lnTo>
                    <a:pt x="869" y="3190"/>
                  </a:lnTo>
                  <a:lnTo>
                    <a:pt x="858" y="3232"/>
                  </a:lnTo>
                  <a:lnTo>
                    <a:pt x="837" y="3270"/>
                  </a:lnTo>
                  <a:lnTo>
                    <a:pt x="812" y="3304"/>
                  </a:lnTo>
                  <a:lnTo>
                    <a:pt x="780" y="3331"/>
                  </a:lnTo>
                  <a:lnTo>
                    <a:pt x="741" y="3352"/>
                  </a:lnTo>
                  <a:lnTo>
                    <a:pt x="699" y="3365"/>
                  </a:lnTo>
                  <a:lnTo>
                    <a:pt x="656" y="3369"/>
                  </a:lnTo>
                  <a:lnTo>
                    <a:pt x="217" y="3369"/>
                  </a:lnTo>
                  <a:lnTo>
                    <a:pt x="168" y="3363"/>
                  </a:lnTo>
                  <a:lnTo>
                    <a:pt x="122" y="3348"/>
                  </a:lnTo>
                  <a:lnTo>
                    <a:pt x="80" y="3321"/>
                  </a:lnTo>
                  <a:lnTo>
                    <a:pt x="48" y="3289"/>
                  </a:lnTo>
                  <a:lnTo>
                    <a:pt x="21" y="3247"/>
                  </a:lnTo>
                  <a:lnTo>
                    <a:pt x="6" y="3201"/>
                  </a:lnTo>
                  <a:lnTo>
                    <a:pt x="0" y="3152"/>
                  </a:lnTo>
                  <a:lnTo>
                    <a:pt x="0" y="3119"/>
                  </a:lnTo>
                  <a:lnTo>
                    <a:pt x="6" y="3068"/>
                  </a:lnTo>
                  <a:lnTo>
                    <a:pt x="21" y="3022"/>
                  </a:lnTo>
                  <a:lnTo>
                    <a:pt x="48" y="2982"/>
                  </a:lnTo>
                  <a:lnTo>
                    <a:pt x="80" y="2948"/>
                  </a:lnTo>
                  <a:lnTo>
                    <a:pt x="122" y="2923"/>
                  </a:lnTo>
                  <a:lnTo>
                    <a:pt x="168" y="2906"/>
                  </a:lnTo>
                  <a:lnTo>
                    <a:pt x="217" y="2900"/>
                  </a:lnTo>
                  <a:lnTo>
                    <a:pt x="656" y="2900"/>
                  </a:lnTo>
                  <a:lnTo>
                    <a:pt x="699" y="2906"/>
                  </a:lnTo>
                  <a:lnTo>
                    <a:pt x="741" y="2919"/>
                  </a:lnTo>
                  <a:lnTo>
                    <a:pt x="780" y="2940"/>
                  </a:lnTo>
                  <a:lnTo>
                    <a:pt x="812" y="2967"/>
                  </a:lnTo>
                  <a:lnTo>
                    <a:pt x="837" y="3001"/>
                  </a:lnTo>
                  <a:lnTo>
                    <a:pt x="858" y="3039"/>
                  </a:lnTo>
                  <a:lnTo>
                    <a:pt x="869" y="3081"/>
                  </a:lnTo>
                  <a:lnTo>
                    <a:pt x="1010" y="3081"/>
                  </a:lnTo>
                  <a:lnTo>
                    <a:pt x="1018" y="2936"/>
                  </a:lnTo>
                  <a:lnTo>
                    <a:pt x="1037" y="2791"/>
                  </a:lnTo>
                  <a:lnTo>
                    <a:pt x="1065" y="2652"/>
                  </a:lnTo>
                  <a:lnTo>
                    <a:pt x="1102" y="2513"/>
                  </a:lnTo>
                  <a:lnTo>
                    <a:pt x="1149" y="2378"/>
                  </a:lnTo>
                  <a:lnTo>
                    <a:pt x="1205" y="2248"/>
                  </a:lnTo>
                  <a:lnTo>
                    <a:pt x="1269" y="2121"/>
                  </a:lnTo>
                  <a:lnTo>
                    <a:pt x="1342" y="1999"/>
                  </a:lnTo>
                  <a:lnTo>
                    <a:pt x="1426" y="1881"/>
                  </a:lnTo>
                  <a:lnTo>
                    <a:pt x="1515" y="1766"/>
                  </a:lnTo>
                  <a:lnTo>
                    <a:pt x="1614" y="1660"/>
                  </a:lnTo>
                  <a:lnTo>
                    <a:pt x="1500" y="1545"/>
                  </a:lnTo>
                  <a:lnTo>
                    <a:pt x="1462" y="1568"/>
                  </a:lnTo>
                  <a:lnTo>
                    <a:pt x="1420" y="1581"/>
                  </a:lnTo>
                  <a:lnTo>
                    <a:pt x="1376" y="1585"/>
                  </a:lnTo>
                  <a:lnTo>
                    <a:pt x="1332" y="1581"/>
                  </a:lnTo>
                  <a:lnTo>
                    <a:pt x="1292" y="1568"/>
                  </a:lnTo>
                  <a:lnTo>
                    <a:pt x="1254" y="1549"/>
                  </a:lnTo>
                  <a:lnTo>
                    <a:pt x="1222" y="1522"/>
                  </a:lnTo>
                  <a:lnTo>
                    <a:pt x="911" y="1212"/>
                  </a:lnTo>
                  <a:lnTo>
                    <a:pt x="884" y="1179"/>
                  </a:lnTo>
                  <a:lnTo>
                    <a:pt x="863" y="1141"/>
                  </a:lnTo>
                  <a:lnTo>
                    <a:pt x="852" y="1101"/>
                  </a:lnTo>
                  <a:lnTo>
                    <a:pt x="848" y="1057"/>
                  </a:lnTo>
                  <a:lnTo>
                    <a:pt x="852" y="1016"/>
                  </a:lnTo>
                  <a:lnTo>
                    <a:pt x="863" y="975"/>
                  </a:lnTo>
                  <a:lnTo>
                    <a:pt x="884" y="937"/>
                  </a:lnTo>
                  <a:lnTo>
                    <a:pt x="911" y="905"/>
                  </a:lnTo>
                  <a:lnTo>
                    <a:pt x="936" y="880"/>
                  </a:lnTo>
                  <a:lnTo>
                    <a:pt x="968" y="854"/>
                  </a:lnTo>
                  <a:lnTo>
                    <a:pt x="1006" y="833"/>
                  </a:lnTo>
                  <a:lnTo>
                    <a:pt x="1046" y="821"/>
                  </a:lnTo>
                  <a:lnTo>
                    <a:pt x="1090" y="817"/>
                  </a:lnTo>
                  <a:lnTo>
                    <a:pt x="1132" y="821"/>
                  </a:lnTo>
                  <a:lnTo>
                    <a:pt x="1172" y="833"/>
                  </a:lnTo>
                  <a:lnTo>
                    <a:pt x="1210" y="854"/>
                  </a:lnTo>
                  <a:lnTo>
                    <a:pt x="1243" y="880"/>
                  </a:lnTo>
                  <a:lnTo>
                    <a:pt x="1553" y="1191"/>
                  </a:lnTo>
                  <a:lnTo>
                    <a:pt x="1582" y="1225"/>
                  </a:lnTo>
                  <a:lnTo>
                    <a:pt x="1601" y="1263"/>
                  </a:lnTo>
                  <a:lnTo>
                    <a:pt x="1612" y="1305"/>
                  </a:lnTo>
                  <a:lnTo>
                    <a:pt x="1616" y="1347"/>
                  </a:lnTo>
                  <a:lnTo>
                    <a:pt x="1612" y="1389"/>
                  </a:lnTo>
                  <a:lnTo>
                    <a:pt x="1599" y="1431"/>
                  </a:lnTo>
                  <a:lnTo>
                    <a:pt x="1576" y="1469"/>
                  </a:lnTo>
                  <a:lnTo>
                    <a:pt x="1692" y="1583"/>
                  </a:lnTo>
                  <a:lnTo>
                    <a:pt x="1797" y="1494"/>
                  </a:lnTo>
                  <a:lnTo>
                    <a:pt x="1908" y="1412"/>
                  </a:lnTo>
                  <a:lnTo>
                    <a:pt x="2022" y="1336"/>
                  </a:lnTo>
                  <a:lnTo>
                    <a:pt x="2140" y="1269"/>
                  </a:lnTo>
                  <a:lnTo>
                    <a:pt x="2262" y="1210"/>
                  </a:lnTo>
                  <a:lnTo>
                    <a:pt x="2388" y="1160"/>
                  </a:lnTo>
                  <a:lnTo>
                    <a:pt x="2518" y="1117"/>
                  </a:lnTo>
                  <a:lnTo>
                    <a:pt x="2649" y="1082"/>
                  </a:lnTo>
                  <a:lnTo>
                    <a:pt x="2785" y="1057"/>
                  </a:lnTo>
                  <a:lnTo>
                    <a:pt x="2920" y="1040"/>
                  </a:lnTo>
                  <a:lnTo>
                    <a:pt x="3059" y="1033"/>
                  </a:lnTo>
                  <a:lnTo>
                    <a:pt x="3059" y="871"/>
                  </a:lnTo>
                  <a:lnTo>
                    <a:pt x="3017" y="857"/>
                  </a:lnTo>
                  <a:lnTo>
                    <a:pt x="2979" y="838"/>
                  </a:lnTo>
                  <a:lnTo>
                    <a:pt x="2945" y="812"/>
                  </a:lnTo>
                  <a:lnTo>
                    <a:pt x="2918" y="779"/>
                  </a:lnTo>
                  <a:lnTo>
                    <a:pt x="2897" y="741"/>
                  </a:lnTo>
                  <a:lnTo>
                    <a:pt x="2884" y="701"/>
                  </a:lnTo>
                  <a:lnTo>
                    <a:pt x="2880" y="655"/>
                  </a:lnTo>
                  <a:lnTo>
                    <a:pt x="2880" y="217"/>
                  </a:lnTo>
                  <a:lnTo>
                    <a:pt x="2886" y="168"/>
                  </a:lnTo>
                  <a:lnTo>
                    <a:pt x="2901" y="122"/>
                  </a:lnTo>
                  <a:lnTo>
                    <a:pt x="2928" y="82"/>
                  </a:lnTo>
                  <a:lnTo>
                    <a:pt x="2960" y="48"/>
                  </a:lnTo>
                  <a:lnTo>
                    <a:pt x="3002" y="23"/>
                  </a:lnTo>
                  <a:lnTo>
                    <a:pt x="3048" y="6"/>
                  </a:lnTo>
                  <a:lnTo>
                    <a:pt x="30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ES" sz="1800"/>
            </a:p>
          </p:txBody>
        </p:sp>
      </p:grpSp>
    </p:spTree>
    <p:extLst>
      <p:ext uri="{BB962C8B-B14F-4D97-AF65-F5344CB8AC3E}">
        <p14:creationId xmlns:p14="http://schemas.microsoft.com/office/powerpoint/2010/main" val="3855451031"/>
      </p:ext>
    </p:extLst>
  </p:cSld>
  <p:clrMapOvr>
    <a:masterClrMapping/>
  </p:clrMapOvr>
  <p:transition spd="slow"/>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2000"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Tree>
    <p:extLst>
      <p:ext uri="{BB962C8B-B14F-4D97-AF65-F5344CB8AC3E}">
        <p14:creationId xmlns:p14="http://schemas.microsoft.com/office/powerpoint/2010/main" val="1419843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0820" y="1620000"/>
            <a:ext cx="5326613" cy="4716000"/>
          </a:xfrm>
          <a:noFill/>
        </p:spPr>
        <p:txBody>
          <a:bodyPr vert="horz" lIns="0" tIns="1512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3869" y="1620000"/>
            <a:ext cx="5326613"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379827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3869" y="1620000"/>
            <a:ext cx="11182288" cy="4716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810173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5870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Thank You, Contact and Copyright">
    <p:spTree>
      <p:nvGrpSpPr>
        <p:cNvPr id="1" name=""/>
        <p:cNvGrpSpPr/>
        <p:nvPr/>
      </p:nvGrpSpPr>
      <p:grpSpPr>
        <a:xfrm>
          <a:off x="0" y="0"/>
          <a:ext cx="0" cy="0"/>
          <a:chOff x="0" y="0"/>
          <a:chExt cx="0" cy="0"/>
        </a:xfrm>
      </p:grpSpPr>
      <p:pic>
        <p:nvPicPr>
          <p:cNvPr id="8384734" name="Acquired Company Logo Placeholder" descr="{&quot;templafy&quot;:{&quot;id&quot;:&quot;c3a548b8-0e7b-48f5-9d6a-b28ca37272a7&quot;}}"/>
          <p:cNvPicPr>
            <a:picLocks noChangeAspect="1"/>
          </p:cNvPicPr>
          <p:nvPr/>
        </p:nvPicPr>
        <p:blipFill>
          <a:blip r:embed="rId2"/>
          <a:stretch>
            <a:fillRect/>
          </a:stretch>
        </p:blipFill>
        <p:spPr>
          <a:xfrm>
            <a:off x="503869" y="522454"/>
            <a:ext cx="1804102" cy="219475"/>
          </a:xfrm>
          <a:prstGeom prst="rect">
            <a:avLst/>
          </a:prstGeom>
        </p:spPr>
      </p:pic>
      <p:sp>
        <p:nvSpPr>
          <p:cNvPr id="10" name="TextBox 9">
            <a:extLst>
              <a:ext uri="{FF2B5EF4-FFF2-40B4-BE49-F238E27FC236}">
                <a16:creationId xmlns:a16="http://schemas.microsoft.com/office/drawing/2014/main" id="{433C5639-DDA2-864A-9DC3-7FC80AC852D5}"/>
              </a:ext>
            </a:extLst>
          </p:cNvPr>
          <p:cNvSpPr txBox="1"/>
          <p:nvPr userDrawn="1"/>
        </p:nvSpPr>
        <p:spPr>
          <a:xfrm>
            <a:off x="503107" y="2905126"/>
            <a:ext cx="1836563" cy="246221"/>
          </a:xfrm>
          <a:prstGeom prst="rect">
            <a:avLst/>
          </a:prstGeom>
          <a:noFill/>
        </p:spPr>
        <p:txBody>
          <a:bodyPr wrap="none" lIns="0" tIns="0" rIns="0" bIns="0" rtlCol="0">
            <a:spAutoFit/>
          </a:bodyPr>
          <a:lstStyle/>
          <a:p>
            <a:pPr marL="0" marR="0" lvl="0" indent="0" algn="l" defTabSz="1088449" rtl="0" eaLnBrk="1" fontAlgn="base" latinLnBrk="0" hangingPunct="1">
              <a:lnSpc>
                <a:spcPct val="100000"/>
              </a:lnSpc>
              <a:spcBef>
                <a:spcPct val="50000"/>
              </a:spcBef>
              <a:spcAft>
                <a:spcPct val="0"/>
              </a:spcAft>
              <a:buClr>
                <a:srgbClr val="F0AB00"/>
              </a:buClr>
              <a:buSzPct val="80000"/>
              <a:buFontTx/>
              <a:buNone/>
              <a:tabLst/>
              <a:defRPr/>
            </a:pPr>
            <a:r>
              <a:rPr lang="en-US" sz="1600" b="0" i="0">
                <a:latin typeface="Arial" panose="020B0604020202020204" pitchFamily="34" charset="0"/>
              </a:rPr>
              <a:t>Contact information:</a:t>
            </a:r>
          </a:p>
        </p:txBody>
      </p:sp>
      <p:sp>
        <p:nvSpPr>
          <p:cNvPr id="9" name="Copyright Placeholder" descr="{&quot;templafy&quot;:{&quot;id&quot;:&quot;0e5d90d7-2ece-4312-aa36-42957a705832&quot;}}">
            <a:extLst>
              <a:ext uri="{FF2B5EF4-FFF2-40B4-BE49-F238E27FC236}">
                <a16:creationId xmlns:a16="http://schemas.microsoft.com/office/drawing/2014/main" id="{EDAF1AF5-D568-20CC-6052-F655D86F5486}"/>
              </a:ext>
            </a:extLst>
          </p:cNvPr>
          <p:cNvSpPr txBox="1">
            <a:spLocks/>
          </p:cNvSpPr>
          <p:nvPr userDrawn="1"/>
        </p:nvSpPr>
        <p:spPr>
          <a:xfrm>
            <a:off x="503870" y="6536751"/>
            <a:ext cx="10152956"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latin typeface="Arial" panose="020B0604020202020204" pitchFamily="34" charset="0"/>
              </a:rPr>
              <a:t>© 2023 SAP SE or an SAP affiliate company. All rights reserved. See Legal Notice on www.sap.com/legal-notice for use terms, disclaimers, disclosures, or restrictions related to this material.</a:t>
            </a:r>
          </a:p>
        </p:txBody>
      </p:sp>
      <p:pic>
        <p:nvPicPr>
          <p:cNvPr id="2066300149" name="SAP Logo Placeholder" descr="{&quot;templafy&quot;:{&quot;id&quot;:&quot;7f9f5fbf-bcfa-430d-86e1-39a364634c2b&quot;}}"/>
          <p:cNvPicPr>
            <a:picLocks noChangeAspect="1"/>
          </p:cNvPicPr>
          <p:nvPr/>
        </p:nvPicPr>
        <p:blipFill>
          <a:blip r:embed="rId3"/>
          <a:stretch>
            <a:fillRect/>
          </a:stretch>
        </p:blipFill>
        <p:spPr>
          <a:xfrm>
            <a:off x="9507284" y="5797297"/>
            <a:ext cx="2212276" cy="536449"/>
          </a:xfrm>
          <a:prstGeom prst="rect">
            <a:avLst/>
          </a:prstGeom>
        </p:spPr>
      </p:pic>
      <p:sp>
        <p:nvSpPr>
          <p:cNvPr id="3" name="Title 2">
            <a:extLst>
              <a:ext uri="{FF2B5EF4-FFF2-40B4-BE49-F238E27FC236}">
                <a16:creationId xmlns:a16="http://schemas.microsoft.com/office/drawing/2014/main" id="{5692DE12-4084-77D2-FD2A-8E63F6FBE7C5}"/>
              </a:ext>
            </a:extLst>
          </p:cNvPr>
          <p:cNvSpPr>
            <a:spLocks noGrp="1"/>
          </p:cNvSpPr>
          <p:nvPr>
            <p:ph type="title" hasCustomPrompt="1"/>
          </p:nvPr>
        </p:nvSpPr>
        <p:spPr>
          <a:xfrm>
            <a:off x="503107" y="1466850"/>
            <a:ext cx="5412068" cy="846386"/>
          </a:xfrm>
        </p:spPr>
        <p:txBody>
          <a:bodyPr/>
          <a:lstStyle>
            <a:lvl1pPr>
              <a:defRPr sz="5498"/>
            </a:lvl1pPr>
          </a:lstStyle>
          <a:p>
            <a:r>
              <a:rPr lang="en-GB"/>
              <a:t>Thank you.</a:t>
            </a:r>
            <a:endParaRPr lang="en-US"/>
          </a:p>
        </p:txBody>
      </p:sp>
    </p:spTree>
    <p:extLst>
      <p:ext uri="{BB962C8B-B14F-4D97-AF65-F5344CB8AC3E}">
        <p14:creationId xmlns:p14="http://schemas.microsoft.com/office/powerpoint/2010/main" val="25149211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ftr="0" dt="0"/>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Gestión del Cambio">
    <p:spTree>
      <p:nvGrpSpPr>
        <p:cNvPr id="1" name=""/>
        <p:cNvGrpSpPr/>
        <p:nvPr/>
      </p:nvGrpSpPr>
      <p:grpSpPr>
        <a:xfrm>
          <a:off x="0" y="0"/>
          <a:ext cx="0" cy="0"/>
          <a:chOff x="0" y="0"/>
          <a:chExt cx="0" cy="0"/>
        </a:xfrm>
      </p:grpSpPr>
      <p:sp>
        <p:nvSpPr>
          <p:cNvPr id="23" name="22 Marcador de texto"/>
          <p:cNvSpPr>
            <a:spLocks noGrp="1"/>
          </p:cNvSpPr>
          <p:nvPr>
            <p:ph type="body" sz="quarter" idx="23"/>
          </p:nvPr>
        </p:nvSpPr>
        <p:spPr>
          <a:xfrm>
            <a:off x="423986" y="1320801"/>
            <a:ext cx="11344031" cy="5151940"/>
          </a:xfrm>
        </p:spPr>
        <p:txBody>
          <a:bodyPr>
            <a:noAutofit/>
          </a:bodyPr>
          <a:lstStyle>
            <a:lvl5pPr marL="858838" indent="-171450">
              <a:defRPr kumimoji="0" lang="es-ES" sz="1100" b="0" i="0" u="none" strike="noStrike" kern="1200" cap="none" spc="0" normalizeH="0" baseline="0" noProof="0" dirty="0" smtClean="0">
                <a:ln>
                  <a:noFill/>
                </a:ln>
                <a:solidFill>
                  <a:srgbClr val="494949"/>
                </a:solidFill>
                <a:effectLst/>
                <a:uLnTx/>
                <a:uFillTx/>
                <a:latin typeface="+mn-lt"/>
                <a:ea typeface="+mn-ea"/>
                <a:cs typeface="+mn-cs"/>
              </a:defRPr>
            </a:lvl5pPr>
            <a:lvl6pPr marL="969962" indent="0">
              <a:defRPr kumimoji="0" lang="es-ES" sz="1100" b="0" i="0" u="none" strike="noStrike" kern="1200" cap="none" spc="0" normalizeH="0" baseline="0" noProof="0" dirty="0" smtClean="0">
                <a:ln>
                  <a:noFill/>
                </a:ln>
                <a:solidFill>
                  <a:schemeClr val="tx1"/>
                </a:solidFill>
                <a:effectLst/>
                <a:uLnTx/>
                <a:uFillTx/>
                <a:latin typeface="+mn-lt"/>
                <a:ea typeface="+mn-ea"/>
                <a:cs typeface="+mn-cs"/>
              </a:defRPr>
            </a:lvl6pPr>
            <a:lvl7pPr>
              <a:defRPr/>
            </a:lvl7pPr>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a:p>
            <a:pPr marL="846138" marR="0" lvl="4" indent="-158750" algn="l" defTabSz="914400" rtl="0" eaLnBrk="1" fontAlgn="auto" latinLnBrk="0" hangingPunct="1">
              <a:lnSpc>
                <a:spcPct val="100000"/>
              </a:lnSpc>
              <a:spcBef>
                <a:spcPts val="0"/>
              </a:spcBef>
              <a:spcAft>
                <a:spcPts val="200"/>
              </a:spcAft>
              <a:buClr>
                <a:schemeClr val="accent1">
                  <a:lumMod val="90000"/>
                </a:schemeClr>
              </a:buClr>
              <a:buSzTx/>
              <a:buFont typeface="Arial" pitchFamily="34" charset="0"/>
              <a:buChar char="•"/>
              <a:tabLst/>
              <a:defRPr/>
            </a:pPr>
            <a:r>
              <a:rPr lang="es-ES" noProof="0"/>
              <a:t>Quinto nivel</a:t>
            </a:r>
          </a:p>
          <a:p>
            <a:pPr marL="1111250" lvl="5" indent="-141288" algn="l" defTabSz="914400" rtl="0" eaLnBrk="1" latinLnBrk="0" hangingPunct="1">
              <a:spcBef>
                <a:spcPct val="20000"/>
              </a:spcBef>
              <a:buFontTx/>
              <a:buNone/>
              <a:tabLst/>
            </a:pPr>
            <a:r>
              <a:rPr lang="es-ES" noProof="0"/>
              <a:t>- </a:t>
            </a:r>
            <a:r>
              <a:rPr lang="es-ES" noProof="0" err="1"/>
              <a:t>bhhh</a:t>
            </a:r>
            <a:endParaRPr lang="es-ES" noProof="0"/>
          </a:p>
        </p:txBody>
      </p:sp>
      <p:sp>
        <p:nvSpPr>
          <p:cNvPr id="92" name="27 Título"/>
          <p:cNvSpPr>
            <a:spLocks noGrp="1"/>
          </p:cNvSpPr>
          <p:nvPr userDrawn="1">
            <p:ph type="title" hasCustomPrompt="1"/>
          </p:nvPr>
        </p:nvSpPr>
        <p:spPr>
          <a:xfrm>
            <a:off x="1235961" y="334929"/>
            <a:ext cx="8936800" cy="518277"/>
          </a:xfrm>
        </p:spPr>
        <p:txBody>
          <a:bodyPr>
            <a:noAutofit/>
          </a:bodyPr>
          <a:lstStyle>
            <a:lvl1pPr>
              <a:defRPr sz="2000">
                <a:solidFill>
                  <a:schemeClr val="tx1"/>
                </a:solidFill>
              </a:defRPr>
            </a:lvl1pPr>
          </a:lstStyle>
          <a:p>
            <a:r>
              <a:rPr lang="es-ES"/>
              <a:t>Título</a:t>
            </a:r>
            <a:endParaRPr lang="en-US"/>
          </a:p>
        </p:txBody>
      </p:sp>
      <p:sp>
        <p:nvSpPr>
          <p:cNvPr id="6" name="21 CuadroTexto"/>
          <p:cNvSpPr txBox="1"/>
          <p:nvPr userDrawn="1"/>
        </p:nvSpPr>
        <p:spPr>
          <a:xfrm>
            <a:off x="1192823" y="19050"/>
            <a:ext cx="8988270" cy="248400"/>
          </a:xfrm>
          <a:prstGeom prst="rect">
            <a:avLst/>
          </a:prstGeom>
        </p:spPr>
        <p:txBody>
          <a:bodyPr vert="horz" lIns="0" tIns="0" rIns="0" bIns="0" rtlCol="0" anchor="ctr">
            <a:noAutofit/>
          </a:bodyPr>
          <a:lstStyle/>
          <a:p>
            <a:pPr marL="144000" marR="0" lvl="0" indent="0" algn="l" defTabSz="914400" rtl="0" eaLnBrk="1" fontAlgn="base" latinLnBrk="0" hangingPunct="1">
              <a:lnSpc>
                <a:spcPct val="100000"/>
              </a:lnSpc>
              <a:spcBef>
                <a:spcPts val="600"/>
              </a:spcBef>
              <a:spcAft>
                <a:spcPts val="300"/>
              </a:spcAft>
              <a:buClr>
                <a:srgbClr val="505150"/>
              </a:buClr>
              <a:buSzPct val="88000"/>
              <a:buFont typeface="Arial" pitchFamily="34" charset="0"/>
              <a:buNone/>
              <a:tabLst>
                <a:tab pos="1346200" algn="l"/>
              </a:tabLst>
              <a:defRPr/>
            </a:pPr>
            <a:r>
              <a:rPr kumimoji="0" lang="es-ES" sz="1050" b="0" i="0" u="none" strike="noStrike" kern="1200" cap="none" spc="0" normalizeH="0" baseline="0" noProof="0">
                <a:ln>
                  <a:noFill/>
                </a:ln>
                <a:solidFill>
                  <a:schemeClr val="tx1"/>
                </a:solidFill>
                <a:effectLst/>
                <a:uLnTx/>
                <a:uFillTx/>
                <a:latin typeface="+mn-lt"/>
                <a:ea typeface="+mn-ea"/>
                <a:cs typeface="+mn-cs"/>
                <a:sym typeface="Droid Sans" charset="0"/>
              </a:rPr>
              <a:t>Gestión del Cambio</a:t>
            </a:r>
          </a:p>
        </p:txBody>
      </p:sp>
      <p:sp>
        <p:nvSpPr>
          <p:cNvPr id="7" name="26 Marcador de contenido"/>
          <p:cNvSpPr>
            <a:spLocks noGrp="1"/>
          </p:cNvSpPr>
          <p:nvPr>
            <p:ph sz="quarter" idx="26" hasCustomPrompt="1"/>
          </p:nvPr>
        </p:nvSpPr>
        <p:spPr>
          <a:xfrm>
            <a:off x="1192823" y="863255"/>
            <a:ext cx="8988270" cy="225425"/>
          </a:xfrm>
        </p:spPr>
        <p:txBody>
          <a:bodyPr anchor="ctr">
            <a:noAutofit/>
          </a:bodyPr>
          <a:lstStyle>
            <a:lvl1pPr marL="144000">
              <a:defRPr sz="1000" cap="all" spc="300" baseline="0">
                <a:solidFill>
                  <a:schemeClr val="tx1"/>
                </a:solidFill>
              </a:defRPr>
            </a:lvl1pPr>
            <a:lvl7pPr>
              <a:defRPr>
                <a:solidFill>
                  <a:schemeClr val="tx1">
                    <a:lumMod val="50000"/>
                    <a:lumOff val="50000"/>
                  </a:schemeClr>
                </a:solidFill>
              </a:defRPr>
            </a:lvl7pPr>
          </a:lstStyle>
          <a:p>
            <a:pPr lvl="0"/>
            <a:r>
              <a:rPr lang="es-ES"/>
              <a:t>Subtítulo</a:t>
            </a:r>
            <a:endParaRPr lang="en-US"/>
          </a:p>
        </p:txBody>
      </p:sp>
      <p:sp>
        <p:nvSpPr>
          <p:cNvPr id="2" name="Marcador de número de diapositiva 1"/>
          <p:cNvSpPr>
            <a:spLocks noGrp="1"/>
          </p:cNvSpPr>
          <p:nvPr>
            <p:ph type="sldNum" sz="quarter" idx="27"/>
          </p:nvPr>
        </p:nvSpPr>
        <p:spPr/>
        <p:txBody>
          <a:bodyPr/>
          <a:lstStyle/>
          <a:p>
            <a:pPr marL="7938" algn="ctr" fontAlgn="base">
              <a:spcAft>
                <a:spcPct val="0"/>
              </a:spcAft>
              <a:buClr>
                <a:srgbClr val="505150"/>
              </a:buClr>
              <a:buSzPct val="88000"/>
            </a:pPr>
            <a:fld id="{B90C96D8-0395-4AF3-8A78-0E88AEC6FB3C}" type="slidenum">
              <a:rPr lang="es-ES" smtClean="0"/>
              <a:pPr marL="7938" algn="ctr" fontAlgn="base">
                <a:spcAft>
                  <a:spcPct val="0"/>
                </a:spcAft>
                <a:buClr>
                  <a:srgbClr val="505150"/>
                </a:buClr>
                <a:buSzPct val="88000"/>
              </a:pPr>
              <a:t>‹Nº›</a:t>
            </a:fld>
            <a:endParaRPr lang="es-ES"/>
          </a:p>
        </p:txBody>
      </p:sp>
      <p:grpSp>
        <p:nvGrpSpPr>
          <p:cNvPr id="15" name="19 Grupo"/>
          <p:cNvGrpSpPr/>
          <p:nvPr userDrawn="1"/>
        </p:nvGrpSpPr>
        <p:grpSpPr>
          <a:xfrm>
            <a:off x="444341" y="435893"/>
            <a:ext cx="428852" cy="348220"/>
            <a:chOff x="2079626" y="933449"/>
            <a:chExt cx="4981575" cy="4978402"/>
          </a:xfrm>
          <a:solidFill>
            <a:schemeClr val="tx1"/>
          </a:solidFill>
        </p:grpSpPr>
        <p:sp>
          <p:nvSpPr>
            <p:cNvPr id="16" name="Freeform 6"/>
            <p:cNvSpPr>
              <a:spLocks/>
            </p:cNvSpPr>
            <p:nvPr/>
          </p:nvSpPr>
          <p:spPr bwMode="auto">
            <a:xfrm>
              <a:off x="2079626" y="933449"/>
              <a:ext cx="4587872" cy="3178174"/>
            </a:xfrm>
            <a:custGeom>
              <a:avLst/>
              <a:gdLst/>
              <a:ahLst/>
              <a:cxnLst>
                <a:cxn ang="0">
                  <a:pos x="3316" y="6"/>
                </a:cxn>
                <a:cxn ang="0">
                  <a:pos x="3663" y="46"/>
                </a:cxn>
                <a:cxn ang="0">
                  <a:pos x="4001" y="122"/>
                </a:cxn>
                <a:cxn ang="0">
                  <a:pos x="4329" y="236"/>
                </a:cxn>
                <a:cxn ang="0">
                  <a:pos x="4642" y="385"/>
                </a:cxn>
                <a:cxn ang="0">
                  <a:pos x="4939" y="570"/>
                </a:cxn>
                <a:cxn ang="0">
                  <a:pos x="5216" y="789"/>
                </a:cxn>
                <a:cxn ang="0">
                  <a:pos x="5469" y="1042"/>
                </a:cxn>
                <a:cxn ang="0">
                  <a:pos x="5780" y="170"/>
                </a:cxn>
                <a:cxn ang="0">
                  <a:pos x="4354" y="1345"/>
                </a:cxn>
                <a:cxn ang="0">
                  <a:pos x="5286" y="1223"/>
                </a:cxn>
                <a:cxn ang="0">
                  <a:pos x="5044" y="981"/>
                </a:cxn>
                <a:cxn ang="0">
                  <a:pos x="4779" y="772"/>
                </a:cxn>
                <a:cxn ang="0">
                  <a:pos x="4491" y="598"/>
                </a:cxn>
                <a:cxn ang="0">
                  <a:pos x="4188" y="459"/>
                </a:cxn>
                <a:cxn ang="0">
                  <a:pos x="3871" y="356"/>
                </a:cxn>
                <a:cxn ang="0">
                  <a:pos x="3545" y="292"/>
                </a:cxn>
                <a:cxn ang="0">
                  <a:pos x="3212" y="265"/>
                </a:cxn>
                <a:cxn ang="0">
                  <a:pos x="2876" y="276"/>
                </a:cxn>
                <a:cxn ang="0">
                  <a:pos x="2540" y="330"/>
                </a:cxn>
                <a:cxn ang="0">
                  <a:pos x="2210" y="423"/>
                </a:cxn>
                <a:cxn ang="0">
                  <a:pos x="1886" y="558"/>
                </a:cxn>
                <a:cxn ang="0">
                  <a:pos x="1594" y="718"/>
                </a:cxn>
                <a:cxn ang="0">
                  <a:pos x="1329" y="907"/>
                </a:cxn>
                <a:cxn ang="0">
                  <a:pos x="1089" y="1120"/>
                </a:cxn>
                <a:cxn ang="0">
                  <a:pos x="879" y="1359"/>
                </a:cxn>
                <a:cxn ang="0">
                  <a:pos x="696" y="1618"/>
                </a:cxn>
                <a:cxn ang="0">
                  <a:pos x="546" y="1894"/>
                </a:cxn>
                <a:cxn ang="0">
                  <a:pos x="425" y="2186"/>
                </a:cxn>
                <a:cxn ang="0">
                  <a:pos x="338" y="2490"/>
                </a:cxn>
                <a:cxn ang="0">
                  <a:pos x="284" y="2805"/>
                </a:cxn>
                <a:cxn ang="0">
                  <a:pos x="265" y="3125"/>
                </a:cxn>
                <a:cxn ang="0">
                  <a:pos x="282" y="3449"/>
                </a:cxn>
                <a:cxn ang="0">
                  <a:pos x="338" y="3775"/>
                </a:cxn>
                <a:cxn ang="0">
                  <a:pos x="126" y="4003"/>
                </a:cxn>
                <a:cxn ang="0">
                  <a:pos x="44" y="3649"/>
                </a:cxn>
                <a:cxn ang="0">
                  <a:pos x="6" y="3295"/>
                </a:cxn>
                <a:cxn ang="0">
                  <a:pos x="6" y="2944"/>
                </a:cxn>
                <a:cxn ang="0">
                  <a:pos x="46" y="2599"/>
                </a:cxn>
                <a:cxn ang="0">
                  <a:pos x="122" y="2262"/>
                </a:cxn>
                <a:cxn ang="0">
                  <a:pos x="235" y="1938"/>
                </a:cxn>
                <a:cxn ang="0">
                  <a:pos x="383" y="1629"/>
                </a:cxn>
                <a:cxn ang="0">
                  <a:pos x="565" y="1336"/>
                </a:cxn>
                <a:cxn ang="0">
                  <a:pos x="778" y="1065"/>
                </a:cxn>
                <a:cxn ang="0">
                  <a:pos x="1020" y="816"/>
                </a:cxn>
                <a:cxn ang="0">
                  <a:pos x="1293" y="595"/>
                </a:cxn>
                <a:cxn ang="0">
                  <a:pos x="1594" y="402"/>
                </a:cxn>
                <a:cxn ang="0">
                  <a:pos x="1922" y="244"/>
                </a:cxn>
                <a:cxn ang="0">
                  <a:pos x="2268" y="124"/>
                </a:cxn>
                <a:cxn ang="0">
                  <a:pos x="2617" y="44"/>
                </a:cxn>
                <a:cxn ang="0">
                  <a:pos x="2967" y="6"/>
                </a:cxn>
              </a:cxnLst>
              <a:rect l="0" t="0" r="r" b="b"/>
              <a:pathLst>
                <a:path w="5780" h="4003">
                  <a:moveTo>
                    <a:pt x="3143" y="0"/>
                  </a:moveTo>
                  <a:lnTo>
                    <a:pt x="3316" y="6"/>
                  </a:lnTo>
                  <a:lnTo>
                    <a:pt x="3490" y="21"/>
                  </a:lnTo>
                  <a:lnTo>
                    <a:pt x="3663" y="46"/>
                  </a:lnTo>
                  <a:lnTo>
                    <a:pt x="3833" y="80"/>
                  </a:lnTo>
                  <a:lnTo>
                    <a:pt x="4001" y="122"/>
                  </a:lnTo>
                  <a:lnTo>
                    <a:pt x="4167" y="175"/>
                  </a:lnTo>
                  <a:lnTo>
                    <a:pt x="4329" y="236"/>
                  </a:lnTo>
                  <a:lnTo>
                    <a:pt x="4487" y="307"/>
                  </a:lnTo>
                  <a:lnTo>
                    <a:pt x="4642" y="385"/>
                  </a:lnTo>
                  <a:lnTo>
                    <a:pt x="4794" y="474"/>
                  </a:lnTo>
                  <a:lnTo>
                    <a:pt x="4939" y="570"/>
                  </a:lnTo>
                  <a:lnTo>
                    <a:pt x="5080" y="676"/>
                  </a:lnTo>
                  <a:lnTo>
                    <a:pt x="5216" y="789"/>
                  </a:lnTo>
                  <a:lnTo>
                    <a:pt x="5347" y="911"/>
                  </a:lnTo>
                  <a:lnTo>
                    <a:pt x="5469" y="1042"/>
                  </a:lnTo>
                  <a:lnTo>
                    <a:pt x="5513" y="158"/>
                  </a:lnTo>
                  <a:lnTo>
                    <a:pt x="5780" y="170"/>
                  </a:lnTo>
                  <a:lnTo>
                    <a:pt x="5714" y="1559"/>
                  </a:lnTo>
                  <a:lnTo>
                    <a:pt x="4354" y="1345"/>
                  </a:lnTo>
                  <a:lnTo>
                    <a:pt x="4392" y="1078"/>
                  </a:lnTo>
                  <a:lnTo>
                    <a:pt x="5286" y="1223"/>
                  </a:lnTo>
                  <a:lnTo>
                    <a:pt x="5168" y="1098"/>
                  </a:lnTo>
                  <a:lnTo>
                    <a:pt x="5044" y="981"/>
                  </a:lnTo>
                  <a:lnTo>
                    <a:pt x="4914" y="873"/>
                  </a:lnTo>
                  <a:lnTo>
                    <a:pt x="4779" y="772"/>
                  </a:lnTo>
                  <a:lnTo>
                    <a:pt x="4638" y="680"/>
                  </a:lnTo>
                  <a:lnTo>
                    <a:pt x="4491" y="598"/>
                  </a:lnTo>
                  <a:lnTo>
                    <a:pt x="4342" y="524"/>
                  </a:lnTo>
                  <a:lnTo>
                    <a:pt x="4188" y="459"/>
                  </a:lnTo>
                  <a:lnTo>
                    <a:pt x="4032" y="402"/>
                  </a:lnTo>
                  <a:lnTo>
                    <a:pt x="3871" y="356"/>
                  </a:lnTo>
                  <a:lnTo>
                    <a:pt x="3709" y="320"/>
                  </a:lnTo>
                  <a:lnTo>
                    <a:pt x="3545" y="292"/>
                  </a:lnTo>
                  <a:lnTo>
                    <a:pt x="3379" y="272"/>
                  </a:lnTo>
                  <a:lnTo>
                    <a:pt x="3212" y="265"/>
                  </a:lnTo>
                  <a:lnTo>
                    <a:pt x="3044" y="267"/>
                  </a:lnTo>
                  <a:lnTo>
                    <a:pt x="2876" y="276"/>
                  </a:lnTo>
                  <a:lnTo>
                    <a:pt x="2708" y="299"/>
                  </a:lnTo>
                  <a:lnTo>
                    <a:pt x="2540" y="330"/>
                  </a:lnTo>
                  <a:lnTo>
                    <a:pt x="2374" y="372"/>
                  </a:lnTo>
                  <a:lnTo>
                    <a:pt x="2210" y="423"/>
                  </a:lnTo>
                  <a:lnTo>
                    <a:pt x="2046" y="486"/>
                  </a:lnTo>
                  <a:lnTo>
                    <a:pt x="1886" y="558"/>
                  </a:lnTo>
                  <a:lnTo>
                    <a:pt x="1737" y="635"/>
                  </a:lnTo>
                  <a:lnTo>
                    <a:pt x="1594" y="718"/>
                  </a:lnTo>
                  <a:lnTo>
                    <a:pt x="1459" y="808"/>
                  </a:lnTo>
                  <a:lnTo>
                    <a:pt x="1329" y="907"/>
                  </a:lnTo>
                  <a:lnTo>
                    <a:pt x="1205" y="1010"/>
                  </a:lnTo>
                  <a:lnTo>
                    <a:pt x="1089" y="1120"/>
                  </a:lnTo>
                  <a:lnTo>
                    <a:pt x="980" y="1237"/>
                  </a:lnTo>
                  <a:lnTo>
                    <a:pt x="879" y="1359"/>
                  </a:lnTo>
                  <a:lnTo>
                    <a:pt x="784" y="1486"/>
                  </a:lnTo>
                  <a:lnTo>
                    <a:pt x="696" y="1618"/>
                  </a:lnTo>
                  <a:lnTo>
                    <a:pt x="618" y="1755"/>
                  </a:lnTo>
                  <a:lnTo>
                    <a:pt x="546" y="1894"/>
                  </a:lnTo>
                  <a:lnTo>
                    <a:pt x="481" y="2039"/>
                  </a:lnTo>
                  <a:lnTo>
                    <a:pt x="425" y="2186"/>
                  </a:lnTo>
                  <a:lnTo>
                    <a:pt x="378" y="2338"/>
                  </a:lnTo>
                  <a:lnTo>
                    <a:pt x="338" y="2490"/>
                  </a:lnTo>
                  <a:lnTo>
                    <a:pt x="307" y="2647"/>
                  </a:lnTo>
                  <a:lnTo>
                    <a:pt x="284" y="2805"/>
                  </a:lnTo>
                  <a:lnTo>
                    <a:pt x="271" y="2963"/>
                  </a:lnTo>
                  <a:lnTo>
                    <a:pt x="265" y="3125"/>
                  </a:lnTo>
                  <a:lnTo>
                    <a:pt x="271" y="3287"/>
                  </a:lnTo>
                  <a:lnTo>
                    <a:pt x="282" y="3449"/>
                  </a:lnTo>
                  <a:lnTo>
                    <a:pt x="305" y="3611"/>
                  </a:lnTo>
                  <a:lnTo>
                    <a:pt x="338" y="3775"/>
                  </a:lnTo>
                  <a:lnTo>
                    <a:pt x="380" y="3937"/>
                  </a:lnTo>
                  <a:lnTo>
                    <a:pt x="126" y="4003"/>
                  </a:lnTo>
                  <a:lnTo>
                    <a:pt x="80" y="3826"/>
                  </a:lnTo>
                  <a:lnTo>
                    <a:pt x="44" y="3649"/>
                  </a:lnTo>
                  <a:lnTo>
                    <a:pt x="19" y="3472"/>
                  </a:lnTo>
                  <a:lnTo>
                    <a:pt x="6" y="3295"/>
                  </a:lnTo>
                  <a:lnTo>
                    <a:pt x="0" y="3119"/>
                  </a:lnTo>
                  <a:lnTo>
                    <a:pt x="6" y="2944"/>
                  </a:lnTo>
                  <a:lnTo>
                    <a:pt x="21" y="2771"/>
                  </a:lnTo>
                  <a:lnTo>
                    <a:pt x="46" y="2599"/>
                  </a:lnTo>
                  <a:lnTo>
                    <a:pt x="80" y="2429"/>
                  </a:lnTo>
                  <a:lnTo>
                    <a:pt x="122" y="2262"/>
                  </a:lnTo>
                  <a:lnTo>
                    <a:pt x="174" y="2098"/>
                  </a:lnTo>
                  <a:lnTo>
                    <a:pt x="235" y="1938"/>
                  </a:lnTo>
                  <a:lnTo>
                    <a:pt x="305" y="1782"/>
                  </a:lnTo>
                  <a:lnTo>
                    <a:pt x="383" y="1629"/>
                  </a:lnTo>
                  <a:lnTo>
                    <a:pt x="469" y="1481"/>
                  </a:lnTo>
                  <a:lnTo>
                    <a:pt x="565" y="1336"/>
                  </a:lnTo>
                  <a:lnTo>
                    <a:pt x="668" y="1197"/>
                  </a:lnTo>
                  <a:lnTo>
                    <a:pt x="778" y="1065"/>
                  </a:lnTo>
                  <a:lnTo>
                    <a:pt x="894" y="937"/>
                  </a:lnTo>
                  <a:lnTo>
                    <a:pt x="1020" y="816"/>
                  </a:lnTo>
                  <a:lnTo>
                    <a:pt x="1154" y="701"/>
                  </a:lnTo>
                  <a:lnTo>
                    <a:pt x="1293" y="595"/>
                  </a:lnTo>
                  <a:lnTo>
                    <a:pt x="1440" y="495"/>
                  </a:lnTo>
                  <a:lnTo>
                    <a:pt x="1594" y="402"/>
                  </a:lnTo>
                  <a:lnTo>
                    <a:pt x="1755" y="318"/>
                  </a:lnTo>
                  <a:lnTo>
                    <a:pt x="1922" y="244"/>
                  </a:lnTo>
                  <a:lnTo>
                    <a:pt x="2094" y="177"/>
                  </a:lnTo>
                  <a:lnTo>
                    <a:pt x="2268" y="124"/>
                  </a:lnTo>
                  <a:lnTo>
                    <a:pt x="2441" y="78"/>
                  </a:lnTo>
                  <a:lnTo>
                    <a:pt x="2617" y="44"/>
                  </a:lnTo>
                  <a:lnTo>
                    <a:pt x="2792" y="19"/>
                  </a:lnTo>
                  <a:lnTo>
                    <a:pt x="2967" y="6"/>
                  </a:lnTo>
                  <a:lnTo>
                    <a:pt x="314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ES" sz="1800"/>
            </a:p>
          </p:txBody>
        </p:sp>
        <p:sp>
          <p:nvSpPr>
            <p:cNvPr id="17" name="Freeform 7"/>
            <p:cNvSpPr>
              <a:spLocks/>
            </p:cNvSpPr>
            <p:nvPr/>
          </p:nvSpPr>
          <p:spPr bwMode="auto">
            <a:xfrm>
              <a:off x="2487611" y="2741612"/>
              <a:ext cx="4573590" cy="3170239"/>
            </a:xfrm>
            <a:custGeom>
              <a:avLst/>
              <a:gdLst/>
              <a:ahLst/>
              <a:cxnLst>
                <a:cxn ang="0">
                  <a:pos x="5685" y="177"/>
                </a:cxn>
                <a:cxn ang="0">
                  <a:pos x="5744" y="532"/>
                </a:cxn>
                <a:cxn ang="0">
                  <a:pos x="5763" y="884"/>
                </a:cxn>
                <a:cxn ang="0">
                  <a:pos x="5744" y="1233"/>
                </a:cxn>
                <a:cxn ang="0">
                  <a:pos x="5685" y="1574"/>
                </a:cxn>
                <a:cxn ang="0">
                  <a:pos x="5590" y="1905"/>
                </a:cxn>
                <a:cxn ang="0">
                  <a:pos x="5460" y="2222"/>
                </a:cxn>
                <a:cxn ang="0">
                  <a:pos x="5296" y="2525"/>
                </a:cxn>
                <a:cxn ang="0">
                  <a:pos x="5098" y="2807"/>
                </a:cxn>
                <a:cxn ang="0">
                  <a:pos x="4871" y="3066"/>
                </a:cxn>
                <a:cxn ang="0">
                  <a:pos x="4611" y="3302"/>
                </a:cxn>
                <a:cxn ang="0">
                  <a:pos x="4325" y="3510"/>
                </a:cxn>
                <a:cxn ang="0">
                  <a:pos x="4012" y="3685"/>
                </a:cxn>
                <a:cxn ang="0">
                  <a:pos x="3622" y="3834"/>
                </a:cxn>
                <a:cxn ang="0">
                  <a:pos x="3225" y="3935"/>
                </a:cxn>
                <a:cxn ang="0">
                  <a:pos x="2826" y="3986"/>
                </a:cxn>
                <a:cxn ang="0">
                  <a:pos x="2453" y="3988"/>
                </a:cxn>
                <a:cxn ang="0">
                  <a:pos x="2107" y="3950"/>
                </a:cxn>
                <a:cxn ang="0">
                  <a:pos x="1770" y="3874"/>
                </a:cxn>
                <a:cxn ang="0">
                  <a:pos x="1442" y="3759"/>
                </a:cxn>
                <a:cxn ang="0">
                  <a:pos x="1127" y="3611"/>
                </a:cxn>
                <a:cxn ang="0">
                  <a:pos x="830" y="3424"/>
                </a:cxn>
                <a:cxn ang="0">
                  <a:pos x="551" y="3203"/>
                </a:cxn>
                <a:cxn ang="0">
                  <a:pos x="298" y="2948"/>
                </a:cxn>
                <a:cxn ang="0">
                  <a:pos x="0" y="3818"/>
                </a:cxn>
                <a:cxn ang="0">
                  <a:pos x="1425" y="2658"/>
                </a:cxn>
                <a:cxn ang="0">
                  <a:pos x="484" y="2778"/>
                </a:cxn>
                <a:cxn ang="0">
                  <a:pos x="729" y="3022"/>
                </a:cxn>
                <a:cxn ang="0">
                  <a:pos x="994" y="3232"/>
                </a:cxn>
                <a:cxn ang="0">
                  <a:pos x="1282" y="3405"/>
                </a:cxn>
                <a:cxn ang="0">
                  <a:pos x="1585" y="3544"/>
                </a:cxn>
                <a:cxn ang="0">
                  <a:pos x="1901" y="3647"/>
                </a:cxn>
                <a:cxn ang="0">
                  <a:pos x="2227" y="3712"/>
                </a:cxn>
                <a:cxn ang="0">
                  <a:pos x="2561" y="3738"/>
                </a:cxn>
                <a:cxn ang="0">
                  <a:pos x="2897" y="3725"/>
                </a:cxn>
                <a:cxn ang="0">
                  <a:pos x="3232" y="3674"/>
                </a:cxn>
                <a:cxn ang="0">
                  <a:pos x="3566" y="3580"/>
                </a:cxn>
                <a:cxn ang="0">
                  <a:pos x="3892" y="3445"/>
                </a:cxn>
                <a:cxn ang="0">
                  <a:pos x="4192" y="3275"/>
                </a:cxn>
                <a:cxn ang="0">
                  <a:pos x="4464" y="3075"/>
                </a:cxn>
                <a:cxn ang="0">
                  <a:pos x="4709" y="2849"/>
                </a:cxn>
                <a:cxn ang="0">
                  <a:pos x="4922" y="2595"/>
                </a:cxn>
                <a:cxn ang="0">
                  <a:pos x="5105" y="2323"/>
                </a:cxn>
                <a:cxn ang="0">
                  <a:pos x="5254" y="2031"/>
                </a:cxn>
                <a:cxn ang="0">
                  <a:pos x="5368" y="1724"/>
                </a:cxn>
                <a:cxn ang="0">
                  <a:pos x="5448" y="1406"/>
                </a:cxn>
                <a:cxn ang="0">
                  <a:pos x="5490" y="1077"/>
                </a:cxn>
                <a:cxn ang="0">
                  <a:pos x="5496" y="743"/>
                </a:cxn>
                <a:cxn ang="0">
                  <a:pos x="5462" y="406"/>
                </a:cxn>
                <a:cxn ang="0">
                  <a:pos x="5386" y="67"/>
                </a:cxn>
              </a:cxnLst>
              <a:rect l="0" t="0" r="r" b="b"/>
              <a:pathLst>
                <a:path w="5763" h="3994">
                  <a:moveTo>
                    <a:pt x="5639" y="0"/>
                  </a:moveTo>
                  <a:lnTo>
                    <a:pt x="5685" y="177"/>
                  </a:lnTo>
                  <a:lnTo>
                    <a:pt x="5719" y="354"/>
                  </a:lnTo>
                  <a:lnTo>
                    <a:pt x="5744" y="532"/>
                  </a:lnTo>
                  <a:lnTo>
                    <a:pt x="5759" y="709"/>
                  </a:lnTo>
                  <a:lnTo>
                    <a:pt x="5763" y="884"/>
                  </a:lnTo>
                  <a:lnTo>
                    <a:pt x="5759" y="1059"/>
                  </a:lnTo>
                  <a:lnTo>
                    <a:pt x="5744" y="1233"/>
                  </a:lnTo>
                  <a:lnTo>
                    <a:pt x="5719" y="1404"/>
                  </a:lnTo>
                  <a:lnTo>
                    <a:pt x="5685" y="1574"/>
                  </a:lnTo>
                  <a:lnTo>
                    <a:pt x="5643" y="1740"/>
                  </a:lnTo>
                  <a:lnTo>
                    <a:pt x="5590" y="1905"/>
                  </a:lnTo>
                  <a:lnTo>
                    <a:pt x="5529" y="2065"/>
                  </a:lnTo>
                  <a:lnTo>
                    <a:pt x="5460" y="2222"/>
                  </a:lnTo>
                  <a:lnTo>
                    <a:pt x="5382" y="2376"/>
                  </a:lnTo>
                  <a:lnTo>
                    <a:pt x="5296" y="2525"/>
                  </a:lnTo>
                  <a:lnTo>
                    <a:pt x="5201" y="2668"/>
                  </a:lnTo>
                  <a:lnTo>
                    <a:pt x="5098" y="2807"/>
                  </a:lnTo>
                  <a:lnTo>
                    <a:pt x="4987" y="2940"/>
                  </a:lnTo>
                  <a:lnTo>
                    <a:pt x="4871" y="3066"/>
                  </a:lnTo>
                  <a:lnTo>
                    <a:pt x="4745" y="3188"/>
                  </a:lnTo>
                  <a:lnTo>
                    <a:pt x="4611" y="3302"/>
                  </a:lnTo>
                  <a:lnTo>
                    <a:pt x="4472" y="3409"/>
                  </a:lnTo>
                  <a:lnTo>
                    <a:pt x="4325" y="3510"/>
                  </a:lnTo>
                  <a:lnTo>
                    <a:pt x="4173" y="3601"/>
                  </a:lnTo>
                  <a:lnTo>
                    <a:pt x="4012" y="3685"/>
                  </a:lnTo>
                  <a:lnTo>
                    <a:pt x="3818" y="3767"/>
                  </a:lnTo>
                  <a:lnTo>
                    <a:pt x="3622" y="3834"/>
                  </a:lnTo>
                  <a:lnTo>
                    <a:pt x="3423" y="3891"/>
                  </a:lnTo>
                  <a:lnTo>
                    <a:pt x="3225" y="3935"/>
                  </a:lnTo>
                  <a:lnTo>
                    <a:pt x="3025" y="3967"/>
                  </a:lnTo>
                  <a:lnTo>
                    <a:pt x="2826" y="3986"/>
                  </a:lnTo>
                  <a:lnTo>
                    <a:pt x="2624" y="3994"/>
                  </a:lnTo>
                  <a:lnTo>
                    <a:pt x="2453" y="3988"/>
                  </a:lnTo>
                  <a:lnTo>
                    <a:pt x="2279" y="3975"/>
                  </a:lnTo>
                  <a:lnTo>
                    <a:pt x="2107" y="3950"/>
                  </a:lnTo>
                  <a:lnTo>
                    <a:pt x="1938" y="3916"/>
                  </a:lnTo>
                  <a:lnTo>
                    <a:pt x="1770" y="3874"/>
                  </a:lnTo>
                  <a:lnTo>
                    <a:pt x="1604" y="3822"/>
                  </a:lnTo>
                  <a:lnTo>
                    <a:pt x="1442" y="3759"/>
                  </a:lnTo>
                  <a:lnTo>
                    <a:pt x="1284" y="3689"/>
                  </a:lnTo>
                  <a:lnTo>
                    <a:pt x="1127" y="3611"/>
                  </a:lnTo>
                  <a:lnTo>
                    <a:pt x="976" y="3521"/>
                  </a:lnTo>
                  <a:lnTo>
                    <a:pt x="830" y="3424"/>
                  </a:lnTo>
                  <a:lnTo>
                    <a:pt x="689" y="3319"/>
                  </a:lnTo>
                  <a:lnTo>
                    <a:pt x="551" y="3203"/>
                  </a:lnTo>
                  <a:lnTo>
                    <a:pt x="422" y="3081"/>
                  </a:lnTo>
                  <a:lnTo>
                    <a:pt x="298" y="2948"/>
                  </a:lnTo>
                  <a:lnTo>
                    <a:pt x="254" y="3832"/>
                  </a:lnTo>
                  <a:lnTo>
                    <a:pt x="0" y="3818"/>
                  </a:lnTo>
                  <a:lnTo>
                    <a:pt x="52" y="2445"/>
                  </a:lnTo>
                  <a:lnTo>
                    <a:pt x="1425" y="2658"/>
                  </a:lnTo>
                  <a:lnTo>
                    <a:pt x="1385" y="2911"/>
                  </a:lnTo>
                  <a:lnTo>
                    <a:pt x="484" y="2778"/>
                  </a:lnTo>
                  <a:lnTo>
                    <a:pt x="603" y="2904"/>
                  </a:lnTo>
                  <a:lnTo>
                    <a:pt x="729" y="3022"/>
                  </a:lnTo>
                  <a:lnTo>
                    <a:pt x="858" y="3131"/>
                  </a:lnTo>
                  <a:lnTo>
                    <a:pt x="994" y="3232"/>
                  </a:lnTo>
                  <a:lnTo>
                    <a:pt x="1135" y="3323"/>
                  </a:lnTo>
                  <a:lnTo>
                    <a:pt x="1282" y="3405"/>
                  </a:lnTo>
                  <a:lnTo>
                    <a:pt x="1430" y="3479"/>
                  </a:lnTo>
                  <a:lnTo>
                    <a:pt x="1585" y="3544"/>
                  </a:lnTo>
                  <a:lnTo>
                    <a:pt x="1741" y="3601"/>
                  </a:lnTo>
                  <a:lnTo>
                    <a:pt x="1901" y="3647"/>
                  </a:lnTo>
                  <a:lnTo>
                    <a:pt x="2063" y="3683"/>
                  </a:lnTo>
                  <a:lnTo>
                    <a:pt x="2227" y="3712"/>
                  </a:lnTo>
                  <a:lnTo>
                    <a:pt x="2393" y="3729"/>
                  </a:lnTo>
                  <a:lnTo>
                    <a:pt x="2561" y="3738"/>
                  </a:lnTo>
                  <a:lnTo>
                    <a:pt x="2729" y="3737"/>
                  </a:lnTo>
                  <a:lnTo>
                    <a:pt x="2897" y="3725"/>
                  </a:lnTo>
                  <a:lnTo>
                    <a:pt x="3065" y="3704"/>
                  </a:lnTo>
                  <a:lnTo>
                    <a:pt x="3232" y="3674"/>
                  </a:lnTo>
                  <a:lnTo>
                    <a:pt x="3400" y="3632"/>
                  </a:lnTo>
                  <a:lnTo>
                    <a:pt x="3566" y="3580"/>
                  </a:lnTo>
                  <a:lnTo>
                    <a:pt x="3730" y="3517"/>
                  </a:lnTo>
                  <a:lnTo>
                    <a:pt x="3892" y="3445"/>
                  </a:lnTo>
                  <a:lnTo>
                    <a:pt x="4045" y="3365"/>
                  </a:lnTo>
                  <a:lnTo>
                    <a:pt x="4192" y="3275"/>
                  </a:lnTo>
                  <a:lnTo>
                    <a:pt x="4331" y="3178"/>
                  </a:lnTo>
                  <a:lnTo>
                    <a:pt x="4464" y="3075"/>
                  </a:lnTo>
                  <a:lnTo>
                    <a:pt x="4590" y="2965"/>
                  </a:lnTo>
                  <a:lnTo>
                    <a:pt x="4709" y="2849"/>
                  </a:lnTo>
                  <a:lnTo>
                    <a:pt x="4819" y="2725"/>
                  </a:lnTo>
                  <a:lnTo>
                    <a:pt x="4922" y="2595"/>
                  </a:lnTo>
                  <a:lnTo>
                    <a:pt x="5017" y="2462"/>
                  </a:lnTo>
                  <a:lnTo>
                    <a:pt x="5105" y="2323"/>
                  </a:lnTo>
                  <a:lnTo>
                    <a:pt x="5183" y="2180"/>
                  </a:lnTo>
                  <a:lnTo>
                    <a:pt x="5254" y="2031"/>
                  </a:lnTo>
                  <a:lnTo>
                    <a:pt x="5315" y="1879"/>
                  </a:lnTo>
                  <a:lnTo>
                    <a:pt x="5368" y="1724"/>
                  </a:lnTo>
                  <a:lnTo>
                    <a:pt x="5414" y="1566"/>
                  </a:lnTo>
                  <a:lnTo>
                    <a:pt x="5448" y="1406"/>
                  </a:lnTo>
                  <a:lnTo>
                    <a:pt x="5475" y="1242"/>
                  </a:lnTo>
                  <a:lnTo>
                    <a:pt x="5490" y="1077"/>
                  </a:lnTo>
                  <a:lnTo>
                    <a:pt x="5498" y="911"/>
                  </a:lnTo>
                  <a:lnTo>
                    <a:pt x="5496" y="743"/>
                  </a:lnTo>
                  <a:lnTo>
                    <a:pt x="5483" y="573"/>
                  </a:lnTo>
                  <a:lnTo>
                    <a:pt x="5462" y="406"/>
                  </a:lnTo>
                  <a:lnTo>
                    <a:pt x="5427" y="236"/>
                  </a:lnTo>
                  <a:lnTo>
                    <a:pt x="5386" y="67"/>
                  </a:lnTo>
                  <a:lnTo>
                    <a:pt x="563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ES" sz="1800"/>
            </a:p>
          </p:txBody>
        </p:sp>
        <p:sp>
          <p:nvSpPr>
            <p:cNvPr id="18" name="Freeform 8"/>
            <p:cNvSpPr>
              <a:spLocks noEditPoints="1"/>
            </p:cNvSpPr>
            <p:nvPr userDrawn="1"/>
          </p:nvSpPr>
          <p:spPr bwMode="auto">
            <a:xfrm>
              <a:off x="3670301" y="3167063"/>
              <a:ext cx="1800225" cy="1219200"/>
            </a:xfrm>
            <a:custGeom>
              <a:avLst/>
              <a:gdLst/>
              <a:ahLst/>
              <a:cxnLst>
                <a:cxn ang="0">
                  <a:pos x="815" y="280"/>
                </a:cxn>
                <a:cxn ang="0">
                  <a:pos x="740" y="286"/>
                </a:cxn>
                <a:cxn ang="0">
                  <a:pos x="668" y="301"/>
                </a:cxn>
                <a:cxn ang="0">
                  <a:pos x="599" y="324"/>
                </a:cxn>
                <a:cxn ang="0">
                  <a:pos x="536" y="357"/>
                </a:cxn>
                <a:cxn ang="0">
                  <a:pos x="479" y="397"/>
                </a:cxn>
                <a:cxn ang="0">
                  <a:pos x="426" y="444"/>
                </a:cxn>
                <a:cxn ang="0">
                  <a:pos x="380" y="498"/>
                </a:cxn>
                <a:cxn ang="0">
                  <a:pos x="342" y="555"/>
                </a:cxn>
                <a:cxn ang="0">
                  <a:pos x="309" y="618"/>
                </a:cxn>
                <a:cxn ang="0">
                  <a:pos x="286" y="684"/>
                </a:cxn>
                <a:cxn ang="0">
                  <a:pos x="273" y="755"/>
                </a:cxn>
                <a:cxn ang="0">
                  <a:pos x="267" y="827"/>
                </a:cxn>
                <a:cxn ang="0">
                  <a:pos x="267" y="1283"/>
                </a:cxn>
                <a:cxn ang="0">
                  <a:pos x="2003" y="1283"/>
                </a:cxn>
                <a:cxn ang="0">
                  <a:pos x="2003" y="829"/>
                </a:cxn>
                <a:cxn ang="0">
                  <a:pos x="1997" y="753"/>
                </a:cxn>
                <a:cxn ang="0">
                  <a:pos x="1982" y="683"/>
                </a:cxn>
                <a:cxn ang="0">
                  <a:pos x="1957" y="614"/>
                </a:cxn>
                <a:cxn ang="0">
                  <a:pos x="1925" y="551"/>
                </a:cxn>
                <a:cxn ang="0">
                  <a:pos x="1885" y="492"/>
                </a:cxn>
                <a:cxn ang="0">
                  <a:pos x="1839" y="441"/>
                </a:cxn>
                <a:cxn ang="0">
                  <a:pos x="1785" y="393"/>
                </a:cxn>
                <a:cxn ang="0">
                  <a:pos x="1728" y="355"/>
                </a:cxn>
                <a:cxn ang="0">
                  <a:pos x="1663" y="324"/>
                </a:cxn>
                <a:cxn ang="0">
                  <a:pos x="1597" y="300"/>
                </a:cxn>
                <a:cxn ang="0">
                  <a:pos x="1528" y="286"/>
                </a:cxn>
                <a:cxn ang="0">
                  <a:pos x="1455" y="280"/>
                </a:cxn>
                <a:cxn ang="0">
                  <a:pos x="815" y="280"/>
                </a:cxn>
                <a:cxn ang="0">
                  <a:pos x="813" y="0"/>
                </a:cxn>
                <a:cxn ang="0">
                  <a:pos x="1454" y="0"/>
                </a:cxn>
                <a:cxn ang="0">
                  <a:pos x="1549" y="6"/>
                </a:cxn>
                <a:cxn ang="0">
                  <a:pos x="1642" y="21"/>
                </a:cxn>
                <a:cxn ang="0">
                  <a:pos x="1730" y="48"/>
                </a:cxn>
                <a:cxn ang="0">
                  <a:pos x="1814" y="82"/>
                </a:cxn>
                <a:cxn ang="0">
                  <a:pos x="1892" y="126"/>
                </a:cxn>
                <a:cxn ang="0">
                  <a:pos x="1965" y="178"/>
                </a:cxn>
                <a:cxn ang="0">
                  <a:pos x="2031" y="237"/>
                </a:cxn>
                <a:cxn ang="0">
                  <a:pos x="2090" y="303"/>
                </a:cxn>
                <a:cxn ang="0">
                  <a:pos x="2142" y="376"/>
                </a:cxn>
                <a:cxn ang="0">
                  <a:pos x="2186" y="454"/>
                </a:cxn>
                <a:cxn ang="0">
                  <a:pos x="2220" y="538"/>
                </a:cxn>
                <a:cxn ang="0">
                  <a:pos x="2247" y="627"/>
                </a:cxn>
                <a:cxn ang="0">
                  <a:pos x="2262" y="719"/>
                </a:cxn>
                <a:cxn ang="0">
                  <a:pos x="2268" y="814"/>
                </a:cxn>
                <a:cxn ang="0">
                  <a:pos x="2268" y="1536"/>
                </a:cxn>
                <a:cxn ang="0">
                  <a:pos x="0" y="1536"/>
                </a:cxn>
                <a:cxn ang="0">
                  <a:pos x="0" y="814"/>
                </a:cxn>
                <a:cxn ang="0">
                  <a:pos x="6" y="719"/>
                </a:cxn>
                <a:cxn ang="0">
                  <a:pos x="21" y="627"/>
                </a:cxn>
                <a:cxn ang="0">
                  <a:pos x="48" y="538"/>
                </a:cxn>
                <a:cxn ang="0">
                  <a:pos x="82" y="454"/>
                </a:cxn>
                <a:cxn ang="0">
                  <a:pos x="126" y="376"/>
                </a:cxn>
                <a:cxn ang="0">
                  <a:pos x="178" y="303"/>
                </a:cxn>
                <a:cxn ang="0">
                  <a:pos x="237" y="237"/>
                </a:cxn>
                <a:cxn ang="0">
                  <a:pos x="304" y="178"/>
                </a:cxn>
                <a:cxn ang="0">
                  <a:pos x="376" y="126"/>
                </a:cxn>
                <a:cxn ang="0">
                  <a:pos x="454" y="82"/>
                </a:cxn>
                <a:cxn ang="0">
                  <a:pos x="538" y="48"/>
                </a:cxn>
                <a:cxn ang="0">
                  <a:pos x="626" y="21"/>
                </a:cxn>
                <a:cxn ang="0">
                  <a:pos x="717" y="6"/>
                </a:cxn>
                <a:cxn ang="0">
                  <a:pos x="813" y="0"/>
                </a:cxn>
              </a:cxnLst>
              <a:rect l="0" t="0" r="r" b="b"/>
              <a:pathLst>
                <a:path w="2268" h="1536">
                  <a:moveTo>
                    <a:pt x="815" y="280"/>
                  </a:moveTo>
                  <a:lnTo>
                    <a:pt x="740" y="286"/>
                  </a:lnTo>
                  <a:lnTo>
                    <a:pt x="668" y="301"/>
                  </a:lnTo>
                  <a:lnTo>
                    <a:pt x="599" y="324"/>
                  </a:lnTo>
                  <a:lnTo>
                    <a:pt x="536" y="357"/>
                  </a:lnTo>
                  <a:lnTo>
                    <a:pt x="479" y="397"/>
                  </a:lnTo>
                  <a:lnTo>
                    <a:pt x="426" y="444"/>
                  </a:lnTo>
                  <a:lnTo>
                    <a:pt x="380" y="498"/>
                  </a:lnTo>
                  <a:lnTo>
                    <a:pt x="342" y="555"/>
                  </a:lnTo>
                  <a:lnTo>
                    <a:pt x="309" y="618"/>
                  </a:lnTo>
                  <a:lnTo>
                    <a:pt x="286" y="684"/>
                  </a:lnTo>
                  <a:lnTo>
                    <a:pt x="273" y="755"/>
                  </a:lnTo>
                  <a:lnTo>
                    <a:pt x="267" y="827"/>
                  </a:lnTo>
                  <a:lnTo>
                    <a:pt x="267" y="1283"/>
                  </a:lnTo>
                  <a:lnTo>
                    <a:pt x="2003" y="1283"/>
                  </a:lnTo>
                  <a:lnTo>
                    <a:pt x="2003" y="829"/>
                  </a:lnTo>
                  <a:lnTo>
                    <a:pt x="1997" y="753"/>
                  </a:lnTo>
                  <a:lnTo>
                    <a:pt x="1982" y="683"/>
                  </a:lnTo>
                  <a:lnTo>
                    <a:pt x="1957" y="614"/>
                  </a:lnTo>
                  <a:lnTo>
                    <a:pt x="1925" y="551"/>
                  </a:lnTo>
                  <a:lnTo>
                    <a:pt x="1885" y="492"/>
                  </a:lnTo>
                  <a:lnTo>
                    <a:pt x="1839" y="441"/>
                  </a:lnTo>
                  <a:lnTo>
                    <a:pt x="1785" y="393"/>
                  </a:lnTo>
                  <a:lnTo>
                    <a:pt x="1728" y="355"/>
                  </a:lnTo>
                  <a:lnTo>
                    <a:pt x="1663" y="324"/>
                  </a:lnTo>
                  <a:lnTo>
                    <a:pt x="1597" y="300"/>
                  </a:lnTo>
                  <a:lnTo>
                    <a:pt x="1528" y="286"/>
                  </a:lnTo>
                  <a:lnTo>
                    <a:pt x="1455" y="280"/>
                  </a:lnTo>
                  <a:lnTo>
                    <a:pt x="815" y="280"/>
                  </a:lnTo>
                  <a:close/>
                  <a:moveTo>
                    <a:pt x="813" y="0"/>
                  </a:moveTo>
                  <a:lnTo>
                    <a:pt x="1454" y="0"/>
                  </a:lnTo>
                  <a:lnTo>
                    <a:pt x="1549" y="6"/>
                  </a:lnTo>
                  <a:lnTo>
                    <a:pt x="1642" y="21"/>
                  </a:lnTo>
                  <a:lnTo>
                    <a:pt x="1730" y="48"/>
                  </a:lnTo>
                  <a:lnTo>
                    <a:pt x="1814" y="82"/>
                  </a:lnTo>
                  <a:lnTo>
                    <a:pt x="1892" y="126"/>
                  </a:lnTo>
                  <a:lnTo>
                    <a:pt x="1965" y="178"/>
                  </a:lnTo>
                  <a:lnTo>
                    <a:pt x="2031" y="237"/>
                  </a:lnTo>
                  <a:lnTo>
                    <a:pt x="2090" y="303"/>
                  </a:lnTo>
                  <a:lnTo>
                    <a:pt x="2142" y="376"/>
                  </a:lnTo>
                  <a:lnTo>
                    <a:pt x="2186" y="454"/>
                  </a:lnTo>
                  <a:lnTo>
                    <a:pt x="2220" y="538"/>
                  </a:lnTo>
                  <a:lnTo>
                    <a:pt x="2247" y="627"/>
                  </a:lnTo>
                  <a:lnTo>
                    <a:pt x="2262" y="719"/>
                  </a:lnTo>
                  <a:lnTo>
                    <a:pt x="2268" y="814"/>
                  </a:lnTo>
                  <a:lnTo>
                    <a:pt x="2268" y="1536"/>
                  </a:lnTo>
                  <a:lnTo>
                    <a:pt x="0" y="1536"/>
                  </a:lnTo>
                  <a:lnTo>
                    <a:pt x="0" y="814"/>
                  </a:lnTo>
                  <a:lnTo>
                    <a:pt x="6" y="719"/>
                  </a:lnTo>
                  <a:lnTo>
                    <a:pt x="21" y="627"/>
                  </a:lnTo>
                  <a:lnTo>
                    <a:pt x="48" y="538"/>
                  </a:lnTo>
                  <a:lnTo>
                    <a:pt x="82" y="454"/>
                  </a:lnTo>
                  <a:lnTo>
                    <a:pt x="126" y="376"/>
                  </a:lnTo>
                  <a:lnTo>
                    <a:pt x="178" y="303"/>
                  </a:lnTo>
                  <a:lnTo>
                    <a:pt x="237" y="237"/>
                  </a:lnTo>
                  <a:lnTo>
                    <a:pt x="304" y="178"/>
                  </a:lnTo>
                  <a:lnTo>
                    <a:pt x="376" y="126"/>
                  </a:lnTo>
                  <a:lnTo>
                    <a:pt x="454" y="82"/>
                  </a:lnTo>
                  <a:lnTo>
                    <a:pt x="538" y="48"/>
                  </a:lnTo>
                  <a:lnTo>
                    <a:pt x="626" y="21"/>
                  </a:lnTo>
                  <a:lnTo>
                    <a:pt x="717" y="6"/>
                  </a:lnTo>
                  <a:lnTo>
                    <a:pt x="81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ES" sz="1800"/>
            </a:p>
          </p:txBody>
        </p:sp>
        <p:sp>
          <p:nvSpPr>
            <p:cNvPr id="19" name="Freeform 9"/>
            <p:cNvSpPr>
              <a:spLocks noEditPoints="1"/>
            </p:cNvSpPr>
            <p:nvPr userDrawn="1"/>
          </p:nvSpPr>
          <p:spPr bwMode="auto">
            <a:xfrm>
              <a:off x="4051301" y="1874838"/>
              <a:ext cx="1038225" cy="1038225"/>
            </a:xfrm>
            <a:custGeom>
              <a:avLst/>
              <a:gdLst/>
              <a:ahLst/>
              <a:cxnLst>
                <a:cxn ang="0">
                  <a:pos x="591" y="273"/>
                </a:cxn>
                <a:cxn ang="0">
                  <a:pos x="477" y="311"/>
                </a:cxn>
                <a:cxn ang="0">
                  <a:pos x="379" y="381"/>
                </a:cxn>
                <a:cxn ang="0">
                  <a:pos x="311" y="477"/>
                </a:cxn>
                <a:cxn ang="0">
                  <a:pos x="273" y="591"/>
                </a:cxn>
                <a:cxn ang="0">
                  <a:pos x="273" y="717"/>
                </a:cxn>
                <a:cxn ang="0">
                  <a:pos x="311" y="833"/>
                </a:cxn>
                <a:cxn ang="0">
                  <a:pos x="379" y="928"/>
                </a:cxn>
                <a:cxn ang="0">
                  <a:pos x="477" y="999"/>
                </a:cxn>
                <a:cxn ang="0">
                  <a:pos x="591" y="1037"/>
                </a:cxn>
                <a:cxn ang="0">
                  <a:pos x="717" y="1037"/>
                </a:cxn>
                <a:cxn ang="0">
                  <a:pos x="831" y="999"/>
                </a:cxn>
                <a:cxn ang="0">
                  <a:pos x="927" y="928"/>
                </a:cxn>
                <a:cxn ang="0">
                  <a:pos x="997" y="833"/>
                </a:cxn>
                <a:cxn ang="0">
                  <a:pos x="1035" y="717"/>
                </a:cxn>
                <a:cxn ang="0">
                  <a:pos x="1035" y="593"/>
                </a:cxn>
                <a:cxn ang="0">
                  <a:pos x="997" y="477"/>
                </a:cxn>
                <a:cxn ang="0">
                  <a:pos x="927" y="381"/>
                </a:cxn>
                <a:cxn ang="0">
                  <a:pos x="831" y="311"/>
                </a:cxn>
                <a:cxn ang="0">
                  <a:pos x="717" y="273"/>
                </a:cxn>
                <a:cxn ang="0">
                  <a:pos x="652" y="0"/>
                </a:cxn>
                <a:cxn ang="0">
                  <a:pos x="828" y="23"/>
                </a:cxn>
                <a:cxn ang="0">
                  <a:pos x="984" y="90"/>
                </a:cxn>
                <a:cxn ang="0">
                  <a:pos x="1116" y="193"/>
                </a:cxn>
                <a:cxn ang="0">
                  <a:pos x="1219" y="324"/>
                </a:cxn>
                <a:cxn ang="0">
                  <a:pos x="1283" y="480"/>
                </a:cxn>
                <a:cxn ang="0">
                  <a:pos x="1306" y="654"/>
                </a:cxn>
                <a:cxn ang="0">
                  <a:pos x="1283" y="829"/>
                </a:cxn>
                <a:cxn ang="0">
                  <a:pos x="1219" y="985"/>
                </a:cxn>
                <a:cxn ang="0">
                  <a:pos x="1116" y="1117"/>
                </a:cxn>
                <a:cxn ang="0">
                  <a:pos x="984" y="1220"/>
                </a:cxn>
                <a:cxn ang="0">
                  <a:pos x="828" y="1284"/>
                </a:cxn>
                <a:cxn ang="0">
                  <a:pos x="652" y="1309"/>
                </a:cxn>
                <a:cxn ang="0">
                  <a:pos x="481" y="1284"/>
                </a:cxn>
                <a:cxn ang="0">
                  <a:pos x="324" y="1220"/>
                </a:cxn>
                <a:cxn ang="0">
                  <a:pos x="193" y="1117"/>
                </a:cxn>
                <a:cxn ang="0">
                  <a:pos x="90" y="985"/>
                </a:cxn>
                <a:cxn ang="0">
                  <a:pos x="25" y="829"/>
                </a:cxn>
                <a:cxn ang="0">
                  <a:pos x="0" y="654"/>
                </a:cxn>
                <a:cxn ang="0">
                  <a:pos x="25" y="480"/>
                </a:cxn>
                <a:cxn ang="0">
                  <a:pos x="90" y="324"/>
                </a:cxn>
                <a:cxn ang="0">
                  <a:pos x="193" y="193"/>
                </a:cxn>
                <a:cxn ang="0">
                  <a:pos x="324" y="90"/>
                </a:cxn>
                <a:cxn ang="0">
                  <a:pos x="481" y="23"/>
                </a:cxn>
                <a:cxn ang="0">
                  <a:pos x="652" y="0"/>
                </a:cxn>
              </a:cxnLst>
              <a:rect l="0" t="0" r="r" b="b"/>
              <a:pathLst>
                <a:path w="1306" h="1309">
                  <a:moveTo>
                    <a:pt x="652" y="267"/>
                  </a:moveTo>
                  <a:lnTo>
                    <a:pt x="591" y="273"/>
                  </a:lnTo>
                  <a:lnTo>
                    <a:pt x="532" y="288"/>
                  </a:lnTo>
                  <a:lnTo>
                    <a:pt x="477" y="311"/>
                  </a:lnTo>
                  <a:lnTo>
                    <a:pt x="425" y="343"/>
                  </a:lnTo>
                  <a:lnTo>
                    <a:pt x="379" y="381"/>
                  </a:lnTo>
                  <a:lnTo>
                    <a:pt x="341" y="425"/>
                  </a:lnTo>
                  <a:lnTo>
                    <a:pt x="311" y="477"/>
                  </a:lnTo>
                  <a:lnTo>
                    <a:pt x="286" y="532"/>
                  </a:lnTo>
                  <a:lnTo>
                    <a:pt x="273" y="591"/>
                  </a:lnTo>
                  <a:lnTo>
                    <a:pt x="267" y="654"/>
                  </a:lnTo>
                  <a:lnTo>
                    <a:pt x="273" y="717"/>
                  </a:lnTo>
                  <a:lnTo>
                    <a:pt x="286" y="776"/>
                  </a:lnTo>
                  <a:lnTo>
                    <a:pt x="311" y="833"/>
                  </a:lnTo>
                  <a:lnTo>
                    <a:pt x="341" y="882"/>
                  </a:lnTo>
                  <a:lnTo>
                    <a:pt x="379" y="928"/>
                  </a:lnTo>
                  <a:lnTo>
                    <a:pt x="425" y="966"/>
                  </a:lnTo>
                  <a:lnTo>
                    <a:pt x="477" y="999"/>
                  </a:lnTo>
                  <a:lnTo>
                    <a:pt x="532" y="1022"/>
                  </a:lnTo>
                  <a:lnTo>
                    <a:pt x="591" y="1037"/>
                  </a:lnTo>
                  <a:lnTo>
                    <a:pt x="652" y="1041"/>
                  </a:lnTo>
                  <a:lnTo>
                    <a:pt x="717" y="1037"/>
                  </a:lnTo>
                  <a:lnTo>
                    <a:pt x="776" y="1022"/>
                  </a:lnTo>
                  <a:lnTo>
                    <a:pt x="831" y="999"/>
                  </a:lnTo>
                  <a:lnTo>
                    <a:pt x="883" y="966"/>
                  </a:lnTo>
                  <a:lnTo>
                    <a:pt x="927" y="928"/>
                  </a:lnTo>
                  <a:lnTo>
                    <a:pt x="967" y="882"/>
                  </a:lnTo>
                  <a:lnTo>
                    <a:pt x="997" y="833"/>
                  </a:lnTo>
                  <a:lnTo>
                    <a:pt x="1020" y="776"/>
                  </a:lnTo>
                  <a:lnTo>
                    <a:pt x="1035" y="717"/>
                  </a:lnTo>
                  <a:lnTo>
                    <a:pt x="1041" y="654"/>
                  </a:lnTo>
                  <a:lnTo>
                    <a:pt x="1035" y="593"/>
                  </a:lnTo>
                  <a:lnTo>
                    <a:pt x="1020" y="532"/>
                  </a:lnTo>
                  <a:lnTo>
                    <a:pt x="997" y="477"/>
                  </a:lnTo>
                  <a:lnTo>
                    <a:pt x="967" y="427"/>
                  </a:lnTo>
                  <a:lnTo>
                    <a:pt x="927" y="381"/>
                  </a:lnTo>
                  <a:lnTo>
                    <a:pt x="883" y="343"/>
                  </a:lnTo>
                  <a:lnTo>
                    <a:pt x="831" y="311"/>
                  </a:lnTo>
                  <a:lnTo>
                    <a:pt x="776" y="288"/>
                  </a:lnTo>
                  <a:lnTo>
                    <a:pt x="717" y="273"/>
                  </a:lnTo>
                  <a:lnTo>
                    <a:pt x="652" y="267"/>
                  </a:lnTo>
                  <a:close/>
                  <a:moveTo>
                    <a:pt x="652" y="0"/>
                  </a:moveTo>
                  <a:lnTo>
                    <a:pt x="742" y="6"/>
                  </a:lnTo>
                  <a:lnTo>
                    <a:pt x="828" y="23"/>
                  </a:lnTo>
                  <a:lnTo>
                    <a:pt x="908" y="52"/>
                  </a:lnTo>
                  <a:lnTo>
                    <a:pt x="984" y="90"/>
                  </a:lnTo>
                  <a:lnTo>
                    <a:pt x="1053" y="137"/>
                  </a:lnTo>
                  <a:lnTo>
                    <a:pt x="1116" y="193"/>
                  </a:lnTo>
                  <a:lnTo>
                    <a:pt x="1171" y="256"/>
                  </a:lnTo>
                  <a:lnTo>
                    <a:pt x="1219" y="324"/>
                  </a:lnTo>
                  <a:lnTo>
                    <a:pt x="1255" y="400"/>
                  </a:lnTo>
                  <a:lnTo>
                    <a:pt x="1283" y="480"/>
                  </a:lnTo>
                  <a:lnTo>
                    <a:pt x="1301" y="566"/>
                  </a:lnTo>
                  <a:lnTo>
                    <a:pt x="1306" y="654"/>
                  </a:lnTo>
                  <a:lnTo>
                    <a:pt x="1301" y="743"/>
                  </a:lnTo>
                  <a:lnTo>
                    <a:pt x="1283" y="829"/>
                  </a:lnTo>
                  <a:lnTo>
                    <a:pt x="1255" y="909"/>
                  </a:lnTo>
                  <a:lnTo>
                    <a:pt x="1219" y="985"/>
                  </a:lnTo>
                  <a:lnTo>
                    <a:pt x="1171" y="1054"/>
                  </a:lnTo>
                  <a:lnTo>
                    <a:pt x="1116" y="1117"/>
                  </a:lnTo>
                  <a:lnTo>
                    <a:pt x="1053" y="1172"/>
                  </a:lnTo>
                  <a:lnTo>
                    <a:pt x="984" y="1220"/>
                  </a:lnTo>
                  <a:lnTo>
                    <a:pt x="908" y="1258"/>
                  </a:lnTo>
                  <a:lnTo>
                    <a:pt x="828" y="1284"/>
                  </a:lnTo>
                  <a:lnTo>
                    <a:pt x="742" y="1302"/>
                  </a:lnTo>
                  <a:lnTo>
                    <a:pt x="652" y="1309"/>
                  </a:lnTo>
                  <a:lnTo>
                    <a:pt x="564" y="1302"/>
                  </a:lnTo>
                  <a:lnTo>
                    <a:pt x="481" y="1284"/>
                  </a:lnTo>
                  <a:lnTo>
                    <a:pt x="400" y="1258"/>
                  </a:lnTo>
                  <a:lnTo>
                    <a:pt x="324" y="1220"/>
                  </a:lnTo>
                  <a:lnTo>
                    <a:pt x="255" y="1172"/>
                  </a:lnTo>
                  <a:lnTo>
                    <a:pt x="193" y="1117"/>
                  </a:lnTo>
                  <a:lnTo>
                    <a:pt x="137" y="1054"/>
                  </a:lnTo>
                  <a:lnTo>
                    <a:pt x="90" y="985"/>
                  </a:lnTo>
                  <a:lnTo>
                    <a:pt x="51" y="909"/>
                  </a:lnTo>
                  <a:lnTo>
                    <a:pt x="25" y="829"/>
                  </a:lnTo>
                  <a:lnTo>
                    <a:pt x="6" y="743"/>
                  </a:lnTo>
                  <a:lnTo>
                    <a:pt x="0" y="654"/>
                  </a:lnTo>
                  <a:lnTo>
                    <a:pt x="6" y="566"/>
                  </a:lnTo>
                  <a:lnTo>
                    <a:pt x="25" y="480"/>
                  </a:lnTo>
                  <a:lnTo>
                    <a:pt x="51" y="400"/>
                  </a:lnTo>
                  <a:lnTo>
                    <a:pt x="90" y="324"/>
                  </a:lnTo>
                  <a:lnTo>
                    <a:pt x="137" y="256"/>
                  </a:lnTo>
                  <a:lnTo>
                    <a:pt x="193" y="193"/>
                  </a:lnTo>
                  <a:lnTo>
                    <a:pt x="255" y="137"/>
                  </a:lnTo>
                  <a:lnTo>
                    <a:pt x="324" y="90"/>
                  </a:lnTo>
                  <a:lnTo>
                    <a:pt x="400" y="52"/>
                  </a:lnTo>
                  <a:lnTo>
                    <a:pt x="481" y="23"/>
                  </a:lnTo>
                  <a:lnTo>
                    <a:pt x="564" y="6"/>
                  </a:lnTo>
                  <a:lnTo>
                    <a:pt x="65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ES" sz="1800"/>
            </a:p>
          </p:txBody>
        </p:sp>
      </p:grpSp>
    </p:spTree>
    <p:extLst>
      <p:ext uri="{BB962C8B-B14F-4D97-AF65-F5344CB8AC3E}">
        <p14:creationId xmlns:p14="http://schemas.microsoft.com/office/powerpoint/2010/main" val="3025972431"/>
      </p:ext>
    </p:extLst>
  </p:cSld>
  <p:clrMapOvr>
    <a:masterClrMapping/>
  </p:clrMapOvr>
  <p:transition spd="slow"/>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oporte y Mantenimiento">
    <p:spTree>
      <p:nvGrpSpPr>
        <p:cNvPr id="1" name=""/>
        <p:cNvGrpSpPr/>
        <p:nvPr/>
      </p:nvGrpSpPr>
      <p:grpSpPr>
        <a:xfrm>
          <a:off x="0" y="0"/>
          <a:ext cx="0" cy="0"/>
          <a:chOff x="0" y="0"/>
          <a:chExt cx="0" cy="0"/>
        </a:xfrm>
      </p:grpSpPr>
      <p:sp>
        <p:nvSpPr>
          <p:cNvPr id="23" name="22 Marcador de texto"/>
          <p:cNvSpPr>
            <a:spLocks noGrp="1"/>
          </p:cNvSpPr>
          <p:nvPr>
            <p:ph type="body" sz="quarter" idx="23"/>
          </p:nvPr>
        </p:nvSpPr>
        <p:spPr>
          <a:xfrm>
            <a:off x="423986" y="1320801"/>
            <a:ext cx="11344031" cy="5151940"/>
          </a:xfrm>
        </p:spPr>
        <p:txBody>
          <a:bodyPr>
            <a:noAutofit/>
          </a:bodyPr>
          <a:lstStyle>
            <a:lvl5pPr marL="969962" indent="0">
              <a:defRPr kumimoji="0" lang="es-ES" sz="1100" b="0" i="0" u="none" strike="noStrike" kern="1200" cap="none" spc="0" normalizeH="0" baseline="0" noProof="0" dirty="0" smtClean="0">
                <a:ln>
                  <a:noFill/>
                </a:ln>
                <a:solidFill>
                  <a:srgbClr val="494949"/>
                </a:solidFill>
                <a:effectLst/>
                <a:uLnTx/>
                <a:uFillTx/>
                <a:latin typeface="+mn-lt"/>
                <a:ea typeface="+mn-ea"/>
                <a:cs typeface="+mn-cs"/>
              </a:defRPr>
            </a:lvl5pPr>
            <a:lvl6pPr marL="858838" indent="-171450">
              <a:defRPr kumimoji="0" lang="es-ES" sz="1100" b="0" i="0" u="none" strike="noStrike" kern="1200" cap="none" spc="0" normalizeH="0" baseline="0" noProof="0" dirty="0" smtClean="0">
                <a:ln>
                  <a:noFill/>
                </a:ln>
                <a:solidFill>
                  <a:schemeClr val="tx1"/>
                </a:solidFill>
                <a:effectLst/>
                <a:uLnTx/>
                <a:uFillTx/>
                <a:latin typeface="+mn-lt"/>
                <a:ea typeface="+mn-ea"/>
                <a:cs typeface="+mn-cs"/>
              </a:defRPr>
            </a:lvl6pPr>
            <a:lvl7pPr>
              <a:defRPr/>
            </a:lvl7pPr>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a:p>
            <a:pPr marL="846138" marR="0" lvl="4" indent="-158750" algn="l" defTabSz="914400" rtl="0" eaLnBrk="1" fontAlgn="auto" latinLnBrk="0" hangingPunct="1">
              <a:lnSpc>
                <a:spcPct val="100000"/>
              </a:lnSpc>
              <a:spcBef>
                <a:spcPts val="0"/>
              </a:spcBef>
              <a:spcAft>
                <a:spcPts val="200"/>
              </a:spcAft>
              <a:buClr>
                <a:schemeClr val="accent1">
                  <a:lumMod val="90000"/>
                </a:schemeClr>
              </a:buClr>
              <a:buSzTx/>
              <a:buFont typeface="Arial" pitchFamily="34" charset="0"/>
              <a:buChar char="•"/>
              <a:tabLst/>
              <a:defRPr/>
            </a:pPr>
            <a:r>
              <a:rPr lang="es-ES" noProof="0"/>
              <a:t>Quinto nivel</a:t>
            </a:r>
          </a:p>
          <a:p>
            <a:pPr marL="1111250" marR="0" lvl="5" indent="-141288" algn="l" defTabSz="914400" rtl="0" eaLnBrk="1" fontAlgn="auto" latinLnBrk="0" hangingPunct="1">
              <a:lnSpc>
                <a:spcPct val="100000"/>
              </a:lnSpc>
              <a:spcBef>
                <a:spcPct val="20000"/>
              </a:spcBef>
              <a:spcAft>
                <a:spcPts val="200"/>
              </a:spcAft>
              <a:buClr>
                <a:schemeClr val="accent1">
                  <a:lumMod val="90000"/>
                </a:schemeClr>
              </a:buClr>
              <a:buSzTx/>
              <a:buFontTx/>
              <a:buNone/>
              <a:tabLst/>
              <a:defRPr/>
            </a:pPr>
            <a:r>
              <a:rPr lang="es-ES" noProof="0"/>
              <a:t>- </a:t>
            </a:r>
            <a:r>
              <a:rPr lang="es-ES" noProof="0" err="1"/>
              <a:t>bhhh</a:t>
            </a:r>
            <a:endParaRPr lang="es-ES" noProof="0"/>
          </a:p>
        </p:txBody>
      </p:sp>
      <p:sp>
        <p:nvSpPr>
          <p:cNvPr id="92" name="27 Título"/>
          <p:cNvSpPr>
            <a:spLocks noGrp="1"/>
          </p:cNvSpPr>
          <p:nvPr userDrawn="1">
            <p:ph type="title" hasCustomPrompt="1"/>
          </p:nvPr>
        </p:nvSpPr>
        <p:spPr>
          <a:xfrm>
            <a:off x="1235961" y="334929"/>
            <a:ext cx="8936800" cy="518277"/>
          </a:xfrm>
        </p:spPr>
        <p:txBody>
          <a:bodyPr>
            <a:noAutofit/>
          </a:bodyPr>
          <a:lstStyle>
            <a:lvl1pPr>
              <a:defRPr sz="2000">
                <a:solidFill>
                  <a:schemeClr val="tx1"/>
                </a:solidFill>
              </a:defRPr>
            </a:lvl1pPr>
          </a:lstStyle>
          <a:p>
            <a:r>
              <a:rPr lang="es-ES"/>
              <a:t>Título</a:t>
            </a:r>
            <a:endParaRPr lang="en-US"/>
          </a:p>
        </p:txBody>
      </p:sp>
      <p:sp>
        <p:nvSpPr>
          <p:cNvPr id="6" name="21 CuadroTexto"/>
          <p:cNvSpPr txBox="1"/>
          <p:nvPr userDrawn="1"/>
        </p:nvSpPr>
        <p:spPr>
          <a:xfrm>
            <a:off x="1192823" y="19050"/>
            <a:ext cx="8988270" cy="248400"/>
          </a:xfrm>
          <a:prstGeom prst="rect">
            <a:avLst/>
          </a:prstGeom>
        </p:spPr>
        <p:txBody>
          <a:bodyPr vert="horz" lIns="0" tIns="0" rIns="0" bIns="0" rtlCol="0" anchor="ctr">
            <a:noAutofit/>
          </a:bodyPr>
          <a:lstStyle/>
          <a:p>
            <a:pPr marL="144000" marR="0" lvl="0" indent="0" algn="l" defTabSz="914400" rtl="0" eaLnBrk="1" fontAlgn="base" latinLnBrk="0" hangingPunct="1">
              <a:lnSpc>
                <a:spcPct val="100000"/>
              </a:lnSpc>
              <a:spcBef>
                <a:spcPts val="600"/>
              </a:spcBef>
              <a:spcAft>
                <a:spcPts val="300"/>
              </a:spcAft>
              <a:buClr>
                <a:srgbClr val="505150"/>
              </a:buClr>
              <a:buSzPct val="88000"/>
              <a:buFont typeface="Arial" pitchFamily="34" charset="0"/>
              <a:buNone/>
              <a:tabLst>
                <a:tab pos="1346200" algn="l"/>
              </a:tabLst>
              <a:defRPr/>
            </a:pPr>
            <a:r>
              <a:rPr kumimoji="0" lang="es-ES" sz="1050" b="0" i="0" u="none" strike="noStrike" kern="1200" cap="none" spc="0" normalizeH="0" baseline="0" noProof="0">
                <a:ln>
                  <a:noFill/>
                </a:ln>
                <a:solidFill>
                  <a:schemeClr val="tx1"/>
                </a:solidFill>
                <a:effectLst/>
                <a:uLnTx/>
                <a:uFillTx/>
                <a:latin typeface="+mn-lt"/>
                <a:ea typeface="+mn-ea"/>
                <a:cs typeface="+mn-cs"/>
                <a:sym typeface="Droid Sans" charset="0"/>
              </a:rPr>
              <a:t>Soporte y Mantenimiento</a:t>
            </a:r>
          </a:p>
        </p:txBody>
      </p:sp>
      <p:sp>
        <p:nvSpPr>
          <p:cNvPr id="7" name="26 Marcador de contenido"/>
          <p:cNvSpPr>
            <a:spLocks noGrp="1"/>
          </p:cNvSpPr>
          <p:nvPr>
            <p:ph sz="quarter" idx="26" hasCustomPrompt="1"/>
          </p:nvPr>
        </p:nvSpPr>
        <p:spPr>
          <a:xfrm>
            <a:off x="1192823" y="863255"/>
            <a:ext cx="8988270" cy="225425"/>
          </a:xfrm>
        </p:spPr>
        <p:txBody>
          <a:bodyPr anchor="ctr">
            <a:noAutofit/>
          </a:bodyPr>
          <a:lstStyle>
            <a:lvl1pPr marL="144000">
              <a:defRPr sz="1000" cap="all" spc="300" baseline="0">
                <a:solidFill>
                  <a:schemeClr val="tx1"/>
                </a:solidFill>
              </a:defRPr>
            </a:lvl1pPr>
            <a:lvl7pPr>
              <a:defRPr>
                <a:solidFill>
                  <a:schemeClr val="tx1">
                    <a:lumMod val="50000"/>
                    <a:lumOff val="50000"/>
                  </a:schemeClr>
                </a:solidFill>
              </a:defRPr>
            </a:lvl7pPr>
          </a:lstStyle>
          <a:p>
            <a:pPr lvl="0"/>
            <a:r>
              <a:rPr lang="es-ES"/>
              <a:t>Subtítulo</a:t>
            </a:r>
            <a:endParaRPr lang="en-US"/>
          </a:p>
        </p:txBody>
      </p:sp>
      <p:sp>
        <p:nvSpPr>
          <p:cNvPr id="2" name="Marcador de número de diapositiva 1"/>
          <p:cNvSpPr>
            <a:spLocks noGrp="1"/>
          </p:cNvSpPr>
          <p:nvPr>
            <p:ph type="sldNum" sz="quarter" idx="27"/>
          </p:nvPr>
        </p:nvSpPr>
        <p:spPr/>
        <p:txBody>
          <a:bodyPr/>
          <a:lstStyle/>
          <a:p>
            <a:pPr marL="7938" algn="ctr" fontAlgn="base">
              <a:spcAft>
                <a:spcPct val="0"/>
              </a:spcAft>
              <a:buClr>
                <a:srgbClr val="505150"/>
              </a:buClr>
              <a:buSzPct val="88000"/>
            </a:pPr>
            <a:fld id="{B90C96D8-0395-4AF3-8A78-0E88AEC6FB3C}" type="slidenum">
              <a:rPr lang="es-ES" smtClean="0"/>
              <a:pPr marL="7938" algn="ctr" fontAlgn="base">
                <a:spcAft>
                  <a:spcPct val="0"/>
                </a:spcAft>
                <a:buClr>
                  <a:srgbClr val="505150"/>
                </a:buClr>
                <a:buSzPct val="88000"/>
              </a:pPr>
              <a:t>‹Nº›</a:t>
            </a:fld>
            <a:endParaRPr lang="es-ES"/>
          </a:p>
        </p:txBody>
      </p:sp>
      <p:sp>
        <p:nvSpPr>
          <p:cNvPr id="12" name="Freeform 6"/>
          <p:cNvSpPr>
            <a:spLocks noEditPoints="1"/>
          </p:cNvSpPr>
          <p:nvPr userDrawn="1"/>
        </p:nvSpPr>
        <p:spPr bwMode="auto">
          <a:xfrm>
            <a:off x="443951" y="412376"/>
            <a:ext cx="426570" cy="359500"/>
          </a:xfrm>
          <a:custGeom>
            <a:avLst/>
            <a:gdLst/>
            <a:ahLst/>
            <a:cxnLst>
              <a:cxn ang="0">
                <a:pos x="2121" y="4731"/>
              </a:cxn>
              <a:cxn ang="0">
                <a:pos x="2745" y="4673"/>
              </a:cxn>
              <a:cxn ang="0">
                <a:pos x="2607" y="4501"/>
              </a:cxn>
              <a:cxn ang="0">
                <a:pos x="3037" y="1332"/>
              </a:cxn>
              <a:cxn ang="0">
                <a:pos x="3387" y="1437"/>
              </a:cxn>
              <a:cxn ang="0">
                <a:pos x="3282" y="1087"/>
              </a:cxn>
              <a:cxn ang="0">
                <a:pos x="1863" y="1175"/>
              </a:cxn>
              <a:cxn ang="0">
                <a:pos x="1084" y="1762"/>
              </a:cxn>
              <a:cxn ang="0">
                <a:pos x="718" y="3281"/>
              </a:cxn>
              <a:cxn ang="0">
                <a:pos x="147" y="3330"/>
              </a:cxn>
              <a:cxn ang="0">
                <a:pos x="55" y="2326"/>
              </a:cxn>
              <a:cxn ang="0">
                <a:pos x="394" y="2251"/>
              </a:cxn>
              <a:cxn ang="0">
                <a:pos x="231" y="2516"/>
              </a:cxn>
              <a:cxn ang="0">
                <a:pos x="502" y="2580"/>
              </a:cxn>
              <a:cxn ang="0">
                <a:pos x="1081" y="1417"/>
              </a:cxn>
              <a:cxn ang="0">
                <a:pos x="3367" y="870"/>
              </a:cxn>
              <a:cxn ang="0">
                <a:pos x="3660" y="1417"/>
              </a:cxn>
              <a:cxn ang="0">
                <a:pos x="3114" y="1712"/>
              </a:cxn>
              <a:cxn ang="0">
                <a:pos x="2820" y="1164"/>
              </a:cxn>
              <a:cxn ang="0">
                <a:pos x="3193" y="233"/>
              </a:cxn>
              <a:cxn ang="0">
                <a:pos x="2861" y="633"/>
              </a:cxn>
              <a:cxn ang="0">
                <a:pos x="2348" y="721"/>
              </a:cxn>
              <a:cxn ang="0">
                <a:pos x="2495" y="1140"/>
              </a:cxn>
              <a:cxn ang="0">
                <a:pos x="2276" y="1712"/>
              </a:cxn>
              <a:cxn ang="0">
                <a:pos x="2691" y="1835"/>
              </a:cxn>
              <a:cxn ang="0">
                <a:pos x="3076" y="2108"/>
              </a:cxn>
              <a:cxn ang="0">
                <a:pos x="3410" y="2082"/>
              </a:cxn>
              <a:cxn ang="0">
                <a:pos x="3815" y="1830"/>
              </a:cxn>
              <a:cxn ang="0">
                <a:pos x="4212" y="1687"/>
              </a:cxn>
              <a:cxn ang="0">
                <a:pos x="3983" y="1113"/>
              </a:cxn>
              <a:cxn ang="0">
                <a:pos x="4109" y="689"/>
              </a:cxn>
              <a:cxn ang="0">
                <a:pos x="3553" y="599"/>
              </a:cxn>
              <a:cxn ang="0">
                <a:pos x="3241" y="232"/>
              </a:cxn>
              <a:cxn ang="0">
                <a:pos x="3608" y="195"/>
              </a:cxn>
              <a:cxn ang="0">
                <a:pos x="4152" y="427"/>
              </a:cxn>
              <a:cxn ang="0">
                <a:pos x="4443" y="899"/>
              </a:cxn>
              <a:cxn ang="0">
                <a:pos x="4373" y="1520"/>
              </a:cxn>
              <a:cxn ang="0">
                <a:pos x="4326" y="1984"/>
              </a:cxn>
              <a:cxn ang="0">
                <a:pos x="4352" y="2935"/>
              </a:cxn>
              <a:cxn ang="0">
                <a:pos x="4600" y="2516"/>
              </a:cxn>
              <a:cxn ang="0">
                <a:pos x="4437" y="2277"/>
              </a:cxn>
              <a:cxn ang="0">
                <a:pos x="4750" y="2286"/>
              </a:cxn>
              <a:cxn ang="0">
                <a:pos x="4730" y="3294"/>
              </a:cxn>
              <a:cxn ang="0">
                <a:pos x="4009" y="3925"/>
              </a:cxn>
              <a:cxn ang="0">
                <a:pos x="2979" y="4673"/>
              </a:cxn>
              <a:cxn ang="0">
                <a:pos x="2232" y="5013"/>
              </a:cxn>
              <a:cxn ang="0">
                <a:pos x="1858" y="4642"/>
              </a:cxn>
              <a:cxn ang="0">
                <a:pos x="2232" y="4271"/>
              </a:cxn>
              <a:cxn ang="0">
                <a:pos x="3245" y="4313"/>
              </a:cxn>
              <a:cxn ang="0">
                <a:pos x="4029" y="3385"/>
              </a:cxn>
              <a:cxn ang="0">
                <a:pos x="3989" y="2147"/>
              </a:cxn>
              <a:cxn ang="0">
                <a:pos x="3463" y="2545"/>
              </a:cxn>
              <a:cxn ang="0">
                <a:pos x="2913" y="2480"/>
              </a:cxn>
              <a:cxn ang="0">
                <a:pos x="2374" y="2167"/>
              </a:cxn>
              <a:cxn ang="0">
                <a:pos x="2043" y="1731"/>
              </a:cxn>
              <a:cxn ang="0">
                <a:pos x="2252" y="1350"/>
              </a:cxn>
              <a:cxn ang="0">
                <a:pos x="2052" y="808"/>
              </a:cxn>
              <a:cxn ang="0">
                <a:pos x="2409" y="408"/>
              </a:cxn>
              <a:cxn ang="0">
                <a:pos x="2940" y="75"/>
              </a:cxn>
            </a:cxnLst>
            <a:rect l="0" t="0" r="r" b="b"/>
            <a:pathLst>
              <a:path w="4832" h="5013">
                <a:moveTo>
                  <a:pt x="2232" y="4501"/>
                </a:moveTo>
                <a:lnTo>
                  <a:pt x="2198" y="4505"/>
                </a:lnTo>
                <a:lnTo>
                  <a:pt x="2169" y="4516"/>
                </a:lnTo>
                <a:lnTo>
                  <a:pt x="2143" y="4531"/>
                </a:lnTo>
                <a:lnTo>
                  <a:pt x="2121" y="4554"/>
                </a:lnTo>
                <a:lnTo>
                  <a:pt x="2104" y="4580"/>
                </a:lnTo>
                <a:lnTo>
                  <a:pt x="2093" y="4609"/>
                </a:lnTo>
                <a:lnTo>
                  <a:pt x="2090" y="4642"/>
                </a:lnTo>
                <a:lnTo>
                  <a:pt x="2093" y="4674"/>
                </a:lnTo>
                <a:lnTo>
                  <a:pt x="2104" y="4703"/>
                </a:lnTo>
                <a:lnTo>
                  <a:pt x="2121" y="4731"/>
                </a:lnTo>
                <a:lnTo>
                  <a:pt x="2143" y="4752"/>
                </a:lnTo>
                <a:lnTo>
                  <a:pt x="2169" y="4769"/>
                </a:lnTo>
                <a:lnTo>
                  <a:pt x="2198" y="4780"/>
                </a:lnTo>
                <a:lnTo>
                  <a:pt x="2232" y="4783"/>
                </a:lnTo>
                <a:lnTo>
                  <a:pt x="2607" y="4783"/>
                </a:lnTo>
                <a:lnTo>
                  <a:pt x="2640" y="4780"/>
                </a:lnTo>
                <a:lnTo>
                  <a:pt x="2669" y="4769"/>
                </a:lnTo>
                <a:lnTo>
                  <a:pt x="2695" y="4751"/>
                </a:lnTo>
                <a:lnTo>
                  <a:pt x="2718" y="4729"/>
                </a:lnTo>
                <a:lnTo>
                  <a:pt x="2735" y="4702"/>
                </a:lnTo>
                <a:lnTo>
                  <a:pt x="2745" y="4673"/>
                </a:lnTo>
                <a:lnTo>
                  <a:pt x="2748" y="4641"/>
                </a:lnTo>
                <a:lnTo>
                  <a:pt x="2748" y="4626"/>
                </a:lnTo>
                <a:lnTo>
                  <a:pt x="2747" y="4612"/>
                </a:lnTo>
                <a:lnTo>
                  <a:pt x="2745" y="4610"/>
                </a:lnTo>
                <a:lnTo>
                  <a:pt x="2745" y="4609"/>
                </a:lnTo>
                <a:lnTo>
                  <a:pt x="2735" y="4578"/>
                </a:lnTo>
                <a:lnTo>
                  <a:pt x="2718" y="4552"/>
                </a:lnTo>
                <a:lnTo>
                  <a:pt x="2697" y="4531"/>
                </a:lnTo>
                <a:lnTo>
                  <a:pt x="2669" y="4514"/>
                </a:lnTo>
                <a:lnTo>
                  <a:pt x="2640" y="4505"/>
                </a:lnTo>
                <a:lnTo>
                  <a:pt x="2607" y="4501"/>
                </a:lnTo>
                <a:lnTo>
                  <a:pt x="2232" y="4501"/>
                </a:lnTo>
                <a:close/>
                <a:moveTo>
                  <a:pt x="3241" y="1082"/>
                </a:moveTo>
                <a:lnTo>
                  <a:pt x="3198" y="1087"/>
                </a:lnTo>
                <a:lnTo>
                  <a:pt x="3160" y="1099"/>
                </a:lnTo>
                <a:lnTo>
                  <a:pt x="3123" y="1119"/>
                </a:lnTo>
                <a:lnTo>
                  <a:pt x="3093" y="1143"/>
                </a:lnTo>
                <a:lnTo>
                  <a:pt x="3067" y="1175"/>
                </a:lnTo>
                <a:lnTo>
                  <a:pt x="3049" y="1210"/>
                </a:lnTo>
                <a:lnTo>
                  <a:pt x="3037" y="1248"/>
                </a:lnTo>
                <a:lnTo>
                  <a:pt x="3032" y="1291"/>
                </a:lnTo>
                <a:lnTo>
                  <a:pt x="3037" y="1332"/>
                </a:lnTo>
                <a:lnTo>
                  <a:pt x="3049" y="1372"/>
                </a:lnTo>
                <a:lnTo>
                  <a:pt x="3067" y="1407"/>
                </a:lnTo>
                <a:lnTo>
                  <a:pt x="3093" y="1437"/>
                </a:lnTo>
                <a:lnTo>
                  <a:pt x="3123" y="1463"/>
                </a:lnTo>
                <a:lnTo>
                  <a:pt x="3160" y="1483"/>
                </a:lnTo>
                <a:lnTo>
                  <a:pt x="3198" y="1495"/>
                </a:lnTo>
                <a:lnTo>
                  <a:pt x="3241" y="1500"/>
                </a:lnTo>
                <a:lnTo>
                  <a:pt x="3282" y="1495"/>
                </a:lnTo>
                <a:lnTo>
                  <a:pt x="3322" y="1483"/>
                </a:lnTo>
                <a:lnTo>
                  <a:pt x="3357" y="1463"/>
                </a:lnTo>
                <a:lnTo>
                  <a:pt x="3387" y="1437"/>
                </a:lnTo>
                <a:lnTo>
                  <a:pt x="3413" y="1407"/>
                </a:lnTo>
                <a:lnTo>
                  <a:pt x="3433" y="1372"/>
                </a:lnTo>
                <a:lnTo>
                  <a:pt x="3445" y="1332"/>
                </a:lnTo>
                <a:lnTo>
                  <a:pt x="3448" y="1291"/>
                </a:lnTo>
                <a:lnTo>
                  <a:pt x="3445" y="1248"/>
                </a:lnTo>
                <a:lnTo>
                  <a:pt x="3433" y="1210"/>
                </a:lnTo>
                <a:lnTo>
                  <a:pt x="3413" y="1175"/>
                </a:lnTo>
                <a:lnTo>
                  <a:pt x="3387" y="1143"/>
                </a:lnTo>
                <a:lnTo>
                  <a:pt x="3357" y="1119"/>
                </a:lnTo>
                <a:lnTo>
                  <a:pt x="3322" y="1099"/>
                </a:lnTo>
                <a:lnTo>
                  <a:pt x="3282" y="1087"/>
                </a:lnTo>
                <a:lnTo>
                  <a:pt x="3241" y="1082"/>
                </a:lnTo>
                <a:close/>
                <a:moveTo>
                  <a:pt x="1771" y="1003"/>
                </a:moveTo>
                <a:lnTo>
                  <a:pt x="1796" y="1007"/>
                </a:lnTo>
                <a:lnTo>
                  <a:pt x="1819" y="1018"/>
                </a:lnTo>
                <a:lnTo>
                  <a:pt x="1840" y="1033"/>
                </a:lnTo>
                <a:lnTo>
                  <a:pt x="1857" y="1053"/>
                </a:lnTo>
                <a:lnTo>
                  <a:pt x="1869" y="1076"/>
                </a:lnTo>
                <a:lnTo>
                  <a:pt x="1875" y="1102"/>
                </a:lnTo>
                <a:lnTo>
                  <a:pt x="1877" y="1128"/>
                </a:lnTo>
                <a:lnTo>
                  <a:pt x="1872" y="1152"/>
                </a:lnTo>
                <a:lnTo>
                  <a:pt x="1863" y="1175"/>
                </a:lnTo>
                <a:lnTo>
                  <a:pt x="1848" y="1196"/>
                </a:lnTo>
                <a:lnTo>
                  <a:pt x="1829" y="1213"/>
                </a:lnTo>
                <a:lnTo>
                  <a:pt x="1805" y="1225"/>
                </a:lnTo>
                <a:lnTo>
                  <a:pt x="1698" y="1271"/>
                </a:lnTo>
                <a:lnTo>
                  <a:pt x="1596" y="1323"/>
                </a:lnTo>
                <a:lnTo>
                  <a:pt x="1499" y="1382"/>
                </a:lnTo>
                <a:lnTo>
                  <a:pt x="1406" y="1448"/>
                </a:lnTo>
                <a:lnTo>
                  <a:pt x="1317" y="1518"/>
                </a:lnTo>
                <a:lnTo>
                  <a:pt x="1233" y="1594"/>
                </a:lnTo>
                <a:lnTo>
                  <a:pt x="1156" y="1677"/>
                </a:lnTo>
                <a:lnTo>
                  <a:pt x="1084" y="1762"/>
                </a:lnTo>
                <a:lnTo>
                  <a:pt x="1017" y="1853"/>
                </a:lnTo>
                <a:lnTo>
                  <a:pt x="958" y="1948"/>
                </a:lnTo>
                <a:lnTo>
                  <a:pt x="903" y="2047"/>
                </a:lnTo>
                <a:lnTo>
                  <a:pt x="856" y="2149"/>
                </a:lnTo>
                <a:lnTo>
                  <a:pt x="814" y="2254"/>
                </a:lnTo>
                <a:lnTo>
                  <a:pt x="781" y="2362"/>
                </a:lnTo>
                <a:lnTo>
                  <a:pt x="753" y="2474"/>
                </a:lnTo>
                <a:lnTo>
                  <a:pt x="734" y="2586"/>
                </a:lnTo>
                <a:lnTo>
                  <a:pt x="723" y="2701"/>
                </a:lnTo>
                <a:lnTo>
                  <a:pt x="718" y="2817"/>
                </a:lnTo>
                <a:lnTo>
                  <a:pt x="718" y="3281"/>
                </a:lnTo>
                <a:lnTo>
                  <a:pt x="714" y="3313"/>
                </a:lnTo>
                <a:lnTo>
                  <a:pt x="702" y="3341"/>
                </a:lnTo>
                <a:lnTo>
                  <a:pt x="682" y="3364"/>
                </a:lnTo>
                <a:lnTo>
                  <a:pt x="657" y="3383"/>
                </a:lnTo>
                <a:lnTo>
                  <a:pt x="628" y="3394"/>
                </a:lnTo>
                <a:lnTo>
                  <a:pt x="598" y="3399"/>
                </a:lnTo>
                <a:lnTo>
                  <a:pt x="357" y="3399"/>
                </a:lnTo>
                <a:lnTo>
                  <a:pt x="299" y="3394"/>
                </a:lnTo>
                <a:lnTo>
                  <a:pt x="244" y="3380"/>
                </a:lnTo>
                <a:lnTo>
                  <a:pt x="194" y="3359"/>
                </a:lnTo>
                <a:lnTo>
                  <a:pt x="147" y="3330"/>
                </a:lnTo>
                <a:lnTo>
                  <a:pt x="106" y="3294"/>
                </a:lnTo>
                <a:lnTo>
                  <a:pt x="69" y="3252"/>
                </a:lnTo>
                <a:lnTo>
                  <a:pt x="40" y="3205"/>
                </a:lnTo>
                <a:lnTo>
                  <a:pt x="19" y="3153"/>
                </a:lnTo>
                <a:lnTo>
                  <a:pt x="5" y="3098"/>
                </a:lnTo>
                <a:lnTo>
                  <a:pt x="0" y="3042"/>
                </a:lnTo>
                <a:lnTo>
                  <a:pt x="0" y="2516"/>
                </a:lnTo>
                <a:lnTo>
                  <a:pt x="4" y="2464"/>
                </a:lnTo>
                <a:lnTo>
                  <a:pt x="14" y="2416"/>
                </a:lnTo>
                <a:lnTo>
                  <a:pt x="32" y="2370"/>
                </a:lnTo>
                <a:lnTo>
                  <a:pt x="55" y="2326"/>
                </a:lnTo>
                <a:lnTo>
                  <a:pt x="84" y="2286"/>
                </a:lnTo>
                <a:lnTo>
                  <a:pt x="118" y="2251"/>
                </a:lnTo>
                <a:lnTo>
                  <a:pt x="157" y="2221"/>
                </a:lnTo>
                <a:lnTo>
                  <a:pt x="200" y="2196"/>
                </a:lnTo>
                <a:lnTo>
                  <a:pt x="249" y="2176"/>
                </a:lnTo>
                <a:lnTo>
                  <a:pt x="279" y="2172"/>
                </a:lnTo>
                <a:lnTo>
                  <a:pt x="308" y="2175"/>
                </a:lnTo>
                <a:lnTo>
                  <a:pt x="336" y="2184"/>
                </a:lnTo>
                <a:lnTo>
                  <a:pt x="360" y="2201"/>
                </a:lnTo>
                <a:lnTo>
                  <a:pt x="380" y="2224"/>
                </a:lnTo>
                <a:lnTo>
                  <a:pt x="394" y="2251"/>
                </a:lnTo>
                <a:lnTo>
                  <a:pt x="400" y="2282"/>
                </a:lnTo>
                <a:lnTo>
                  <a:pt x="397" y="2312"/>
                </a:lnTo>
                <a:lnTo>
                  <a:pt x="386" y="2339"/>
                </a:lnTo>
                <a:lnTo>
                  <a:pt x="369" y="2364"/>
                </a:lnTo>
                <a:lnTo>
                  <a:pt x="346" y="2384"/>
                </a:lnTo>
                <a:lnTo>
                  <a:pt x="319" y="2396"/>
                </a:lnTo>
                <a:lnTo>
                  <a:pt x="290" y="2410"/>
                </a:lnTo>
                <a:lnTo>
                  <a:pt x="266" y="2431"/>
                </a:lnTo>
                <a:lnTo>
                  <a:pt x="247" y="2455"/>
                </a:lnTo>
                <a:lnTo>
                  <a:pt x="235" y="2484"/>
                </a:lnTo>
                <a:lnTo>
                  <a:pt x="231" y="2516"/>
                </a:lnTo>
                <a:lnTo>
                  <a:pt x="231" y="3042"/>
                </a:lnTo>
                <a:lnTo>
                  <a:pt x="235" y="3076"/>
                </a:lnTo>
                <a:lnTo>
                  <a:pt x="249" y="3105"/>
                </a:lnTo>
                <a:lnTo>
                  <a:pt x="269" y="3130"/>
                </a:lnTo>
                <a:lnTo>
                  <a:pt x="295" y="3150"/>
                </a:lnTo>
                <a:lnTo>
                  <a:pt x="324" y="3164"/>
                </a:lnTo>
                <a:lnTo>
                  <a:pt x="357" y="3169"/>
                </a:lnTo>
                <a:lnTo>
                  <a:pt x="488" y="3169"/>
                </a:lnTo>
                <a:lnTo>
                  <a:pt x="488" y="2817"/>
                </a:lnTo>
                <a:lnTo>
                  <a:pt x="491" y="2698"/>
                </a:lnTo>
                <a:lnTo>
                  <a:pt x="502" y="2580"/>
                </a:lnTo>
                <a:lnTo>
                  <a:pt x="519" y="2463"/>
                </a:lnTo>
                <a:lnTo>
                  <a:pt x="543" y="2349"/>
                </a:lnTo>
                <a:lnTo>
                  <a:pt x="575" y="2236"/>
                </a:lnTo>
                <a:lnTo>
                  <a:pt x="613" y="2125"/>
                </a:lnTo>
                <a:lnTo>
                  <a:pt x="657" y="2018"/>
                </a:lnTo>
                <a:lnTo>
                  <a:pt x="709" y="1911"/>
                </a:lnTo>
                <a:lnTo>
                  <a:pt x="767" y="1809"/>
                </a:lnTo>
                <a:lnTo>
                  <a:pt x="833" y="1710"/>
                </a:lnTo>
                <a:lnTo>
                  <a:pt x="909" y="1606"/>
                </a:lnTo>
                <a:lnTo>
                  <a:pt x="993" y="1509"/>
                </a:lnTo>
                <a:lnTo>
                  <a:pt x="1081" y="1417"/>
                </a:lnTo>
                <a:lnTo>
                  <a:pt x="1176" y="1334"/>
                </a:lnTo>
                <a:lnTo>
                  <a:pt x="1275" y="1254"/>
                </a:lnTo>
                <a:lnTo>
                  <a:pt x="1378" y="1183"/>
                </a:lnTo>
                <a:lnTo>
                  <a:pt x="1488" y="1119"/>
                </a:lnTo>
                <a:lnTo>
                  <a:pt x="1601" y="1061"/>
                </a:lnTo>
                <a:lnTo>
                  <a:pt x="1720" y="1010"/>
                </a:lnTo>
                <a:lnTo>
                  <a:pt x="1746" y="1003"/>
                </a:lnTo>
                <a:lnTo>
                  <a:pt x="1771" y="1003"/>
                </a:lnTo>
                <a:close/>
                <a:moveTo>
                  <a:pt x="3241" y="852"/>
                </a:moveTo>
                <a:lnTo>
                  <a:pt x="3305" y="857"/>
                </a:lnTo>
                <a:lnTo>
                  <a:pt x="3367" y="870"/>
                </a:lnTo>
                <a:lnTo>
                  <a:pt x="3425" y="893"/>
                </a:lnTo>
                <a:lnTo>
                  <a:pt x="3478" y="924"/>
                </a:lnTo>
                <a:lnTo>
                  <a:pt x="3527" y="960"/>
                </a:lnTo>
                <a:lnTo>
                  <a:pt x="3571" y="1003"/>
                </a:lnTo>
                <a:lnTo>
                  <a:pt x="3608" y="1052"/>
                </a:lnTo>
                <a:lnTo>
                  <a:pt x="3639" y="1106"/>
                </a:lnTo>
                <a:lnTo>
                  <a:pt x="3660" y="1164"/>
                </a:lnTo>
                <a:lnTo>
                  <a:pt x="3674" y="1225"/>
                </a:lnTo>
                <a:lnTo>
                  <a:pt x="3680" y="1291"/>
                </a:lnTo>
                <a:lnTo>
                  <a:pt x="3674" y="1355"/>
                </a:lnTo>
                <a:lnTo>
                  <a:pt x="3660" y="1417"/>
                </a:lnTo>
                <a:lnTo>
                  <a:pt x="3639" y="1475"/>
                </a:lnTo>
                <a:lnTo>
                  <a:pt x="3608" y="1530"/>
                </a:lnTo>
                <a:lnTo>
                  <a:pt x="3571" y="1579"/>
                </a:lnTo>
                <a:lnTo>
                  <a:pt x="3527" y="1622"/>
                </a:lnTo>
                <a:lnTo>
                  <a:pt x="3478" y="1658"/>
                </a:lnTo>
                <a:lnTo>
                  <a:pt x="3425" y="1689"/>
                </a:lnTo>
                <a:lnTo>
                  <a:pt x="3367" y="1712"/>
                </a:lnTo>
                <a:lnTo>
                  <a:pt x="3305" y="1725"/>
                </a:lnTo>
                <a:lnTo>
                  <a:pt x="3241" y="1730"/>
                </a:lnTo>
                <a:lnTo>
                  <a:pt x="3175" y="1725"/>
                </a:lnTo>
                <a:lnTo>
                  <a:pt x="3114" y="1712"/>
                </a:lnTo>
                <a:lnTo>
                  <a:pt x="3055" y="1689"/>
                </a:lnTo>
                <a:lnTo>
                  <a:pt x="3001" y="1658"/>
                </a:lnTo>
                <a:lnTo>
                  <a:pt x="2953" y="1622"/>
                </a:lnTo>
                <a:lnTo>
                  <a:pt x="2908" y="1579"/>
                </a:lnTo>
                <a:lnTo>
                  <a:pt x="2872" y="1530"/>
                </a:lnTo>
                <a:lnTo>
                  <a:pt x="2843" y="1475"/>
                </a:lnTo>
                <a:lnTo>
                  <a:pt x="2820" y="1417"/>
                </a:lnTo>
                <a:lnTo>
                  <a:pt x="2806" y="1355"/>
                </a:lnTo>
                <a:lnTo>
                  <a:pt x="2802" y="1291"/>
                </a:lnTo>
                <a:lnTo>
                  <a:pt x="2806" y="1225"/>
                </a:lnTo>
                <a:lnTo>
                  <a:pt x="2820" y="1164"/>
                </a:lnTo>
                <a:lnTo>
                  <a:pt x="2843" y="1106"/>
                </a:lnTo>
                <a:lnTo>
                  <a:pt x="2872" y="1052"/>
                </a:lnTo>
                <a:lnTo>
                  <a:pt x="2908" y="1003"/>
                </a:lnTo>
                <a:lnTo>
                  <a:pt x="2953" y="960"/>
                </a:lnTo>
                <a:lnTo>
                  <a:pt x="3001" y="924"/>
                </a:lnTo>
                <a:lnTo>
                  <a:pt x="3055" y="893"/>
                </a:lnTo>
                <a:lnTo>
                  <a:pt x="3114" y="870"/>
                </a:lnTo>
                <a:lnTo>
                  <a:pt x="3175" y="857"/>
                </a:lnTo>
                <a:lnTo>
                  <a:pt x="3241" y="852"/>
                </a:lnTo>
                <a:close/>
                <a:moveTo>
                  <a:pt x="3241" y="232"/>
                </a:moveTo>
                <a:lnTo>
                  <a:pt x="3193" y="233"/>
                </a:lnTo>
                <a:lnTo>
                  <a:pt x="3154" y="238"/>
                </a:lnTo>
                <a:lnTo>
                  <a:pt x="3123" y="244"/>
                </a:lnTo>
                <a:lnTo>
                  <a:pt x="3099" y="250"/>
                </a:lnTo>
                <a:lnTo>
                  <a:pt x="3076" y="474"/>
                </a:lnTo>
                <a:lnTo>
                  <a:pt x="3070" y="500"/>
                </a:lnTo>
                <a:lnTo>
                  <a:pt x="3059" y="523"/>
                </a:lnTo>
                <a:lnTo>
                  <a:pt x="3043" y="543"/>
                </a:lnTo>
                <a:lnTo>
                  <a:pt x="3023" y="559"/>
                </a:lnTo>
                <a:lnTo>
                  <a:pt x="2998" y="570"/>
                </a:lnTo>
                <a:lnTo>
                  <a:pt x="2928" y="599"/>
                </a:lnTo>
                <a:lnTo>
                  <a:pt x="2861" y="633"/>
                </a:lnTo>
                <a:lnTo>
                  <a:pt x="2797" y="674"/>
                </a:lnTo>
                <a:lnTo>
                  <a:pt x="2739" y="721"/>
                </a:lnTo>
                <a:lnTo>
                  <a:pt x="2716" y="736"/>
                </a:lnTo>
                <a:lnTo>
                  <a:pt x="2692" y="745"/>
                </a:lnTo>
                <a:lnTo>
                  <a:pt x="2666" y="750"/>
                </a:lnTo>
                <a:lnTo>
                  <a:pt x="2640" y="747"/>
                </a:lnTo>
                <a:lnTo>
                  <a:pt x="2616" y="739"/>
                </a:lnTo>
                <a:lnTo>
                  <a:pt x="2410" y="648"/>
                </a:lnTo>
                <a:lnTo>
                  <a:pt x="2393" y="665"/>
                </a:lnTo>
                <a:lnTo>
                  <a:pt x="2372" y="689"/>
                </a:lnTo>
                <a:lnTo>
                  <a:pt x="2348" y="721"/>
                </a:lnTo>
                <a:lnTo>
                  <a:pt x="2323" y="761"/>
                </a:lnTo>
                <a:lnTo>
                  <a:pt x="2302" y="802"/>
                </a:lnTo>
                <a:lnTo>
                  <a:pt x="2287" y="838"/>
                </a:lnTo>
                <a:lnTo>
                  <a:pt x="2276" y="869"/>
                </a:lnTo>
                <a:lnTo>
                  <a:pt x="2270" y="892"/>
                </a:lnTo>
                <a:lnTo>
                  <a:pt x="2450" y="1023"/>
                </a:lnTo>
                <a:lnTo>
                  <a:pt x="2470" y="1041"/>
                </a:lnTo>
                <a:lnTo>
                  <a:pt x="2485" y="1062"/>
                </a:lnTo>
                <a:lnTo>
                  <a:pt x="2494" y="1087"/>
                </a:lnTo>
                <a:lnTo>
                  <a:pt x="2498" y="1113"/>
                </a:lnTo>
                <a:lnTo>
                  <a:pt x="2495" y="1140"/>
                </a:lnTo>
                <a:lnTo>
                  <a:pt x="2485" y="1215"/>
                </a:lnTo>
                <a:lnTo>
                  <a:pt x="2480" y="1291"/>
                </a:lnTo>
                <a:lnTo>
                  <a:pt x="2485" y="1366"/>
                </a:lnTo>
                <a:lnTo>
                  <a:pt x="2495" y="1440"/>
                </a:lnTo>
                <a:lnTo>
                  <a:pt x="2498" y="1468"/>
                </a:lnTo>
                <a:lnTo>
                  <a:pt x="2494" y="1492"/>
                </a:lnTo>
                <a:lnTo>
                  <a:pt x="2485" y="1516"/>
                </a:lnTo>
                <a:lnTo>
                  <a:pt x="2470" y="1538"/>
                </a:lnTo>
                <a:lnTo>
                  <a:pt x="2450" y="1556"/>
                </a:lnTo>
                <a:lnTo>
                  <a:pt x="2270" y="1687"/>
                </a:lnTo>
                <a:lnTo>
                  <a:pt x="2276" y="1712"/>
                </a:lnTo>
                <a:lnTo>
                  <a:pt x="2287" y="1742"/>
                </a:lnTo>
                <a:lnTo>
                  <a:pt x="2302" y="1779"/>
                </a:lnTo>
                <a:lnTo>
                  <a:pt x="2323" y="1820"/>
                </a:lnTo>
                <a:lnTo>
                  <a:pt x="2348" y="1858"/>
                </a:lnTo>
                <a:lnTo>
                  <a:pt x="2372" y="1890"/>
                </a:lnTo>
                <a:lnTo>
                  <a:pt x="2393" y="1914"/>
                </a:lnTo>
                <a:lnTo>
                  <a:pt x="2410" y="1931"/>
                </a:lnTo>
                <a:lnTo>
                  <a:pt x="2614" y="1841"/>
                </a:lnTo>
                <a:lnTo>
                  <a:pt x="2639" y="1833"/>
                </a:lnTo>
                <a:lnTo>
                  <a:pt x="2665" y="1830"/>
                </a:lnTo>
                <a:lnTo>
                  <a:pt x="2691" y="1835"/>
                </a:lnTo>
                <a:lnTo>
                  <a:pt x="2715" y="1844"/>
                </a:lnTo>
                <a:lnTo>
                  <a:pt x="2738" y="1859"/>
                </a:lnTo>
                <a:lnTo>
                  <a:pt x="2797" y="1908"/>
                </a:lnTo>
                <a:lnTo>
                  <a:pt x="2860" y="1949"/>
                </a:lnTo>
                <a:lnTo>
                  <a:pt x="2928" y="1983"/>
                </a:lnTo>
                <a:lnTo>
                  <a:pt x="2998" y="2010"/>
                </a:lnTo>
                <a:lnTo>
                  <a:pt x="3023" y="2022"/>
                </a:lnTo>
                <a:lnTo>
                  <a:pt x="3043" y="2038"/>
                </a:lnTo>
                <a:lnTo>
                  <a:pt x="3059" y="2059"/>
                </a:lnTo>
                <a:lnTo>
                  <a:pt x="3070" y="2082"/>
                </a:lnTo>
                <a:lnTo>
                  <a:pt x="3076" y="2108"/>
                </a:lnTo>
                <a:lnTo>
                  <a:pt x="3099" y="2329"/>
                </a:lnTo>
                <a:lnTo>
                  <a:pt x="3123" y="2336"/>
                </a:lnTo>
                <a:lnTo>
                  <a:pt x="3155" y="2343"/>
                </a:lnTo>
                <a:lnTo>
                  <a:pt x="3193" y="2347"/>
                </a:lnTo>
                <a:lnTo>
                  <a:pt x="3241" y="2349"/>
                </a:lnTo>
                <a:lnTo>
                  <a:pt x="3286" y="2347"/>
                </a:lnTo>
                <a:lnTo>
                  <a:pt x="3326" y="2343"/>
                </a:lnTo>
                <a:lnTo>
                  <a:pt x="3358" y="2336"/>
                </a:lnTo>
                <a:lnTo>
                  <a:pt x="3381" y="2329"/>
                </a:lnTo>
                <a:lnTo>
                  <a:pt x="3404" y="2108"/>
                </a:lnTo>
                <a:lnTo>
                  <a:pt x="3410" y="2082"/>
                </a:lnTo>
                <a:lnTo>
                  <a:pt x="3422" y="2059"/>
                </a:lnTo>
                <a:lnTo>
                  <a:pt x="3437" y="2038"/>
                </a:lnTo>
                <a:lnTo>
                  <a:pt x="3459" y="2022"/>
                </a:lnTo>
                <a:lnTo>
                  <a:pt x="3482" y="2010"/>
                </a:lnTo>
                <a:lnTo>
                  <a:pt x="3553" y="1983"/>
                </a:lnTo>
                <a:lnTo>
                  <a:pt x="3620" y="1949"/>
                </a:lnTo>
                <a:lnTo>
                  <a:pt x="3684" y="1908"/>
                </a:lnTo>
                <a:lnTo>
                  <a:pt x="3744" y="1859"/>
                </a:lnTo>
                <a:lnTo>
                  <a:pt x="3765" y="1844"/>
                </a:lnTo>
                <a:lnTo>
                  <a:pt x="3789" y="1835"/>
                </a:lnTo>
                <a:lnTo>
                  <a:pt x="3815" y="1830"/>
                </a:lnTo>
                <a:lnTo>
                  <a:pt x="3841" y="1833"/>
                </a:lnTo>
                <a:lnTo>
                  <a:pt x="3867" y="1841"/>
                </a:lnTo>
                <a:lnTo>
                  <a:pt x="4070" y="1931"/>
                </a:lnTo>
                <a:lnTo>
                  <a:pt x="4088" y="1914"/>
                </a:lnTo>
                <a:lnTo>
                  <a:pt x="4109" y="1890"/>
                </a:lnTo>
                <a:lnTo>
                  <a:pt x="4132" y="1858"/>
                </a:lnTo>
                <a:lnTo>
                  <a:pt x="4157" y="1820"/>
                </a:lnTo>
                <a:lnTo>
                  <a:pt x="4178" y="1779"/>
                </a:lnTo>
                <a:lnTo>
                  <a:pt x="4195" y="1742"/>
                </a:lnTo>
                <a:lnTo>
                  <a:pt x="4205" y="1712"/>
                </a:lnTo>
                <a:lnTo>
                  <a:pt x="4212" y="1687"/>
                </a:lnTo>
                <a:lnTo>
                  <a:pt x="4030" y="1556"/>
                </a:lnTo>
                <a:lnTo>
                  <a:pt x="4010" y="1538"/>
                </a:lnTo>
                <a:lnTo>
                  <a:pt x="3997" y="1516"/>
                </a:lnTo>
                <a:lnTo>
                  <a:pt x="3986" y="1492"/>
                </a:lnTo>
                <a:lnTo>
                  <a:pt x="3983" y="1466"/>
                </a:lnTo>
                <a:lnTo>
                  <a:pt x="3984" y="1440"/>
                </a:lnTo>
                <a:lnTo>
                  <a:pt x="3997" y="1366"/>
                </a:lnTo>
                <a:lnTo>
                  <a:pt x="4000" y="1291"/>
                </a:lnTo>
                <a:lnTo>
                  <a:pt x="3997" y="1215"/>
                </a:lnTo>
                <a:lnTo>
                  <a:pt x="3984" y="1140"/>
                </a:lnTo>
                <a:lnTo>
                  <a:pt x="3983" y="1113"/>
                </a:lnTo>
                <a:lnTo>
                  <a:pt x="3986" y="1087"/>
                </a:lnTo>
                <a:lnTo>
                  <a:pt x="3995" y="1062"/>
                </a:lnTo>
                <a:lnTo>
                  <a:pt x="4010" y="1041"/>
                </a:lnTo>
                <a:lnTo>
                  <a:pt x="4030" y="1023"/>
                </a:lnTo>
                <a:lnTo>
                  <a:pt x="4212" y="892"/>
                </a:lnTo>
                <a:lnTo>
                  <a:pt x="4205" y="869"/>
                </a:lnTo>
                <a:lnTo>
                  <a:pt x="4195" y="838"/>
                </a:lnTo>
                <a:lnTo>
                  <a:pt x="4178" y="802"/>
                </a:lnTo>
                <a:lnTo>
                  <a:pt x="4157" y="761"/>
                </a:lnTo>
                <a:lnTo>
                  <a:pt x="4132" y="721"/>
                </a:lnTo>
                <a:lnTo>
                  <a:pt x="4109" y="689"/>
                </a:lnTo>
                <a:lnTo>
                  <a:pt x="4088" y="665"/>
                </a:lnTo>
                <a:lnTo>
                  <a:pt x="4070" y="648"/>
                </a:lnTo>
                <a:lnTo>
                  <a:pt x="3866" y="739"/>
                </a:lnTo>
                <a:lnTo>
                  <a:pt x="3840" y="747"/>
                </a:lnTo>
                <a:lnTo>
                  <a:pt x="3814" y="750"/>
                </a:lnTo>
                <a:lnTo>
                  <a:pt x="3788" y="745"/>
                </a:lnTo>
                <a:lnTo>
                  <a:pt x="3764" y="736"/>
                </a:lnTo>
                <a:lnTo>
                  <a:pt x="3742" y="721"/>
                </a:lnTo>
                <a:lnTo>
                  <a:pt x="3683" y="674"/>
                </a:lnTo>
                <a:lnTo>
                  <a:pt x="3619" y="633"/>
                </a:lnTo>
                <a:lnTo>
                  <a:pt x="3553" y="599"/>
                </a:lnTo>
                <a:lnTo>
                  <a:pt x="3483" y="570"/>
                </a:lnTo>
                <a:lnTo>
                  <a:pt x="3459" y="559"/>
                </a:lnTo>
                <a:lnTo>
                  <a:pt x="3437" y="543"/>
                </a:lnTo>
                <a:lnTo>
                  <a:pt x="3422" y="523"/>
                </a:lnTo>
                <a:lnTo>
                  <a:pt x="3410" y="500"/>
                </a:lnTo>
                <a:lnTo>
                  <a:pt x="3404" y="474"/>
                </a:lnTo>
                <a:lnTo>
                  <a:pt x="3381" y="250"/>
                </a:lnTo>
                <a:lnTo>
                  <a:pt x="3358" y="244"/>
                </a:lnTo>
                <a:lnTo>
                  <a:pt x="3326" y="238"/>
                </a:lnTo>
                <a:lnTo>
                  <a:pt x="3286" y="233"/>
                </a:lnTo>
                <a:lnTo>
                  <a:pt x="3241" y="232"/>
                </a:lnTo>
                <a:close/>
                <a:moveTo>
                  <a:pt x="3241" y="0"/>
                </a:moveTo>
                <a:lnTo>
                  <a:pt x="3305" y="3"/>
                </a:lnTo>
                <a:lnTo>
                  <a:pt x="3363" y="9"/>
                </a:lnTo>
                <a:lnTo>
                  <a:pt x="3416" y="20"/>
                </a:lnTo>
                <a:lnTo>
                  <a:pt x="3463" y="34"/>
                </a:lnTo>
                <a:lnTo>
                  <a:pt x="3504" y="52"/>
                </a:lnTo>
                <a:lnTo>
                  <a:pt x="3539" y="75"/>
                </a:lnTo>
                <a:lnTo>
                  <a:pt x="3567" y="99"/>
                </a:lnTo>
                <a:lnTo>
                  <a:pt x="3588" y="128"/>
                </a:lnTo>
                <a:lnTo>
                  <a:pt x="3602" y="160"/>
                </a:lnTo>
                <a:lnTo>
                  <a:pt x="3608" y="195"/>
                </a:lnTo>
                <a:lnTo>
                  <a:pt x="3626" y="380"/>
                </a:lnTo>
                <a:lnTo>
                  <a:pt x="3699" y="413"/>
                </a:lnTo>
                <a:lnTo>
                  <a:pt x="3770" y="454"/>
                </a:lnTo>
                <a:lnTo>
                  <a:pt x="3835" y="500"/>
                </a:lnTo>
                <a:lnTo>
                  <a:pt x="4004" y="424"/>
                </a:lnTo>
                <a:lnTo>
                  <a:pt x="4023" y="418"/>
                </a:lnTo>
                <a:lnTo>
                  <a:pt x="4042" y="412"/>
                </a:lnTo>
                <a:lnTo>
                  <a:pt x="4065" y="408"/>
                </a:lnTo>
                <a:lnTo>
                  <a:pt x="4091" y="408"/>
                </a:lnTo>
                <a:lnTo>
                  <a:pt x="4120" y="415"/>
                </a:lnTo>
                <a:lnTo>
                  <a:pt x="4152" y="427"/>
                </a:lnTo>
                <a:lnTo>
                  <a:pt x="4186" y="447"/>
                </a:lnTo>
                <a:lnTo>
                  <a:pt x="4221" y="474"/>
                </a:lnTo>
                <a:lnTo>
                  <a:pt x="4257" y="509"/>
                </a:lnTo>
                <a:lnTo>
                  <a:pt x="4292" y="549"/>
                </a:lnTo>
                <a:lnTo>
                  <a:pt x="4326" y="594"/>
                </a:lnTo>
                <a:lnTo>
                  <a:pt x="4356" y="645"/>
                </a:lnTo>
                <a:lnTo>
                  <a:pt x="4387" y="701"/>
                </a:lnTo>
                <a:lnTo>
                  <a:pt x="4411" y="756"/>
                </a:lnTo>
                <a:lnTo>
                  <a:pt x="4428" y="806"/>
                </a:lnTo>
                <a:lnTo>
                  <a:pt x="4439" y="855"/>
                </a:lnTo>
                <a:lnTo>
                  <a:pt x="4443" y="899"/>
                </a:lnTo>
                <a:lnTo>
                  <a:pt x="4442" y="940"/>
                </a:lnTo>
                <a:lnTo>
                  <a:pt x="4434" y="978"/>
                </a:lnTo>
                <a:lnTo>
                  <a:pt x="4420" y="1010"/>
                </a:lnTo>
                <a:lnTo>
                  <a:pt x="4399" y="1038"/>
                </a:lnTo>
                <a:lnTo>
                  <a:pt x="4372" y="1061"/>
                </a:lnTo>
                <a:lnTo>
                  <a:pt x="4222" y="1169"/>
                </a:lnTo>
                <a:lnTo>
                  <a:pt x="4228" y="1230"/>
                </a:lnTo>
                <a:lnTo>
                  <a:pt x="4230" y="1291"/>
                </a:lnTo>
                <a:lnTo>
                  <a:pt x="4228" y="1352"/>
                </a:lnTo>
                <a:lnTo>
                  <a:pt x="4224" y="1411"/>
                </a:lnTo>
                <a:lnTo>
                  <a:pt x="4373" y="1520"/>
                </a:lnTo>
                <a:lnTo>
                  <a:pt x="4399" y="1542"/>
                </a:lnTo>
                <a:lnTo>
                  <a:pt x="4420" y="1570"/>
                </a:lnTo>
                <a:lnTo>
                  <a:pt x="4434" y="1602"/>
                </a:lnTo>
                <a:lnTo>
                  <a:pt x="4442" y="1638"/>
                </a:lnTo>
                <a:lnTo>
                  <a:pt x="4443" y="1680"/>
                </a:lnTo>
                <a:lnTo>
                  <a:pt x="4439" y="1725"/>
                </a:lnTo>
                <a:lnTo>
                  <a:pt x="4428" y="1773"/>
                </a:lnTo>
                <a:lnTo>
                  <a:pt x="4411" y="1824"/>
                </a:lnTo>
                <a:lnTo>
                  <a:pt x="4387" y="1878"/>
                </a:lnTo>
                <a:lnTo>
                  <a:pt x="4356" y="1934"/>
                </a:lnTo>
                <a:lnTo>
                  <a:pt x="4326" y="1984"/>
                </a:lnTo>
                <a:lnTo>
                  <a:pt x="4292" y="2030"/>
                </a:lnTo>
                <a:lnTo>
                  <a:pt x="4257" y="2071"/>
                </a:lnTo>
                <a:lnTo>
                  <a:pt x="4221" y="2106"/>
                </a:lnTo>
                <a:lnTo>
                  <a:pt x="4221" y="2106"/>
                </a:lnTo>
                <a:lnTo>
                  <a:pt x="4262" y="2221"/>
                </a:lnTo>
                <a:lnTo>
                  <a:pt x="4295" y="2336"/>
                </a:lnTo>
                <a:lnTo>
                  <a:pt x="4321" y="2454"/>
                </a:lnTo>
                <a:lnTo>
                  <a:pt x="4341" y="2574"/>
                </a:lnTo>
                <a:lnTo>
                  <a:pt x="4352" y="2695"/>
                </a:lnTo>
                <a:lnTo>
                  <a:pt x="4356" y="2817"/>
                </a:lnTo>
                <a:lnTo>
                  <a:pt x="4352" y="2935"/>
                </a:lnTo>
                <a:lnTo>
                  <a:pt x="4343" y="3053"/>
                </a:lnTo>
                <a:lnTo>
                  <a:pt x="4324" y="3169"/>
                </a:lnTo>
                <a:lnTo>
                  <a:pt x="4481" y="3169"/>
                </a:lnTo>
                <a:lnTo>
                  <a:pt x="4509" y="3166"/>
                </a:lnTo>
                <a:lnTo>
                  <a:pt x="4535" y="3155"/>
                </a:lnTo>
                <a:lnTo>
                  <a:pt x="4558" y="3140"/>
                </a:lnTo>
                <a:lnTo>
                  <a:pt x="4576" y="3120"/>
                </a:lnTo>
                <a:lnTo>
                  <a:pt x="4590" y="3097"/>
                </a:lnTo>
                <a:lnTo>
                  <a:pt x="4597" y="3071"/>
                </a:lnTo>
                <a:lnTo>
                  <a:pt x="4600" y="3042"/>
                </a:lnTo>
                <a:lnTo>
                  <a:pt x="4600" y="2516"/>
                </a:lnTo>
                <a:lnTo>
                  <a:pt x="4597" y="2484"/>
                </a:lnTo>
                <a:lnTo>
                  <a:pt x="4585" y="2455"/>
                </a:lnTo>
                <a:lnTo>
                  <a:pt x="4568" y="2431"/>
                </a:lnTo>
                <a:lnTo>
                  <a:pt x="4544" y="2410"/>
                </a:lnTo>
                <a:lnTo>
                  <a:pt x="4515" y="2396"/>
                </a:lnTo>
                <a:lnTo>
                  <a:pt x="4492" y="2385"/>
                </a:lnTo>
                <a:lnTo>
                  <a:pt x="4471" y="2370"/>
                </a:lnTo>
                <a:lnTo>
                  <a:pt x="4455" y="2350"/>
                </a:lnTo>
                <a:lnTo>
                  <a:pt x="4445" y="2327"/>
                </a:lnTo>
                <a:lnTo>
                  <a:pt x="4439" y="2303"/>
                </a:lnTo>
                <a:lnTo>
                  <a:pt x="4437" y="2277"/>
                </a:lnTo>
                <a:lnTo>
                  <a:pt x="4443" y="2251"/>
                </a:lnTo>
                <a:lnTo>
                  <a:pt x="4457" y="2224"/>
                </a:lnTo>
                <a:lnTo>
                  <a:pt x="4475" y="2201"/>
                </a:lnTo>
                <a:lnTo>
                  <a:pt x="4500" y="2184"/>
                </a:lnTo>
                <a:lnTo>
                  <a:pt x="4527" y="2173"/>
                </a:lnTo>
                <a:lnTo>
                  <a:pt x="4556" y="2172"/>
                </a:lnTo>
                <a:lnTo>
                  <a:pt x="4587" y="2176"/>
                </a:lnTo>
                <a:lnTo>
                  <a:pt x="4634" y="2196"/>
                </a:lnTo>
                <a:lnTo>
                  <a:pt x="4678" y="2221"/>
                </a:lnTo>
                <a:lnTo>
                  <a:pt x="4716" y="2251"/>
                </a:lnTo>
                <a:lnTo>
                  <a:pt x="4750" y="2286"/>
                </a:lnTo>
                <a:lnTo>
                  <a:pt x="4779" y="2326"/>
                </a:lnTo>
                <a:lnTo>
                  <a:pt x="4801" y="2370"/>
                </a:lnTo>
                <a:lnTo>
                  <a:pt x="4818" y="2416"/>
                </a:lnTo>
                <a:lnTo>
                  <a:pt x="4827" y="2464"/>
                </a:lnTo>
                <a:lnTo>
                  <a:pt x="4832" y="2516"/>
                </a:lnTo>
                <a:lnTo>
                  <a:pt x="4832" y="3042"/>
                </a:lnTo>
                <a:lnTo>
                  <a:pt x="4827" y="3098"/>
                </a:lnTo>
                <a:lnTo>
                  <a:pt x="4814" y="3153"/>
                </a:lnTo>
                <a:lnTo>
                  <a:pt x="4792" y="3205"/>
                </a:lnTo>
                <a:lnTo>
                  <a:pt x="4765" y="3252"/>
                </a:lnTo>
                <a:lnTo>
                  <a:pt x="4730" y="3294"/>
                </a:lnTo>
                <a:lnTo>
                  <a:pt x="4689" y="3330"/>
                </a:lnTo>
                <a:lnTo>
                  <a:pt x="4643" y="3359"/>
                </a:lnTo>
                <a:lnTo>
                  <a:pt x="4593" y="3380"/>
                </a:lnTo>
                <a:lnTo>
                  <a:pt x="4538" y="3394"/>
                </a:lnTo>
                <a:lnTo>
                  <a:pt x="4481" y="3399"/>
                </a:lnTo>
                <a:lnTo>
                  <a:pt x="4268" y="3399"/>
                </a:lnTo>
                <a:lnTo>
                  <a:pt x="4230" y="3507"/>
                </a:lnTo>
                <a:lnTo>
                  <a:pt x="4184" y="3615"/>
                </a:lnTo>
                <a:lnTo>
                  <a:pt x="4132" y="3720"/>
                </a:lnTo>
                <a:lnTo>
                  <a:pt x="4074" y="3824"/>
                </a:lnTo>
                <a:lnTo>
                  <a:pt x="4009" y="3925"/>
                </a:lnTo>
                <a:lnTo>
                  <a:pt x="3937" y="4021"/>
                </a:lnTo>
                <a:lnTo>
                  <a:pt x="3861" y="4110"/>
                </a:lnTo>
                <a:lnTo>
                  <a:pt x="3780" y="4196"/>
                </a:lnTo>
                <a:lnTo>
                  <a:pt x="3693" y="4277"/>
                </a:lnTo>
                <a:lnTo>
                  <a:pt x="3602" y="4351"/>
                </a:lnTo>
                <a:lnTo>
                  <a:pt x="3506" y="4420"/>
                </a:lnTo>
                <a:lnTo>
                  <a:pt x="3407" y="4484"/>
                </a:lnTo>
                <a:lnTo>
                  <a:pt x="3305" y="4540"/>
                </a:lnTo>
                <a:lnTo>
                  <a:pt x="3198" y="4591"/>
                </a:lnTo>
                <a:lnTo>
                  <a:pt x="3090" y="4635"/>
                </a:lnTo>
                <a:lnTo>
                  <a:pt x="2979" y="4673"/>
                </a:lnTo>
                <a:lnTo>
                  <a:pt x="2969" y="4728"/>
                </a:lnTo>
                <a:lnTo>
                  <a:pt x="2951" y="4781"/>
                </a:lnTo>
                <a:lnTo>
                  <a:pt x="2927" y="4830"/>
                </a:lnTo>
                <a:lnTo>
                  <a:pt x="2896" y="4874"/>
                </a:lnTo>
                <a:lnTo>
                  <a:pt x="2860" y="4914"/>
                </a:lnTo>
                <a:lnTo>
                  <a:pt x="2817" y="4949"/>
                </a:lnTo>
                <a:lnTo>
                  <a:pt x="2770" y="4976"/>
                </a:lnTo>
                <a:lnTo>
                  <a:pt x="2718" y="4996"/>
                </a:lnTo>
                <a:lnTo>
                  <a:pt x="2665" y="5010"/>
                </a:lnTo>
                <a:lnTo>
                  <a:pt x="2607" y="5013"/>
                </a:lnTo>
                <a:lnTo>
                  <a:pt x="2232" y="5013"/>
                </a:lnTo>
                <a:lnTo>
                  <a:pt x="2177" y="5010"/>
                </a:lnTo>
                <a:lnTo>
                  <a:pt x="2124" y="4998"/>
                </a:lnTo>
                <a:lnTo>
                  <a:pt x="2075" y="4979"/>
                </a:lnTo>
                <a:lnTo>
                  <a:pt x="2029" y="4953"/>
                </a:lnTo>
                <a:lnTo>
                  <a:pt x="1986" y="4923"/>
                </a:lnTo>
                <a:lnTo>
                  <a:pt x="1950" y="4886"/>
                </a:lnTo>
                <a:lnTo>
                  <a:pt x="1919" y="4844"/>
                </a:lnTo>
                <a:lnTo>
                  <a:pt x="1893" y="4798"/>
                </a:lnTo>
                <a:lnTo>
                  <a:pt x="1875" y="4749"/>
                </a:lnTo>
                <a:lnTo>
                  <a:pt x="1863" y="4697"/>
                </a:lnTo>
                <a:lnTo>
                  <a:pt x="1858" y="4642"/>
                </a:lnTo>
                <a:lnTo>
                  <a:pt x="1863" y="4588"/>
                </a:lnTo>
                <a:lnTo>
                  <a:pt x="1875" y="4534"/>
                </a:lnTo>
                <a:lnTo>
                  <a:pt x="1893" y="4485"/>
                </a:lnTo>
                <a:lnTo>
                  <a:pt x="1919" y="4440"/>
                </a:lnTo>
                <a:lnTo>
                  <a:pt x="1950" y="4399"/>
                </a:lnTo>
                <a:lnTo>
                  <a:pt x="1986" y="4362"/>
                </a:lnTo>
                <a:lnTo>
                  <a:pt x="2029" y="4330"/>
                </a:lnTo>
                <a:lnTo>
                  <a:pt x="2075" y="4306"/>
                </a:lnTo>
                <a:lnTo>
                  <a:pt x="2124" y="4286"/>
                </a:lnTo>
                <a:lnTo>
                  <a:pt x="2177" y="4275"/>
                </a:lnTo>
                <a:lnTo>
                  <a:pt x="2232" y="4271"/>
                </a:lnTo>
                <a:lnTo>
                  <a:pt x="2607" y="4271"/>
                </a:lnTo>
                <a:lnTo>
                  <a:pt x="2665" y="4275"/>
                </a:lnTo>
                <a:lnTo>
                  <a:pt x="2718" y="4287"/>
                </a:lnTo>
                <a:lnTo>
                  <a:pt x="2768" y="4306"/>
                </a:lnTo>
                <a:lnTo>
                  <a:pt x="2816" y="4333"/>
                </a:lnTo>
                <a:lnTo>
                  <a:pt x="2858" y="4365"/>
                </a:lnTo>
                <a:lnTo>
                  <a:pt x="2895" y="4405"/>
                </a:lnTo>
                <a:lnTo>
                  <a:pt x="2927" y="4449"/>
                </a:lnTo>
                <a:lnTo>
                  <a:pt x="3037" y="4409"/>
                </a:lnTo>
                <a:lnTo>
                  <a:pt x="3143" y="4365"/>
                </a:lnTo>
                <a:lnTo>
                  <a:pt x="3245" y="4313"/>
                </a:lnTo>
                <a:lnTo>
                  <a:pt x="3343" y="4254"/>
                </a:lnTo>
                <a:lnTo>
                  <a:pt x="3436" y="4190"/>
                </a:lnTo>
                <a:lnTo>
                  <a:pt x="3524" y="4120"/>
                </a:lnTo>
                <a:lnTo>
                  <a:pt x="3608" y="4043"/>
                </a:lnTo>
                <a:lnTo>
                  <a:pt x="3686" y="3963"/>
                </a:lnTo>
                <a:lnTo>
                  <a:pt x="3759" y="3877"/>
                </a:lnTo>
                <a:lnTo>
                  <a:pt x="3824" y="3786"/>
                </a:lnTo>
                <a:lnTo>
                  <a:pt x="3885" y="3691"/>
                </a:lnTo>
                <a:lnTo>
                  <a:pt x="3940" y="3594"/>
                </a:lnTo>
                <a:lnTo>
                  <a:pt x="3988" y="3490"/>
                </a:lnTo>
                <a:lnTo>
                  <a:pt x="4029" y="3385"/>
                </a:lnTo>
                <a:lnTo>
                  <a:pt x="4062" y="3277"/>
                </a:lnTo>
                <a:lnTo>
                  <a:pt x="4090" y="3164"/>
                </a:lnTo>
                <a:lnTo>
                  <a:pt x="4109" y="3051"/>
                </a:lnTo>
                <a:lnTo>
                  <a:pt x="4122" y="2934"/>
                </a:lnTo>
                <a:lnTo>
                  <a:pt x="4125" y="2817"/>
                </a:lnTo>
                <a:lnTo>
                  <a:pt x="4122" y="2701"/>
                </a:lnTo>
                <a:lnTo>
                  <a:pt x="4109" y="2586"/>
                </a:lnTo>
                <a:lnTo>
                  <a:pt x="4091" y="2475"/>
                </a:lnTo>
                <a:lnTo>
                  <a:pt x="4065" y="2364"/>
                </a:lnTo>
                <a:lnTo>
                  <a:pt x="4030" y="2256"/>
                </a:lnTo>
                <a:lnTo>
                  <a:pt x="3989" y="2147"/>
                </a:lnTo>
                <a:lnTo>
                  <a:pt x="3838" y="2080"/>
                </a:lnTo>
                <a:lnTo>
                  <a:pt x="3771" y="2128"/>
                </a:lnTo>
                <a:lnTo>
                  <a:pt x="3699" y="2167"/>
                </a:lnTo>
                <a:lnTo>
                  <a:pt x="3626" y="2202"/>
                </a:lnTo>
                <a:lnTo>
                  <a:pt x="3608" y="2385"/>
                </a:lnTo>
                <a:lnTo>
                  <a:pt x="3602" y="2419"/>
                </a:lnTo>
                <a:lnTo>
                  <a:pt x="3588" y="2451"/>
                </a:lnTo>
                <a:lnTo>
                  <a:pt x="3567" y="2480"/>
                </a:lnTo>
                <a:lnTo>
                  <a:pt x="3539" y="2506"/>
                </a:lnTo>
                <a:lnTo>
                  <a:pt x="3504" y="2527"/>
                </a:lnTo>
                <a:lnTo>
                  <a:pt x="3463" y="2545"/>
                </a:lnTo>
                <a:lnTo>
                  <a:pt x="3416" y="2560"/>
                </a:lnTo>
                <a:lnTo>
                  <a:pt x="3363" y="2571"/>
                </a:lnTo>
                <a:lnTo>
                  <a:pt x="3305" y="2577"/>
                </a:lnTo>
                <a:lnTo>
                  <a:pt x="3241" y="2579"/>
                </a:lnTo>
                <a:lnTo>
                  <a:pt x="3177" y="2577"/>
                </a:lnTo>
                <a:lnTo>
                  <a:pt x="3117" y="2570"/>
                </a:lnTo>
                <a:lnTo>
                  <a:pt x="3064" y="2560"/>
                </a:lnTo>
                <a:lnTo>
                  <a:pt x="3017" y="2545"/>
                </a:lnTo>
                <a:lnTo>
                  <a:pt x="2976" y="2527"/>
                </a:lnTo>
                <a:lnTo>
                  <a:pt x="2940" y="2506"/>
                </a:lnTo>
                <a:lnTo>
                  <a:pt x="2913" y="2480"/>
                </a:lnTo>
                <a:lnTo>
                  <a:pt x="2892" y="2451"/>
                </a:lnTo>
                <a:lnTo>
                  <a:pt x="2878" y="2419"/>
                </a:lnTo>
                <a:lnTo>
                  <a:pt x="2873" y="2384"/>
                </a:lnTo>
                <a:lnTo>
                  <a:pt x="2854" y="2202"/>
                </a:lnTo>
                <a:lnTo>
                  <a:pt x="2780" y="2167"/>
                </a:lnTo>
                <a:lnTo>
                  <a:pt x="2710" y="2128"/>
                </a:lnTo>
                <a:lnTo>
                  <a:pt x="2643" y="2080"/>
                </a:lnTo>
                <a:lnTo>
                  <a:pt x="2476" y="2155"/>
                </a:lnTo>
                <a:lnTo>
                  <a:pt x="2442" y="2167"/>
                </a:lnTo>
                <a:lnTo>
                  <a:pt x="2409" y="2172"/>
                </a:lnTo>
                <a:lnTo>
                  <a:pt x="2374" y="2167"/>
                </a:lnTo>
                <a:lnTo>
                  <a:pt x="2337" y="2157"/>
                </a:lnTo>
                <a:lnTo>
                  <a:pt x="2300" y="2137"/>
                </a:lnTo>
                <a:lnTo>
                  <a:pt x="2264" y="2111"/>
                </a:lnTo>
                <a:lnTo>
                  <a:pt x="2229" y="2077"/>
                </a:lnTo>
                <a:lnTo>
                  <a:pt x="2192" y="2036"/>
                </a:lnTo>
                <a:lnTo>
                  <a:pt x="2157" y="1989"/>
                </a:lnTo>
                <a:lnTo>
                  <a:pt x="2124" y="1934"/>
                </a:lnTo>
                <a:lnTo>
                  <a:pt x="2096" y="1882"/>
                </a:lnTo>
                <a:lnTo>
                  <a:pt x="2073" y="1830"/>
                </a:lnTo>
                <a:lnTo>
                  <a:pt x="2055" y="1780"/>
                </a:lnTo>
                <a:lnTo>
                  <a:pt x="2043" y="1731"/>
                </a:lnTo>
                <a:lnTo>
                  <a:pt x="2038" y="1692"/>
                </a:lnTo>
                <a:lnTo>
                  <a:pt x="2037" y="1655"/>
                </a:lnTo>
                <a:lnTo>
                  <a:pt x="2041" y="1625"/>
                </a:lnTo>
                <a:lnTo>
                  <a:pt x="2047" y="1599"/>
                </a:lnTo>
                <a:lnTo>
                  <a:pt x="2058" y="1576"/>
                </a:lnTo>
                <a:lnTo>
                  <a:pt x="2069" y="1556"/>
                </a:lnTo>
                <a:lnTo>
                  <a:pt x="2082" y="1541"/>
                </a:lnTo>
                <a:lnTo>
                  <a:pt x="2095" y="1529"/>
                </a:lnTo>
                <a:lnTo>
                  <a:pt x="2108" y="1520"/>
                </a:lnTo>
                <a:lnTo>
                  <a:pt x="2258" y="1411"/>
                </a:lnTo>
                <a:lnTo>
                  <a:pt x="2252" y="1350"/>
                </a:lnTo>
                <a:lnTo>
                  <a:pt x="2250" y="1291"/>
                </a:lnTo>
                <a:lnTo>
                  <a:pt x="2252" y="1230"/>
                </a:lnTo>
                <a:lnTo>
                  <a:pt x="2258" y="1169"/>
                </a:lnTo>
                <a:lnTo>
                  <a:pt x="2108" y="1061"/>
                </a:lnTo>
                <a:lnTo>
                  <a:pt x="2081" y="1038"/>
                </a:lnTo>
                <a:lnTo>
                  <a:pt x="2061" y="1010"/>
                </a:lnTo>
                <a:lnTo>
                  <a:pt x="2046" y="978"/>
                </a:lnTo>
                <a:lnTo>
                  <a:pt x="2038" y="942"/>
                </a:lnTo>
                <a:lnTo>
                  <a:pt x="2037" y="901"/>
                </a:lnTo>
                <a:lnTo>
                  <a:pt x="2041" y="855"/>
                </a:lnTo>
                <a:lnTo>
                  <a:pt x="2052" y="808"/>
                </a:lnTo>
                <a:lnTo>
                  <a:pt x="2070" y="756"/>
                </a:lnTo>
                <a:lnTo>
                  <a:pt x="2093" y="701"/>
                </a:lnTo>
                <a:lnTo>
                  <a:pt x="2124" y="645"/>
                </a:lnTo>
                <a:lnTo>
                  <a:pt x="2157" y="591"/>
                </a:lnTo>
                <a:lnTo>
                  <a:pt x="2192" y="543"/>
                </a:lnTo>
                <a:lnTo>
                  <a:pt x="2229" y="503"/>
                </a:lnTo>
                <a:lnTo>
                  <a:pt x="2264" y="469"/>
                </a:lnTo>
                <a:lnTo>
                  <a:pt x="2300" y="442"/>
                </a:lnTo>
                <a:lnTo>
                  <a:pt x="2337" y="424"/>
                </a:lnTo>
                <a:lnTo>
                  <a:pt x="2374" y="412"/>
                </a:lnTo>
                <a:lnTo>
                  <a:pt x="2409" y="408"/>
                </a:lnTo>
                <a:lnTo>
                  <a:pt x="2442" y="412"/>
                </a:lnTo>
                <a:lnTo>
                  <a:pt x="2476" y="424"/>
                </a:lnTo>
                <a:lnTo>
                  <a:pt x="2645" y="500"/>
                </a:lnTo>
                <a:lnTo>
                  <a:pt x="2712" y="454"/>
                </a:lnTo>
                <a:lnTo>
                  <a:pt x="2780" y="413"/>
                </a:lnTo>
                <a:lnTo>
                  <a:pt x="2854" y="380"/>
                </a:lnTo>
                <a:lnTo>
                  <a:pt x="2873" y="195"/>
                </a:lnTo>
                <a:lnTo>
                  <a:pt x="2878" y="160"/>
                </a:lnTo>
                <a:lnTo>
                  <a:pt x="2892" y="128"/>
                </a:lnTo>
                <a:lnTo>
                  <a:pt x="2913" y="101"/>
                </a:lnTo>
                <a:lnTo>
                  <a:pt x="2940" y="75"/>
                </a:lnTo>
                <a:lnTo>
                  <a:pt x="2976" y="52"/>
                </a:lnTo>
                <a:lnTo>
                  <a:pt x="3017" y="34"/>
                </a:lnTo>
                <a:lnTo>
                  <a:pt x="3064" y="20"/>
                </a:lnTo>
                <a:lnTo>
                  <a:pt x="3117" y="9"/>
                </a:lnTo>
                <a:lnTo>
                  <a:pt x="3177" y="3"/>
                </a:lnTo>
                <a:lnTo>
                  <a:pt x="3241"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ES" sz="1800"/>
          </a:p>
        </p:txBody>
      </p:sp>
    </p:spTree>
    <p:extLst>
      <p:ext uri="{BB962C8B-B14F-4D97-AF65-F5344CB8AC3E}">
        <p14:creationId xmlns:p14="http://schemas.microsoft.com/office/powerpoint/2010/main" val="3670436692"/>
      </p:ext>
    </p:extLst>
  </p:cSld>
  <p:clrMapOvr>
    <a:masterClrMapping/>
  </p:clrMapOvr>
  <p:transition spd="slow"/>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r - solo ti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6DDE8FC-D7A6-4741-B4E6-95DC363B1FF4}"/>
              </a:ext>
            </a:extLst>
          </p:cNvPr>
          <p:cNvSpPr>
            <a:spLocks noGrp="1"/>
          </p:cNvSpPr>
          <p:nvPr>
            <p:ph type="title" hasCustomPrompt="1"/>
          </p:nvPr>
        </p:nvSpPr>
        <p:spPr>
          <a:xfrm>
            <a:off x="347502" y="219070"/>
            <a:ext cx="10515600" cy="365721"/>
          </a:xfrm>
        </p:spPr>
        <p:txBody>
          <a:bodyPr/>
          <a:lstStyle>
            <a:lvl1pPr>
              <a:defRPr sz="1800"/>
            </a:lvl1pPr>
          </a:lstStyle>
          <a:p>
            <a:r>
              <a:rPr lang="es-ES"/>
              <a:t>Haga clic para modificar el estilo de título del patrón </a:t>
            </a:r>
          </a:p>
        </p:txBody>
      </p:sp>
      <p:sp>
        <p:nvSpPr>
          <p:cNvPr id="5" name="Marcador de texto 4">
            <a:extLst>
              <a:ext uri="{FF2B5EF4-FFF2-40B4-BE49-F238E27FC236}">
                <a16:creationId xmlns:a16="http://schemas.microsoft.com/office/drawing/2014/main" id="{550CA370-40C0-4847-964D-47467936036C}"/>
              </a:ext>
            </a:extLst>
          </p:cNvPr>
          <p:cNvSpPr>
            <a:spLocks noGrp="1"/>
          </p:cNvSpPr>
          <p:nvPr>
            <p:ph type="body" sz="quarter" idx="10"/>
          </p:nvPr>
        </p:nvSpPr>
        <p:spPr>
          <a:xfrm>
            <a:off x="347663" y="564894"/>
            <a:ext cx="10515600" cy="3317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2962274559"/>
      </p:ext>
    </p:extLst>
  </p:cSld>
  <p:clrMapOvr>
    <a:masterClrMapping/>
  </p:clrMapOvr>
  <p:extLst>
    <p:ext uri="{DCECCB84-F9BA-43D5-87BE-67443E8EF086}">
      <p15:sldGuideLst xmlns:p15="http://schemas.microsoft.com/office/powerpoint/2012/main">
        <p15:guide id="1" orient="horz" pos="595">
          <p15:clr>
            <a:srgbClr val="FBAE40"/>
          </p15:clr>
        </p15:guide>
        <p15:guide id="2" pos="279">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lan de Trabajo">
    <p:spTree>
      <p:nvGrpSpPr>
        <p:cNvPr id="1" name=""/>
        <p:cNvGrpSpPr/>
        <p:nvPr/>
      </p:nvGrpSpPr>
      <p:grpSpPr>
        <a:xfrm>
          <a:off x="0" y="0"/>
          <a:ext cx="0" cy="0"/>
          <a:chOff x="0" y="0"/>
          <a:chExt cx="0" cy="0"/>
        </a:xfrm>
      </p:grpSpPr>
      <p:sp>
        <p:nvSpPr>
          <p:cNvPr id="23" name="22 Marcador de texto"/>
          <p:cNvSpPr>
            <a:spLocks noGrp="1"/>
          </p:cNvSpPr>
          <p:nvPr>
            <p:ph type="body" sz="quarter" idx="23"/>
          </p:nvPr>
        </p:nvSpPr>
        <p:spPr>
          <a:xfrm>
            <a:off x="423986" y="1320801"/>
            <a:ext cx="11344031" cy="5151940"/>
          </a:xfrm>
        </p:spPr>
        <p:txBody>
          <a:bodyPr>
            <a:noAutofit/>
          </a:bodyPr>
          <a:lstStyle>
            <a:lvl5pPr marL="969962" indent="0">
              <a:defRPr kumimoji="0" lang="es-ES" sz="1100" b="0" i="0" u="none" strike="noStrike" kern="1200" cap="none" spc="0" normalizeH="0" baseline="0" noProof="0" dirty="0" smtClean="0">
                <a:ln>
                  <a:noFill/>
                </a:ln>
                <a:solidFill>
                  <a:srgbClr val="494949"/>
                </a:solidFill>
                <a:effectLst/>
                <a:uLnTx/>
                <a:uFillTx/>
                <a:latin typeface="+mn-lt"/>
                <a:ea typeface="+mn-ea"/>
                <a:cs typeface="+mn-cs"/>
              </a:defRPr>
            </a:lvl5pPr>
            <a:lvl6pPr marL="858838" indent="-171450">
              <a:defRPr kumimoji="0" lang="es-ES" sz="1100" b="0" i="0" u="none" strike="noStrike" kern="1200" cap="none" spc="0" normalizeH="0" baseline="0" noProof="0" dirty="0" smtClean="0">
                <a:ln>
                  <a:noFill/>
                </a:ln>
                <a:solidFill>
                  <a:schemeClr val="tx1"/>
                </a:solidFill>
                <a:effectLst/>
                <a:uLnTx/>
                <a:uFillTx/>
                <a:latin typeface="+mn-lt"/>
                <a:ea typeface="+mn-ea"/>
                <a:cs typeface="+mn-cs"/>
              </a:defRPr>
            </a:lvl6pPr>
            <a:lvl7pPr>
              <a:defRPr/>
            </a:lvl7pPr>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a:p>
            <a:pPr marL="846138" marR="0" lvl="4" indent="-158750" algn="l" defTabSz="914400" rtl="0" eaLnBrk="1" fontAlgn="auto" latinLnBrk="0" hangingPunct="1">
              <a:lnSpc>
                <a:spcPct val="100000"/>
              </a:lnSpc>
              <a:spcBef>
                <a:spcPts val="0"/>
              </a:spcBef>
              <a:spcAft>
                <a:spcPts val="200"/>
              </a:spcAft>
              <a:buClr>
                <a:schemeClr val="accent1">
                  <a:lumMod val="90000"/>
                </a:schemeClr>
              </a:buClr>
              <a:buSzTx/>
              <a:buFont typeface="Arial" pitchFamily="34" charset="0"/>
              <a:buChar char="•"/>
              <a:tabLst/>
              <a:defRPr/>
            </a:pPr>
            <a:r>
              <a:rPr lang="es-ES" noProof="0"/>
              <a:t>Quinto nivel</a:t>
            </a:r>
          </a:p>
          <a:p>
            <a:pPr marL="1111250" marR="0" lvl="5" indent="-141288" algn="l" defTabSz="914400" rtl="0" eaLnBrk="1" fontAlgn="auto" latinLnBrk="0" hangingPunct="1">
              <a:lnSpc>
                <a:spcPct val="100000"/>
              </a:lnSpc>
              <a:spcBef>
                <a:spcPct val="20000"/>
              </a:spcBef>
              <a:spcAft>
                <a:spcPts val="200"/>
              </a:spcAft>
              <a:buClr>
                <a:schemeClr val="accent1">
                  <a:lumMod val="90000"/>
                </a:schemeClr>
              </a:buClr>
              <a:buSzTx/>
              <a:buFontTx/>
              <a:buNone/>
              <a:tabLst/>
              <a:defRPr/>
            </a:pPr>
            <a:r>
              <a:rPr lang="es-ES" noProof="0"/>
              <a:t>- </a:t>
            </a:r>
            <a:r>
              <a:rPr lang="es-ES" noProof="0" err="1"/>
              <a:t>bhhh</a:t>
            </a:r>
            <a:endParaRPr lang="es-ES" noProof="0"/>
          </a:p>
        </p:txBody>
      </p:sp>
      <p:sp>
        <p:nvSpPr>
          <p:cNvPr id="92" name="27 Título"/>
          <p:cNvSpPr>
            <a:spLocks noGrp="1"/>
          </p:cNvSpPr>
          <p:nvPr userDrawn="1">
            <p:ph type="title" hasCustomPrompt="1"/>
          </p:nvPr>
        </p:nvSpPr>
        <p:spPr>
          <a:xfrm>
            <a:off x="1235961" y="334929"/>
            <a:ext cx="8936800" cy="518277"/>
          </a:xfrm>
        </p:spPr>
        <p:txBody>
          <a:bodyPr>
            <a:noAutofit/>
          </a:bodyPr>
          <a:lstStyle>
            <a:lvl1pPr>
              <a:defRPr sz="2000">
                <a:solidFill>
                  <a:schemeClr val="tx1"/>
                </a:solidFill>
              </a:defRPr>
            </a:lvl1pPr>
          </a:lstStyle>
          <a:p>
            <a:r>
              <a:rPr lang="es-ES"/>
              <a:t>Título</a:t>
            </a:r>
            <a:endParaRPr lang="en-US"/>
          </a:p>
        </p:txBody>
      </p:sp>
      <p:sp>
        <p:nvSpPr>
          <p:cNvPr id="6" name="21 CuadroTexto"/>
          <p:cNvSpPr txBox="1"/>
          <p:nvPr userDrawn="1"/>
        </p:nvSpPr>
        <p:spPr>
          <a:xfrm>
            <a:off x="1192823" y="19050"/>
            <a:ext cx="8988270" cy="248400"/>
          </a:xfrm>
          <a:prstGeom prst="rect">
            <a:avLst/>
          </a:prstGeom>
        </p:spPr>
        <p:txBody>
          <a:bodyPr vert="horz" lIns="0" tIns="0" rIns="0" bIns="0" rtlCol="0" anchor="ctr">
            <a:noAutofit/>
          </a:bodyPr>
          <a:lstStyle/>
          <a:p>
            <a:pPr marL="144000" marR="0" lvl="0" indent="0" algn="l" defTabSz="914400" rtl="0" eaLnBrk="1" fontAlgn="base" latinLnBrk="0" hangingPunct="1">
              <a:lnSpc>
                <a:spcPct val="100000"/>
              </a:lnSpc>
              <a:spcBef>
                <a:spcPts val="600"/>
              </a:spcBef>
              <a:spcAft>
                <a:spcPts val="300"/>
              </a:spcAft>
              <a:buClr>
                <a:srgbClr val="505150"/>
              </a:buClr>
              <a:buSzPct val="88000"/>
              <a:buFont typeface="Arial" pitchFamily="34" charset="0"/>
              <a:buNone/>
              <a:tabLst>
                <a:tab pos="1346200" algn="l"/>
              </a:tabLst>
              <a:defRPr/>
            </a:pPr>
            <a:r>
              <a:rPr kumimoji="0" lang="es-ES" sz="1050" b="0" i="0" u="none" strike="noStrike" kern="1200" cap="none" spc="0" normalizeH="0" baseline="0" noProof="0">
                <a:ln>
                  <a:noFill/>
                </a:ln>
                <a:solidFill>
                  <a:schemeClr val="tx1"/>
                </a:solidFill>
                <a:effectLst/>
                <a:uLnTx/>
                <a:uFillTx/>
                <a:latin typeface="+mn-lt"/>
                <a:ea typeface="+mn-ea"/>
                <a:cs typeface="+mn-cs"/>
                <a:sym typeface="Droid Sans" charset="0"/>
              </a:rPr>
              <a:t>Organización del proyecto</a:t>
            </a:r>
          </a:p>
        </p:txBody>
      </p:sp>
      <p:sp>
        <p:nvSpPr>
          <p:cNvPr id="7" name="26 Marcador de contenido"/>
          <p:cNvSpPr>
            <a:spLocks noGrp="1"/>
          </p:cNvSpPr>
          <p:nvPr>
            <p:ph sz="quarter" idx="26" hasCustomPrompt="1"/>
          </p:nvPr>
        </p:nvSpPr>
        <p:spPr>
          <a:xfrm>
            <a:off x="1192823" y="863255"/>
            <a:ext cx="8988270" cy="225425"/>
          </a:xfrm>
        </p:spPr>
        <p:txBody>
          <a:bodyPr anchor="ctr">
            <a:noAutofit/>
          </a:bodyPr>
          <a:lstStyle>
            <a:lvl1pPr marL="144000">
              <a:defRPr sz="1000" cap="all" spc="300" baseline="0">
                <a:solidFill>
                  <a:schemeClr val="tx1"/>
                </a:solidFill>
              </a:defRPr>
            </a:lvl1pPr>
            <a:lvl7pPr>
              <a:defRPr>
                <a:solidFill>
                  <a:schemeClr val="tx1">
                    <a:lumMod val="50000"/>
                    <a:lumOff val="50000"/>
                  </a:schemeClr>
                </a:solidFill>
              </a:defRPr>
            </a:lvl7pPr>
          </a:lstStyle>
          <a:p>
            <a:pPr lvl="0"/>
            <a:r>
              <a:rPr lang="es-ES"/>
              <a:t>Subtítulo</a:t>
            </a:r>
            <a:endParaRPr lang="en-US"/>
          </a:p>
        </p:txBody>
      </p:sp>
      <p:sp>
        <p:nvSpPr>
          <p:cNvPr id="2" name="Marcador de número de diapositiva 1"/>
          <p:cNvSpPr>
            <a:spLocks noGrp="1"/>
          </p:cNvSpPr>
          <p:nvPr>
            <p:ph type="sldNum" sz="quarter" idx="27"/>
          </p:nvPr>
        </p:nvSpPr>
        <p:spPr/>
        <p:txBody>
          <a:bodyPr/>
          <a:lstStyle/>
          <a:p>
            <a:pPr marL="7938" algn="ctr" fontAlgn="base">
              <a:spcAft>
                <a:spcPct val="0"/>
              </a:spcAft>
              <a:buClr>
                <a:srgbClr val="505150"/>
              </a:buClr>
              <a:buSzPct val="88000"/>
            </a:pPr>
            <a:fld id="{B90C96D8-0395-4AF3-8A78-0E88AEC6FB3C}" type="slidenum">
              <a:rPr lang="es-ES" smtClean="0"/>
              <a:pPr marL="7938" algn="ctr" fontAlgn="base">
                <a:spcAft>
                  <a:spcPct val="0"/>
                </a:spcAft>
                <a:buClr>
                  <a:srgbClr val="505150"/>
                </a:buClr>
                <a:buSzPct val="88000"/>
              </a:pPr>
              <a:t>‹Nº›</a:t>
            </a:fld>
            <a:endParaRPr lang="es-ES"/>
          </a:p>
        </p:txBody>
      </p:sp>
      <p:grpSp>
        <p:nvGrpSpPr>
          <p:cNvPr id="9" name="43 Grupo"/>
          <p:cNvGrpSpPr/>
          <p:nvPr userDrawn="1"/>
        </p:nvGrpSpPr>
        <p:grpSpPr>
          <a:xfrm>
            <a:off x="406295" y="429872"/>
            <a:ext cx="507961" cy="398385"/>
            <a:chOff x="10188624" y="625451"/>
            <a:chExt cx="4708525" cy="4545013"/>
          </a:xfrm>
          <a:solidFill>
            <a:schemeClr val="tx1"/>
          </a:solidFill>
        </p:grpSpPr>
        <p:sp>
          <p:nvSpPr>
            <p:cNvPr id="10" name="Freeform 6"/>
            <p:cNvSpPr>
              <a:spLocks noEditPoints="1"/>
            </p:cNvSpPr>
            <p:nvPr/>
          </p:nvSpPr>
          <p:spPr bwMode="auto">
            <a:xfrm>
              <a:off x="10188624" y="625451"/>
              <a:ext cx="4708525" cy="4545013"/>
            </a:xfrm>
            <a:custGeom>
              <a:avLst/>
              <a:gdLst/>
              <a:ahLst/>
              <a:cxnLst>
                <a:cxn ang="0">
                  <a:pos x="2060" y="3212"/>
                </a:cxn>
                <a:cxn ang="0">
                  <a:pos x="1631" y="4099"/>
                </a:cxn>
                <a:cxn ang="0">
                  <a:pos x="1896" y="4272"/>
                </a:cxn>
                <a:cxn ang="0">
                  <a:pos x="1846" y="4928"/>
                </a:cxn>
                <a:cxn ang="0">
                  <a:pos x="2643" y="5495"/>
                </a:cxn>
                <a:cxn ang="0">
                  <a:pos x="2996" y="5232"/>
                </a:cxn>
                <a:cxn ang="0">
                  <a:pos x="3504" y="5423"/>
                </a:cxn>
                <a:cxn ang="0">
                  <a:pos x="4193" y="4731"/>
                </a:cxn>
                <a:cxn ang="0">
                  <a:pos x="4015" y="4252"/>
                </a:cxn>
                <a:cxn ang="0">
                  <a:pos x="4302" y="4099"/>
                </a:cxn>
                <a:cxn ang="0">
                  <a:pos x="3873" y="3212"/>
                </a:cxn>
                <a:cxn ang="0">
                  <a:pos x="3063" y="3068"/>
                </a:cxn>
                <a:cxn ang="0">
                  <a:pos x="2875" y="3099"/>
                </a:cxn>
                <a:cxn ang="0">
                  <a:pos x="304" y="4641"/>
                </a:cxn>
                <a:cxn ang="0">
                  <a:pos x="1439" y="4305"/>
                </a:cxn>
                <a:cxn ang="0">
                  <a:pos x="1500" y="3468"/>
                </a:cxn>
                <a:cxn ang="0">
                  <a:pos x="1530" y="3280"/>
                </a:cxn>
                <a:cxn ang="0">
                  <a:pos x="2377" y="2783"/>
                </a:cxn>
                <a:cxn ang="0">
                  <a:pos x="3444" y="2742"/>
                </a:cxn>
                <a:cxn ang="0">
                  <a:pos x="4195" y="3280"/>
                </a:cxn>
                <a:cxn ang="0">
                  <a:pos x="4458" y="3453"/>
                </a:cxn>
                <a:cxn ang="0">
                  <a:pos x="4498" y="4195"/>
                </a:cxn>
                <a:cxn ang="0">
                  <a:pos x="5585" y="4672"/>
                </a:cxn>
                <a:cxn ang="0">
                  <a:pos x="506" y="398"/>
                </a:cxn>
                <a:cxn ang="0">
                  <a:pos x="193" y="711"/>
                </a:cxn>
                <a:cxn ang="0">
                  <a:pos x="5585" y="440"/>
                </a:cxn>
                <a:cxn ang="0">
                  <a:pos x="5047" y="598"/>
                </a:cxn>
                <a:cxn ang="0">
                  <a:pos x="4600" y="506"/>
                </a:cxn>
                <a:cxn ang="0">
                  <a:pos x="4413" y="537"/>
                </a:cxn>
                <a:cxn ang="0">
                  <a:pos x="3992" y="602"/>
                </a:cxn>
                <a:cxn ang="0">
                  <a:pos x="3570" y="537"/>
                </a:cxn>
                <a:cxn ang="0">
                  <a:pos x="3383" y="506"/>
                </a:cxn>
                <a:cxn ang="0">
                  <a:pos x="2935" y="598"/>
                </a:cxn>
                <a:cxn ang="0">
                  <a:pos x="2532" y="564"/>
                </a:cxn>
                <a:cxn ang="0">
                  <a:pos x="2357" y="398"/>
                </a:cxn>
                <a:cxn ang="0">
                  <a:pos x="1885" y="584"/>
                </a:cxn>
                <a:cxn ang="0">
                  <a:pos x="1485" y="584"/>
                </a:cxn>
                <a:cxn ang="0">
                  <a:pos x="1012" y="398"/>
                </a:cxn>
                <a:cxn ang="0">
                  <a:pos x="839" y="564"/>
                </a:cxn>
                <a:cxn ang="0">
                  <a:pos x="1007" y="65"/>
                </a:cxn>
                <a:cxn ang="0">
                  <a:pos x="1428" y="0"/>
                </a:cxn>
                <a:cxn ang="0">
                  <a:pos x="1849" y="65"/>
                </a:cxn>
                <a:cxn ang="0">
                  <a:pos x="2036" y="96"/>
                </a:cxn>
                <a:cxn ang="0">
                  <a:pos x="2485" y="6"/>
                </a:cxn>
                <a:cxn ang="0">
                  <a:pos x="2888" y="40"/>
                </a:cxn>
                <a:cxn ang="0">
                  <a:pos x="3063" y="206"/>
                </a:cxn>
                <a:cxn ang="0">
                  <a:pos x="3534" y="18"/>
                </a:cxn>
                <a:cxn ang="0">
                  <a:pos x="3934" y="18"/>
                </a:cxn>
                <a:cxn ang="0">
                  <a:pos x="4408" y="206"/>
                </a:cxn>
                <a:cxn ang="0">
                  <a:pos x="4581" y="40"/>
                </a:cxn>
                <a:cxn ang="0">
                  <a:pos x="4986" y="6"/>
                </a:cxn>
                <a:cxn ang="0">
                  <a:pos x="5501" y="211"/>
                </a:cxn>
                <a:cxn ang="0">
                  <a:pos x="5927" y="636"/>
                </a:cxn>
                <a:cxn ang="0">
                  <a:pos x="5702" y="4825"/>
                </a:cxn>
                <a:cxn ang="0">
                  <a:pos x="4044" y="5282"/>
                </a:cxn>
                <a:cxn ang="0">
                  <a:pos x="3092" y="5721"/>
                </a:cxn>
                <a:cxn ang="0">
                  <a:pos x="2067" y="5433"/>
                </a:cxn>
                <a:cxn ang="0">
                  <a:pos x="360" y="4884"/>
                </a:cxn>
                <a:cxn ang="0">
                  <a:pos x="0" y="4400"/>
                </a:cxn>
                <a:cxn ang="0">
                  <a:pos x="293" y="252"/>
                </a:cxn>
                <a:cxn ang="0">
                  <a:pos x="886" y="6"/>
                </a:cxn>
              </a:cxnLst>
              <a:rect l="0" t="0" r="r" b="b"/>
              <a:pathLst>
                <a:path w="5933" h="5727">
                  <a:moveTo>
                    <a:pt x="2870" y="2861"/>
                  </a:moveTo>
                  <a:lnTo>
                    <a:pt x="2755" y="2874"/>
                  </a:lnTo>
                  <a:lnTo>
                    <a:pt x="2643" y="2897"/>
                  </a:lnTo>
                  <a:lnTo>
                    <a:pt x="2533" y="2929"/>
                  </a:lnTo>
                  <a:lnTo>
                    <a:pt x="2429" y="2969"/>
                  </a:lnTo>
                  <a:lnTo>
                    <a:pt x="2330" y="3018"/>
                  </a:lnTo>
                  <a:lnTo>
                    <a:pt x="2234" y="3075"/>
                  </a:lnTo>
                  <a:lnTo>
                    <a:pt x="2144" y="3140"/>
                  </a:lnTo>
                  <a:lnTo>
                    <a:pt x="2060" y="3212"/>
                  </a:lnTo>
                  <a:lnTo>
                    <a:pt x="1982" y="3289"/>
                  </a:lnTo>
                  <a:lnTo>
                    <a:pt x="1910" y="3374"/>
                  </a:lnTo>
                  <a:lnTo>
                    <a:pt x="1846" y="3464"/>
                  </a:lnTo>
                  <a:lnTo>
                    <a:pt x="1788" y="3559"/>
                  </a:lnTo>
                  <a:lnTo>
                    <a:pt x="1739" y="3658"/>
                  </a:lnTo>
                  <a:lnTo>
                    <a:pt x="1700" y="3763"/>
                  </a:lnTo>
                  <a:lnTo>
                    <a:pt x="1667" y="3873"/>
                  </a:lnTo>
                  <a:lnTo>
                    <a:pt x="1644" y="3984"/>
                  </a:lnTo>
                  <a:lnTo>
                    <a:pt x="1631" y="4099"/>
                  </a:lnTo>
                  <a:lnTo>
                    <a:pt x="1838" y="4099"/>
                  </a:lnTo>
                  <a:lnTo>
                    <a:pt x="1869" y="4105"/>
                  </a:lnTo>
                  <a:lnTo>
                    <a:pt x="1896" y="4117"/>
                  </a:lnTo>
                  <a:lnTo>
                    <a:pt x="1916" y="4139"/>
                  </a:lnTo>
                  <a:lnTo>
                    <a:pt x="1930" y="4166"/>
                  </a:lnTo>
                  <a:lnTo>
                    <a:pt x="1936" y="4195"/>
                  </a:lnTo>
                  <a:lnTo>
                    <a:pt x="1930" y="4225"/>
                  </a:lnTo>
                  <a:lnTo>
                    <a:pt x="1916" y="4252"/>
                  </a:lnTo>
                  <a:lnTo>
                    <a:pt x="1896" y="4272"/>
                  </a:lnTo>
                  <a:lnTo>
                    <a:pt x="1869" y="4287"/>
                  </a:lnTo>
                  <a:lnTo>
                    <a:pt x="1838" y="4292"/>
                  </a:lnTo>
                  <a:lnTo>
                    <a:pt x="1631" y="4292"/>
                  </a:lnTo>
                  <a:lnTo>
                    <a:pt x="1644" y="4407"/>
                  </a:lnTo>
                  <a:lnTo>
                    <a:pt x="1667" y="4519"/>
                  </a:lnTo>
                  <a:lnTo>
                    <a:pt x="1700" y="4627"/>
                  </a:lnTo>
                  <a:lnTo>
                    <a:pt x="1739" y="4733"/>
                  </a:lnTo>
                  <a:lnTo>
                    <a:pt x="1788" y="4832"/>
                  </a:lnTo>
                  <a:lnTo>
                    <a:pt x="1846" y="4928"/>
                  </a:lnTo>
                  <a:lnTo>
                    <a:pt x="1910" y="5018"/>
                  </a:lnTo>
                  <a:lnTo>
                    <a:pt x="1982" y="5102"/>
                  </a:lnTo>
                  <a:lnTo>
                    <a:pt x="2060" y="5180"/>
                  </a:lnTo>
                  <a:lnTo>
                    <a:pt x="2144" y="5252"/>
                  </a:lnTo>
                  <a:lnTo>
                    <a:pt x="2234" y="5316"/>
                  </a:lnTo>
                  <a:lnTo>
                    <a:pt x="2330" y="5372"/>
                  </a:lnTo>
                  <a:lnTo>
                    <a:pt x="2429" y="5423"/>
                  </a:lnTo>
                  <a:lnTo>
                    <a:pt x="2533" y="5462"/>
                  </a:lnTo>
                  <a:lnTo>
                    <a:pt x="2643" y="5495"/>
                  </a:lnTo>
                  <a:lnTo>
                    <a:pt x="2755" y="5518"/>
                  </a:lnTo>
                  <a:lnTo>
                    <a:pt x="2870" y="5531"/>
                  </a:lnTo>
                  <a:lnTo>
                    <a:pt x="2870" y="5324"/>
                  </a:lnTo>
                  <a:lnTo>
                    <a:pt x="2875" y="5293"/>
                  </a:lnTo>
                  <a:lnTo>
                    <a:pt x="2888" y="5266"/>
                  </a:lnTo>
                  <a:lnTo>
                    <a:pt x="2910" y="5244"/>
                  </a:lnTo>
                  <a:lnTo>
                    <a:pt x="2935" y="5232"/>
                  </a:lnTo>
                  <a:lnTo>
                    <a:pt x="2965" y="5226"/>
                  </a:lnTo>
                  <a:lnTo>
                    <a:pt x="2996" y="5232"/>
                  </a:lnTo>
                  <a:lnTo>
                    <a:pt x="3023" y="5244"/>
                  </a:lnTo>
                  <a:lnTo>
                    <a:pt x="3043" y="5266"/>
                  </a:lnTo>
                  <a:lnTo>
                    <a:pt x="3057" y="5293"/>
                  </a:lnTo>
                  <a:lnTo>
                    <a:pt x="3063" y="5324"/>
                  </a:lnTo>
                  <a:lnTo>
                    <a:pt x="3063" y="5531"/>
                  </a:lnTo>
                  <a:lnTo>
                    <a:pt x="3178" y="5518"/>
                  </a:lnTo>
                  <a:lnTo>
                    <a:pt x="3290" y="5495"/>
                  </a:lnTo>
                  <a:lnTo>
                    <a:pt x="3398" y="5462"/>
                  </a:lnTo>
                  <a:lnTo>
                    <a:pt x="3504" y="5423"/>
                  </a:lnTo>
                  <a:lnTo>
                    <a:pt x="3603" y="5372"/>
                  </a:lnTo>
                  <a:lnTo>
                    <a:pt x="3698" y="5316"/>
                  </a:lnTo>
                  <a:lnTo>
                    <a:pt x="3788" y="5252"/>
                  </a:lnTo>
                  <a:lnTo>
                    <a:pt x="3873" y="5180"/>
                  </a:lnTo>
                  <a:lnTo>
                    <a:pt x="3950" y="5102"/>
                  </a:lnTo>
                  <a:lnTo>
                    <a:pt x="4022" y="5018"/>
                  </a:lnTo>
                  <a:lnTo>
                    <a:pt x="4087" y="4928"/>
                  </a:lnTo>
                  <a:lnTo>
                    <a:pt x="4143" y="4832"/>
                  </a:lnTo>
                  <a:lnTo>
                    <a:pt x="4193" y="4731"/>
                  </a:lnTo>
                  <a:lnTo>
                    <a:pt x="4233" y="4627"/>
                  </a:lnTo>
                  <a:lnTo>
                    <a:pt x="4265" y="4519"/>
                  </a:lnTo>
                  <a:lnTo>
                    <a:pt x="4289" y="4407"/>
                  </a:lnTo>
                  <a:lnTo>
                    <a:pt x="4302" y="4292"/>
                  </a:lnTo>
                  <a:lnTo>
                    <a:pt x="4298" y="4292"/>
                  </a:lnTo>
                  <a:lnTo>
                    <a:pt x="4094" y="4292"/>
                  </a:lnTo>
                  <a:lnTo>
                    <a:pt x="4064" y="4287"/>
                  </a:lnTo>
                  <a:lnTo>
                    <a:pt x="4037" y="4272"/>
                  </a:lnTo>
                  <a:lnTo>
                    <a:pt x="4015" y="4252"/>
                  </a:lnTo>
                  <a:lnTo>
                    <a:pt x="4003" y="4225"/>
                  </a:lnTo>
                  <a:lnTo>
                    <a:pt x="3997" y="4195"/>
                  </a:lnTo>
                  <a:lnTo>
                    <a:pt x="4003" y="4166"/>
                  </a:lnTo>
                  <a:lnTo>
                    <a:pt x="4015" y="4139"/>
                  </a:lnTo>
                  <a:lnTo>
                    <a:pt x="4037" y="4117"/>
                  </a:lnTo>
                  <a:lnTo>
                    <a:pt x="4064" y="4105"/>
                  </a:lnTo>
                  <a:lnTo>
                    <a:pt x="4094" y="4099"/>
                  </a:lnTo>
                  <a:lnTo>
                    <a:pt x="4298" y="4099"/>
                  </a:lnTo>
                  <a:lnTo>
                    <a:pt x="4302" y="4099"/>
                  </a:lnTo>
                  <a:lnTo>
                    <a:pt x="4289" y="3984"/>
                  </a:lnTo>
                  <a:lnTo>
                    <a:pt x="4265" y="3873"/>
                  </a:lnTo>
                  <a:lnTo>
                    <a:pt x="4233" y="3763"/>
                  </a:lnTo>
                  <a:lnTo>
                    <a:pt x="4193" y="3658"/>
                  </a:lnTo>
                  <a:lnTo>
                    <a:pt x="4143" y="3559"/>
                  </a:lnTo>
                  <a:lnTo>
                    <a:pt x="4087" y="3464"/>
                  </a:lnTo>
                  <a:lnTo>
                    <a:pt x="4022" y="3374"/>
                  </a:lnTo>
                  <a:lnTo>
                    <a:pt x="3950" y="3289"/>
                  </a:lnTo>
                  <a:lnTo>
                    <a:pt x="3873" y="3212"/>
                  </a:lnTo>
                  <a:lnTo>
                    <a:pt x="3788" y="3140"/>
                  </a:lnTo>
                  <a:lnTo>
                    <a:pt x="3698" y="3075"/>
                  </a:lnTo>
                  <a:lnTo>
                    <a:pt x="3603" y="3018"/>
                  </a:lnTo>
                  <a:lnTo>
                    <a:pt x="3504" y="2969"/>
                  </a:lnTo>
                  <a:lnTo>
                    <a:pt x="3398" y="2929"/>
                  </a:lnTo>
                  <a:lnTo>
                    <a:pt x="3290" y="2897"/>
                  </a:lnTo>
                  <a:lnTo>
                    <a:pt x="3178" y="2874"/>
                  </a:lnTo>
                  <a:lnTo>
                    <a:pt x="3063" y="2861"/>
                  </a:lnTo>
                  <a:lnTo>
                    <a:pt x="3063" y="3068"/>
                  </a:lnTo>
                  <a:lnTo>
                    <a:pt x="3057" y="3099"/>
                  </a:lnTo>
                  <a:lnTo>
                    <a:pt x="3043" y="3126"/>
                  </a:lnTo>
                  <a:lnTo>
                    <a:pt x="3023" y="3145"/>
                  </a:lnTo>
                  <a:lnTo>
                    <a:pt x="2996" y="3160"/>
                  </a:lnTo>
                  <a:lnTo>
                    <a:pt x="2965" y="3165"/>
                  </a:lnTo>
                  <a:lnTo>
                    <a:pt x="2935" y="3160"/>
                  </a:lnTo>
                  <a:lnTo>
                    <a:pt x="2910" y="3145"/>
                  </a:lnTo>
                  <a:lnTo>
                    <a:pt x="2888" y="3126"/>
                  </a:lnTo>
                  <a:lnTo>
                    <a:pt x="2875" y="3099"/>
                  </a:lnTo>
                  <a:lnTo>
                    <a:pt x="2870" y="3068"/>
                  </a:lnTo>
                  <a:lnTo>
                    <a:pt x="2870" y="2861"/>
                  </a:lnTo>
                  <a:close/>
                  <a:moveTo>
                    <a:pt x="193" y="1012"/>
                  </a:moveTo>
                  <a:lnTo>
                    <a:pt x="193" y="4400"/>
                  </a:lnTo>
                  <a:lnTo>
                    <a:pt x="198" y="4458"/>
                  </a:lnTo>
                  <a:lnTo>
                    <a:pt x="212" y="4510"/>
                  </a:lnTo>
                  <a:lnTo>
                    <a:pt x="236" y="4558"/>
                  </a:lnTo>
                  <a:lnTo>
                    <a:pt x="266" y="4603"/>
                  </a:lnTo>
                  <a:lnTo>
                    <a:pt x="304" y="4641"/>
                  </a:lnTo>
                  <a:lnTo>
                    <a:pt x="348" y="4672"/>
                  </a:lnTo>
                  <a:lnTo>
                    <a:pt x="396" y="4695"/>
                  </a:lnTo>
                  <a:lnTo>
                    <a:pt x="450" y="4710"/>
                  </a:lnTo>
                  <a:lnTo>
                    <a:pt x="506" y="4715"/>
                  </a:lnTo>
                  <a:lnTo>
                    <a:pt x="1525" y="4715"/>
                  </a:lnTo>
                  <a:lnTo>
                    <a:pt x="1494" y="4616"/>
                  </a:lnTo>
                  <a:lnTo>
                    <a:pt x="1469" y="4513"/>
                  </a:lnTo>
                  <a:lnTo>
                    <a:pt x="1449" y="4411"/>
                  </a:lnTo>
                  <a:lnTo>
                    <a:pt x="1439" y="4305"/>
                  </a:lnTo>
                  <a:lnTo>
                    <a:pt x="1435" y="4195"/>
                  </a:lnTo>
                  <a:lnTo>
                    <a:pt x="1440" y="4065"/>
                  </a:lnTo>
                  <a:lnTo>
                    <a:pt x="1457" y="3939"/>
                  </a:lnTo>
                  <a:lnTo>
                    <a:pt x="1482" y="3817"/>
                  </a:lnTo>
                  <a:lnTo>
                    <a:pt x="1518" y="3698"/>
                  </a:lnTo>
                  <a:lnTo>
                    <a:pt x="1563" y="3583"/>
                  </a:lnTo>
                  <a:lnTo>
                    <a:pt x="1617" y="3471"/>
                  </a:lnTo>
                  <a:lnTo>
                    <a:pt x="1530" y="3471"/>
                  </a:lnTo>
                  <a:lnTo>
                    <a:pt x="1500" y="3468"/>
                  </a:lnTo>
                  <a:lnTo>
                    <a:pt x="1475" y="3453"/>
                  </a:lnTo>
                  <a:lnTo>
                    <a:pt x="1453" y="3432"/>
                  </a:lnTo>
                  <a:lnTo>
                    <a:pt x="1440" y="3406"/>
                  </a:lnTo>
                  <a:lnTo>
                    <a:pt x="1435" y="3376"/>
                  </a:lnTo>
                  <a:lnTo>
                    <a:pt x="1440" y="3345"/>
                  </a:lnTo>
                  <a:lnTo>
                    <a:pt x="1453" y="3318"/>
                  </a:lnTo>
                  <a:lnTo>
                    <a:pt x="1475" y="3298"/>
                  </a:lnTo>
                  <a:lnTo>
                    <a:pt x="1500" y="3284"/>
                  </a:lnTo>
                  <a:lnTo>
                    <a:pt x="1530" y="3280"/>
                  </a:lnTo>
                  <a:lnTo>
                    <a:pt x="1736" y="3280"/>
                  </a:lnTo>
                  <a:lnTo>
                    <a:pt x="1739" y="3280"/>
                  </a:lnTo>
                  <a:lnTo>
                    <a:pt x="1813" y="3189"/>
                  </a:lnTo>
                  <a:lnTo>
                    <a:pt x="1892" y="3104"/>
                  </a:lnTo>
                  <a:lnTo>
                    <a:pt x="1979" y="3027"/>
                  </a:lnTo>
                  <a:lnTo>
                    <a:pt x="2071" y="2955"/>
                  </a:lnTo>
                  <a:lnTo>
                    <a:pt x="2168" y="2890"/>
                  </a:lnTo>
                  <a:lnTo>
                    <a:pt x="2270" y="2832"/>
                  </a:lnTo>
                  <a:lnTo>
                    <a:pt x="2377" y="2783"/>
                  </a:lnTo>
                  <a:lnTo>
                    <a:pt x="2488" y="2742"/>
                  </a:lnTo>
                  <a:lnTo>
                    <a:pt x="2602" y="2708"/>
                  </a:lnTo>
                  <a:lnTo>
                    <a:pt x="2721" y="2684"/>
                  </a:lnTo>
                  <a:lnTo>
                    <a:pt x="2841" y="2670"/>
                  </a:lnTo>
                  <a:lnTo>
                    <a:pt x="2965" y="2665"/>
                  </a:lnTo>
                  <a:lnTo>
                    <a:pt x="3090" y="2670"/>
                  </a:lnTo>
                  <a:lnTo>
                    <a:pt x="3212" y="2684"/>
                  </a:lnTo>
                  <a:lnTo>
                    <a:pt x="3329" y="2708"/>
                  </a:lnTo>
                  <a:lnTo>
                    <a:pt x="3444" y="2742"/>
                  </a:lnTo>
                  <a:lnTo>
                    <a:pt x="3556" y="2783"/>
                  </a:lnTo>
                  <a:lnTo>
                    <a:pt x="3662" y="2832"/>
                  </a:lnTo>
                  <a:lnTo>
                    <a:pt x="3765" y="2890"/>
                  </a:lnTo>
                  <a:lnTo>
                    <a:pt x="3862" y="2955"/>
                  </a:lnTo>
                  <a:lnTo>
                    <a:pt x="3954" y="3027"/>
                  </a:lnTo>
                  <a:lnTo>
                    <a:pt x="4039" y="3104"/>
                  </a:lnTo>
                  <a:lnTo>
                    <a:pt x="4120" y="3189"/>
                  </a:lnTo>
                  <a:lnTo>
                    <a:pt x="4192" y="3280"/>
                  </a:lnTo>
                  <a:lnTo>
                    <a:pt x="4195" y="3280"/>
                  </a:lnTo>
                  <a:lnTo>
                    <a:pt x="4401" y="3280"/>
                  </a:lnTo>
                  <a:lnTo>
                    <a:pt x="4431" y="3284"/>
                  </a:lnTo>
                  <a:lnTo>
                    <a:pt x="4458" y="3298"/>
                  </a:lnTo>
                  <a:lnTo>
                    <a:pt x="4478" y="3318"/>
                  </a:lnTo>
                  <a:lnTo>
                    <a:pt x="4492" y="3345"/>
                  </a:lnTo>
                  <a:lnTo>
                    <a:pt x="4498" y="3376"/>
                  </a:lnTo>
                  <a:lnTo>
                    <a:pt x="4492" y="3406"/>
                  </a:lnTo>
                  <a:lnTo>
                    <a:pt x="4478" y="3432"/>
                  </a:lnTo>
                  <a:lnTo>
                    <a:pt x="4458" y="3453"/>
                  </a:lnTo>
                  <a:lnTo>
                    <a:pt x="4431" y="3468"/>
                  </a:lnTo>
                  <a:lnTo>
                    <a:pt x="4401" y="3471"/>
                  </a:lnTo>
                  <a:lnTo>
                    <a:pt x="4314" y="3471"/>
                  </a:lnTo>
                  <a:lnTo>
                    <a:pt x="4368" y="3583"/>
                  </a:lnTo>
                  <a:lnTo>
                    <a:pt x="4413" y="3698"/>
                  </a:lnTo>
                  <a:lnTo>
                    <a:pt x="4449" y="3817"/>
                  </a:lnTo>
                  <a:lnTo>
                    <a:pt x="4476" y="3939"/>
                  </a:lnTo>
                  <a:lnTo>
                    <a:pt x="4492" y="4065"/>
                  </a:lnTo>
                  <a:lnTo>
                    <a:pt x="4498" y="4195"/>
                  </a:lnTo>
                  <a:lnTo>
                    <a:pt x="4494" y="4305"/>
                  </a:lnTo>
                  <a:lnTo>
                    <a:pt x="4482" y="4411"/>
                  </a:lnTo>
                  <a:lnTo>
                    <a:pt x="4464" y="4513"/>
                  </a:lnTo>
                  <a:lnTo>
                    <a:pt x="4438" y="4616"/>
                  </a:lnTo>
                  <a:lnTo>
                    <a:pt x="4406" y="4715"/>
                  </a:lnTo>
                  <a:lnTo>
                    <a:pt x="5427" y="4715"/>
                  </a:lnTo>
                  <a:lnTo>
                    <a:pt x="5483" y="4710"/>
                  </a:lnTo>
                  <a:lnTo>
                    <a:pt x="5535" y="4695"/>
                  </a:lnTo>
                  <a:lnTo>
                    <a:pt x="5585" y="4672"/>
                  </a:lnTo>
                  <a:lnTo>
                    <a:pt x="5629" y="4641"/>
                  </a:lnTo>
                  <a:lnTo>
                    <a:pt x="5666" y="4603"/>
                  </a:lnTo>
                  <a:lnTo>
                    <a:pt x="5697" y="4558"/>
                  </a:lnTo>
                  <a:lnTo>
                    <a:pt x="5720" y="4510"/>
                  </a:lnTo>
                  <a:lnTo>
                    <a:pt x="5735" y="4458"/>
                  </a:lnTo>
                  <a:lnTo>
                    <a:pt x="5740" y="4400"/>
                  </a:lnTo>
                  <a:lnTo>
                    <a:pt x="5740" y="1012"/>
                  </a:lnTo>
                  <a:lnTo>
                    <a:pt x="193" y="1012"/>
                  </a:lnTo>
                  <a:close/>
                  <a:moveTo>
                    <a:pt x="506" y="398"/>
                  </a:moveTo>
                  <a:lnTo>
                    <a:pt x="450" y="402"/>
                  </a:lnTo>
                  <a:lnTo>
                    <a:pt x="396" y="416"/>
                  </a:lnTo>
                  <a:lnTo>
                    <a:pt x="348" y="440"/>
                  </a:lnTo>
                  <a:lnTo>
                    <a:pt x="304" y="472"/>
                  </a:lnTo>
                  <a:lnTo>
                    <a:pt x="266" y="510"/>
                  </a:lnTo>
                  <a:lnTo>
                    <a:pt x="236" y="553"/>
                  </a:lnTo>
                  <a:lnTo>
                    <a:pt x="212" y="602"/>
                  </a:lnTo>
                  <a:lnTo>
                    <a:pt x="198" y="656"/>
                  </a:lnTo>
                  <a:lnTo>
                    <a:pt x="193" y="711"/>
                  </a:lnTo>
                  <a:lnTo>
                    <a:pt x="193" y="819"/>
                  </a:lnTo>
                  <a:lnTo>
                    <a:pt x="5740" y="819"/>
                  </a:lnTo>
                  <a:lnTo>
                    <a:pt x="5740" y="711"/>
                  </a:lnTo>
                  <a:lnTo>
                    <a:pt x="5735" y="656"/>
                  </a:lnTo>
                  <a:lnTo>
                    <a:pt x="5720" y="602"/>
                  </a:lnTo>
                  <a:lnTo>
                    <a:pt x="5697" y="553"/>
                  </a:lnTo>
                  <a:lnTo>
                    <a:pt x="5666" y="510"/>
                  </a:lnTo>
                  <a:lnTo>
                    <a:pt x="5629" y="472"/>
                  </a:lnTo>
                  <a:lnTo>
                    <a:pt x="5585" y="440"/>
                  </a:lnTo>
                  <a:lnTo>
                    <a:pt x="5535" y="416"/>
                  </a:lnTo>
                  <a:lnTo>
                    <a:pt x="5483" y="402"/>
                  </a:lnTo>
                  <a:lnTo>
                    <a:pt x="5427" y="398"/>
                  </a:lnTo>
                  <a:lnTo>
                    <a:pt x="5112" y="398"/>
                  </a:lnTo>
                  <a:lnTo>
                    <a:pt x="5112" y="506"/>
                  </a:lnTo>
                  <a:lnTo>
                    <a:pt x="5108" y="537"/>
                  </a:lnTo>
                  <a:lnTo>
                    <a:pt x="5094" y="564"/>
                  </a:lnTo>
                  <a:lnTo>
                    <a:pt x="5072" y="584"/>
                  </a:lnTo>
                  <a:lnTo>
                    <a:pt x="5047" y="598"/>
                  </a:lnTo>
                  <a:lnTo>
                    <a:pt x="5016" y="602"/>
                  </a:lnTo>
                  <a:lnTo>
                    <a:pt x="4986" y="598"/>
                  </a:lnTo>
                  <a:lnTo>
                    <a:pt x="4959" y="584"/>
                  </a:lnTo>
                  <a:lnTo>
                    <a:pt x="4939" y="564"/>
                  </a:lnTo>
                  <a:lnTo>
                    <a:pt x="4924" y="537"/>
                  </a:lnTo>
                  <a:lnTo>
                    <a:pt x="4919" y="506"/>
                  </a:lnTo>
                  <a:lnTo>
                    <a:pt x="4919" y="398"/>
                  </a:lnTo>
                  <a:lnTo>
                    <a:pt x="4600" y="398"/>
                  </a:lnTo>
                  <a:lnTo>
                    <a:pt x="4600" y="506"/>
                  </a:lnTo>
                  <a:lnTo>
                    <a:pt x="4595" y="537"/>
                  </a:lnTo>
                  <a:lnTo>
                    <a:pt x="4581" y="564"/>
                  </a:lnTo>
                  <a:lnTo>
                    <a:pt x="4561" y="584"/>
                  </a:lnTo>
                  <a:lnTo>
                    <a:pt x="4534" y="598"/>
                  </a:lnTo>
                  <a:lnTo>
                    <a:pt x="4503" y="602"/>
                  </a:lnTo>
                  <a:lnTo>
                    <a:pt x="4473" y="598"/>
                  </a:lnTo>
                  <a:lnTo>
                    <a:pt x="4447" y="584"/>
                  </a:lnTo>
                  <a:lnTo>
                    <a:pt x="4426" y="564"/>
                  </a:lnTo>
                  <a:lnTo>
                    <a:pt x="4413" y="537"/>
                  </a:lnTo>
                  <a:lnTo>
                    <a:pt x="4408" y="506"/>
                  </a:lnTo>
                  <a:lnTo>
                    <a:pt x="4408" y="398"/>
                  </a:lnTo>
                  <a:lnTo>
                    <a:pt x="4087" y="398"/>
                  </a:lnTo>
                  <a:lnTo>
                    <a:pt x="4087" y="506"/>
                  </a:lnTo>
                  <a:lnTo>
                    <a:pt x="4082" y="537"/>
                  </a:lnTo>
                  <a:lnTo>
                    <a:pt x="4069" y="564"/>
                  </a:lnTo>
                  <a:lnTo>
                    <a:pt x="4048" y="584"/>
                  </a:lnTo>
                  <a:lnTo>
                    <a:pt x="4021" y="598"/>
                  </a:lnTo>
                  <a:lnTo>
                    <a:pt x="3992" y="602"/>
                  </a:lnTo>
                  <a:lnTo>
                    <a:pt x="3961" y="598"/>
                  </a:lnTo>
                  <a:lnTo>
                    <a:pt x="3934" y="584"/>
                  </a:lnTo>
                  <a:lnTo>
                    <a:pt x="3914" y="564"/>
                  </a:lnTo>
                  <a:lnTo>
                    <a:pt x="3900" y="537"/>
                  </a:lnTo>
                  <a:lnTo>
                    <a:pt x="3895" y="506"/>
                  </a:lnTo>
                  <a:lnTo>
                    <a:pt x="3895" y="398"/>
                  </a:lnTo>
                  <a:lnTo>
                    <a:pt x="3574" y="398"/>
                  </a:lnTo>
                  <a:lnTo>
                    <a:pt x="3574" y="506"/>
                  </a:lnTo>
                  <a:lnTo>
                    <a:pt x="3570" y="537"/>
                  </a:lnTo>
                  <a:lnTo>
                    <a:pt x="3556" y="564"/>
                  </a:lnTo>
                  <a:lnTo>
                    <a:pt x="3534" y="584"/>
                  </a:lnTo>
                  <a:lnTo>
                    <a:pt x="3509" y="598"/>
                  </a:lnTo>
                  <a:lnTo>
                    <a:pt x="3479" y="602"/>
                  </a:lnTo>
                  <a:lnTo>
                    <a:pt x="3448" y="598"/>
                  </a:lnTo>
                  <a:lnTo>
                    <a:pt x="3421" y="584"/>
                  </a:lnTo>
                  <a:lnTo>
                    <a:pt x="3401" y="564"/>
                  </a:lnTo>
                  <a:lnTo>
                    <a:pt x="3387" y="537"/>
                  </a:lnTo>
                  <a:lnTo>
                    <a:pt x="3383" y="506"/>
                  </a:lnTo>
                  <a:lnTo>
                    <a:pt x="3383" y="398"/>
                  </a:lnTo>
                  <a:lnTo>
                    <a:pt x="3063" y="398"/>
                  </a:lnTo>
                  <a:lnTo>
                    <a:pt x="3063" y="506"/>
                  </a:lnTo>
                  <a:lnTo>
                    <a:pt x="3057" y="537"/>
                  </a:lnTo>
                  <a:lnTo>
                    <a:pt x="3043" y="564"/>
                  </a:lnTo>
                  <a:lnTo>
                    <a:pt x="3023" y="584"/>
                  </a:lnTo>
                  <a:lnTo>
                    <a:pt x="2996" y="598"/>
                  </a:lnTo>
                  <a:lnTo>
                    <a:pt x="2965" y="602"/>
                  </a:lnTo>
                  <a:lnTo>
                    <a:pt x="2935" y="598"/>
                  </a:lnTo>
                  <a:lnTo>
                    <a:pt x="2910" y="584"/>
                  </a:lnTo>
                  <a:lnTo>
                    <a:pt x="2888" y="564"/>
                  </a:lnTo>
                  <a:lnTo>
                    <a:pt x="2875" y="537"/>
                  </a:lnTo>
                  <a:lnTo>
                    <a:pt x="2870" y="506"/>
                  </a:lnTo>
                  <a:lnTo>
                    <a:pt x="2870" y="398"/>
                  </a:lnTo>
                  <a:lnTo>
                    <a:pt x="2550" y="398"/>
                  </a:lnTo>
                  <a:lnTo>
                    <a:pt x="2550" y="506"/>
                  </a:lnTo>
                  <a:lnTo>
                    <a:pt x="2544" y="537"/>
                  </a:lnTo>
                  <a:lnTo>
                    <a:pt x="2532" y="564"/>
                  </a:lnTo>
                  <a:lnTo>
                    <a:pt x="2510" y="584"/>
                  </a:lnTo>
                  <a:lnTo>
                    <a:pt x="2485" y="598"/>
                  </a:lnTo>
                  <a:lnTo>
                    <a:pt x="2454" y="602"/>
                  </a:lnTo>
                  <a:lnTo>
                    <a:pt x="2424" y="598"/>
                  </a:lnTo>
                  <a:lnTo>
                    <a:pt x="2397" y="584"/>
                  </a:lnTo>
                  <a:lnTo>
                    <a:pt x="2377" y="564"/>
                  </a:lnTo>
                  <a:lnTo>
                    <a:pt x="2362" y="537"/>
                  </a:lnTo>
                  <a:lnTo>
                    <a:pt x="2357" y="506"/>
                  </a:lnTo>
                  <a:lnTo>
                    <a:pt x="2357" y="398"/>
                  </a:lnTo>
                  <a:lnTo>
                    <a:pt x="2036" y="398"/>
                  </a:lnTo>
                  <a:lnTo>
                    <a:pt x="2036" y="506"/>
                  </a:lnTo>
                  <a:lnTo>
                    <a:pt x="2033" y="537"/>
                  </a:lnTo>
                  <a:lnTo>
                    <a:pt x="2018" y="564"/>
                  </a:lnTo>
                  <a:lnTo>
                    <a:pt x="1999" y="584"/>
                  </a:lnTo>
                  <a:lnTo>
                    <a:pt x="1972" y="598"/>
                  </a:lnTo>
                  <a:lnTo>
                    <a:pt x="1941" y="602"/>
                  </a:lnTo>
                  <a:lnTo>
                    <a:pt x="1910" y="598"/>
                  </a:lnTo>
                  <a:lnTo>
                    <a:pt x="1885" y="584"/>
                  </a:lnTo>
                  <a:lnTo>
                    <a:pt x="1864" y="564"/>
                  </a:lnTo>
                  <a:lnTo>
                    <a:pt x="1849" y="537"/>
                  </a:lnTo>
                  <a:lnTo>
                    <a:pt x="1846" y="506"/>
                  </a:lnTo>
                  <a:lnTo>
                    <a:pt x="1846" y="398"/>
                  </a:lnTo>
                  <a:lnTo>
                    <a:pt x="1525" y="398"/>
                  </a:lnTo>
                  <a:lnTo>
                    <a:pt x="1525" y="506"/>
                  </a:lnTo>
                  <a:lnTo>
                    <a:pt x="1520" y="537"/>
                  </a:lnTo>
                  <a:lnTo>
                    <a:pt x="1505" y="564"/>
                  </a:lnTo>
                  <a:lnTo>
                    <a:pt x="1485" y="584"/>
                  </a:lnTo>
                  <a:lnTo>
                    <a:pt x="1458" y="598"/>
                  </a:lnTo>
                  <a:lnTo>
                    <a:pt x="1428" y="602"/>
                  </a:lnTo>
                  <a:lnTo>
                    <a:pt x="1399" y="598"/>
                  </a:lnTo>
                  <a:lnTo>
                    <a:pt x="1372" y="584"/>
                  </a:lnTo>
                  <a:lnTo>
                    <a:pt x="1350" y="564"/>
                  </a:lnTo>
                  <a:lnTo>
                    <a:pt x="1338" y="537"/>
                  </a:lnTo>
                  <a:lnTo>
                    <a:pt x="1332" y="506"/>
                  </a:lnTo>
                  <a:lnTo>
                    <a:pt x="1332" y="398"/>
                  </a:lnTo>
                  <a:lnTo>
                    <a:pt x="1012" y="398"/>
                  </a:lnTo>
                  <a:lnTo>
                    <a:pt x="1012" y="506"/>
                  </a:lnTo>
                  <a:lnTo>
                    <a:pt x="1007" y="537"/>
                  </a:lnTo>
                  <a:lnTo>
                    <a:pt x="994" y="564"/>
                  </a:lnTo>
                  <a:lnTo>
                    <a:pt x="972" y="584"/>
                  </a:lnTo>
                  <a:lnTo>
                    <a:pt x="947" y="598"/>
                  </a:lnTo>
                  <a:lnTo>
                    <a:pt x="916" y="602"/>
                  </a:lnTo>
                  <a:lnTo>
                    <a:pt x="886" y="598"/>
                  </a:lnTo>
                  <a:lnTo>
                    <a:pt x="859" y="584"/>
                  </a:lnTo>
                  <a:lnTo>
                    <a:pt x="839" y="564"/>
                  </a:lnTo>
                  <a:lnTo>
                    <a:pt x="825" y="537"/>
                  </a:lnTo>
                  <a:lnTo>
                    <a:pt x="819" y="506"/>
                  </a:lnTo>
                  <a:lnTo>
                    <a:pt x="819" y="398"/>
                  </a:lnTo>
                  <a:lnTo>
                    <a:pt x="506" y="398"/>
                  </a:lnTo>
                  <a:close/>
                  <a:moveTo>
                    <a:pt x="916" y="0"/>
                  </a:moveTo>
                  <a:lnTo>
                    <a:pt x="947" y="6"/>
                  </a:lnTo>
                  <a:lnTo>
                    <a:pt x="972" y="18"/>
                  </a:lnTo>
                  <a:lnTo>
                    <a:pt x="994" y="40"/>
                  </a:lnTo>
                  <a:lnTo>
                    <a:pt x="1007" y="65"/>
                  </a:lnTo>
                  <a:lnTo>
                    <a:pt x="1012" y="96"/>
                  </a:lnTo>
                  <a:lnTo>
                    <a:pt x="1012" y="206"/>
                  </a:lnTo>
                  <a:lnTo>
                    <a:pt x="1332" y="206"/>
                  </a:lnTo>
                  <a:lnTo>
                    <a:pt x="1332" y="96"/>
                  </a:lnTo>
                  <a:lnTo>
                    <a:pt x="1338" y="65"/>
                  </a:lnTo>
                  <a:lnTo>
                    <a:pt x="1350" y="40"/>
                  </a:lnTo>
                  <a:lnTo>
                    <a:pt x="1372" y="18"/>
                  </a:lnTo>
                  <a:lnTo>
                    <a:pt x="1399" y="6"/>
                  </a:lnTo>
                  <a:lnTo>
                    <a:pt x="1428" y="0"/>
                  </a:lnTo>
                  <a:lnTo>
                    <a:pt x="1458" y="6"/>
                  </a:lnTo>
                  <a:lnTo>
                    <a:pt x="1485" y="18"/>
                  </a:lnTo>
                  <a:lnTo>
                    <a:pt x="1505" y="40"/>
                  </a:lnTo>
                  <a:lnTo>
                    <a:pt x="1520" y="65"/>
                  </a:lnTo>
                  <a:lnTo>
                    <a:pt x="1525" y="96"/>
                  </a:lnTo>
                  <a:lnTo>
                    <a:pt x="1525" y="206"/>
                  </a:lnTo>
                  <a:lnTo>
                    <a:pt x="1846" y="206"/>
                  </a:lnTo>
                  <a:lnTo>
                    <a:pt x="1846" y="96"/>
                  </a:lnTo>
                  <a:lnTo>
                    <a:pt x="1849" y="65"/>
                  </a:lnTo>
                  <a:lnTo>
                    <a:pt x="1864" y="40"/>
                  </a:lnTo>
                  <a:lnTo>
                    <a:pt x="1885" y="18"/>
                  </a:lnTo>
                  <a:lnTo>
                    <a:pt x="1910" y="6"/>
                  </a:lnTo>
                  <a:lnTo>
                    <a:pt x="1941" y="0"/>
                  </a:lnTo>
                  <a:lnTo>
                    <a:pt x="1972" y="6"/>
                  </a:lnTo>
                  <a:lnTo>
                    <a:pt x="1999" y="18"/>
                  </a:lnTo>
                  <a:lnTo>
                    <a:pt x="2018" y="40"/>
                  </a:lnTo>
                  <a:lnTo>
                    <a:pt x="2033" y="65"/>
                  </a:lnTo>
                  <a:lnTo>
                    <a:pt x="2036" y="96"/>
                  </a:lnTo>
                  <a:lnTo>
                    <a:pt x="2036" y="206"/>
                  </a:lnTo>
                  <a:lnTo>
                    <a:pt x="2357" y="206"/>
                  </a:lnTo>
                  <a:lnTo>
                    <a:pt x="2357" y="96"/>
                  </a:lnTo>
                  <a:lnTo>
                    <a:pt x="2362" y="65"/>
                  </a:lnTo>
                  <a:lnTo>
                    <a:pt x="2377" y="40"/>
                  </a:lnTo>
                  <a:lnTo>
                    <a:pt x="2397" y="18"/>
                  </a:lnTo>
                  <a:lnTo>
                    <a:pt x="2424" y="6"/>
                  </a:lnTo>
                  <a:lnTo>
                    <a:pt x="2454" y="0"/>
                  </a:lnTo>
                  <a:lnTo>
                    <a:pt x="2485" y="6"/>
                  </a:lnTo>
                  <a:lnTo>
                    <a:pt x="2510" y="18"/>
                  </a:lnTo>
                  <a:lnTo>
                    <a:pt x="2532" y="40"/>
                  </a:lnTo>
                  <a:lnTo>
                    <a:pt x="2544" y="65"/>
                  </a:lnTo>
                  <a:lnTo>
                    <a:pt x="2550" y="96"/>
                  </a:lnTo>
                  <a:lnTo>
                    <a:pt x="2550" y="206"/>
                  </a:lnTo>
                  <a:lnTo>
                    <a:pt x="2870" y="206"/>
                  </a:lnTo>
                  <a:lnTo>
                    <a:pt x="2870" y="96"/>
                  </a:lnTo>
                  <a:lnTo>
                    <a:pt x="2875" y="65"/>
                  </a:lnTo>
                  <a:lnTo>
                    <a:pt x="2888" y="40"/>
                  </a:lnTo>
                  <a:lnTo>
                    <a:pt x="2910" y="18"/>
                  </a:lnTo>
                  <a:lnTo>
                    <a:pt x="2935" y="6"/>
                  </a:lnTo>
                  <a:lnTo>
                    <a:pt x="2965" y="0"/>
                  </a:lnTo>
                  <a:lnTo>
                    <a:pt x="2996" y="6"/>
                  </a:lnTo>
                  <a:lnTo>
                    <a:pt x="3023" y="18"/>
                  </a:lnTo>
                  <a:lnTo>
                    <a:pt x="3043" y="40"/>
                  </a:lnTo>
                  <a:lnTo>
                    <a:pt x="3057" y="65"/>
                  </a:lnTo>
                  <a:lnTo>
                    <a:pt x="3063" y="96"/>
                  </a:lnTo>
                  <a:lnTo>
                    <a:pt x="3063" y="206"/>
                  </a:lnTo>
                  <a:lnTo>
                    <a:pt x="3383" y="206"/>
                  </a:lnTo>
                  <a:lnTo>
                    <a:pt x="3383" y="96"/>
                  </a:lnTo>
                  <a:lnTo>
                    <a:pt x="3387" y="65"/>
                  </a:lnTo>
                  <a:lnTo>
                    <a:pt x="3401" y="40"/>
                  </a:lnTo>
                  <a:lnTo>
                    <a:pt x="3421" y="18"/>
                  </a:lnTo>
                  <a:lnTo>
                    <a:pt x="3448" y="6"/>
                  </a:lnTo>
                  <a:lnTo>
                    <a:pt x="3479" y="0"/>
                  </a:lnTo>
                  <a:lnTo>
                    <a:pt x="3509" y="6"/>
                  </a:lnTo>
                  <a:lnTo>
                    <a:pt x="3534" y="18"/>
                  </a:lnTo>
                  <a:lnTo>
                    <a:pt x="3556" y="40"/>
                  </a:lnTo>
                  <a:lnTo>
                    <a:pt x="3570" y="65"/>
                  </a:lnTo>
                  <a:lnTo>
                    <a:pt x="3574" y="96"/>
                  </a:lnTo>
                  <a:lnTo>
                    <a:pt x="3574" y="206"/>
                  </a:lnTo>
                  <a:lnTo>
                    <a:pt x="3895" y="206"/>
                  </a:lnTo>
                  <a:lnTo>
                    <a:pt x="3895" y="96"/>
                  </a:lnTo>
                  <a:lnTo>
                    <a:pt x="3900" y="65"/>
                  </a:lnTo>
                  <a:lnTo>
                    <a:pt x="3914" y="40"/>
                  </a:lnTo>
                  <a:lnTo>
                    <a:pt x="3934" y="18"/>
                  </a:lnTo>
                  <a:lnTo>
                    <a:pt x="3961" y="6"/>
                  </a:lnTo>
                  <a:lnTo>
                    <a:pt x="3992" y="0"/>
                  </a:lnTo>
                  <a:lnTo>
                    <a:pt x="4021" y="6"/>
                  </a:lnTo>
                  <a:lnTo>
                    <a:pt x="4048" y="18"/>
                  </a:lnTo>
                  <a:lnTo>
                    <a:pt x="4069" y="40"/>
                  </a:lnTo>
                  <a:lnTo>
                    <a:pt x="4082" y="65"/>
                  </a:lnTo>
                  <a:lnTo>
                    <a:pt x="4087" y="96"/>
                  </a:lnTo>
                  <a:lnTo>
                    <a:pt x="4087" y="206"/>
                  </a:lnTo>
                  <a:lnTo>
                    <a:pt x="4408" y="206"/>
                  </a:lnTo>
                  <a:lnTo>
                    <a:pt x="4408" y="96"/>
                  </a:lnTo>
                  <a:lnTo>
                    <a:pt x="4413" y="65"/>
                  </a:lnTo>
                  <a:lnTo>
                    <a:pt x="4426" y="40"/>
                  </a:lnTo>
                  <a:lnTo>
                    <a:pt x="4447" y="18"/>
                  </a:lnTo>
                  <a:lnTo>
                    <a:pt x="4473" y="6"/>
                  </a:lnTo>
                  <a:lnTo>
                    <a:pt x="4503" y="0"/>
                  </a:lnTo>
                  <a:lnTo>
                    <a:pt x="4534" y="6"/>
                  </a:lnTo>
                  <a:lnTo>
                    <a:pt x="4561" y="18"/>
                  </a:lnTo>
                  <a:lnTo>
                    <a:pt x="4581" y="40"/>
                  </a:lnTo>
                  <a:lnTo>
                    <a:pt x="4595" y="65"/>
                  </a:lnTo>
                  <a:lnTo>
                    <a:pt x="4600" y="96"/>
                  </a:lnTo>
                  <a:lnTo>
                    <a:pt x="4600" y="206"/>
                  </a:lnTo>
                  <a:lnTo>
                    <a:pt x="4919" y="206"/>
                  </a:lnTo>
                  <a:lnTo>
                    <a:pt x="4919" y="96"/>
                  </a:lnTo>
                  <a:lnTo>
                    <a:pt x="4924" y="65"/>
                  </a:lnTo>
                  <a:lnTo>
                    <a:pt x="4939" y="40"/>
                  </a:lnTo>
                  <a:lnTo>
                    <a:pt x="4959" y="18"/>
                  </a:lnTo>
                  <a:lnTo>
                    <a:pt x="4986" y="6"/>
                  </a:lnTo>
                  <a:lnTo>
                    <a:pt x="5016" y="0"/>
                  </a:lnTo>
                  <a:lnTo>
                    <a:pt x="5047" y="6"/>
                  </a:lnTo>
                  <a:lnTo>
                    <a:pt x="5072" y="18"/>
                  </a:lnTo>
                  <a:lnTo>
                    <a:pt x="5094" y="40"/>
                  </a:lnTo>
                  <a:lnTo>
                    <a:pt x="5108" y="65"/>
                  </a:lnTo>
                  <a:lnTo>
                    <a:pt x="5112" y="96"/>
                  </a:lnTo>
                  <a:lnTo>
                    <a:pt x="5112" y="206"/>
                  </a:lnTo>
                  <a:lnTo>
                    <a:pt x="5427" y="206"/>
                  </a:lnTo>
                  <a:lnTo>
                    <a:pt x="5501" y="211"/>
                  </a:lnTo>
                  <a:lnTo>
                    <a:pt x="5573" y="227"/>
                  </a:lnTo>
                  <a:lnTo>
                    <a:pt x="5639" y="252"/>
                  </a:lnTo>
                  <a:lnTo>
                    <a:pt x="5702" y="287"/>
                  </a:lnTo>
                  <a:lnTo>
                    <a:pt x="5758" y="330"/>
                  </a:lnTo>
                  <a:lnTo>
                    <a:pt x="5809" y="380"/>
                  </a:lnTo>
                  <a:lnTo>
                    <a:pt x="5850" y="436"/>
                  </a:lnTo>
                  <a:lnTo>
                    <a:pt x="5884" y="497"/>
                  </a:lnTo>
                  <a:lnTo>
                    <a:pt x="5911" y="566"/>
                  </a:lnTo>
                  <a:lnTo>
                    <a:pt x="5927" y="636"/>
                  </a:lnTo>
                  <a:lnTo>
                    <a:pt x="5933" y="711"/>
                  </a:lnTo>
                  <a:lnTo>
                    <a:pt x="5933" y="4400"/>
                  </a:lnTo>
                  <a:lnTo>
                    <a:pt x="5927" y="4476"/>
                  </a:lnTo>
                  <a:lnTo>
                    <a:pt x="5911" y="4546"/>
                  </a:lnTo>
                  <a:lnTo>
                    <a:pt x="5884" y="4614"/>
                  </a:lnTo>
                  <a:lnTo>
                    <a:pt x="5850" y="4675"/>
                  </a:lnTo>
                  <a:lnTo>
                    <a:pt x="5809" y="4733"/>
                  </a:lnTo>
                  <a:lnTo>
                    <a:pt x="5758" y="4782"/>
                  </a:lnTo>
                  <a:lnTo>
                    <a:pt x="5702" y="4825"/>
                  </a:lnTo>
                  <a:lnTo>
                    <a:pt x="5639" y="4859"/>
                  </a:lnTo>
                  <a:lnTo>
                    <a:pt x="5573" y="4884"/>
                  </a:lnTo>
                  <a:lnTo>
                    <a:pt x="5501" y="4901"/>
                  </a:lnTo>
                  <a:lnTo>
                    <a:pt x="5427" y="4906"/>
                  </a:lnTo>
                  <a:lnTo>
                    <a:pt x="4321" y="4906"/>
                  </a:lnTo>
                  <a:lnTo>
                    <a:pt x="4264" y="5009"/>
                  </a:lnTo>
                  <a:lnTo>
                    <a:pt x="4197" y="5106"/>
                  </a:lnTo>
                  <a:lnTo>
                    <a:pt x="4123" y="5196"/>
                  </a:lnTo>
                  <a:lnTo>
                    <a:pt x="4044" y="5282"/>
                  </a:lnTo>
                  <a:lnTo>
                    <a:pt x="3958" y="5361"/>
                  </a:lnTo>
                  <a:lnTo>
                    <a:pt x="3866" y="5433"/>
                  </a:lnTo>
                  <a:lnTo>
                    <a:pt x="3769" y="5498"/>
                  </a:lnTo>
                  <a:lnTo>
                    <a:pt x="3666" y="5558"/>
                  </a:lnTo>
                  <a:lnTo>
                    <a:pt x="3558" y="5608"/>
                  </a:lnTo>
                  <a:lnTo>
                    <a:pt x="3446" y="5649"/>
                  </a:lnTo>
                  <a:lnTo>
                    <a:pt x="3331" y="5682"/>
                  </a:lnTo>
                  <a:lnTo>
                    <a:pt x="3212" y="5707"/>
                  </a:lnTo>
                  <a:lnTo>
                    <a:pt x="3092" y="5721"/>
                  </a:lnTo>
                  <a:lnTo>
                    <a:pt x="2965" y="5727"/>
                  </a:lnTo>
                  <a:lnTo>
                    <a:pt x="2841" y="5721"/>
                  </a:lnTo>
                  <a:lnTo>
                    <a:pt x="2719" y="5707"/>
                  </a:lnTo>
                  <a:lnTo>
                    <a:pt x="2600" y="5682"/>
                  </a:lnTo>
                  <a:lnTo>
                    <a:pt x="2485" y="5649"/>
                  </a:lnTo>
                  <a:lnTo>
                    <a:pt x="2373" y="5608"/>
                  </a:lnTo>
                  <a:lnTo>
                    <a:pt x="2267" y="5558"/>
                  </a:lnTo>
                  <a:lnTo>
                    <a:pt x="2164" y="5498"/>
                  </a:lnTo>
                  <a:lnTo>
                    <a:pt x="2067" y="5433"/>
                  </a:lnTo>
                  <a:lnTo>
                    <a:pt x="1975" y="5361"/>
                  </a:lnTo>
                  <a:lnTo>
                    <a:pt x="1889" y="5282"/>
                  </a:lnTo>
                  <a:lnTo>
                    <a:pt x="1810" y="5196"/>
                  </a:lnTo>
                  <a:lnTo>
                    <a:pt x="1736" y="5106"/>
                  </a:lnTo>
                  <a:lnTo>
                    <a:pt x="1669" y="5009"/>
                  </a:lnTo>
                  <a:lnTo>
                    <a:pt x="1610" y="4906"/>
                  </a:lnTo>
                  <a:lnTo>
                    <a:pt x="506" y="4906"/>
                  </a:lnTo>
                  <a:lnTo>
                    <a:pt x="432" y="4901"/>
                  </a:lnTo>
                  <a:lnTo>
                    <a:pt x="360" y="4884"/>
                  </a:lnTo>
                  <a:lnTo>
                    <a:pt x="293" y="4859"/>
                  </a:lnTo>
                  <a:lnTo>
                    <a:pt x="230" y="4825"/>
                  </a:lnTo>
                  <a:lnTo>
                    <a:pt x="175" y="4782"/>
                  </a:lnTo>
                  <a:lnTo>
                    <a:pt x="124" y="4733"/>
                  </a:lnTo>
                  <a:lnTo>
                    <a:pt x="81" y="4675"/>
                  </a:lnTo>
                  <a:lnTo>
                    <a:pt x="47" y="4614"/>
                  </a:lnTo>
                  <a:lnTo>
                    <a:pt x="22" y="4546"/>
                  </a:lnTo>
                  <a:lnTo>
                    <a:pt x="5" y="4476"/>
                  </a:lnTo>
                  <a:lnTo>
                    <a:pt x="0" y="4400"/>
                  </a:lnTo>
                  <a:lnTo>
                    <a:pt x="0" y="711"/>
                  </a:lnTo>
                  <a:lnTo>
                    <a:pt x="5" y="636"/>
                  </a:lnTo>
                  <a:lnTo>
                    <a:pt x="22" y="566"/>
                  </a:lnTo>
                  <a:lnTo>
                    <a:pt x="47" y="497"/>
                  </a:lnTo>
                  <a:lnTo>
                    <a:pt x="81" y="436"/>
                  </a:lnTo>
                  <a:lnTo>
                    <a:pt x="124" y="380"/>
                  </a:lnTo>
                  <a:lnTo>
                    <a:pt x="175" y="330"/>
                  </a:lnTo>
                  <a:lnTo>
                    <a:pt x="230" y="287"/>
                  </a:lnTo>
                  <a:lnTo>
                    <a:pt x="293" y="252"/>
                  </a:lnTo>
                  <a:lnTo>
                    <a:pt x="360" y="227"/>
                  </a:lnTo>
                  <a:lnTo>
                    <a:pt x="432" y="211"/>
                  </a:lnTo>
                  <a:lnTo>
                    <a:pt x="506" y="206"/>
                  </a:lnTo>
                  <a:lnTo>
                    <a:pt x="819" y="206"/>
                  </a:lnTo>
                  <a:lnTo>
                    <a:pt x="819" y="96"/>
                  </a:lnTo>
                  <a:lnTo>
                    <a:pt x="825" y="65"/>
                  </a:lnTo>
                  <a:lnTo>
                    <a:pt x="839" y="40"/>
                  </a:lnTo>
                  <a:lnTo>
                    <a:pt x="859" y="18"/>
                  </a:lnTo>
                  <a:lnTo>
                    <a:pt x="886" y="6"/>
                  </a:lnTo>
                  <a:lnTo>
                    <a:pt x="91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ES" sz="1800"/>
            </a:p>
          </p:txBody>
        </p:sp>
        <p:sp>
          <p:nvSpPr>
            <p:cNvPr id="11" name="Freeform 7"/>
            <p:cNvSpPr>
              <a:spLocks/>
            </p:cNvSpPr>
            <p:nvPr/>
          </p:nvSpPr>
          <p:spPr bwMode="auto">
            <a:xfrm>
              <a:off x="11328449" y="2414563"/>
              <a:ext cx="476250" cy="152400"/>
            </a:xfrm>
            <a:custGeom>
              <a:avLst/>
              <a:gdLst/>
              <a:ahLst/>
              <a:cxnLst>
                <a:cxn ang="0">
                  <a:pos x="95" y="0"/>
                </a:cxn>
                <a:cxn ang="0">
                  <a:pos x="506" y="0"/>
                </a:cxn>
                <a:cxn ang="0">
                  <a:pos x="537" y="6"/>
                </a:cxn>
                <a:cxn ang="0">
                  <a:pos x="564" y="20"/>
                </a:cxn>
                <a:cxn ang="0">
                  <a:pos x="583" y="40"/>
                </a:cxn>
                <a:cxn ang="0">
                  <a:pos x="598" y="67"/>
                </a:cxn>
                <a:cxn ang="0">
                  <a:pos x="601" y="97"/>
                </a:cxn>
                <a:cxn ang="0">
                  <a:pos x="598" y="128"/>
                </a:cxn>
                <a:cxn ang="0">
                  <a:pos x="583" y="153"/>
                </a:cxn>
                <a:cxn ang="0">
                  <a:pos x="564" y="175"/>
                </a:cxn>
                <a:cxn ang="0">
                  <a:pos x="537" y="187"/>
                </a:cxn>
                <a:cxn ang="0">
                  <a:pos x="506" y="193"/>
                </a:cxn>
                <a:cxn ang="0">
                  <a:pos x="95" y="193"/>
                </a:cxn>
                <a:cxn ang="0">
                  <a:pos x="65" y="187"/>
                </a:cxn>
                <a:cxn ang="0">
                  <a:pos x="40" y="175"/>
                </a:cxn>
                <a:cxn ang="0">
                  <a:pos x="18" y="153"/>
                </a:cxn>
                <a:cxn ang="0">
                  <a:pos x="5" y="128"/>
                </a:cxn>
                <a:cxn ang="0">
                  <a:pos x="0" y="97"/>
                </a:cxn>
                <a:cxn ang="0">
                  <a:pos x="5" y="67"/>
                </a:cxn>
                <a:cxn ang="0">
                  <a:pos x="18" y="40"/>
                </a:cxn>
                <a:cxn ang="0">
                  <a:pos x="40" y="20"/>
                </a:cxn>
                <a:cxn ang="0">
                  <a:pos x="65" y="6"/>
                </a:cxn>
                <a:cxn ang="0">
                  <a:pos x="95" y="0"/>
                </a:cxn>
              </a:cxnLst>
              <a:rect l="0" t="0" r="r" b="b"/>
              <a:pathLst>
                <a:path w="601" h="193">
                  <a:moveTo>
                    <a:pt x="95" y="0"/>
                  </a:moveTo>
                  <a:lnTo>
                    <a:pt x="506" y="0"/>
                  </a:lnTo>
                  <a:lnTo>
                    <a:pt x="537" y="6"/>
                  </a:lnTo>
                  <a:lnTo>
                    <a:pt x="564" y="20"/>
                  </a:lnTo>
                  <a:lnTo>
                    <a:pt x="583" y="40"/>
                  </a:lnTo>
                  <a:lnTo>
                    <a:pt x="598" y="67"/>
                  </a:lnTo>
                  <a:lnTo>
                    <a:pt x="601" y="97"/>
                  </a:lnTo>
                  <a:lnTo>
                    <a:pt x="598" y="128"/>
                  </a:lnTo>
                  <a:lnTo>
                    <a:pt x="583" y="153"/>
                  </a:lnTo>
                  <a:lnTo>
                    <a:pt x="564" y="175"/>
                  </a:lnTo>
                  <a:lnTo>
                    <a:pt x="537" y="187"/>
                  </a:lnTo>
                  <a:lnTo>
                    <a:pt x="506" y="193"/>
                  </a:lnTo>
                  <a:lnTo>
                    <a:pt x="95" y="193"/>
                  </a:lnTo>
                  <a:lnTo>
                    <a:pt x="65" y="187"/>
                  </a:lnTo>
                  <a:lnTo>
                    <a:pt x="40" y="175"/>
                  </a:lnTo>
                  <a:lnTo>
                    <a:pt x="18" y="153"/>
                  </a:lnTo>
                  <a:lnTo>
                    <a:pt x="5" y="128"/>
                  </a:lnTo>
                  <a:lnTo>
                    <a:pt x="0" y="97"/>
                  </a:lnTo>
                  <a:lnTo>
                    <a:pt x="5" y="67"/>
                  </a:lnTo>
                  <a:lnTo>
                    <a:pt x="18" y="40"/>
                  </a:lnTo>
                  <a:lnTo>
                    <a:pt x="40" y="20"/>
                  </a:lnTo>
                  <a:lnTo>
                    <a:pt x="65" y="6"/>
                  </a:lnTo>
                  <a:lnTo>
                    <a:pt x="9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ES" sz="1800"/>
            </a:p>
          </p:txBody>
        </p:sp>
        <p:sp>
          <p:nvSpPr>
            <p:cNvPr id="13" name="Freeform 8"/>
            <p:cNvSpPr>
              <a:spLocks/>
            </p:cNvSpPr>
            <p:nvPr/>
          </p:nvSpPr>
          <p:spPr bwMode="auto">
            <a:xfrm>
              <a:off x="10677574" y="2414563"/>
              <a:ext cx="477838" cy="152400"/>
            </a:xfrm>
            <a:custGeom>
              <a:avLst/>
              <a:gdLst/>
              <a:ahLst/>
              <a:cxnLst>
                <a:cxn ang="0">
                  <a:pos x="95" y="0"/>
                </a:cxn>
                <a:cxn ang="0">
                  <a:pos x="506" y="0"/>
                </a:cxn>
                <a:cxn ang="0">
                  <a:pos x="536" y="6"/>
                </a:cxn>
                <a:cxn ang="0">
                  <a:pos x="562" y="20"/>
                </a:cxn>
                <a:cxn ang="0">
                  <a:pos x="583" y="40"/>
                </a:cxn>
                <a:cxn ang="0">
                  <a:pos x="596" y="67"/>
                </a:cxn>
                <a:cxn ang="0">
                  <a:pos x="601" y="97"/>
                </a:cxn>
                <a:cxn ang="0">
                  <a:pos x="596" y="128"/>
                </a:cxn>
                <a:cxn ang="0">
                  <a:pos x="583" y="153"/>
                </a:cxn>
                <a:cxn ang="0">
                  <a:pos x="562" y="175"/>
                </a:cxn>
                <a:cxn ang="0">
                  <a:pos x="536" y="187"/>
                </a:cxn>
                <a:cxn ang="0">
                  <a:pos x="506" y="193"/>
                </a:cxn>
                <a:cxn ang="0">
                  <a:pos x="95" y="193"/>
                </a:cxn>
                <a:cxn ang="0">
                  <a:pos x="65" y="187"/>
                </a:cxn>
                <a:cxn ang="0">
                  <a:pos x="38" y="175"/>
                </a:cxn>
                <a:cxn ang="0">
                  <a:pos x="18" y="153"/>
                </a:cxn>
                <a:cxn ang="0">
                  <a:pos x="3" y="128"/>
                </a:cxn>
                <a:cxn ang="0">
                  <a:pos x="0" y="97"/>
                </a:cxn>
                <a:cxn ang="0">
                  <a:pos x="3" y="67"/>
                </a:cxn>
                <a:cxn ang="0">
                  <a:pos x="18" y="40"/>
                </a:cxn>
                <a:cxn ang="0">
                  <a:pos x="38" y="20"/>
                </a:cxn>
                <a:cxn ang="0">
                  <a:pos x="65" y="6"/>
                </a:cxn>
                <a:cxn ang="0">
                  <a:pos x="95" y="0"/>
                </a:cxn>
              </a:cxnLst>
              <a:rect l="0" t="0" r="r" b="b"/>
              <a:pathLst>
                <a:path w="601" h="193">
                  <a:moveTo>
                    <a:pt x="95" y="0"/>
                  </a:moveTo>
                  <a:lnTo>
                    <a:pt x="506" y="0"/>
                  </a:lnTo>
                  <a:lnTo>
                    <a:pt x="536" y="6"/>
                  </a:lnTo>
                  <a:lnTo>
                    <a:pt x="562" y="20"/>
                  </a:lnTo>
                  <a:lnTo>
                    <a:pt x="583" y="40"/>
                  </a:lnTo>
                  <a:lnTo>
                    <a:pt x="596" y="67"/>
                  </a:lnTo>
                  <a:lnTo>
                    <a:pt x="601" y="97"/>
                  </a:lnTo>
                  <a:lnTo>
                    <a:pt x="596" y="128"/>
                  </a:lnTo>
                  <a:lnTo>
                    <a:pt x="583" y="153"/>
                  </a:lnTo>
                  <a:lnTo>
                    <a:pt x="562" y="175"/>
                  </a:lnTo>
                  <a:lnTo>
                    <a:pt x="536" y="187"/>
                  </a:lnTo>
                  <a:lnTo>
                    <a:pt x="506" y="193"/>
                  </a:lnTo>
                  <a:lnTo>
                    <a:pt x="95" y="193"/>
                  </a:lnTo>
                  <a:lnTo>
                    <a:pt x="65" y="187"/>
                  </a:lnTo>
                  <a:lnTo>
                    <a:pt x="38" y="175"/>
                  </a:lnTo>
                  <a:lnTo>
                    <a:pt x="18" y="153"/>
                  </a:lnTo>
                  <a:lnTo>
                    <a:pt x="3" y="128"/>
                  </a:lnTo>
                  <a:lnTo>
                    <a:pt x="0" y="97"/>
                  </a:lnTo>
                  <a:lnTo>
                    <a:pt x="3" y="67"/>
                  </a:lnTo>
                  <a:lnTo>
                    <a:pt x="18" y="40"/>
                  </a:lnTo>
                  <a:lnTo>
                    <a:pt x="38" y="20"/>
                  </a:lnTo>
                  <a:lnTo>
                    <a:pt x="65" y="6"/>
                  </a:lnTo>
                  <a:lnTo>
                    <a:pt x="9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ES" sz="1800"/>
            </a:p>
          </p:txBody>
        </p:sp>
        <p:sp>
          <p:nvSpPr>
            <p:cNvPr id="14" name="Freeform 9"/>
            <p:cNvSpPr>
              <a:spLocks/>
            </p:cNvSpPr>
            <p:nvPr/>
          </p:nvSpPr>
          <p:spPr bwMode="auto">
            <a:xfrm>
              <a:off x="11977737" y="2414563"/>
              <a:ext cx="479425" cy="152400"/>
            </a:xfrm>
            <a:custGeom>
              <a:avLst/>
              <a:gdLst/>
              <a:ahLst/>
              <a:cxnLst>
                <a:cxn ang="0">
                  <a:pos x="98" y="0"/>
                </a:cxn>
                <a:cxn ang="0">
                  <a:pos x="506" y="0"/>
                </a:cxn>
                <a:cxn ang="0">
                  <a:pos x="537" y="6"/>
                </a:cxn>
                <a:cxn ang="0">
                  <a:pos x="564" y="20"/>
                </a:cxn>
                <a:cxn ang="0">
                  <a:pos x="585" y="40"/>
                </a:cxn>
                <a:cxn ang="0">
                  <a:pos x="598" y="67"/>
                </a:cxn>
                <a:cxn ang="0">
                  <a:pos x="603" y="97"/>
                </a:cxn>
                <a:cxn ang="0">
                  <a:pos x="598" y="128"/>
                </a:cxn>
                <a:cxn ang="0">
                  <a:pos x="585" y="153"/>
                </a:cxn>
                <a:cxn ang="0">
                  <a:pos x="564" y="175"/>
                </a:cxn>
                <a:cxn ang="0">
                  <a:pos x="537" y="187"/>
                </a:cxn>
                <a:cxn ang="0">
                  <a:pos x="506" y="193"/>
                </a:cxn>
                <a:cxn ang="0">
                  <a:pos x="98" y="193"/>
                </a:cxn>
                <a:cxn ang="0">
                  <a:pos x="67" y="187"/>
                </a:cxn>
                <a:cxn ang="0">
                  <a:pos x="40" y="175"/>
                </a:cxn>
                <a:cxn ang="0">
                  <a:pos x="20" y="153"/>
                </a:cxn>
                <a:cxn ang="0">
                  <a:pos x="6" y="128"/>
                </a:cxn>
                <a:cxn ang="0">
                  <a:pos x="0" y="97"/>
                </a:cxn>
                <a:cxn ang="0">
                  <a:pos x="6" y="67"/>
                </a:cxn>
                <a:cxn ang="0">
                  <a:pos x="20" y="40"/>
                </a:cxn>
                <a:cxn ang="0">
                  <a:pos x="40" y="20"/>
                </a:cxn>
                <a:cxn ang="0">
                  <a:pos x="67" y="6"/>
                </a:cxn>
                <a:cxn ang="0">
                  <a:pos x="98" y="0"/>
                </a:cxn>
              </a:cxnLst>
              <a:rect l="0" t="0" r="r" b="b"/>
              <a:pathLst>
                <a:path w="603" h="193">
                  <a:moveTo>
                    <a:pt x="98" y="0"/>
                  </a:moveTo>
                  <a:lnTo>
                    <a:pt x="506" y="0"/>
                  </a:lnTo>
                  <a:lnTo>
                    <a:pt x="537" y="6"/>
                  </a:lnTo>
                  <a:lnTo>
                    <a:pt x="564" y="20"/>
                  </a:lnTo>
                  <a:lnTo>
                    <a:pt x="585" y="40"/>
                  </a:lnTo>
                  <a:lnTo>
                    <a:pt x="598" y="67"/>
                  </a:lnTo>
                  <a:lnTo>
                    <a:pt x="603" y="97"/>
                  </a:lnTo>
                  <a:lnTo>
                    <a:pt x="598" y="128"/>
                  </a:lnTo>
                  <a:lnTo>
                    <a:pt x="585" y="153"/>
                  </a:lnTo>
                  <a:lnTo>
                    <a:pt x="564" y="175"/>
                  </a:lnTo>
                  <a:lnTo>
                    <a:pt x="537" y="187"/>
                  </a:lnTo>
                  <a:lnTo>
                    <a:pt x="506" y="193"/>
                  </a:lnTo>
                  <a:lnTo>
                    <a:pt x="98" y="193"/>
                  </a:lnTo>
                  <a:lnTo>
                    <a:pt x="67" y="187"/>
                  </a:lnTo>
                  <a:lnTo>
                    <a:pt x="40" y="175"/>
                  </a:lnTo>
                  <a:lnTo>
                    <a:pt x="20" y="153"/>
                  </a:lnTo>
                  <a:lnTo>
                    <a:pt x="6" y="128"/>
                  </a:lnTo>
                  <a:lnTo>
                    <a:pt x="0" y="97"/>
                  </a:lnTo>
                  <a:lnTo>
                    <a:pt x="6" y="67"/>
                  </a:lnTo>
                  <a:lnTo>
                    <a:pt x="20" y="40"/>
                  </a:lnTo>
                  <a:lnTo>
                    <a:pt x="40" y="20"/>
                  </a:lnTo>
                  <a:lnTo>
                    <a:pt x="67" y="6"/>
                  </a:lnTo>
                  <a:lnTo>
                    <a:pt x="9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ES" sz="1800"/>
            </a:p>
          </p:txBody>
        </p:sp>
        <p:sp>
          <p:nvSpPr>
            <p:cNvPr id="15" name="Freeform 10"/>
            <p:cNvSpPr>
              <a:spLocks/>
            </p:cNvSpPr>
            <p:nvPr/>
          </p:nvSpPr>
          <p:spPr bwMode="auto">
            <a:xfrm>
              <a:off x="13279487" y="2414563"/>
              <a:ext cx="479425" cy="152400"/>
            </a:xfrm>
            <a:custGeom>
              <a:avLst/>
              <a:gdLst/>
              <a:ahLst/>
              <a:cxnLst>
                <a:cxn ang="0">
                  <a:pos x="97" y="0"/>
                </a:cxn>
                <a:cxn ang="0">
                  <a:pos x="506" y="0"/>
                </a:cxn>
                <a:cxn ang="0">
                  <a:pos x="536" y="6"/>
                </a:cxn>
                <a:cxn ang="0">
                  <a:pos x="563" y="20"/>
                </a:cxn>
                <a:cxn ang="0">
                  <a:pos x="583" y="40"/>
                </a:cxn>
                <a:cxn ang="0">
                  <a:pos x="597" y="67"/>
                </a:cxn>
                <a:cxn ang="0">
                  <a:pos x="603" y="97"/>
                </a:cxn>
                <a:cxn ang="0">
                  <a:pos x="597" y="128"/>
                </a:cxn>
                <a:cxn ang="0">
                  <a:pos x="583" y="153"/>
                </a:cxn>
                <a:cxn ang="0">
                  <a:pos x="563" y="175"/>
                </a:cxn>
                <a:cxn ang="0">
                  <a:pos x="536" y="187"/>
                </a:cxn>
                <a:cxn ang="0">
                  <a:pos x="506" y="193"/>
                </a:cxn>
                <a:cxn ang="0">
                  <a:pos x="97" y="193"/>
                </a:cxn>
                <a:cxn ang="0">
                  <a:pos x="66" y="187"/>
                </a:cxn>
                <a:cxn ang="0">
                  <a:pos x="39" y="175"/>
                </a:cxn>
                <a:cxn ang="0">
                  <a:pos x="19" y="153"/>
                </a:cxn>
                <a:cxn ang="0">
                  <a:pos x="5" y="128"/>
                </a:cxn>
                <a:cxn ang="0">
                  <a:pos x="0" y="97"/>
                </a:cxn>
                <a:cxn ang="0">
                  <a:pos x="5" y="67"/>
                </a:cxn>
                <a:cxn ang="0">
                  <a:pos x="19" y="40"/>
                </a:cxn>
                <a:cxn ang="0">
                  <a:pos x="39" y="20"/>
                </a:cxn>
                <a:cxn ang="0">
                  <a:pos x="66" y="6"/>
                </a:cxn>
                <a:cxn ang="0">
                  <a:pos x="97" y="0"/>
                </a:cxn>
              </a:cxnLst>
              <a:rect l="0" t="0" r="r" b="b"/>
              <a:pathLst>
                <a:path w="603" h="193">
                  <a:moveTo>
                    <a:pt x="97" y="0"/>
                  </a:moveTo>
                  <a:lnTo>
                    <a:pt x="506" y="0"/>
                  </a:lnTo>
                  <a:lnTo>
                    <a:pt x="536" y="6"/>
                  </a:lnTo>
                  <a:lnTo>
                    <a:pt x="563" y="20"/>
                  </a:lnTo>
                  <a:lnTo>
                    <a:pt x="583" y="40"/>
                  </a:lnTo>
                  <a:lnTo>
                    <a:pt x="597" y="67"/>
                  </a:lnTo>
                  <a:lnTo>
                    <a:pt x="603" y="97"/>
                  </a:lnTo>
                  <a:lnTo>
                    <a:pt x="597" y="128"/>
                  </a:lnTo>
                  <a:lnTo>
                    <a:pt x="583" y="153"/>
                  </a:lnTo>
                  <a:lnTo>
                    <a:pt x="563" y="175"/>
                  </a:lnTo>
                  <a:lnTo>
                    <a:pt x="536" y="187"/>
                  </a:lnTo>
                  <a:lnTo>
                    <a:pt x="506" y="193"/>
                  </a:lnTo>
                  <a:lnTo>
                    <a:pt x="97" y="193"/>
                  </a:lnTo>
                  <a:lnTo>
                    <a:pt x="66" y="187"/>
                  </a:lnTo>
                  <a:lnTo>
                    <a:pt x="39" y="175"/>
                  </a:lnTo>
                  <a:lnTo>
                    <a:pt x="19" y="153"/>
                  </a:lnTo>
                  <a:lnTo>
                    <a:pt x="5" y="128"/>
                  </a:lnTo>
                  <a:lnTo>
                    <a:pt x="0" y="97"/>
                  </a:lnTo>
                  <a:lnTo>
                    <a:pt x="5" y="67"/>
                  </a:lnTo>
                  <a:lnTo>
                    <a:pt x="19" y="40"/>
                  </a:lnTo>
                  <a:lnTo>
                    <a:pt x="39" y="20"/>
                  </a:lnTo>
                  <a:lnTo>
                    <a:pt x="66" y="6"/>
                  </a:lnTo>
                  <a:lnTo>
                    <a:pt x="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ES" sz="1800"/>
            </a:p>
          </p:txBody>
        </p:sp>
        <p:sp>
          <p:nvSpPr>
            <p:cNvPr id="16" name="Freeform 11"/>
            <p:cNvSpPr>
              <a:spLocks/>
            </p:cNvSpPr>
            <p:nvPr/>
          </p:nvSpPr>
          <p:spPr bwMode="auto">
            <a:xfrm>
              <a:off x="13931949" y="2414563"/>
              <a:ext cx="477838" cy="152400"/>
            </a:xfrm>
            <a:custGeom>
              <a:avLst/>
              <a:gdLst/>
              <a:ahLst/>
              <a:cxnLst>
                <a:cxn ang="0">
                  <a:pos x="95" y="0"/>
                </a:cxn>
                <a:cxn ang="0">
                  <a:pos x="506" y="0"/>
                </a:cxn>
                <a:cxn ang="0">
                  <a:pos x="536" y="6"/>
                </a:cxn>
                <a:cxn ang="0">
                  <a:pos x="561" y="20"/>
                </a:cxn>
                <a:cxn ang="0">
                  <a:pos x="583" y="40"/>
                </a:cxn>
                <a:cxn ang="0">
                  <a:pos x="596" y="67"/>
                </a:cxn>
                <a:cxn ang="0">
                  <a:pos x="601" y="97"/>
                </a:cxn>
                <a:cxn ang="0">
                  <a:pos x="596" y="128"/>
                </a:cxn>
                <a:cxn ang="0">
                  <a:pos x="583" y="153"/>
                </a:cxn>
                <a:cxn ang="0">
                  <a:pos x="561" y="175"/>
                </a:cxn>
                <a:cxn ang="0">
                  <a:pos x="536" y="187"/>
                </a:cxn>
                <a:cxn ang="0">
                  <a:pos x="506" y="193"/>
                </a:cxn>
                <a:cxn ang="0">
                  <a:pos x="95" y="193"/>
                </a:cxn>
                <a:cxn ang="0">
                  <a:pos x="64" y="187"/>
                </a:cxn>
                <a:cxn ang="0">
                  <a:pos x="37" y="175"/>
                </a:cxn>
                <a:cxn ang="0">
                  <a:pos x="18" y="153"/>
                </a:cxn>
                <a:cxn ang="0">
                  <a:pos x="3" y="128"/>
                </a:cxn>
                <a:cxn ang="0">
                  <a:pos x="0" y="97"/>
                </a:cxn>
                <a:cxn ang="0">
                  <a:pos x="3" y="67"/>
                </a:cxn>
                <a:cxn ang="0">
                  <a:pos x="18" y="40"/>
                </a:cxn>
                <a:cxn ang="0">
                  <a:pos x="37" y="20"/>
                </a:cxn>
                <a:cxn ang="0">
                  <a:pos x="64" y="6"/>
                </a:cxn>
                <a:cxn ang="0">
                  <a:pos x="95" y="0"/>
                </a:cxn>
              </a:cxnLst>
              <a:rect l="0" t="0" r="r" b="b"/>
              <a:pathLst>
                <a:path w="601" h="193">
                  <a:moveTo>
                    <a:pt x="95" y="0"/>
                  </a:moveTo>
                  <a:lnTo>
                    <a:pt x="506" y="0"/>
                  </a:lnTo>
                  <a:lnTo>
                    <a:pt x="536" y="6"/>
                  </a:lnTo>
                  <a:lnTo>
                    <a:pt x="561" y="20"/>
                  </a:lnTo>
                  <a:lnTo>
                    <a:pt x="583" y="40"/>
                  </a:lnTo>
                  <a:lnTo>
                    <a:pt x="596" y="67"/>
                  </a:lnTo>
                  <a:lnTo>
                    <a:pt x="601" y="97"/>
                  </a:lnTo>
                  <a:lnTo>
                    <a:pt x="596" y="128"/>
                  </a:lnTo>
                  <a:lnTo>
                    <a:pt x="583" y="153"/>
                  </a:lnTo>
                  <a:lnTo>
                    <a:pt x="561" y="175"/>
                  </a:lnTo>
                  <a:lnTo>
                    <a:pt x="536" y="187"/>
                  </a:lnTo>
                  <a:lnTo>
                    <a:pt x="506" y="193"/>
                  </a:lnTo>
                  <a:lnTo>
                    <a:pt x="95" y="193"/>
                  </a:lnTo>
                  <a:lnTo>
                    <a:pt x="64" y="187"/>
                  </a:lnTo>
                  <a:lnTo>
                    <a:pt x="37" y="175"/>
                  </a:lnTo>
                  <a:lnTo>
                    <a:pt x="18" y="153"/>
                  </a:lnTo>
                  <a:lnTo>
                    <a:pt x="3" y="128"/>
                  </a:lnTo>
                  <a:lnTo>
                    <a:pt x="0" y="97"/>
                  </a:lnTo>
                  <a:lnTo>
                    <a:pt x="3" y="67"/>
                  </a:lnTo>
                  <a:lnTo>
                    <a:pt x="18" y="40"/>
                  </a:lnTo>
                  <a:lnTo>
                    <a:pt x="37" y="20"/>
                  </a:lnTo>
                  <a:lnTo>
                    <a:pt x="64" y="6"/>
                  </a:lnTo>
                  <a:lnTo>
                    <a:pt x="9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ES" sz="1800"/>
            </a:p>
          </p:txBody>
        </p:sp>
        <p:sp>
          <p:nvSpPr>
            <p:cNvPr id="17" name="Freeform 12"/>
            <p:cNvSpPr>
              <a:spLocks/>
            </p:cNvSpPr>
            <p:nvPr/>
          </p:nvSpPr>
          <p:spPr bwMode="auto">
            <a:xfrm>
              <a:off x="12630199" y="2414563"/>
              <a:ext cx="476250" cy="152400"/>
            </a:xfrm>
            <a:custGeom>
              <a:avLst/>
              <a:gdLst/>
              <a:ahLst/>
              <a:cxnLst>
                <a:cxn ang="0">
                  <a:pos x="96" y="0"/>
                </a:cxn>
                <a:cxn ang="0">
                  <a:pos x="506" y="0"/>
                </a:cxn>
                <a:cxn ang="0">
                  <a:pos x="537" y="6"/>
                </a:cxn>
                <a:cxn ang="0">
                  <a:pos x="562" y="20"/>
                </a:cxn>
                <a:cxn ang="0">
                  <a:pos x="584" y="40"/>
                </a:cxn>
                <a:cxn ang="0">
                  <a:pos x="598" y="67"/>
                </a:cxn>
                <a:cxn ang="0">
                  <a:pos x="602" y="97"/>
                </a:cxn>
                <a:cxn ang="0">
                  <a:pos x="598" y="128"/>
                </a:cxn>
                <a:cxn ang="0">
                  <a:pos x="584" y="153"/>
                </a:cxn>
                <a:cxn ang="0">
                  <a:pos x="562" y="175"/>
                </a:cxn>
                <a:cxn ang="0">
                  <a:pos x="537" y="187"/>
                </a:cxn>
                <a:cxn ang="0">
                  <a:pos x="506" y="193"/>
                </a:cxn>
                <a:cxn ang="0">
                  <a:pos x="96" y="193"/>
                </a:cxn>
                <a:cxn ang="0">
                  <a:pos x="65" y="187"/>
                </a:cxn>
                <a:cxn ang="0">
                  <a:pos x="40" y="175"/>
                </a:cxn>
                <a:cxn ang="0">
                  <a:pos x="18" y="153"/>
                </a:cxn>
                <a:cxn ang="0">
                  <a:pos x="6" y="128"/>
                </a:cxn>
                <a:cxn ang="0">
                  <a:pos x="0" y="97"/>
                </a:cxn>
                <a:cxn ang="0">
                  <a:pos x="6" y="67"/>
                </a:cxn>
                <a:cxn ang="0">
                  <a:pos x="18" y="40"/>
                </a:cxn>
                <a:cxn ang="0">
                  <a:pos x="40" y="20"/>
                </a:cxn>
                <a:cxn ang="0">
                  <a:pos x="65" y="6"/>
                </a:cxn>
                <a:cxn ang="0">
                  <a:pos x="96" y="0"/>
                </a:cxn>
              </a:cxnLst>
              <a:rect l="0" t="0" r="r" b="b"/>
              <a:pathLst>
                <a:path w="602" h="193">
                  <a:moveTo>
                    <a:pt x="96" y="0"/>
                  </a:moveTo>
                  <a:lnTo>
                    <a:pt x="506" y="0"/>
                  </a:lnTo>
                  <a:lnTo>
                    <a:pt x="537" y="6"/>
                  </a:lnTo>
                  <a:lnTo>
                    <a:pt x="562" y="20"/>
                  </a:lnTo>
                  <a:lnTo>
                    <a:pt x="584" y="40"/>
                  </a:lnTo>
                  <a:lnTo>
                    <a:pt x="598" y="67"/>
                  </a:lnTo>
                  <a:lnTo>
                    <a:pt x="602" y="97"/>
                  </a:lnTo>
                  <a:lnTo>
                    <a:pt x="598" y="128"/>
                  </a:lnTo>
                  <a:lnTo>
                    <a:pt x="584" y="153"/>
                  </a:lnTo>
                  <a:lnTo>
                    <a:pt x="562" y="175"/>
                  </a:lnTo>
                  <a:lnTo>
                    <a:pt x="537" y="187"/>
                  </a:lnTo>
                  <a:lnTo>
                    <a:pt x="506" y="193"/>
                  </a:lnTo>
                  <a:lnTo>
                    <a:pt x="96" y="193"/>
                  </a:lnTo>
                  <a:lnTo>
                    <a:pt x="65" y="187"/>
                  </a:lnTo>
                  <a:lnTo>
                    <a:pt x="40" y="175"/>
                  </a:lnTo>
                  <a:lnTo>
                    <a:pt x="18" y="153"/>
                  </a:lnTo>
                  <a:lnTo>
                    <a:pt x="6" y="128"/>
                  </a:lnTo>
                  <a:lnTo>
                    <a:pt x="0" y="97"/>
                  </a:lnTo>
                  <a:lnTo>
                    <a:pt x="6" y="67"/>
                  </a:lnTo>
                  <a:lnTo>
                    <a:pt x="18" y="40"/>
                  </a:lnTo>
                  <a:lnTo>
                    <a:pt x="40" y="20"/>
                  </a:lnTo>
                  <a:lnTo>
                    <a:pt x="65" y="6"/>
                  </a:lnTo>
                  <a:lnTo>
                    <a:pt x="9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ES" sz="1800"/>
            </a:p>
          </p:txBody>
        </p:sp>
        <p:sp>
          <p:nvSpPr>
            <p:cNvPr id="18" name="Freeform 13"/>
            <p:cNvSpPr>
              <a:spLocks/>
            </p:cNvSpPr>
            <p:nvPr/>
          </p:nvSpPr>
          <p:spPr bwMode="auto">
            <a:xfrm>
              <a:off x="11328449" y="2008163"/>
              <a:ext cx="476250" cy="150813"/>
            </a:xfrm>
            <a:custGeom>
              <a:avLst/>
              <a:gdLst/>
              <a:ahLst/>
              <a:cxnLst>
                <a:cxn ang="0">
                  <a:pos x="95" y="0"/>
                </a:cxn>
                <a:cxn ang="0">
                  <a:pos x="506" y="0"/>
                </a:cxn>
                <a:cxn ang="0">
                  <a:pos x="537" y="4"/>
                </a:cxn>
                <a:cxn ang="0">
                  <a:pos x="564" y="18"/>
                </a:cxn>
                <a:cxn ang="0">
                  <a:pos x="583" y="40"/>
                </a:cxn>
                <a:cxn ang="0">
                  <a:pos x="598" y="65"/>
                </a:cxn>
                <a:cxn ang="0">
                  <a:pos x="601" y="95"/>
                </a:cxn>
                <a:cxn ang="0">
                  <a:pos x="598" y="126"/>
                </a:cxn>
                <a:cxn ang="0">
                  <a:pos x="583" y="153"/>
                </a:cxn>
                <a:cxn ang="0">
                  <a:pos x="564" y="173"/>
                </a:cxn>
                <a:cxn ang="0">
                  <a:pos x="537" y="187"/>
                </a:cxn>
                <a:cxn ang="0">
                  <a:pos x="506" y="191"/>
                </a:cxn>
                <a:cxn ang="0">
                  <a:pos x="95" y="191"/>
                </a:cxn>
                <a:cxn ang="0">
                  <a:pos x="65" y="187"/>
                </a:cxn>
                <a:cxn ang="0">
                  <a:pos x="40" y="173"/>
                </a:cxn>
                <a:cxn ang="0">
                  <a:pos x="18" y="153"/>
                </a:cxn>
                <a:cxn ang="0">
                  <a:pos x="5" y="126"/>
                </a:cxn>
                <a:cxn ang="0">
                  <a:pos x="0" y="95"/>
                </a:cxn>
                <a:cxn ang="0">
                  <a:pos x="5" y="65"/>
                </a:cxn>
                <a:cxn ang="0">
                  <a:pos x="18" y="40"/>
                </a:cxn>
                <a:cxn ang="0">
                  <a:pos x="40" y="18"/>
                </a:cxn>
                <a:cxn ang="0">
                  <a:pos x="65" y="4"/>
                </a:cxn>
                <a:cxn ang="0">
                  <a:pos x="95" y="0"/>
                </a:cxn>
              </a:cxnLst>
              <a:rect l="0" t="0" r="r" b="b"/>
              <a:pathLst>
                <a:path w="601" h="191">
                  <a:moveTo>
                    <a:pt x="95" y="0"/>
                  </a:moveTo>
                  <a:lnTo>
                    <a:pt x="506" y="0"/>
                  </a:lnTo>
                  <a:lnTo>
                    <a:pt x="537" y="4"/>
                  </a:lnTo>
                  <a:lnTo>
                    <a:pt x="564" y="18"/>
                  </a:lnTo>
                  <a:lnTo>
                    <a:pt x="583" y="40"/>
                  </a:lnTo>
                  <a:lnTo>
                    <a:pt x="598" y="65"/>
                  </a:lnTo>
                  <a:lnTo>
                    <a:pt x="601" y="95"/>
                  </a:lnTo>
                  <a:lnTo>
                    <a:pt x="598" y="126"/>
                  </a:lnTo>
                  <a:lnTo>
                    <a:pt x="583" y="153"/>
                  </a:lnTo>
                  <a:lnTo>
                    <a:pt x="564" y="173"/>
                  </a:lnTo>
                  <a:lnTo>
                    <a:pt x="537" y="187"/>
                  </a:lnTo>
                  <a:lnTo>
                    <a:pt x="506" y="191"/>
                  </a:lnTo>
                  <a:lnTo>
                    <a:pt x="95" y="191"/>
                  </a:lnTo>
                  <a:lnTo>
                    <a:pt x="65" y="187"/>
                  </a:lnTo>
                  <a:lnTo>
                    <a:pt x="40" y="173"/>
                  </a:lnTo>
                  <a:lnTo>
                    <a:pt x="18" y="153"/>
                  </a:lnTo>
                  <a:lnTo>
                    <a:pt x="5" y="126"/>
                  </a:lnTo>
                  <a:lnTo>
                    <a:pt x="0" y="95"/>
                  </a:lnTo>
                  <a:lnTo>
                    <a:pt x="5" y="65"/>
                  </a:lnTo>
                  <a:lnTo>
                    <a:pt x="18" y="40"/>
                  </a:lnTo>
                  <a:lnTo>
                    <a:pt x="40" y="18"/>
                  </a:lnTo>
                  <a:lnTo>
                    <a:pt x="65" y="4"/>
                  </a:lnTo>
                  <a:lnTo>
                    <a:pt x="9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ES" sz="1800"/>
            </a:p>
          </p:txBody>
        </p:sp>
        <p:sp>
          <p:nvSpPr>
            <p:cNvPr id="19" name="Freeform 14"/>
            <p:cNvSpPr>
              <a:spLocks/>
            </p:cNvSpPr>
            <p:nvPr/>
          </p:nvSpPr>
          <p:spPr bwMode="auto">
            <a:xfrm>
              <a:off x="10677574" y="2008163"/>
              <a:ext cx="477838" cy="150813"/>
            </a:xfrm>
            <a:custGeom>
              <a:avLst/>
              <a:gdLst/>
              <a:ahLst/>
              <a:cxnLst>
                <a:cxn ang="0">
                  <a:pos x="95" y="0"/>
                </a:cxn>
                <a:cxn ang="0">
                  <a:pos x="506" y="0"/>
                </a:cxn>
                <a:cxn ang="0">
                  <a:pos x="536" y="4"/>
                </a:cxn>
                <a:cxn ang="0">
                  <a:pos x="562" y="18"/>
                </a:cxn>
                <a:cxn ang="0">
                  <a:pos x="583" y="40"/>
                </a:cxn>
                <a:cxn ang="0">
                  <a:pos x="596" y="65"/>
                </a:cxn>
                <a:cxn ang="0">
                  <a:pos x="601" y="95"/>
                </a:cxn>
                <a:cxn ang="0">
                  <a:pos x="596" y="126"/>
                </a:cxn>
                <a:cxn ang="0">
                  <a:pos x="583" y="153"/>
                </a:cxn>
                <a:cxn ang="0">
                  <a:pos x="562" y="173"/>
                </a:cxn>
                <a:cxn ang="0">
                  <a:pos x="536" y="187"/>
                </a:cxn>
                <a:cxn ang="0">
                  <a:pos x="506" y="191"/>
                </a:cxn>
                <a:cxn ang="0">
                  <a:pos x="95" y="191"/>
                </a:cxn>
                <a:cxn ang="0">
                  <a:pos x="65" y="187"/>
                </a:cxn>
                <a:cxn ang="0">
                  <a:pos x="38" y="173"/>
                </a:cxn>
                <a:cxn ang="0">
                  <a:pos x="18" y="153"/>
                </a:cxn>
                <a:cxn ang="0">
                  <a:pos x="3" y="126"/>
                </a:cxn>
                <a:cxn ang="0">
                  <a:pos x="0" y="95"/>
                </a:cxn>
                <a:cxn ang="0">
                  <a:pos x="3" y="65"/>
                </a:cxn>
                <a:cxn ang="0">
                  <a:pos x="18" y="40"/>
                </a:cxn>
                <a:cxn ang="0">
                  <a:pos x="38" y="18"/>
                </a:cxn>
                <a:cxn ang="0">
                  <a:pos x="65" y="4"/>
                </a:cxn>
                <a:cxn ang="0">
                  <a:pos x="95" y="0"/>
                </a:cxn>
              </a:cxnLst>
              <a:rect l="0" t="0" r="r" b="b"/>
              <a:pathLst>
                <a:path w="601" h="191">
                  <a:moveTo>
                    <a:pt x="95" y="0"/>
                  </a:moveTo>
                  <a:lnTo>
                    <a:pt x="506" y="0"/>
                  </a:lnTo>
                  <a:lnTo>
                    <a:pt x="536" y="4"/>
                  </a:lnTo>
                  <a:lnTo>
                    <a:pt x="562" y="18"/>
                  </a:lnTo>
                  <a:lnTo>
                    <a:pt x="583" y="40"/>
                  </a:lnTo>
                  <a:lnTo>
                    <a:pt x="596" y="65"/>
                  </a:lnTo>
                  <a:lnTo>
                    <a:pt x="601" y="95"/>
                  </a:lnTo>
                  <a:lnTo>
                    <a:pt x="596" y="126"/>
                  </a:lnTo>
                  <a:lnTo>
                    <a:pt x="583" y="153"/>
                  </a:lnTo>
                  <a:lnTo>
                    <a:pt x="562" y="173"/>
                  </a:lnTo>
                  <a:lnTo>
                    <a:pt x="536" y="187"/>
                  </a:lnTo>
                  <a:lnTo>
                    <a:pt x="506" y="191"/>
                  </a:lnTo>
                  <a:lnTo>
                    <a:pt x="95" y="191"/>
                  </a:lnTo>
                  <a:lnTo>
                    <a:pt x="65" y="187"/>
                  </a:lnTo>
                  <a:lnTo>
                    <a:pt x="38" y="173"/>
                  </a:lnTo>
                  <a:lnTo>
                    <a:pt x="18" y="153"/>
                  </a:lnTo>
                  <a:lnTo>
                    <a:pt x="3" y="126"/>
                  </a:lnTo>
                  <a:lnTo>
                    <a:pt x="0" y="95"/>
                  </a:lnTo>
                  <a:lnTo>
                    <a:pt x="3" y="65"/>
                  </a:lnTo>
                  <a:lnTo>
                    <a:pt x="18" y="40"/>
                  </a:lnTo>
                  <a:lnTo>
                    <a:pt x="38" y="18"/>
                  </a:lnTo>
                  <a:lnTo>
                    <a:pt x="65" y="4"/>
                  </a:lnTo>
                  <a:lnTo>
                    <a:pt x="9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ES" sz="1800"/>
            </a:p>
          </p:txBody>
        </p:sp>
        <p:sp>
          <p:nvSpPr>
            <p:cNvPr id="20" name="Freeform 15"/>
            <p:cNvSpPr>
              <a:spLocks/>
            </p:cNvSpPr>
            <p:nvPr/>
          </p:nvSpPr>
          <p:spPr bwMode="auto">
            <a:xfrm>
              <a:off x="11977737" y="2008163"/>
              <a:ext cx="479425" cy="150813"/>
            </a:xfrm>
            <a:custGeom>
              <a:avLst/>
              <a:gdLst/>
              <a:ahLst/>
              <a:cxnLst>
                <a:cxn ang="0">
                  <a:pos x="98" y="0"/>
                </a:cxn>
                <a:cxn ang="0">
                  <a:pos x="506" y="0"/>
                </a:cxn>
                <a:cxn ang="0">
                  <a:pos x="537" y="4"/>
                </a:cxn>
                <a:cxn ang="0">
                  <a:pos x="564" y="18"/>
                </a:cxn>
                <a:cxn ang="0">
                  <a:pos x="585" y="40"/>
                </a:cxn>
                <a:cxn ang="0">
                  <a:pos x="598" y="65"/>
                </a:cxn>
                <a:cxn ang="0">
                  <a:pos x="603" y="95"/>
                </a:cxn>
                <a:cxn ang="0">
                  <a:pos x="598" y="126"/>
                </a:cxn>
                <a:cxn ang="0">
                  <a:pos x="585" y="153"/>
                </a:cxn>
                <a:cxn ang="0">
                  <a:pos x="564" y="173"/>
                </a:cxn>
                <a:cxn ang="0">
                  <a:pos x="537" y="187"/>
                </a:cxn>
                <a:cxn ang="0">
                  <a:pos x="506" y="191"/>
                </a:cxn>
                <a:cxn ang="0">
                  <a:pos x="98" y="191"/>
                </a:cxn>
                <a:cxn ang="0">
                  <a:pos x="67" y="187"/>
                </a:cxn>
                <a:cxn ang="0">
                  <a:pos x="40" y="173"/>
                </a:cxn>
                <a:cxn ang="0">
                  <a:pos x="20" y="153"/>
                </a:cxn>
                <a:cxn ang="0">
                  <a:pos x="6" y="126"/>
                </a:cxn>
                <a:cxn ang="0">
                  <a:pos x="0" y="95"/>
                </a:cxn>
                <a:cxn ang="0">
                  <a:pos x="6" y="65"/>
                </a:cxn>
                <a:cxn ang="0">
                  <a:pos x="20" y="40"/>
                </a:cxn>
                <a:cxn ang="0">
                  <a:pos x="40" y="18"/>
                </a:cxn>
                <a:cxn ang="0">
                  <a:pos x="67" y="4"/>
                </a:cxn>
                <a:cxn ang="0">
                  <a:pos x="98" y="0"/>
                </a:cxn>
              </a:cxnLst>
              <a:rect l="0" t="0" r="r" b="b"/>
              <a:pathLst>
                <a:path w="603" h="191">
                  <a:moveTo>
                    <a:pt x="98" y="0"/>
                  </a:moveTo>
                  <a:lnTo>
                    <a:pt x="506" y="0"/>
                  </a:lnTo>
                  <a:lnTo>
                    <a:pt x="537" y="4"/>
                  </a:lnTo>
                  <a:lnTo>
                    <a:pt x="564" y="18"/>
                  </a:lnTo>
                  <a:lnTo>
                    <a:pt x="585" y="40"/>
                  </a:lnTo>
                  <a:lnTo>
                    <a:pt x="598" y="65"/>
                  </a:lnTo>
                  <a:lnTo>
                    <a:pt x="603" y="95"/>
                  </a:lnTo>
                  <a:lnTo>
                    <a:pt x="598" y="126"/>
                  </a:lnTo>
                  <a:lnTo>
                    <a:pt x="585" y="153"/>
                  </a:lnTo>
                  <a:lnTo>
                    <a:pt x="564" y="173"/>
                  </a:lnTo>
                  <a:lnTo>
                    <a:pt x="537" y="187"/>
                  </a:lnTo>
                  <a:lnTo>
                    <a:pt x="506" y="191"/>
                  </a:lnTo>
                  <a:lnTo>
                    <a:pt x="98" y="191"/>
                  </a:lnTo>
                  <a:lnTo>
                    <a:pt x="67" y="187"/>
                  </a:lnTo>
                  <a:lnTo>
                    <a:pt x="40" y="173"/>
                  </a:lnTo>
                  <a:lnTo>
                    <a:pt x="20" y="153"/>
                  </a:lnTo>
                  <a:lnTo>
                    <a:pt x="6" y="126"/>
                  </a:lnTo>
                  <a:lnTo>
                    <a:pt x="0" y="95"/>
                  </a:lnTo>
                  <a:lnTo>
                    <a:pt x="6" y="65"/>
                  </a:lnTo>
                  <a:lnTo>
                    <a:pt x="20" y="40"/>
                  </a:lnTo>
                  <a:lnTo>
                    <a:pt x="40" y="18"/>
                  </a:lnTo>
                  <a:lnTo>
                    <a:pt x="67" y="4"/>
                  </a:lnTo>
                  <a:lnTo>
                    <a:pt x="9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ES" sz="1800"/>
            </a:p>
          </p:txBody>
        </p:sp>
        <p:sp>
          <p:nvSpPr>
            <p:cNvPr id="21" name="Freeform 16"/>
            <p:cNvSpPr>
              <a:spLocks/>
            </p:cNvSpPr>
            <p:nvPr/>
          </p:nvSpPr>
          <p:spPr bwMode="auto">
            <a:xfrm>
              <a:off x="13279487" y="2008163"/>
              <a:ext cx="479425" cy="150813"/>
            </a:xfrm>
            <a:custGeom>
              <a:avLst/>
              <a:gdLst/>
              <a:ahLst/>
              <a:cxnLst>
                <a:cxn ang="0">
                  <a:pos x="97" y="0"/>
                </a:cxn>
                <a:cxn ang="0">
                  <a:pos x="506" y="0"/>
                </a:cxn>
                <a:cxn ang="0">
                  <a:pos x="536" y="4"/>
                </a:cxn>
                <a:cxn ang="0">
                  <a:pos x="563" y="18"/>
                </a:cxn>
                <a:cxn ang="0">
                  <a:pos x="583" y="40"/>
                </a:cxn>
                <a:cxn ang="0">
                  <a:pos x="597" y="65"/>
                </a:cxn>
                <a:cxn ang="0">
                  <a:pos x="603" y="95"/>
                </a:cxn>
                <a:cxn ang="0">
                  <a:pos x="597" y="126"/>
                </a:cxn>
                <a:cxn ang="0">
                  <a:pos x="583" y="153"/>
                </a:cxn>
                <a:cxn ang="0">
                  <a:pos x="563" y="173"/>
                </a:cxn>
                <a:cxn ang="0">
                  <a:pos x="536" y="187"/>
                </a:cxn>
                <a:cxn ang="0">
                  <a:pos x="506" y="191"/>
                </a:cxn>
                <a:cxn ang="0">
                  <a:pos x="97" y="191"/>
                </a:cxn>
                <a:cxn ang="0">
                  <a:pos x="66" y="187"/>
                </a:cxn>
                <a:cxn ang="0">
                  <a:pos x="39" y="173"/>
                </a:cxn>
                <a:cxn ang="0">
                  <a:pos x="19" y="153"/>
                </a:cxn>
                <a:cxn ang="0">
                  <a:pos x="5" y="126"/>
                </a:cxn>
                <a:cxn ang="0">
                  <a:pos x="0" y="95"/>
                </a:cxn>
                <a:cxn ang="0">
                  <a:pos x="5" y="65"/>
                </a:cxn>
                <a:cxn ang="0">
                  <a:pos x="19" y="40"/>
                </a:cxn>
                <a:cxn ang="0">
                  <a:pos x="39" y="18"/>
                </a:cxn>
                <a:cxn ang="0">
                  <a:pos x="66" y="4"/>
                </a:cxn>
                <a:cxn ang="0">
                  <a:pos x="97" y="0"/>
                </a:cxn>
              </a:cxnLst>
              <a:rect l="0" t="0" r="r" b="b"/>
              <a:pathLst>
                <a:path w="603" h="191">
                  <a:moveTo>
                    <a:pt x="97" y="0"/>
                  </a:moveTo>
                  <a:lnTo>
                    <a:pt x="506" y="0"/>
                  </a:lnTo>
                  <a:lnTo>
                    <a:pt x="536" y="4"/>
                  </a:lnTo>
                  <a:lnTo>
                    <a:pt x="563" y="18"/>
                  </a:lnTo>
                  <a:lnTo>
                    <a:pt x="583" y="40"/>
                  </a:lnTo>
                  <a:lnTo>
                    <a:pt x="597" y="65"/>
                  </a:lnTo>
                  <a:lnTo>
                    <a:pt x="603" y="95"/>
                  </a:lnTo>
                  <a:lnTo>
                    <a:pt x="597" y="126"/>
                  </a:lnTo>
                  <a:lnTo>
                    <a:pt x="583" y="153"/>
                  </a:lnTo>
                  <a:lnTo>
                    <a:pt x="563" y="173"/>
                  </a:lnTo>
                  <a:lnTo>
                    <a:pt x="536" y="187"/>
                  </a:lnTo>
                  <a:lnTo>
                    <a:pt x="506" y="191"/>
                  </a:lnTo>
                  <a:lnTo>
                    <a:pt x="97" y="191"/>
                  </a:lnTo>
                  <a:lnTo>
                    <a:pt x="66" y="187"/>
                  </a:lnTo>
                  <a:lnTo>
                    <a:pt x="39" y="173"/>
                  </a:lnTo>
                  <a:lnTo>
                    <a:pt x="19" y="153"/>
                  </a:lnTo>
                  <a:lnTo>
                    <a:pt x="5" y="126"/>
                  </a:lnTo>
                  <a:lnTo>
                    <a:pt x="0" y="95"/>
                  </a:lnTo>
                  <a:lnTo>
                    <a:pt x="5" y="65"/>
                  </a:lnTo>
                  <a:lnTo>
                    <a:pt x="19" y="40"/>
                  </a:lnTo>
                  <a:lnTo>
                    <a:pt x="39" y="18"/>
                  </a:lnTo>
                  <a:lnTo>
                    <a:pt x="66" y="4"/>
                  </a:lnTo>
                  <a:lnTo>
                    <a:pt x="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ES" sz="1800"/>
            </a:p>
          </p:txBody>
        </p:sp>
        <p:sp>
          <p:nvSpPr>
            <p:cNvPr id="22" name="Freeform 17"/>
            <p:cNvSpPr>
              <a:spLocks/>
            </p:cNvSpPr>
            <p:nvPr/>
          </p:nvSpPr>
          <p:spPr bwMode="auto">
            <a:xfrm>
              <a:off x="13931949" y="2008163"/>
              <a:ext cx="477838" cy="150813"/>
            </a:xfrm>
            <a:custGeom>
              <a:avLst/>
              <a:gdLst/>
              <a:ahLst/>
              <a:cxnLst>
                <a:cxn ang="0">
                  <a:pos x="95" y="0"/>
                </a:cxn>
                <a:cxn ang="0">
                  <a:pos x="506" y="0"/>
                </a:cxn>
                <a:cxn ang="0">
                  <a:pos x="536" y="4"/>
                </a:cxn>
                <a:cxn ang="0">
                  <a:pos x="561" y="18"/>
                </a:cxn>
                <a:cxn ang="0">
                  <a:pos x="583" y="40"/>
                </a:cxn>
                <a:cxn ang="0">
                  <a:pos x="596" y="65"/>
                </a:cxn>
                <a:cxn ang="0">
                  <a:pos x="601" y="95"/>
                </a:cxn>
                <a:cxn ang="0">
                  <a:pos x="596" y="126"/>
                </a:cxn>
                <a:cxn ang="0">
                  <a:pos x="583" y="153"/>
                </a:cxn>
                <a:cxn ang="0">
                  <a:pos x="561" y="173"/>
                </a:cxn>
                <a:cxn ang="0">
                  <a:pos x="536" y="187"/>
                </a:cxn>
                <a:cxn ang="0">
                  <a:pos x="506" y="191"/>
                </a:cxn>
                <a:cxn ang="0">
                  <a:pos x="95" y="191"/>
                </a:cxn>
                <a:cxn ang="0">
                  <a:pos x="64" y="187"/>
                </a:cxn>
                <a:cxn ang="0">
                  <a:pos x="37" y="173"/>
                </a:cxn>
                <a:cxn ang="0">
                  <a:pos x="18" y="153"/>
                </a:cxn>
                <a:cxn ang="0">
                  <a:pos x="3" y="126"/>
                </a:cxn>
                <a:cxn ang="0">
                  <a:pos x="0" y="95"/>
                </a:cxn>
                <a:cxn ang="0">
                  <a:pos x="3" y="65"/>
                </a:cxn>
                <a:cxn ang="0">
                  <a:pos x="18" y="40"/>
                </a:cxn>
                <a:cxn ang="0">
                  <a:pos x="37" y="18"/>
                </a:cxn>
                <a:cxn ang="0">
                  <a:pos x="64" y="4"/>
                </a:cxn>
                <a:cxn ang="0">
                  <a:pos x="95" y="0"/>
                </a:cxn>
              </a:cxnLst>
              <a:rect l="0" t="0" r="r" b="b"/>
              <a:pathLst>
                <a:path w="601" h="191">
                  <a:moveTo>
                    <a:pt x="95" y="0"/>
                  </a:moveTo>
                  <a:lnTo>
                    <a:pt x="506" y="0"/>
                  </a:lnTo>
                  <a:lnTo>
                    <a:pt x="536" y="4"/>
                  </a:lnTo>
                  <a:lnTo>
                    <a:pt x="561" y="18"/>
                  </a:lnTo>
                  <a:lnTo>
                    <a:pt x="583" y="40"/>
                  </a:lnTo>
                  <a:lnTo>
                    <a:pt x="596" y="65"/>
                  </a:lnTo>
                  <a:lnTo>
                    <a:pt x="601" y="95"/>
                  </a:lnTo>
                  <a:lnTo>
                    <a:pt x="596" y="126"/>
                  </a:lnTo>
                  <a:lnTo>
                    <a:pt x="583" y="153"/>
                  </a:lnTo>
                  <a:lnTo>
                    <a:pt x="561" y="173"/>
                  </a:lnTo>
                  <a:lnTo>
                    <a:pt x="536" y="187"/>
                  </a:lnTo>
                  <a:lnTo>
                    <a:pt x="506" y="191"/>
                  </a:lnTo>
                  <a:lnTo>
                    <a:pt x="95" y="191"/>
                  </a:lnTo>
                  <a:lnTo>
                    <a:pt x="64" y="187"/>
                  </a:lnTo>
                  <a:lnTo>
                    <a:pt x="37" y="173"/>
                  </a:lnTo>
                  <a:lnTo>
                    <a:pt x="18" y="153"/>
                  </a:lnTo>
                  <a:lnTo>
                    <a:pt x="3" y="126"/>
                  </a:lnTo>
                  <a:lnTo>
                    <a:pt x="0" y="95"/>
                  </a:lnTo>
                  <a:lnTo>
                    <a:pt x="3" y="65"/>
                  </a:lnTo>
                  <a:lnTo>
                    <a:pt x="18" y="40"/>
                  </a:lnTo>
                  <a:lnTo>
                    <a:pt x="37" y="18"/>
                  </a:lnTo>
                  <a:lnTo>
                    <a:pt x="64" y="4"/>
                  </a:lnTo>
                  <a:lnTo>
                    <a:pt x="9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ES" sz="1800"/>
            </a:p>
          </p:txBody>
        </p:sp>
        <p:sp>
          <p:nvSpPr>
            <p:cNvPr id="24" name="Freeform 18"/>
            <p:cNvSpPr>
              <a:spLocks/>
            </p:cNvSpPr>
            <p:nvPr/>
          </p:nvSpPr>
          <p:spPr bwMode="auto">
            <a:xfrm>
              <a:off x="12630199" y="2008163"/>
              <a:ext cx="476250" cy="150813"/>
            </a:xfrm>
            <a:custGeom>
              <a:avLst/>
              <a:gdLst/>
              <a:ahLst/>
              <a:cxnLst>
                <a:cxn ang="0">
                  <a:pos x="96" y="0"/>
                </a:cxn>
                <a:cxn ang="0">
                  <a:pos x="506" y="0"/>
                </a:cxn>
                <a:cxn ang="0">
                  <a:pos x="537" y="4"/>
                </a:cxn>
                <a:cxn ang="0">
                  <a:pos x="562" y="18"/>
                </a:cxn>
                <a:cxn ang="0">
                  <a:pos x="584" y="40"/>
                </a:cxn>
                <a:cxn ang="0">
                  <a:pos x="598" y="65"/>
                </a:cxn>
                <a:cxn ang="0">
                  <a:pos x="602" y="95"/>
                </a:cxn>
                <a:cxn ang="0">
                  <a:pos x="598" y="126"/>
                </a:cxn>
                <a:cxn ang="0">
                  <a:pos x="584" y="153"/>
                </a:cxn>
                <a:cxn ang="0">
                  <a:pos x="562" y="173"/>
                </a:cxn>
                <a:cxn ang="0">
                  <a:pos x="537" y="187"/>
                </a:cxn>
                <a:cxn ang="0">
                  <a:pos x="506" y="191"/>
                </a:cxn>
                <a:cxn ang="0">
                  <a:pos x="96" y="191"/>
                </a:cxn>
                <a:cxn ang="0">
                  <a:pos x="65" y="187"/>
                </a:cxn>
                <a:cxn ang="0">
                  <a:pos x="40" y="173"/>
                </a:cxn>
                <a:cxn ang="0">
                  <a:pos x="18" y="153"/>
                </a:cxn>
                <a:cxn ang="0">
                  <a:pos x="6" y="126"/>
                </a:cxn>
                <a:cxn ang="0">
                  <a:pos x="0" y="95"/>
                </a:cxn>
                <a:cxn ang="0">
                  <a:pos x="6" y="65"/>
                </a:cxn>
                <a:cxn ang="0">
                  <a:pos x="18" y="40"/>
                </a:cxn>
                <a:cxn ang="0">
                  <a:pos x="40" y="18"/>
                </a:cxn>
                <a:cxn ang="0">
                  <a:pos x="65" y="4"/>
                </a:cxn>
                <a:cxn ang="0">
                  <a:pos x="96" y="0"/>
                </a:cxn>
              </a:cxnLst>
              <a:rect l="0" t="0" r="r" b="b"/>
              <a:pathLst>
                <a:path w="602" h="191">
                  <a:moveTo>
                    <a:pt x="96" y="0"/>
                  </a:moveTo>
                  <a:lnTo>
                    <a:pt x="506" y="0"/>
                  </a:lnTo>
                  <a:lnTo>
                    <a:pt x="537" y="4"/>
                  </a:lnTo>
                  <a:lnTo>
                    <a:pt x="562" y="18"/>
                  </a:lnTo>
                  <a:lnTo>
                    <a:pt x="584" y="40"/>
                  </a:lnTo>
                  <a:lnTo>
                    <a:pt x="598" y="65"/>
                  </a:lnTo>
                  <a:lnTo>
                    <a:pt x="602" y="95"/>
                  </a:lnTo>
                  <a:lnTo>
                    <a:pt x="598" y="126"/>
                  </a:lnTo>
                  <a:lnTo>
                    <a:pt x="584" y="153"/>
                  </a:lnTo>
                  <a:lnTo>
                    <a:pt x="562" y="173"/>
                  </a:lnTo>
                  <a:lnTo>
                    <a:pt x="537" y="187"/>
                  </a:lnTo>
                  <a:lnTo>
                    <a:pt x="506" y="191"/>
                  </a:lnTo>
                  <a:lnTo>
                    <a:pt x="96" y="191"/>
                  </a:lnTo>
                  <a:lnTo>
                    <a:pt x="65" y="187"/>
                  </a:lnTo>
                  <a:lnTo>
                    <a:pt x="40" y="173"/>
                  </a:lnTo>
                  <a:lnTo>
                    <a:pt x="18" y="153"/>
                  </a:lnTo>
                  <a:lnTo>
                    <a:pt x="6" y="126"/>
                  </a:lnTo>
                  <a:lnTo>
                    <a:pt x="0" y="95"/>
                  </a:lnTo>
                  <a:lnTo>
                    <a:pt x="6" y="65"/>
                  </a:lnTo>
                  <a:lnTo>
                    <a:pt x="18" y="40"/>
                  </a:lnTo>
                  <a:lnTo>
                    <a:pt x="40" y="18"/>
                  </a:lnTo>
                  <a:lnTo>
                    <a:pt x="65" y="4"/>
                  </a:lnTo>
                  <a:lnTo>
                    <a:pt x="9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ES" sz="1800"/>
            </a:p>
          </p:txBody>
        </p:sp>
        <p:sp>
          <p:nvSpPr>
            <p:cNvPr id="25" name="Freeform 19"/>
            <p:cNvSpPr>
              <a:spLocks/>
            </p:cNvSpPr>
            <p:nvPr/>
          </p:nvSpPr>
          <p:spPr bwMode="auto">
            <a:xfrm>
              <a:off x="11328449" y="2820963"/>
              <a:ext cx="476250" cy="152400"/>
            </a:xfrm>
            <a:custGeom>
              <a:avLst/>
              <a:gdLst/>
              <a:ahLst/>
              <a:cxnLst>
                <a:cxn ang="0">
                  <a:pos x="95" y="0"/>
                </a:cxn>
                <a:cxn ang="0">
                  <a:pos x="506" y="0"/>
                </a:cxn>
                <a:cxn ang="0">
                  <a:pos x="537" y="6"/>
                </a:cxn>
                <a:cxn ang="0">
                  <a:pos x="564" y="18"/>
                </a:cxn>
                <a:cxn ang="0">
                  <a:pos x="583" y="40"/>
                </a:cxn>
                <a:cxn ang="0">
                  <a:pos x="598" y="65"/>
                </a:cxn>
                <a:cxn ang="0">
                  <a:pos x="601" y="96"/>
                </a:cxn>
                <a:cxn ang="0">
                  <a:pos x="598" y="126"/>
                </a:cxn>
                <a:cxn ang="0">
                  <a:pos x="583" y="153"/>
                </a:cxn>
                <a:cxn ang="0">
                  <a:pos x="564" y="173"/>
                </a:cxn>
                <a:cxn ang="0">
                  <a:pos x="537" y="188"/>
                </a:cxn>
                <a:cxn ang="0">
                  <a:pos x="506" y="193"/>
                </a:cxn>
                <a:cxn ang="0">
                  <a:pos x="95" y="193"/>
                </a:cxn>
                <a:cxn ang="0">
                  <a:pos x="65" y="188"/>
                </a:cxn>
                <a:cxn ang="0">
                  <a:pos x="40" y="173"/>
                </a:cxn>
                <a:cxn ang="0">
                  <a:pos x="18" y="153"/>
                </a:cxn>
                <a:cxn ang="0">
                  <a:pos x="5" y="126"/>
                </a:cxn>
                <a:cxn ang="0">
                  <a:pos x="0" y="96"/>
                </a:cxn>
                <a:cxn ang="0">
                  <a:pos x="5" y="65"/>
                </a:cxn>
                <a:cxn ang="0">
                  <a:pos x="18" y="40"/>
                </a:cxn>
                <a:cxn ang="0">
                  <a:pos x="40" y="18"/>
                </a:cxn>
                <a:cxn ang="0">
                  <a:pos x="65" y="6"/>
                </a:cxn>
                <a:cxn ang="0">
                  <a:pos x="95" y="0"/>
                </a:cxn>
              </a:cxnLst>
              <a:rect l="0" t="0" r="r" b="b"/>
              <a:pathLst>
                <a:path w="601" h="193">
                  <a:moveTo>
                    <a:pt x="95" y="0"/>
                  </a:moveTo>
                  <a:lnTo>
                    <a:pt x="506" y="0"/>
                  </a:lnTo>
                  <a:lnTo>
                    <a:pt x="537" y="6"/>
                  </a:lnTo>
                  <a:lnTo>
                    <a:pt x="564" y="18"/>
                  </a:lnTo>
                  <a:lnTo>
                    <a:pt x="583" y="40"/>
                  </a:lnTo>
                  <a:lnTo>
                    <a:pt x="598" y="65"/>
                  </a:lnTo>
                  <a:lnTo>
                    <a:pt x="601" y="96"/>
                  </a:lnTo>
                  <a:lnTo>
                    <a:pt x="598" y="126"/>
                  </a:lnTo>
                  <a:lnTo>
                    <a:pt x="583" y="153"/>
                  </a:lnTo>
                  <a:lnTo>
                    <a:pt x="564" y="173"/>
                  </a:lnTo>
                  <a:lnTo>
                    <a:pt x="537" y="188"/>
                  </a:lnTo>
                  <a:lnTo>
                    <a:pt x="506" y="193"/>
                  </a:lnTo>
                  <a:lnTo>
                    <a:pt x="95" y="193"/>
                  </a:lnTo>
                  <a:lnTo>
                    <a:pt x="65" y="188"/>
                  </a:lnTo>
                  <a:lnTo>
                    <a:pt x="40" y="173"/>
                  </a:lnTo>
                  <a:lnTo>
                    <a:pt x="18" y="153"/>
                  </a:lnTo>
                  <a:lnTo>
                    <a:pt x="5" y="126"/>
                  </a:lnTo>
                  <a:lnTo>
                    <a:pt x="0" y="96"/>
                  </a:lnTo>
                  <a:lnTo>
                    <a:pt x="5" y="65"/>
                  </a:lnTo>
                  <a:lnTo>
                    <a:pt x="18" y="40"/>
                  </a:lnTo>
                  <a:lnTo>
                    <a:pt x="40" y="18"/>
                  </a:lnTo>
                  <a:lnTo>
                    <a:pt x="65" y="6"/>
                  </a:lnTo>
                  <a:lnTo>
                    <a:pt x="9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ES" sz="1800"/>
            </a:p>
          </p:txBody>
        </p:sp>
        <p:sp>
          <p:nvSpPr>
            <p:cNvPr id="26" name="Freeform 20"/>
            <p:cNvSpPr>
              <a:spLocks/>
            </p:cNvSpPr>
            <p:nvPr/>
          </p:nvSpPr>
          <p:spPr bwMode="auto">
            <a:xfrm>
              <a:off x="10677574" y="2820963"/>
              <a:ext cx="477838" cy="152400"/>
            </a:xfrm>
            <a:custGeom>
              <a:avLst/>
              <a:gdLst/>
              <a:ahLst/>
              <a:cxnLst>
                <a:cxn ang="0">
                  <a:pos x="95" y="0"/>
                </a:cxn>
                <a:cxn ang="0">
                  <a:pos x="506" y="0"/>
                </a:cxn>
                <a:cxn ang="0">
                  <a:pos x="536" y="6"/>
                </a:cxn>
                <a:cxn ang="0">
                  <a:pos x="562" y="18"/>
                </a:cxn>
                <a:cxn ang="0">
                  <a:pos x="583" y="40"/>
                </a:cxn>
                <a:cxn ang="0">
                  <a:pos x="596" y="65"/>
                </a:cxn>
                <a:cxn ang="0">
                  <a:pos x="601" y="96"/>
                </a:cxn>
                <a:cxn ang="0">
                  <a:pos x="596" y="126"/>
                </a:cxn>
                <a:cxn ang="0">
                  <a:pos x="583" y="153"/>
                </a:cxn>
                <a:cxn ang="0">
                  <a:pos x="562" y="173"/>
                </a:cxn>
                <a:cxn ang="0">
                  <a:pos x="536" y="188"/>
                </a:cxn>
                <a:cxn ang="0">
                  <a:pos x="506" y="193"/>
                </a:cxn>
                <a:cxn ang="0">
                  <a:pos x="95" y="193"/>
                </a:cxn>
                <a:cxn ang="0">
                  <a:pos x="65" y="188"/>
                </a:cxn>
                <a:cxn ang="0">
                  <a:pos x="38" y="173"/>
                </a:cxn>
                <a:cxn ang="0">
                  <a:pos x="18" y="153"/>
                </a:cxn>
                <a:cxn ang="0">
                  <a:pos x="3" y="126"/>
                </a:cxn>
                <a:cxn ang="0">
                  <a:pos x="0" y="96"/>
                </a:cxn>
                <a:cxn ang="0">
                  <a:pos x="3" y="65"/>
                </a:cxn>
                <a:cxn ang="0">
                  <a:pos x="18" y="40"/>
                </a:cxn>
                <a:cxn ang="0">
                  <a:pos x="38" y="18"/>
                </a:cxn>
                <a:cxn ang="0">
                  <a:pos x="65" y="6"/>
                </a:cxn>
                <a:cxn ang="0">
                  <a:pos x="95" y="0"/>
                </a:cxn>
              </a:cxnLst>
              <a:rect l="0" t="0" r="r" b="b"/>
              <a:pathLst>
                <a:path w="601" h="193">
                  <a:moveTo>
                    <a:pt x="95" y="0"/>
                  </a:moveTo>
                  <a:lnTo>
                    <a:pt x="506" y="0"/>
                  </a:lnTo>
                  <a:lnTo>
                    <a:pt x="536" y="6"/>
                  </a:lnTo>
                  <a:lnTo>
                    <a:pt x="562" y="18"/>
                  </a:lnTo>
                  <a:lnTo>
                    <a:pt x="583" y="40"/>
                  </a:lnTo>
                  <a:lnTo>
                    <a:pt x="596" y="65"/>
                  </a:lnTo>
                  <a:lnTo>
                    <a:pt x="601" y="96"/>
                  </a:lnTo>
                  <a:lnTo>
                    <a:pt x="596" y="126"/>
                  </a:lnTo>
                  <a:lnTo>
                    <a:pt x="583" y="153"/>
                  </a:lnTo>
                  <a:lnTo>
                    <a:pt x="562" y="173"/>
                  </a:lnTo>
                  <a:lnTo>
                    <a:pt x="536" y="188"/>
                  </a:lnTo>
                  <a:lnTo>
                    <a:pt x="506" y="193"/>
                  </a:lnTo>
                  <a:lnTo>
                    <a:pt x="95" y="193"/>
                  </a:lnTo>
                  <a:lnTo>
                    <a:pt x="65" y="188"/>
                  </a:lnTo>
                  <a:lnTo>
                    <a:pt x="38" y="173"/>
                  </a:lnTo>
                  <a:lnTo>
                    <a:pt x="18" y="153"/>
                  </a:lnTo>
                  <a:lnTo>
                    <a:pt x="3" y="126"/>
                  </a:lnTo>
                  <a:lnTo>
                    <a:pt x="0" y="96"/>
                  </a:lnTo>
                  <a:lnTo>
                    <a:pt x="3" y="65"/>
                  </a:lnTo>
                  <a:lnTo>
                    <a:pt x="18" y="40"/>
                  </a:lnTo>
                  <a:lnTo>
                    <a:pt x="38" y="18"/>
                  </a:lnTo>
                  <a:lnTo>
                    <a:pt x="65" y="6"/>
                  </a:lnTo>
                  <a:lnTo>
                    <a:pt x="9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ES" sz="1800"/>
            </a:p>
          </p:txBody>
        </p:sp>
        <p:sp>
          <p:nvSpPr>
            <p:cNvPr id="27" name="Freeform 21"/>
            <p:cNvSpPr>
              <a:spLocks/>
            </p:cNvSpPr>
            <p:nvPr/>
          </p:nvSpPr>
          <p:spPr bwMode="auto">
            <a:xfrm>
              <a:off x="13279487" y="2820963"/>
              <a:ext cx="479425" cy="152400"/>
            </a:xfrm>
            <a:custGeom>
              <a:avLst/>
              <a:gdLst/>
              <a:ahLst/>
              <a:cxnLst>
                <a:cxn ang="0">
                  <a:pos x="97" y="0"/>
                </a:cxn>
                <a:cxn ang="0">
                  <a:pos x="506" y="0"/>
                </a:cxn>
                <a:cxn ang="0">
                  <a:pos x="536" y="6"/>
                </a:cxn>
                <a:cxn ang="0">
                  <a:pos x="563" y="18"/>
                </a:cxn>
                <a:cxn ang="0">
                  <a:pos x="583" y="40"/>
                </a:cxn>
                <a:cxn ang="0">
                  <a:pos x="597" y="65"/>
                </a:cxn>
                <a:cxn ang="0">
                  <a:pos x="603" y="96"/>
                </a:cxn>
                <a:cxn ang="0">
                  <a:pos x="597" y="126"/>
                </a:cxn>
                <a:cxn ang="0">
                  <a:pos x="583" y="153"/>
                </a:cxn>
                <a:cxn ang="0">
                  <a:pos x="563" y="173"/>
                </a:cxn>
                <a:cxn ang="0">
                  <a:pos x="536" y="188"/>
                </a:cxn>
                <a:cxn ang="0">
                  <a:pos x="506" y="193"/>
                </a:cxn>
                <a:cxn ang="0">
                  <a:pos x="97" y="193"/>
                </a:cxn>
                <a:cxn ang="0">
                  <a:pos x="66" y="188"/>
                </a:cxn>
                <a:cxn ang="0">
                  <a:pos x="39" y="173"/>
                </a:cxn>
                <a:cxn ang="0">
                  <a:pos x="19" y="153"/>
                </a:cxn>
                <a:cxn ang="0">
                  <a:pos x="5" y="126"/>
                </a:cxn>
                <a:cxn ang="0">
                  <a:pos x="0" y="96"/>
                </a:cxn>
                <a:cxn ang="0">
                  <a:pos x="5" y="65"/>
                </a:cxn>
                <a:cxn ang="0">
                  <a:pos x="19" y="40"/>
                </a:cxn>
                <a:cxn ang="0">
                  <a:pos x="39" y="18"/>
                </a:cxn>
                <a:cxn ang="0">
                  <a:pos x="66" y="6"/>
                </a:cxn>
                <a:cxn ang="0">
                  <a:pos x="97" y="0"/>
                </a:cxn>
              </a:cxnLst>
              <a:rect l="0" t="0" r="r" b="b"/>
              <a:pathLst>
                <a:path w="603" h="193">
                  <a:moveTo>
                    <a:pt x="97" y="0"/>
                  </a:moveTo>
                  <a:lnTo>
                    <a:pt x="506" y="0"/>
                  </a:lnTo>
                  <a:lnTo>
                    <a:pt x="536" y="6"/>
                  </a:lnTo>
                  <a:lnTo>
                    <a:pt x="563" y="18"/>
                  </a:lnTo>
                  <a:lnTo>
                    <a:pt x="583" y="40"/>
                  </a:lnTo>
                  <a:lnTo>
                    <a:pt x="597" y="65"/>
                  </a:lnTo>
                  <a:lnTo>
                    <a:pt x="603" y="96"/>
                  </a:lnTo>
                  <a:lnTo>
                    <a:pt x="597" y="126"/>
                  </a:lnTo>
                  <a:lnTo>
                    <a:pt x="583" y="153"/>
                  </a:lnTo>
                  <a:lnTo>
                    <a:pt x="563" y="173"/>
                  </a:lnTo>
                  <a:lnTo>
                    <a:pt x="536" y="188"/>
                  </a:lnTo>
                  <a:lnTo>
                    <a:pt x="506" y="193"/>
                  </a:lnTo>
                  <a:lnTo>
                    <a:pt x="97" y="193"/>
                  </a:lnTo>
                  <a:lnTo>
                    <a:pt x="66" y="188"/>
                  </a:lnTo>
                  <a:lnTo>
                    <a:pt x="39" y="173"/>
                  </a:lnTo>
                  <a:lnTo>
                    <a:pt x="19" y="153"/>
                  </a:lnTo>
                  <a:lnTo>
                    <a:pt x="5" y="126"/>
                  </a:lnTo>
                  <a:lnTo>
                    <a:pt x="0" y="96"/>
                  </a:lnTo>
                  <a:lnTo>
                    <a:pt x="5" y="65"/>
                  </a:lnTo>
                  <a:lnTo>
                    <a:pt x="19" y="40"/>
                  </a:lnTo>
                  <a:lnTo>
                    <a:pt x="39" y="18"/>
                  </a:lnTo>
                  <a:lnTo>
                    <a:pt x="66" y="6"/>
                  </a:lnTo>
                  <a:lnTo>
                    <a:pt x="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ES" sz="1800"/>
            </a:p>
          </p:txBody>
        </p:sp>
        <p:sp>
          <p:nvSpPr>
            <p:cNvPr id="28" name="Freeform 22"/>
            <p:cNvSpPr>
              <a:spLocks/>
            </p:cNvSpPr>
            <p:nvPr/>
          </p:nvSpPr>
          <p:spPr bwMode="auto">
            <a:xfrm>
              <a:off x="13931949" y="2820963"/>
              <a:ext cx="477838" cy="152400"/>
            </a:xfrm>
            <a:custGeom>
              <a:avLst/>
              <a:gdLst/>
              <a:ahLst/>
              <a:cxnLst>
                <a:cxn ang="0">
                  <a:pos x="95" y="0"/>
                </a:cxn>
                <a:cxn ang="0">
                  <a:pos x="506" y="0"/>
                </a:cxn>
                <a:cxn ang="0">
                  <a:pos x="536" y="6"/>
                </a:cxn>
                <a:cxn ang="0">
                  <a:pos x="561" y="18"/>
                </a:cxn>
                <a:cxn ang="0">
                  <a:pos x="583" y="40"/>
                </a:cxn>
                <a:cxn ang="0">
                  <a:pos x="596" y="65"/>
                </a:cxn>
                <a:cxn ang="0">
                  <a:pos x="601" y="96"/>
                </a:cxn>
                <a:cxn ang="0">
                  <a:pos x="596" y="126"/>
                </a:cxn>
                <a:cxn ang="0">
                  <a:pos x="583" y="153"/>
                </a:cxn>
                <a:cxn ang="0">
                  <a:pos x="561" y="173"/>
                </a:cxn>
                <a:cxn ang="0">
                  <a:pos x="536" y="188"/>
                </a:cxn>
                <a:cxn ang="0">
                  <a:pos x="506" y="193"/>
                </a:cxn>
                <a:cxn ang="0">
                  <a:pos x="95" y="193"/>
                </a:cxn>
                <a:cxn ang="0">
                  <a:pos x="64" y="188"/>
                </a:cxn>
                <a:cxn ang="0">
                  <a:pos x="37" y="173"/>
                </a:cxn>
                <a:cxn ang="0">
                  <a:pos x="18" y="153"/>
                </a:cxn>
                <a:cxn ang="0">
                  <a:pos x="3" y="126"/>
                </a:cxn>
                <a:cxn ang="0">
                  <a:pos x="0" y="96"/>
                </a:cxn>
                <a:cxn ang="0">
                  <a:pos x="3" y="65"/>
                </a:cxn>
                <a:cxn ang="0">
                  <a:pos x="18" y="40"/>
                </a:cxn>
                <a:cxn ang="0">
                  <a:pos x="37" y="18"/>
                </a:cxn>
                <a:cxn ang="0">
                  <a:pos x="64" y="6"/>
                </a:cxn>
                <a:cxn ang="0">
                  <a:pos x="95" y="0"/>
                </a:cxn>
              </a:cxnLst>
              <a:rect l="0" t="0" r="r" b="b"/>
              <a:pathLst>
                <a:path w="601" h="193">
                  <a:moveTo>
                    <a:pt x="95" y="0"/>
                  </a:moveTo>
                  <a:lnTo>
                    <a:pt x="506" y="0"/>
                  </a:lnTo>
                  <a:lnTo>
                    <a:pt x="536" y="6"/>
                  </a:lnTo>
                  <a:lnTo>
                    <a:pt x="561" y="18"/>
                  </a:lnTo>
                  <a:lnTo>
                    <a:pt x="583" y="40"/>
                  </a:lnTo>
                  <a:lnTo>
                    <a:pt x="596" y="65"/>
                  </a:lnTo>
                  <a:lnTo>
                    <a:pt x="601" y="96"/>
                  </a:lnTo>
                  <a:lnTo>
                    <a:pt x="596" y="126"/>
                  </a:lnTo>
                  <a:lnTo>
                    <a:pt x="583" y="153"/>
                  </a:lnTo>
                  <a:lnTo>
                    <a:pt x="561" y="173"/>
                  </a:lnTo>
                  <a:lnTo>
                    <a:pt x="536" y="188"/>
                  </a:lnTo>
                  <a:lnTo>
                    <a:pt x="506" y="193"/>
                  </a:lnTo>
                  <a:lnTo>
                    <a:pt x="95" y="193"/>
                  </a:lnTo>
                  <a:lnTo>
                    <a:pt x="64" y="188"/>
                  </a:lnTo>
                  <a:lnTo>
                    <a:pt x="37" y="173"/>
                  </a:lnTo>
                  <a:lnTo>
                    <a:pt x="18" y="153"/>
                  </a:lnTo>
                  <a:lnTo>
                    <a:pt x="3" y="126"/>
                  </a:lnTo>
                  <a:lnTo>
                    <a:pt x="0" y="96"/>
                  </a:lnTo>
                  <a:lnTo>
                    <a:pt x="3" y="65"/>
                  </a:lnTo>
                  <a:lnTo>
                    <a:pt x="18" y="40"/>
                  </a:lnTo>
                  <a:lnTo>
                    <a:pt x="37" y="18"/>
                  </a:lnTo>
                  <a:lnTo>
                    <a:pt x="64" y="6"/>
                  </a:lnTo>
                  <a:lnTo>
                    <a:pt x="9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ES" sz="1800"/>
            </a:p>
          </p:txBody>
        </p:sp>
        <p:sp>
          <p:nvSpPr>
            <p:cNvPr id="29" name="Freeform 23"/>
            <p:cNvSpPr>
              <a:spLocks/>
            </p:cNvSpPr>
            <p:nvPr/>
          </p:nvSpPr>
          <p:spPr bwMode="auto">
            <a:xfrm>
              <a:off x="10677574" y="3228951"/>
              <a:ext cx="477838" cy="150813"/>
            </a:xfrm>
            <a:custGeom>
              <a:avLst/>
              <a:gdLst/>
              <a:ahLst/>
              <a:cxnLst>
                <a:cxn ang="0">
                  <a:pos x="95" y="0"/>
                </a:cxn>
                <a:cxn ang="0">
                  <a:pos x="506" y="0"/>
                </a:cxn>
                <a:cxn ang="0">
                  <a:pos x="536" y="4"/>
                </a:cxn>
                <a:cxn ang="0">
                  <a:pos x="562" y="18"/>
                </a:cxn>
                <a:cxn ang="0">
                  <a:pos x="583" y="38"/>
                </a:cxn>
                <a:cxn ang="0">
                  <a:pos x="596" y="65"/>
                </a:cxn>
                <a:cxn ang="0">
                  <a:pos x="601" y="96"/>
                </a:cxn>
                <a:cxn ang="0">
                  <a:pos x="596" y="126"/>
                </a:cxn>
                <a:cxn ang="0">
                  <a:pos x="583" y="152"/>
                </a:cxn>
                <a:cxn ang="0">
                  <a:pos x="562" y="173"/>
                </a:cxn>
                <a:cxn ang="0">
                  <a:pos x="536" y="188"/>
                </a:cxn>
                <a:cxn ang="0">
                  <a:pos x="506" y="191"/>
                </a:cxn>
                <a:cxn ang="0">
                  <a:pos x="95" y="191"/>
                </a:cxn>
                <a:cxn ang="0">
                  <a:pos x="65" y="188"/>
                </a:cxn>
                <a:cxn ang="0">
                  <a:pos x="38" y="173"/>
                </a:cxn>
                <a:cxn ang="0">
                  <a:pos x="18" y="152"/>
                </a:cxn>
                <a:cxn ang="0">
                  <a:pos x="3" y="126"/>
                </a:cxn>
                <a:cxn ang="0">
                  <a:pos x="0" y="96"/>
                </a:cxn>
                <a:cxn ang="0">
                  <a:pos x="3" y="65"/>
                </a:cxn>
                <a:cxn ang="0">
                  <a:pos x="18" y="38"/>
                </a:cxn>
                <a:cxn ang="0">
                  <a:pos x="38" y="18"/>
                </a:cxn>
                <a:cxn ang="0">
                  <a:pos x="65" y="4"/>
                </a:cxn>
                <a:cxn ang="0">
                  <a:pos x="95" y="0"/>
                </a:cxn>
              </a:cxnLst>
              <a:rect l="0" t="0" r="r" b="b"/>
              <a:pathLst>
                <a:path w="601" h="191">
                  <a:moveTo>
                    <a:pt x="95" y="0"/>
                  </a:moveTo>
                  <a:lnTo>
                    <a:pt x="506" y="0"/>
                  </a:lnTo>
                  <a:lnTo>
                    <a:pt x="536" y="4"/>
                  </a:lnTo>
                  <a:lnTo>
                    <a:pt x="562" y="18"/>
                  </a:lnTo>
                  <a:lnTo>
                    <a:pt x="583" y="38"/>
                  </a:lnTo>
                  <a:lnTo>
                    <a:pt x="596" y="65"/>
                  </a:lnTo>
                  <a:lnTo>
                    <a:pt x="601" y="96"/>
                  </a:lnTo>
                  <a:lnTo>
                    <a:pt x="596" y="126"/>
                  </a:lnTo>
                  <a:lnTo>
                    <a:pt x="583" y="152"/>
                  </a:lnTo>
                  <a:lnTo>
                    <a:pt x="562" y="173"/>
                  </a:lnTo>
                  <a:lnTo>
                    <a:pt x="536" y="188"/>
                  </a:lnTo>
                  <a:lnTo>
                    <a:pt x="506" y="191"/>
                  </a:lnTo>
                  <a:lnTo>
                    <a:pt x="95" y="191"/>
                  </a:lnTo>
                  <a:lnTo>
                    <a:pt x="65" y="188"/>
                  </a:lnTo>
                  <a:lnTo>
                    <a:pt x="38" y="173"/>
                  </a:lnTo>
                  <a:lnTo>
                    <a:pt x="18" y="152"/>
                  </a:lnTo>
                  <a:lnTo>
                    <a:pt x="3" y="126"/>
                  </a:lnTo>
                  <a:lnTo>
                    <a:pt x="0" y="96"/>
                  </a:lnTo>
                  <a:lnTo>
                    <a:pt x="3" y="65"/>
                  </a:lnTo>
                  <a:lnTo>
                    <a:pt x="18" y="38"/>
                  </a:lnTo>
                  <a:lnTo>
                    <a:pt x="38" y="18"/>
                  </a:lnTo>
                  <a:lnTo>
                    <a:pt x="65" y="4"/>
                  </a:lnTo>
                  <a:lnTo>
                    <a:pt x="9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ES" sz="1800"/>
            </a:p>
          </p:txBody>
        </p:sp>
        <p:sp>
          <p:nvSpPr>
            <p:cNvPr id="30" name="Freeform 24"/>
            <p:cNvSpPr>
              <a:spLocks/>
            </p:cNvSpPr>
            <p:nvPr/>
          </p:nvSpPr>
          <p:spPr bwMode="auto">
            <a:xfrm>
              <a:off x="13931949" y="3228951"/>
              <a:ext cx="477838" cy="150813"/>
            </a:xfrm>
            <a:custGeom>
              <a:avLst/>
              <a:gdLst/>
              <a:ahLst/>
              <a:cxnLst>
                <a:cxn ang="0">
                  <a:pos x="95" y="0"/>
                </a:cxn>
                <a:cxn ang="0">
                  <a:pos x="506" y="0"/>
                </a:cxn>
                <a:cxn ang="0">
                  <a:pos x="536" y="4"/>
                </a:cxn>
                <a:cxn ang="0">
                  <a:pos x="561" y="18"/>
                </a:cxn>
                <a:cxn ang="0">
                  <a:pos x="583" y="38"/>
                </a:cxn>
                <a:cxn ang="0">
                  <a:pos x="596" y="65"/>
                </a:cxn>
                <a:cxn ang="0">
                  <a:pos x="601" y="96"/>
                </a:cxn>
                <a:cxn ang="0">
                  <a:pos x="596" y="126"/>
                </a:cxn>
                <a:cxn ang="0">
                  <a:pos x="583" y="152"/>
                </a:cxn>
                <a:cxn ang="0">
                  <a:pos x="561" y="173"/>
                </a:cxn>
                <a:cxn ang="0">
                  <a:pos x="536" y="188"/>
                </a:cxn>
                <a:cxn ang="0">
                  <a:pos x="506" y="191"/>
                </a:cxn>
                <a:cxn ang="0">
                  <a:pos x="95" y="191"/>
                </a:cxn>
                <a:cxn ang="0">
                  <a:pos x="64" y="188"/>
                </a:cxn>
                <a:cxn ang="0">
                  <a:pos x="37" y="173"/>
                </a:cxn>
                <a:cxn ang="0">
                  <a:pos x="18" y="152"/>
                </a:cxn>
                <a:cxn ang="0">
                  <a:pos x="3" y="126"/>
                </a:cxn>
                <a:cxn ang="0">
                  <a:pos x="0" y="96"/>
                </a:cxn>
                <a:cxn ang="0">
                  <a:pos x="3" y="65"/>
                </a:cxn>
                <a:cxn ang="0">
                  <a:pos x="18" y="38"/>
                </a:cxn>
                <a:cxn ang="0">
                  <a:pos x="37" y="18"/>
                </a:cxn>
                <a:cxn ang="0">
                  <a:pos x="64" y="4"/>
                </a:cxn>
                <a:cxn ang="0">
                  <a:pos x="95" y="0"/>
                </a:cxn>
              </a:cxnLst>
              <a:rect l="0" t="0" r="r" b="b"/>
              <a:pathLst>
                <a:path w="601" h="191">
                  <a:moveTo>
                    <a:pt x="95" y="0"/>
                  </a:moveTo>
                  <a:lnTo>
                    <a:pt x="506" y="0"/>
                  </a:lnTo>
                  <a:lnTo>
                    <a:pt x="536" y="4"/>
                  </a:lnTo>
                  <a:lnTo>
                    <a:pt x="561" y="18"/>
                  </a:lnTo>
                  <a:lnTo>
                    <a:pt x="583" y="38"/>
                  </a:lnTo>
                  <a:lnTo>
                    <a:pt x="596" y="65"/>
                  </a:lnTo>
                  <a:lnTo>
                    <a:pt x="601" y="96"/>
                  </a:lnTo>
                  <a:lnTo>
                    <a:pt x="596" y="126"/>
                  </a:lnTo>
                  <a:lnTo>
                    <a:pt x="583" y="152"/>
                  </a:lnTo>
                  <a:lnTo>
                    <a:pt x="561" y="173"/>
                  </a:lnTo>
                  <a:lnTo>
                    <a:pt x="536" y="188"/>
                  </a:lnTo>
                  <a:lnTo>
                    <a:pt x="506" y="191"/>
                  </a:lnTo>
                  <a:lnTo>
                    <a:pt x="95" y="191"/>
                  </a:lnTo>
                  <a:lnTo>
                    <a:pt x="64" y="188"/>
                  </a:lnTo>
                  <a:lnTo>
                    <a:pt x="37" y="173"/>
                  </a:lnTo>
                  <a:lnTo>
                    <a:pt x="18" y="152"/>
                  </a:lnTo>
                  <a:lnTo>
                    <a:pt x="3" y="126"/>
                  </a:lnTo>
                  <a:lnTo>
                    <a:pt x="0" y="96"/>
                  </a:lnTo>
                  <a:lnTo>
                    <a:pt x="3" y="65"/>
                  </a:lnTo>
                  <a:lnTo>
                    <a:pt x="18" y="38"/>
                  </a:lnTo>
                  <a:lnTo>
                    <a:pt x="37" y="18"/>
                  </a:lnTo>
                  <a:lnTo>
                    <a:pt x="64" y="4"/>
                  </a:lnTo>
                  <a:lnTo>
                    <a:pt x="9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ES" sz="1800"/>
            </a:p>
          </p:txBody>
        </p:sp>
        <p:sp>
          <p:nvSpPr>
            <p:cNvPr id="31" name="Freeform 25"/>
            <p:cNvSpPr>
              <a:spLocks/>
            </p:cNvSpPr>
            <p:nvPr/>
          </p:nvSpPr>
          <p:spPr bwMode="auto">
            <a:xfrm>
              <a:off x="10677574" y="3633763"/>
              <a:ext cx="477838" cy="153988"/>
            </a:xfrm>
            <a:custGeom>
              <a:avLst/>
              <a:gdLst/>
              <a:ahLst/>
              <a:cxnLst>
                <a:cxn ang="0">
                  <a:pos x="95" y="0"/>
                </a:cxn>
                <a:cxn ang="0">
                  <a:pos x="506" y="0"/>
                </a:cxn>
                <a:cxn ang="0">
                  <a:pos x="536" y="5"/>
                </a:cxn>
                <a:cxn ang="0">
                  <a:pos x="562" y="19"/>
                </a:cxn>
                <a:cxn ang="0">
                  <a:pos x="583" y="39"/>
                </a:cxn>
                <a:cxn ang="0">
                  <a:pos x="596" y="66"/>
                </a:cxn>
                <a:cxn ang="0">
                  <a:pos x="601" y="97"/>
                </a:cxn>
                <a:cxn ang="0">
                  <a:pos x="596" y="126"/>
                </a:cxn>
                <a:cxn ang="0">
                  <a:pos x="583" y="153"/>
                </a:cxn>
                <a:cxn ang="0">
                  <a:pos x="562" y="174"/>
                </a:cxn>
                <a:cxn ang="0">
                  <a:pos x="536" y="187"/>
                </a:cxn>
                <a:cxn ang="0">
                  <a:pos x="506" y="192"/>
                </a:cxn>
                <a:cxn ang="0">
                  <a:pos x="95" y="192"/>
                </a:cxn>
                <a:cxn ang="0">
                  <a:pos x="65" y="187"/>
                </a:cxn>
                <a:cxn ang="0">
                  <a:pos x="38" y="174"/>
                </a:cxn>
                <a:cxn ang="0">
                  <a:pos x="18" y="153"/>
                </a:cxn>
                <a:cxn ang="0">
                  <a:pos x="3" y="126"/>
                </a:cxn>
                <a:cxn ang="0">
                  <a:pos x="0" y="97"/>
                </a:cxn>
                <a:cxn ang="0">
                  <a:pos x="3" y="66"/>
                </a:cxn>
                <a:cxn ang="0">
                  <a:pos x="18" y="39"/>
                </a:cxn>
                <a:cxn ang="0">
                  <a:pos x="38" y="19"/>
                </a:cxn>
                <a:cxn ang="0">
                  <a:pos x="65" y="5"/>
                </a:cxn>
                <a:cxn ang="0">
                  <a:pos x="95" y="0"/>
                </a:cxn>
              </a:cxnLst>
              <a:rect l="0" t="0" r="r" b="b"/>
              <a:pathLst>
                <a:path w="601" h="192">
                  <a:moveTo>
                    <a:pt x="95" y="0"/>
                  </a:moveTo>
                  <a:lnTo>
                    <a:pt x="506" y="0"/>
                  </a:lnTo>
                  <a:lnTo>
                    <a:pt x="536" y="5"/>
                  </a:lnTo>
                  <a:lnTo>
                    <a:pt x="562" y="19"/>
                  </a:lnTo>
                  <a:lnTo>
                    <a:pt x="583" y="39"/>
                  </a:lnTo>
                  <a:lnTo>
                    <a:pt x="596" y="66"/>
                  </a:lnTo>
                  <a:lnTo>
                    <a:pt x="601" y="97"/>
                  </a:lnTo>
                  <a:lnTo>
                    <a:pt x="596" y="126"/>
                  </a:lnTo>
                  <a:lnTo>
                    <a:pt x="583" y="153"/>
                  </a:lnTo>
                  <a:lnTo>
                    <a:pt x="562" y="174"/>
                  </a:lnTo>
                  <a:lnTo>
                    <a:pt x="536" y="187"/>
                  </a:lnTo>
                  <a:lnTo>
                    <a:pt x="506" y="192"/>
                  </a:lnTo>
                  <a:lnTo>
                    <a:pt x="95" y="192"/>
                  </a:lnTo>
                  <a:lnTo>
                    <a:pt x="65" y="187"/>
                  </a:lnTo>
                  <a:lnTo>
                    <a:pt x="38" y="174"/>
                  </a:lnTo>
                  <a:lnTo>
                    <a:pt x="18" y="153"/>
                  </a:lnTo>
                  <a:lnTo>
                    <a:pt x="3" y="126"/>
                  </a:lnTo>
                  <a:lnTo>
                    <a:pt x="0" y="97"/>
                  </a:lnTo>
                  <a:lnTo>
                    <a:pt x="3" y="66"/>
                  </a:lnTo>
                  <a:lnTo>
                    <a:pt x="18" y="39"/>
                  </a:lnTo>
                  <a:lnTo>
                    <a:pt x="38" y="19"/>
                  </a:lnTo>
                  <a:lnTo>
                    <a:pt x="65" y="5"/>
                  </a:lnTo>
                  <a:lnTo>
                    <a:pt x="9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ES" sz="1800"/>
            </a:p>
          </p:txBody>
        </p:sp>
        <p:sp>
          <p:nvSpPr>
            <p:cNvPr id="32" name="Freeform 26"/>
            <p:cNvSpPr>
              <a:spLocks/>
            </p:cNvSpPr>
            <p:nvPr/>
          </p:nvSpPr>
          <p:spPr bwMode="auto">
            <a:xfrm>
              <a:off x="13931949" y="3633763"/>
              <a:ext cx="477838" cy="153988"/>
            </a:xfrm>
            <a:custGeom>
              <a:avLst/>
              <a:gdLst/>
              <a:ahLst/>
              <a:cxnLst>
                <a:cxn ang="0">
                  <a:pos x="95" y="0"/>
                </a:cxn>
                <a:cxn ang="0">
                  <a:pos x="506" y="0"/>
                </a:cxn>
                <a:cxn ang="0">
                  <a:pos x="536" y="5"/>
                </a:cxn>
                <a:cxn ang="0">
                  <a:pos x="561" y="19"/>
                </a:cxn>
                <a:cxn ang="0">
                  <a:pos x="583" y="39"/>
                </a:cxn>
                <a:cxn ang="0">
                  <a:pos x="596" y="66"/>
                </a:cxn>
                <a:cxn ang="0">
                  <a:pos x="601" y="97"/>
                </a:cxn>
                <a:cxn ang="0">
                  <a:pos x="596" y="126"/>
                </a:cxn>
                <a:cxn ang="0">
                  <a:pos x="583" y="153"/>
                </a:cxn>
                <a:cxn ang="0">
                  <a:pos x="561" y="174"/>
                </a:cxn>
                <a:cxn ang="0">
                  <a:pos x="536" y="187"/>
                </a:cxn>
                <a:cxn ang="0">
                  <a:pos x="506" y="192"/>
                </a:cxn>
                <a:cxn ang="0">
                  <a:pos x="95" y="192"/>
                </a:cxn>
                <a:cxn ang="0">
                  <a:pos x="64" y="187"/>
                </a:cxn>
                <a:cxn ang="0">
                  <a:pos x="37" y="174"/>
                </a:cxn>
                <a:cxn ang="0">
                  <a:pos x="18" y="153"/>
                </a:cxn>
                <a:cxn ang="0">
                  <a:pos x="3" y="126"/>
                </a:cxn>
                <a:cxn ang="0">
                  <a:pos x="0" y="97"/>
                </a:cxn>
                <a:cxn ang="0">
                  <a:pos x="3" y="66"/>
                </a:cxn>
                <a:cxn ang="0">
                  <a:pos x="18" y="39"/>
                </a:cxn>
                <a:cxn ang="0">
                  <a:pos x="37" y="19"/>
                </a:cxn>
                <a:cxn ang="0">
                  <a:pos x="64" y="5"/>
                </a:cxn>
                <a:cxn ang="0">
                  <a:pos x="95" y="0"/>
                </a:cxn>
              </a:cxnLst>
              <a:rect l="0" t="0" r="r" b="b"/>
              <a:pathLst>
                <a:path w="601" h="192">
                  <a:moveTo>
                    <a:pt x="95" y="0"/>
                  </a:moveTo>
                  <a:lnTo>
                    <a:pt x="506" y="0"/>
                  </a:lnTo>
                  <a:lnTo>
                    <a:pt x="536" y="5"/>
                  </a:lnTo>
                  <a:lnTo>
                    <a:pt x="561" y="19"/>
                  </a:lnTo>
                  <a:lnTo>
                    <a:pt x="583" y="39"/>
                  </a:lnTo>
                  <a:lnTo>
                    <a:pt x="596" y="66"/>
                  </a:lnTo>
                  <a:lnTo>
                    <a:pt x="601" y="97"/>
                  </a:lnTo>
                  <a:lnTo>
                    <a:pt x="596" y="126"/>
                  </a:lnTo>
                  <a:lnTo>
                    <a:pt x="583" y="153"/>
                  </a:lnTo>
                  <a:lnTo>
                    <a:pt x="561" y="174"/>
                  </a:lnTo>
                  <a:lnTo>
                    <a:pt x="536" y="187"/>
                  </a:lnTo>
                  <a:lnTo>
                    <a:pt x="506" y="192"/>
                  </a:lnTo>
                  <a:lnTo>
                    <a:pt x="95" y="192"/>
                  </a:lnTo>
                  <a:lnTo>
                    <a:pt x="64" y="187"/>
                  </a:lnTo>
                  <a:lnTo>
                    <a:pt x="37" y="174"/>
                  </a:lnTo>
                  <a:lnTo>
                    <a:pt x="18" y="153"/>
                  </a:lnTo>
                  <a:lnTo>
                    <a:pt x="3" y="126"/>
                  </a:lnTo>
                  <a:lnTo>
                    <a:pt x="0" y="97"/>
                  </a:lnTo>
                  <a:lnTo>
                    <a:pt x="3" y="66"/>
                  </a:lnTo>
                  <a:lnTo>
                    <a:pt x="18" y="39"/>
                  </a:lnTo>
                  <a:lnTo>
                    <a:pt x="37" y="19"/>
                  </a:lnTo>
                  <a:lnTo>
                    <a:pt x="64" y="5"/>
                  </a:lnTo>
                  <a:lnTo>
                    <a:pt x="9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ES" sz="1800"/>
            </a:p>
          </p:txBody>
        </p:sp>
        <p:sp>
          <p:nvSpPr>
            <p:cNvPr id="33" name="Freeform 27"/>
            <p:cNvSpPr>
              <a:spLocks noEditPoints="1"/>
            </p:cNvSpPr>
            <p:nvPr/>
          </p:nvSpPr>
          <p:spPr bwMode="auto">
            <a:xfrm>
              <a:off x="12141249" y="3309913"/>
              <a:ext cx="1047750" cy="1014413"/>
            </a:xfrm>
            <a:custGeom>
              <a:avLst/>
              <a:gdLst/>
              <a:ahLst/>
              <a:cxnLst>
                <a:cxn ang="0">
                  <a:pos x="477" y="707"/>
                </a:cxn>
                <a:cxn ang="0">
                  <a:pos x="430" y="736"/>
                </a:cxn>
                <a:cxn ang="0">
                  <a:pos x="401" y="783"/>
                </a:cxn>
                <a:cxn ang="0">
                  <a:pos x="401" y="841"/>
                </a:cxn>
                <a:cxn ang="0">
                  <a:pos x="430" y="889"/>
                </a:cxn>
                <a:cxn ang="0">
                  <a:pos x="477" y="918"/>
                </a:cxn>
                <a:cxn ang="0">
                  <a:pos x="534" y="918"/>
                </a:cxn>
                <a:cxn ang="0">
                  <a:pos x="583" y="889"/>
                </a:cxn>
                <a:cxn ang="0">
                  <a:pos x="612" y="841"/>
                </a:cxn>
                <a:cxn ang="0">
                  <a:pos x="612" y="783"/>
                </a:cxn>
                <a:cxn ang="0">
                  <a:pos x="583" y="736"/>
                </a:cxn>
                <a:cxn ang="0">
                  <a:pos x="534" y="707"/>
                </a:cxn>
                <a:cxn ang="0">
                  <a:pos x="1224" y="0"/>
                </a:cxn>
                <a:cxn ang="0">
                  <a:pos x="1271" y="11"/>
                </a:cxn>
                <a:cxn ang="0">
                  <a:pos x="1307" y="49"/>
                </a:cxn>
                <a:cxn ang="0">
                  <a:pos x="1319" y="95"/>
                </a:cxn>
                <a:cxn ang="0">
                  <a:pos x="1307" y="142"/>
                </a:cxn>
                <a:cxn ang="0">
                  <a:pos x="776" y="679"/>
                </a:cxn>
                <a:cxn ang="0">
                  <a:pos x="1224" y="716"/>
                </a:cxn>
                <a:cxn ang="0">
                  <a:pos x="1280" y="734"/>
                </a:cxn>
                <a:cxn ang="0">
                  <a:pos x="1314" y="783"/>
                </a:cxn>
                <a:cxn ang="0">
                  <a:pos x="1314" y="842"/>
                </a:cxn>
                <a:cxn ang="0">
                  <a:pos x="1280" y="889"/>
                </a:cxn>
                <a:cxn ang="0">
                  <a:pos x="1224" y="909"/>
                </a:cxn>
                <a:cxn ang="0">
                  <a:pos x="770" y="958"/>
                </a:cxn>
                <a:cxn ang="0">
                  <a:pos x="704" y="1039"/>
                </a:cxn>
                <a:cxn ang="0">
                  <a:pos x="614" y="1094"/>
                </a:cxn>
                <a:cxn ang="0">
                  <a:pos x="505" y="1114"/>
                </a:cxn>
                <a:cxn ang="0">
                  <a:pos x="414" y="1100"/>
                </a:cxn>
                <a:cxn ang="0">
                  <a:pos x="205" y="1249"/>
                </a:cxn>
                <a:cxn ang="0">
                  <a:pos x="162" y="1274"/>
                </a:cxn>
                <a:cxn ang="0">
                  <a:pos x="111" y="1274"/>
                </a:cxn>
                <a:cxn ang="0">
                  <a:pos x="68" y="1249"/>
                </a:cxn>
                <a:cxn ang="0">
                  <a:pos x="43" y="1206"/>
                </a:cxn>
                <a:cxn ang="0">
                  <a:pos x="43" y="1157"/>
                </a:cxn>
                <a:cxn ang="0">
                  <a:pos x="68" y="1114"/>
                </a:cxn>
                <a:cxn ang="0">
                  <a:pos x="221" y="909"/>
                </a:cxn>
                <a:cxn ang="0">
                  <a:pos x="66" y="904"/>
                </a:cxn>
                <a:cxn ang="0">
                  <a:pos x="19" y="869"/>
                </a:cxn>
                <a:cxn ang="0">
                  <a:pos x="0" y="812"/>
                </a:cxn>
                <a:cxn ang="0">
                  <a:pos x="19" y="756"/>
                </a:cxn>
                <a:cxn ang="0">
                  <a:pos x="66" y="722"/>
                </a:cxn>
                <a:cxn ang="0">
                  <a:pos x="221" y="716"/>
                </a:cxn>
                <a:cxn ang="0">
                  <a:pos x="271" y="625"/>
                </a:cxn>
                <a:cxn ang="0">
                  <a:pos x="351" y="554"/>
                </a:cxn>
                <a:cxn ang="0">
                  <a:pos x="451" y="517"/>
                </a:cxn>
                <a:cxn ang="0">
                  <a:pos x="552" y="515"/>
                </a:cxn>
                <a:cxn ang="0">
                  <a:pos x="641" y="544"/>
                </a:cxn>
                <a:cxn ang="0">
                  <a:pos x="1175" y="11"/>
                </a:cxn>
                <a:cxn ang="0">
                  <a:pos x="1224" y="0"/>
                </a:cxn>
              </a:cxnLst>
              <a:rect l="0" t="0" r="r" b="b"/>
              <a:pathLst>
                <a:path w="1319" h="1278">
                  <a:moveTo>
                    <a:pt x="505" y="704"/>
                  </a:moveTo>
                  <a:lnTo>
                    <a:pt x="477" y="707"/>
                  </a:lnTo>
                  <a:lnTo>
                    <a:pt x="451" y="718"/>
                  </a:lnTo>
                  <a:lnTo>
                    <a:pt x="430" y="736"/>
                  </a:lnTo>
                  <a:lnTo>
                    <a:pt x="412" y="758"/>
                  </a:lnTo>
                  <a:lnTo>
                    <a:pt x="401" y="783"/>
                  </a:lnTo>
                  <a:lnTo>
                    <a:pt x="397" y="812"/>
                  </a:lnTo>
                  <a:lnTo>
                    <a:pt x="401" y="841"/>
                  </a:lnTo>
                  <a:lnTo>
                    <a:pt x="412" y="868"/>
                  </a:lnTo>
                  <a:lnTo>
                    <a:pt x="430" y="889"/>
                  </a:lnTo>
                  <a:lnTo>
                    <a:pt x="451" y="907"/>
                  </a:lnTo>
                  <a:lnTo>
                    <a:pt x="477" y="918"/>
                  </a:lnTo>
                  <a:lnTo>
                    <a:pt x="505" y="922"/>
                  </a:lnTo>
                  <a:lnTo>
                    <a:pt x="534" y="918"/>
                  </a:lnTo>
                  <a:lnTo>
                    <a:pt x="561" y="907"/>
                  </a:lnTo>
                  <a:lnTo>
                    <a:pt x="583" y="889"/>
                  </a:lnTo>
                  <a:lnTo>
                    <a:pt x="601" y="868"/>
                  </a:lnTo>
                  <a:lnTo>
                    <a:pt x="612" y="841"/>
                  </a:lnTo>
                  <a:lnTo>
                    <a:pt x="615" y="812"/>
                  </a:lnTo>
                  <a:lnTo>
                    <a:pt x="612" y="783"/>
                  </a:lnTo>
                  <a:lnTo>
                    <a:pt x="601" y="758"/>
                  </a:lnTo>
                  <a:lnTo>
                    <a:pt x="583" y="736"/>
                  </a:lnTo>
                  <a:lnTo>
                    <a:pt x="561" y="718"/>
                  </a:lnTo>
                  <a:lnTo>
                    <a:pt x="534" y="707"/>
                  </a:lnTo>
                  <a:lnTo>
                    <a:pt x="505" y="704"/>
                  </a:lnTo>
                  <a:close/>
                  <a:moveTo>
                    <a:pt x="1224" y="0"/>
                  </a:moveTo>
                  <a:lnTo>
                    <a:pt x="1247" y="2"/>
                  </a:lnTo>
                  <a:lnTo>
                    <a:pt x="1271" y="11"/>
                  </a:lnTo>
                  <a:lnTo>
                    <a:pt x="1292" y="27"/>
                  </a:lnTo>
                  <a:lnTo>
                    <a:pt x="1307" y="49"/>
                  </a:lnTo>
                  <a:lnTo>
                    <a:pt x="1316" y="70"/>
                  </a:lnTo>
                  <a:lnTo>
                    <a:pt x="1319" y="95"/>
                  </a:lnTo>
                  <a:lnTo>
                    <a:pt x="1316" y="119"/>
                  </a:lnTo>
                  <a:lnTo>
                    <a:pt x="1307" y="142"/>
                  </a:lnTo>
                  <a:lnTo>
                    <a:pt x="1292" y="164"/>
                  </a:lnTo>
                  <a:lnTo>
                    <a:pt x="776" y="679"/>
                  </a:lnTo>
                  <a:lnTo>
                    <a:pt x="792" y="716"/>
                  </a:lnTo>
                  <a:lnTo>
                    <a:pt x="1224" y="716"/>
                  </a:lnTo>
                  <a:lnTo>
                    <a:pt x="1255" y="722"/>
                  </a:lnTo>
                  <a:lnTo>
                    <a:pt x="1280" y="734"/>
                  </a:lnTo>
                  <a:lnTo>
                    <a:pt x="1301" y="756"/>
                  </a:lnTo>
                  <a:lnTo>
                    <a:pt x="1314" y="783"/>
                  </a:lnTo>
                  <a:lnTo>
                    <a:pt x="1319" y="812"/>
                  </a:lnTo>
                  <a:lnTo>
                    <a:pt x="1314" y="842"/>
                  </a:lnTo>
                  <a:lnTo>
                    <a:pt x="1301" y="869"/>
                  </a:lnTo>
                  <a:lnTo>
                    <a:pt x="1280" y="889"/>
                  </a:lnTo>
                  <a:lnTo>
                    <a:pt x="1255" y="904"/>
                  </a:lnTo>
                  <a:lnTo>
                    <a:pt x="1224" y="909"/>
                  </a:lnTo>
                  <a:lnTo>
                    <a:pt x="792" y="909"/>
                  </a:lnTo>
                  <a:lnTo>
                    <a:pt x="770" y="958"/>
                  </a:lnTo>
                  <a:lnTo>
                    <a:pt x="740" y="1001"/>
                  </a:lnTo>
                  <a:lnTo>
                    <a:pt x="704" y="1039"/>
                  </a:lnTo>
                  <a:lnTo>
                    <a:pt x="662" y="1071"/>
                  </a:lnTo>
                  <a:lnTo>
                    <a:pt x="614" y="1094"/>
                  </a:lnTo>
                  <a:lnTo>
                    <a:pt x="561" y="1109"/>
                  </a:lnTo>
                  <a:lnTo>
                    <a:pt x="505" y="1114"/>
                  </a:lnTo>
                  <a:lnTo>
                    <a:pt x="459" y="1111"/>
                  </a:lnTo>
                  <a:lnTo>
                    <a:pt x="414" y="1100"/>
                  </a:lnTo>
                  <a:lnTo>
                    <a:pt x="372" y="1082"/>
                  </a:lnTo>
                  <a:lnTo>
                    <a:pt x="205" y="1249"/>
                  </a:lnTo>
                  <a:lnTo>
                    <a:pt x="183" y="1265"/>
                  </a:lnTo>
                  <a:lnTo>
                    <a:pt x="162" y="1274"/>
                  </a:lnTo>
                  <a:lnTo>
                    <a:pt x="136" y="1278"/>
                  </a:lnTo>
                  <a:lnTo>
                    <a:pt x="111" y="1274"/>
                  </a:lnTo>
                  <a:lnTo>
                    <a:pt x="90" y="1265"/>
                  </a:lnTo>
                  <a:lnTo>
                    <a:pt x="68" y="1249"/>
                  </a:lnTo>
                  <a:lnTo>
                    <a:pt x="54" y="1229"/>
                  </a:lnTo>
                  <a:lnTo>
                    <a:pt x="43" y="1206"/>
                  </a:lnTo>
                  <a:lnTo>
                    <a:pt x="41" y="1183"/>
                  </a:lnTo>
                  <a:lnTo>
                    <a:pt x="43" y="1157"/>
                  </a:lnTo>
                  <a:lnTo>
                    <a:pt x="54" y="1134"/>
                  </a:lnTo>
                  <a:lnTo>
                    <a:pt x="68" y="1114"/>
                  </a:lnTo>
                  <a:lnTo>
                    <a:pt x="237" y="947"/>
                  </a:lnTo>
                  <a:lnTo>
                    <a:pt x="221" y="909"/>
                  </a:lnTo>
                  <a:lnTo>
                    <a:pt x="97" y="909"/>
                  </a:lnTo>
                  <a:lnTo>
                    <a:pt x="66" y="904"/>
                  </a:lnTo>
                  <a:lnTo>
                    <a:pt x="39" y="889"/>
                  </a:lnTo>
                  <a:lnTo>
                    <a:pt x="19" y="869"/>
                  </a:lnTo>
                  <a:lnTo>
                    <a:pt x="5" y="842"/>
                  </a:lnTo>
                  <a:lnTo>
                    <a:pt x="0" y="812"/>
                  </a:lnTo>
                  <a:lnTo>
                    <a:pt x="5" y="783"/>
                  </a:lnTo>
                  <a:lnTo>
                    <a:pt x="19" y="756"/>
                  </a:lnTo>
                  <a:lnTo>
                    <a:pt x="39" y="734"/>
                  </a:lnTo>
                  <a:lnTo>
                    <a:pt x="66" y="722"/>
                  </a:lnTo>
                  <a:lnTo>
                    <a:pt x="97" y="716"/>
                  </a:lnTo>
                  <a:lnTo>
                    <a:pt x="221" y="716"/>
                  </a:lnTo>
                  <a:lnTo>
                    <a:pt x="243" y="668"/>
                  </a:lnTo>
                  <a:lnTo>
                    <a:pt x="271" y="625"/>
                  </a:lnTo>
                  <a:lnTo>
                    <a:pt x="307" y="585"/>
                  </a:lnTo>
                  <a:lnTo>
                    <a:pt x="351" y="554"/>
                  </a:lnTo>
                  <a:lnTo>
                    <a:pt x="399" y="531"/>
                  </a:lnTo>
                  <a:lnTo>
                    <a:pt x="451" y="517"/>
                  </a:lnTo>
                  <a:lnTo>
                    <a:pt x="505" y="511"/>
                  </a:lnTo>
                  <a:lnTo>
                    <a:pt x="552" y="515"/>
                  </a:lnTo>
                  <a:lnTo>
                    <a:pt x="597" y="526"/>
                  </a:lnTo>
                  <a:lnTo>
                    <a:pt x="641" y="544"/>
                  </a:lnTo>
                  <a:lnTo>
                    <a:pt x="1155" y="27"/>
                  </a:lnTo>
                  <a:lnTo>
                    <a:pt x="1175" y="11"/>
                  </a:lnTo>
                  <a:lnTo>
                    <a:pt x="1199" y="2"/>
                  </a:lnTo>
                  <a:lnTo>
                    <a:pt x="12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s-ES" sz="1800"/>
            </a:p>
          </p:txBody>
        </p:sp>
      </p:grpSp>
    </p:spTree>
    <p:extLst>
      <p:ext uri="{BB962C8B-B14F-4D97-AF65-F5344CB8AC3E}">
        <p14:creationId xmlns:p14="http://schemas.microsoft.com/office/powerpoint/2010/main" val="1925710951"/>
      </p:ext>
    </p:extLst>
  </p:cSld>
  <p:clrMapOvr>
    <a:masterClrMapping/>
  </p:clrMapOvr>
  <p:transition spd="slow"/>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Organización y Equipo">
    <p:spTree>
      <p:nvGrpSpPr>
        <p:cNvPr id="1" name=""/>
        <p:cNvGrpSpPr/>
        <p:nvPr/>
      </p:nvGrpSpPr>
      <p:grpSpPr>
        <a:xfrm>
          <a:off x="0" y="0"/>
          <a:ext cx="0" cy="0"/>
          <a:chOff x="0" y="0"/>
          <a:chExt cx="0" cy="0"/>
        </a:xfrm>
      </p:grpSpPr>
      <p:sp>
        <p:nvSpPr>
          <p:cNvPr id="23" name="22 Marcador de texto"/>
          <p:cNvSpPr>
            <a:spLocks noGrp="1"/>
          </p:cNvSpPr>
          <p:nvPr>
            <p:ph type="body" sz="quarter" idx="23"/>
          </p:nvPr>
        </p:nvSpPr>
        <p:spPr>
          <a:xfrm>
            <a:off x="423986" y="1320801"/>
            <a:ext cx="11344031" cy="5151940"/>
          </a:xfrm>
        </p:spPr>
        <p:txBody>
          <a:bodyPr>
            <a:noAutofit/>
          </a:bodyPr>
          <a:lstStyle>
            <a:lvl5pPr marL="858838" indent="-171450">
              <a:defRPr kumimoji="0" lang="es-ES" sz="1100" b="0" i="0" u="none" strike="noStrike" kern="1200" cap="none" spc="0" normalizeH="0" baseline="0" noProof="0" dirty="0" smtClean="0">
                <a:ln>
                  <a:noFill/>
                </a:ln>
                <a:solidFill>
                  <a:srgbClr val="494949"/>
                </a:solidFill>
                <a:effectLst/>
                <a:uLnTx/>
                <a:uFillTx/>
                <a:latin typeface="+mn-lt"/>
                <a:ea typeface="+mn-ea"/>
                <a:cs typeface="+mn-cs"/>
              </a:defRPr>
            </a:lvl5pPr>
            <a:lvl6pPr marL="969962" indent="0">
              <a:defRPr kumimoji="0" lang="es-ES" sz="1100" b="0" i="0" u="none" strike="noStrike" kern="1200" cap="none" spc="0" normalizeH="0" baseline="0" noProof="0" dirty="0" smtClean="0">
                <a:ln>
                  <a:noFill/>
                </a:ln>
                <a:solidFill>
                  <a:schemeClr val="tx1"/>
                </a:solidFill>
                <a:effectLst/>
                <a:uLnTx/>
                <a:uFillTx/>
                <a:latin typeface="+mn-lt"/>
                <a:ea typeface="+mn-ea"/>
                <a:cs typeface="+mn-cs"/>
              </a:defRPr>
            </a:lvl6pPr>
            <a:lvl7pPr>
              <a:defRPr/>
            </a:lvl7pPr>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a:p>
            <a:pPr marL="846138" marR="0" lvl="4" indent="-158750" algn="l" defTabSz="914400" rtl="0" eaLnBrk="1" fontAlgn="auto" latinLnBrk="0" hangingPunct="1">
              <a:lnSpc>
                <a:spcPct val="100000"/>
              </a:lnSpc>
              <a:spcBef>
                <a:spcPts val="0"/>
              </a:spcBef>
              <a:spcAft>
                <a:spcPts val="200"/>
              </a:spcAft>
              <a:buClr>
                <a:schemeClr val="accent1">
                  <a:lumMod val="90000"/>
                </a:schemeClr>
              </a:buClr>
              <a:buSzTx/>
              <a:buFont typeface="Arial" pitchFamily="34" charset="0"/>
              <a:buChar char="•"/>
              <a:tabLst/>
              <a:defRPr/>
            </a:pPr>
            <a:r>
              <a:rPr lang="es-ES" noProof="0"/>
              <a:t>Quinto nivel</a:t>
            </a:r>
          </a:p>
          <a:p>
            <a:pPr marL="1111250" lvl="5" indent="-141288" algn="l" defTabSz="914400" rtl="0" eaLnBrk="1" latinLnBrk="0" hangingPunct="1">
              <a:spcBef>
                <a:spcPct val="20000"/>
              </a:spcBef>
              <a:buFontTx/>
              <a:buNone/>
              <a:tabLst/>
            </a:pPr>
            <a:r>
              <a:rPr lang="es-ES" noProof="0"/>
              <a:t>- </a:t>
            </a:r>
            <a:r>
              <a:rPr lang="es-ES" noProof="0" err="1"/>
              <a:t>bhhh</a:t>
            </a:r>
            <a:endParaRPr lang="es-ES" noProof="0"/>
          </a:p>
        </p:txBody>
      </p:sp>
      <p:sp>
        <p:nvSpPr>
          <p:cNvPr id="92" name="27 Título"/>
          <p:cNvSpPr>
            <a:spLocks noGrp="1"/>
          </p:cNvSpPr>
          <p:nvPr userDrawn="1">
            <p:ph type="title" hasCustomPrompt="1"/>
          </p:nvPr>
        </p:nvSpPr>
        <p:spPr>
          <a:xfrm>
            <a:off x="1235961" y="334929"/>
            <a:ext cx="8936800" cy="518277"/>
          </a:xfrm>
        </p:spPr>
        <p:txBody>
          <a:bodyPr>
            <a:noAutofit/>
          </a:bodyPr>
          <a:lstStyle>
            <a:lvl1pPr>
              <a:defRPr sz="2000">
                <a:solidFill>
                  <a:schemeClr val="tx1"/>
                </a:solidFill>
              </a:defRPr>
            </a:lvl1pPr>
          </a:lstStyle>
          <a:p>
            <a:r>
              <a:rPr lang="es-ES"/>
              <a:t>Título</a:t>
            </a:r>
            <a:endParaRPr lang="en-US"/>
          </a:p>
        </p:txBody>
      </p:sp>
      <p:sp>
        <p:nvSpPr>
          <p:cNvPr id="6" name="21 CuadroTexto"/>
          <p:cNvSpPr txBox="1"/>
          <p:nvPr userDrawn="1"/>
        </p:nvSpPr>
        <p:spPr>
          <a:xfrm>
            <a:off x="1192823" y="19050"/>
            <a:ext cx="8988270" cy="248400"/>
          </a:xfrm>
          <a:prstGeom prst="rect">
            <a:avLst/>
          </a:prstGeom>
        </p:spPr>
        <p:txBody>
          <a:bodyPr vert="horz" lIns="0" tIns="0" rIns="0" bIns="0" rtlCol="0" anchor="ctr">
            <a:noAutofit/>
          </a:bodyPr>
          <a:lstStyle/>
          <a:p>
            <a:pPr marL="144000" marR="0" lvl="0" indent="0" algn="l" defTabSz="914400" rtl="0" eaLnBrk="1" fontAlgn="base" latinLnBrk="0" hangingPunct="1">
              <a:lnSpc>
                <a:spcPct val="100000"/>
              </a:lnSpc>
              <a:spcBef>
                <a:spcPts val="600"/>
              </a:spcBef>
              <a:spcAft>
                <a:spcPts val="300"/>
              </a:spcAft>
              <a:buClr>
                <a:srgbClr val="505150"/>
              </a:buClr>
              <a:buSzPct val="88000"/>
              <a:buFont typeface="Arial" pitchFamily="34" charset="0"/>
              <a:buNone/>
              <a:tabLst>
                <a:tab pos="1346200" algn="l"/>
              </a:tabLst>
              <a:defRPr/>
            </a:pPr>
            <a:r>
              <a:rPr kumimoji="0" lang="es-ES" sz="1050" b="0" i="0" u="none" strike="noStrike" kern="1200" cap="none" spc="0" normalizeH="0" baseline="0" noProof="0">
                <a:ln>
                  <a:noFill/>
                </a:ln>
                <a:solidFill>
                  <a:schemeClr val="tx1"/>
                </a:solidFill>
                <a:effectLst/>
                <a:uLnTx/>
                <a:uFillTx/>
                <a:latin typeface="+mn-lt"/>
                <a:ea typeface="+mn-ea"/>
                <a:cs typeface="+mn-cs"/>
                <a:sym typeface="Droid Sans" charset="0"/>
              </a:rPr>
              <a:t>Organización y Equipo</a:t>
            </a:r>
          </a:p>
        </p:txBody>
      </p:sp>
      <p:sp>
        <p:nvSpPr>
          <p:cNvPr id="7" name="26 Marcador de contenido"/>
          <p:cNvSpPr>
            <a:spLocks noGrp="1"/>
          </p:cNvSpPr>
          <p:nvPr>
            <p:ph sz="quarter" idx="26" hasCustomPrompt="1"/>
          </p:nvPr>
        </p:nvSpPr>
        <p:spPr>
          <a:xfrm>
            <a:off x="1192823" y="863255"/>
            <a:ext cx="8988270" cy="225425"/>
          </a:xfrm>
        </p:spPr>
        <p:txBody>
          <a:bodyPr anchor="ctr">
            <a:noAutofit/>
          </a:bodyPr>
          <a:lstStyle>
            <a:lvl1pPr marL="144000">
              <a:defRPr sz="1000" cap="all" spc="300" baseline="0">
                <a:solidFill>
                  <a:schemeClr val="tx1"/>
                </a:solidFill>
              </a:defRPr>
            </a:lvl1pPr>
            <a:lvl7pPr>
              <a:defRPr>
                <a:solidFill>
                  <a:schemeClr val="tx1">
                    <a:lumMod val="50000"/>
                    <a:lumOff val="50000"/>
                  </a:schemeClr>
                </a:solidFill>
              </a:defRPr>
            </a:lvl7pPr>
          </a:lstStyle>
          <a:p>
            <a:pPr lvl="0"/>
            <a:r>
              <a:rPr lang="es-ES"/>
              <a:t>Subtítulo</a:t>
            </a:r>
            <a:endParaRPr lang="en-US"/>
          </a:p>
        </p:txBody>
      </p:sp>
      <p:sp>
        <p:nvSpPr>
          <p:cNvPr id="2" name="Marcador de número de diapositiva 1"/>
          <p:cNvSpPr>
            <a:spLocks noGrp="1"/>
          </p:cNvSpPr>
          <p:nvPr>
            <p:ph type="sldNum" sz="quarter" idx="27"/>
          </p:nvPr>
        </p:nvSpPr>
        <p:spPr/>
        <p:txBody>
          <a:bodyPr/>
          <a:lstStyle/>
          <a:p>
            <a:pPr marL="7938" algn="ctr" fontAlgn="base">
              <a:spcAft>
                <a:spcPct val="0"/>
              </a:spcAft>
              <a:buClr>
                <a:srgbClr val="505150"/>
              </a:buClr>
              <a:buSzPct val="88000"/>
            </a:pPr>
            <a:fld id="{B90C96D8-0395-4AF3-8A78-0E88AEC6FB3C}" type="slidenum">
              <a:rPr lang="es-ES" smtClean="0"/>
              <a:pPr marL="7938" algn="ctr" fontAlgn="base">
                <a:spcAft>
                  <a:spcPct val="0"/>
                </a:spcAft>
                <a:buClr>
                  <a:srgbClr val="505150"/>
                </a:buClr>
                <a:buSzPct val="88000"/>
              </a:pPr>
              <a:t>‹Nº›</a:t>
            </a:fld>
            <a:endParaRPr lang="es-ES"/>
          </a:p>
        </p:txBody>
      </p:sp>
      <p:sp>
        <p:nvSpPr>
          <p:cNvPr id="34" name="Shape 3690"/>
          <p:cNvSpPr/>
          <p:nvPr userDrawn="1"/>
        </p:nvSpPr>
        <p:spPr>
          <a:xfrm>
            <a:off x="437436" y="433552"/>
            <a:ext cx="442661" cy="294300"/>
          </a:xfrm>
          <a:custGeom>
            <a:avLst/>
            <a:gdLst/>
            <a:ahLst/>
            <a:cxnLst>
              <a:cxn ang="0">
                <a:pos x="wd2" y="hd2"/>
              </a:cxn>
              <a:cxn ang="5400000">
                <a:pos x="wd2" y="hd2"/>
              </a:cxn>
              <a:cxn ang="10800000">
                <a:pos x="wd2" y="hd2"/>
              </a:cxn>
              <a:cxn ang="16200000">
                <a:pos x="wd2" y="hd2"/>
              </a:cxn>
            </a:cxnLst>
            <a:rect l="0" t="0" r="r" b="b"/>
            <a:pathLst>
              <a:path w="21600" h="21600" extrusionOk="0">
                <a:moveTo>
                  <a:pt x="4457" y="20400"/>
                </a:moveTo>
                <a:cubicBezTo>
                  <a:pt x="4686" y="18710"/>
                  <a:pt x="5897" y="18036"/>
                  <a:pt x="7134" y="17493"/>
                </a:cubicBezTo>
                <a:lnTo>
                  <a:pt x="7173" y="17477"/>
                </a:lnTo>
                <a:cubicBezTo>
                  <a:pt x="8055" y="17190"/>
                  <a:pt x="9626" y="16039"/>
                  <a:pt x="9626" y="13569"/>
                </a:cubicBezTo>
                <a:cubicBezTo>
                  <a:pt x="9626" y="11474"/>
                  <a:pt x="8932" y="10452"/>
                  <a:pt x="8558" y="9902"/>
                </a:cubicBezTo>
                <a:cubicBezTo>
                  <a:pt x="8484" y="9791"/>
                  <a:pt x="8394" y="9649"/>
                  <a:pt x="8414" y="9680"/>
                </a:cubicBezTo>
                <a:cubicBezTo>
                  <a:pt x="8384" y="9599"/>
                  <a:pt x="8237" y="9129"/>
                  <a:pt x="8449" y="8035"/>
                </a:cubicBezTo>
                <a:cubicBezTo>
                  <a:pt x="8549" y="7523"/>
                  <a:pt x="8380" y="7241"/>
                  <a:pt x="8380" y="7241"/>
                </a:cubicBezTo>
                <a:cubicBezTo>
                  <a:pt x="8112" y="6504"/>
                  <a:pt x="7614" y="5133"/>
                  <a:pt x="7988" y="4025"/>
                </a:cubicBezTo>
                <a:cubicBezTo>
                  <a:pt x="8490" y="2492"/>
                  <a:pt x="8935" y="2190"/>
                  <a:pt x="9741" y="1747"/>
                </a:cubicBezTo>
                <a:cubicBezTo>
                  <a:pt x="9788" y="1721"/>
                  <a:pt x="9834" y="1692"/>
                  <a:pt x="9877" y="1657"/>
                </a:cubicBezTo>
                <a:cubicBezTo>
                  <a:pt x="10029" y="1535"/>
                  <a:pt x="10674" y="1200"/>
                  <a:pt x="11403" y="1200"/>
                </a:cubicBezTo>
                <a:cubicBezTo>
                  <a:pt x="11768" y="1200"/>
                  <a:pt x="12075" y="1285"/>
                  <a:pt x="12318" y="1454"/>
                </a:cubicBezTo>
                <a:cubicBezTo>
                  <a:pt x="12610" y="1656"/>
                  <a:pt x="12890" y="2039"/>
                  <a:pt x="13313" y="3272"/>
                </a:cubicBezTo>
                <a:cubicBezTo>
                  <a:pt x="14101" y="5469"/>
                  <a:pt x="13602" y="6698"/>
                  <a:pt x="13350" y="7124"/>
                </a:cubicBezTo>
                <a:cubicBezTo>
                  <a:pt x="13183" y="7407"/>
                  <a:pt x="13126" y="7764"/>
                  <a:pt x="13191" y="8103"/>
                </a:cubicBezTo>
                <a:cubicBezTo>
                  <a:pt x="13386" y="9109"/>
                  <a:pt x="13260" y="9535"/>
                  <a:pt x="13227" y="9619"/>
                </a:cubicBezTo>
                <a:cubicBezTo>
                  <a:pt x="13219" y="9631"/>
                  <a:pt x="13101" y="9813"/>
                  <a:pt x="13041" y="9902"/>
                </a:cubicBezTo>
                <a:cubicBezTo>
                  <a:pt x="12668" y="10452"/>
                  <a:pt x="11973" y="11474"/>
                  <a:pt x="11973" y="13569"/>
                </a:cubicBezTo>
                <a:cubicBezTo>
                  <a:pt x="11973" y="16039"/>
                  <a:pt x="13545" y="17190"/>
                  <a:pt x="14427" y="17477"/>
                </a:cubicBezTo>
                <a:lnTo>
                  <a:pt x="14466" y="17493"/>
                </a:lnTo>
                <a:cubicBezTo>
                  <a:pt x="15703" y="18036"/>
                  <a:pt x="16914" y="18710"/>
                  <a:pt x="17143" y="20400"/>
                </a:cubicBezTo>
                <a:cubicBezTo>
                  <a:pt x="17143" y="20400"/>
                  <a:pt x="4457" y="20400"/>
                  <a:pt x="4457" y="20400"/>
                </a:cubicBezTo>
                <a:close/>
                <a:moveTo>
                  <a:pt x="14715" y="16328"/>
                </a:moveTo>
                <a:cubicBezTo>
                  <a:pt x="14715" y="16328"/>
                  <a:pt x="12955" y="15815"/>
                  <a:pt x="12955" y="13569"/>
                </a:cubicBezTo>
                <a:cubicBezTo>
                  <a:pt x="12955" y="11596"/>
                  <a:pt x="13678" y="10901"/>
                  <a:pt x="13957" y="10422"/>
                </a:cubicBezTo>
                <a:cubicBezTo>
                  <a:pt x="13957" y="10422"/>
                  <a:pt x="14531" y="9808"/>
                  <a:pt x="14146" y="7826"/>
                </a:cubicBezTo>
                <a:cubicBezTo>
                  <a:pt x="14787" y="6740"/>
                  <a:pt x="14995" y="4972"/>
                  <a:pt x="14211" y="2789"/>
                </a:cubicBezTo>
                <a:cubicBezTo>
                  <a:pt x="13774" y="1514"/>
                  <a:pt x="13389" y="814"/>
                  <a:pt x="12801" y="409"/>
                </a:cubicBezTo>
                <a:cubicBezTo>
                  <a:pt x="12370" y="110"/>
                  <a:pt x="11880" y="0"/>
                  <a:pt x="11403" y="0"/>
                </a:cubicBezTo>
                <a:cubicBezTo>
                  <a:pt x="10516" y="0"/>
                  <a:pt x="9675" y="384"/>
                  <a:pt x="9339" y="653"/>
                </a:cubicBezTo>
                <a:cubicBezTo>
                  <a:pt x="8357" y="1192"/>
                  <a:pt x="7697" y="1688"/>
                  <a:pt x="7077" y="3580"/>
                </a:cubicBezTo>
                <a:cubicBezTo>
                  <a:pt x="6540" y="5169"/>
                  <a:pt x="7179" y="6892"/>
                  <a:pt x="7494" y="7758"/>
                </a:cubicBezTo>
                <a:cubicBezTo>
                  <a:pt x="7110" y="9740"/>
                  <a:pt x="7642" y="10422"/>
                  <a:pt x="7642" y="10422"/>
                </a:cubicBezTo>
                <a:cubicBezTo>
                  <a:pt x="7922" y="10901"/>
                  <a:pt x="8644" y="11596"/>
                  <a:pt x="8644" y="13569"/>
                </a:cubicBezTo>
                <a:cubicBezTo>
                  <a:pt x="8644" y="15815"/>
                  <a:pt x="6885" y="16328"/>
                  <a:pt x="6885" y="16328"/>
                </a:cubicBezTo>
                <a:cubicBezTo>
                  <a:pt x="5768" y="16819"/>
                  <a:pt x="3436" y="17760"/>
                  <a:pt x="3436" y="21000"/>
                </a:cubicBezTo>
                <a:cubicBezTo>
                  <a:pt x="3436" y="21000"/>
                  <a:pt x="3436" y="21600"/>
                  <a:pt x="3927" y="21600"/>
                </a:cubicBezTo>
                <a:lnTo>
                  <a:pt x="17673" y="21600"/>
                </a:lnTo>
                <a:cubicBezTo>
                  <a:pt x="18164" y="21600"/>
                  <a:pt x="18164" y="21000"/>
                  <a:pt x="18164" y="21000"/>
                </a:cubicBezTo>
                <a:cubicBezTo>
                  <a:pt x="18164" y="17760"/>
                  <a:pt x="15832" y="16819"/>
                  <a:pt x="14715" y="16328"/>
                </a:cubicBezTo>
                <a:moveTo>
                  <a:pt x="19516" y="15007"/>
                </a:moveTo>
                <a:cubicBezTo>
                  <a:pt x="19516" y="15007"/>
                  <a:pt x="18416" y="14701"/>
                  <a:pt x="18416" y="12954"/>
                </a:cubicBezTo>
                <a:cubicBezTo>
                  <a:pt x="18416" y="11419"/>
                  <a:pt x="18794" y="10879"/>
                  <a:pt x="19017" y="10506"/>
                </a:cubicBezTo>
                <a:cubicBezTo>
                  <a:pt x="19017" y="10506"/>
                  <a:pt x="19443" y="9975"/>
                  <a:pt x="19136" y="8434"/>
                </a:cubicBezTo>
                <a:cubicBezTo>
                  <a:pt x="19388" y="7760"/>
                  <a:pt x="19900" y="6420"/>
                  <a:pt x="19470" y="5184"/>
                </a:cubicBezTo>
                <a:cubicBezTo>
                  <a:pt x="18974" y="3713"/>
                  <a:pt x="18645" y="3327"/>
                  <a:pt x="17860" y="2908"/>
                </a:cubicBezTo>
                <a:cubicBezTo>
                  <a:pt x="17591" y="2699"/>
                  <a:pt x="16918" y="2400"/>
                  <a:pt x="16208" y="2400"/>
                </a:cubicBezTo>
                <a:cubicBezTo>
                  <a:pt x="15873" y="2400"/>
                  <a:pt x="15531" y="2474"/>
                  <a:pt x="15218" y="2647"/>
                </a:cubicBezTo>
                <a:cubicBezTo>
                  <a:pt x="15343" y="3035"/>
                  <a:pt x="15449" y="3420"/>
                  <a:pt x="15525" y="3799"/>
                </a:cubicBezTo>
                <a:cubicBezTo>
                  <a:pt x="15537" y="3791"/>
                  <a:pt x="15550" y="3779"/>
                  <a:pt x="15563" y="3770"/>
                </a:cubicBezTo>
                <a:cubicBezTo>
                  <a:pt x="15730" y="3657"/>
                  <a:pt x="15948" y="3600"/>
                  <a:pt x="16208" y="3600"/>
                </a:cubicBezTo>
                <a:cubicBezTo>
                  <a:pt x="16716" y="3600"/>
                  <a:pt x="17211" y="3826"/>
                  <a:pt x="17332" y="3919"/>
                </a:cubicBezTo>
                <a:cubicBezTo>
                  <a:pt x="17375" y="3953"/>
                  <a:pt x="17421" y="3983"/>
                  <a:pt x="17467" y="4007"/>
                </a:cubicBezTo>
                <a:cubicBezTo>
                  <a:pt x="17950" y="4265"/>
                  <a:pt x="18131" y="4361"/>
                  <a:pt x="18562" y="5641"/>
                </a:cubicBezTo>
                <a:cubicBezTo>
                  <a:pt x="18822" y="6387"/>
                  <a:pt x="18452" y="7378"/>
                  <a:pt x="18253" y="7910"/>
                </a:cubicBezTo>
                <a:cubicBezTo>
                  <a:pt x="18161" y="8155"/>
                  <a:pt x="18130" y="8457"/>
                  <a:pt x="18182" y="8719"/>
                </a:cubicBezTo>
                <a:cubicBezTo>
                  <a:pt x="18316" y="9392"/>
                  <a:pt x="18254" y="9707"/>
                  <a:pt x="18232" y="9784"/>
                </a:cubicBezTo>
                <a:cubicBezTo>
                  <a:pt x="18230" y="9789"/>
                  <a:pt x="18227" y="9793"/>
                  <a:pt x="18224" y="9798"/>
                </a:cubicBezTo>
                <a:lnTo>
                  <a:pt x="18191" y="9853"/>
                </a:lnTo>
                <a:cubicBezTo>
                  <a:pt x="17926" y="10290"/>
                  <a:pt x="17434" y="11106"/>
                  <a:pt x="17434" y="12954"/>
                </a:cubicBezTo>
                <a:cubicBezTo>
                  <a:pt x="17434" y="15019"/>
                  <a:pt x="18570" y="15932"/>
                  <a:pt x="19229" y="16155"/>
                </a:cubicBezTo>
                <a:cubicBezTo>
                  <a:pt x="19856" y="16429"/>
                  <a:pt x="20435" y="16859"/>
                  <a:pt x="20582" y="17999"/>
                </a:cubicBezTo>
                <a:lnTo>
                  <a:pt x="18459" y="18000"/>
                </a:lnTo>
                <a:cubicBezTo>
                  <a:pt x="18647" y="18353"/>
                  <a:pt x="18802" y="18755"/>
                  <a:pt x="18920" y="19200"/>
                </a:cubicBezTo>
                <a:lnTo>
                  <a:pt x="21109" y="19199"/>
                </a:lnTo>
                <a:cubicBezTo>
                  <a:pt x="21600" y="19199"/>
                  <a:pt x="21600" y="18599"/>
                  <a:pt x="21600" y="18599"/>
                </a:cubicBezTo>
                <a:cubicBezTo>
                  <a:pt x="21600" y="16199"/>
                  <a:pt x="20410" y="15387"/>
                  <a:pt x="19516" y="15007"/>
                </a:cubicBezTo>
                <a:moveTo>
                  <a:pt x="2371" y="16155"/>
                </a:moveTo>
                <a:cubicBezTo>
                  <a:pt x="3030" y="15932"/>
                  <a:pt x="4166" y="15019"/>
                  <a:pt x="4166" y="12954"/>
                </a:cubicBezTo>
                <a:cubicBezTo>
                  <a:pt x="4166" y="11106"/>
                  <a:pt x="3673" y="10290"/>
                  <a:pt x="3409" y="9853"/>
                </a:cubicBezTo>
                <a:lnTo>
                  <a:pt x="3376" y="9798"/>
                </a:lnTo>
                <a:cubicBezTo>
                  <a:pt x="3373" y="9793"/>
                  <a:pt x="3370" y="9789"/>
                  <a:pt x="3367" y="9784"/>
                </a:cubicBezTo>
                <a:cubicBezTo>
                  <a:pt x="3346" y="9707"/>
                  <a:pt x="3283" y="9392"/>
                  <a:pt x="3418" y="8719"/>
                </a:cubicBezTo>
                <a:cubicBezTo>
                  <a:pt x="3470" y="8457"/>
                  <a:pt x="3439" y="8155"/>
                  <a:pt x="3347" y="7910"/>
                </a:cubicBezTo>
                <a:cubicBezTo>
                  <a:pt x="3148" y="7378"/>
                  <a:pt x="2778" y="6387"/>
                  <a:pt x="3038" y="5641"/>
                </a:cubicBezTo>
                <a:cubicBezTo>
                  <a:pt x="3469" y="4361"/>
                  <a:pt x="3649" y="4265"/>
                  <a:pt x="4133" y="4007"/>
                </a:cubicBezTo>
                <a:cubicBezTo>
                  <a:pt x="4180" y="3983"/>
                  <a:pt x="4225" y="3953"/>
                  <a:pt x="4268" y="3919"/>
                </a:cubicBezTo>
                <a:cubicBezTo>
                  <a:pt x="4389" y="3826"/>
                  <a:pt x="4884" y="3600"/>
                  <a:pt x="5392" y="3600"/>
                </a:cubicBezTo>
                <a:cubicBezTo>
                  <a:pt x="5636" y="3600"/>
                  <a:pt x="5839" y="3655"/>
                  <a:pt x="6002" y="3754"/>
                </a:cubicBezTo>
                <a:cubicBezTo>
                  <a:pt x="6045" y="3548"/>
                  <a:pt x="6096" y="3341"/>
                  <a:pt x="6165" y="3133"/>
                </a:cubicBezTo>
                <a:cubicBezTo>
                  <a:pt x="6225" y="2950"/>
                  <a:pt x="6289" y="2793"/>
                  <a:pt x="6351" y="2631"/>
                </a:cubicBezTo>
                <a:cubicBezTo>
                  <a:pt x="6046" y="2469"/>
                  <a:pt x="5716" y="2400"/>
                  <a:pt x="5392" y="2400"/>
                </a:cubicBezTo>
                <a:cubicBezTo>
                  <a:pt x="4682" y="2400"/>
                  <a:pt x="4009" y="2699"/>
                  <a:pt x="3740" y="2908"/>
                </a:cubicBezTo>
                <a:cubicBezTo>
                  <a:pt x="2955" y="3327"/>
                  <a:pt x="2625" y="3713"/>
                  <a:pt x="2130" y="5184"/>
                </a:cubicBezTo>
                <a:cubicBezTo>
                  <a:pt x="1700" y="6420"/>
                  <a:pt x="2212" y="7760"/>
                  <a:pt x="2464" y="8434"/>
                </a:cubicBezTo>
                <a:cubicBezTo>
                  <a:pt x="2156" y="9975"/>
                  <a:pt x="2583" y="10506"/>
                  <a:pt x="2583" y="10506"/>
                </a:cubicBezTo>
                <a:cubicBezTo>
                  <a:pt x="2806" y="10879"/>
                  <a:pt x="3185" y="11419"/>
                  <a:pt x="3185" y="12954"/>
                </a:cubicBezTo>
                <a:cubicBezTo>
                  <a:pt x="3185" y="14701"/>
                  <a:pt x="2084" y="15007"/>
                  <a:pt x="2084" y="15007"/>
                </a:cubicBezTo>
                <a:cubicBezTo>
                  <a:pt x="1191" y="15387"/>
                  <a:pt x="0" y="16199"/>
                  <a:pt x="0" y="18599"/>
                </a:cubicBezTo>
                <a:cubicBezTo>
                  <a:pt x="0" y="18599"/>
                  <a:pt x="0" y="19199"/>
                  <a:pt x="491" y="19199"/>
                </a:cubicBezTo>
                <a:lnTo>
                  <a:pt x="2680" y="19200"/>
                </a:lnTo>
                <a:cubicBezTo>
                  <a:pt x="2798" y="18755"/>
                  <a:pt x="2952" y="18353"/>
                  <a:pt x="3141" y="18000"/>
                </a:cubicBezTo>
                <a:lnTo>
                  <a:pt x="1018" y="17999"/>
                </a:lnTo>
                <a:cubicBezTo>
                  <a:pt x="1165" y="16859"/>
                  <a:pt x="1744" y="16429"/>
                  <a:pt x="2371" y="16155"/>
                </a:cubicBezTo>
              </a:path>
            </a:pathLst>
          </a:custGeom>
          <a:solidFill>
            <a:schemeClr val="tx1"/>
          </a:solidFill>
          <a:ln w="12700">
            <a:miter lim="400000"/>
          </a:ln>
        </p:spPr>
        <p:txBody>
          <a:bodyPr lIns="38100" tIns="38100" rIns="38100" bIns="38100" anchor="ctr"/>
          <a:lstStyle/>
          <a:p>
            <a:endParaRPr sz="1800">
              <a:solidFill>
                <a:prstClr val="black"/>
              </a:solidFill>
            </a:endParaRPr>
          </a:p>
        </p:txBody>
      </p:sp>
    </p:spTree>
    <p:extLst>
      <p:ext uri="{BB962C8B-B14F-4D97-AF65-F5344CB8AC3E}">
        <p14:creationId xmlns:p14="http://schemas.microsoft.com/office/powerpoint/2010/main" val="534186142"/>
      </p:ext>
    </p:extLst>
  </p:cSld>
  <p:clrMapOvr>
    <a:masterClrMapping/>
  </p:clrMapOvr>
  <p:transition spd="slow"/>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ferta Económica">
    <p:spTree>
      <p:nvGrpSpPr>
        <p:cNvPr id="1" name=""/>
        <p:cNvGrpSpPr/>
        <p:nvPr/>
      </p:nvGrpSpPr>
      <p:grpSpPr>
        <a:xfrm>
          <a:off x="0" y="0"/>
          <a:ext cx="0" cy="0"/>
          <a:chOff x="0" y="0"/>
          <a:chExt cx="0" cy="0"/>
        </a:xfrm>
      </p:grpSpPr>
      <p:sp>
        <p:nvSpPr>
          <p:cNvPr id="23" name="22 Marcador de texto"/>
          <p:cNvSpPr>
            <a:spLocks noGrp="1"/>
          </p:cNvSpPr>
          <p:nvPr>
            <p:ph type="body" sz="quarter" idx="23"/>
          </p:nvPr>
        </p:nvSpPr>
        <p:spPr>
          <a:xfrm>
            <a:off x="423986" y="1320801"/>
            <a:ext cx="11344031" cy="5151940"/>
          </a:xfrm>
        </p:spPr>
        <p:txBody>
          <a:bodyPr>
            <a:noAutofit/>
          </a:bodyPr>
          <a:lstStyle>
            <a:lvl5pPr marL="858838" indent="-171450">
              <a:defRPr kumimoji="0" lang="es-ES" sz="1100" b="0" i="0" u="none" strike="noStrike" kern="1200" cap="none" spc="0" normalizeH="0" baseline="0" noProof="0" dirty="0" smtClean="0">
                <a:ln>
                  <a:noFill/>
                </a:ln>
                <a:solidFill>
                  <a:srgbClr val="494949"/>
                </a:solidFill>
                <a:effectLst/>
                <a:uLnTx/>
                <a:uFillTx/>
                <a:latin typeface="+mn-lt"/>
                <a:ea typeface="+mn-ea"/>
                <a:cs typeface="+mn-cs"/>
              </a:defRPr>
            </a:lvl5pPr>
            <a:lvl6pPr marL="858838" indent="-171450">
              <a:defRPr/>
            </a:lvl6pPr>
            <a:lvl7pPr>
              <a:defRPr/>
            </a:lvl7pPr>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a:p>
            <a:pPr marL="846138" marR="0" lvl="4" indent="-158750" algn="l" defTabSz="914400" rtl="0" eaLnBrk="1" fontAlgn="auto" latinLnBrk="0" hangingPunct="1">
              <a:lnSpc>
                <a:spcPct val="100000"/>
              </a:lnSpc>
              <a:spcBef>
                <a:spcPts val="0"/>
              </a:spcBef>
              <a:spcAft>
                <a:spcPts val="200"/>
              </a:spcAft>
              <a:buClr>
                <a:schemeClr val="accent1">
                  <a:lumMod val="90000"/>
                </a:schemeClr>
              </a:buClr>
              <a:buSzTx/>
              <a:buFont typeface="Arial" pitchFamily="34" charset="0"/>
              <a:buChar char="•"/>
              <a:tabLst/>
              <a:defRPr/>
            </a:pPr>
            <a:r>
              <a:rPr lang="es-ES" noProof="0"/>
              <a:t>Quinto nivel</a:t>
            </a:r>
          </a:p>
          <a:p>
            <a:pPr marL="846138" marR="0" lvl="4" indent="-158750" algn="l" defTabSz="914400" rtl="0" eaLnBrk="1" fontAlgn="auto" latinLnBrk="0" hangingPunct="1">
              <a:lnSpc>
                <a:spcPct val="100000"/>
              </a:lnSpc>
              <a:spcBef>
                <a:spcPts val="0"/>
              </a:spcBef>
              <a:spcAft>
                <a:spcPts val="200"/>
              </a:spcAft>
              <a:buClr>
                <a:schemeClr val="accent1">
                  <a:lumMod val="90000"/>
                </a:schemeClr>
              </a:buClr>
              <a:buSzTx/>
              <a:buFont typeface="Arial" pitchFamily="34" charset="0"/>
              <a:buChar char="•"/>
              <a:tabLst/>
              <a:defRPr/>
            </a:pPr>
            <a:r>
              <a:rPr lang="es-ES" noProof="0"/>
              <a:t>- </a:t>
            </a:r>
            <a:r>
              <a:rPr lang="es-ES" noProof="0" err="1"/>
              <a:t>bhhh</a:t>
            </a:r>
            <a:endParaRPr lang="es-ES" noProof="0"/>
          </a:p>
        </p:txBody>
      </p:sp>
      <p:sp>
        <p:nvSpPr>
          <p:cNvPr id="92" name="27 Título"/>
          <p:cNvSpPr>
            <a:spLocks noGrp="1"/>
          </p:cNvSpPr>
          <p:nvPr userDrawn="1">
            <p:ph type="title" hasCustomPrompt="1"/>
          </p:nvPr>
        </p:nvSpPr>
        <p:spPr>
          <a:xfrm>
            <a:off x="1235961" y="334929"/>
            <a:ext cx="8936800" cy="518277"/>
          </a:xfrm>
        </p:spPr>
        <p:txBody>
          <a:bodyPr>
            <a:noAutofit/>
          </a:bodyPr>
          <a:lstStyle>
            <a:lvl1pPr>
              <a:defRPr sz="2000">
                <a:solidFill>
                  <a:schemeClr val="tx1"/>
                </a:solidFill>
              </a:defRPr>
            </a:lvl1pPr>
          </a:lstStyle>
          <a:p>
            <a:r>
              <a:rPr lang="es-ES"/>
              <a:t>Título</a:t>
            </a:r>
            <a:endParaRPr lang="en-US"/>
          </a:p>
        </p:txBody>
      </p:sp>
      <p:sp>
        <p:nvSpPr>
          <p:cNvPr id="6" name="21 CuadroTexto"/>
          <p:cNvSpPr txBox="1"/>
          <p:nvPr userDrawn="1"/>
        </p:nvSpPr>
        <p:spPr>
          <a:xfrm>
            <a:off x="1192823" y="19050"/>
            <a:ext cx="8988270" cy="248400"/>
          </a:xfrm>
          <a:prstGeom prst="rect">
            <a:avLst/>
          </a:prstGeom>
        </p:spPr>
        <p:txBody>
          <a:bodyPr vert="horz" lIns="0" tIns="0" rIns="0" bIns="0" rtlCol="0" anchor="ctr">
            <a:noAutofit/>
          </a:bodyPr>
          <a:lstStyle/>
          <a:p>
            <a:pPr marL="144000" marR="0" lvl="0" indent="0" algn="l" defTabSz="914400" rtl="0" eaLnBrk="1" fontAlgn="base" latinLnBrk="0" hangingPunct="1">
              <a:lnSpc>
                <a:spcPct val="100000"/>
              </a:lnSpc>
              <a:spcBef>
                <a:spcPts val="600"/>
              </a:spcBef>
              <a:spcAft>
                <a:spcPts val="300"/>
              </a:spcAft>
              <a:buClr>
                <a:srgbClr val="505150"/>
              </a:buClr>
              <a:buSzPct val="88000"/>
              <a:buFont typeface="Arial" pitchFamily="34" charset="0"/>
              <a:buNone/>
              <a:tabLst>
                <a:tab pos="1346200" algn="l"/>
              </a:tabLst>
              <a:defRPr/>
            </a:pPr>
            <a:r>
              <a:rPr kumimoji="0" lang="es-ES" sz="1050" b="0" i="0" u="none" strike="noStrike" kern="1200" cap="none" spc="0" normalizeH="0" baseline="0" noProof="0">
                <a:ln>
                  <a:noFill/>
                </a:ln>
                <a:solidFill>
                  <a:schemeClr val="tx1"/>
                </a:solidFill>
                <a:effectLst/>
                <a:uLnTx/>
                <a:uFillTx/>
                <a:latin typeface="+mn-lt"/>
                <a:ea typeface="+mn-ea"/>
                <a:cs typeface="+mn-cs"/>
                <a:sym typeface="Droid Sans" charset="0"/>
              </a:rPr>
              <a:t>Oferta Económica</a:t>
            </a:r>
          </a:p>
        </p:txBody>
      </p:sp>
      <p:sp>
        <p:nvSpPr>
          <p:cNvPr id="7" name="26 Marcador de contenido"/>
          <p:cNvSpPr>
            <a:spLocks noGrp="1"/>
          </p:cNvSpPr>
          <p:nvPr>
            <p:ph sz="quarter" idx="26" hasCustomPrompt="1"/>
          </p:nvPr>
        </p:nvSpPr>
        <p:spPr>
          <a:xfrm>
            <a:off x="1192823" y="863255"/>
            <a:ext cx="8988270" cy="225425"/>
          </a:xfrm>
        </p:spPr>
        <p:txBody>
          <a:bodyPr anchor="ctr">
            <a:noAutofit/>
          </a:bodyPr>
          <a:lstStyle>
            <a:lvl1pPr marL="144000">
              <a:defRPr sz="1000" cap="all" spc="300" baseline="0">
                <a:solidFill>
                  <a:schemeClr val="tx1"/>
                </a:solidFill>
              </a:defRPr>
            </a:lvl1pPr>
            <a:lvl7pPr>
              <a:defRPr>
                <a:solidFill>
                  <a:schemeClr val="tx1">
                    <a:lumMod val="50000"/>
                    <a:lumOff val="50000"/>
                  </a:schemeClr>
                </a:solidFill>
              </a:defRPr>
            </a:lvl7pPr>
          </a:lstStyle>
          <a:p>
            <a:pPr lvl="0"/>
            <a:r>
              <a:rPr lang="es-ES"/>
              <a:t>Subtítulo</a:t>
            </a:r>
            <a:endParaRPr lang="en-US"/>
          </a:p>
        </p:txBody>
      </p:sp>
      <p:sp>
        <p:nvSpPr>
          <p:cNvPr id="2" name="Marcador de número de diapositiva 1"/>
          <p:cNvSpPr>
            <a:spLocks noGrp="1"/>
          </p:cNvSpPr>
          <p:nvPr>
            <p:ph type="sldNum" sz="quarter" idx="27"/>
          </p:nvPr>
        </p:nvSpPr>
        <p:spPr/>
        <p:txBody>
          <a:bodyPr/>
          <a:lstStyle/>
          <a:p>
            <a:pPr marL="7938" algn="ctr" fontAlgn="base">
              <a:spcAft>
                <a:spcPct val="0"/>
              </a:spcAft>
              <a:buClr>
                <a:srgbClr val="505150"/>
              </a:buClr>
              <a:buSzPct val="88000"/>
            </a:pPr>
            <a:fld id="{B90C96D8-0395-4AF3-8A78-0E88AEC6FB3C}" type="slidenum">
              <a:rPr lang="es-ES" smtClean="0"/>
              <a:pPr marL="7938" algn="ctr" fontAlgn="base">
                <a:spcAft>
                  <a:spcPct val="0"/>
                </a:spcAft>
                <a:buClr>
                  <a:srgbClr val="505150"/>
                </a:buClr>
                <a:buSzPct val="88000"/>
              </a:pPr>
              <a:t>‹Nº›</a:t>
            </a:fld>
            <a:endParaRPr lang="es-ES"/>
          </a:p>
        </p:txBody>
      </p:sp>
      <p:sp>
        <p:nvSpPr>
          <p:cNvPr id="9" name="Freeform 6"/>
          <p:cNvSpPr>
            <a:spLocks noEditPoints="1"/>
          </p:cNvSpPr>
          <p:nvPr userDrawn="1"/>
        </p:nvSpPr>
        <p:spPr bwMode="auto">
          <a:xfrm>
            <a:off x="446298" y="419237"/>
            <a:ext cx="431567" cy="350290"/>
          </a:xfrm>
          <a:custGeom>
            <a:avLst/>
            <a:gdLst/>
            <a:ahLst/>
            <a:cxnLst>
              <a:cxn ang="0">
                <a:pos x="5740" y="5525"/>
              </a:cxn>
              <a:cxn ang="0">
                <a:pos x="4354" y="4857"/>
              </a:cxn>
              <a:cxn ang="0">
                <a:pos x="3742" y="5000"/>
              </a:cxn>
              <a:cxn ang="0">
                <a:pos x="3069" y="4924"/>
              </a:cxn>
              <a:cxn ang="0">
                <a:pos x="2563" y="4704"/>
              </a:cxn>
              <a:cxn ang="0">
                <a:pos x="1478" y="5000"/>
              </a:cxn>
              <a:cxn ang="0">
                <a:pos x="4029" y="4412"/>
              </a:cxn>
              <a:cxn ang="0">
                <a:pos x="4197" y="4738"/>
              </a:cxn>
              <a:cxn ang="0">
                <a:pos x="3574" y="4500"/>
              </a:cxn>
              <a:cxn ang="0">
                <a:pos x="3787" y="4466"/>
              </a:cxn>
              <a:cxn ang="0">
                <a:pos x="3186" y="4769"/>
              </a:cxn>
              <a:cxn ang="0">
                <a:pos x="3309" y="4397"/>
              </a:cxn>
              <a:cxn ang="0">
                <a:pos x="2865" y="4814"/>
              </a:cxn>
              <a:cxn ang="0">
                <a:pos x="1496" y="4397"/>
              </a:cxn>
              <a:cxn ang="0">
                <a:pos x="1619" y="4769"/>
              </a:cxn>
              <a:cxn ang="0">
                <a:pos x="1235" y="4446"/>
              </a:cxn>
              <a:cxn ang="0">
                <a:pos x="1762" y="4305"/>
              </a:cxn>
              <a:cxn ang="0">
                <a:pos x="2711" y="4240"/>
              </a:cxn>
              <a:cxn ang="0">
                <a:pos x="3386" y="4221"/>
              </a:cxn>
              <a:cxn ang="0">
                <a:pos x="4036" y="4204"/>
              </a:cxn>
              <a:cxn ang="0">
                <a:pos x="4920" y="3674"/>
              </a:cxn>
              <a:cxn ang="0">
                <a:pos x="3572" y="3959"/>
              </a:cxn>
              <a:cxn ang="0">
                <a:pos x="2991" y="3786"/>
              </a:cxn>
              <a:cxn ang="0">
                <a:pos x="1996" y="3977"/>
              </a:cxn>
              <a:cxn ang="0">
                <a:pos x="3684" y="3367"/>
              </a:cxn>
              <a:cxn ang="0">
                <a:pos x="3747" y="3768"/>
              </a:cxn>
              <a:cxn ang="0">
                <a:pos x="3186" y="3411"/>
              </a:cxn>
              <a:cxn ang="0">
                <a:pos x="3383" y="3681"/>
              </a:cxn>
              <a:cxn ang="0">
                <a:pos x="1832" y="3681"/>
              </a:cxn>
              <a:cxn ang="0">
                <a:pos x="2029" y="3411"/>
              </a:cxn>
              <a:cxn ang="0">
                <a:pos x="1789" y="3216"/>
              </a:cxn>
              <a:cxn ang="0">
                <a:pos x="2242" y="3483"/>
              </a:cxn>
              <a:cxn ang="0">
                <a:pos x="3386" y="3196"/>
              </a:cxn>
              <a:cxn ang="0">
                <a:pos x="3966" y="3371"/>
              </a:cxn>
              <a:cxn ang="0">
                <a:pos x="2094" y="2916"/>
              </a:cxn>
              <a:cxn ang="0">
                <a:pos x="1426" y="2938"/>
              </a:cxn>
              <a:cxn ang="0">
                <a:pos x="1854" y="2388"/>
              </a:cxn>
              <a:cxn ang="0">
                <a:pos x="2051" y="2657"/>
              </a:cxn>
              <a:cxn ang="0">
                <a:pos x="1444" y="2388"/>
              </a:cxn>
              <a:cxn ang="0">
                <a:pos x="1641" y="2657"/>
              </a:cxn>
              <a:cxn ang="0">
                <a:pos x="1273" y="2300"/>
              </a:cxn>
              <a:cxn ang="0">
                <a:pos x="1885" y="2157"/>
              </a:cxn>
              <a:cxn ang="0">
                <a:pos x="4920" y="1627"/>
              </a:cxn>
              <a:cxn ang="0">
                <a:pos x="3982" y="1912"/>
              </a:cxn>
              <a:cxn ang="0">
                <a:pos x="3401" y="1737"/>
              </a:cxn>
              <a:cxn ang="0">
                <a:pos x="1585" y="1928"/>
              </a:cxn>
              <a:cxn ang="0">
                <a:pos x="4094" y="1318"/>
              </a:cxn>
              <a:cxn ang="0">
                <a:pos x="4157" y="1721"/>
              </a:cxn>
              <a:cxn ang="0">
                <a:pos x="3596" y="1364"/>
              </a:cxn>
              <a:cxn ang="0">
                <a:pos x="3792" y="1632"/>
              </a:cxn>
              <a:cxn ang="0">
                <a:pos x="1422" y="1632"/>
              </a:cxn>
              <a:cxn ang="0">
                <a:pos x="1619" y="1364"/>
              </a:cxn>
              <a:cxn ang="0">
                <a:pos x="1379" y="1169"/>
              </a:cxn>
              <a:cxn ang="0">
                <a:pos x="1832" y="1434"/>
              </a:cxn>
              <a:cxn ang="0">
                <a:pos x="3796" y="1149"/>
              </a:cxn>
              <a:cxn ang="0">
                <a:pos x="4375" y="1322"/>
              </a:cxn>
              <a:cxn ang="0">
                <a:pos x="5115" y="193"/>
              </a:cxn>
              <a:cxn ang="0">
                <a:pos x="397" y="198"/>
              </a:cxn>
              <a:cxn ang="0">
                <a:pos x="969" y="76"/>
              </a:cxn>
              <a:cxn ang="0">
                <a:pos x="5119" y="0"/>
              </a:cxn>
              <a:cxn ang="0">
                <a:pos x="5857" y="5369"/>
              </a:cxn>
              <a:cxn ang="0">
                <a:pos x="199" y="5927"/>
              </a:cxn>
              <a:cxn ang="0">
                <a:pos x="112" y="5346"/>
              </a:cxn>
            </a:cxnLst>
            <a:rect l="0" t="0" r="r" b="b"/>
            <a:pathLst>
              <a:path w="5931" h="5927">
                <a:moveTo>
                  <a:pt x="199" y="5517"/>
                </a:moveTo>
                <a:lnTo>
                  <a:pt x="197" y="5519"/>
                </a:lnTo>
                <a:lnTo>
                  <a:pt x="193" y="5521"/>
                </a:lnTo>
                <a:lnTo>
                  <a:pt x="193" y="5525"/>
                </a:lnTo>
                <a:lnTo>
                  <a:pt x="193" y="5728"/>
                </a:lnTo>
                <a:lnTo>
                  <a:pt x="193" y="5732"/>
                </a:lnTo>
                <a:lnTo>
                  <a:pt x="197" y="5734"/>
                </a:lnTo>
                <a:lnTo>
                  <a:pt x="199" y="5736"/>
                </a:lnTo>
                <a:lnTo>
                  <a:pt x="5733" y="5736"/>
                </a:lnTo>
                <a:lnTo>
                  <a:pt x="5736" y="5734"/>
                </a:lnTo>
                <a:lnTo>
                  <a:pt x="5738" y="5732"/>
                </a:lnTo>
                <a:lnTo>
                  <a:pt x="5740" y="5728"/>
                </a:lnTo>
                <a:lnTo>
                  <a:pt x="5740" y="5525"/>
                </a:lnTo>
                <a:lnTo>
                  <a:pt x="5738" y="5521"/>
                </a:lnTo>
                <a:lnTo>
                  <a:pt x="5736" y="5519"/>
                </a:lnTo>
                <a:lnTo>
                  <a:pt x="5733" y="5517"/>
                </a:lnTo>
                <a:lnTo>
                  <a:pt x="199" y="5517"/>
                </a:lnTo>
                <a:close/>
                <a:moveTo>
                  <a:pt x="1013" y="4698"/>
                </a:moveTo>
                <a:lnTo>
                  <a:pt x="1013" y="5326"/>
                </a:lnTo>
                <a:lnTo>
                  <a:pt x="4920" y="5326"/>
                </a:lnTo>
                <a:lnTo>
                  <a:pt x="4920" y="4698"/>
                </a:lnTo>
                <a:lnTo>
                  <a:pt x="4395" y="4698"/>
                </a:lnTo>
                <a:lnTo>
                  <a:pt x="4395" y="4704"/>
                </a:lnTo>
                <a:lnTo>
                  <a:pt x="4390" y="4758"/>
                </a:lnTo>
                <a:lnTo>
                  <a:pt x="4375" y="4810"/>
                </a:lnTo>
                <a:lnTo>
                  <a:pt x="4354" y="4857"/>
                </a:lnTo>
                <a:lnTo>
                  <a:pt x="4323" y="4899"/>
                </a:lnTo>
                <a:lnTo>
                  <a:pt x="4287" y="4935"/>
                </a:lnTo>
                <a:lnTo>
                  <a:pt x="4245" y="4964"/>
                </a:lnTo>
                <a:lnTo>
                  <a:pt x="4198" y="4987"/>
                </a:lnTo>
                <a:lnTo>
                  <a:pt x="4148" y="5000"/>
                </a:lnTo>
                <a:lnTo>
                  <a:pt x="4094" y="5005"/>
                </a:lnTo>
                <a:lnTo>
                  <a:pt x="4036" y="5000"/>
                </a:lnTo>
                <a:lnTo>
                  <a:pt x="3982" y="4983"/>
                </a:lnTo>
                <a:lnTo>
                  <a:pt x="3931" y="4958"/>
                </a:lnTo>
                <a:lnTo>
                  <a:pt x="3888" y="4924"/>
                </a:lnTo>
                <a:lnTo>
                  <a:pt x="3845" y="4958"/>
                </a:lnTo>
                <a:lnTo>
                  <a:pt x="3796" y="4983"/>
                </a:lnTo>
                <a:lnTo>
                  <a:pt x="3742" y="5000"/>
                </a:lnTo>
                <a:lnTo>
                  <a:pt x="3684" y="5005"/>
                </a:lnTo>
                <a:lnTo>
                  <a:pt x="3626" y="5000"/>
                </a:lnTo>
                <a:lnTo>
                  <a:pt x="3572" y="4983"/>
                </a:lnTo>
                <a:lnTo>
                  <a:pt x="3522" y="4958"/>
                </a:lnTo>
                <a:lnTo>
                  <a:pt x="3478" y="4924"/>
                </a:lnTo>
                <a:lnTo>
                  <a:pt x="3435" y="4958"/>
                </a:lnTo>
                <a:lnTo>
                  <a:pt x="3386" y="4983"/>
                </a:lnTo>
                <a:lnTo>
                  <a:pt x="3332" y="5000"/>
                </a:lnTo>
                <a:lnTo>
                  <a:pt x="3274" y="5005"/>
                </a:lnTo>
                <a:lnTo>
                  <a:pt x="3217" y="5000"/>
                </a:lnTo>
                <a:lnTo>
                  <a:pt x="3162" y="4983"/>
                </a:lnTo>
                <a:lnTo>
                  <a:pt x="3112" y="4958"/>
                </a:lnTo>
                <a:lnTo>
                  <a:pt x="3069" y="4924"/>
                </a:lnTo>
                <a:lnTo>
                  <a:pt x="3025" y="4958"/>
                </a:lnTo>
                <a:lnTo>
                  <a:pt x="2977" y="4983"/>
                </a:lnTo>
                <a:lnTo>
                  <a:pt x="2922" y="5000"/>
                </a:lnTo>
                <a:lnTo>
                  <a:pt x="2865" y="5005"/>
                </a:lnTo>
                <a:lnTo>
                  <a:pt x="2810" y="5000"/>
                </a:lnTo>
                <a:lnTo>
                  <a:pt x="2758" y="4987"/>
                </a:lnTo>
                <a:lnTo>
                  <a:pt x="2711" y="4964"/>
                </a:lnTo>
                <a:lnTo>
                  <a:pt x="2670" y="4935"/>
                </a:lnTo>
                <a:lnTo>
                  <a:pt x="2634" y="4899"/>
                </a:lnTo>
                <a:lnTo>
                  <a:pt x="2605" y="4857"/>
                </a:lnTo>
                <a:lnTo>
                  <a:pt x="2581" y="4810"/>
                </a:lnTo>
                <a:lnTo>
                  <a:pt x="2567" y="4758"/>
                </a:lnTo>
                <a:lnTo>
                  <a:pt x="2563" y="4704"/>
                </a:lnTo>
                <a:lnTo>
                  <a:pt x="2563" y="4698"/>
                </a:lnTo>
                <a:lnTo>
                  <a:pt x="1832" y="4698"/>
                </a:lnTo>
                <a:lnTo>
                  <a:pt x="1832" y="4704"/>
                </a:lnTo>
                <a:lnTo>
                  <a:pt x="1829" y="4758"/>
                </a:lnTo>
                <a:lnTo>
                  <a:pt x="1814" y="4810"/>
                </a:lnTo>
                <a:lnTo>
                  <a:pt x="1791" y="4857"/>
                </a:lnTo>
                <a:lnTo>
                  <a:pt x="1762" y="4899"/>
                </a:lnTo>
                <a:lnTo>
                  <a:pt x="1726" y="4935"/>
                </a:lnTo>
                <a:lnTo>
                  <a:pt x="1684" y="4964"/>
                </a:lnTo>
                <a:lnTo>
                  <a:pt x="1637" y="4987"/>
                </a:lnTo>
                <a:lnTo>
                  <a:pt x="1585" y="5000"/>
                </a:lnTo>
                <a:lnTo>
                  <a:pt x="1533" y="5005"/>
                </a:lnTo>
                <a:lnTo>
                  <a:pt x="1478" y="5000"/>
                </a:lnTo>
                <a:lnTo>
                  <a:pt x="1426" y="4987"/>
                </a:lnTo>
                <a:lnTo>
                  <a:pt x="1379" y="4964"/>
                </a:lnTo>
                <a:lnTo>
                  <a:pt x="1338" y="4935"/>
                </a:lnTo>
                <a:lnTo>
                  <a:pt x="1302" y="4899"/>
                </a:lnTo>
                <a:lnTo>
                  <a:pt x="1273" y="4857"/>
                </a:lnTo>
                <a:lnTo>
                  <a:pt x="1249" y="4810"/>
                </a:lnTo>
                <a:lnTo>
                  <a:pt x="1235" y="4758"/>
                </a:lnTo>
                <a:lnTo>
                  <a:pt x="1231" y="4704"/>
                </a:lnTo>
                <a:lnTo>
                  <a:pt x="1231" y="4698"/>
                </a:lnTo>
                <a:lnTo>
                  <a:pt x="1013" y="4698"/>
                </a:lnTo>
                <a:close/>
                <a:moveTo>
                  <a:pt x="4094" y="4390"/>
                </a:moveTo>
                <a:lnTo>
                  <a:pt x="4059" y="4397"/>
                </a:lnTo>
                <a:lnTo>
                  <a:pt x="4029" y="4412"/>
                </a:lnTo>
                <a:lnTo>
                  <a:pt x="4005" y="4435"/>
                </a:lnTo>
                <a:lnTo>
                  <a:pt x="3991" y="4466"/>
                </a:lnTo>
                <a:lnTo>
                  <a:pt x="3985" y="4500"/>
                </a:lnTo>
                <a:lnTo>
                  <a:pt x="3985" y="4704"/>
                </a:lnTo>
                <a:lnTo>
                  <a:pt x="3991" y="4738"/>
                </a:lnTo>
                <a:lnTo>
                  <a:pt x="4005" y="4769"/>
                </a:lnTo>
                <a:lnTo>
                  <a:pt x="4029" y="4792"/>
                </a:lnTo>
                <a:lnTo>
                  <a:pt x="4059" y="4809"/>
                </a:lnTo>
                <a:lnTo>
                  <a:pt x="4094" y="4814"/>
                </a:lnTo>
                <a:lnTo>
                  <a:pt x="4128" y="4809"/>
                </a:lnTo>
                <a:lnTo>
                  <a:pt x="4157" y="4792"/>
                </a:lnTo>
                <a:lnTo>
                  <a:pt x="4182" y="4769"/>
                </a:lnTo>
                <a:lnTo>
                  <a:pt x="4197" y="4738"/>
                </a:lnTo>
                <a:lnTo>
                  <a:pt x="4202" y="4704"/>
                </a:lnTo>
                <a:lnTo>
                  <a:pt x="4202" y="4500"/>
                </a:lnTo>
                <a:lnTo>
                  <a:pt x="4197" y="4466"/>
                </a:lnTo>
                <a:lnTo>
                  <a:pt x="4182" y="4435"/>
                </a:lnTo>
                <a:lnTo>
                  <a:pt x="4157" y="4412"/>
                </a:lnTo>
                <a:lnTo>
                  <a:pt x="4128" y="4397"/>
                </a:lnTo>
                <a:lnTo>
                  <a:pt x="4094" y="4390"/>
                </a:lnTo>
                <a:close/>
                <a:moveTo>
                  <a:pt x="3684" y="4390"/>
                </a:moveTo>
                <a:lnTo>
                  <a:pt x="3650" y="4397"/>
                </a:lnTo>
                <a:lnTo>
                  <a:pt x="3619" y="4412"/>
                </a:lnTo>
                <a:lnTo>
                  <a:pt x="3596" y="4435"/>
                </a:lnTo>
                <a:lnTo>
                  <a:pt x="3581" y="4466"/>
                </a:lnTo>
                <a:lnTo>
                  <a:pt x="3574" y="4500"/>
                </a:lnTo>
                <a:lnTo>
                  <a:pt x="3574" y="4704"/>
                </a:lnTo>
                <a:lnTo>
                  <a:pt x="3581" y="4738"/>
                </a:lnTo>
                <a:lnTo>
                  <a:pt x="3596" y="4769"/>
                </a:lnTo>
                <a:lnTo>
                  <a:pt x="3619" y="4792"/>
                </a:lnTo>
                <a:lnTo>
                  <a:pt x="3650" y="4809"/>
                </a:lnTo>
                <a:lnTo>
                  <a:pt x="3684" y="4814"/>
                </a:lnTo>
                <a:lnTo>
                  <a:pt x="3718" y="4809"/>
                </a:lnTo>
                <a:lnTo>
                  <a:pt x="3747" y="4792"/>
                </a:lnTo>
                <a:lnTo>
                  <a:pt x="3771" y="4769"/>
                </a:lnTo>
                <a:lnTo>
                  <a:pt x="3787" y="4738"/>
                </a:lnTo>
                <a:lnTo>
                  <a:pt x="3792" y="4704"/>
                </a:lnTo>
                <a:lnTo>
                  <a:pt x="3792" y="4500"/>
                </a:lnTo>
                <a:lnTo>
                  <a:pt x="3787" y="4466"/>
                </a:lnTo>
                <a:lnTo>
                  <a:pt x="3771" y="4435"/>
                </a:lnTo>
                <a:lnTo>
                  <a:pt x="3747" y="4412"/>
                </a:lnTo>
                <a:lnTo>
                  <a:pt x="3718" y="4397"/>
                </a:lnTo>
                <a:lnTo>
                  <a:pt x="3684" y="4390"/>
                </a:lnTo>
                <a:close/>
                <a:moveTo>
                  <a:pt x="3274" y="4390"/>
                </a:moveTo>
                <a:lnTo>
                  <a:pt x="3240" y="4397"/>
                </a:lnTo>
                <a:lnTo>
                  <a:pt x="3209" y="4412"/>
                </a:lnTo>
                <a:lnTo>
                  <a:pt x="3186" y="4435"/>
                </a:lnTo>
                <a:lnTo>
                  <a:pt x="3170" y="4466"/>
                </a:lnTo>
                <a:lnTo>
                  <a:pt x="3164" y="4500"/>
                </a:lnTo>
                <a:lnTo>
                  <a:pt x="3164" y="4704"/>
                </a:lnTo>
                <a:lnTo>
                  <a:pt x="3170" y="4738"/>
                </a:lnTo>
                <a:lnTo>
                  <a:pt x="3186" y="4769"/>
                </a:lnTo>
                <a:lnTo>
                  <a:pt x="3209" y="4792"/>
                </a:lnTo>
                <a:lnTo>
                  <a:pt x="3240" y="4809"/>
                </a:lnTo>
                <a:lnTo>
                  <a:pt x="3274" y="4814"/>
                </a:lnTo>
                <a:lnTo>
                  <a:pt x="3309" y="4809"/>
                </a:lnTo>
                <a:lnTo>
                  <a:pt x="3337" y="4792"/>
                </a:lnTo>
                <a:lnTo>
                  <a:pt x="3361" y="4769"/>
                </a:lnTo>
                <a:lnTo>
                  <a:pt x="3377" y="4738"/>
                </a:lnTo>
                <a:lnTo>
                  <a:pt x="3383" y="4704"/>
                </a:lnTo>
                <a:lnTo>
                  <a:pt x="3383" y="4500"/>
                </a:lnTo>
                <a:lnTo>
                  <a:pt x="3377" y="4466"/>
                </a:lnTo>
                <a:lnTo>
                  <a:pt x="3361" y="4435"/>
                </a:lnTo>
                <a:lnTo>
                  <a:pt x="3337" y="4412"/>
                </a:lnTo>
                <a:lnTo>
                  <a:pt x="3309" y="4397"/>
                </a:lnTo>
                <a:lnTo>
                  <a:pt x="3274" y="4390"/>
                </a:lnTo>
                <a:close/>
                <a:moveTo>
                  <a:pt x="2865" y="4390"/>
                </a:moveTo>
                <a:lnTo>
                  <a:pt x="2830" y="4397"/>
                </a:lnTo>
                <a:lnTo>
                  <a:pt x="2800" y="4412"/>
                </a:lnTo>
                <a:lnTo>
                  <a:pt x="2776" y="4435"/>
                </a:lnTo>
                <a:lnTo>
                  <a:pt x="2760" y="4466"/>
                </a:lnTo>
                <a:lnTo>
                  <a:pt x="2755" y="4500"/>
                </a:lnTo>
                <a:lnTo>
                  <a:pt x="2755" y="4704"/>
                </a:lnTo>
                <a:lnTo>
                  <a:pt x="2760" y="4738"/>
                </a:lnTo>
                <a:lnTo>
                  <a:pt x="2776" y="4769"/>
                </a:lnTo>
                <a:lnTo>
                  <a:pt x="2800" y="4792"/>
                </a:lnTo>
                <a:lnTo>
                  <a:pt x="2830" y="4809"/>
                </a:lnTo>
                <a:lnTo>
                  <a:pt x="2865" y="4814"/>
                </a:lnTo>
                <a:lnTo>
                  <a:pt x="2899" y="4809"/>
                </a:lnTo>
                <a:lnTo>
                  <a:pt x="2928" y="4792"/>
                </a:lnTo>
                <a:lnTo>
                  <a:pt x="2951" y="4769"/>
                </a:lnTo>
                <a:lnTo>
                  <a:pt x="2967" y="4738"/>
                </a:lnTo>
                <a:lnTo>
                  <a:pt x="2973" y="4704"/>
                </a:lnTo>
                <a:lnTo>
                  <a:pt x="2973" y="4500"/>
                </a:lnTo>
                <a:lnTo>
                  <a:pt x="2967" y="4466"/>
                </a:lnTo>
                <a:lnTo>
                  <a:pt x="2951" y="4435"/>
                </a:lnTo>
                <a:lnTo>
                  <a:pt x="2928" y="4412"/>
                </a:lnTo>
                <a:lnTo>
                  <a:pt x="2899" y="4397"/>
                </a:lnTo>
                <a:lnTo>
                  <a:pt x="2865" y="4390"/>
                </a:lnTo>
                <a:close/>
                <a:moveTo>
                  <a:pt x="1533" y="4390"/>
                </a:moveTo>
                <a:lnTo>
                  <a:pt x="1496" y="4397"/>
                </a:lnTo>
                <a:lnTo>
                  <a:pt x="1468" y="4412"/>
                </a:lnTo>
                <a:lnTo>
                  <a:pt x="1444" y="4435"/>
                </a:lnTo>
                <a:lnTo>
                  <a:pt x="1428" y="4466"/>
                </a:lnTo>
                <a:lnTo>
                  <a:pt x="1422" y="4500"/>
                </a:lnTo>
                <a:lnTo>
                  <a:pt x="1422" y="4704"/>
                </a:lnTo>
                <a:lnTo>
                  <a:pt x="1428" y="4738"/>
                </a:lnTo>
                <a:lnTo>
                  <a:pt x="1444" y="4769"/>
                </a:lnTo>
                <a:lnTo>
                  <a:pt x="1468" y="4792"/>
                </a:lnTo>
                <a:lnTo>
                  <a:pt x="1496" y="4809"/>
                </a:lnTo>
                <a:lnTo>
                  <a:pt x="1533" y="4814"/>
                </a:lnTo>
                <a:lnTo>
                  <a:pt x="1567" y="4809"/>
                </a:lnTo>
                <a:lnTo>
                  <a:pt x="1596" y="4792"/>
                </a:lnTo>
                <a:lnTo>
                  <a:pt x="1619" y="4769"/>
                </a:lnTo>
                <a:lnTo>
                  <a:pt x="1635" y="4738"/>
                </a:lnTo>
                <a:lnTo>
                  <a:pt x="1641" y="4704"/>
                </a:lnTo>
                <a:lnTo>
                  <a:pt x="1641" y="4500"/>
                </a:lnTo>
                <a:lnTo>
                  <a:pt x="1635" y="4466"/>
                </a:lnTo>
                <a:lnTo>
                  <a:pt x="1619" y="4435"/>
                </a:lnTo>
                <a:lnTo>
                  <a:pt x="1596" y="4412"/>
                </a:lnTo>
                <a:lnTo>
                  <a:pt x="1567" y="4397"/>
                </a:lnTo>
                <a:lnTo>
                  <a:pt x="1533" y="4390"/>
                </a:lnTo>
                <a:close/>
                <a:moveTo>
                  <a:pt x="1013" y="3674"/>
                </a:moveTo>
                <a:lnTo>
                  <a:pt x="1013" y="4506"/>
                </a:lnTo>
                <a:lnTo>
                  <a:pt x="1231" y="4506"/>
                </a:lnTo>
                <a:lnTo>
                  <a:pt x="1231" y="4500"/>
                </a:lnTo>
                <a:lnTo>
                  <a:pt x="1235" y="4446"/>
                </a:lnTo>
                <a:lnTo>
                  <a:pt x="1249" y="4395"/>
                </a:lnTo>
                <a:lnTo>
                  <a:pt x="1273" y="4349"/>
                </a:lnTo>
                <a:lnTo>
                  <a:pt x="1302" y="4305"/>
                </a:lnTo>
                <a:lnTo>
                  <a:pt x="1338" y="4269"/>
                </a:lnTo>
                <a:lnTo>
                  <a:pt x="1379" y="4240"/>
                </a:lnTo>
                <a:lnTo>
                  <a:pt x="1426" y="4217"/>
                </a:lnTo>
                <a:lnTo>
                  <a:pt x="1478" y="4204"/>
                </a:lnTo>
                <a:lnTo>
                  <a:pt x="1533" y="4199"/>
                </a:lnTo>
                <a:lnTo>
                  <a:pt x="1585" y="4204"/>
                </a:lnTo>
                <a:lnTo>
                  <a:pt x="1637" y="4217"/>
                </a:lnTo>
                <a:lnTo>
                  <a:pt x="1684" y="4240"/>
                </a:lnTo>
                <a:lnTo>
                  <a:pt x="1726" y="4269"/>
                </a:lnTo>
                <a:lnTo>
                  <a:pt x="1762" y="4305"/>
                </a:lnTo>
                <a:lnTo>
                  <a:pt x="1791" y="4349"/>
                </a:lnTo>
                <a:lnTo>
                  <a:pt x="1814" y="4395"/>
                </a:lnTo>
                <a:lnTo>
                  <a:pt x="1829" y="4446"/>
                </a:lnTo>
                <a:lnTo>
                  <a:pt x="1832" y="4500"/>
                </a:lnTo>
                <a:lnTo>
                  <a:pt x="1832" y="4506"/>
                </a:lnTo>
                <a:lnTo>
                  <a:pt x="2563" y="4506"/>
                </a:lnTo>
                <a:lnTo>
                  <a:pt x="2563" y="4500"/>
                </a:lnTo>
                <a:lnTo>
                  <a:pt x="2567" y="4446"/>
                </a:lnTo>
                <a:lnTo>
                  <a:pt x="2581" y="4395"/>
                </a:lnTo>
                <a:lnTo>
                  <a:pt x="2605" y="4349"/>
                </a:lnTo>
                <a:lnTo>
                  <a:pt x="2634" y="4305"/>
                </a:lnTo>
                <a:lnTo>
                  <a:pt x="2670" y="4269"/>
                </a:lnTo>
                <a:lnTo>
                  <a:pt x="2711" y="4240"/>
                </a:lnTo>
                <a:lnTo>
                  <a:pt x="2758" y="4217"/>
                </a:lnTo>
                <a:lnTo>
                  <a:pt x="2810" y="4204"/>
                </a:lnTo>
                <a:lnTo>
                  <a:pt x="2865" y="4199"/>
                </a:lnTo>
                <a:lnTo>
                  <a:pt x="2922" y="4204"/>
                </a:lnTo>
                <a:lnTo>
                  <a:pt x="2977" y="4221"/>
                </a:lnTo>
                <a:lnTo>
                  <a:pt x="3025" y="4246"/>
                </a:lnTo>
                <a:lnTo>
                  <a:pt x="3069" y="4280"/>
                </a:lnTo>
                <a:lnTo>
                  <a:pt x="3112" y="4246"/>
                </a:lnTo>
                <a:lnTo>
                  <a:pt x="3162" y="4221"/>
                </a:lnTo>
                <a:lnTo>
                  <a:pt x="3217" y="4204"/>
                </a:lnTo>
                <a:lnTo>
                  <a:pt x="3274" y="4199"/>
                </a:lnTo>
                <a:lnTo>
                  <a:pt x="3332" y="4204"/>
                </a:lnTo>
                <a:lnTo>
                  <a:pt x="3386" y="4221"/>
                </a:lnTo>
                <a:lnTo>
                  <a:pt x="3435" y="4246"/>
                </a:lnTo>
                <a:lnTo>
                  <a:pt x="3478" y="4280"/>
                </a:lnTo>
                <a:lnTo>
                  <a:pt x="3522" y="4246"/>
                </a:lnTo>
                <a:lnTo>
                  <a:pt x="3572" y="4221"/>
                </a:lnTo>
                <a:lnTo>
                  <a:pt x="3626" y="4204"/>
                </a:lnTo>
                <a:lnTo>
                  <a:pt x="3684" y="4199"/>
                </a:lnTo>
                <a:lnTo>
                  <a:pt x="3742" y="4204"/>
                </a:lnTo>
                <a:lnTo>
                  <a:pt x="3796" y="4221"/>
                </a:lnTo>
                <a:lnTo>
                  <a:pt x="3845" y="4246"/>
                </a:lnTo>
                <a:lnTo>
                  <a:pt x="3888" y="4280"/>
                </a:lnTo>
                <a:lnTo>
                  <a:pt x="3931" y="4246"/>
                </a:lnTo>
                <a:lnTo>
                  <a:pt x="3982" y="4221"/>
                </a:lnTo>
                <a:lnTo>
                  <a:pt x="4036" y="4204"/>
                </a:lnTo>
                <a:lnTo>
                  <a:pt x="4094" y="4199"/>
                </a:lnTo>
                <a:lnTo>
                  <a:pt x="4148" y="4204"/>
                </a:lnTo>
                <a:lnTo>
                  <a:pt x="4198" y="4217"/>
                </a:lnTo>
                <a:lnTo>
                  <a:pt x="4245" y="4240"/>
                </a:lnTo>
                <a:lnTo>
                  <a:pt x="4287" y="4269"/>
                </a:lnTo>
                <a:lnTo>
                  <a:pt x="4323" y="4305"/>
                </a:lnTo>
                <a:lnTo>
                  <a:pt x="4354" y="4349"/>
                </a:lnTo>
                <a:lnTo>
                  <a:pt x="4375" y="4395"/>
                </a:lnTo>
                <a:lnTo>
                  <a:pt x="4390" y="4446"/>
                </a:lnTo>
                <a:lnTo>
                  <a:pt x="4395" y="4500"/>
                </a:lnTo>
                <a:lnTo>
                  <a:pt x="4395" y="4506"/>
                </a:lnTo>
                <a:lnTo>
                  <a:pt x="4920" y="4506"/>
                </a:lnTo>
                <a:lnTo>
                  <a:pt x="4920" y="3674"/>
                </a:lnTo>
                <a:lnTo>
                  <a:pt x="3985" y="3674"/>
                </a:lnTo>
                <a:lnTo>
                  <a:pt x="3985" y="3681"/>
                </a:lnTo>
                <a:lnTo>
                  <a:pt x="3980" y="3735"/>
                </a:lnTo>
                <a:lnTo>
                  <a:pt x="3966" y="3786"/>
                </a:lnTo>
                <a:lnTo>
                  <a:pt x="3944" y="3833"/>
                </a:lnTo>
                <a:lnTo>
                  <a:pt x="3913" y="3874"/>
                </a:lnTo>
                <a:lnTo>
                  <a:pt x="3877" y="3910"/>
                </a:lnTo>
                <a:lnTo>
                  <a:pt x="3836" y="3941"/>
                </a:lnTo>
                <a:lnTo>
                  <a:pt x="3789" y="3963"/>
                </a:lnTo>
                <a:lnTo>
                  <a:pt x="3738" y="3977"/>
                </a:lnTo>
                <a:lnTo>
                  <a:pt x="3684" y="3981"/>
                </a:lnTo>
                <a:lnTo>
                  <a:pt x="3626" y="3975"/>
                </a:lnTo>
                <a:lnTo>
                  <a:pt x="3572" y="3959"/>
                </a:lnTo>
                <a:lnTo>
                  <a:pt x="3522" y="3934"/>
                </a:lnTo>
                <a:lnTo>
                  <a:pt x="3478" y="3901"/>
                </a:lnTo>
                <a:lnTo>
                  <a:pt x="3435" y="3934"/>
                </a:lnTo>
                <a:lnTo>
                  <a:pt x="3386" y="3959"/>
                </a:lnTo>
                <a:lnTo>
                  <a:pt x="3332" y="3975"/>
                </a:lnTo>
                <a:lnTo>
                  <a:pt x="3274" y="3981"/>
                </a:lnTo>
                <a:lnTo>
                  <a:pt x="3220" y="3977"/>
                </a:lnTo>
                <a:lnTo>
                  <a:pt x="3170" y="3963"/>
                </a:lnTo>
                <a:lnTo>
                  <a:pt x="3123" y="3941"/>
                </a:lnTo>
                <a:lnTo>
                  <a:pt x="3079" y="3910"/>
                </a:lnTo>
                <a:lnTo>
                  <a:pt x="3043" y="3874"/>
                </a:lnTo>
                <a:lnTo>
                  <a:pt x="3014" y="3833"/>
                </a:lnTo>
                <a:lnTo>
                  <a:pt x="2991" y="3786"/>
                </a:lnTo>
                <a:lnTo>
                  <a:pt x="2978" y="3735"/>
                </a:lnTo>
                <a:lnTo>
                  <a:pt x="2973" y="3681"/>
                </a:lnTo>
                <a:lnTo>
                  <a:pt x="2973" y="3674"/>
                </a:lnTo>
                <a:lnTo>
                  <a:pt x="2242" y="3674"/>
                </a:lnTo>
                <a:lnTo>
                  <a:pt x="2242" y="3681"/>
                </a:lnTo>
                <a:lnTo>
                  <a:pt x="2238" y="3735"/>
                </a:lnTo>
                <a:lnTo>
                  <a:pt x="2224" y="3786"/>
                </a:lnTo>
                <a:lnTo>
                  <a:pt x="2202" y="3833"/>
                </a:lnTo>
                <a:lnTo>
                  <a:pt x="2172" y="3874"/>
                </a:lnTo>
                <a:lnTo>
                  <a:pt x="2135" y="3910"/>
                </a:lnTo>
                <a:lnTo>
                  <a:pt x="2094" y="3941"/>
                </a:lnTo>
                <a:lnTo>
                  <a:pt x="2047" y="3963"/>
                </a:lnTo>
                <a:lnTo>
                  <a:pt x="1996" y="3977"/>
                </a:lnTo>
                <a:lnTo>
                  <a:pt x="1942" y="3981"/>
                </a:lnTo>
                <a:lnTo>
                  <a:pt x="1888" y="3977"/>
                </a:lnTo>
                <a:lnTo>
                  <a:pt x="1836" y="3963"/>
                </a:lnTo>
                <a:lnTo>
                  <a:pt x="1789" y="3941"/>
                </a:lnTo>
                <a:lnTo>
                  <a:pt x="1747" y="3910"/>
                </a:lnTo>
                <a:lnTo>
                  <a:pt x="1711" y="3874"/>
                </a:lnTo>
                <a:lnTo>
                  <a:pt x="1682" y="3833"/>
                </a:lnTo>
                <a:lnTo>
                  <a:pt x="1659" y="3786"/>
                </a:lnTo>
                <a:lnTo>
                  <a:pt x="1644" y="3735"/>
                </a:lnTo>
                <a:lnTo>
                  <a:pt x="1641" y="3681"/>
                </a:lnTo>
                <a:lnTo>
                  <a:pt x="1641" y="3674"/>
                </a:lnTo>
                <a:lnTo>
                  <a:pt x="1013" y="3674"/>
                </a:lnTo>
                <a:close/>
                <a:moveTo>
                  <a:pt x="3684" y="3367"/>
                </a:moveTo>
                <a:lnTo>
                  <a:pt x="3650" y="3373"/>
                </a:lnTo>
                <a:lnTo>
                  <a:pt x="3619" y="3387"/>
                </a:lnTo>
                <a:lnTo>
                  <a:pt x="3596" y="3411"/>
                </a:lnTo>
                <a:lnTo>
                  <a:pt x="3581" y="3441"/>
                </a:lnTo>
                <a:lnTo>
                  <a:pt x="3574" y="3476"/>
                </a:lnTo>
                <a:lnTo>
                  <a:pt x="3574" y="3681"/>
                </a:lnTo>
                <a:lnTo>
                  <a:pt x="3581" y="3716"/>
                </a:lnTo>
                <a:lnTo>
                  <a:pt x="3596" y="3744"/>
                </a:lnTo>
                <a:lnTo>
                  <a:pt x="3619" y="3768"/>
                </a:lnTo>
                <a:lnTo>
                  <a:pt x="3650" y="3784"/>
                </a:lnTo>
                <a:lnTo>
                  <a:pt x="3684" y="3789"/>
                </a:lnTo>
                <a:lnTo>
                  <a:pt x="3718" y="3784"/>
                </a:lnTo>
                <a:lnTo>
                  <a:pt x="3747" y="3768"/>
                </a:lnTo>
                <a:lnTo>
                  <a:pt x="3771" y="3744"/>
                </a:lnTo>
                <a:lnTo>
                  <a:pt x="3787" y="3716"/>
                </a:lnTo>
                <a:lnTo>
                  <a:pt x="3792" y="3681"/>
                </a:lnTo>
                <a:lnTo>
                  <a:pt x="3792" y="3476"/>
                </a:lnTo>
                <a:lnTo>
                  <a:pt x="3787" y="3441"/>
                </a:lnTo>
                <a:lnTo>
                  <a:pt x="3771" y="3411"/>
                </a:lnTo>
                <a:lnTo>
                  <a:pt x="3747" y="3387"/>
                </a:lnTo>
                <a:lnTo>
                  <a:pt x="3718" y="3373"/>
                </a:lnTo>
                <a:lnTo>
                  <a:pt x="3684" y="3367"/>
                </a:lnTo>
                <a:close/>
                <a:moveTo>
                  <a:pt x="3274" y="3367"/>
                </a:moveTo>
                <a:lnTo>
                  <a:pt x="3240" y="3373"/>
                </a:lnTo>
                <a:lnTo>
                  <a:pt x="3209" y="3387"/>
                </a:lnTo>
                <a:lnTo>
                  <a:pt x="3186" y="3411"/>
                </a:lnTo>
                <a:lnTo>
                  <a:pt x="3170" y="3441"/>
                </a:lnTo>
                <a:lnTo>
                  <a:pt x="3164" y="3476"/>
                </a:lnTo>
                <a:lnTo>
                  <a:pt x="3164" y="3681"/>
                </a:lnTo>
                <a:lnTo>
                  <a:pt x="3170" y="3716"/>
                </a:lnTo>
                <a:lnTo>
                  <a:pt x="3186" y="3744"/>
                </a:lnTo>
                <a:lnTo>
                  <a:pt x="3209" y="3768"/>
                </a:lnTo>
                <a:lnTo>
                  <a:pt x="3240" y="3784"/>
                </a:lnTo>
                <a:lnTo>
                  <a:pt x="3274" y="3789"/>
                </a:lnTo>
                <a:lnTo>
                  <a:pt x="3309" y="3784"/>
                </a:lnTo>
                <a:lnTo>
                  <a:pt x="3337" y="3768"/>
                </a:lnTo>
                <a:lnTo>
                  <a:pt x="3361" y="3744"/>
                </a:lnTo>
                <a:lnTo>
                  <a:pt x="3377" y="3716"/>
                </a:lnTo>
                <a:lnTo>
                  <a:pt x="3383" y="3681"/>
                </a:lnTo>
                <a:lnTo>
                  <a:pt x="3383" y="3476"/>
                </a:lnTo>
                <a:lnTo>
                  <a:pt x="3377" y="3441"/>
                </a:lnTo>
                <a:lnTo>
                  <a:pt x="3361" y="3411"/>
                </a:lnTo>
                <a:lnTo>
                  <a:pt x="3337" y="3387"/>
                </a:lnTo>
                <a:lnTo>
                  <a:pt x="3309" y="3373"/>
                </a:lnTo>
                <a:lnTo>
                  <a:pt x="3274" y="3367"/>
                </a:lnTo>
                <a:close/>
                <a:moveTo>
                  <a:pt x="1942" y="3367"/>
                </a:moveTo>
                <a:lnTo>
                  <a:pt x="1908" y="3373"/>
                </a:lnTo>
                <a:lnTo>
                  <a:pt x="1877" y="3387"/>
                </a:lnTo>
                <a:lnTo>
                  <a:pt x="1854" y="3411"/>
                </a:lnTo>
                <a:lnTo>
                  <a:pt x="1838" y="3441"/>
                </a:lnTo>
                <a:lnTo>
                  <a:pt x="1832" y="3476"/>
                </a:lnTo>
                <a:lnTo>
                  <a:pt x="1832" y="3681"/>
                </a:lnTo>
                <a:lnTo>
                  <a:pt x="1838" y="3716"/>
                </a:lnTo>
                <a:lnTo>
                  <a:pt x="1854" y="3744"/>
                </a:lnTo>
                <a:lnTo>
                  <a:pt x="1877" y="3768"/>
                </a:lnTo>
                <a:lnTo>
                  <a:pt x="1908" y="3784"/>
                </a:lnTo>
                <a:lnTo>
                  <a:pt x="1942" y="3789"/>
                </a:lnTo>
                <a:lnTo>
                  <a:pt x="1977" y="3784"/>
                </a:lnTo>
                <a:lnTo>
                  <a:pt x="2005" y="3768"/>
                </a:lnTo>
                <a:lnTo>
                  <a:pt x="2029" y="3744"/>
                </a:lnTo>
                <a:lnTo>
                  <a:pt x="2045" y="3716"/>
                </a:lnTo>
                <a:lnTo>
                  <a:pt x="2051" y="3681"/>
                </a:lnTo>
                <a:lnTo>
                  <a:pt x="2051" y="3476"/>
                </a:lnTo>
                <a:lnTo>
                  <a:pt x="2045" y="3441"/>
                </a:lnTo>
                <a:lnTo>
                  <a:pt x="2029" y="3411"/>
                </a:lnTo>
                <a:lnTo>
                  <a:pt x="2005" y="3387"/>
                </a:lnTo>
                <a:lnTo>
                  <a:pt x="1977" y="3373"/>
                </a:lnTo>
                <a:lnTo>
                  <a:pt x="1942" y="3367"/>
                </a:lnTo>
                <a:close/>
                <a:moveTo>
                  <a:pt x="1013" y="2650"/>
                </a:moveTo>
                <a:lnTo>
                  <a:pt x="1013" y="3483"/>
                </a:lnTo>
                <a:lnTo>
                  <a:pt x="1641" y="3483"/>
                </a:lnTo>
                <a:lnTo>
                  <a:pt x="1641" y="3476"/>
                </a:lnTo>
                <a:lnTo>
                  <a:pt x="1644" y="3422"/>
                </a:lnTo>
                <a:lnTo>
                  <a:pt x="1659" y="3371"/>
                </a:lnTo>
                <a:lnTo>
                  <a:pt x="1682" y="3324"/>
                </a:lnTo>
                <a:lnTo>
                  <a:pt x="1711" y="3283"/>
                </a:lnTo>
                <a:lnTo>
                  <a:pt x="1747" y="3247"/>
                </a:lnTo>
                <a:lnTo>
                  <a:pt x="1789" y="3216"/>
                </a:lnTo>
                <a:lnTo>
                  <a:pt x="1836" y="3194"/>
                </a:lnTo>
                <a:lnTo>
                  <a:pt x="1888" y="3180"/>
                </a:lnTo>
                <a:lnTo>
                  <a:pt x="1942" y="3174"/>
                </a:lnTo>
                <a:lnTo>
                  <a:pt x="1996" y="3180"/>
                </a:lnTo>
                <a:lnTo>
                  <a:pt x="2047" y="3194"/>
                </a:lnTo>
                <a:lnTo>
                  <a:pt x="2094" y="3216"/>
                </a:lnTo>
                <a:lnTo>
                  <a:pt x="2135" y="3247"/>
                </a:lnTo>
                <a:lnTo>
                  <a:pt x="2172" y="3283"/>
                </a:lnTo>
                <a:lnTo>
                  <a:pt x="2202" y="3324"/>
                </a:lnTo>
                <a:lnTo>
                  <a:pt x="2224" y="3371"/>
                </a:lnTo>
                <a:lnTo>
                  <a:pt x="2238" y="3422"/>
                </a:lnTo>
                <a:lnTo>
                  <a:pt x="2242" y="3476"/>
                </a:lnTo>
                <a:lnTo>
                  <a:pt x="2242" y="3483"/>
                </a:lnTo>
                <a:lnTo>
                  <a:pt x="2973" y="3483"/>
                </a:lnTo>
                <a:lnTo>
                  <a:pt x="2973" y="3476"/>
                </a:lnTo>
                <a:lnTo>
                  <a:pt x="2978" y="3422"/>
                </a:lnTo>
                <a:lnTo>
                  <a:pt x="2991" y="3371"/>
                </a:lnTo>
                <a:lnTo>
                  <a:pt x="3014" y="3324"/>
                </a:lnTo>
                <a:lnTo>
                  <a:pt x="3043" y="3283"/>
                </a:lnTo>
                <a:lnTo>
                  <a:pt x="3079" y="3247"/>
                </a:lnTo>
                <a:lnTo>
                  <a:pt x="3123" y="3216"/>
                </a:lnTo>
                <a:lnTo>
                  <a:pt x="3170" y="3194"/>
                </a:lnTo>
                <a:lnTo>
                  <a:pt x="3220" y="3180"/>
                </a:lnTo>
                <a:lnTo>
                  <a:pt x="3274" y="3174"/>
                </a:lnTo>
                <a:lnTo>
                  <a:pt x="3332" y="3180"/>
                </a:lnTo>
                <a:lnTo>
                  <a:pt x="3386" y="3196"/>
                </a:lnTo>
                <a:lnTo>
                  <a:pt x="3435" y="3221"/>
                </a:lnTo>
                <a:lnTo>
                  <a:pt x="3478" y="3256"/>
                </a:lnTo>
                <a:lnTo>
                  <a:pt x="3522" y="3221"/>
                </a:lnTo>
                <a:lnTo>
                  <a:pt x="3572" y="3196"/>
                </a:lnTo>
                <a:lnTo>
                  <a:pt x="3626" y="3180"/>
                </a:lnTo>
                <a:lnTo>
                  <a:pt x="3684" y="3174"/>
                </a:lnTo>
                <a:lnTo>
                  <a:pt x="3738" y="3180"/>
                </a:lnTo>
                <a:lnTo>
                  <a:pt x="3789" y="3194"/>
                </a:lnTo>
                <a:lnTo>
                  <a:pt x="3836" y="3216"/>
                </a:lnTo>
                <a:lnTo>
                  <a:pt x="3877" y="3247"/>
                </a:lnTo>
                <a:lnTo>
                  <a:pt x="3913" y="3283"/>
                </a:lnTo>
                <a:lnTo>
                  <a:pt x="3944" y="3324"/>
                </a:lnTo>
                <a:lnTo>
                  <a:pt x="3966" y="3371"/>
                </a:lnTo>
                <a:lnTo>
                  <a:pt x="3980" y="3422"/>
                </a:lnTo>
                <a:lnTo>
                  <a:pt x="3985" y="3476"/>
                </a:lnTo>
                <a:lnTo>
                  <a:pt x="3985" y="3483"/>
                </a:lnTo>
                <a:lnTo>
                  <a:pt x="4920" y="3483"/>
                </a:lnTo>
                <a:lnTo>
                  <a:pt x="4920" y="2650"/>
                </a:lnTo>
                <a:lnTo>
                  <a:pt x="2242" y="2650"/>
                </a:lnTo>
                <a:lnTo>
                  <a:pt x="2242" y="2657"/>
                </a:lnTo>
                <a:lnTo>
                  <a:pt x="2238" y="2711"/>
                </a:lnTo>
                <a:lnTo>
                  <a:pt x="2224" y="2761"/>
                </a:lnTo>
                <a:lnTo>
                  <a:pt x="2202" y="2808"/>
                </a:lnTo>
                <a:lnTo>
                  <a:pt x="2172" y="2850"/>
                </a:lnTo>
                <a:lnTo>
                  <a:pt x="2135" y="2886"/>
                </a:lnTo>
                <a:lnTo>
                  <a:pt x="2094" y="2916"/>
                </a:lnTo>
                <a:lnTo>
                  <a:pt x="2047" y="2938"/>
                </a:lnTo>
                <a:lnTo>
                  <a:pt x="1996" y="2953"/>
                </a:lnTo>
                <a:lnTo>
                  <a:pt x="1942" y="2958"/>
                </a:lnTo>
                <a:lnTo>
                  <a:pt x="1885" y="2953"/>
                </a:lnTo>
                <a:lnTo>
                  <a:pt x="1830" y="2936"/>
                </a:lnTo>
                <a:lnTo>
                  <a:pt x="1780" y="2911"/>
                </a:lnTo>
                <a:lnTo>
                  <a:pt x="1737" y="2877"/>
                </a:lnTo>
                <a:lnTo>
                  <a:pt x="1693" y="2911"/>
                </a:lnTo>
                <a:lnTo>
                  <a:pt x="1644" y="2936"/>
                </a:lnTo>
                <a:lnTo>
                  <a:pt x="1590" y="2953"/>
                </a:lnTo>
                <a:lnTo>
                  <a:pt x="1533" y="2958"/>
                </a:lnTo>
                <a:lnTo>
                  <a:pt x="1478" y="2953"/>
                </a:lnTo>
                <a:lnTo>
                  <a:pt x="1426" y="2938"/>
                </a:lnTo>
                <a:lnTo>
                  <a:pt x="1379" y="2916"/>
                </a:lnTo>
                <a:lnTo>
                  <a:pt x="1338" y="2886"/>
                </a:lnTo>
                <a:lnTo>
                  <a:pt x="1302" y="2850"/>
                </a:lnTo>
                <a:lnTo>
                  <a:pt x="1273" y="2808"/>
                </a:lnTo>
                <a:lnTo>
                  <a:pt x="1249" y="2761"/>
                </a:lnTo>
                <a:lnTo>
                  <a:pt x="1235" y="2711"/>
                </a:lnTo>
                <a:lnTo>
                  <a:pt x="1231" y="2657"/>
                </a:lnTo>
                <a:lnTo>
                  <a:pt x="1231" y="2650"/>
                </a:lnTo>
                <a:lnTo>
                  <a:pt x="1013" y="2650"/>
                </a:lnTo>
                <a:close/>
                <a:moveTo>
                  <a:pt x="1942" y="2343"/>
                </a:moveTo>
                <a:lnTo>
                  <a:pt x="1908" y="2348"/>
                </a:lnTo>
                <a:lnTo>
                  <a:pt x="1877" y="2365"/>
                </a:lnTo>
                <a:lnTo>
                  <a:pt x="1854" y="2388"/>
                </a:lnTo>
                <a:lnTo>
                  <a:pt x="1838" y="2417"/>
                </a:lnTo>
                <a:lnTo>
                  <a:pt x="1832" y="2451"/>
                </a:lnTo>
                <a:lnTo>
                  <a:pt x="1832" y="2657"/>
                </a:lnTo>
                <a:lnTo>
                  <a:pt x="1838" y="2691"/>
                </a:lnTo>
                <a:lnTo>
                  <a:pt x="1854" y="2722"/>
                </a:lnTo>
                <a:lnTo>
                  <a:pt x="1877" y="2745"/>
                </a:lnTo>
                <a:lnTo>
                  <a:pt x="1908" y="2760"/>
                </a:lnTo>
                <a:lnTo>
                  <a:pt x="1942" y="2765"/>
                </a:lnTo>
                <a:lnTo>
                  <a:pt x="1977" y="2760"/>
                </a:lnTo>
                <a:lnTo>
                  <a:pt x="2005" y="2745"/>
                </a:lnTo>
                <a:lnTo>
                  <a:pt x="2029" y="2722"/>
                </a:lnTo>
                <a:lnTo>
                  <a:pt x="2045" y="2691"/>
                </a:lnTo>
                <a:lnTo>
                  <a:pt x="2051" y="2657"/>
                </a:lnTo>
                <a:lnTo>
                  <a:pt x="2051" y="2556"/>
                </a:lnTo>
                <a:lnTo>
                  <a:pt x="2051" y="2554"/>
                </a:lnTo>
                <a:lnTo>
                  <a:pt x="2051" y="2554"/>
                </a:lnTo>
                <a:lnTo>
                  <a:pt x="2051" y="2451"/>
                </a:lnTo>
                <a:lnTo>
                  <a:pt x="2045" y="2417"/>
                </a:lnTo>
                <a:lnTo>
                  <a:pt x="2029" y="2388"/>
                </a:lnTo>
                <a:lnTo>
                  <a:pt x="2005" y="2365"/>
                </a:lnTo>
                <a:lnTo>
                  <a:pt x="1977" y="2348"/>
                </a:lnTo>
                <a:lnTo>
                  <a:pt x="1942" y="2343"/>
                </a:lnTo>
                <a:close/>
                <a:moveTo>
                  <a:pt x="1533" y="2343"/>
                </a:moveTo>
                <a:lnTo>
                  <a:pt x="1496" y="2348"/>
                </a:lnTo>
                <a:lnTo>
                  <a:pt x="1468" y="2365"/>
                </a:lnTo>
                <a:lnTo>
                  <a:pt x="1444" y="2388"/>
                </a:lnTo>
                <a:lnTo>
                  <a:pt x="1428" y="2417"/>
                </a:lnTo>
                <a:lnTo>
                  <a:pt x="1422" y="2451"/>
                </a:lnTo>
                <a:lnTo>
                  <a:pt x="1422" y="2657"/>
                </a:lnTo>
                <a:lnTo>
                  <a:pt x="1428" y="2691"/>
                </a:lnTo>
                <a:lnTo>
                  <a:pt x="1444" y="2722"/>
                </a:lnTo>
                <a:lnTo>
                  <a:pt x="1468" y="2745"/>
                </a:lnTo>
                <a:lnTo>
                  <a:pt x="1496" y="2760"/>
                </a:lnTo>
                <a:lnTo>
                  <a:pt x="1533" y="2765"/>
                </a:lnTo>
                <a:lnTo>
                  <a:pt x="1567" y="2760"/>
                </a:lnTo>
                <a:lnTo>
                  <a:pt x="1596" y="2745"/>
                </a:lnTo>
                <a:lnTo>
                  <a:pt x="1619" y="2722"/>
                </a:lnTo>
                <a:lnTo>
                  <a:pt x="1635" y="2691"/>
                </a:lnTo>
                <a:lnTo>
                  <a:pt x="1641" y="2657"/>
                </a:lnTo>
                <a:lnTo>
                  <a:pt x="1641" y="2451"/>
                </a:lnTo>
                <a:lnTo>
                  <a:pt x="1635" y="2417"/>
                </a:lnTo>
                <a:lnTo>
                  <a:pt x="1619" y="2388"/>
                </a:lnTo>
                <a:lnTo>
                  <a:pt x="1596" y="2365"/>
                </a:lnTo>
                <a:lnTo>
                  <a:pt x="1567" y="2348"/>
                </a:lnTo>
                <a:lnTo>
                  <a:pt x="1533" y="2343"/>
                </a:lnTo>
                <a:close/>
                <a:moveTo>
                  <a:pt x="1013" y="1627"/>
                </a:moveTo>
                <a:lnTo>
                  <a:pt x="1013" y="2458"/>
                </a:lnTo>
                <a:lnTo>
                  <a:pt x="1231" y="2458"/>
                </a:lnTo>
                <a:lnTo>
                  <a:pt x="1231" y="2451"/>
                </a:lnTo>
                <a:lnTo>
                  <a:pt x="1235" y="2397"/>
                </a:lnTo>
                <a:lnTo>
                  <a:pt x="1249" y="2347"/>
                </a:lnTo>
                <a:lnTo>
                  <a:pt x="1273" y="2300"/>
                </a:lnTo>
                <a:lnTo>
                  <a:pt x="1302" y="2258"/>
                </a:lnTo>
                <a:lnTo>
                  <a:pt x="1338" y="2222"/>
                </a:lnTo>
                <a:lnTo>
                  <a:pt x="1379" y="2191"/>
                </a:lnTo>
                <a:lnTo>
                  <a:pt x="1426" y="2170"/>
                </a:lnTo>
                <a:lnTo>
                  <a:pt x="1478" y="2155"/>
                </a:lnTo>
                <a:lnTo>
                  <a:pt x="1533" y="2152"/>
                </a:lnTo>
                <a:lnTo>
                  <a:pt x="1590" y="2157"/>
                </a:lnTo>
                <a:lnTo>
                  <a:pt x="1644" y="2173"/>
                </a:lnTo>
                <a:lnTo>
                  <a:pt x="1693" y="2199"/>
                </a:lnTo>
                <a:lnTo>
                  <a:pt x="1737" y="2231"/>
                </a:lnTo>
                <a:lnTo>
                  <a:pt x="1780" y="2199"/>
                </a:lnTo>
                <a:lnTo>
                  <a:pt x="1830" y="2173"/>
                </a:lnTo>
                <a:lnTo>
                  <a:pt x="1885" y="2157"/>
                </a:lnTo>
                <a:lnTo>
                  <a:pt x="1942" y="2152"/>
                </a:lnTo>
                <a:lnTo>
                  <a:pt x="1996" y="2155"/>
                </a:lnTo>
                <a:lnTo>
                  <a:pt x="2047" y="2170"/>
                </a:lnTo>
                <a:lnTo>
                  <a:pt x="2094" y="2191"/>
                </a:lnTo>
                <a:lnTo>
                  <a:pt x="2135" y="2222"/>
                </a:lnTo>
                <a:lnTo>
                  <a:pt x="2172" y="2258"/>
                </a:lnTo>
                <a:lnTo>
                  <a:pt x="2202" y="2300"/>
                </a:lnTo>
                <a:lnTo>
                  <a:pt x="2224" y="2347"/>
                </a:lnTo>
                <a:lnTo>
                  <a:pt x="2238" y="2397"/>
                </a:lnTo>
                <a:lnTo>
                  <a:pt x="2242" y="2451"/>
                </a:lnTo>
                <a:lnTo>
                  <a:pt x="2242" y="2458"/>
                </a:lnTo>
                <a:lnTo>
                  <a:pt x="4920" y="2458"/>
                </a:lnTo>
                <a:lnTo>
                  <a:pt x="4920" y="1627"/>
                </a:lnTo>
                <a:lnTo>
                  <a:pt x="4395" y="1627"/>
                </a:lnTo>
                <a:lnTo>
                  <a:pt x="4395" y="1632"/>
                </a:lnTo>
                <a:lnTo>
                  <a:pt x="4390" y="1686"/>
                </a:lnTo>
                <a:lnTo>
                  <a:pt x="4375" y="1737"/>
                </a:lnTo>
                <a:lnTo>
                  <a:pt x="4354" y="1784"/>
                </a:lnTo>
                <a:lnTo>
                  <a:pt x="4323" y="1827"/>
                </a:lnTo>
                <a:lnTo>
                  <a:pt x="4287" y="1863"/>
                </a:lnTo>
                <a:lnTo>
                  <a:pt x="4245" y="1892"/>
                </a:lnTo>
                <a:lnTo>
                  <a:pt x="4198" y="1914"/>
                </a:lnTo>
                <a:lnTo>
                  <a:pt x="4148" y="1928"/>
                </a:lnTo>
                <a:lnTo>
                  <a:pt x="4094" y="1934"/>
                </a:lnTo>
                <a:lnTo>
                  <a:pt x="4036" y="1928"/>
                </a:lnTo>
                <a:lnTo>
                  <a:pt x="3982" y="1912"/>
                </a:lnTo>
                <a:lnTo>
                  <a:pt x="3931" y="1887"/>
                </a:lnTo>
                <a:lnTo>
                  <a:pt x="3888" y="1852"/>
                </a:lnTo>
                <a:lnTo>
                  <a:pt x="3845" y="1887"/>
                </a:lnTo>
                <a:lnTo>
                  <a:pt x="3796" y="1912"/>
                </a:lnTo>
                <a:lnTo>
                  <a:pt x="3742" y="1928"/>
                </a:lnTo>
                <a:lnTo>
                  <a:pt x="3684" y="1934"/>
                </a:lnTo>
                <a:lnTo>
                  <a:pt x="3630" y="1928"/>
                </a:lnTo>
                <a:lnTo>
                  <a:pt x="3579" y="1914"/>
                </a:lnTo>
                <a:lnTo>
                  <a:pt x="3532" y="1892"/>
                </a:lnTo>
                <a:lnTo>
                  <a:pt x="3489" y="1863"/>
                </a:lnTo>
                <a:lnTo>
                  <a:pt x="3453" y="1827"/>
                </a:lnTo>
                <a:lnTo>
                  <a:pt x="3424" y="1784"/>
                </a:lnTo>
                <a:lnTo>
                  <a:pt x="3401" y="1737"/>
                </a:lnTo>
                <a:lnTo>
                  <a:pt x="3388" y="1686"/>
                </a:lnTo>
                <a:lnTo>
                  <a:pt x="3383" y="1632"/>
                </a:lnTo>
                <a:lnTo>
                  <a:pt x="3383" y="1627"/>
                </a:lnTo>
                <a:lnTo>
                  <a:pt x="1832" y="1627"/>
                </a:lnTo>
                <a:lnTo>
                  <a:pt x="1832" y="1632"/>
                </a:lnTo>
                <a:lnTo>
                  <a:pt x="1829" y="1686"/>
                </a:lnTo>
                <a:lnTo>
                  <a:pt x="1814" y="1737"/>
                </a:lnTo>
                <a:lnTo>
                  <a:pt x="1791" y="1784"/>
                </a:lnTo>
                <a:lnTo>
                  <a:pt x="1762" y="1827"/>
                </a:lnTo>
                <a:lnTo>
                  <a:pt x="1726" y="1863"/>
                </a:lnTo>
                <a:lnTo>
                  <a:pt x="1684" y="1892"/>
                </a:lnTo>
                <a:lnTo>
                  <a:pt x="1637" y="1914"/>
                </a:lnTo>
                <a:lnTo>
                  <a:pt x="1585" y="1928"/>
                </a:lnTo>
                <a:lnTo>
                  <a:pt x="1533" y="1934"/>
                </a:lnTo>
                <a:lnTo>
                  <a:pt x="1478" y="1928"/>
                </a:lnTo>
                <a:lnTo>
                  <a:pt x="1426" y="1914"/>
                </a:lnTo>
                <a:lnTo>
                  <a:pt x="1379" y="1892"/>
                </a:lnTo>
                <a:lnTo>
                  <a:pt x="1338" y="1863"/>
                </a:lnTo>
                <a:lnTo>
                  <a:pt x="1302" y="1827"/>
                </a:lnTo>
                <a:lnTo>
                  <a:pt x="1273" y="1784"/>
                </a:lnTo>
                <a:lnTo>
                  <a:pt x="1249" y="1737"/>
                </a:lnTo>
                <a:lnTo>
                  <a:pt x="1235" y="1686"/>
                </a:lnTo>
                <a:lnTo>
                  <a:pt x="1231" y="1632"/>
                </a:lnTo>
                <a:lnTo>
                  <a:pt x="1231" y="1627"/>
                </a:lnTo>
                <a:lnTo>
                  <a:pt x="1013" y="1627"/>
                </a:lnTo>
                <a:close/>
                <a:moveTo>
                  <a:pt x="4094" y="1318"/>
                </a:moveTo>
                <a:lnTo>
                  <a:pt x="4059" y="1324"/>
                </a:lnTo>
                <a:lnTo>
                  <a:pt x="4029" y="1340"/>
                </a:lnTo>
                <a:lnTo>
                  <a:pt x="4005" y="1364"/>
                </a:lnTo>
                <a:lnTo>
                  <a:pt x="3991" y="1394"/>
                </a:lnTo>
                <a:lnTo>
                  <a:pt x="3985" y="1428"/>
                </a:lnTo>
                <a:lnTo>
                  <a:pt x="3985" y="1632"/>
                </a:lnTo>
                <a:lnTo>
                  <a:pt x="3991" y="1667"/>
                </a:lnTo>
                <a:lnTo>
                  <a:pt x="4005" y="1697"/>
                </a:lnTo>
                <a:lnTo>
                  <a:pt x="4029" y="1721"/>
                </a:lnTo>
                <a:lnTo>
                  <a:pt x="4059" y="1735"/>
                </a:lnTo>
                <a:lnTo>
                  <a:pt x="4094" y="1741"/>
                </a:lnTo>
                <a:lnTo>
                  <a:pt x="4128" y="1735"/>
                </a:lnTo>
                <a:lnTo>
                  <a:pt x="4157" y="1721"/>
                </a:lnTo>
                <a:lnTo>
                  <a:pt x="4182" y="1697"/>
                </a:lnTo>
                <a:lnTo>
                  <a:pt x="4197" y="1667"/>
                </a:lnTo>
                <a:lnTo>
                  <a:pt x="4202" y="1632"/>
                </a:lnTo>
                <a:lnTo>
                  <a:pt x="4202" y="1428"/>
                </a:lnTo>
                <a:lnTo>
                  <a:pt x="4197" y="1394"/>
                </a:lnTo>
                <a:lnTo>
                  <a:pt x="4182" y="1364"/>
                </a:lnTo>
                <a:lnTo>
                  <a:pt x="4157" y="1340"/>
                </a:lnTo>
                <a:lnTo>
                  <a:pt x="4128" y="1324"/>
                </a:lnTo>
                <a:lnTo>
                  <a:pt x="4094" y="1318"/>
                </a:lnTo>
                <a:close/>
                <a:moveTo>
                  <a:pt x="3684" y="1318"/>
                </a:moveTo>
                <a:lnTo>
                  <a:pt x="3650" y="1324"/>
                </a:lnTo>
                <a:lnTo>
                  <a:pt x="3619" y="1340"/>
                </a:lnTo>
                <a:lnTo>
                  <a:pt x="3596" y="1364"/>
                </a:lnTo>
                <a:lnTo>
                  <a:pt x="3581" y="1394"/>
                </a:lnTo>
                <a:lnTo>
                  <a:pt x="3574" y="1428"/>
                </a:lnTo>
                <a:lnTo>
                  <a:pt x="3574" y="1632"/>
                </a:lnTo>
                <a:lnTo>
                  <a:pt x="3581" y="1667"/>
                </a:lnTo>
                <a:lnTo>
                  <a:pt x="3596" y="1697"/>
                </a:lnTo>
                <a:lnTo>
                  <a:pt x="3619" y="1721"/>
                </a:lnTo>
                <a:lnTo>
                  <a:pt x="3650" y="1735"/>
                </a:lnTo>
                <a:lnTo>
                  <a:pt x="3684" y="1741"/>
                </a:lnTo>
                <a:lnTo>
                  <a:pt x="3718" y="1735"/>
                </a:lnTo>
                <a:lnTo>
                  <a:pt x="3747" y="1721"/>
                </a:lnTo>
                <a:lnTo>
                  <a:pt x="3771" y="1697"/>
                </a:lnTo>
                <a:lnTo>
                  <a:pt x="3787" y="1667"/>
                </a:lnTo>
                <a:lnTo>
                  <a:pt x="3792" y="1632"/>
                </a:lnTo>
                <a:lnTo>
                  <a:pt x="3792" y="1428"/>
                </a:lnTo>
                <a:lnTo>
                  <a:pt x="3787" y="1394"/>
                </a:lnTo>
                <a:lnTo>
                  <a:pt x="3771" y="1364"/>
                </a:lnTo>
                <a:lnTo>
                  <a:pt x="3747" y="1340"/>
                </a:lnTo>
                <a:lnTo>
                  <a:pt x="3718" y="1324"/>
                </a:lnTo>
                <a:lnTo>
                  <a:pt x="3684" y="1318"/>
                </a:lnTo>
                <a:close/>
                <a:moveTo>
                  <a:pt x="1533" y="1318"/>
                </a:moveTo>
                <a:lnTo>
                  <a:pt x="1496" y="1324"/>
                </a:lnTo>
                <a:lnTo>
                  <a:pt x="1468" y="1340"/>
                </a:lnTo>
                <a:lnTo>
                  <a:pt x="1444" y="1364"/>
                </a:lnTo>
                <a:lnTo>
                  <a:pt x="1428" y="1394"/>
                </a:lnTo>
                <a:lnTo>
                  <a:pt x="1422" y="1428"/>
                </a:lnTo>
                <a:lnTo>
                  <a:pt x="1422" y="1632"/>
                </a:lnTo>
                <a:lnTo>
                  <a:pt x="1428" y="1667"/>
                </a:lnTo>
                <a:lnTo>
                  <a:pt x="1444" y="1697"/>
                </a:lnTo>
                <a:lnTo>
                  <a:pt x="1468" y="1721"/>
                </a:lnTo>
                <a:lnTo>
                  <a:pt x="1496" y="1735"/>
                </a:lnTo>
                <a:lnTo>
                  <a:pt x="1533" y="1741"/>
                </a:lnTo>
                <a:lnTo>
                  <a:pt x="1567" y="1735"/>
                </a:lnTo>
                <a:lnTo>
                  <a:pt x="1596" y="1721"/>
                </a:lnTo>
                <a:lnTo>
                  <a:pt x="1619" y="1697"/>
                </a:lnTo>
                <a:lnTo>
                  <a:pt x="1635" y="1667"/>
                </a:lnTo>
                <a:lnTo>
                  <a:pt x="1641" y="1632"/>
                </a:lnTo>
                <a:lnTo>
                  <a:pt x="1641" y="1428"/>
                </a:lnTo>
                <a:lnTo>
                  <a:pt x="1635" y="1394"/>
                </a:lnTo>
                <a:lnTo>
                  <a:pt x="1619" y="1364"/>
                </a:lnTo>
                <a:lnTo>
                  <a:pt x="1596" y="1340"/>
                </a:lnTo>
                <a:lnTo>
                  <a:pt x="1567" y="1324"/>
                </a:lnTo>
                <a:lnTo>
                  <a:pt x="1533" y="1318"/>
                </a:lnTo>
                <a:close/>
                <a:moveTo>
                  <a:pt x="1013" y="806"/>
                </a:moveTo>
                <a:lnTo>
                  <a:pt x="1013" y="1434"/>
                </a:lnTo>
                <a:lnTo>
                  <a:pt x="1231" y="1434"/>
                </a:lnTo>
                <a:lnTo>
                  <a:pt x="1231" y="1428"/>
                </a:lnTo>
                <a:lnTo>
                  <a:pt x="1235" y="1374"/>
                </a:lnTo>
                <a:lnTo>
                  <a:pt x="1249" y="1322"/>
                </a:lnTo>
                <a:lnTo>
                  <a:pt x="1273" y="1275"/>
                </a:lnTo>
                <a:lnTo>
                  <a:pt x="1302" y="1234"/>
                </a:lnTo>
                <a:lnTo>
                  <a:pt x="1338" y="1198"/>
                </a:lnTo>
                <a:lnTo>
                  <a:pt x="1379" y="1169"/>
                </a:lnTo>
                <a:lnTo>
                  <a:pt x="1426" y="1145"/>
                </a:lnTo>
                <a:lnTo>
                  <a:pt x="1478" y="1133"/>
                </a:lnTo>
                <a:lnTo>
                  <a:pt x="1533" y="1127"/>
                </a:lnTo>
                <a:lnTo>
                  <a:pt x="1585" y="1133"/>
                </a:lnTo>
                <a:lnTo>
                  <a:pt x="1637" y="1145"/>
                </a:lnTo>
                <a:lnTo>
                  <a:pt x="1684" y="1169"/>
                </a:lnTo>
                <a:lnTo>
                  <a:pt x="1726" y="1198"/>
                </a:lnTo>
                <a:lnTo>
                  <a:pt x="1762" y="1234"/>
                </a:lnTo>
                <a:lnTo>
                  <a:pt x="1791" y="1275"/>
                </a:lnTo>
                <a:lnTo>
                  <a:pt x="1814" y="1322"/>
                </a:lnTo>
                <a:lnTo>
                  <a:pt x="1829" y="1374"/>
                </a:lnTo>
                <a:lnTo>
                  <a:pt x="1832" y="1428"/>
                </a:lnTo>
                <a:lnTo>
                  <a:pt x="1832" y="1434"/>
                </a:lnTo>
                <a:lnTo>
                  <a:pt x="3383" y="1434"/>
                </a:lnTo>
                <a:lnTo>
                  <a:pt x="3383" y="1428"/>
                </a:lnTo>
                <a:lnTo>
                  <a:pt x="3388" y="1374"/>
                </a:lnTo>
                <a:lnTo>
                  <a:pt x="3401" y="1322"/>
                </a:lnTo>
                <a:lnTo>
                  <a:pt x="3424" y="1275"/>
                </a:lnTo>
                <a:lnTo>
                  <a:pt x="3453" y="1234"/>
                </a:lnTo>
                <a:lnTo>
                  <a:pt x="3489" y="1198"/>
                </a:lnTo>
                <a:lnTo>
                  <a:pt x="3532" y="1169"/>
                </a:lnTo>
                <a:lnTo>
                  <a:pt x="3579" y="1145"/>
                </a:lnTo>
                <a:lnTo>
                  <a:pt x="3630" y="1133"/>
                </a:lnTo>
                <a:lnTo>
                  <a:pt x="3684" y="1127"/>
                </a:lnTo>
                <a:lnTo>
                  <a:pt x="3742" y="1133"/>
                </a:lnTo>
                <a:lnTo>
                  <a:pt x="3796" y="1149"/>
                </a:lnTo>
                <a:lnTo>
                  <a:pt x="3845" y="1174"/>
                </a:lnTo>
                <a:lnTo>
                  <a:pt x="3888" y="1208"/>
                </a:lnTo>
                <a:lnTo>
                  <a:pt x="3931" y="1174"/>
                </a:lnTo>
                <a:lnTo>
                  <a:pt x="3982" y="1149"/>
                </a:lnTo>
                <a:lnTo>
                  <a:pt x="4036" y="1133"/>
                </a:lnTo>
                <a:lnTo>
                  <a:pt x="4094" y="1127"/>
                </a:lnTo>
                <a:lnTo>
                  <a:pt x="4148" y="1133"/>
                </a:lnTo>
                <a:lnTo>
                  <a:pt x="4198" y="1145"/>
                </a:lnTo>
                <a:lnTo>
                  <a:pt x="4245" y="1169"/>
                </a:lnTo>
                <a:lnTo>
                  <a:pt x="4287" y="1198"/>
                </a:lnTo>
                <a:lnTo>
                  <a:pt x="4323" y="1234"/>
                </a:lnTo>
                <a:lnTo>
                  <a:pt x="4354" y="1275"/>
                </a:lnTo>
                <a:lnTo>
                  <a:pt x="4375" y="1322"/>
                </a:lnTo>
                <a:lnTo>
                  <a:pt x="4390" y="1374"/>
                </a:lnTo>
                <a:lnTo>
                  <a:pt x="4395" y="1428"/>
                </a:lnTo>
                <a:lnTo>
                  <a:pt x="4395" y="1434"/>
                </a:lnTo>
                <a:lnTo>
                  <a:pt x="4920" y="1434"/>
                </a:lnTo>
                <a:lnTo>
                  <a:pt x="4920" y="806"/>
                </a:lnTo>
                <a:lnTo>
                  <a:pt x="1013" y="806"/>
                </a:lnTo>
                <a:close/>
                <a:moveTo>
                  <a:pt x="1013" y="397"/>
                </a:moveTo>
                <a:lnTo>
                  <a:pt x="1013" y="615"/>
                </a:lnTo>
                <a:lnTo>
                  <a:pt x="4920" y="615"/>
                </a:lnTo>
                <a:lnTo>
                  <a:pt x="4920" y="397"/>
                </a:lnTo>
                <a:lnTo>
                  <a:pt x="1013" y="397"/>
                </a:lnTo>
                <a:close/>
                <a:moveTo>
                  <a:pt x="5119" y="193"/>
                </a:moveTo>
                <a:lnTo>
                  <a:pt x="5115" y="193"/>
                </a:lnTo>
                <a:lnTo>
                  <a:pt x="5114" y="197"/>
                </a:lnTo>
                <a:lnTo>
                  <a:pt x="5112" y="198"/>
                </a:lnTo>
                <a:lnTo>
                  <a:pt x="5112" y="5326"/>
                </a:lnTo>
                <a:lnTo>
                  <a:pt x="5534" y="5326"/>
                </a:lnTo>
                <a:lnTo>
                  <a:pt x="5534" y="198"/>
                </a:lnTo>
                <a:lnTo>
                  <a:pt x="5534" y="197"/>
                </a:lnTo>
                <a:lnTo>
                  <a:pt x="5530" y="193"/>
                </a:lnTo>
                <a:lnTo>
                  <a:pt x="5529" y="193"/>
                </a:lnTo>
                <a:lnTo>
                  <a:pt x="5119" y="193"/>
                </a:lnTo>
                <a:close/>
                <a:moveTo>
                  <a:pt x="404" y="193"/>
                </a:moveTo>
                <a:lnTo>
                  <a:pt x="401" y="193"/>
                </a:lnTo>
                <a:lnTo>
                  <a:pt x="399" y="197"/>
                </a:lnTo>
                <a:lnTo>
                  <a:pt x="397" y="198"/>
                </a:lnTo>
                <a:lnTo>
                  <a:pt x="397" y="5326"/>
                </a:lnTo>
                <a:lnTo>
                  <a:pt x="821" y="5326"/>
                </a:lnTo>
                <a:lnTo>
                  <a:pt x="821" y="198"/>
                </a:lnTo>
                <a:lnTo>
                  <a:pt x="820" y="197"/>
                </a:lnTo>
                <a:lnTo>
                  <a:pt x="818" y="193"/>
                </a:lnTo>
                <a:lnTo>
                  <a:pt x="814" y="193"/>
                </a:lnTo>
                <a:lnTo>
                  <a:pt x="404" y="193"/>
                </a:lnTo>
                <a:close/>
                <a:moveTo>
                  <a:pt x="404" y="0"/>
                </a:moveTo>
                <a:lnTo>
                  <a:pt x="814" y="0"/>
                </a:lnTo>
                <a:lnTo>
                  <a:pt x="859" y="5"/>
                </a:lnTo>
                <a:lnTo>
                  <a:pt x="901" y="22"/>
                </a:lnTo>
                <a:lnTo>
                  <a:pt x="939" y="45"/>
                </a:lnTo>
                <a:lnTo>
                  <a:pt x="969" y="76"/>
                </a:lnTo>
                <a:lnTo>
                  <a:pt x="993" y="112"/>
                </a:lnTo>
                <a:lnTo>
                  <a:pt x="1007" y="153"/>
                </a:lnTo>
                <a:lnTo>
                  <a:pt x="1013" y="198"/>
                </a:lnTo>
                <a:lnTo>
                  <a:pt x="1013" y="206"/>
                </a:lnTo>
                <a:lnTo>
                  <a:pt x="4920" y="206"/>
                </a:lnTo>
                <a:lnTo>
                  <a:pt x="4920" y="198"/>
                </a:lnTo>
                <a:lnTo>
                  <a:pt x="4924" y="153"/>
                </a:lnTo>
                <a:lnTo>
                  <a:pt x="4940" y="112"/>
                </a:lnTo>
                <a:lnTo>
                  <a:pt x="4964" y="76"/>
                </a:lnTo>
                <a:lnTo>
                  <a:pt x="4994" y="45"/>
                </a:lnTo>
                <a:lnTo>
                  <a:pt x="5031" y="22"/>
                </a:lnTo>
                <a:lnTo>
                  <a:pt x="5072" y="5"/>
                </a:lnTo>
                <a:lnTo>
                  <a:pt x="5119" y="0"/>
                </a:lnTo>
                <a:lnTo>
                  <a:pt x="5529" y="0"/>
                </a:lnTo>
                <a:lnTo>
                  <a:pt x="5574" y="5"/>
                </a:lnTo>
                <a:lnTo>
                  <a:pt x="5615" y="22"/>
                </a:lnTo>
                <a:lnTo>
                  <a:pt x="5651" y="45"/>
                </a:lnTo>
                <a:lnTo>
                  <a:pt x="5684" y="76"/>
                </a:lnTo>
                <a:lnTo>
                  <a:pt x="5707" y="112"/>
                </a:lnTo>
                <a:lnTo>
                  <a:pt x="5722" y="153"/>
                </a:lnTo>
                <a:lnTo>
                  <a:pt x="5727" y="198"/>
                </a:lnTo>
                <a:lnTo>
                  <a:pt x="5727" y="5326"/>
                </a:lnTo>
                <a:lnTo>
                  <a:pt x="5733" y="5326"/>
                </a:lnTo>
                <a:lnTo>
                  <a:pt x="5778" y="5330"/>
                </a:lnTo>
                <a:lnTo>
                  <a:pt x="5821" y="5346"/>
                </a:lnTo>
                <a:lnTo>
                  <a:pt x="5857" y="5369"/>
                </a:lnTo>
                <a:lnTo>
                  <a:pt x="5888" y="5400"/>
                </a:lnTo>
                <a:lnTo>
                  <a:pt x="5911" y="5436"/>
                </a:lnTo>
                <a:lnTo>
                  <a:pt x="5926" y="5478"/>
                </a:lnTo>
                <a:lnTo>
                  <a:pt x="5931" y="5525"/>
                </a:lnTo>
                <a:lnTo>
                  <a:pt x="5931" y="5728"/>
                </a:lnTo>
                <a:lnTo>
                  <a:pt x="5926" y="5773"/>
                </a:lnTo>
                <a:lnTo>
                  <a:pt x="5911" y="5815"/>
                </a:lnTo>
                <a:lnTo>
                  <a:pt x="5888" y="5853"/>
                </a:lnTo>
                <a:lnTo>
                  <a:pt x="5857" y="5883"/>
                </a:lnTo>
                <a:lnTo>
                  <a:pt x="5821" y="5907"/>
                </a:lnTo>
                <a:lnTo>
                  <a:pt x="5778" y="5921"/>
                </a:lnTo>
                <a:lnTo>
                  <a:pt x="5733" y="5927"/>
                </a:lnTo>
                <a:lnTo>
                  <a:pt x="199" y="5927"/>
                </a:lnTo>
                <a:lnTo>
                  <a:pt x="154" y="5921"/>
                </a:lnTo>
                <a:lnTo>
                  <a:pt x="112" y="5907"/>
                </a:lnTo>
                <a:lnTo>
                  <a:pt x="76" y="5883"/>
                </a:lnTo>
                <a:lnTo>
                  <a:pt x="45" y="5853"/>
                </a:lnTo>
                <a:lnTo>
                  <a:pt x="22" y="5815"/>
                </a:lnTo>
                <a:lnTo>
                  <a:pt x="6" y="5773"/>
                </a:lnTo>
                <a:lnTo>
                  <a:pt x="0" y="5728"/>
                </a:lnTo>
                <a:lnTo>
                  <a:pt x="0" y="5525"/>
                </a:lnTo>
                <a:lnTo>
                  <a:pt x="6" y="5478"/>
                </a:lnTo>
                <a:lnTo>
                  <a:pt x="22" y="5436"/>
                </a:lnTo>
                <a:lnTo>
                  <a:pt x="45" y="5400"/>
                </a:lnTo>
                <a:lnTo>
                  <a:pt x="76" y="5369"/>
                </a:lnTo>
                <a:lnTo>
                  <a:pt x="112" y="5346"/>
                </a:lnTo>
                <a:lnTo>
                  <a:pt x="154" y="5330"/>
                </a:lnTo>
                <a:lnTo>
                  <a:pt x="199" y="5326"/>
                </a:lnTo>
                <a:lnTo>
                  <a:pt x="206" y="5326"/>
                </a:lnTo>
                <a:lnTo>
                  <a:pt x="206" y="198"/>
                </a:lnTo>
                <a:lnTo>
                  <a:pt x="211" y="153"/>
                </a:lnTo>
                <a:lnTo>
                  <a:pt x="226" y="112"/>
                </a:lnTo>
                <a:lnTo>
                  <a:pt x="249" y="76"/>
                </a:lnTo>
                <a:lnTo>
                  <a:pt x="280" y="45"/>
                </a:lnTo>
                <a:lnTo>
                  <a:pt x="318" y="22"/>
                </a:lnTo>
                <a:lnTo>
                  <a:pt x="359" y="5"/>
                </a:lnTo>
                <a:lnTo>
                  <a:pt x="404"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ES" sz="1800"/>
          </a:p>
        </p:txBody>
      </p:sp>
    </p:spTree>
    <p:extLst>
      <p:ext uri="{BB962C8B-B14F-4D97-AF65-F5344CB8AC3E}">
        <p14:creationId xmlns:p14="http://schemas.microsoft.com/office/powerpoint/2010/main" val="2277039796"/>
      </p:ext>
    </p:extLst>
  </p:cSld>
  <p:clrMapOvr>
    <a:masterClrMapping/>
  </p:clrMapOvr>
  <p:transition spd="slow"/>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_principal">
    <p:spTree>
      <p:nvGrpSpPr>
        <p:cNvPr id="1" name=""/>
        <p:cNvGrpSpPr/>
        <p:nvPr/>
      </p:nvGrpSpPr>
      <p:grpSpPr>
        <a:xfrm>
          <a:off x="0" y="0"/>
          <a:ext cx="0" cy="0"/>
          <a:chOff x="0" y="0"/>
          <a:chExt cx="0" cy="0"/>
        </a:xfrm>
      </p:grpSpPr>
      <p:sp>
        <p:nvSpPr>
          <p:cNvPr id="30" name="29 Rectángulo"/>
          <p:cNvSpPr/>
          <p:nvPr userDrawn="1"/>
        </p:nvSpPr>
        <p:spPr bwMode="auto">
          <a:xfrm>
            <a:off x="0" y="0"/>
            <a:ext cx="12192000" cy="6858000"/>
          </a:xfrm>
          <a:prstGeom prst="rect">
            <a:avLst/>
          </a:prstGeom>
          <a:solidFill>
            <a:schemeClr val="bg1"/>
          </a:solidFill>
          <a:ln w="9525">
            <a:noFill/>
            <a:round/>
            <a:headEnd/>
            <a:tailEnd/>
          </a:ln>
        </p:spPr>
        <p:txBody>
          <a:bodyPr vert="horz" wrap="square" lIns="91440" tIns="45720" rIns="91440" bIns="45720" numCol="1" rtlCol="0" anchor="t" anchorCtr="0" compatLnSpc="1">
            <a:prstTxWarp prst="textNoShape">
              <a:avLst/>
            </a:prstTxWarp>
          </a:bodyPr>
          <a:lstStyle/>
          <a:p>
            <a:pPr algn="ctr"/>
            <a:endParaRPr lang="en-US" sz="1800"/>
          </a:p>
        </p:txBody>
      </p:sp>
    </p:spTree>
    <p:extLst>
      <p:ext uri="{BB962C8B-B14F-4D97-AF65-F5344CB8AC3E}">
        <p14:creationId xmlns:p14="http://schemas.microsoft.com/office/powerpoint/2010/main" val="2618466790"/>
      </p:ext>
    </p:extLst>
  </p:cSld>
  <p:clrMapOvr>
    <a:masterClrMapping/>
  </p:clrMapOvr>
  <p:transition spd="slow"/>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radecimiento">
    <p:spTree>
      <p:nvGrpSpPr>
        <p:cNvPr id="1" name=""/>
        <p:cNvGrpSpPr/>
        <p:nvPr/>
      </p:nvGrpSpPr>
      <p:grpSpPr>
        <a:xfrm>
          <a:off x="0" y="0"/>
          <a:ext cx="0" cy="0"/>
          <a:chOff x="0" y="0"/>
          <a:chExt cx="0" cy="0"/>
        </a:xfrm>
      </p:grpSpPr>
      <p:sp>
        <p:nvSpPr>
          <p:cNvPr id="23" name="22 Marcador de texto"/>
          <p:cNvSpPr>
            <a:spLocks noGrp="1"/>
          </p:cNvSpPr>
          <p:nvPr>
            <p:ph type="body" sz="quarter" idx="23"/>
          </p:nvPr>
        </p:nvSpPr>
        <p:spPr>
          <a:xfrm>
            <a:off x="423988" y="1320801"/>
            <a:ext cx="11344031" cy="5151940"/>
          </a:xfrm>
        </p:spPr>
        <p:txBody>
          <a:bodyPr>
            <a:noAutofit/>
          </a:bodyPr>
          <a:lstStyle>
            <a:lvl5pPr marL="1041452" indent="-195394">
              <a:buClr>
                <a:schemeClr val="accent1">
                  <a:lumMod val="90000"/>
                </a:schemeClr>
              </a:buClr>
              <a:tabLst/>
              <a:defRPr/>
            </a:lvl5pPr>
            <a:lvl6pPr marL="1367761" indent="-173901">
              <a:tabLst/>
              <a:defRPr/>
            </a:lvl6pPr>
            <a:lvl7pPr>
              <a:defRPr/>
            </a:lvl7pPr>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a:p>
            <a:pPr lvl="4"/>
            <a:r>
              <a:rPr lang="es-ES" noProof="0"/>
              <a:t>Quinto nivel</a:t>
            </a:r>
          </a:p>
          <a:p>
            <a:pPr lvl="5"/>
            <a:r>
              <a:rPr lang="es-ES" noProof="0"/>
              <a:t>- </a:t>
            </a:r>
            <a:r>
              <a:rPr lang="es-ES" noProof="0" err="1"/>
              <a:t>bhhh</a:t>
            </a:r>
            <a:endParaRPr lang="es-ES" noProof="0"/>
          </a:p>
        </p:txBody>
      </p:sp>
      <p:sp>
        <p:nvSpPr>
          <p:cNvPr id="92" name="27 Título"/>
          <p:cNvSpPr>
            <a:spLocks noGrp="1"/>
          </p:cNvSpPr>
          <p:nvPr userDrawn="1">
            <p:ph type="title" hasCustomPrompt="1"/>
          </p:nvPr>
        </p:nvSpPr>
        <p:spPr>
          <a:xfrm>
            <a:off x="1235961" y="334933"/>
            <a:ext cx="8936800" cy="518277"/>
          </a:xfrm>
        </p:spPr>
        <p:txBody>
          <a:bodyPr>
            <a:noAutofit/>
          </a:bodyPr>
          <a:lstStyle>
            <a:lvl1pPr>
              <a:defRPr sz="2462">
                <a:solidFill>
                  <a:schemeClr val="tx1"/>
                </a:solidFill>
              </a:defRPr>
            </a:lvl1pPr>
          </a:lstStyle>
          <a:p>
            <a:r>
              <a:rPr lang="es-ES"/>
              <a:t>Título</a:t>
            </a:r>
            <a:endParaRPr lang="en-US"/>
          </a:p>
        </p:txBody>
      </p:sp>
    </p:spTree>
    <p:extLst>
      <p:ext uri="{BB962C8B-B14F-4D97-AF65-F5344CB8AC3E}">
        <p14:creationId xmlns:p14="http://schemas.microsoft.com/office/powerpoint/2010/main" val="3598929988"/>
      </p:ext>
    </p:extLst>
  </p:cSld>
  <p:clrMapOvr>
    <a:masterClrMapping/>
  </p:clrMapOvr>
  <p:transition spd="slow"/>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troducción">
    <p:spTree>
      <p:nvGrpSpPr>
        <p:cNvPr id="1" name=""/>
        <p:cNvGrpSpPr/>
        <p:nvPr/>
      </p:nvGrpSpPr>
      <p:grpSpPr>
        <a:xfrm>
          <a:off x="0" y="0"/>
          <a:ext cx="0" cy="0"/>
          <a:chOff x="0" y="0"/>
          <a:chExt cx="0" cy="0"/>
        </a:xfrm>
      </p:grpSpPr>
      <p:sp>
        <p:nvSpPr>
          <p:cNvPr id="23" name="22 Marcador de texto"/>
          <p:cNvSpPr>
            <a:spLocks noGrp="1"/>
          </p:cNvSpPr>
          <p:nvPr>
            <p:ph type="body" sz="quarter" idx="23" hasCustomPrompt="1"/>
          </p:nvPr>
        </p:nvSpPr>
        <p:spPr>
          <a:xfrm>
            <a:off x="423988" y="1320801"/>
            <a:ext cx="11344031" cy="5151940"/>
          </a:xfrm>
        </p:spPr>
        <p:txBody>
          <a:bodyPr>
            <a:noAutofit/>
          </a:bodyPr>
          <a:lstStyle>
            <a:lvl4pPr marL="769854" marR="0" indent="-177810" algn="l" defTabSz="1125472" rtl="0" eaLnBrk="1" fontAlgn="auto" latinLnBrk="0" hangingPunct="1">
              <a:lnSpc>
                <a:spcPct val="100000"/>
              </a:lnSpc>
              <a:spcBef>
                <a:spcPts val="0"/>
              </a:spcBef>
              <a:spcAft>
                <a:spcPts val="246"/>
              </a:spcAft>
              <a:buClr>
                <a:srgbClr val="494949"/>
              </a:buClr>
              <a:buSzTx/>
              <a:buFont typeface="Arial" pitchFamily="34" charset="0"/>
              <a:buChar char="•"/>
              <a:tabLst/>
              <a:defRPr/>
            </a:lvl4pPr>
            <a:lvl5pPr marL="1057085" marR="0" indent="-211027" algn="l" defTabSz="1125472" rtl="0" eaLnBrk="1" fontAlgn="auto" latinLnBrk="0" hangingPunct="1">
              <a:lnSpc>
                <a:spcPct val="100000"/>
              </a:lnSpc>
              <a:spcBef>
                <a:spcPts val="0"/>
              </a:spcBef>
              <a:spcAft>
                <a:spcPts val="246"/>
              </a:spcAft>
              <a:buClr>
                <a:srgbClr val="FF9900"/>
              </a:buClr>
              <a:buSzTx/>
              <a:buFont typeface="Arial" pitchFamily="34" charset="0"/>
              <a:buChar char="•"/>
              <a:tabLst/>
              <a:defRPr kumimoji="0" lang="es-ES" sz="1354" b="0" i="0" u="none" strike="noStrike" kern="1200" cap="none" spc="0" normalizeH="0" baseline="0" noProof="0" dirty="0" smtClean="0">
                <a:ln>
                  <a:noFill/>
                </a:ln>
                <a:solidFill>
                  <a:schemeClr val="tx1"/>
                </a:solidFill>
                <a:effectLst/>
                <a:uLnTx/>
                <a:uFillTx/>
                <a:latin typeface="+mn-lt"/>
                <a:ea typeface="+mn-ea"/>
                <a:cs typeface="+mn-cs"/>
              </a:defRPr>
            </a:lvl5pPr>
            <a:lvl6pPr marL="1193859" marR="0" indent="0" algn="l" defTabSz="1125472" rtl="0" eaLnBrk="1" fontAlgn="auto" latinLnBrk="0" hangingPunct="1">
              <a:lnSpc>
                <a:spcPct val="100000"/>
              </a:lnSpc>
              <a:spcBef>
                <a:spcPct val="20000"/>
              </a:spcBef>
              <a:spcAft>
                <a:spcPts val="0"/>
              </a:spcAft>
              <a:buClrTx/>
              <a:buSzTx/>
              <a:buFontTx/>
              <a:buNone/>
              <a:tabLst/>
              <a:defRPr kumimoji="0" lang="es-ES" sz="1354" b="0" i="0" u="none" strike="noStrike" kern="1200" cap="none" spc="0" normalizeH="0" baseline="0" noProof="0" dirty="0" smtClean="0">
                <a:ln>
                  <a:noFill/>
                </a:ln>
                <a:solidFill>
                  <a:schemeClr val="tx1"/>
                </a:solidFill>
                <a:effectLst/>
                <a:uLnTx/>
                <a:uFillTx/>
                <a:latin typeface="+mn-lt"/>
                <a:ea typeface="+mn-ea"/>
                <a:cs typeface="+mn-cs"/>
              </a:defRPr>
            </a:lvl6pPr>
            <a:lvl7pPr>
              <a:defRPr/>
            </a:lvl7pPr>
          </a:lstStyle>
          <a:p>
            <a:pPr lvl="0"/>
            <a:r>
              <a:rPr lang="es-ES" noProof="0"/>
              <a:t>Haga clic para modificar el estilo de texto del patrón</a:t>
            </a:r>
          </a:p>
          <a:p>
            <a:pPr lvl="1"/>
            <a:r>
              <a:rPr lang="es-ES" noProof="0"/>
              <a:t>Segundo nivel</a:t>
            </a:r>
          </a:p>
          <a:p>
            <a:pPr lvl="2"/>
            <a:r>
              <a:rPr lang="es-ES" noProof="0"/>
              <a:t>Tercer nivel</a:t>
            </a:r>
          </a:p>
          <a:p>
            <a:pPr marL="769854" marR="0" lvl="3" indent="-177810" algn="l" defTabSz="1125472" rtl="0" eaLnBrk="1" fontAlgn="auto" latinLnBrk="0" hangingPunct="1">
              <a:lnSpc>
                <a:spcPct val="100000"/>
              </a:lnSpc>
              <a:spcBef>
                <a:spcPts val="0"/>
              </a:spcBef>
              <a:spcAft>
                <a:spcPts val="246"/>
              </a:spcAft>
              <a:buClr>
                <a:srgbClr val="494949"/>
              </a:buClr>
              <a:buSzTx/>
              <a:buFont typeface="Arial" pitchFamily="34" charset="0"/>
              <a:buChar char="•"/>
              <a:tabLst/>
              <a:defRPr/>
            </a:pPr>
            <a:r>
              <a:rPr lang="es-ES" noProof="0"/>
              <a:t>Cuarto nivel</a:t>
            </a:r>
            <a:endParaRPr kumimoji="0" lang="es-ES" sz="1354" b="0" i="0" u="none" strike="noStrike" kern="1200" cap="none" spc="0" normalizeH="0" baseline="0" noProof="0">
              <a:ln>
                <a:noFill/>
              </a:ln>
              <a:solidFill>
                <a:srgbClr val="494949"/>
              </a:solidFill>
              <a:effectLst/>
              <a:uLnTx/>
              <a:uFillTx/>
              <a:latin typeface="+mn-lt"/>
              <a:ea typeface="+mn-ea"/>
              <a:cs typeface="+mn-cs"/>
            </a:endParaRPr>
          </a:p>
          <a:p>
            <a:pPr marL="1041452" marR="0" lvl="4" indent="-195394" algn="l" defTabSz="1125472" rtl="0" eaLnBrk="1" fontAlgn="auto" latinLnBrk="0" hangingPunct="1">
              <a:lnSpc>
                <a:spcPct val="100000"/>
              </a:lnSpc>
              <a:spcBef>
                <a:spcPts val="0"/>
              </a:spcBef>
              <a:spcAft>
                <a:spcPts val="246"/>
              </a:spcAft>
              <a:buClr>
                <a:schemeClr val="accent1">
                  <a:lumMod val="90000"/>
                </a:schemeClr>
              </a:buClr>
              <a:buSzTx/>
              <a:buFont typeface="Arial" pitchFamily="34" charset="0"/>
              <a:buChar char="•"/>
              <a:tabLst/>
              <a:defRPr/>
            </a:pPr>
            <a:r>
              <a:rPr kumimoji="0" lang="es-ES" sz="1354" b="0" i="0" u="none" strike="noStrike" kern="1200" cap="none" spc="0" normalizeH="0" baseline="0" noProof="0">
                <a:ln>
                  <a:noFill/>
                </a:ln>
                <a:solidFill>
                  <a:srgbClr val="494949"/>
                </a:solidFill>
                <a:effectLst/>
                <a:uLnTx/>
                <a:uFillTx/>
                <a:latin typeface="+mn-lt"/>
                <a:ea typeface="+mn-ea"/>
                <a:cs typeface="+mn-cs"/>
              </a:rPr>
              <a:t>Quinto nivel</a:t>
            </a:r>
          </a:p>
          <a:p>
            <a:pPr marL="1367761" marR="0" lvl="5" indent="-173901" algn="l" defTabSz="1125472" rtl="0" eaLnBrk="1" fontAlgn="auto" latinLnBrk="0" hangingPunct="1">
              <a:lnSpc>
                <a:spcPct val="100000"/>
              </a:lnSpc>
              <a:spcBef>
                <a:spcPct val="20000"/>
              </a:spcBef>
              <a:spcAft>
                <a:spcPts val="0"/>
              </a:spcAft>
              <a:buClrTx/>
              <a:buSzTx/>
              <a:buFontTx/>
              <a:buNone/>
              <a:tabLst/>
              <a:defRPr/>
            </a:pPr>
            <a:r>
              <a:rPr kumimoji="0" lang="es-ES" sz="1354" b="0" i="0" u="none" strike="noStrike" kern="1200" cap="none" spc="0" normalizeH="0" baseline="0" noProof="0">
                <a:ln>
                  <a:noFill/>
                </a:ln>
                <a:solidFill>
                  <a:srgbClr val="494949"/>
                </a:solidFill>
                <a:effectLst/>
                <a:uLnTx/>
                <a:uFillTx/>
                <a:latin typeface="+mn-lt"/>
                <a:ea typeface="+mn-ea"/>
                <a:cs typeface="+mn-cs"/>
              </a:rPr>
              <a:t>- </a:t>
            </a:r>
            <a:r>
              <a:rPr kumimoji="0" lang="es-ES" sz="1354" b="0" i="0" u="none" strike="noStrike" kern="1200" cap="none" spc="0" normalizeH="0" baseline="0" noProof="0" err="1">
                <a:ln>
                  <a:noFill/>
                </a:ln>
                <a:solidFill>
                  <a:srgbClr val="494949"/>
                </a:solidFill>
                <a:effectLst/>
                <a:uLnTx/>
                <a:uFillTx/>
                <a:latin typeface="+mn-lt"/>
                <a:ea typeface="+mn-ea"/>
                <a:cs typeface="+mn-cs"/>
              </a:rPr>
              <a:t>bhhh</a:t>
            </a:r>
            <a:endParaRPr kumimoji="0" lang="es-ES" sz="1354" b="0" i="0" u="none" strike="noStrike" kern="1200" cap="none" spc="0" normalizeH="0" baseline="0" noProof="0">
              <a:ln>
                <a:noFill/>
              </a:ln>
              <a:solidFill>
                <a:srgbClr val="494949"/>
              </a:solidFill>
              <a:effectLst/>
              <a:uLnTx/>
              <a:uFillTx/>
              <a:latin typeface="+mn-lt"/>
              <a:ea typeface="+mn-ea"/>
              <a:cs typeface="+mn-cs"/>
            </a:endParaRPr>
          </a:p>
        </p:txBody>
      </p:sp>
      <p:sp>
        <p:nvSpPr>
          <p:cNvPr id="92" name="27 Título"/>
          <p:cNvSpPr>
            <a:spLocks noGrp="1"/>
          </p:cNvSpPr>
          <p:nvPr userDrawn="1">
            <p:ph type="title" hasCustomPrompt="1"/>
          </p:nvPr>
        </p:nvSpPr>
        <p:spPr>
          <a:xfrm>
            <a:off x="1235961" y="334933"/>
            <a:ext cx="8936800" cy="518277"/>
          </a:xfrm>
        </p:spPr>
        <p:txBody>
          <a:bodyPr>
            <a:noAutofit/>
          </a:bodyPr>
          <a:lstStyle>
            <a:lvl1pPr>
              <a:defRPr sz="2462">
                <a:solidFill>
                  <a:schemeClr val="tx1"/>
                </a:solidFill>
              </a:defRPr>
            </a:lvl1pPr>
          </a:lstStyle>
          <a:p>
            <a:r>
              <a:rPr lang="es-ES"/>
              <a:t>Título</a:t>
            </a:r>
            <a:endParaRPr lang="en-US"/>
          </a:p>
        </p:txBody>
      </p:sp>
      <p:sp>
        <p:nvSpPr>
          <p:cNvPr id="7" name="26 Marcador de contenido"/>
          <p:cNvSpPr>
            <a:spLocks noGrp="1"/>
          </p:cNvSpPr>
          <p:nvPr>
            <p:ph sz="quarter" idx="26" hasCustomPrompt="1"/>
          </p:nvPr>
        </p:nvSpPr>
        <p:spPr>
          <a:xfrm>
            <a:off x="1192824" y="863258"/>
            <a:ext cx="8988270" cy="225425"/>
          </a:xfrm>
        </p:spPr>
        <p:txBody>
          <a:bodyPr anchor="ctr">
            <a:noAutofit/>
          </a:bodyPr>
          <a:lstStyle>
            <a:lvl1pPr marL="177239">
              <a:defRPr sz="1231" cap="all" spc="369" baseline="0">
                <a:solidFill>
                  <a:schemeClr val="tx1"/>
                </a:solidFill>
              </a:defRPr>
            </a:lvl1pPr>
            <a:lvl7pPr>
              <a:defRPr>
                <a:solidFill>
                  <a:schemeClr val="tx1">
                    <a:lumMod val="50000"/>
                    <a:lumOff val="50000"/>
                  </a:schemeClr>
                </a:solidFill>
              </a:defRPr>
            </a:lvl7pPr>
          </a:lstStyle>
          <a:p>
            <a:pPr lvl="0"/>
            <a:r>
              <a:rPr lang="es-ES"/>
              <a:t>Subtítulo</a:t>
            </a:r>
            <a:endParaRPr lang="en-US"/>
          </a:p>
        </p:txBody>
      </p:sp>
    </p:spTree>
    <p:extLst>
      <p:ext uri="{BB962C8B-B14F-4D97-AF65-F5344CB8AC3E}">
        <p14:creationId xmlns:p14="http://schemas.microsoft.com/office/powerpoint/2010/main" val="2343745407"/>
      </p:ext>
    </p:extLst>
  </p:cSld>
  <p:clrMapOvr>
    <a:masterClrMapping/>
  </p:clrMapOvr>
  <p:transition spd="slow"/>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troducción-Valor">
    <p:spTree>
      <p:nvGrpSpPr>
        <p:cNvPr id="1" name=""/>
        <p:cNvGrpSpPr/>
        <p:nvPr/>
      </p:nvGrpSpPr>
      <p:grpSpPr>
        <a:xfrm>
          <a:off x="0" y="0"/>
          <a:ext cx="0" cy="0"/>
          <a:chOff x="0" y="0"/>
          <a:chExt cx="0" cy="0"/>
        </a:xfrm>
      </p:grpSpPr>
      <p:sp>
        <p:nvSpPr>
          <p:cNvPr id="23" name="22 Marcador de texto"/>
          <p:cNvSpPr>
            <a:spLocks noGrp="1"/>
          </p:cNvSpPr>
          <p:nvPr>
            <p:ph type="body" sz="quarter" idx="23"/>
          </p:nvPr>
        </p:nvSpPr>
        <p:spPr>
          <a:xfrm>
            <a:off x="423988" y="1320801"/>
            <a:ext cx="11344031" cy="5151940"/>
          </a:xfrm>
        </p:spPr>
        <p:txBody>
          <a:bodyPr>
            <a:noAutofit/>
          </a:bodyPr>
          <a:lstStyle>
            <a:lvl5pPr marL="1193859" indent="0">
              <a:defRPr kumimoji="0" lang="es-ES" sz="1354" b="0" i="0" u="none" strike="noStrike" kern="1200" cap="none" spc="0" normalizeH="0" baseline="0" noProof="0" dirty="0" smtClean="0">
                <a:ln>
                  <a:noFill/>
                </a:ln>
                <a:solidFill>
                  <a:srgbClr val="494949"/>
                </a:solidFill>
                <a:effectLst/>
                <a:uLnTx/>
                <a:uFillTx/>
                <a:latin typeface="+mn-lt"/>
                <a:ea typeface="+mn-ea"/>
                <a:cs typeface="+mn-cs"/>
              </a:defRPr>
            </a:lvl5pPr>
            <a:lvl6pPr marL="1057085" indent="-211027">
              <a:defRPr kumimoji="0" lang="es-ES" sz="1354" b="0" i="0" u="none" strike="noStrike" kern="1200" cap="none" spc="0" normalizeH="0" baseline="0" noProof="0" dirty="0" smtClean="0">
                <a:ln>
                  <a:noFill/>
                </a:ln>
                <a:solidFill>
                  <a:schemeClr val="tx1"/>
                </a:solidFill>
                <a:effectLst/>
                <a:uLnTx/>
                <a:uFillTx/>
                <a:latin typeface="+mn-lt"/>
                <a:ea typeface="+mn-ea"/>
                <a:cs typeface="+mn-cs"/>
              </a:defRPr>
            </a:lvl6pPr>
            <a:lvl7pPr>
              <a:defRPr/>
            </a:lvl7pPr>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a:p>
            <a:pPr marL="1041452" marR="0" lvl="4" indent="-195394" algn="l" defTabSz="1125472" rtl="0" eaLnBrk="1" fontAlgn="auto" latinLnBrk="0" hangingPunct="1">
              <a:lnSpc>
                <a:spcPct val="100000"/>
              </a:lnSpc>
              <a:spcBef>
                <a:spcPts val="0"/>
              </a:spcBef>
              <a:spcAft>
                <a:spcPts val="246"/>
              </a:spcAft>
              <a:buClr>
                <a:schemeClr val="accent1">
                  <a:lumMod val="90000"/>
                </a:schemeClr>
              </a:buClr>
              <a:buSzTx/>
              <a:buFont typeface="Arial" pitchFamily="34" charset="0"/>
              <a:buChar char="•"/>
              <a:tabLst/>
              <a:defRPr/>
            </a:pPr>
            <a:r>
              <a:rPr lang="es-ES" noProof="0"/>
              <a:t>Quinto nivel</a:t>
            </a:r>
          </a:p>
          <a:p>
            <a:pPr marL="1367761" marR="0" lvl="5" indent="-173901" algn="l" defTabSz="1125472" rtl="0" eaLnBrk="1" fontAlgn="auto" latinLnBrk="0" hangingPunct="1">
              <a:lnSpc>
                <a:spcPct val="100000"/>
              </a:lnSpc>
              <a:spcBef>
                <a:spcPct val="20000"/>
              </a:spcBef>
              <a:spcAft>
                <a:spcPts val="246"/>
              </a:spcAft>
              <a:buClr>
                <a:schemeClr val="accent1">
                  <a:lumMod val="90000"/>
                </a:schemeClr>
              </a:buClr>
              <a:buSzTx/>
              <a:buFontTx/>
              <a:buNone/>
              <a:tabLst/>
              <a:defRPr/>
            </a:pPr>
            <a:r>
              <a:rPr lang="es-ES" noProof="0"/>
              <a:t>- </a:t>
            </a:r>
            <a:r>
              <a:rPr lang="es-ES" noProof="0" err="1"/>
              <a:t>bhhh</a:t>
            </a:r>
            <a:endParaRPr lang="es-ES" noProof="0"/>
          </a:p>
        </p:txBody>
      </p:sp>
      <p:sp>
        <p:nvSpPr>
          <p:cNvPr id="92" name="27 Título"/>
          <p:cNvSpPr>
            <a:spLocks noGrp="1"/>
          </p:cNvSpPr>
          <p:nvPr userDrawn="1">
            <p:ph type="title" hasCustomPrompt="1"/>
          </p:nvPr>
        </p:nvSpPr>
        <p:spPr>
          <a:xfrm>
            <a:off x="1235961" y="334933"/>
            <a:ext cx="8936800" cy="518277"/>
          </a:xfrm>
        </p:spPr>
        <p:txBody>
          <a:bodyPr>
            <a:noAutofit/>
          </a:bodyPr>
          <a:lstStyle>
            <a:lvl1pPr>
              <a:defRPr sz="2462">
                <a:solidFill>
                  <a:schemeClr val="tx1"/>
                </a:solidFill>
              </a:defRPr>
            </a:lvl1pPr>
          </a:lstStyle>
          <a:p>
            <a:r>
              <a:rPr lang="es-ES"/>
              <a:t>Título</a:t>
            </a:r>
            <a:endParaRPr lang="en-US"/>
          </a:p>
        </p:txBody>
      </p:sp>
      <p:sp>
        <p:nvSpPr>
          <p:cNvPr id="7" name="26 Marcador de contenido"/>
          <p:cNvSpPr>
            <a:spLocks noGrp="1"/>
          </p:cNvSpPr>
          <p:nvPr>
            <p:ph sz="quarter" idx="26" hasCustomPrompt="1"/>
          </p:nvPr>
        </p:nvSpPr>
        <p:spPr>
          <a:xfrm>
            <a:off x="1192824" y="863258"/>
            <a:ext cx="8988270" cy="225425"/>
          </a:xfrm>
        </p:spPr>
        <p:txBody>
          <a:bodyPr anchor="ctr">
            <a:noAutofit/>
          </a:bodyPr>
          <a:lstStyle>
            <a:lvl1pPr marL="177239">
              <a:defRPr sz="1231" cap="all" spc="369" baseline="0">
                <a:solidFill>
                  <a:schemeClr val="tx1"/>
                </a:solidFill>
              </a:defRPr>
            </a:lvl1pPr>
            <a:lvl7pPr>
              <a:defRPr>
                <a:solidFill>
                  <a:schemeClr val="tx1">
                    <a:lumMod val="50000"/>
                    <a:lumOff val="50000"/>
                  </a:schemeClr>
                </a:solidFill>
              </a:defRPr>
            </a:lvl7pPr>
          </a:lstStyle>
          <a:p>
            <a:pPr lvl="0"/>
            <a:r>
              <a:rPr lang="es-ES"/>
              <a:t>Subtítulo</a:t>
            </a:r>
            <a:endParaRPr lang="en-US"/>
          </a:p>
        </p:txBody>
      </p:sp>
    </p:spTree>
    <p:extLst>
      <p:ext uri="{BB962C8B-B14F-4D97-AF65-F5344CB8AC3E}">
        <p14:creationId xmlns:p14="http://schemas.microsoft.com/office/powerpoint/2010/main" val="3073444582"/>
      </p:ext>
    </p:extLst>
  </p:cSld>
  <p:clrMapOvr>
    <a:masterClrMapping/>
  </p:clrMapOvr>
  <p:transition spd="slow"/>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troducción-Referencias">
    <p:spTree>
      <p:nvGrpSpPr>
        <p:cNvPr id="1" name=""/>
        <p:cNvGrpSpPr/>
        <p:nvPr/>
      </p:nvGrpSpPr>
      <p:grpSpPr>
        <a:xfrm>
          <a:off x="0" y="0"/>
          <a:ext cx="0" cy="0"/>
          <a:chOff x="0" y="0"/>
          <a:chExt cx="0" cy="0"/>
        </a:xfrm>
      </p:grpSpPr>
      <p:sp>
        <p:nvSpPr>
          <p:cNvPr id="92" name="27 Título"/>
          <p:cNvSpPr>
            <a:spLocks noGrp="1"/>
          </p:cNvSpPr>
          <p:nvPr userDrawn="1">
            <p:ph type="title" hasCustomPrompt="1"/>
          </p:nvPr>
        </p:nvSpPr>
        <p:spPr>
          <a:xfrm>
            <a:off x="1235961" y="334933"/>
            <a:ext cx="8936800" cy="518277"/>
          </a:xfrm>
        </p:spPr>
        <p:txBody>
          <a:bodyPr>
            <a:noAutofit/>
          </a:bodyPr>
          <a:lstStyle>
            <a:lvl1pPr>
              <a:defRPr sz="2462">
                <a:solidFill>
                  <a:schemeClr val="tx1"/>
                </a:solidFill>
              </a:defRPr>
            </a:lvl1pPr>
          </a:lstStyle>
          <a:p>
            <a:r>
              <a:rPr lang="es-ES"/>
              <a:t>Título</a:t>
            </a:r>
            <a:endParaRPr lang="en-US"/>
          </a:p>
        </p:txBody>
      </p:sp>
      <p:sp>
        <p:nvSpPr>
          <p:cNvPr id="7" name="26 Marcador de contenido"/>
          <p:cNvSpPr>
            <a:spLocks noGrp="1"/>
          </p:cNvSpPr>
          <p:nvPr>
            <p:ph sz="quarter" idx="26" hasCustomPrompt="1"/>
          </p:nvPr>
        </p:nvSpPr>
        <p:spPr>
          <a:xfrm>
            <a:off x="1192824" y="863258"/>
            <a:ext cx="8988270" cy="225425"/>
          </a:xfrm>
        </p:spPr>
        <p:txBody>
          <a:bodyPr anchor="ctr">
            <a:noAutofit/>
          </a:bodyPr>
          <a:lstStyle>
            <a:lvl1pPr marL="177239">
              <a:defRPr sz="1231" cap="all" spc="369" baseline="0">
                <a:solidFill>
                  <a:schemeClr val="tx1"/>
                </a:solidFill>
              </a:defRPr>
            </a:lvl1pPr>
            <a:lvl7pPr>
              <a:defRPr>
                <a:solidFill>
                  <a:schemeClr val="tx1">
                    <a:lumMod val="50000"/>
                    <a:lumOff val="50000"/>
                  </a:schemeClr>
                </a:solidFill>
              </a:defRPr>
            </a:lvl7pPr>
          </a:lstStyle>
          <a:p>
            <a:pPr lvl="0"/>
            <a:r>
              <a:rPr lang="es-ES"/>
              <a:t>Subtítulo</a:t>
            </a:r>
            <a:endParaRPr lang="en-US"/>
          </a:p>
        </p:txBody>
      </p:sp>
    </p:spTree>
    <p:extLst>
      <p:ext uri="{BB962C8B-B14F-4D97-AF65-F5344CB8AC3E}">
        <p14:creationId xmlns:p14="http://schemas.microsoft.com/office/powerpoint/2010/main" val="4205949519"/>
      </p:ext>
    </p:extLst>
  </p:cSld>
  <p:clrMapOvr>
    <a:masterClrMapping/>
  </p:clrMapOvr>
  <p:transition spd="slow"/>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Nuestro Entendimiento del Proyecto">
    <p:spTree>
      <p:nvGrpSpPr>
        <p:cNvPr id="1" name=""/>
        <p:cNvGrpSpPr/>
        <p:nvPr/>
      </p:nvGrpSpPr>
      <p:grpSpPr>
        <a:xfrm>
          <a:off x="0" y="0"/>
          <a:ext cx="0" cy="0"/>
          <a:chOff x="0" y="0"/>
          <a:chExt cx="0" cy="0"/>
        </a:xfrm>
      </p:grpSpPr>
      <p:sp>
        <p:nvSpPr>
          <p:cNvPr id="23" name="22 Marcador de texto"/>
          <p:cNvSpPr>
            <a:spLocks noGrp="1"/>
          </p:cNvSpPr>
          <p:nvPr>
            <p:ph type="body" sz="quarter" idx="23"/>
          </p:nvPr>
        </p:nvSpPr>
        <p:spPr>
          <a:xfrm>
            <a:off x="423988" y="1320801"/>
            <a:ext cx="11344031" cy="5151940"/>
          </a:xfrm>
        </p:spPr>
        <p:txBody>
          <a:bodyPr>
            <a:noAutofit/>
          </a:bodyPr>
          <a:lstStyle>
            <a:lvl5pPr marL="1057085" indent="-211027">
              <a:defRPr kumimoji="0" lang="es-ES" sz="1354" b="0" i="0" u="none" strike="noStrike" kern="1200" cap="none" spc="0" normalizeH="0" baseline="0" noProof="0" dirty="0" smtClean="0">
                <a:ln>
                  <a:noFill/>
                </a:ln>
                <a:solidFill>
                  <a:srgbClr val="494949"/>
                </a:solidFill>
                <a:effectLst/>
                <a:uLnTx/>
                <a:uFillTx/>
                <a:latin typeface="+mn-lt"/>
                <a:ea typeface="+mn-ea"/>
                <a:cs typeface="+mn-cs"/>
              </a:defRPr>
            </a:lvl5pPr>
            <a:lvl6pPr marL="1193859" indent="0">
              <a:defRPr kumimoji="0" lang="es-ES" sz="1354" b="0" i="0" u="none" strike="noStrike" kern="1200" cap="none" spc="0" normalizeH="0" baseline="0" noProof="0" dirty="0" smtClean="0">
                <a:ln>
                  <a:noFill/>
                </a:ln>
                <a:solidFill>
                  <a:schemeClr val="tx1"/>
                </a:solidFill>
                <a:effectLst/>
                <a:uLnTx/>
                <a:uFillTx/>
                <a:latin typeface="+mn-lt"/>
                <a:ea typeface="+mn-ea"/>
                <a:cs typeface="+mn-cs"/>
              </a:defRPr>
            </a:lvl6pPr>
            <a:lvl7pPr>
              <a:defRPr/>
            </a:lvl7pPr>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a:p>
            <a:pPr marL="1041452" marR="0" lvl="4" indent="-195394" algn="l" defTabSz="1125472" rtl="0" eaLnBrk="1" fontAlgn="auto" latinLnBrk="0" hangingPunct="1">
              <a:lnSpc>
                <a:spcPct val="100000"/>
              </a:lnSpc>
              <a:spcBef>
                <a:spcPts val="0"/>
              </a:spcBef>
              <a:spcAft>
                <a:spcPts val="246"/>
              </a:spcAft>
              <a:buClr>
                <a:schemeClr val="accent1">
                  <a:lumMod val="90000"/>
                </a:schemeClr>
              </a:buClr>
              <a:buSzTx/>
              <a:buFont typeface="Arial" pitchFamily="34" charset="0"/>
              <a:buChar char="•"/>
              <a:tabLst/>
              <a:defRPr/>
            </a:pPr>
            <a:r>
              <a:rPr lang="es-ES" noProof="0"/>
              <a:t>Quinto nivel</a:t>
            </a:r>
          </a:p>
          <a:p>
            <a:pPr marL="1367761" lvl="5" indent="-173901" algn="l" defTabSz="1125472" rtl="0" eaLnBrk="1" latinLnBrk="0" hangingPunct="1">
              <a:spcBef>
                <a:spcPct val="20000"/>
              </a:spcBef>
              <a:buFontTx/>
              <a:buNone/>
              <a:tabLst/>
            </a:pPr>
            <a:r>
              <a:rPr lang="es-ES" noProof="0"/>
              <a:t>- </a:t>
            </a:r>
            <a:r>
              <a:rPr lang="es-ES" noProof="0" err="1"/>
              <a:t>bhhh</a:t>
            </a:r>
            <a:endParaRPr lang="es-ES" noProof="0"/>
          </a:p>
        </p:txBody>
      </p:sp>
      <p:sp>
        <p:nvSpPr>
          <p:cNvPr id="92" name="27 Título"/>
          <p:cNvSpPr>
            <a:spLocks noGrp="1"/>
          </p:cNvSpPr>
          <p:nvPr userDrawn="1">
            <p:ph type="title" hasCustomPrompt="1"/>
          </p:nvPr>
        </p:nvSpPr>
        <p:spPr>
          <a:xfrm>
            <a:off x="1235961" y="334933"/>
            <a:ext cx="8936800" cy="518277"/>
          </a:xfrm>
        </p:spPr>
        <p:txBody>
          <a:bodyPr>
            <a:noAutofit/>
          </a:bodyPr>
          <a:lstStyle>
            <a:lvl1pPr>
              <a:defRPr sz="2462">
                <a:solidFill>
                  <a:schemeClr val="tx1"/>
                </a:solidFill>
              </a:defRPr>
            </a:lvl1pPr>
          </a:lstStyle>
          <a:p>
            <a:r>
              <a:rPr lang="es-ES"/>
              <a:t>Título</a:t>
            </a:r>
            <a:endParaRPr lang="en-US"/>
          </a:p>
        </p:txBody>
      </p:sp>
      <p:sp>
        <p:nvSpPr>
          <p:cNvPr id="7" name="26 Marcador de contenido"/>
          <p:cNvSpPr>
            <a:spLocks noGrp="1"/>
          </p:cNvSpPr>
          <p:nvPr>
            <p:ph sz="quarter" idx="26" hasCustomPrompt="1"/>
          </p:nvPr>
        </p:nvSpPr>
        <p:spPr>
          <a:xfrm>
            <a:off x="1192824" y="863258"/>
            <a:ext cx="8988270" cy="225425"/>
          </a:xfrm>
        </p:spPr>
        <p:txBody>
          <a:bodyPr anchor="ctr">
            <a:noAutofit/>
          </a:bodyPr>
          <a:lstStyle>
            <a:lvl1pPr marL="177239">
              <a:defRPr sz="1231" cap="all" spc="369" baseline="0">
                <a:solidFill>
                  <a:schemeClr val="tx1"/>
                </a:solidFill>
              </a:defRPr>
            </a:lvl1pPr>
            <a:lvl7pPr>
              <a:defRPr>
                <a:solidFill>
                  <a:schemeClr val="tx1">
                    <a:lumMod val="50000"/>
                    <a:lumOff val="50000"/>
                  </a:schemeClr>
                </a:solidFill>
              </a:defRPr>
            </a:lvl7pPr>
          </a:lstStyle>
          <a:p>
            <a:pPr lvl="0"/>
            <a:r>
              <a:rPr lang="es-ES"/>
              <a:t>Subtítulo</a:t>
            </a:r>
            <a:endParaRPr lang="en-US"/>
          </a:p>
        </p:txBody>
      </p:sp>
    </p:spTree>
    <p:extLst>
      <p:ext uri="{BB962C8B-B14F-4D97-AF65-F5344CB8AC3E}">
        <p14:creationId xmlns:p14="http://schemas.microsoft.com/office/powerpoint/2010/main" val="56201248"/>
      </p:ext>
    </p:extLst>
  </p:cSld>
  <p:clrMapOvr>
    <a:masterClrMapping/>
  </p:clrMapOvr>
  <p:transition spd="slow"/>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lcance de la Colaboración">
    <p:spTree>
      <p:nvGrpSpPr>
        <p:cNvPr id="1" name=""/>
        <p:cNvGrpSpPr/>
        <p:nvPr/>
      </p:nvGrpSpPr>
      <p:grpSpPr>
        <a:xfrm>
          <a:off x="0" y="0"/>
          <a:ext cx="0" cy="0"/>
          <a:chOff x="0" y="0"/>
          <a:chExt cx="0" cy="0"/>
        </a:xfrm>
      </p:grpSpPr>
      <p:sp>
        <p:nvSpPr>
          <p:cNvPr id="23" name="22 Marcador de texto"/>
          <p:cNvSpPr>
            <a:spLocks noGrp="1"/>
          </p:cNvSpPr>
          <p:nvPr>
            <p:ph type="body" sz="quarter" idx="23"/>
          </p:nvPr>
        </p:nvSpPr>
        <p:spPr>
          <a:xfrm>
            <a:off x="423988" y="1320801"/>
            <a:ext cx="11344031" cy="5151940"/>
          </a:xfrm>
        </p:spPr>
        <p:txBody>
          <a:bodyPr>
            <a:noAutofit/>
          </a:bodyPr>
          <a:lstStyle>
            <a:lvl5pPr marL="1193859" indent="0">
              <a:defRPr kumimoji="0" lang="es-ES" sz="1354" b="0" i="0" u="none" strike="noStrike" kern="1200" cap="none" spc="0" normalizeH="0" baseline="0" noProof="0" dirty="0" smtClean="0">
                <a:ln>
                  <a:noFill/>
                </a:ln>
                <a:solidFill>
                  <a:srgbClr val="494949"/>
                </a:solidFill>
                <a:effectLst/>
                <a:uLnTx/>
                <a:uFillTx/>
                <a:latin typeface="+mn-lt"/>
                <a:ea typeface="+mn-ea"/>
                <a:cs typeface="+mn-cs"/>
              </a:defRPr>
            </a:lvl5pPr>
            <a:lvl6pPr marL="1057085" indent="-211027">
              <a:defRPr kumimoji="0" lang="es-ES" sz="1354" b="0" i="0" u="none" strike="noStrike" kern="1200" cap="none" spc="0" normalizeH="0" baseline="0" noProof="0" dirty="0" smtClean="0">
                <a:ln>
                  <a:noFill/>
                </a:ln>
                <a:solidFill>
                  <a:schemeClr val="tx1"/>
                </a:solidFill>
                <a:effectLst/>
                <a:uLnTx/>
                <a:uFillTx/>
                <a:latin typeface="+mn-lt"/>
                <a:ea typeface="+mn-ea"/>
                <a:cs typeface="+mn-cs"/>
              </a:defRPr>
            </a:lvl6pPr>
            <a:lvl7pPr>
              <a:defRPr/>
            </a:lvl7pPr>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a:p>
            <a:pPr marL="1041452" marR="0" lvl="4" indent="-195394" algn="l" defTabSz="1125472" rtl="0" eaLnBrk="1" fontAlgn="auto" latinLnBrk="0" hangingPunct="1">
              <a:lnSpc>
                <a:spcPct val="100000"/>
              </a:lnSpc>
              <a:spcBef>
                <a:spcPts val="0"/>
              </a:spcBef>
              <a:spcAft>
                <a:spcPts val="246"/>
              </a:spcAft>
              <a:buClr>
                <a:schemeClr val="accent1">
                  <a:lumMod val="90000"/>
                </a:schemeClr>
              </a:buClr>
              <a:buSzTx/>
              <a:buFont typeface="Arial" pitchFamily="34" charset="0"/>
              <a:buChar char="•"/>
              <a:tabLst/>
              <a:defRPr/>
            </a:pPr>
            <a:r>
              <a:rPr lang="es-ES" noProof="0"/>
              <a:t>Quinto nivel</a:t>
            </a:r>
          </a:p>
          <a:p>
            <a:pPr marL="1367761" marR="0" lvl="5" indent="-173901" algn="l" defTabSz="1125472" rtl="0" eaLnBrk="1" fontAlgn="auto" latinLnBrk="0" hangingPunct="1">
              <a:lnSpc>
                <a:spcPct val="100000"/>
              </a:lnSpc>
              <a:spcBef>
                <a:spcPct val="20000"/>
              </a:spcBef>
              <a:spcAft>
                <a:spcPts val="246"/>
              </a:spcAft>
              <a:buClr>
                <a:schemeClr val="accent1">
                  <a:lumMod val="90000"/>
                </a:schemeClr>
              </a:buClr>
              <a:buSzTx/>
              <a:buFontTx/>
              <a:buNone/>
              <a:tabLst/>
              <a:defRPr/>
            </a:pPr>
            <a:r>
              <a:rPr lang="es-ES" noProof="0"/>
              <a:t>- </a:t>
            </a:r>
            <a:r>
              <a:rPr lang="es-ES" noProof="0" err="1"/>
              <a:t>bhhh</a:t>
            </a:r>
            <a:endParaRPr lang="es-ES" noProof="0"/>
          </a:p>
        </p:txBody>
      </p:sp>
      <p:sp>
        <p:nvSpPr>
          <p:cNvPr id="92" name="27 Título"/>
          <p:cNvSpPr>
            <a:spLocks noGrp="1"/>
          </p:cNvSpPr>
          <p:nvPr userDrawn="1">
            <p:ph type="title" hasCustomPrompt="1"/>
          </p:nvPr>
        </p:nvSpPr>
        <p:spPr>
          <a:xfrm>
            <a:off x="1235961" y="334933"/>
            <a:ext cx="8936800" cy="518277"/>
          </a:xfrm>
        </p:spPr>
        <p:txBody>
          <a:bodyPr>
            <a:noAutofit/>
          </a:bodyPr>
          <a:lstStyle>
            <a:lvl1pPr>
              <a:defRPr sz="2462">
                <a:solidFill>
                  <a:schemeClr val="tx1"/>
                </a:solidFill>
              </a:defRPr>
            </a:lvl1pPr>
          </a:lstStyle>
          <a:p>
            <a:r>
              <a:rPr lang="es-ES"/>
              <a:t>Título</a:t>
            </a:r>
            <a:endParaRPr lang="en-US"/>
          </a:p>
        </p:txBody>
      </p:sp>
      <p:sp>
        <p:nvSpPr>
          <p:cNvPr id="7" name="26 Marcador de contenido"/>
          <p:cNvSpPr>
            <a:spLocks noGrp="1"/>
          </p:cNvSpPr>
          <p:nvPr>
            <p:ph sz="quarter" idx="26" hasCustomPrompt="1"/>
          </p:nvPr>
        </p:nvSpPr>
        <p:spPr>
          <a:xfrm>
            <a:off x="1192824" y="863258"/>
            <a:ext cx="8988270" cy="225425"/>
          </a:xfrm>
        </p:spPr>
        <p:txBody>
          <a:bodyPr anchor="ctr">
            <a:noAutofit/>
          </a:bodyPr>
          <a:lstStyle>
            <a:lvl1pPr marL="177239">
              <a:defRPr sz="1231" cap="all" spc="369" baseline="0">
                <a:solidFill>
                  <a:schemeClr val="tx1"/>
                </a:solidFill>
              </a:defRPr>
            </a:lvl1pPr>
            <a:lvl7pPr>
              <a:defRPr>
                <a:solidFill>
                  <a:schemeClr val="tx1">
                    <a:lumMod val="50000"/>
                    <a:lumOff val="50000"/>
                  </a:schemeClr>
                </a:solidFill>
              </a:defRPr>
            </a:lvl7pPr>
          </a:lstStyle>
          <a:p>
            <a:pPr lvl="0"/>
            <a:r>
              <a:rPr lang="es-ES"/>
              <a:t>Subtítulo</a:t>
            </a:r>
            <a:endParaRPr lang="en-US"/>
          </a:p>
        </p:txBody>
      </p:sp>
    </p:spTree>
    <p:extLst>
      <p:ext uri="{BB962C8B-B14F-4D97-AF65-F5344CB8AC3E}">
        <p14:creationId xmlns:p14="http://schemas.microsoft.com/office/powerpoint/2010/main" val="1875233856"/>
      </p:ext>
    </p:extLst>
  </p:cSld>
  <p:clrMapOvr>
    <a:masterClrMapping/>
  </p:clrMapOvr>
  <p:transition spd="slow"/>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cSld name="str - general (título y nume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6DDE8FC-D7A6-4741-B4E6-95DC363B1FF4}"/>
              </a:ext>
            </a:extLst>
          </p:cNvPr>
          <p:cNvSpPr>
            <a:spLocks noGrp="1"/>
          </p:cNvSpPr>
          <p:nvPr>
            <p:ph type="title" hasCustomPrompt="1"/>
          </p:nvPr>
        </p:nvSpPr>
        <p:spPr>
          <a:xfrm>
            <a:off x="347502" y="219070"/>
            <a:ext cx="10515600" cy="365721"/>
          </a:xfrm>
        </p:spPr>
        <p:txBody>
          <a:bodyPr/>
          <a:lstStyle>
            <a:lvl1pPr>
              <a:defRPr sz="1800"/>
            </a:lvl1pPr>
          </a:lstStyle>
          <a:p>
            <a:r>
              <a:rPr lang="es-ES"/>
              <a:t>Haga clic para modificar el estilo de título del patrón </a:t>
            </a:r>
          </a:p>
        </p:txBody>
      </p:sp>
      <p:sp>
        <p:nvSpPr>
          <p:cNvPr id="5" name="Rectángulo 4">
            <a:extLst>
              <a:ext uri="{FF2B5EF4-FFF2-40B4-BE49-F238E27FC236}">
                <a16:creationId xmlns:a16="http://schemas.microsoft.com/office/drawing/2014/main" id="{D8AAFF47-09E5-284E-8593-50ABF65A3231}"/>
              </a:ext>
            </a:extLst>
          </p:cNvPr>
          <p:cNvSpPr/>
          <p:nvPr userDrawn="1"/>
        </p:nvSpPr>
        <p:spPr>
          <a:xfrm>
            <a:off x="0" y="6579031"/>
            <a:ext cx="12192000" cy="27896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 name="Page Placeholder Gray">
            <a:extLst>
              <a:ext uri="{FF2B5EF4-FFF2-40B4-BE49-F238E27FC236}">
                <a16:creationId xmlns:a16="http://schemas.microsoft.com/office/drawing/2014/main" id="{A2B004A2-055B-C94D-B5F9-C5B01DE0DCA4}"/>
              </a:ext>
            </a:extLst>
          </p:cNvPr>
          <p:cNvSpPr txBox="1"/>
          <p:nvPr userDrawn="1"/>
        </p:nvSpPr>
        <p:spPr>
          <a:xfrm>
            <a:off x="11623729" y="6664293"/>
            <a:ext cx="448170" cy="107722"/>
          </a:xfrm>
          <a:prstGeom prst="rect">
            <a:avLst/>
          </a:prstGeom>
          <a:noFill/>
        </p:spPr>
        <p:txBody>
          <a:bodyPr wrap="square" lIns="0" tIns="0" rIns="0" bIns="0" rtlCol="0" anchor="t" anchorCtr="0">
            <a:spAutoFit/>
          </a:bodyPr>
          <a:lstStyle/>
          <a:p>
            <a:pPr algn="ctr"/>
            <a:fld id="{9AE4D82F-B047-469B-AC52-A46321747EAF}" type="slidenum">
              <a:rPr lang="en-GB" sz="700" smtClean="0">
                <a:solidFill>
                  <a:srgbClr val="646464"/>
                </a:solidFill>
                <a:latin typeface="Arial" panose="020B0604020202020204" pitchFamily="34" charset="0"/>
                <a:cs typeface="Arial" panose="020B0604020202020204" pitchFamily="34" charset="0"/>
              </a:rPr>
              <a:pPr algn="ctr"/>
              <a:t>‹Nº›</a:t>
            </a:fld>
            <a:endParaRPr lang="en-GB" sz="800">
              <a:solidFill>
                <a:srgbClr val="646464"/>
              </a:solidFill>
              <a:latin typeface="Arial" panose="020B0604020202020204" pitchFamily="34" charset="0"/>
              <a:cs typeface="Arial" panose="020B0604020202020204" pitchFamily="34" charset="0"/>
            </a:endParaRPr>
          </a:p>
        </p:txBody>
      </p:sp>
      <p:sp>
        <p:nvSpPr>
          <p:cNvPr id="8" name="Rectangle 12">
            <a:extLst>
              <a:ext uri="{FF2B5EF4-FFF2-40B4-BE49-F238E27FC236}">
                <a16:creationId xmlns:a16="http://schemas.microsoft.com/office/drawing/2014/main" id="{C7F68D79-FD9F-794B-A85B-C63205077C43}"/>
              </a:ext>
            </a:extLst>
          </p:cNvPr>
          <p:cNvSpPr/>
          <p:nvPr userDrawn="1"/>
        </p:nvSpPr>
        <p:spPr>
          <a:xfrm>
            <a:off x="192152" y="6663354"/>
            <a:ext cx="5834311" cy="107722"/>
          </a:xfrm>
          <a:prstGeom prst="rect">
            <a:avLst/>
          </a:prstGeom>
          <a:noFill/>
        </p:spPr>
        <p:txBody>
          <a:bodyPr wrap="square" lIns="0" tIns="0" rIns="0" bIns="0" rtlCol="0" anchor="t" anchorCtr="0">
            <a:spAutoFit/>
          </a:bodyPr>
          <a:lstStyle/>
          <a:p>
            <a:r>
              <a:rPr lang="en-US" sz="700">
                <a:solidFill>
                  <a:srgbClr val="646464"/>
                </a:solidFill>
                <a:latin typeface="Arial" panose="020B0604020202020204" pitchFamily="34" charset="0"/>
                <a:cs typeface="Arial" panose="020B0604020202020204" pitchFamily="34" charset="0"/>
              </a:rPr>
              <a:t>Stratesys Technology Solutions -  All Rights Reserved - </a:t>
            </a:r>
            <a:r>
              <a:rPr lang="en-US" sz="700" noProof="0">
                <a:solidFill>
                  <a:srgbClr val="646464"/>
                </a:solidFill>
                <a:latin typeface="Arial" panose="020B0604020202020204" pitchFamily="34" charset="0"/>
                <a:cs typeface="Arial" panose="020B0604020202020204" pitchFamily="34" charset="0"/>
              </a:rPr>
              <a:t>Confidential</a:t>
            </a:r>
            <a:endParaRPr lang="en-US" sz="700">
              <a:solidFill>
                <a:srgbClr val="646464"/>
              </a:solidFill>
              <a:latin typeface="EYInterstate Light" panose="02000506000000020004" pitchFamily="2" charset="0"/>
            </a:endParaRPr>
          </a:p>
        </p:txBody>
      </p:sp>
    </p:spTree>
    <p:extLst>
      <p:ext uri="{BB962C8B-B14F-4D97-AF65-F5344CB8AC3E}">
        <p14:creationId xmlns:p14="http://schemas.microsoft.com/office/powerpoint/2010/main" val="2212039957"/>
      </p:ext>
    </p:extLst>
  </p:cSld>
  <p:clrMapOvr>
    <a:masterClrMapping/>
  </p:clrMapOvr>
  <p:extLst>
    <p:ext uri="{DCECCB84-F9BA-43D5-87BE-67443E8EF086}">
      <p15:sldGuideLst xmlns:p15="http://schemas.microsoft.com/office/powerpoint/2012/main">
        <p15:guide id="1" orient="horz" pos="2319">
          <p15:clr>
            <a:srgbClr val="FBAE40"/>
          </p15:clr>
        </p15:guide>
        <p15:guide id="2" pos="279">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Marco Metodológico">
    <p:spTree>
      <p:nvGrpSpPr>
        <p:cNvPr id="1" name=""/>
        <p:cNvGrpSpPr/>
        <p:nvPr/>
      </p:nvGrpSpPr>
      <p:grpSpPr>
        <a:xfrm>
          <a:off x="0" y="0"/>
          <a:ext cx="0" cy="0"/>
          <a:chOff x="0" y="0"/>
          <a:chExt cx="0" cy="0"/>
        </a:xfrm>
      </p:grpSpPr>
      <p:sp>
        <p:nvSpPr>
          <p:cNvPr id="23" name="22 Marcador de texto"/>
          <p:cNvSpPr>
            <a:spLocks noGrp="1"/>
          </p:cNvSpPr>
          <p:nvPr>
            <p:ph type="body" sz="quarter" idx="23"/>
          </p:nvPr>
        </p:nvSpPr>
        <p:spPr>
          <a:xfrm>
            <a:off x="423988" y="1320801"/>
            <a:ext cx="11344031" cy="5151940"/>
          </a:xfrm>
        </p:spPr>
        <p:txBody>
          <a:bodyPr>
            <a:noAutofit/>
          </a:bodyPr>
          <a:lstStyle>
            <a:lvl5pPr marL="1193859" indent="0">
              <a:defRPr kumimoji="0" lang="es-ES" sz="1354" b="0" i="0" u="none" strike="noStrike" kern="1200" cap="none" spc="0" normalizeH="0" baseline="0" noProof="0" dirty="0" smtClean="0">
                <a:ln>
                  <a:noFill/>
                </a:ln>
                <a:solidFill>
                  <a:srgbClr val="494949"/>
                </a:solidFill>
                <a:effectLst/>
                <a:uLnTx/>
                <a:uFillTx/>
                <a:latin typeface="+mn-lt"/>
                <a:ea typeface="+mn-ea"/>
                <a:cs typeface="+mn-cs"/>
              </a:defRPr>
            </a:lvl5pPr>
            <a:lvl6pPr marL="1057085" indent="-211027">
              <a:defRPr kumimoji="0" lang="es-ES" sz="1354" b="0" i="0" u="none" strike="noStrike" kern="1200" cap="none" spc="0" normalizeH="0" baseline="0" noProof="0" dirty="0" smtClean="0">
                <a:ln>
                  <a:noFill/>
                </a:ln>
                <a:solidFill>
                  <a:schemeClr val="tx1"/>
                </a:solidFill>
                <a:effectLst/>
                <a:uLnTx/>
                <a:uFillTx/>
                <a:latin typeface="+mn-lt"/>
                <a:ea typeface="+mn-ea"/>
                <a:cs typeface="+mn-cs"/>
              </a:defRPr>
            </a:lvl6pPr>
            <a:lvl7pPr>
              <a:defRPr/>
            </a:lvl7pPr>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a:p>
            <a:pPr marL="1041452" marR="0" lvl="4" indent="-195394" algn="l" defTabSz="1125472" rtl="0" eaLnBrk="1" fontAlgn="auto" latinLnBrk="0" hangingPunct="1">
              <a:lnSpc>
                <a:spcPct val="100000"/>
              </a:lnSpc>
              <a:spcBef>
                <a:spcPts val="0"/>
              </a:spcBef>
              <a:spcAft>
                <a:spcPts val="246"/>
              </a:spcAft>
              <a:buClr>
                <a:schemeClr val="accent1">
                  <a:lumMod val="90000"/>
                </a:schemeClr>
              </a:buClr>
              <a:buSzTx/>
              <a:buFont typeface="Arial" pitchFamily="34" charset="0"/>
              <a:buChar char="•"/>
              <a:tabLst/>
              <a:defRPr/>
            </a:pPr>
            <a:r>
              <a:rPr lang="es-ES" noProof="0"/>
              <a:t>Quinto nivel</a:t>
            </a:r>
          </a:p>
          <a:p>
            <a:pPr marL="1367761" marR="0" lvl="5" indent="-173901" algn="l" defTabSz="1125472" rtl="0" eaLnBrk="1" fontAlgn="auto" latinLnBrk="0" hangingPunct="1">
              <a:lnSpc>
                <a:spcPct val="100000"/>
              </a:lnSpc>
              <a:spcBef>
                <a:spcPct val="20000"/>
              </a:spcBef>
              <a:spcAft>
                <a:spcPts val="246"/>
              </a:spcAft>
              <a:buClr>
                <a:schemeClr val="accent1">
                  <a:lumMod val="90000"/>
                </a:schemeClr>
              </a:buClr>
              <a:buSzTx/>
              <a:buFontTx/>
              <a:buNone/>
              <a:tabLst/>
              <a:defRPr/>
            </a:pPr>
            <a:r>
              <a:rPr lang="es-ES" noProof="0"/>
              <a:t>- </a:t>
            </a:r>
            <a:r>
              <a:rPr lang="es-ES" noProof="0" err="1"/>
              <a:t>bhhh</a:t>
            </a:r>
            <a:endParaRPr lang="es-ES" noProof="0"/>
          </a:p>
        </p:txBody>
      </p:sp>
      <p:sp>
        <p:nvSpPr>
          <p:cNvPr id="92" name="27 Título"/>
          <p:cNvSpPr>
            <a:spLocks noGrp="1"/>
          </p:cNvSpPr>
          <p:nvPr userDrawn="1">
            <p:ph type="title" hasCustomPrompt="1"/>
          </p:nvPr>
        </p:nvSpPr>
        <p:spPr>
          <a:xfrm>
            <a:off x="1235961" y="334933"/>
            <a:ext cx="8936800" cy="518277"/>
          </a:xfrm>
        </p:spPr>
        <p:txBody>
          <a:bodyPr>
            <a:noAutofit/>
          </a:bodyPr>
          <a:lstStyle>
            <a:lvl1pPr>
              <a:defRPr sz="2462">
                <a:solidFill>
                  <a:schemeClr val="tx1"/>
                </a:solidFill>
              </a:defRPr>
            </a:lvl1pPr>
          </a:lstStyle>
          <a:p>
            <a:r>
              <a:rPr lang="es-ES"/>
              <a:t>Título</a:t>
            </a:r>
            <a:endParaRPr lang="en-US"/>
          </a:p>
        </p:txBody>
      </p:sp>
      <p:sp>
        <p:nvSpPr>
          <p:cNvPr id="7" name="26 Marcador de contenido"/>
          <p:cNvSpPr>
            <a:spLocks noGrp="1"/>
          </p:cNvSpPr>
          <p:nvPr>
            <p:ph sz="quarter" idx="26" hasCustomPrompt="1"/>
          </p:nvPr>
        </p:nvSpPr>
        <p:spPr>
          <a:xfrm>
            <a:off x="1192824" y="863258"/>
            <a:ext cx="8988270" cy="225425"/>
          </a:xfrm>
        </p:spPr>
        <p:txBody>
          <a:bodyPr anchor="ctr">
            <a:noAutofit/>
          </a:bodyPr>
          <a:lstStyle>
            <a:lvl1pPr marL="177239">
              <a:defRPr sz="1231" cap="all" spc="369" baseline="0">
                <a:solidFill>
                  <a:schemeClr val="tx1"/>
                </a:solidFill>
              </a:defRPr>
            </a:lvl1pPr>
            <a:lvl7pPr>
              <a:defRPr>
                <a:solidFill>
                  <a:schemeClr val="tx1">
                    <a:lumMod val="50000"/>
                    <a:lumOff val="50000"/>
                  </a:schemeClr>
                </a:solidFill>
              </a:defRPr>
            </a:lvl7pPr>
          </a:lstStyle>
          <a:p>
            <a:pPr lvl="0"/>
            <a:r>
              <a:rPr lang="es-ES"/>
              <a:t>Subtítulo</a:t>
            </a:r>
            <a:endParaRPr lang="en-US"/>
          </a:p>
        </p:txBody>
      </p:sp>
    </p:spTree>
    <p:extLst>
      <p:ext uri="{BB962C8B-B14F-4D97-AF65-F5344CB8AC3E}">
        <p14:creationId xmlns:p14="http://schemas.microsoft.com/office/powerpoint/2010/main" val="69712065"/>
      </p:ext>
    </p:extLst>
  </p:cSld>
  <p:clrMapOvr>
    <a:masterClrMapping/>
  </p:clrMapOvr>
  <p:transition spd="slow"/>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Gestión y Calidad del Proyecto">
    <p:spTree>
      <p:nvGrpSpPr>
        <p:cNvPr id="1" name=""/>
        <p:cNvGrpSpPr/>
        <p:nvPr/>
      </p:nvGrpSpPr>
      <p:grpSpPr>
        <a:xfrm>
          <a:off x="0" y="0"/>
          <a:ext cx="0" cy="0"/>
          <a:chOff x="0" y="0"/>
          <a:chExt cx="0" cy="0"/>
        </a:xfrm>
      </p:grpSpPr>
      <p:sp>
        <p:nvSpPr>
          <p:cNvPr id="23" name="22 Marcador de texto"/>
          <p:cNvSpPr>
            <a:spLocks noGrp="1"/>
          </p:cNvSpPr>
          <p:nvPr>
            <p:ph type="body" sz="quarter" idx="23"/>
          </p:nvPr>
        </p:nvSpPr>
        <p:spPr>
          <a:xfrm>
            <a:off x="423988" y="1320801"/>
            <a:ext cx="11344031" cy="5151940"/>
          </a:xfrm>
        </p:spPr>
        <p:txBody>
          <a:bodyPr>
            <a:noAutofit/>
          </a:bodyPr>
          <a:lstStyle>
            <a:lvl5pPr marL="1193859" indent="0">
              <a:defRPr kumimoji="0" lang="es-ES" sz="1354" b="0" i="0" u="none" strike="noStrike" kern="1200" cap="none" spc="0" normalizeH="0" baseline="0" noProof="0" dirty="0" smtClean="0">
                <a:ln>
                  <a:noFill/>
                </a:ln>
                <a:solidFill>
                  <a:srgbClr val="494949"/>
                </a:solidFill>
                <a:effectLst/>
                <a:uLnTx/>
                <a:uFillTx/>
                <a:latin typeface="+mn-lt"/>
                <a:ea typeface="+mn-ea"/>
                <a:cs typeface="+mn-cs"/>
              </a:defRPr>
            </a:lvl5pPr>
            <a:lvl6pPr marL="1057085" indent="-211027">
              <a:defRPr kumimoji="0" lang="es-ES" sz="1354" b="0" i="0" u="none" strike="noStrike" kern="1200" cap="none" spc="0" normalizeH="0" baseline="0" noProof="0" dirty="0" smtClean="0">
                <a:ln>
                  <a:noFill/>
                </a:ln>
                <a:solidFill>
                  <a:schemeClr val="tx1"/>
                </a:solidFill>
                <a:effectLst/>
                <a:uLnTx/>
                <a:uFillTx/>
                <a:latin typeface="+mn-lt"/>
                <a:ea typeface="+mn-ea"/>
                <a:cs typeface="+mn-cs"/>
              </a:defRPr>
            </a:lvl6pPr>
            <a:lvl7pPr>
              <a:defRPr/>
            </a:lvl7pPr>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a:p>
            <a:pPr marL="1041452" marR="0" lvl="4" indent="-195394" algn="l" defTabSz="1125472" rtl="0" eaLnBrk="1" fontAlgn="auto" latinLnBrk="0" hangingPunct="1">
              <a:lnSpc>
                <a:spcPct val="100000"/>
              </a:lnSpc>
              <a:spcBef>
                <a:spcPts val="0"/>
              </a:spcBef>
              <a:spcAft>
                <a:spcPts val="246"/>
              </a:spcAft>
              <a:buClr>
                <a:schemeClr val="accent1">
                  <a:lumMod val="90000"/>
                </a:schemeClr>
              </a:buClr>
              <a:buSzTx/>
              <a:buFont typeface="Arial" pitchFamily="34" charset="0"/>
              <a:buChar char="•"/>
              <a:tabLst/>
              <a:defRPr/>
            </a:pPr>
            <a:r>
              <a:rPr lang="es-ES" noProof="0"/>
              <a:t>Quinto nivel</a:t>
            </a:r>
          </a:p>
          <a:p>
            <a:pPr marL="1367761" marR="0" lvl="5" indent="-173901" algn="l" defTabSz="1125472" rtl="0" eaLnBrk="1" fontAlgn="auto" latinLnBrk="0" hangingPunct="1">
              <a:lnSpc>
                <a:spcPct val="100000"/>
              </a:lnSpc>
              <a:spcBef>
                <a:spcPct val="20000"/>
              </a:spcBef>
              <a:spcAft>
                <a:spcPts val="246"/>
              </a:spcAft>
              <a:buClr>
                <a:schemeClr val="accent1">
                  <a:lumMod val="90000"/>
                </a:schemeClr>
              </a:buClr>
              <a:buSzTx/>
              <a:buFontTx/>
              <a:buNone/>
              <a:tabLst/>
              <a:defRPr/>
            </a:pPr>
            <a:r>
              <a:rPr lang="es-ES" noProof="0"/>
              <a:t>- </a:t>
            </a:r>
            <a:r>
              <a:rPr lang="es-ES" noProof="0" err="1"/>
              <a:t>bhhh</a:t>
            </a:r>
            <a:endParaRPr lang="es-ES" noProof="0"/>
          </a:p>
        </p:txBody>
      </p:sp>
      <p:sp>
        <p:nvSpPr>
          <p:cNvPr id="92" name="27 Título"/>
          <p:cNvSpPr>
            <a:spLocks noGrp="1"/>
          </p:cNvSpPr>
          <p:nvPr userDrawn="1">
            <p:ph type="title" hasCustomPrompt="1"/>
          </p:nvPr>
        </p:nvSpPr>
        <p:spPr>
          <a:xfrm>
            <a:off x="1235961" y="334933"/>
            <a:ext cx="8936800" cy="518277"/>
          </a:xfrm>
        </p:spPr>
        <p:txBody>
          <a:bodyPr>
            <a:noAutofit/>
          </a:bodyPr>
          <a:lstStyle>
            <a:lvl1pPr>
              <a:defRPr sz="2462">
                <a:solidFill>
                  <a:schemeClr val="tx1"/>
                </a:solidFill>
              </a:defRPr>
            </a:lvl1pPr>
          </a:lstStyle>
          <a:p>
            <a:r>
              <a:rPr lang="es-ES"/>
              <a:t>Título</a:t>
            </a:r>
            <a:endParaRPr lang="en-US"/>
          </a:p>
        </p:txBody>
      </p:sp>
      <p:sp>
        <p:nvSpPr>
          <p:cNvPr id="7" name="26 Marcador de contenido"/>
          <p:cNvSpPr>
            <a:spLocks noGrp="1"/>
          </p:cNvSpPr>
          <p:nvPr>
            <p:ph sz="quarter" idx="26" hasCustomPrompt="1"/>
          </p:nvPr>
        </p:nvSpPr>
        <p:spPr>
          <a:xfrm>
            <a:off x="1192824" y="863258"/>
            <a:ext cx="8988270" cy="225425"/>
          </a:xfrm>
        </p:spPr>
        <p:txBody>
          <a:bodyPr anchor="ctr">
            <a:noAutofit/>
          </a:bodyPr>
          <a:lstStyle>
            <a:lvl1pPr marL="177239">
              <a:defRPr sz="1231" cap="all" spc="369" baseline="0">
                <a:solidFill>
                  <a:schemeClr val="tx1"/>
                </a:solidFill>
              </a:defRPr>
            </a:lvl1pPr>
            <a:lvl7pPr>
              <a:defRPr>
                <a:solidFill>
                  <a:schemeClr val="tx1">
                    <a:lumMod val="50000"/>
                    <a:lumOff val="50000"/>
                  </a:schemeClr>
                </a:solidFill>
              </a:defRPr>
            </a:lvl7pPr>
          </a:lstStyle>
          <a:p>
            <a:pPr lvl="0"/>
            <a:r>
              <a:rPr lang="es-ES"/>
              <a:t>Subtítulo</a:t>
            </a:r>
            <a:endParaRPr lang="en-US"/>
          </a:p>
        </p:txBody>
      </p:sp>
    </p:spTree>
    <p:extLst>
      <p:ext uri="{BB962C8B-B14F-4D97-AF65-F5344CB8AC3E}">
        <p14:creationId xmlns:p14="http://schemas.microsoft.com/office/powerpoint/2010/main" val="2376984991"/>
      </p:ext>
    </p:extLst>
  </p:cSld>
  <p:clrMapOvr>
    <a:masterClrMapping/>
  </p:clrMapOvr>
  <p:transition spd="slow"/>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Gestión del Cambio">
    <p:spTree>
      <p:nvGrpSpPr>
        <p:cNvPr id="1" name=""/>
        <p:cNvGrpSpPr/>
        <p:nvPr/>
      </p:nvGrpSpPr>
      <p:grpSpPr>
        <a:xfrm>
          <a:off x="0" y="0"/>
          <a:ext cx="0" cy="0"/>
          <a:chOff x="0" y="0"/>
          <a:chExt cx="0" cy="0"/>
        </a:xfrm>
      </p:grpSpPr>
      <p:sp>
        <p:nvSpPr>
          <p:cNvPr id="23" name="22 Marcador de texto"/>
          <p:cNvSpPr>
            <a:spLocks noGrp="1"/>
          </p:cNvSpPr>
          <p:nvPr>
            <p:ph type="body" sz="quarter" idx="23"/>
          </p:nvPr>
        </p:nvSpPr>
        <p:spPr>
          <a:xfrm>
            <a:off x="423988" y="1320801"/>
            <a:ext cx="11344031" cy="5151940"/>
          </a:xfrm>
        </p:spPr>
        <p:txBody>
          <a:bodyPr>
            <a:noAutofit/>
          </a:bodyPr>
          <a:lstStyle>
            <a:lvl5pPr marL="1057085" indent="-211027">
              <a:defRPr kumimoji="0" lang="es-ES" sz="1354" b="0" i="0" u="none" strike="noStrike" kern="1200" cap="none" spc="0" normalizeH="0" baseline="0" noProof="0" dirty="0" smtClean="0">
                <a:ln>
                  <a:noFill/>
                </a:ln>
                <a:solidFill>
                  <a:srgbClr val="494949"/>
                </a:solidFill>
                <a:effectLst/>
                <a:uLnTx/>
                <a:uFillTx/>
                <a:latin typeface="+mn-lt"/>
                <a:ea typeface="+mn-ea"/>
                <a:cs typeface="+mn-cs"/>
              </a:defRPr>
            </a:lvl5pPr>
            <a:lvl6pPr marL="1193859" indent="0">
              <a:defRPr kumimoji="0" lang="es-ES" sz="1354" b="0" i="0" u="none" strike="noStrike" kern="1200" cap="none" spc="0" normalizeH="0" baseline="0" noProof="0" dirty="0" smtClean="0">
                <a:ln>
                  <a:noFill/>
                </a:ln>
                <a:solidFill>
                  <a:schemeClr val="tx1"/>
                </a:solidFill>
                <a:effectLst/>
                <a:uLnTx/>
                <a:uFillTx/>
                <a:latin typeface="+mn-lt"/>
                <a:ea typeface="+mn-ea"/>
                <a:cs typeface="+mn-cs"/>
              </a:defRPr>
            </a:lvl6pPr>
            <a:lvl7pPr>
              <a:defRPr/>
            </a:lvl7pPr>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a:p>
            <a:pPr marL="1041452" marR="0" lvl="4" indent="-195394" algn="l" defTabSz="1125472" rtl="0" eaLnBrk="1" fontAlgn="auto" latinLnBrk="0" hangingPunct="1">
              <a:lnSpc>
                <a:spcPct val="100000"/>
              </a:lnSpc>
              <a:spcBef>
                <a:spcPts val="0"/>
              </a:spcBef>
              <a:spcAft>
                <a:spcPts val="246"/>
              </a:spcAft>
              <a:buClr>
                <a:schemeClr val="accent1">
                  <a:lumMod val="90000"/>
                </a:schemeClr>
              </a:buClr>
              <a:buSzTx/>
              <a:buFont typeface="Arial" pitchFamily="34" charset="0"/>
              <a:buChar char="•"/>
              <a:tabLst/>
              <a:defRPr/>
            </a:pPr>
            <a:r>
              <a:rPr lang="es-ES" noProof="0"/>
              <a:t>Quinto nivel</a:t>
            </a:r>
          </a:p>
          <a:p>
            <a:pPr marL="1367761" lvl="5" indent="-173901" algn="l" defTabSz="1125472" rtl="0" eaLnBrk="1" latinLnBrk="0" hangingPunct="1">
              <a:spcBef>
                <a:spcPct val="20000"/>
              </a:spcBef>
              <a:buFontTx/>
              <a:buNone/>
              <a:tabLst/>
            </a:pPr>
            <a:r>
              <a:rPr lang="es-ES" noProof="0"/>
              <a:t>- </a:t>
            </a:r>
            <a:r>
              <a:rPr lang="es-ES" noProof="0" err="1"/>
              <a:t>bhhh</a:t>
            </a:r>
            <a:endParaRPr lang="es-ES" noProof="0"/>
          </a:p>
        </p:txBody>
      </p:sp>
      <p:sp>
        <p:nvSpPr>
          <p:cNvPr id="92" name="27 Título"/>
          <p:cNvSpPr>
            <a:spLocks noGrp="1"/>
          </p:cNvSpPr>
          <p:nvPr userDrawn="1">
            <p:ph type="title" hasCustomPrompt="1"/>
          </p:nvPr>
        </p:nvSpPr>
        <p:spPr>
          <a:xfrm>
            <a:off x="1235961" y="334933"/>
            <a:ext cx="8936800" cy="518277"/>
          </a:xfrm>
        </p:spPr>
        <p:txBody>
          <a:bodyPr>
            <a:noAutofit/>
          </a:bodyPr>
          <a:lstStyle>
            <a:lvl1pPr>
              <a:defRPr sz="2462">
                <a:solidFill>
                  <a:schemeClr val="tx1"/>
                </a:solidFill>
              </a:defRPr>
            </a:lvl1pPr>
          </a:lstStyle>
          <a:p>
            <a:r>
              <a:rPr lang="es-ES"/>
              <a:t>Título</a:t>
            </a:r>
            <a:endParaRPr lang="en-US"/>
          </a:p>
        </p:txBody>
      </p:sp>
      <p:sp>
        <p:nvSpPr>
          <p:cNvPr id="7" name="26 Marcador de contenido"/>
          <p:cNvSpPr>
            <a:spLocks noGrp="1"/>
          </p:cNvSpPr>
          <p:nvPr>
            <p:ph sz="quarter" idx="26" hasCustomPrompt="1"/>
          </p:nvPr>
        </p:nvSpPr>
        <p:spPr>
          <a:xfrm>
            <a:off x="1192824" y="863258"/>
            <a:ext cx="8988270" cy="225425"/>
          </a:xfrm>
        </p:spPr>
        <p:txBody>
          <a:bodyPr anchor="ctr">
            <a:noAutofit/>
          </a:bodyPr>
          <a:lstStyle>
            <a:lvl1pPr marL="177239">
              <a:defRPr sz="1231" cap="all" spc="369" baseline="0">
                <a:solidFill>
                  <a:schemeClr val="tx1"/>
                </a:solidFill>
              </a:defRPr>
            </a:lvl1pPr>
            <a:lvl7pPr>
              <a:defRPr>
                <a:solidFill>
                  <a:schemeClr val="tx1">
                    <a:lumMod val="50000"/>
                    <a:lumOff val="50000"/>
                  </a:schemeClr>
                </a:solidFill>
              </a:defRPr>
            </a:lvl7pPr>
          </a:lstStyle>
          <a:p>
            <a:pPr lvl="0"/>
            <a:r>
              <a:rPr lang="es-ES"/>
              <a:t>Subtítulo</a:t>
            </a:r>
            <a:endParaRPr lang="en-US"/>
          </a:p>
        </p:txBody>
      </p:sp>
    </p:spTree>
    <p:extLst>
      <p:ext uri="{BB962C8B-B14F-4D97-AF65-F5344CB8AC3E}">
        <p14:creationId xmlns:p14="http://schemas.microsoft.com/office/powerpoint/2010/main" val="3311956933"/>
      </p:ext>
    </p:extLst>
  </p:cSld>
  <p:clrMapOvr>
    <a:masterClrMapping/>
  </p:clrMapOvr>
  <p:transition spd="slow"/>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oporte y Mantenimiento">
    <p:spTree>
      <p:nvGrpSpPr>
        <p:cNvPr id="1" name=""/>
        <p:cNvGrpSpPr/>
        <p:nvPr/>
      </p:nvGrpSpPr>
      <p:grpSpPr>
        <a:xfrm>
          <a:off x="0" y="0"/>
          <a:ext cx="0" cy="0"/>
          <a:chOff x="0" y="0"/>
          <a:chExt cx="0" cy="0"/>
        </a:xfrm>
      </p:grpSpPr>
      <p:sp>
        <p:nvSpPr>
          <p:cNvPr id="23" name="22 Marcador de texto"/>
          <p:cNvSpPr>
            <a:spLocks noGrp="1"/>
          </p:cNvSpPr>
          <p:nvPr>
            <p:ph type="body" sz="quarter" idx="23"/>
          </p:nvPr>
        </p:nvSpPr>
        <p:spPr>
          <a:xfrm>
            <a:off x="423988" y="1320801"/>
            <a:ext cx="11344031" cy="5151940"/>
          </a:xfrm>
        </p:spPr>
        <p:txBody>
          <a:bodyPr>
            <a:noAutofit/>
          </a:bodyPr>
          <a:lstStyle>
            <a:lvl5pPr marL="1193859" indent="0">
              <a:defRPr kumimoji="0" lang="es-ES" sz="1354" b="0" i="0" u="none" strike="noStrike" kern="1200" cap="none" spc="0" normalizeH="0" baseline="0" noProof="0" dirty="0" smtClean="0">
                <a:ln>
                  <a:noFill/>
                </a:ln>
                <a:solidFill>
                  <a:srgbClr val="494949"/>
                </a:solidFill>
                <a:effectLst/>
                <a:uLnTx/>
                <a:uFillTx/>
                <a:latin typeface="+mn-lt"/>
                <a:ea typeface="+mn-ea"/>
                <a:cs typeface="+mn-cs"/>
              </a:defRPr>
            </a:lvl5pPr>
            <a:lvl6pPr marL="1057085" indent="-211027">
              <a:defRPr kumimoji="0" lang="es-ES" sz="1354" b="0" i="0" u="none" strike="noStrike" kern="1200" cap="none" spc="0" normalizeH="0" baseline="0" noProof="0" dirty="0" smtClean="0">
                <a:ln>
                  <a:noFill/>
                </a:ln>
                <a:solidFill>
                  <a:schemeClr val="tx1"/>
                </a:solidFill>
                <a:effectLst/>
                <a:uLnTx/>
                <a:uFillTx/>
                <a:latin typeface="+mn-lt"/>
                <a:ea typeface="+mn-ea"/>
                <a:cs typeface="+mn-cs"/>
              </a:defRPr>
            </a:lvl6pPr>
            <a:lvl7pPr>
              <a:defRPr/>
            </a:lvl7pPr>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a:p>
            <a:pPr marL="1041452" marR="0" lvl="4" indent="-195394" algn="l" defTabSz="1125472" rtl="0" eaLnBrk="1" fontAlgn="auto" latinLnBrk="0" hangingPunct="1">
              <a:lnSpc>
                <a:spcPct val="100000"/>
              </a:lnSpc>
              <a:spcBef>
                <a:spcPts val="0"/>
              </a:spcBef>
              <a:spcAft>
                <a:spcPts val="246"/>
              </a:spcAft>
              <a:buClr>
                <a:schemeClr val="accent1">
                  <a:lumMod val="90000"/>
                </a:schemeClr>
              </a:buClr>
              <a:buSzTx/>
              <a:buFont typeface="Arial" pitchFamily="34" charset="0"/>
              <a:buChar char="•"/>
              <a:tabLst/>
              <a:defRPr/>
            </a:pPr>
            <a:r>
              <a:rPr lang="es-ES" noProof="0"/>
              <a:t>Quinto nivel</a:t>
            </a:r>
          </a:p>
          <a:p>
            <a:pPr marL="1367761" marR="0" lvl="5" indent="-173901" algn="l" defTabSz="1125472" rtl="0" eaLnBrk="1" fontAlgn="auto" latinLnBrk="0" hangingPunct="1">
              <a:lnSpc>
                <a:spcPct val="100000"/>
              </a:lnSpc>
              <a:spcBef>
                <a:spcPct val="20000"/>
              </a:spcBef>
              <a:spcAft>
                <a:spcPts val="246"/>
              </a:spcAft>
              <a:buClr>
                <a:schemeClr val="accent1">
                  <a:lumMod val="90000"/>
                </a:schemeClr>
              </a:buClr>
              <a:buSzTx/>
              <a:buFontTx/>
              <a:buNone/>
              <a:tabLst/>
              <a:defRPr/>
            </a:pPr>
            <a:r>
              <a:rPr lang="es-ES" noProof="0"/>
              <a:t>- </a:t>
            </a:r>
            <a:r>
              <a:rPr lang="es-ES" noProof="0" err="1"/>
              <a:t>bhhh</a:t>
            </a:r>
            <a:endParaRPr lang="es-ES" noProof="0"/>
          </a:p>
        </p:txBody>
      </p:sp>
      <p:sp>
        <p:nvSpPr>
          <p:cNvPr id="92" name="27 Título"/>
          <p:cNvSpPr>
            <a:spLocks noGrp="1"/>
          </p:cNvSpPr>
          <p:nvPr userDrawn="1">
            <p:ph type="title" hasCustomPrompt="1"/>
          </p:nvPr>
        </p:nvSpPr>
        <p:spPr>
          <a:xfrm>
            <a:off x="1235961" y="334933"/>
            <a:ext cx="8936800" cy="518277"/>
          </a:xfrm>
        </p:spPr>
        <p:txBody>
          <a:bodyPr>
            <a:noAutofit/>
          </a:bodyPr>
          <a:lstStyle>
            <a:lvl1pPr>
              <a:defRPr sz="2462">
                <a:solidFill>
                  <a:schemeClr val="tx1"/>
                </a:solidFill>
              </a:defRPr>
            </a:lvl1pPr>
          </a:lstStyle>
          <a:p>
            <a:r>
              <a:rPr lang="es-ES"/>
              <a:t>Título</a:t>
            </a:r>
            <a:endParaRPr lang="en-US"/>
          </a:p>
        </p:txBody>
      </p:sp>
      <p:sp>
        <p:nvSpPr>
          <p:cNvPr id="7" name="26 Marcador de contenido"/>
          <p:cNvSpPr>
            <a:spLocks noGrp="1"/>
          </p:cNvSpPr>
          <p:nvPr>
            <p:ph sz="quarter" idx="26" hasCustomPrompt="1"/>
          </p:nvPr>
        </p:nvSpPr>
        <p:spPr>
          <a:xfrm>
            <a:off x="1192824" y="863258"/>
            <a:ext cx="8988270" cy="225425"/>
          </a:xfrm>
        </p:spPr>
        <p:txBody>
          <a:bodyPr anchor="ctr">
            <a:noAutofit/>
          </a:bodyPr>
          <a:lstStyle>
            <a:lvl1pPr marL="177239">
              <a:defRPr sz="1231" cap="all" spc="369" baseline="0">
                <a:solidFill>
                  <a:schemeClr val="tx1"/>
                </a:solidFill>
              </a:defRPr>
            </a:lvl1pPr>
            <a:lvl7pPr>
              <a:defRPr>
                <a:solidFill>
                  <a:schemeClr val="tx1">
                    <a:lumMod val="50000"/>
                    <a:lumOff val="50000"/>
                  </a:schemeClr>
                </a:solidFill>
              </a:defRPr>
            </a:lvl7pPr>
          </a:lstStyle>
          <a:p>
            <a:pPr lvl="0"/>
            <a:r>
              <a:rPr lang="es-ES"/>
              <a:t>Subtítulo</a:t>
            </a:r>
            <a:endParaRPr lang="en-US"/>
          </a:p>
        </p:txBody>
      </p:sp>
    </p:spTree>
    <p:extLst>
      <p:ext uri="{BB962C8B-B14F-4D97-AF65-F5344CB8AC3E}">
        <p14:creationId xmlns:p14="http://schemas.microsoft.com/office/powerpoint/2010/main" val="2824594818"/>
      </p:ext>
    </p:extLst>
  </p:cSld>
  <p:clrMapOvr>
    <a:masterClrMapping/>
  </p:clrMapOvr>
  <p:transition spd="slow"/>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lan de Trabajo">
    <p:spTree>
      <p:nvGrpSpPr>
        <p:cNvPr id="1" name=""/>
        <p:cNvGrpSpPr/>
        <p:nvPr/>
      </p:nvGrpSpPr>
      <p:grpSpPr>
        <a:xfrm>
          <a:off x="0" y="0"/>
          <a:ext cx="0" cy="0"/>
          <a:chOff x="0" y="0"/>
          <a:chExt cx="0" cy="0"/>
        </a:xfrm>
      </p:grpSpPr>
      <p:sp>
        <p:nvSpPr>
          <p:cNvPr id="23" name="22 Marcador de texto"/>
          <p:cNvSpPr>
            <a:spLocks noGrp="1"/>
          </p:cNvSpPr>
          <p:nvPr>
            <p:ph type="body" sz="quarter" idx="23"/>
          </p:nvPr>
        </p:nvSpPr>
        <p:spPr>
          <a:xfrm>
            <a:off x="423988" y="1320801"/>
            <a:ext cx="11344031" cy="5151940"/>
          </a:xfrm>
        </p:spPr>
        <p:txBody>
          <a:bodyPr>
            <a:noAutofit/>
          </a:bodyPr>
          <a:lstStyle>
            <a:lvl5pPr marL="1193859" indent="0">
              <a:defRPr kumimoji="0" lang="es-ES" sz="1354" b="0" i="0" u="none" strike="noStrike" kern="1200" cap="none" spc="0" normalizeH="0" baseline="0" noProof="0" dirty="0" smtClean="0">
                <a:ln>
                  <a:noFill/>
                </a:ln>
                <a:solidFill>
                  <a:srgbClr val="494949"/>
                </a:solidFill>
                <a:effectLst/>
                <a:uLnTx/>
                <a:uFillTx/>
                <a:latin typeface="+mn-lt"/>
                <a:ea typeface="+mn-ea"/>
                <a:cs typeface="+mn-cs"/>
              </a:defRPr>
            </a:lvl5pPr>
            <a:lvl6pPr marL="1057085" indent="-211027">
              <a:defRPr kumimoji="0" lang="es-ES" sz="1354" b="0" i="0" u="none" strike="noStrike" kern="1200" cap="none" spc="0" normalizeH="0" baseline="0" noProof="0" dirty="0" smtClean="0">
                <a:ln>
                  <a:noFill/>
                </a:ln>
                <a:solidFill>
                  <a:schemeClr val="tx1"/>
                </a:solidFill>
                <a:effectLst/>
                <a:uLnTx/>
                <a:uFillTx/>
                <a:latin typeface="+mn-lt"/>
                <a:ea typeface="+mn-ea"/>
                <a:cs typeface="+mn-cs"/>
              </a:defRPr>
            </a:lvl6pPr>
            <a:lvl7pPr>
              <a:defRPr/>
            </a:lvl7pPr>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a:p>
            <a:pPr marL="1041452" marR="0" lvl="4" indent="-195394" algn="l" defTabSz="1125472" rtl="0" eaLnBrk="1" fontAlgn="auto" latinLnBrk="0" hangingPunct="1">
              <a:lnSpc>
                <a:spcPct val="100000"/>
              </a:lnSpc>
              <a:spcBef>
                <a:spcPts val="0"/>
              </a:spcBef>
              <a:spcAft>
                <a:spcPts val="246"/>
              </a:spcAft>
              <a:buClr>
                <a:schemeClr val="accent1">
                  <a:lumMod val="90000"/>
                </a:schemeClr>
              </a:buClr>
              <a:buSzTx/>
              <a:buFont typeface="Arial" pitchFamily="34" charset="0"/>
              <a:buChar char="•"/>
              <a:tabLst/>
              <a:defRPr/>
            </a:pPr>
            <a:r>
              <a:rPr lang="es-ES" noProof="0"/>
              <a:t>Quinto nivel</a:t>
            </a:r>
          </a:p>
          <a:p>
            <a:pPr marL="1367761" marR="0" lvl="5" indent="-173901" algn="l" defTabSz="1125472" rtl="0" eaLnBrk="1" fontAlgn="auto" latinLnBrk="0" hangingPunct="1">
              <a:lnSpc>
                <a:spcPct val="100000"/>
              </a:lnSpc>
              <a:spcBef>
                <a:spcPct val="20000"/>
              </a:spcBef>
              <a:spcAft>
                <a:spcPts val="246"/>
              </a:spcAft>
              <a:buClr>
                <a:schemeClr val="accent1">
                  <a:lumMod val="90000"/>
                </a:schemeClr>
              </a:buClr>
              <a:buSzTx/>
              <a:buFontTx/>
              <a:buNone/>
              <a:tabLst/>
              <a:defRPr/>
            </a:pPr>
            <a:r>
              <a:rPr lang="es-ES" noProof="0"/>
              <a:t>- </a:t>
            </a:r>
            <a:r>
              <a:rPr lang="es-ES" noProof="0" err="1"/>
              <a:t>bhhh</a:t>
            </a:r>
            <a:endParaRPr lang="es-ES" noProof="0"/>
          </a:p>
        </p:txBody>
      </p:sp>
      <p:sp>
        <p:nvSpPr>
          <p:cNvPr id="92" name="27 Título"/>
          <p:cNvSpPr>
            <a:spLocks noGrp="1"/>
          </p:cNvSpPr>
          <p:nvPr userDrawn="1">
            <p:ph type="title" hasCustomPrompt="1"/>
          </p:nvPr>
        </p:nvSpPr>
        <p:spPr>
          <a:xfrm>
            <a:off x="1235961" y="334933"/>
            <a:ext cx="8936800" cy="518277"/>
          </a:xfrm>
        </p:spPr>
        <p:txBody>
          <a:bodyPr>
            <a:noAutofit/>
          </a:bodyPr>
          <a:lstStyle>
            <a:lvl1pPr>
              <a:defRPr sz="2462">
                <a:solidFill>
                  <a:schemeClr val="tx1"/>
                </a:solidFill>
              </a:defRPr>
            </a:lvl1pPr>
          </a:lstStyle>
          <a:p>
            <a:r>
              <a:rPr lang="es-ES"/>
              <a:t>Título</a:t>
            </a:r>
            <a:endParaRPr lang="en-US"/>
          </a:p>
        </p:txBody>
      </p:sp>
      <p:sp>
        <p:nvSpPr>
          <p:cNvPr id="7" name="26 Marcador de contenido"/>
          <p:cNvSpPr>
            <a:spLocks noGrp="1"/>
          </p:cNvSpPr>
          <p:nvPr>
            <p:ph sz="quarter" idx="26" hasCustomPrompt="1"/>
          </p:nvPr>
        </p:nvSpPr>
        <p:spPr>
          <a:xfrm>
            <a:off x="1192824" y="863258"/>
            <a:ext cx="8988270" cy="225425"/>
          </a:xfrm>
        </p:spPr>
        <p:txBody>
          <a:bodyPr anchor="ctr">
            <a:noAutofit/>
          </a:bodyPr>
          <a:lstStyle>
            <a:lvl1pPr marL="177239">
              <a:defRPr sz="1231" cap="all" spc="369" baseline="0">
                <a:solidFill>
                  <a:schemeClr val="tx1"/>
                </a:solidFill>
              </a:defRPr>
            </a:lvl1pPr>
            <a:lvl7pPr>
              <a:defRPr>
                <a:solidFill>
                  <a:schemeClr val="tx1">
                    <a:lumMod val="50000"/>
                    <a:lumOff val="50000"/>
                  </a:schemeClr>
                </a:solidFill>
              </a:defRPr>
            </a:lvl7pPr>
          </a:lstStyle>
          <a:p>
            <a:pPr lvl="0"/>
            <a:r>
              <a:rPr lang="es-ES"/>
              <a:t>Subtítulo</a:t>
            </a:r>
            <a:endParaRPr lang="en-US"/>
          </a:p>
        </p:txBody>
      </p:sp>
    </p:spTree>
    <p:extLst>
      <p:ext uri="{BB962C8B-B14F-4D97-AF65-F5344CB8AC3E}">
        <p14:creationId xmlns:p14="http://schemas.microsoft.com/office/powerpoint/2010/main" val="2550047050"/>
      </p:ext>
    </p:extLst>
  </p:cSld>
  <p:clrMapOvr>
    <a:masterClrMapping/>
  </p:clrMapOvr>
  <p:transition spd="slow"/>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Organización y Equipo">
    <p:spTree>
      <p:nvGrpSpPr>
        <p:cNvPr id="1" name=""/>
        <p:cNvGrpSpPr/>
        <p:nvPr/>
      </p:nvGrpSpPr>
      <p:grpSpPr>
        <a:xfrm>
          <a:off x="0" y="0"/>
          <a:ext cx="0" cy="0"/>
          <a:chOff x="0" y="0"/>
          <a:chExt cx="0" cy="0"/>
        </a:xfrm>
      </p:grpSpPr>
      <p:sp>
        <p:nvSpPr>
          <p:cNvPr id="23" name="22 Marcador de texto"/>
          <p:cNvSpPr>
            <a:spLocks noGrp="1"/>
          </p:cNvSpPr>
          <p:nvPr>
            <p:ph type="body" sz="quarter" idx="23"/>
          </p:nvPr>
        </p:nvSpPr>
        <p:spPr>
          <a:xfrm>
            <a:off x="423988" y="1320801"/>
            <a:ext cx="11344031" cy="5151940"/>
          </a:xfrm>
        </p:spPr>
        <p:txBody>
          <a:bodyPr>
            <a:noAutofit/>
          </a:bodyPr>
          <a:lstStyle>
            <a:lvl5pPr marL="1057085" indent="-211027">
              <a:defRPr kumimoji="0" lang="es-ES" sz="1354" b="0" i="0" u="none" strike="noStrike" kern="1200" cap="none" spc="0" normalizeH="0" baseline="0" noProof="0" dirty="0" smtClean="0">
                <a:ln>
                  <a:noFill/>
                </a:ln>
                <a:solidFill>
                  <a:srgbClr val="494949"/>
                </a:solidFill>
                <a:effectLst/>
                <a:uLnTx/>
                <a:uFillTx/>
                <a:latin typeface="+mn-lt"/>
                <a:ea typeface="+mn-ea"/>
                <a:cs typeface="+mn-cs"/>
              </a:defRPr>
            </a:lvl5pPr>
            <a:lvl6pPr marL="1193859" indent="0">
              <a:defRPr kumimoji="0" lang="es-ES" sz="1354" b="0" i="0" u="none" strike="noStrike" kern="1200" cap="none" spc="0" normalizeH="0" baseline="0" noProof="0" dirty="0" smtClean="0">
                <a:ln>
                  <a:noFill/>
                </a:ln>
                <a:solidFill>
                  <a:schemeClr val="tx1"/>
                </a:solidFill>
                <a:effectLst/>
                <a:uLnTx/>
                <a:uFillTx/>
                <a:latin typeface="+mn-lt"/>
                <a:ea typeface="+mn-ea"/>
                <a:cs typeface="+mn-cs"/>
              </a:defRPr>
            </a:lvl6pPr>
            <a:lvl7pPr>
              <a:defRPr/>
            </a:lvl7pPr>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a:p>
            <a:pPr marL="1041452" marR="0" lvl="4" indent="-195394" algn="l" defTabSz="1125472" rtl="0" eaLnBrk="1" fontAlgn="auto" latinLnBrk="0" hangingPunct="1">
              <a:lnSpc>
                <a:spcPct val="100000"/>
              </a:lnSpc>
              <a:spcBef>
                <a:spcPts val="0"/>
              </a:spcBef>
              <a:spcAft>
                <a:spcPts val="246"/>
              </a:spcAft>
              <a:buClr>
                <a:schemeClr val="accent1">
                  <a:lumMod val="90000"/>
                </a:schemeClr>
              </a:buClr>
              <a:buSzTx/>
              <a:buFont typeface="Arial" pitchFamily="34" charset="0"/>
              <a:buChar char="•"/>
              <a:tabLst/>
              <a:defRPr/>
            </a:pPr>
            <a:r>
              <a:rPr lang="es-ES" noProof="0"/>
              <a:t>Quinto nivel</a:t>
            </a:r>
          </a:p>
          <a:p>
            <a:pPr marL="1367761" lvl="5" indent="-173901" algn="l" defTabSz="1125472" rtl="0" eaLnBrk="1" latinLnBrk="0" hangingPunct="1">
              <a:spcBef>
                <a:spcPct val="20000"/>
              </a:spcBef>
              <a:buFontTx/>
              <a:buNone/>
              <a:tabLst/>
            </a:pPr>
            <a:r>
              <a:rPr lang="es-ES" noProof="0"/>
              <a:t>- </a:t>
            </a:r>
            <a:r>
              <a:rPr lang="es-ES" noProof="0" err="1"/>
              <a:t>bhhh</a:t>
            </a:r>
            <a:endParaRPr lang="es-ES" noProof="0"/>
          </a:p>
        </p:txBody>
      </p:sp>
      <p:sp>
        <p:nvSpPr>
          <p:cNvPr id="92" name="27 Título"/>
          <p:cNvSpPr>
            <a:spLocks noGrp="1"/>
          </p:cNvSpPr>
          <p:nvPr userDrawn="1">
            <p:ph type="title" hasCustomPrompt="1"/>
          </p:nvPr>
        </p:nvSpPr>
        <p:spPr>
          <a:xfrm>
            <a:off x="1235961" y="334933"/>
            <a:ext cx="8936800" cy="518277"/>
          </a:xfrm>
        </p:spPr>
        <p:txBody>
          <a:bodyPr>
            <a:noAutofit/>
          </a:bodyPr>
          <a:lstStyle>
            <a:lvl1pPr>
              <a:defRPr sz="2462">
                <a:solidFill>
                  <a:schemeClr val="tx1"/>
                </a:solidFill>
              </a:defRPr>
            </a:lvl1pPr>
          </a:lstStyle>
          <a:p>
            <a:r>
              <a:rPr lang="es-ES"/>
              <a:t>Título</a:t>
            </a:r>
            <a:endParaRPr lang="en-US"/>
          </a:p>
        </p:txBody>
      </p:sp>
      <p:sp>
        <p:nvSpPr>
          <p:cNvPr id="7" name="26 Marcador de contenido"/>
          <p:cNvSpPr>
            <a:spLocks noGrp="1"/>
          </p:cNvSpPr>
          <p:nvPr>
            <p:ph sz="quarter" idx="26" hasCustomPrompt="1"/>
          </p:nvPr>
        </p:nvSpPr>
        <p:spPr>
          <a:xfrm>
            <a:off x="1192824" y="863258"/>
            <a:ext cx="8988270" cy="225425"/>
          </a:xfrm>
        </p:spPr>
        <p:txBody>
          <a:bodyPr anchor="ctr">
            <a:noAutofit/>
          </a:bodyPr>
          <a:lstStyle>
            <a:lvl1pPr marL="177239">
              <a:defRPr sz="1231" cap="all" spc="369" baseline="0">
                <a:solidFill>
                  <a:schemeClr val="tx1"/>
                </a:solidFill>
              </a:defRPr>
            </a:lvl1pPr>
            <a:lvl7pPr>
              <a:defRPr>
                <a:solidFill>
                  <a:schemeClr val="tx1">
                    <a:lumMod val="50000"/>
                    <a:lumOff val="50000"/>
                  </a:schemeClr>
                </a:solidFill>
              </a:defRPr>
            </a:lvl7pPr>
          </a:lstStyle>
          <a:p>
            <a:pPr lvl="0"/>
            <a:r>
              <a:rPr lang="es-ES"/>
              <a:t>Subtítulo</a:t>
            </a:r>
            <a:endParaRPr lang="en-US"/>
          </a:p>
        </p:txBody>
      </p:sp>
    </p:spTree>
    <p:extLst>
      <p:ext uri="{BB962C8B-B14F-4D97-AF65-F5344CB8AC3E}">
        <p14:creationId xmlns:p14="http://schemas.microsoft.com/office/powerpoint/2010/main" val="880433744"/>
      </p:ext>
    </p:extLst>
  </p:cSld>
  <p:clrMapOvr>
    <a:masterClrMapping/>
  </p:clrMapOvr>
  <p:transition spd="slow"/>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Oferta Económica">
    <p:spTree>
      <p:nvGrpSpPr>
        <p:cNvPr id="1" name=""/>
        <p:cNvGrpSpPr/>
        <p:nvPr/>
      </p:nvGrpSpPr>
      <p:grpSpPr>
        <a:xfrm>
          <a:off x="0" y="0"/>
          <a:ext cx="0" cy="0"/>
          <a:chOff x="0" y="0"/>
          <a:chExt cx="0" cy="0"/>
        </a:xfrm>
      </p:grpSpPr>
      <p:sp>
        <p:nvSpPr>
          <p:cNvPr id="23" name="22 Marcador de texto"/>
          <p:cNvSpPr>
            <a:spLocks noGrp="1"/>
          </p:cNvSpPr>
          <p:nvPr>
            <p:ph type="body" sz="quarter" idx="23"/>
          </p:nvPr>
        </p:nvSpPr>
        <p:spPr>
          <a:xfrm>
            <a:off x="423988" y="1320801"/>
            <a:ext cx="11344031" cy="5151940"/>
          </a:xfrm>
        </p:spPr>
        <p:txBody>
          <a:bodyPr>
            <a:noAutofit/>
          </a:bodyPr>
          <a:lstStyle>
            <a:lvl5pPr marL="1057085" indent="-211027">
              <a:defRPr kumimoji="0" lang="es-ES" sz="1354" b="0" i="0" u="none" strike="noStrike" kern="1200" cap="none" spc="0" normalizeH="0" baseline="0" noProof="0" dirty="0" smtClean="0">
                <a:ln>
                  <a:noFill/>
                </a:ln>
                <a:solidFill>
                  <a:srgbClr val="494949"/>
                </a:solidFill>
                <a:effectLst/>
                <a:uLnTx/>
                <a:uFillTx/>
                <a:latin typeface="+mn-lt"/>
                <a:ea typeface="+mn-ea"/>
                <a:cs typeface="+mn-cs"/>
              </a:defRPr>
            </a:lvl5pPr>
            <a:lvl6pPr marL="1057085" indent="-211027">
              <a:defRPr/>
            </a:lvl6pPr>
            <a:lvl7pPr>
              <a:defRPr/>
            </a:lvl7pPr>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a:p>
            <a:pPr marL="1041452" marR="0" lvl="4" indent="-195394" algn="l" defTabSz="1125472" rtl="0" eaLnBrk="1" fontAlgn="auto" latinLnBrk="0" hangingPunct="1">
              <a:lnSpc>
                <a:spcPct val="100000"/>
              </a:lnSpc>
              <a:spcBef>
                <a:spcPts val="0"/>
              </a:spcBef>
              <a:spcAft>
                <a:spcPts val="246"/>
              </a:spcAft>
              <a:buClr>
                <a:schemeClr val="accent1">
                  <a:lumMod val="90000"/>
                </a:schemeClr>
              </a:buClr>
              <a:buSzTx/>
              <a:buFont typeface="Arial" pitchFamily="34" charset="0"/>
              <a:buChar char="•"/>
              <a:tabLst/>
              <a:defRPr/>
            </a:pPr>
            <a:r>
              <a:rPr lang="es-ES" noProof="0"/>
              <a:t>Quinto nivel</a:t>
            </a:r>
          </a:p>
          <a:p>
            <a:pPr marL="1041452" marR="0" lvl="4" indent="-195394" algn="l" defTabSz="1125472" rtl="0" eaLnBrk="1" fontAlgn="auto" latinLnBrk="0" hangingPunct="1">
              <a:lnSpc>
                <a:spcPct val="100000"/>
              </a:lnSpc>
              <a:spcBef>
                <a:spcPts val="0"/>
              </a:spcBef>
              <a:spcAft>
                <a:spcPts val="246"/>
              </a:spcAft>
              <a:buClr>
                <a:schemeClr val="accent1">
                  <a:lumMod val="90000"/>
                </a:schemeClr>
              </a:buClr>
              <a:buSzTx/>
              <a:buFont typeface="Arial" pitchFamily="34" charset="0"/>
              <a:buChar char="•"/>
              <a:tabLst/>
              <a:defRPr/>
            </a:pPr>
            <a:r>
              <a:rPr lang="es-ES" noProof="0"/>
              <a:t>- </a:t>
            </a:r>
            <a:r>
              <a:rPr lang="es-ES" noProof="0" err="1"/>
              <a:t>bhhh</a:t>
            </a:r>
            <a:endParaRPr lang="es-ES" noProof="0"/>
          </a:p>
        </p:txBody>
      </p:sp>
      <p:sp>
        <p:nvSpPr>
          <p:cNvPr id="92" name="27 Título"/>
          <p:cNvSpPr>
            <a:spLocks noGrp="1"/>
          </p:cNvSpPr>
          <p:nvPr userDrawn="1">
            <p:ph type="title" hasCustomPrompt="1"/>
          </p:nvPr>
        </p:nvSpPr>
        <p:spPr>
          <a:xfrm>
            <a:off x="1235961" y="334933"/>
            <a:ext cx="8936800" cy="518277"/>
          </a:xfrm>
        </p:spPr>
        <p:txBody>
          <a:bodyPr>
            <a:noAutofit/>
          </a:bodyPr>
          <a:lstStyle>
            <a:lvl1pPr>
              <a:defRPr sz="2462">
                <a:solidFill>
                  <a:schemeClr val="tx1"/>
                </a:solidFill>
              </a:defRPr>
            </a:lvl1pPr>
          </a:lstStyle>
          <a:p>
            <a:r>
              <a:rPr lang="es-ES"/>
              <a:t>Título</a:t>
            </a:r>
            <a:endParaRPr lang="en-US"/>
          </a:p>
        </p:txBody>
      </p:sp>
      <p:sp>
        <p:nvSpPr>
          <p:cNvPr id="7" name="26 Marcador de contenido"/>
          <p:cNvSpPr>
            <a:spLocks noGrp="1"/>
          </p:cNvSpPr>
          <p:nvPr>
            <p:ph sz="quarter" idx="26" hasCustomPrompt="1"/>
          </p:nvPr>
        </p:nvSpPr>
        <p:spPr>
          <a:xfrm>
            <a:off x="1192824" y="863258"/>
            <a:ext cx="8988270" cy="225425"/>
          </a:xfrm>
        </p:spPr>
        <p:txBody>
          <a:bodyPr anchor="ctr">
            <a:noAutofit/>
          </a:bodyPr>
          <a:lstStyle>
            <a:lvl1pPr marL="177239">
              <a:defRPr sz="1231" cap="all" spc="369" baseline="0">
                <a:solidFill>
                  <a:schemeClr val="tx1"/>
                </a:solidFill>
              </a:defRPr>
            </a:lvl1pPr>
            <a:lvl7pPr>
              <a:defRPr>
                <a:solidFill>
                  <a:schemeClr val="tx1">
                    <a:lumMod val="50000"/>
                    <a:lumOff val="50000"/>
                  </a:schemeClr>
                </a:solidFill>
              </a:defRPr>
            </a:lvl7pPr>
          </a:lstStyle>
          <a:p>
            <a:pPr lvl="0"/>
            <a:r>
              <a:rPr lang="es-ES"/>
              <a:t>Subtítulo</a:t>
            </a:r>
            <a:endParaRPr lang="en-US"/>
          </a:p>
        </p:txBody>
      </p:sp>
    </p:spTree>
    <p:extLst>
      <p:ext uri="{BB962C8B-B14F-4D97-AF65-F5344CB8AC3E}">
        <p14:creationId xmlns:p14="http://schemas.microsoft.com/office/powerpoint/2010/main" val="3369656727"/>
      </p:ext>
    </p:extLst>
  </p:cSld>
  <p:clrMapOvr>
    <a:masterClrMapping/>
  </p:clrMapOvr>
  <p:transition spd="slow"/>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principal">
    <p:spTree>
      <p:nvGrpSpPr>
        <p:cNvPr id="1" name=""/>
        <p:cNvGrpSpPr/>
        <p:nvPr/>
      </p:nvGrpSpPr>
      <p:grpSpPr>
        <a:xfrm>
          <a:off x="0" y="0"/>
          <a:ext cx="0" cy="0"/>
          <a:chOff x="0" y="0"/>
          <a:chExt cx="0" cy="0"/>
        </a:xfrm>
      </p:grpSpPr>
      <p:sp>
        <p:nvSpPr>
          <p:cNvPr id="30" name="29 Rectángulo"/>
          <p:cNvSpPr/>
          <p:nvPr userDrawn="1"/>
        </p:nvSpPr>
        <p:spPr bwMode="auto">
          <a:xfrm>
            <a:off x="0" y="0"/>
            <a:ext cx="12192000" cy="6858000"/>
          </a:xfrm>
          <a:prstGeom prst="rect">
            <a:avLst/>
          </a:prstGeom>
          <a:solidFill>
            <a:schemeClr val="bg1"/>
          </a:solidFill>
          <a:ln w="9525">
            <a:noFill/>
            <a:round/>
            <a:headEnd/>
            <a:tailEnd/>
          </a:ln>
        </p:spPr>
        <p:txBody>
          <a:bodyPr vert="horz" wrap="square" lIns="112542" tIns="56271" rIns="112542" bIns="56271" numCol="1" rtlCol="0" anchor="t" anchorCtr="0" compatLnSpc="1">
            <a:prstTxWarp prst="textNoShape">
              <a:avLst/>
            </a:prstTxWarp>
          </a:bodyPr>
          <a:lstStyle/>
          <a:p>
            <a:pPr algn="ctr"/>
            <a:endParaRPr lang="en-US" sz="2215"/>
          </a:p>
        </p:txBody>
      </p:sp>
    </p:spTree>
    <p:extLst>
      <p:ext uri="{BB962C8B-B14F-4D97-AF65-F5344CB8AC3E}">
        <p14:creationId xmlns:p14="http://schemas.microsoft.com/office/powerpoint/2010/main" val="3881058093"/>
      </p:ext>
    </p:extLst>
  </p:cSld>
  <p:clrMapOvr>
    <a:masterClrMapping/>
  </p:clrMapOvr>
  <p:transition spd="slow"/>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Portadilla apart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2939781"/>
      </p:ext>
    </p:extLst>
  </p:cSld>
  <p:clrMapOvr>
    <a:masterClrMapping/>
  </p:clrMapOvr>
  <p:extLst>
    <p:ext uri="{DCECCB84-F9BA-43D5-87BE-67443E8EF086}">
      <p15:sldGuideLst xmlns:p15="http://schemas.microsoft.com/office/powerpoint/2012/main">
        <p15:guide id="1" orient="horz" pos="2160">
          <p15:clr>
            <a:srgbClr val="FBAE40"/>
          </p15:clr>
        </p15:guide>
        <p15:guide id="2" pos="4726">
          <p15:clr>
            <a:srgbClr val="FBAE40"/>
          </p15:clr>
        </p15:guide>
        <p15:guide id="3" pos="1388">
          <p15:clr>
            <a:srgbClr val="FBAE40"/>
          </p15:clr>
        </p15:guide>
        <p15:guide id="4" pos="8064">
          <p15:clr>
            <a:srgbClr val="FBAE40"/>
          </p15:clr>
        </p15:guide>
        <p15:guide id="5" orient="horz" pos="480">
          <p15:clr>
            <a:srgbClr val="FBAE40"/>
          </p15:clr>
        </p15:guide>
        <p15:guide id="6" orient="horz"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6" name="Picture Placeholder 5"/>
          <p:cNvSpPr>
            <a:spLocks noGrp="1"/>
          </p:cNvSpPr>
          <p:nvPr>
            <p:ph type="pic" sz="quarter" idx="13" hasCustomPrompt="1"/>
          </p:nvPr>
        </p:nvSpPr>
        <p:spPr>
          <a:xfrm>
            <a:off x="0" y="0"/>
            <a:ext cx="12192000" cy="6858000"/>
          </a:xfrm>
          <a:prstGeom prst="rect">
            <a:avLst/>
          </a:prstGeom>
          <a:pattFill prst="pct10">
            <a:fgClr>
              <a:schemeClr val="tx1"/>
            </a:fgClr>
            <a:bgClr>
              <a:schemeClr val="bg1"/>
            </a:bgClr>
          </a:pattFill>
        </p:spPr>
        <p:txBody>
          <a:bodyPr wrap="square" anchor="ctr">
            <a:noAutofit/>
          </a:bodyPr>
          <a:lstStyle>
            <a:lvl1pPr algn="ctr">
              <a:defRPr sz="1600" b="0" i="0">
                <a:latin typeface="Arial Normal" charset="0"/>
                <a:ea typeface="Arial Normal" charset="0"/>
                <a:cs typeface="Arial Normal" charset="0"/>
              </a:defRPr>
            </a:lvl1pPr>
          </a:lstStyle>
          <a:p>
            <a:r>
              <a:rPr lang="en-US"/>
              <a:t>Insert Image</a:t>
            </a:r>
          </a:p>
        </p:txBody>
      </p:sp>
    </p:spTree>
    <p:extLst>
      <p:ext uri="{BB962C8B-B14F-4D97-AF65-F5344CB8AC3E}">
        <p14:creationId xmlns:p14="http://schemas.microsoft.com/office/powerpoint/2010/main" val="12547750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A039635E-60D6-42E2-8E4E-AE4AE9B594FA}"/>
              </a:ext>
            </a:extLst>
          </p:cNvPr>
          <p:cNvPicPr>
            <a:picLocks noChangeAspect="1"/>
          </p:cNvPicPr>
          <p:nvPr userDrawn="1"/>
        </p:nvPicPr>
        <p:blipFill>
          <a:blip r:embed="rId2"/>
          <a:stretch>
            <a:fillRect/>
          </a:stretch>
        </p:blipFill>
        <p:spPr>
          <a:xfrm>
            <a:off x="10604816" y="256394"/>
            <a:ext cx="1135722" cy="257730"/>
          </a:xfrm>
          <a:prstGeom prst="rect">
            <a:avLst/>
          </a:prstGeom>
        </p:spPr>
      </p:pic>
    </p:spTree>
    <p:extLst>
      <p:ext uri="{BB962C8B-B14F-4D97-AF65-F5344CB8AC3E}">
        <p14:creationId xmlns:p14="http://schemas.microsoft.com/office/powerpoint/2010/main" val="32404730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radecimiento">
    <p:spTree>
      <p:nvGrpSpPr>
        <p:cNvPr id="1" name=""/>
        <p:cNvGrpSpPr/>
        <p:nvPr/>
      </p:nvGrpSpPr>
      <p:grpSpPr>
        <a:xfrm>
          <a:off x="0" y="0"/>
          <a:ext cx="0" cy="0"/>
          <a:chOff x="0" y="0"/>
          <a:chExt cx="0" cy="0"/>
        </a:xfrm>
      </p:grpSpPr>
      <p:sp>
        <p:nvSpPr>
          <p:cNvPr id="23" name="22 Marcador de texto"/>
          <p:cNvSpPr>
            <a:spLocks noGrp="1"/>
          </p:cNvSpPr>
          <p:nvPr>
            <p:ph type="body" sz="quarter" idx="23"/>
          </p:nvPr>
        </p:nvSpPr>
        <p:spPr>
          <a:xfrm>
            <a:off x="423988" y="1320801"/>
            <a:ext cx="11344031" cy="5151940"/>
          </a:xfrm>
        </p:spPr>
        <p:txBody>
          <a:bodyPr>
            <a:noAutofit/>
          </a:bodyPr>
          <a:lstStyle>
            <a:lvl5pPr marL="1041452" indent="-195394">
              <a:buClr>
                <a:schemeClr val="accent1">
                  <a:lumMod val="90000"/>
                </a:schemeClr>
              </a:buClr>
              <a:tabLst/>
              <a:defRPr/>
            </a:lvl5pPr>
            <a:lvl6pPr marL="1367761" indent="-173901">
              <a:tabLst/>
              <a:defRPr/>
            </a:lvl6pPr>
            <a:lvl7pPr>
              <a:defRPr/>
            </a:lvl7pPr>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a:p>
            <a:pPr lvl="4"/>
            <a:r>
              <a:rPr lang="es-ES" noProof="0"/>
              <a:t>Quinto nivel</a:t>
            </a:r>
          </a:p>
          <a:p>
            <a:pPr lvl="5"/>
            <a:r>
              <a:rPr lang="es-ES" noProof="0"/>
              <a:t>- </a:t>
            </a:r>
            <a:r>
              <a:rPr lang="es-ES" noProof="0" err="1"/>
              <a:t>bhhh</a:t>
            </a:r>
            <a:endParaRPr lang="es-ES" noProof="0"/>
          </a:p>
        </p:txBody>
      </p:sp>
      <p:sp>
        <p:nvSpPr>
          <p:cNvPr id="92" name="27 Título"/>
          <p:cNvSpPr>
            <a:spLocks noGrp="1"/>
          </p:cNvSpPr>
          <p:nvPr userDrawn="1">
            <p:ph type="title" hasCustomPrompt="1"/>
          </p:nvPr>
        </p:nvSpPr>
        <p:spPr>
          <a:xfrm>
            <a:off x="1235961" y="334933"/>
            <a:ext cx="8936800" cy="518277"/>
          </a:xfrm>
        </p:spPr>
        <p:txBody>
          <a:bodyPr>
            <a:noAutofit/>
          </a:bodyPr>
          <a:lstStyle>
            <a:lvl1pPr>
              <a:defRPr sz="2462">
                <a:solidFill>
                  <a:schemeClr val="tx1"/>
                </a:solidFill>
              </a:defRPr>
            </a:lvl1pPr>
          </a:lstStyle>
          <a:p>
            <a:r>
              <a:rPr lang="es-ES"/>
              <a:t>Título</a:t>
            </a:r>
            <a:endParaRPr lang="en-US"/>
          </a:p>
        </p:txBody>
      </p:sp>
    </p:spTree>
    <p:extLst>
      <p:ext uri="{BB962C8B-B14F-4D97-AF65-F5344CB8AC3E}">
        <p14:creationId xmlns:p14="http://schemas.microsoft.com/office/powerpoint/2010/main" val="3885183074"/>
      </p:ext>
    </p:extLst>
  </p:cSld>
  <p:clrMapOvr>
    <a:masterClrMapping/>
  </p:clrMapOvr>
  <p:transition spd="slow"/>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ntroducción">
    <p:spTree>
      <p:nvGrpSpPr>
        <p:cNvPr id="1" name=""/>
        <p:cNvGrpSpPr/>
        <p:nvPr/>
      </p:nvGrpSpPr>
      <p:grpSpPr>
        <a:xfrm>
          <a:off x="0" y="0"/>
          <a:ext cx="0" cy="0"/>
          <a:chOff x="0" y="0"/>
          <a:chExt cx="0" cy="0"/>
        </a:xfrm>
      </p:grpSpPr>
      <p:sp>
        <p:nvSpPr>
          <p:cNvPr id="23" name="22 Marcador de texto"/>
          <p:cNvSpPr>
            <a:spLocks noGrp="1"/>
          </p:cNvSpPr>
          <p:nvPr>
            <p:ph type="body" sz="quarter" idx="23" hasCustomPrompt="1"/>
          </p:nvPr>
        </p:nvSpPr>
        <p:spPr>
          <a:xfrm>
            <a:off x="423988" y="1320801"/>
            <a:ext cx="11344031" cy="5151940"/>
          </a:xfrm>
        </p:spPr>
        <p:txBody>
          <a:bodyPr>
            <a:noAutofit/>
          </a:bodyPr>
          <a:lstStyle>
            <a:lvl4pPr marL="769854" marR="0" indent="-177810" algn="l" defTabSz="1125472" rtl="0" eaLnBrk="1" fontAlgn="auto" latinLnBrk="0" hangingPunct="1">
              <a:lnSpc>
                <a:spcPct val="100000"/>
              </a:lnSpc>
              <a:spcBef>
                <a:spcPts val="0"/>
              </a:spcBef>
              <a:spcAft>
                <a:spcPts val="246"/>
              </a:spcAft>
              <a:buClr>
                <a:srgbClr val="494949"/>
              </a:buClr>
              <a:buSzTx/>
              <a:buFont typeface="Arial" pitchFamily="34" charset="0"/>
              <a:buChar char="•"/>
              <a:tabLst/>
              <a:defRPr/>
            </a:lvl4pPr>
            <a:lvl5pPr marL="1057085" marR="0" indent="-211027" algn="l" defTabSz="1125472" rtl="0" eaLnBrk="1" fontAlgn="auto" latinLnBrk="0" hangingPunct="1">
              <a:lnSpc>
                <a:spcPct val="100000"/>
              </a:lnSpc>
              <a:spcBef>
                <a:spcPts val="0"/>
              </a:spcBef>
              <a:spcAft>
                <a:spcPts val="246"/>
              </a:spcAft>
              <a:buClr>
                <a:srgbClr val="FF9900"/>
              </a:buClr>
              <a:buSzTx/>
              <a:buFont typeface="Arial" pitchFamily="34" charset="0"/>
              <a:buChar char="•"/>
              <a:tabLst/>
              <a:defRPr kumimoji="0" lang="es-ES" sz="1354" b="0" i="0" u="none" strike="noStrike" kern="1200" cap="none" spc="0" normalizeH="0" baseline="0" noProof="0" dirty="0" smtClean="0">
                <a:ln>
                  <a:noFill/>
                </a:ln>
                <a:solidFill>
                  <a:schemeClr val="tx1"/>
                </a:solidFill>
                <a:effectLst/>
                <a:uLnTx/>
                <a:uFillTx/>
                <a:latin typeface="+mn-lt"/>
                <a:ea typeface="+mn-ea"/>
                <a:cs typeface="+mn-cs"/>
              </a:defRPr>
            </a:lvl5pPr>
            <a:lvl6pPr marL="1193859" marR="0" indent="0" algn="l" defTabSz="1125472" rtl="0" eaLnBrk="1" fontAlgn="auto" latinLnBrk="0" hangingPunct="1">
              <a:lnSpc>
                <a:spcPct val="100000"/>
              </a:lnSpc>
              <a:spcBef>
                <a:spcPct val="20000"/>
              </a:spcBef>
              <a:spcAft>
                <a:spcPts val="0"/>
              </a:spcAft>
              <a:buClrTx/>
              <a:buSzTx/>
              <a:buFontTx/>
              <a:buNone/>
              <a:tabLst/>
              <a:defRPr kumimoji="0" lang="es-ES" sz="1354" b="0" i="0" u="none" strike="noStrike" kern="1200" cap="none" spc="0" normalizeH="0" baseline="0" noProof="0" dirty="0" smtClean="0">
                <a:ln>
                  <a:noFill/>
                </a:ln>
                <a:solidFill>
                  <a:schemeClr val="tx1"/>
                </a:solidFill>
                <a:effectLst/>
                <a:uLnTx/>
                <a:uFillTx/>
                <a:latin typeface="+mn-lt"/>
                <a:ea typeface="+mn-ea"/>
                <a:cs typeface="+mn-cs"/>
              </a:defRPr>
            </a:lvl6pPr>
            <a:lvl7pPr>
              <a:defRPr/>
            </a:lvl7pPr>
          </a:lstStyle>
          <a:p>
            <a:pPr lvl="0"/>
            <a:r>
              <a:rPr lang="es-ES" noProof="0"/>
              <a:t>Haga clic para modificar el estilo de texto del patrón</a:t>
            </a:r>
          </a:p>
          <a:p>
            <a:pPr lvl="1"/>
            <a:r>
              <a:rPr lang="es-ES" noProof="0"/>
              <a:t>Segundo nivel</a:t>
            </a:r>
          </a:p>
          <a:p>
            <a:pPr lvl="2"/>
            <a:r>
              <a:rPr lang="es-ES" noProof="0"/>
              <a:t>Tercer nivel</a:t>
            </a:r>
          </a:p>
          <a:p>
            <a:pPr marL="769854" marR="0" lvl="3" indent="-177810" algn="l" defTabSz="1125472" rtl="0" eaLnBrk="1" fontAlgn="auto" latinLnBrk="0" hangingPunct="1">
              <a:lnSpc>
                <a:spcPct val="100000"/>
              </a:lnSpc>
              <a:spcBef>
                <a:spcPts val="0"/>
              </a:spcBef>
              <a:spcAft>
                <a:spcPts val="246"/>
              </a:spcAft>
              <a:buClr>
                <a:srgbClr val="494949"/>
              </a:buClr>
              <a:buSzTx/>
              <a:buFont typeface="Arial" pitchFamily="34" charset="0"/>
              <a:buChar char="•"/>
              <a:tabLst/>
              <a:defRPr/>
            </a:pPr>
            <a:r>
              <a:rPr lang="es-ES" noProof="0"/>
              <a:t>Cuarto nivel</a:t>
            </a:r>
            <a:endParaRPr kumimoji="0" lang="es-ES" sz="1354" b="0" i="0" u="none" strike="noStrike" kern="1200" cap="none" spc="0" normalizeH="0" baseline="0" noProof="0">
              <a:ln>
                <a:noFill/>
              </a:ln>
              <a:solidFill>
                <a:srgbClr val="494949"/>
              </a:solidFill>
              <a:effectLst/>
              <a:uLnTx/>
              <a:uFillTx/>
              <a:latin typeface="+mn-lt"/>
              <a:ea typeface="+mn-ea"/>
              <a:cs typeface="+mn-cs"/>
            </a:endParaRPr>
          </a:p>
          <a:p>
            <a:pPr marL="1041452" marR="0" lvl="4" indent="-195394" algn="l" defTabSz="1125472" rtl="0" eaLnBrk="1" fontAlgn="auto" latinLnBrk="0" hangingPunct="1">
              <a:lnSpc>
                <a:spcPct val="100000"/>
              </a:lnSpc>
              <a:spcBef>
                <a:spcPts val="0"/>
              </a:spcBef>
              <a:spcAft>
                <a:spcPts val="246"/>
              </a:spcAft>
              <a:buClr>
                <a:schemeClr val="accent1">
                  <a:lumMod val="90000"/>
                </a:schemeClr>
              </a:buClr>
              <a:buSzTx/>
              <a:buFont typeface="Arial" pitchFamily="34" charset="0"/>
              <a:buChar char="•"/>
              <a:tabLst/>
              <a:defRPr/>
            </a:pPr>
            <a:r>
              <a:rPr kumimoji="0" lang="es-ES" sz="1354" b="0" i="0" u="none" strike="noStrike" kern="1200" cap="none" spc="0" normalizeH="0" baseline="0" noProof="0">
                <a:ln>
                  <a:noFill/>
                </a:ln>
                <a:solidFill>
                  <a:srgbClr val="494949"/>
                </a:solidFill>
                <a:effectLst/>
                <a:uLnTx/>
                <a:uFillTx/>
                <a:latin typeface="+mn-lt"/>
                <a:ea typeface="+mn-ea"/>
                <a:cs typeface="+mn-cs"/>
              </a:rPr>
              <a:t>Quinto nivel</a:t>
            </a:r>
          </a:p>
          <a:p>
            <a:pPr marL="1367761" marR="0" lvl="5" indent="-173901" algn="l" defTabSz="1125472" rtl="0" eaLnBrk="1" fontAlgn="auto" latinLnBrk="0" hangingPunct="1">
              <a:lnSpc>
                <a:spcPct val="100000"/>
              </a:lnSpc>
              <a:spcBef>
                <a:spcPct val="20000"/>
              </a:spcBef>
              <a:spcAft>
                <a:spcPts val="0"/>
              </a:spcAft>
              <a:buClrTx/>
              <a:buSzTx/>
              <a:buFontTx/>
              <a:buNone/>
              <a:tabLst/>
              <a:defRPr/>
            </a:pPr>
            <a:r>
              <a:rPr kumimoji="0" lang="es-ES" sz="1354" b="0" i="0" u="none" strike="noStrike" kern="1200" cap="none" spc="0" normalizeH="0" baseline="0" noProof="0">
                <a:ln>
                  <a:noFill/>
                </a:ln>
                <a:solidFill>
                  <a:srgbClr val="494949"/>
                </a:solidFill>
                <a:effectLst/>
                <a:uLnTx/>
                <a:uFillTx/>
                <a:latin typeface="+mn-lt"/>
                <a:ea typeface="+mn-ea"/>
                <a:cs typeface="+mn-cs"/>
              </a:rPr>
              <a:t>- </a:t>
            </a:r>
            <a:r>
              <a:rPr kumimoji="0" lang="es-ES" sz="1354" b="0" i="0" u="none" strike="noStrike" kern="1200" cap="none" spc="0" normalizeH="0" baseline="0" noProof="0" err="1">
                <a:ln>
                  <a:noFill/>
                </a:ln>
                <a:solidFill>
                  <a:srgbClr val="494949"/>
                </a:solidFill>
                <a:effectLst/>
                <a:uLnTx/>
                <a:uFillTx/>
                <a:latin typeface="+mn-lt"/>
                <a:ea typeface="+mn-ea"/>
                <a:cs typeface="+mn-cs"/>
              </a:rPr>
              <a:t>bhhh</a:t>
            </a:r>
            <a:endParaRPr kumimoji="0" lang="es-ES" sz="1354" b="0" i="0" u="none" strike="noStrike" kern="1200" cap="none" spc="0" normalizeH="0" baseline="0" noProof="0">
              <a:ln>
                <a:noFill/>
              </a:ln>
              <a:solidFill>
                <a:srgbClr val="494949"/>
              </a:solidFill>
              <a:effectLst/>
              <a:uLnTx/>
              <a:uFillTx/>
              <a:latin typeface="+mn-lt"/>
              <a:ea typeface="+mn-ea"/>
              <a:cs typeface="+mn-cs"/>
            </a:endParaRPr>
          </a:p>
        </p:txBody>
      </p:sp>
      <p:sp>
        <p:nvSpPr>
          <p:cNvPr id="92" name="27 Título"/>
          <p:cNvSpPr>
            <a:spLocks noGrp="1"/>
          </p:cNvSpPr>
          <p:nvPr userDrawn="1">
            <p:ph type="title" hasCustomPrompt="1"/>
          </p:nvPr>
        </p:nvSpPr>
        <p:spPr>
          <a:xfrm>
            <a:off x="1235961" y="334933"/>
            <a:ext cx="8936800" cy="518277"/>
          </a:xfrm>
        </p:spPr>
        <p:txBody>
          <a:bodyPr>
            <a:noAutofit/>
          </a:bodyPr>
          <a:lstStyle>
            <a:lvl1pPr>
              <a:defRPr sz="2462">
                <a:solidFill>
                  <a:schemeClr val="tx1"/>
                </a:solidFill>
              </a:defRPr>
            </a:lvl1pPr>
          </a:lstStyle>
          <a:p>
            <a:r>
              <a:rPr lang="es-ES"/>
              <a:t>Título</a:t>
            </a:r>
            <a:endParaRPr lang="en-US"/>
          </a:p>
        </p:txBody>
      </p:sp>
      <p:sp>
        <p:nvSpPr>
          <p:cNvPr id="7" name="26 Marcador de contenido"/>
          <p:cNvSpPr>
            <a:spLocks noGrp="1"/>
          </p:cNvSpPr>
          <p:nvPr>
            <p:ph sz="quarter" idx="26" hasCustomPrompt="1"/>
          </p:nvPr>
        </p:nvSpPr>
        <p:spPr>
          <a:xfrm>
            <a:off x="1192824" y="863258"/>
            <a:ext cx="8988270" cy="225425"/>
          </a:xfrm>
        </p:spPr>
        <p:txBody>
          <a:bodyPr anchor="ctr">
            <a:noAutofit/>
          </a:bodyPr>
          <a:lstStyle>
            <a:lvl1pPr marL="177239">
              <a:defRPr sz="1231" cap="all" spc="369" baseline="0">
                <a:solidFill>
                  <a:schemeClr val="tx1"/>
                </a:solidFill>
              </a:defRPr>
            </a:lvl1pPr>
            <a:lvl7pPr>
              <a:defRPr>
                <a:solidFill>
                  <a:schemeClr val="tx1">
                    <a:lumMod val="50000"/>
                    <a:lumOff val="50000"/>
                  </a:schemeClr>
                </a:solidFill>
              </a:defRPr>
            </a:lvl7pPr>
          </a:lstStyle>
          <a:p>
            <a:pPr lvl="0"/>
            <a:r>
              <a:rPr lang="es-ES"/>
              <a:t>Subtítulo</a:t>
            </a:r>
            <a:endParaRPr lang="en-US"/>
          </a:p>
        </p:txBody>
      </p:sp>
    </p:spTree>
    <p:extLst>
      <p:ext uri="{BB962C8B-B14F-4D97-AF65-F5344CB8AC3E}">
        <p14:creationId xmlns:p14="http://schemas.microsoft.com/office/powerpoint/2010/main" val="4056096824"/>
      </p:ext>
    </p:extLst>
  </p:cSld>
  <p:clrMapOvr>
    <a:masterClrMapping/>
  </p:clrMapOvr>
  <p:transition spd="slow"/>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ntroducción-Valor">
    <p:spTree>
      <p:nvGrpSpPr>
        <p:cNvPr id="1" name=""/>
        <p:cNvGrpSpPr/>
        <p:nvPr/>
      </p:nvGrpSpPr>
      <p:grpSpPr>
        <a:xfrm>
          <a:off x="0" y="0"/>
          <a:ext cx="0" cy="0"/>
          <a:chOff x="0" y="0"/>
          <a:chExt cx="0" cy="0"/>
        </a:xfrm>
      </p:grpSpPr>
      <p:sp>
        <p:nvSpPr>
          <p:cNvPr id="23" name="22 Marcador de texto"/>
          <p:cNvSpPr>
            <a:spLocks noGrp="1"/>
          </p:cNvSpPr>
          <p:nvPr>
            <p:ph type="body" sz="quarter" idx="23"/>
          </p:nvPr>
        </p:nvSpPr>
        <p:spPr>
          <a:xfrm>
            <a:off x="423988" y="1320801"/>
            <a:ext cx="11344031" cy="5151940"/>
          </a:xfrm>
        </p:spPr>
        <p:txBody>
          <a:bodyPr>
            <a:noAutofit/>
          </a:bodyPr>
          <a:lstStyle>
            <a:lvl5pPr marL="1193859" indent="0">
              <a:defRPr kumimoji="0" lang="es-ES" sz="1354" b="0" i="0" u="none" strike="noStrike" kern="1200" cap="none" spc="0" normalizeH="0" baseline="0" noProof="0" dirty="0" smtClean="0">
                <a:ln>
                  <a:noFill/>
                </a:ln>
                <a:solidFill>
                  <a:srgbClr val="494949"/>
                </a:solidFill>
                <a:effectLst/>
                <a:uLnTx/>
                <a:uFillTx/>
                <a:latin typeface="+mn-lt"/>
                <a:ea typeface="+mn-ea"/>
                <a:cs typeface="+mn-cs"/>
              </a:defRPr>
            </a:lvl5pPr>
            <a:lvl6pPr marL="1057085" indent="-211027">
              <a:defRPr kumimoji="0" lang="es-ES" sz="1354" b="0" i="0" u="none" strike="noStrike" kern="1200" cap="none" spc="0" normalizeH="0" baseline="0" noProof="0" dirty="0" smtClean="0">
                <a:ln>
                  <a:noFill/>
                </a:ln>
                <a:solidFill>
                  <a:schemeClr val="tx1"/>
                </a:solidFill>
                <a:effectLst/>
                <a:uLnTx/>
                <a:uFillTx/>
                <a:latin typeface="+mn-lt"/>
                <a:ea typeface="+mn-ea"/>
                <a:cs typeface="+mn-cs"/>
              </a:defRPr>
            </a:lvl6pPr>
            <a:lvl7pPr>
              <a:defRPr/>
            </a:lvl7pPr>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a:p>
            <a:pPr marL="1041452" marR="0" lvl="4" indent="-195394" algn="l" defTabSz="1125472" rtl="0" eaLnBrk="1" fontAlgn="auto" latinLnBrk="0" hangingPunct="1">
              <a:lnSpc>
                <a:spcPct val="100000"/>
              </a:lnSpc>
              <a:spcBef>
                <a:spcPts val="0"/>
              </a:spcBef>
              <a:spcAft>
                <a:spcPts val="246"/>
              </a:spcAft>
              <a:buClr>
                <a:schemeClr val="accent1">
                  <a:lumMod val="90000"/>
                </a:schemeClr>
              </a:buClr>
              <a:buSzTx/>
              <a:buFont typeface="Arial" pitchFamily="34" charset="0"/>
              <a:buChar char="•"/>
              <a:tabLst/>
              <a:defRPr/>
            </a:pPr>
            <a:r>
              <a:rPr lang="es-ES" noProof="0"/>
              <a:t>Quinto nivel</a:t>
            </a:r>
          </a:p>
          <a:p>
            <a:pPr marL="1367761" marR="0" lvl="5" indent="-173901" algn="l" defTabSz="1125472" rtl="0" eaLnBrk="1" fontAlgn="auto" latinLnBrk="0" hangingPunct="1">
              <a:lnSpc>
                <a:spcPct val="100000"/>
              </a:lnSpc>
              <a:spcBef>
                <a:spcPct val="20000"/>
              </a:spcBef>
              <a:spcAft>
                <a:spcPts val="246"/>
              </a:spcAft>
              <a:buClr>
                <a:schemeClr val="accent1">
                  <a:lumMod val="90000"/>
                </a:schemeClr>
              </a:buClr>
              <a:buSzTx/>
              <a:buFontTx/>
              <a:buNone/>
              <a:tabLst/>
              <a:defRPr/>
            </a:pPr>
            <a:r>
              <a:rPr lang="es-ES" noProof="0"/>
              <a:t>- </a:t>
            </a:r>
            <a:r>
              <a:rPr lang="es-ES" noProof="0" err="1"/>
              <a:t>bhhh</a:t>
            </a:r>
            <a:endParaRPr lang="es-ES" noProof="0"/>
          </a:p>
        </p:txBody>
      </p:sp>
      <p:sp>
        <p:nvSpPr>
          <p:cNvPr id="92" name="27 Título"/>
          <p:cNvSpPr>
            <a:spLocks noGrp="1"/>
          </p:cNvSpPr>
          <p:nvPr userDrawn="1">
            <p:ph type="title" hasCustomPrompt="1"/>
          </p:nvPr>
        </p:nvSpPr>
        <p:spPr>
          <a:xfrm>
            <a:off x="1235961" y="334933"/>
            <a:ext cx="8936800" cy="518277"/>
          </a:xfrm>
        </p:spPr>
        <p:txBody>
          <a:bodyPr>
            <a:noAutofit/>
          </a:bodyPr>
          <a:lstStyle>
            <a:lvl1pPr>
              <a:defRPr sz="2462">
                <a:solidFill>
                  <a:schemeClr val="tx1"/>
                </a:solidFill>
              </a:defRPr>
            </a:lvl1pPr>
          </a:lstStyle>
          <a:p>
            <a:r>
              <a:rPr lang="es-ES"/>
              <a:t>Título</a:t>
            </a:r>
            <a:endParaRPr lang="en-US"/>
          </a:p>
        </p:txBody>
      </p:sp>
      <p:sp>
        <p:nvSpPr>
          <p:cNvPr id="7" name="26 Marcador de contenido"/>
          <p:cNvSpPr>
            <a:spLocks noGrp="1"/>
          </p:cNvSpPr>
          <p:nvPr>
            <p:ph sz="quarter" idx="26" hasCustomPrompt="1"/>
          </p:nvPr>
        </p:nvSpPr>
        <p:spPr>
          <a:xfrm>
            <a:off x="1192824" y="863258"/>
            <a:ext cx="8988270" cy="225425"/>
          </a:xfrm>
        </p:spPr>
        <p:txBody>
          <a:bodyPr anchor="ctr">
            <a:noAutofit/>
          </a:bodyPr>
          <a:lstStyle>
            <a:lvl1pPr marL="177239">
              <a:defRPr sz="1231" cap="all" spc="369" baseline="0">
                <a:solidFill>
                  <a:schemeClr val="tx1"/>
                </a:solidFill>
              </a:defRPr>
            </a:lvl1pPr>
            <a:lvl7pPr>
              <a:defRPr>
                <a:solidFill>
                  <a:schemeClr val="tx1">
                    <a:lumMod val="50000"/>
                    <a:lumOff val="50000"/>
                  </a:schemeClr>
                </a:solidFill>
              </a:defRPr>
            </a:lvl7pPr>
          </a:lstStyle>
          <a:p>
            <a:pPr lvl="0"/>
            <a:r>
              <a:rPr lang="es-ES"/>
              <a:t>Subtítulo</a:t>
            </a:r>
            <a:endParaRPr lang="en-US"/>
          </a:p>
        </p:txBody>
      </p:sp>
    </p:spTree>
    <p:extLst>
      <p:ext uri="{BB962C8B-B14F-4D97-AF65-F5344CB8AC3E}">
        <p14:creationId xmlns:p14="http://schemas.microsoft.com/office/powerpoint/2010/main" val="1608107534"/>
      </p:ext>
    </p:extLst>
  </p:cSld>
  <p:clrMapOvr>
    <a:masterClrMapping/>
  </p:clrMapOvr>
  <p:transition spd="slow"/>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ntroducción-Referencias">
    <p:spTree>
      <p:nvGrpSpPr>
        <p:cNvPr id="1" name=""/>
        <p:cNvGrpSpPr/>
        <p:nvPr/>
      </p:nvGrpSpPr>
      <p:grpSpPr>
        <a:xfrm>
          <a:off x="0" y="0"/>
          <a:ext cx="0" cy="0"/>
          <a:chOff x="0" y="0"/>
          <a:chExt cx="0" cy="0"/>
        </a:xfrm>
      </p:grpSpPr>
      <p:sp>
        <p:nvSpPr>
          <p:cNvPr id="92" name="27 Título"/>
          <p:cNvSpPr>
            <a:spLocks noGrp="1"/>
          </p:cNvSpPr>
          <p:nvPr userDrawn="1">
            <p:ph type="title" hasCustomPrompt="1"/>
          </p:nvPr>
        </p:nvSpPr>
        <p:spPr>
          <a:xfrm>
            <a:off x="1235961" y="334933"/>
            <a:ext cx="8936800" cy="518277"/>
          </a:xfrm>
        </p:spPr>
        <p:txBody>
          <a:bodyPr>
            <a:noAutofit/>
          </a:bodyPr>
          <a:lstStyle>
            <a:lvl1pPr>
              <a:defRPr sz="2462">
                <a:solidFill>
                  <a:schemeClr val="tx1"/>
                </a:solidFill>
              </a:defRPr>
            </a:lvl1pPr>
          </a:lstStyle>
          <a:p>
            <a:r>
              <a:rPr lang="es-ES"/>
              <a:t>Título</a:t>
            </a:r>
            <a:endParaRPr lang="en-US"/>
          </a:p>
        </p:txBody>
      </p:sp>
      <p:sp>
        <p:nvSpPr>
          <p:cNvPr id="7" name="26 Marcador de contenido"/>
          <p:cNvSpPr>
            <a:spLocks noGrp="1"/>
          </p:cNvSpPr>
          <p:nvPr>
            <p:ph sz="quarter" idx="26" hasCustomPrompt="1"/>
          </p:nvPr>
        </p:nvSpPr>
        <p:spPr>
          <a:xfrm>
            <a:off x="1192824" y="863258"/>
            <a:ext cx="8988270" cy="225425"/>
          </a:xfrm>
        </p:spPr>
        <p:txBody>
          <a:bodyPr anchor="ctr">
            <a:noAutofit/>
          </a:bodyPr>
          <a:lstStyle>
            <a:lvl1pPr marL="177239">
              <a:defRPr sz="1231" cap="all" spc="369" baseline="0">
                <a:solidFill>
                  <a:schemeClr val="tx1"/>
                </a:solidFill>
              </a:defRPr>
            </a:lvl1pPr>
            <a:lvl7pPr>
              <a:defRPr>
                <a:solidFill>
                  <a:schemeClr val="tx1">
                    <a:lumMod val="50000"/>
                    <a:lumOff val="50000"/>
                  </a:schemeClr>
                </a:solidFill>
              </a:defRPr>
            </a:lvl7pPr>
          </a:lstStyle>
          <a:p>
            <a:pPr lvl="0"/>
            <a:r>
              <a:rPr lang="es-ES"/>
              <a:t>Subtítulo</a:t>
            </a:r>
            <a:endParaRPr lang="en-US"/>
          </a:p>
        </p:txBody>
      </p:sp>
    </p:spTree>
    <p:extLst>
      <p:ext uri="{BB962C8B-B14F-4D97-AF65-F5344CB8AC3E}">
        <p14:creationId xmlns:p14="http://schemas.microsoft.com/office/powerpoint/2010/main" val="3068109113"/>
      </p:ext>
    </p:extLst>
  </p:cSld>
  <p:clrMapOvr>
    <a:masterClrMapping/>
  </p:clrMapOvr>
  <p:transition spd="slow"/>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Nuestro Entendimiento del Proyecto">
    <p:spTree>
      <p:nvGrpSpPr>
        <p:cNvPr id="1" name=""/>
        <p:cNvGrpSpPr/>
        <p:nvPr/>
      </p:nvGrpSpPr>
      <p:grpSpPr>
        <a:xfrm>
          <a:off x="0" y="0"/>
          <a:ext cx="0" cy="0"/>
          <a:chOff x="0" y="0"/>
          <a:chExt cx="0" cy="0"/>
        </a:xfrm>
      </p:grpSpPr>
      <p:sp>
        <p:nvSpPr>
          <p:cNvPr id="23" name="22 Marcador de texto"/>
          <p:cNvSpPr>
            <a:spLocks noGrp="1"/>
          </p:cNvSpPr>
          <p:nvPr>
            <p:ph type="body" sz="quarter" idx="23"/>
          </p:nvPr>
        </p:nvSpPr>
        <p:spPr>
          <a:xfrm>
            <a:off x="423988" y="1320801"/>
            <a:ext cx="11344031" cy="5151940"/>
          </a:xfrm>
        </p:spPr>
        <p:txBody>
          <a:bodyPr>
            <a:noAutofit/>
          </a:bodyPr>
          <a:lstStyle>
            <a:lvl5pPr marL="1057085" indent="-211027">
              <a:defRPr kumimoji="0" lang="es-ES" sz="1354" b="0" i="0" u="none" strike="noStrike" kern="1200" cap="none" spc="0" normalizeH="0" baseline="0" noProof="0" dirty="0" smtClean="0">
                <a:ln>
                  <a:noFill/>
                </a:ln>
                <a:solidFill>
                  <a:srgbClr val="494949"/>
                </a:solidFill>
                <a:effectLst/>
                <a:uLnTx/>
                <a:uFillTx/>
                <a:latin typeface="+mn-lt"/>
                <a:ea typeface="+mn-ea"/>
                <a:cs typeface="+mn-cs"/>
              </a:defRPr>
            </a:lvl5pPr>
            <a:lvl6pPr marL="1193859" indent="0">
              <a:defRPr kumimoji="0" lang="es-ES" sz="1354" b="0" i="0" u="none" strike="noStrike" kern="1200" cap="none" spc="0" normalizeH="0" baseline="0" noProof="0" dirty="0" smtClean="0">
                <a:ln>
                  <a:noFill/>
                </a:ln>
                <a:solidFill>
                  <a:schemeClr val="tx1"/>
                </a:solidFill>
                <a:effectLst/>
                <a:uLnTx/>
                <a:uFillTx/>
                <a:latin typeface="+mn-lt"/>
                <a:ea typeface="+mn-ea"/>
                <a:cs typeface="+mn-cs"/>
              </a:defRPr>
            </a:lvl6pPr>
            <a:lvl7pPr>
              <a:defRPr/>
            </a:lvl7pPr>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a:p>
            <a:pPr marL="1041452" marR="0" lvl="4" indent="-195394" algn="l" defTabSz="1125472" rtl="0" eaLnBrk="1" fontAlgn="auto" latinLnBrk="0" hangingPunct="1">
              <a:lnSpc>
                <a:spcPct val="100000"/>
              </a:lnSpc>
              <a:spcBef>
                <a:spcPts val="0"/>
              </a:spcBef>
              <a:spcAft>
                <a:spcPts val="246"/>
              </a:spcAft>
              <a:buClr>
                <a:schemeClr val="accent1">
                  <a:lumMod val="90000"/>
                </a:schemeClr>
              </a:buClr>
              <a:buSzTx/>
              <a:buFont typeface="Arial" pitchFamily="34" charset="0"/>
              <a:buChar char="•"/>
              <a:tabLst/>
              <a:defRPr/>
            </a:pPr>
            <a:r>
              <a:rPr lang="es-ES" noProof="0"/>
              <a:t>Quinto nivel</a:t>
            </a:r>
          </a:p>
          <a:p>
            <a:pPr marL="1367761" lvl="5" indent="-173901" algn="l" defTabSz="1125472" rtl="0" eaLnBrk="1" latinLnBrk="0" hangingPunct="1">
              <a:spcBef>
                <a:spcPct val="20000"/>
              </a:spcBef>
              <a:buFontTx/>
              <a:buNone/>
              <a:tabLst/>
            </a:pPr>
            <a:r>
              <a:rPr lang="es-ES" noProof="0"/>
              <a:t>- </a:t>
            </a:r>
            <a:r>
              <a:rPr lang="es-ES" noProof="0" err="1"/>
              <a:t>bhhh</a:t>
            </a:r>
            <a:endParaRPr lang="es-ES" noProof="0"/>
          </a:p>
        </p:txBody>
      </p:sp>
      <p:sp>
        <p:nvSpPr>
          <p:cNvPr id="92" name="27 Título"/>
          <p:cNvSpPr>
            <a:spLocks noGrp="1"/>
          </p:cNvSpPr>
          <p:nvPr userDrawn="1">
            <p:ph type="title" hasCustomPrompt="1"/>
          </p:nvPr>
        </p:nvSpPr>
        <p:spPr>
          <a:xfrm>
            <a:off x="1235961" y="334933"/>
            <a:ext cx="8936800" cy="518277"/>
          </a:xfrm>
        </p:spPr>
        <p:txBody>
          <a:bodyPr>
            <a:noAutofit/>
          </a:bodyPr>
          <a:lstStyle>
            <a:lvl1pPr>
              <a:defRPr sz="2462">
                <a:solidFill>
                  <a:schemeClr val="tx1"/>
                </a:solidFill>
              </a:defRPr>
            </a:lvl1pPr>
          </a:lstStyle>
          <a:p>
            <a:r>
              <a:rPr lang="es-ES"/>
              <a:t>Título</a:t>
            </a:r>
            <a:endParaRPr lang="en-US"/>
          </a:p>
        </p:txBody>
      </p:sp>
      <p:sp>
        <p:nvSpPr>
          <p:cNvPr id="7" name="26 Marcador de contenido"/>
          <p:cNvSpPr>
            <a:spLocks noGrp="1"/>
          </p:cNvSpPr>
          <p:nvPr>
            <p:ph sz="quarter" idx="26" hasCustomPrompt="1"/>
          </p:nvPr>
        </p:nvSpPr>
        <p:spPr>
          <a:xfrm>
            <a:off x="1192824" y="863258"/>
            <a:ext cx="8988270" cy="225425"/>
          </a:xfrm>
        </p:spPr>
        <p:txBody>
          <a:bodyPr anchor="ctr">
            <a:noAutofit/>
          </a:bodyPr>
          <a:lstStyle>
            <a:lvl1pPr marL="177239">
              <a:defRPr sz="1231" cap="all" spc="369" baseline="0">
                <a:solidFill>
                  <a:schemeClr val="tx1"/>
                </a:solidFill>
              </a:defRPr>
            </a:lvl1pPr>
            <a:lvl7pPr>
              <a:defRPr>
                <a:solidFill>
                  <a:schemeClr val="tx1">
                    <a:lumMod val="50000"/>
                    <a:lumOff val="50000"/>
                  </a:schemeClr>
                </a:solidFill>
              </a:defRPr>
            </a:lvl7pPr>
          </a:lstStyle>
          <a:p>
            <a:pPr lvl="0"/>
            <a:r>
              <a:rPr lang="es-ES"/>
              <a:t>Subtítulo</a:t>
            </a:r>
            <a:endParaRPr lang="en-US"/>
          </a:p>
        </p:txBody>
      </p:sp>
    </p:spTree>
    <p:extLst>
      <p:ext uri="{BB962C8B-B14F-4D97-AF65-F5344CB8AC3E}">
        <p14:creationId xmlns:p14="http://schemas.microsoft.com/office/powerpoint/2010/main" val="2895209881"/>
      </p:ext>
    </p:extLst>
  </p:cSld>
  <p:clrMapOvr>
    <a:masterClrMapping/>
  </p:clrMapOvr>
  <p:transition spd="slow"/>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Alcance de la Colaboración">
    <p:spTree>
      <p:nvGrpSpPr>
        <p:cNvPr id="1" name=""/>
        <p:cNvGrpSpPr/>
        <p:nvPr/>
      </p:nvGrpSpPr>
      <p:grpSpPr>
        <a:xfrm>
          <a:off x="0" y="0"/>
          <a:ext cx="0" cy="0"/>
          <a:chOff x="0" y="0"/>
          <a:chExt cx="0" cy="0"/>
        </a:xfrm>
      </p:grpSpPr>
      <p:sp>
        <p:nvSpPr>
          <p:cNvPr id="23" name="22 Marcador de texto"/>
          <p:cNvSpPr>
            <a:spLocks noGrp="1"/>
          </p:cNvSpPr>
          <p:nvPr>
            <p:ph type="body" sz="quarter" idx="23"/>
          </p:nvPr>
        </p:nvSpPr>
        <p:spPr>
          <a:xfrm>
            <a:off x="423988" y="1320801"/>
            <a:ext cx="11344031" cy="5151940"/>
          </a:xfrm>
        </p:spPr>
        <p:txBody>
          <a:bodyPr>
            <a:noAutofit/>
          </a:bodyPr>
          <a:lstStyle>
            <a:lvl5pPr marL="1193859" indent="0">
              <a:defRPr kumimoji="0" lang="es-ES" sz="1354" b="0" i="0" u="none" strike="noStrike" kern="1200" cap="none" spc="0" normalizeH="0" baseline="0" noProof="0" dirty="0" smtClean="0">
                <a:ln>
                  <a:noFill/>
                </a:ln>
                <a:solidFill>
                  <a:srgbClr val="494949"/>
                </a:solidFill>
                <a:effectLst/>
                <a:uLnTx/>
                <a:uFillTx/>
                <a:latin typeface="+mn-lt"/>
                <a:ea typeface="+mn-ea"/>
                <a:cs typeface="+mn-cs"/>
              </a:defRPr>
            </a:lvl5pPr>
            <a:lvl6pPr marL="1057085" indent="-211027">
              <a:defRPr kumimoji="0" lang="es-ES" sz="1354" b="0" i="0" u="none" strike="noStrike" kern="1200" cap="none" spc="0" normalizeH="0" baseline="0" noProof="0" dirty="0" smtClean="0">
                <a:ln>
                  <a:noFill/>
                </a:ln>
                <a:solidFill>
                  <a:schemeClr val="tx1"/>
                </a:solidFill>
                <a:effectLst/>
                <a:uLnTx/>
                <a:uFillTx/>
                <a:latin typeface="+mn-lt"/>
                <a:ea typeface="+mn-ea"/>
                <a:cs typeface="+mn-cs"/>
              </a:defRPr>
            </a:lvl6pPr>
            <a:lvl7pPr>
              <a:defRPr/>
            </a:lvl7pPr>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a:p>
            <a:pPr marL="1041452" marR="0" lvl="4" indent="-195394" algn="l" defTabSz="1125472" rtl="0" eaLnBrk="1" fontAlgn="auto" latinLnBrk="0" hangingPunct="1">
              <a:lnSpc>
                <a:spcPct val="100000"/>
              </a:lnSpc>
              <a:spcBef>
                <a:spcPts val="0"/>
              </a:spcBef>
              <a:spcAft>
                <a:spcPts val="246"/>
              </a:spcAft>
              <a:buClr>
                <a:schemeClr val="accent1">
                  <a:lumMod val="90000"/>
                </a:schemeClr>
              </a:buClr>
              <a:buSzTx/>
              <a:buFont typeface="Arial" pitchFamily="34" charset="0"/>
              <a:buChar char="•"/>
              <a:tabLst/>
              <a:defRPr/>
            </a:pPr>
            <a:r>
              <a:rPr lang="es-ES" noProof="0"/>
              <a:t>Quinto nivel</a:t>
            </a:r>
          </a:p>
          <a:p>
            <a:pPr marL="1367761" marR="0" lvl="5" indent="-173901" algn="l" defTabSz="1125472" rtl="0" eaLnBrk="1" fontAlgn="auto" latinLnBrk="0" hangingPunct="1">
              <a:lnSpc>
                <a:spcPct val="100000"/>
              </a:lnSpc>
              <a:spcBef>
                <a:spcPct val="20000"/>
              </a:spcBef>
              <a:spcAft>
                <a:spcPts val="246"/>
              </a:spcAft>
              <a:buClr>
                <a:schemeClr val="accent1">
                  <a:lumMod val="90000"/>
                </a:schemeClr>
              </a:buClr>
              <a:buSzTx/>
              <a:buFontTx/>
              <a:buNone/>
              <a:tabLst/>
              <a:defRPr/>
            </a:pPr>
            <a:r>
              <a:rPr lang="es-ES" noProof="0"/>
              <a:t>- </a:t>
            </a:r>
            <a:r>
              <a:rPr lang="es-ES" noProof="0" err="1"/>
              <a:t>bhhh</a:t>
            </a:r>
            <a:endParaRPr lang="es-ES" noProof="0"/>
          </a:p>
        </p:txBody>
      </p:sp>
      <p:sp>
        <p:nvSpPr>
          <p:cNvPr id="92" name="27 Título"/>
          <p:cNvSpPr>
            <a:spLocks noGrp="1"/>
          </p:cNvSpPr>
          <p:nvPr userDrawn="1">
            <p:ph type="title" hasCustomPrompt="1"/>
          </p:nvPr>
        </p:nvSpPr>
        <p:spPr>
          <a:xfrm>
            <a:off x="1235961" y="334933"/>
            <a:ext cx="8936800" cy="518277"/>
          </a:xfrm>
        </p:spPr>
        <p:txBody>
          <a:bodyPr>
            <a:noAutofit/>
          </a:bodyPr>
          <a:lstStyle>
            <a:lvl1pPr>
              <a:defRPr sz="2462">
                <a:solidFill>
                  <a:schemeClr val="tx1"/>
                </a:solidFill>
              </a:defRPr>
            </a:lvl1pPr>
          </a:lstStyle>
          <a:p>
            <a:r>
              <a:rPr lang="es-ES"/>
              <a:t>Título</a:t>
            </a:r>
            <a:endParaRPr lang="en-US"/>
          </a:p>
        </p:txBody>
      </p:sp>
      <p:sp>
        <p:nvSpPr>
          <p:cNvPr id="7" name="26 Marcador de contenido"/>
          <p:cNvSpPr>
            <a:spLocks noGrp="1"/>
          </p:cNvSpPr>
          <p:nvPr>
            <p:ph sz="quarter" idx="26" hasCustomPrompt="1"/>
          </p:nvPr>
        </p:nvSpPr>
        <p:spPr>
          <a:xfrm>
            <a:off x="1192824" y="863258"/>
            <a:ext cx="8988270" cy="225425"/>
          </a:xfrm>
        </p:spPr>
        <p:txBody>
          <a:bodyPr anchor="ctr">
            <a:noAutofit/>
          </a:bodyPr>
          <a:lstStyle>
            <a:lvl1pPr marL="177239">
              <a:defRPr sz="1231" cap="all" spc="369" baseline="0">
                <a:solidFill>
                  <a:schemeClr val="tx1"/>
                </a:solidFill>
              </a:defRPr>
            </a:lvl1pPr>
            <a:lvl7pPr>
              <a:defRPr>
                <a:solidFill>
                  <a:schemeClr val="tx1">
                    <a:lumMod val="50000"/>
                    <a:lumOff val="50000"/>
                  </a:schemeClr>
                </a:solidFill>
              </a:defRPr>
            </a:lvl7pPr>
          </a:lstStyle>
          <a:p>
            <a:pPr lvl="0"/>
            <a:r>
              <a:rPr lang="es-ES"/>
              <a:t>Subtítulo</a:t>
            </a:r>
            <a:endParaRPr lang="en-US"/>
          </a:p>
        </p:txBody>
      </p:sp>
    </p:spTree>
    <p:extLst>
      <p:ext uri="{BB962C8B-B14F-4D97-AF65-F5344CB8AC3E}">
        <p14:creationId xmlns:p14="http://schemas.microsoft.com/office/powerpoint/2010/main" val="1079918643"/>
      </p:ext>
    </p:extLst>
  </p:cSld>
  <p:clrMapOvr>
    <a:masterClrMapping/>
  </p:clrMapOvr>
  <p:transition spd="slow"/>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Marco Metodológico">
    <p:spTree>
      <p:nvGrpSpPr>
        <p:cNvPr id="1" name=""/>
        <p:cNvGrpSpPr/>
        <p:nvPr/>
      </p:nvGrpSpPr>
      <p:grpSpPr>
        <a:xfrm>
          <a:off x="0" y="0"/>
          <a:ext cx="0" cy="0"/>
          <a:chOff x="0" y="0"/>
          <a:chExt cx="0" cy="0"/>
        </a:xfrm>
      </p:grpSpPr>
      <p:sp>
        <p:nvSpPr>
          <p:cNvPr id="23" name="22 Marcador de texto"/>
          <p:cNvSpPr>
            <a:spLocks noGrp="1"/>
          </p:cNvSpPr>
          <p:nvPr>
            <p:ph type="body" sz="quarter" idx="23"/>
          </p:nvPr>
        </p:nvSpPr>
        <p:spPr>
          <a:xfrm>
            <a:off x="423988" y="1320801"/>
            <a:ext cx="11344031" cy="5151940"/>
          </a:xfrm>
        </p:spPr>
        <p:txBody>
          <a:bodyPr>
            <a:noAutofit/>
          </a:bodyPr>
          <a:lstStyle>
            <a:lvl5pPr marL="1193859" indent="0">
              <a:defRPr kumimoji="0" lang="es-ES" sz="1354" b="0" i="0" u="none" strike="noStrike" kern="1200" cap="none" spc="0" normalizeH="0" baseline="0" noProof="0" dirty="0" smtClean="0">
                <a:ln>
                  <a:noFill/>
                </a:ln>
                <a:solidFill>
                  <a:srgbClr val="494949"/>
                </a:solidFill>
                <a:effectLst/>
                <a:uLnTx/>
                <a:uFillTx/>
                <a:latin typeface="+mn-lt"/>
                <a:ea typeface="+mn-ea"/>
                <a:cs typeface="+mn-cs"/>
              </a:defRPr>
            </a:lvl5pPr>
            <a:lvl6pPr marL="1057085" indent="-211027">
              <a:defRPr kumimoji="0" lang="es-ES" sz="1354" b="0" i="0" u="none" strike="noStrike" kern="1200" cap="none" spc="0" normalizeH="0" baseline="0" noProof="0" dirty="0" smtClean="0">
                <a:ln>
                  <a:noFill/>
                </a:ln>
                <a:solidFill>
                  <a:schemeClr val="tx1"/>
                </a:solidFill>
                <a:effectLst/>
                <a:uLnTx/>
                <a:uFillTx/>
                <a:latin typeface="+mn-lt"/>
                <a:ea typeface="+mn-ea"/>
                <a:cs typeface="+mn-cs"/>
              </a:defRPr>
            </a:lvl6pPr>
            <a:lvl7pPr>
              <a:defRPr/>
            </a:lvl7pPr>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a:p>
            <a:pPr marL="1041452" marR="0" lvl="4" indent="-195394" algn="l" defTabSz="1125472" rtl="0" eaLnBrk="1" fontAlgn="auto" latinLnBrk="0" hangingPunct="1">
              <a:lnSpc>
                <a:spcPct val="100000"/>
              </a:lnSpc>
              <a:spcBef>
                <a:spcPts val="0"/>
              </a:spcBef>
              <a:spcAft>
                <a:spcPts val="246"/>
              </a:spcAft>
              <a:buClr>
                <a:schemeClr val="accent1">
                  <a:lumMod val="90000"/>
                </a:schemeClr>
              </a:buClr>
              <a:buSzTx/>
              <a:buFont typeface="Arial" pitchFamily="34" charset="0"/>
              <a:buChar char="•"/>
              <a:tabLst/>
              <a:defRPr/>
            </a:pPr>
            <a:r>
              <a:rPr lang="es-ES" noProof="0"/>
              <a:t>Quinto nivel</a:t>
            </a:r>
          </a:p>
          <a:p>
            <a:pPr marL="1367761" marR="0" lvl="5" indent="-173901" algn="l" defTabSz="1125472" rtl="0" eaLnBrk="1" fontAlgn="auto" latinLnBrk="0" hangingPunct="1">
              <a:lnSpc>
                <a:spcPct val="100000"/>
              </a:lnSpc>
              <a:spcBef>
                <a:spcPct val="20000"/>
              </a:spcBef>
              <a:spcAft>
                <a:spcPts val="246"/>
              </a:spcAft>
              <a:buClr>
                <a:schemeClr val="accent1">
                  <a:lumMod val="90000"/>
                </a:schemeClr>
              </a:buClr>
              <a:buSzTx/>
              <a:buFontTx/>
              <a:buNone/>
              <a:tabLst/>
              <a:defRPr/>
            </a:pPr>
            <a:r>
              <a:rPr lang="es-ES" noProof="0"/>
              <a:t>- </a:t>
            </a:r>
            <a:r>
              <a:rPr lang="es-ES" noProof="0" err="1"/>
              <a:t>bhhh</a:t>
            </a:r>
            <a:endParaRPr lang="es-ES" noProof="0"/>
          </a:p>
        </p:txBody>
      </p:sp>
      <p:sp>
        <p:nvSpPr>
          <p:cNvPr id="92" name="27 Título"/>
          <p:cNvSpPr>
            <a:spLocks noGrp="1"/>
          </p:cNvSpPr>
          <p:nvPr userDrawn="1">
            <p:ph type="title" hasCustomPrompt="1"/>
          </p:nvPr>
        </p:nvSpPr>
        <p:spPr>
          <a:xfrm>
            <a:off x="1235961" y="334933"/>
            <a:ext cx="8936800" cy="518277"/>
          </a:xfrm>
        </p:spPr>
        <p:txBody>
          <a:bodyPr>
            <a:noAutofit/>
          </a:bodyPr>
          <a:lstStyle>
            <a:lvl1pPr>
              <a:defRPr sz="2462">
                <a:solidFill>
                  <a:schemeClr val="tx1"/>
                </a:solidFill>
              </a:defRPr>
            </a:lvl1pPr>
          </a:lstStyle>
          <a:p>
            <a:r>
              <a:rPr lang="es-ES"/>
              <a:t>Título</a:t>
            </a:r>
            <a:endParaRPr lang="en-US"/>
          </a:p>
        </p:txBody>
      </p:sp>
      <p:sp>
        <p:nvSpPr>
          <p:cNvPr id="7" name="26 Marcador de contenido"/>
          <p:cNvSpPr>
            <a:spLocks noGrp="1"/>
          </p:cNvSpPr>
          <p:nvPr>
            <p:ph sz="quarter" idx="26" hasCustomPrompt="1"/>
          </p:nvPr>
        </p:nvSpPr>
        <p:spPr>
          <a:xfrm>
            <a:off x="1192824" y="863258"/>
            <a:ext cx="8988270" cy="225425"/>
          </a:xfrm>
        </p:spPr>
        <p:txBody>
          <a:bodyPr anchor="ctr">
            <a:noAutofit/>
          </a:bodyPr>
          <a:lstStyle>
            <a:lvl1pPr marL="177239">
              <a:defRPr sz="1231" cap="all" spc="369" baseline="0">
                <a:solidFill>
                  <a:schemeClr val="tx1"/>
                </a:solidFill>
              </a:defRPr>
            </a:lvl1pPr>
            <a:lvl7pPr>
              <a:defRPr>
                <a:solidFill>
                  <a:schemeClr val="tx1">
                    <a:lumMod val="50000"/>
                    <a:lumOff val="50000"/>
                  </a:schemeClr>
                </a:solidFill>
              </a:defRPr>
            </a:lvl7pPr>
          </a:lstStyle>
          <a:p>
            <a:pPr lvl="0"/>
            <a:r>
              <a:rPr lang="es-ES"/>
              <a:t>Subtítulo</a:t>
            </a:r>
            <a:endParaRPr lang="en-US"/>
          </a:p>
        </p:txBody>
      </p:sp>
    </p:spTree>
    <p:extLst>
      <p:ext uri="{BB962C8B-B14F-4D97-AF65-F5344CB8AC3E}">
        <p14:creationId xmlns:p14="http://schemas.microsoft.com/office/powerpoint/2010/main" val="4018007770"/>
      </p:ext>
    </p:extLst>
  </p:cSld>
  <p:clrMapOvr>
    <a:masterClrMapping/>
  </p:clrMapOvr>
  <p:transition spd="slow"/>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Gestión y Calidad del Proyecto">
    <p:spTree>
      <p:nvGrpSpPr>
        <p:cNvPr id="1" name=""/>
        <p:cNvGrpSpPr/>
        <p:nvPr/>
      </p:nvGrpSpPr>
      <p:grpSpPr>
        <a:xfrm>
          <a:off x="0" y="0"/>
          <a:ext cx="0" cy="0"/>
          <a:chOff x="0" y="0"/>
          <a:chExt cx="0" cy="0"/>
        </a:xfrm>
      </p:grpSpPr>
      <p:sp>
        <p:nvSpPr>
          <p:cNvPr id="23" name="22 Marcador de texto"/>
          <p:cNvSpPr>
            <a:spLocks noGrp="1"/>
          </p:cNvSpPr>
          <p:nvPr>
            <p:ph type="body" sz="quarter" idx="23"/>
          </p:nvPr>
        </p:nvSpPr>
        <p:spPr>
          <a:xfrm>
            <a:off x="423988" y="1320801"/>
            <a:ext cx="11344031" cy="5151940"/>
          </a:xfrm>
        </p:spPr>
        <p:txBody>
          <a:bodyPr>
            <a:noAutofit/>
          </a:bodyPr>
          <a:lstStyle>
            <a:lvl5pPr marL="1193859" indent="0">
              <a:defRPr kumimoji="0" lang="es-ES" sz="1354" b="0" i="0" u="none" strike="noStrike" kern="1200" cap="none" spc="0" normalizeH="0" baseline="0" noProof="0" dirty="0" smtClean="0">
                <a:ln>
                  <a:noFill/>
                </a:ln>
                <a:solidFill>
                  <a:srgbClr val="494949"/>
                </a:solidFill>
                <a:effectLst/>
                <a:uLnTx/>
                <a:uFillTx/>
                <a:latin typeface="+mn-lt"/>
                <a:ea typeface="+mn-ea"/>
                <a:cs typeface="+mn-cs"/>
              </a:defRPr>
            </a:lvl5pPr>
            <a:lvl6pPr marL="1057085" indent="-211027">
              <a:defRPr kumimoji="0" lang="es-ES" sz="1354" b="0" i="0" u="none" strike="noStrike" kern="1200" cap="none" spc="0" normalizeH="0" baseline="0" noProof="0" dirty="0" smtClean="0">
                <a:ln>
                  <a:noFill/>
                </a:ln>
                <a:solidFill>
                  <a:schemeClr val="tx1"/>
                </a:solidFill>
                <a:effectLst/>
                <a:uLnTx/>
                <a:uFillTx/>
                <a:latin typeface="+mn-lt"/>
                <a:ea typeface="+mn-ea"/>
                <a:cs typeface="+mn-cs"/>
              </a:defRPr>
            </a:lvl6pPr>
            <a:lvl7pPr>
              <a:defRPr/>
            </a:lvl7pPr>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a:p>
            <a:pPr marL="1041452" marR="0" lvl="4" indent="-195394" algn="l" defTabSz="1125472" rtl="0" eaLnBrk="1" fontAlgn="auto" latinLnBrk="0" hangingPunct="1">
              <a:lnSpc>
                <a:spcPct val="100000"/>
              </a:lnSpc>
              <a:spcBef>
                <a:spcPts val="0"/>
              </a:spcBef>
              <a:spcAft>
                <a:spcPts val="246"/>
              </a:spcAft>
              <a:buClr>
                <a:schemeClr val="accent1">
                  <a:lumMod val="90000"/>
                </a:schemeClr>
              </a:buClr>
              <a:buSzTx/>
              <a:buFont typeface="Arial" pitchFamily="34" charset="0"/>
              <a:buChar char="•"/>
              <a:tabLst/>
              <a:defRPr/>
            </a:pPr>
            <a:r>
              <a:rPr lang="es-ES" noProof="0"/>
              <a:t>Quinto nivel</a:t>
            </a:r>
          </a:p>
          <a:p>
            <a:pPr marL="1367761" marR="0" lvl="5" indent="-173901" algn="l" defTabSz="1125472" rtl="0" eaLnBrk="1" fontAlgn="auto" latinLnBrk="0" hangingPunct="1">
              <a:lnSpc>
                <a:spcPct val="100000"/>
              </a:lnSpc>
              <a:spcBef>
                <a:spcPct val="20000"/>
              </a:spcBef>
              <a:spcAft>
                <a:spcPts val="246"/>
              </a:spcAft>
              <a:buClr>
                <a:schemeClr val="accent1">
                  <a:lumMod val="90000"/>
                </a:schemeClr>
              </a:buClr>
              <a:buSzTx/>
              <a:buFontTx/>
              <a:buNone/>
              <a:tabLst/>
              <a:defRPr/>
            </a:pPr>
            <a:r>
              <a:rPr lang="es-ES" noProof="0"/>
              <a:t>- </a:t>
            </a:r>
            <a:r>
              <a:rPr lang="es-ES" noProof="0" err="1"/>
              <a:t>bhhh</a:t>
            </a:r>
            <a:endParaRPr lang="es-ES" noProof="0"/>
          </a:p>
        </p:txBody>
      </p:sp>
      <p:sp>
        <p:nvSpPr>
          <p:cNvPr id="92" name="27 Título"/>
          <p:cNvSpPr>
            <a:spLocks noGrp="1"/>
          </p:cNvSpPr>
          <p:nvPr userDrawn="1">
            <p:ph type="title" hasCustomPrompt="1"/>
          </p:nvPr>
        </p:nvSpPr>
        <p:spPr>
          <a:xfrm>
            <a:off x="1235961" y="334933"/>
            <a:ext cx="8936800" cy="518277"/>
          </a:xfrm>
        </p:spPr>
        <p:txBody>
          <a:bodyPr>
            <a:noAutofit/>
          </a:bodyPr>
          <a:lstStyle>
            <a:lvl1pPr>
              <a:defRPr sz="2462">
                <a:solidFill>
                  <a:schemeClr val="tx1"/>
                </a:solidFill>
              </a:defRPr>
            </a:lvl1pPr>
          </a:lstStyle>
          <a:p>
            <a:r>
              <a:rPr lang="es-ES"/>
              <a:t>Título</a:t>
            </a:r>
            <a:endParaRPr lang="en-US"/>
          </a:p>
        </p:txBody>
      </p:sp>
      <p:sp>
        <p:nvSpPr>
          <p:cNvPr id="7" name="26 Marcador de contenido"/>
          <p:cNvSpPr>
            <a:spLocks noGrp="1"/>
          </p:cNvSpPr>
          <p:nvPr>
            <p:ph sz="quarter" idx="26" hasCustomPrompt="1"/>
          </p:nvPr>
        </p:nvSpPr>
        <p:spPr>
          <a:xfrm>
            <a:off x="1192824" y="863258"/>
            <a:ext cx="8988270" cy="225425"/>
          </a:xfrm>
        </p:spPr>
        <p:txBody>
          <a:bodyPr anchor="ctr">
            <a:noAutofit/>
          </a:bodyPr>
          <a:lstStyle>
            <a:lvl1pPr marL="177239">
              <a:defRPr sz="1231" cap="all" spc="369" baseline="0">
                <a:solidFill>
                  <a:schemeClr val="tx1"/>
                </a:solidFill>
              </a:defRPr>
            </a:lvl1pPr>
            <a:lvl7pPr>
              <a:defRPr>
                <a:solidFill>
                  <a:schemeClr val="tx1">
                    <a:lumMod val="50000"/>
                    <a:lumOff val="50000"/>
                  </a:schemeClr>
                </a:solidFill>
              </a:defRPr>
            </a:lvl7pPr>
          </a:lstStyle>
          <a:p>
            <a:pPr lvl="0"/>
            <a:r>
              <a:rPr lang="es-ES"/>
              <a:t>Subtítulo</a:t>
            </a:r>
            <a:endParaRPr lang="en-US"/>
          </a:p>
        </p:txBody>
      </p:sp>
    </p:spTree>
    <p:extLst>
      <p:ext uri="{BB962C8B-B14F-4D97-AF65-F5344CB8AC3E}">
        <p14:creationId xmlns:p14="http://schemas.microsoft.com/office/powerpoint/2010/main" val="3507535778"/>
      </p:ext>
    </p:extLst>
  </p:cSld>
  <p:clrMapOvr>
    <a:masterClrMapping/>
  </p:clrMapOvr>
  <p:transition spd="slow"/>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Gestión del Cambio">
    <p:spTree>
      <p:nvGrpSpPr>
        <p:cNvPr id="1" name=""/>
        <p:cNvGrpSpPr/>
        <p:nvPr/>
      </p:nvGrpSpPr>
      <p:grpSpPr>
        <a:xfrm>
          <a:off x="0" y="0"/>
          <a:ext cx="0" cy="0"/>
          <a:chOff x="0" y="0"/>
          <a:chExt cx="0" cy="0"/>
        </a:xfrm>
      </p:grpSpPr>
      <p:sp>
        <p:nvSpPr>
          <p:cNvPr id="23" name="22 Marcador de texto"/>
          <p:cNvSpPr>
            <a:spLocks noGrp="1"/>
          </p:cNvSpPr>
          <p:nvPr>
            <p:ph type="body" sz="quarter" idx="23"/>
          </p:nvPr>
        </p:nvSpPr>
        <p:spPr>
          <a:xfrm>
            <a:off x="423988" y="1320801"/>
            <a:ext cx="11344031" cy="5151940"/>
          </a:xfrm>
        </p:spPr>
        <p:txBody>
          <a:bodyPr>
            <a:noAutofit/>
          </a:bodyPr>
          <a:lstStyle>
            <a:lvl5pPr marL="1057085" indent="-211027">
              <a:defRPr kumimoji="0" lang="es-ES" sz="1354" b="0" i="0" u="none" strike="noStrike" kern="1200" cap="none" spc="0" normalizeH="0" baseline="0" noProof="0" dirty="0" smtClean="0">
                <a:ln>
                  <a:noFill/>
                </a:ln>
                <a:solidFill>
                  <a:srgbClr val="494949"/>
                </a:solidFill>
                <a:effectLst/>
                <a:uLnTx/>
                <a:uFillTx/>
                <a:latin typeface="+mn-lt"/>
                <a:ea typeface="+mn-ea"/>
                <a:cs typeface="+mn-cs"/>
              </a:defRPr>
            </a:lvl5pPr>
            <a:lvl6pPr marL="1193859" indent="0">
              <a:defRPr kumimoji="0" lang="es-ES" sz="1354" b="0" i="0" u="none" strike="noStrike" kern="1200" cap="none" spc="0" normalizeH="0" baseline="0" noProof="0" dirty="0" smtClean="0">
                <a:ln>
                  <a:noFill/>
                </a:ln>
                <a:solidFill>
                  <a:schemeClr val="tx1"/>
                </a:solidFill>
                <a:effectLst/>
                <a:uLnTx/>
                <a:uFillTx/>
                <a:latin typeface="+mn-lt"/>
                <a:ea typeface="+mn-ea"/>
                <a:cs typeface="+mn-cs"/>
              </a:defRPr>
            </a:lvl6pPr>
            <a:lvl7pPr>
              <a:defRPr/>
            </a:lvl7pPr>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a:p>
            <a:pPr marL="1041452" marR="0" lvl="4" indent="-195394" algn="l" defTabSz="1125472" rtl="0" eaLnBrk="1" fontAlgn="auto" latinLnBrk="0" hangingPunct="1">
              <a:lnSpc>
                <a:spcPct val="100000"/>
              </a:lnSpc>
              <a:spcBef>
                <a:spcPts val="0"/>
              </a:spcBef>
              <a:spcAft>
                <a:spcPts val="246"/>
              </a:spcAft>
              <a:buClr>
                <a:schemeClr val="accent1">
                  <a:lumMod val="90000"/>
                </a:schemeClr>
              </a:buClr>
              <a:buSzTx/>
              <a:buFont typeface="Arial" pitchFamily="34" charset="0"/>
              <a:buChar char="•"/>
              <a:tabLst/>
              <a:defRPr/>
            </a:pPr>
            <a:r>
              <a:rPr lang="es-ES" noProof="0"/>
              <a:t>Quinto nivel</a:t>
            </a:r>
          </a:p>
          <a:p>
            <a:pPr marL="1367761" lvl="5" indent="-173901" algn="l" defTabSz="1125472" rtl="0" eaLnBrk="1" latinLnBrk="0" hangingPunct="1">
              <a:spcBef>
                <a:spcPct val="20000"/>
              </a:spcBef>
              <a:buFontTx/>
              <a:buNone/>
              <a:tabLst/>
            </a:pPr>
            <a:r>
              <a:rPr lang="es-ES" noProof="0"/>
              <a:t>- </a:t>
            </a:r>
            <a:r>
              <a:rPr lang="es-ES" noProof="0" err="1"/>
              <a:t>bhhh</a:t>
            </a:r>
            <a:endParaRPr lang="es-ES" noProof="0"/>
          </a:p>
        </p:txBody>
      </p:sp>
      <p:sp>
        <p:nvSpPr>
          <p:cNvPr id="92" name="27 Título"/>
          <p:cNvSpPr>
            <a:spLocks noGrp="1"/>
          </p:cNvSpPr>
          <p:nvPr userDrawn="1">
            <p:ph type="title" hasCustomPrompt="1"/>
          </p:nvPr>
        </p:nvSpPr>
        <p:spPr>
          <a:xfrm>
            <a:off x="1235961" y="334933"/>
            <a:ext cx="8936800" cy="518277"/>
          </a:xfrm>
        </p:spPr>
        <p:txBody>
          <a:bodyPr>
            <a:noAutofit/>
          </a:bodyPr>
          <a:lstStyle>
            <a:lvl1pPr>
              <a:defRPr sz="2462">
                <a:solidFill>
                  <a:schemeClr val="tx1"/>
                </a:solidFill>
              </a:defRPr>
            </a:lvl1pPr>
          </a:lstStyle>
          <a:p>
            <a:r>
              <a:rPr lang="es-ES"/>
              <a:t>Título</a:t>
            </a:r>
            <a:endParaRPr lang="en-US"/>
          </a:p>
        </p:txBody>
      </p:sp>
      <p:sp>
        <p:nvSpPr>
          <p:cNvPr id="7" name="26 Marcador de contenido"/>
          <p:cNvSpPr>
            <a:spLocks noGrp="1"/>
          </p:cNvSpPr>
          <p:nvPr>
            <p:ph sz="quarter" idx="26" hasCustomPrompt="1"/>
          </p:nvPr>
        </p:nvSpPr>
        <p:spPr>
          <a:xfrm>
            <a:off x="1192824" y="863258"/>
            <a:ext cx="8988270" cy="225425"/>
          </a:xfrm>
        </p:spPr>
        <p:txBody>
          <a:bodyPr anchor="ctr">
            <a:noAutofit/>
          </a:bodyPr>
          <a:lstStyle>
            <a:lvl1pPr marL="177239">
              <a:defRPr sz="1231" cap="all" spc="369" baseline="0">
                <a:solidFill>
                  <a:schemeClr val="tx1"/>
                </a:solidFill>
              </a:defRPr>
            </a:lvl1pPr>
            <a:lvl7pPr>
              <a:defRPr>
                <a:solidFill>
                  <a:schemeClr val="tx1">
                    <a:lumMod val="50000"/>
                    <a:lumOff val="50000"/>
                  </a:schemeClr>
                </a:solidFill>
              </a:defRPr>
            </a:lvl7pPr>
          </a:lstStyle>
          <a:p>
            <a:pPr lvl="0"/>
            <a:r>
              <a:rPr lang="es-ES"/>
              <a:t>Subtítulo</a:t>
            </a:r>
            <a:endParaRPr lang="en-US"/>
          </a:p>
        </p:txBody>
      </p:sp>
    </p:spTree>
    <p:extLst>
      <p:ext uri="{BB962C8B-B14F-4D97-AF65-F5344CB8AC3E}">
        <p14:creationId xmlns:p14="http://schemas.microsoft.com/office/powerpoint/2010/main" val="3358111404"/>
      </p:ext>
    </p:extLst>
  </p:cSld>
  <p:clrMapOvr>
    <a:masterClrMapping/>
  </p:clrMapOvr>
  <p:transition spd="slow"/>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oporte y Mantenimiento">
    <p:spTree>
      <p:nvGrpSpPr>
        <p:cNvPr id="1" name=""/>
        <p:cNvGrpSpPr/>
        <p:nvPr/>
      </p:nvGrpSpPr>
      <p:grpSpPr>
        <a:xfrm>
          <a:off x="0" y="0"/>
          <a:ext cx="0" cy="0"/>
          <a:chOff x="0" y="0"/>
          <a:chExt cx="0" cy="0"/>
        </a:xfrm>
      </p:grpSpPr>
      <p:sp>
        <p:nvSpPr>
          <p:cNvPr id="23" name="22 Marcador de texto"/>
          <p:cNvSpPr>
            <a:spLocks noGrp="1"/>
          </p:cNvSpPr>
          <p:nvPr>
            <p:ph type="body" sz="quarter" idx="23"/>
          </p:nvPr>
        </p:nvSpPr>
        <p:spPr>
          <a:xfrm>
            <a:off x="423988" y="1320801"/>
            <a:ext cx="11344031" cy="5151940"/>
          </a:xfrm>
        </p:spPr>
        <p:txBody>
          <a:bodyPr>
            <a:noAutofit/>
          </a:bodyPr>
          <a:lstStyle>
            <a:lvl5pPr marL="1193859" indent="0">
              <a:defRPr kumimoji="0" lang="es-ES" sz="1354" b="0" i="0" u="none" strike="noStrike" kern="1200" cap="none" spc="0" normalizeH="0" baseline="0" noProof="0" dirty="0" smtClean="0">
                <a:ln>
                  <a:noFill/>
                </a:ln>
                <a:solidFill>
                  <a:srgbClr val="494949"/>
                </a:solidFill>
                <a:effectLst/>
                <a:uLnTx/>
                <a:uFillTx/>
                <a:latin typeface="+mn-lt"/>
                <a:ea typeface="+mn-ea"/>
                <a:cs typeface="+mn-cs"/>
              </a:defRPr>
            </a:lvl5pPr>
            <a:lvl6pPr marL="1057085" indent="-211027">
              <a:defRPr kumimoji="0" lang="es-ES" sz="1354" b="0" i="0" u="none" strike="noStrike" kern="1200" cap="none" spc="0" normalizeH="0" baseline="0" noProof="0" dirty="0" smtClean="0">
                <a:ln>
                  <a:noFill/>
                </a:ln>
                <a:solidFill>
                  <a:schemeClr val="tx1"/>
                </a:solidFill>
                <a:effectLst/>
                <a:uLnTx/>
                <a:uFillTx/>
                <a:latin typeface="+mn-lt"/>
                <a:ea typeface="+mn-ea"/>
                <a:cs typeface="+mn-cs"/>
              </a:defRPr>
            </a:lvl6pPr>
            <a:lvl7pPr>
              <a:defRPr/>
            </a:lvl7pPr>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a:p>
            <a:pPr marL="1041452" marR="0" lvl="4" indent="-195394" algn="l" defTabSz="1125472" rtl="0" eaLnBrk="1" fontAlgn="auto" latinLnBrk="0" hangingPunct="1">
              <a:lnSpc>
                <a:spcPct val="100000"/>
              </a:lnSpc>
              <a:spcBef>
                <a:spcPts val="0"/>
              </a:spcBef>
              <a:spcAft>
                <a:spcPts val="246"/>
              </a:spcAft>
              <a:buClr>
                <a:schemeClr val="accent1">
                  <a:lumMod val="90000"/>
                </a:schemeClr>
              </a:buClr>
              <a:buSzTx/>
              <a:buFont typeface="Arial" pitchFamily="34" charset="0"/>
              <a:buChar char="•"/>
              <a:tabLst/>
              <a:defRPr/>
            </a:pPr>
            <a:r>
              <a:rPr lang="es-ES" noProof="0"/>
              <a:t>Quinto nivel</a:t>
            </a:r>
          </a:p>
          <a:p>
            <a:pPr marL="1367761" marR="0" lvl="5" indent="-173901" algn="l" defTabSz="1125472" rtl="0" eaLnBrk="1" fontAlgn="auto" latinLnBrk="0" hangingPunct="1">
              <a:lnSpc>
                <a:spcPct val="100000"/>
              </a:lnSpc>
              <a:spcBef>
                <a:spcPct val="20000"/>
              </a:spcBef>
              <a:spcAft>
                <a:spcPts val="246"/>
              </a:spcAft>
              <a:buClr>
                <a:schemeClr val="accent1">
                  <a:lumMod val="90000"/>
                </a:schemeClr>
              </a:buClr>
              <a:buSzTx/>
              <a:buFontTx/>
              <a:buNone/>
              <a:tabLst/>
              <a:defRPr/>
            </a:pPr>
            <a:r>
              <a:rPr lang="es-ES" noProof="0"/>
              <a:t>- </a:t>
            </a:r>
            <a:r>
              <a:rPr lang="es-ES" noProof="0" err="1"/>
              <a:t>bhhh</a:t>
            </a:r>
            <a:endParaRPr lang="es-ES" noProof="0"/>
          </a:p>
        </p:txBody>
      </p:sp>
      <p:sp>
        <p:nvSpPr>
          <p:cNvPr id="92" name="27 Título"/>
          <p:cNvSpPr>
            <a:spLocks noGrp="1"/>
          </p:cNvSpPr>
          <p:nvPr userDrawn="1">
            <p:ph type="title" hasCustomPrompt="1"/>
          </p:nvPr>
        </p:nvSpPr>
        <p:spPr>
          <a:xfrm>
            <a:off x="1235961" y="334933"/>
            <a:ext cx="8936800" cy="518277"/>
          </a:xfrm>
        </p:spPr>
        <p:txBody>
          <a:bodyPr>
            <a:noAutofit/>
          </a:bodyPr>
          <a:lstStyle>
            <a:lvl1pPr>
              <a:defRPr sz="2462">
                <a:solidFill>
                  <a:schemeClr val="tx1"/>
                </a:solidFill>
              </a:defRPr>
            </a:lvl1pPr>
          </a:lstStyle>
          <a:p>
            <a:r>
              <a:rPr lang="es-ES"/>
              <a:t>Título</a:t>
            </a:r>
            <a:endParaRPr lang="en-US"/>
          </a:p>
        </p:txBody>
      </p:sp>
      <p:sp>
        <p:nvSpPr>
          <p:cNvPr id="7" name="26 Marcador de contenido"/>
          <p:cNvSpPr>
            <a:spLocks noGrp="1"/>
          </p:cNvSpPr>
          <p:nvPr>
            <p:ph sz="quarter" idx="26" hasCustomPrompt="1"/>
          </p:nvPr>
        </p:nvSpPr>
        <p:spPr>
          <a:xfrm>
            <a:off x="1192824" y="863258"/>
            <a:ext cx="8988270" cy="225425"/>
          </a:xfrm>
        </p:spPr>
        <p:txBody>
          <a:bodyPr anchor="ctr">
            <a:noAutofit/>
          </a:bodyPr>
          <a:lstStyle>
            <a:lvl1pPr marL="177239">
              <a:defRPr sz="1231" cap="all" spc="369" baseline="0">
                <a:solidFill>
                  <a:schemeClr val="tx1"/>
                </a:solidFill>
              </a:defRPr>
            </a:lvl1pPr>
            <a:lvl7pPr>
              <a:defRPr>
                <a:solidFill>
                  <a:schemeClr val="tx1">
                    <a:lumMod val="50000"/>
                    <a:lumOff val="50000"/>
                  </a:schemeClr>
                </a:solidFill>
              </a:defRPr>
            </a:lvl7pPr>
          </a:lstStyle>
          <a:p>
            <a:pPr lvl="0"/>
            <a:r>
              <a:rPr lang="es-ES"/>
              <a:t>Subtítulo</a:t>
            </a:r>
            <a:endParaRPr lang="en-US"/>
          </a:p>
        </p:txBody>
      </p:sp>
    </p:spTree>
    <p:extLst>
      <p:ext uri="{BB962C8B-B14F-4D97-AF65-F5344CB8AC3E}">
        <p14:creationId xmlns:p14="http://schemas.microsoft.com/office/powerpoint/2010/main" val="2858795653"/>
      </p:ext>
    </p:extLst>
  </p:cSld>
  <p:clrMapOvr>
    <a:masterClrMapping/>
  </p:clrMapOvr>
  <p:transition spd="slow"/>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39_Title Slide">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D4249C41-3BF6-2A49-83B4-B70F4A533645}"/>
              </a:ext>
            </a:extLst>
          </p:cNvPr>
          <p:cNvSpPr>
            <a:spLocks noGrp="1"/>
          </p:cNvSpPr>
          <p:nvPr>
            <p:ph type="pic" sz="quarter" idx="17" hasCustomPrompt="1"/>
          </p:nvPr>
        </p:nvSpPr>
        <p:spPr>
          <a:xfrm>
            <a:off x="-1" y="2"/>
            <a:ext cx="12192001" cy="6857999"/>
          </a:xfrm>
          <a:prstGeom prst="rect">
            <a:avLst/>
          </a:prstGeom>
          <a:pattFill prst="pct10">
            <a:fgClr>
              <a:schemeClr val="tx1"/>
            </a:fgClr>
            <a:bgClr>
              <a:schemeClr val="bg1"/>
            </a:bgClr>
          </a:pattFill>
        </p:spPr>
        <p:txBody>
          <a:bodyPr wrap="square" anchor="ctr">
            <a:noAutofit/>
          </a:bodyPr>
          <a:lstStyle>
            <a:lvl1pPr algn="ctr">
              <a:defRPr sz="1600" b="0" i="0">
                <a:latin typeface="Arial Normal" charset="0"/>
                <a:ea typeface="Arial Normal" charset="0"/>
                <a:cs typeface="Arial Normal" charset="0"/>
              </a:defRPr>
            </a:lvl1pPr>
          </a:lstStyle>
          <a:p>
            <a:r>
              <a:rPr lang="en-US"/>
              <a:t>Insert Image</a:t>
            </a:r>
          </a:p>
        </p:txBody>
      </p:sp>
    </p:spTree>
    <p:extLst>
      <p:ext uri="{BB962C8B-B14F-4D97-AF65-F5344CB8AC3E}">
        <p14:creationId xmlns:p14="http://schemas.microsoft.com/office/powerpoint/2010/main" val="49614434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lan de Trabajo">
    <p:spTree>
      <p:nvGrpSpPr>
        <p:cNvPr id="1" name=""/>
        <p:cNvGrpSpPr/>
        <p:nvPr/>
      </p:nvGrpSpPr>
      <p:grpSpPr>
        <a:xfrm>
          <a:off x="0" y="0"/>
          <a:ext cx="0" cy="0"/>
          <a:chOff x="0" y="0"/>
          <a:chExt cx="0" cy="0"/>
        </a:xfrm>
      </p:grpSpPr>
      <p:sp>
        <p:nvSpPr>
          <p:cNvPr id="23" name="22 Marcador de texto"/>
          <p:cNvSpPr>
            <a:spLocks noGrp="1"/>
          </p:cNvSpPr>
          <p:nvPr>
            <p:ph type="body" sz="quarter" idx="23"/>
          </p:nvPr>
        </p:nvSpPr>
        <p:spPr>
          <a:xfrm>
            <a:off x="423988" y="1320801"/>
            <a:ext cx="11344031" cy="5151940"/>
          </a:xfrm>
        </p:spPr>
        <p:txBody>
          <a:bodyPr>
            <a:noAutofit/>
          </a:bodyPr>
          <a:lstStyle>
            <a:lvl5pPr marL="1193859" indent="0">
              <a:defRPr kumimoji="0" lang="es-ES" sz="1354" b="0" i="0" u="none" strike="noStrike" kern="1200" cap="none" spc="0" normalizeH="0" baseline="0" noProof="0" dirty="0" smtClean="0">
                <a:ln>
                  <a:noFill/>
                </a:ln>
                <a:solidFill>
                  <a:srgbClr val="494949"/>
                </a:solidFill>
                <a:effectLst/>
                <a:uLnTx/>
                <a:uFillTx/>
                <a:latin typeface="+mn-lt"/>
                <a:ea typeface="+mn-ea"/>
                <a:cs typeface="+mn-cs"/>
              </a:defRPr>
            </a:lvl5pPr>
            <a:lvl6pPr marL="1057085" indent="-211027">
              <a:defRPr kumimoji="0" lang="es-ES" sz="1354" b="0" i="0" u="none" strike="noStrike" kern="1200" cap="none" spc="0" normalizeH="0" baseline="0" noProof="0" dirty="0" smtClean="0">
                <a:ln>
                  <a:noFill/>
                </a:ln>
                <a:solidFill>
                  <a:schemeClr val="tx1"/>
                </a:solidFill>
                <a:effectLst/>
                <a:uLnTx/>
                <a:uFillTx/>
                <a:latin typeface="+mn-lt"/>
                <a:ea typeface="+mn-ea"/>
                <a:cs typeface="+mn-cs"/>
              </a:defRPr>
            </a:lvl6pPr>
            <a:lvl7pPr>
              <a:defRPr/>
            </a:lvl7pPr>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a:p>
            <a:pPr marL="1041452" marR="0" lvl="4" indent="-195394" algn="l" defTabSz="1125472" rtl="0" eaLnBrk="1" fontAlgn="auto" latinLnBrk="0" hangingPunct="1">
              <a:lnSpc>
                <a:spcPct val="100000"/>
              </a:lnSpc>
              <a:spcBef>
                <a:spcPts val="0"/>
              </a:spcBef>
              <a:spcAft>
                <a:spcPts val="246"/>
              </a:spcAft>
              <a:buClr>
                <a:schemeClr val="accent1">
                  <a:lumMod val="90000"/>
                </a:schemeClr>
              </a:buClr>
              <a:buSzTx/>
              <a:buFont typeface="Arial" pitchFamily="34" charset="0"/>
              <a:buChar char="•"/>
              <a:tabLst/>
              <a:defRPr/>
            </a:pPr>
            <a:r>
              <a:rPr lang="es-ES" noProof="0"/>
              <a:t>Quinto nivel</a:t>
            </a:r>
          </a:p>
          <a:p>
            <a:pPr marL="1367761" marR="0" lvl="5" indent="-173901" algn="l" defTabSz="1125472" rtl="0" eaLnBrk="1" fontAlgn="auto" latinLnBrk="0" hangingPunct="1">
              <a:lnSpc>
                <a:spcPct val="100000"/>
              </a:lnSpc>
              <a:spcBef>
                <a:spcPct val="20000"/>
              </a:spcBef>
              <a:spcAft>
                <a:spcPts val="246"/>
              </a:spcAft>
              <a:buClr>
                <a:schemeClr val="accent1">
                  <a:lumMod val="90000"/>
                </a:schemeClr>
              </a:buClr>
              <a:buSzTx/>
              <a:buFontTx/>
              <a:buNone/>
              <a:tabLst/>
              <a:defRPr/>
            </a:pPr>
            <a:r>
              <a:rPr lang="es-ES" noProof="0"/>
              <a:t>- </a:t>
            </a:r>
            <a:r>
              <a:rPr lang="es-ES" noProof="0" err="1"/>
              <a:t>bhhh</a:t>
            </a:r>
            <a:endParaRPr lang="es-ES" noProof="0"/>
          </a:p>
        </p:txBody>
      </p:sp>
      <p:sp>
        <p:nvSpPr>
          <p:cNvPr id="92" name="27 Título"/>
          <p:cNvSpPr>
            <a:spLocks noGrp="1"/>
          </p:cNvSpPr>
          <p:nvPr userDrawn="1">
            <p:ph type="title" hasCustomPrompt="1"/>
          </p:nvPr>
        </p:nvSpPr>
        <p:spPr>
          <a:xfrm>
            <a:off x="1235961" y="334933"/>
            <a:ext cx="8936800" cy="518277"/>
          </a:xfrm>
        </p:spPr>
        <p:txBody>
          <a:bodyPr>
            <a:noAutofit/>
          </a:bodyPr>
          <a:lstStyle>
            <a:lvl1pPr>
              <a:defRPr sz="2462">
                <a:solidFill>
                  <a:schemeClr val="tx1"/>
                </a:solidFill>
              </a:defRPr>
            </a:lvl1pPr>
          </a:lstStyle>
          <a:p>
            <a:r>
              <a:rPr lang="es-ES"/>
              <a:t>Título</a:t>
            </a:r>
            <a:endParaRPr lang="en-US"/>
          </a:p>
        </p:txBody>
      </p:sp>
      <p:sp>
        <p:nvSpPr>
          <p:cNvPr id="7" name="26 Marcador de contenido"/>
          <p:cNvSpPr>
            <a:spLocks noGrp="1"/>
          </p:cNvSpPr>
          <p:nvPr>
            <p:ph sz="quarter" idx="26" hasCustomPrompt="1"/>
          </p:nvPr>
        </p:nvSpPr>
        <p:spPr>
          <a:xfrm>
            <a:off x="1192824" y="863258"/>
            <a:ext cx="8988270" cy="225425"/>
          </a:xfrm>
        </p:spPr>
        <p:txBody>
          <a:bodyPr anchor="ctr">
            <a:noAutofit/>
          </a:bodyPr>
          <a:lstStyle>
            <a:lvl1pPr marL="177239">
              <a:defRPr sz="1231" cap="all" spc="369" baseline="0">
                <a:solidFill>
                  <a:schemeClr val="tx1"/>
                </a:solidFill>
              </a:defRPr>
            </a:lvl1pPr>
            <a:lvl7pPr>
              <a:defRPr>
                <a:solidFill>
                  <a:schemeClr val="tx1">
                    <a:lumMod val="50000"/>
                    <a:lumOff val="50000"/>
                  </a:schemeClr>
                </a:solidFill>
              </a:defRPr>
            </a:lvl7pPr>
          </a:lstStyle>
          <a:p>
            <a:pPr lvl="0"/>
            <a:r>
              <a:rPr lang="es-ES"/>
              <a:t>Subtítulo</a:t>
            </a:r>
            <a:endParaRPr lang="en-US"/>
          </a:p>
        </p:txBody>
      </p:sp>
    </p:spTree>
    <p:extLst>
      <p:ext uri="{BB962C8B-B14F-4D97-AF65-F5344CB8AC3E}">
        <p14:creationId xmlns:p14="http://schemas.microsoft.com/office/powerpoint/2010/main" val="767441809"/>
      </p:ext>
    </p:extLst>
  </p:cSld>
  <p:clrMapOvr>
    <a:masterClrMapping/>
  </p:clrMapOvr>
  <p:transition spd="slow"/>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Organización y Equipo">
    <p:spTree>
      <p:nvGrpSpPr>
        <p:cNvPr id="1" name=""/>
        <p:cNvGrpSpPr/>
        <p:nvPr/>
      </p:nvGrpSpPr>
      <p:grpSpPr>
        <a:xfrm>
          <a:off x="0" y="0"/>
          <a:ext cx="0" cy="0"/>
          <a:chOff x="0" y="0"/>
          <a:chExt cx="0" cy="0"/>
        </a:xfrm>
      </p:grpSpPr>
      <p:sp>
        <p:nvSpPr>
          <p:cNvPr id="23" name="22 Marcador de texto"/>
          <p:cNvSpPr>
            <a:spLocks noGrp="1"/>
          </p:cNvSpPr>
          <p:nvPr>
            <p:ph type="body" sz="quarter" idx="23"/>
          </p:nvPr>
        </p:nvSpPr>
        <p:spPr>
          <a:xfrm>
            <a:off x="423988" y="1320801"/>
            <a:ext cx="11344031" cy="5151940"/>
          </a:xfrm>
        </p:spPr>
        <p:txBody>
          <a:bodyPr>
            <a:noAutofit/>
          </a:bodyPr>
          <a:lstStyle>
            <a:lvl5pPr marL="1057085" indent="-211027">
              <a:defRPr kumimoji="0" lang="es-ES" sz="1354" b="0" i="0" u="none" strike="noStrike" kern="1200" cap="none" spc="0" normalizeH="0" baseline="0" noProof="0" dirty="0" smtClean="0">
                <a:ln>
                  <a:noFill/>
                </a:ln>
                <a:solidFill>
                  <a:srgbClr val="494949"/>
                </a:solidFill>
                <a:effectLst/>
                <a:uLnTx/>
                <a:uFillTx/>
                <a:latin typeface="+mn-lt"/>
                <a:ea typeface="+mn-ea"/>
                <a:cs typeface="+mn-cs"/>
              </a:defRPr>
            </a:lvl5pPr>
            <a:lvl6pPr marL="1193859" indent="0">
              <a:defRPr kumimoji="0" lang="es-ES" sz="1354" b="0" i="0" u="none" strike="noStrike" kern="1200" cap="none" spc="0" normalizeH="0" baseline="0" noProof="0" dirty="0" smtClean="0">
                <a:ln>
                  <a:noFill/>
                </a:ln>
                <a:solidFill>
                  <a:schemeClr val="tx1"/>
                </a:solidFill>
                <a:effectLst/>
                <a:uLnTx/>
                <a:uFillTx/>
                <a:latin typeface="+mn-lt"/>
                <a:ea typeface="+mn-ea"/>
                <a:cs typeface="+mn-cs"/>
              </a:defRPr>
            </a:lvl6pPr>
            <a:lvl7pPr>
              <a:defRPr/>
            </a:lvl7pPr>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a:p>
            <a:pPr marL="1041452" marR="0" lvl="4" indent="-195394" algn="l" defTabSz="1125472" rtl="0" eaLnBrk="1" fontAlgn="auto" latinLnBrk="0" hangingPunct="1">
              <a:lnSpc>
                <a:spcPct val="100000"/>
              </a:lnSpc>
              <a:spcBef>
                <a:spcPts val="0"/>
              </a:spcBef>
              <a:spcAft>
                <a:spcPts val="246"/>
              </a:spcAft>
              <a:buClr>
                <a:schemeClr val="accent1">
                  <a:lumMod val="90000"/>
                </a:schemeClr>
              </a:buClr>
              <a:buSzTx/>
              <a:buFont typeface="Arial" pitchFamily="34" charset="0"/>
              <a:buChar char="•"/>
              <a:tabLst/>
              <a:defRPr/>
            </a:pPr>
            <a:r>
              <a:rPr lang="es-ES" noProof="0"/>
              <a:t>Quinto nivel</a:t>
            </a:r>
          </a:p>
          <a:p>
            <a:pPr marL="1367761" lvl="5" indent="-173901" algn="l" defTabSz="1125472" rtl="0" eaLnBrk="1" latinLnBrk="0" hangingPunct="1">
              <a:spcBef>
                <a:spcPct val="20000"/>
              </a:spcBef>
              <a:buFontTx/>
              <a:buNone/>
              <a:tabLst/>
            </a:pPr>
            <a:r>
              <a:rPr lang="es-ES" noProof="0"/>
              <a:t>- </a:t>
            </a:r>
            <a:r>
              <a:rPr lang="es-ES" noProof="0" err="1"/>
              <a:t>bhhh</a:t>
            </a:r>
            <a:endParaRPr lang="es-ES" noProof="0"/>
          </a:p>
        </p:txBody>
      </p:sp>
      <p:sp>
        <p:nvSpPr>
          <p:cNvPr id="92" name="27 Título"/>
          <p:cNvSpPr>
            <a:spLocks noGrp="1"/>
          </p:cNvSpPr>
          <p:nvPr userDrawn="1">
            <p:ph type="title" hasCustomPrompt="1"/>
          </p:nvPr>
        </p:nvSpPr>
        <p:spPr>
          <a:xfrm>
            <a:off x="1235961" y="334933"/>
            <a:ext cx="8936800" cy="518277"/>
          </a:xfrm>
        </p:spPr>
        <p:txBody>
          <a:bodyPr>
            <a:noAutofit/>
          </a:bodyPr>
          <a:lstStyle>
            <a:lvl1pPr>
              <a:defRPr sz="2462">
                <a:solidFill>
                  <a:schemeClr val="tx1"/>
                </a:solidFill>
              </a:defRPr>
            </a:lvl1pPr>
          </a:lstStyle>
          <a:p>
            <a:r>
              <a:rPr lang="es-ES"/>
              <a:t>Título</a:t>
            </a:r>
            <a:endParaRPr lang="en-US"/>
          </a:p>
        </p:txBody>
      </p:sp>
      <p:sp>
        <p:nvSpPr>
          <p:cNvPr id="7" name="26 Marcador de contenido"/>
          <p:cNvSpPr>
            <a:spLocks noGrp="1"/>
          </p:cNvSpPr>
          <p:nvPr>
            <p:ph sz="quarter" idx="26" hasCustomPrompt="1"/>
          </p:nvPr>
        </p:nvSpPr>
        <p:spPr>
          <a:xfrm>
            <a:off x="1192824" y="863258"/>
            <a:ext cx="8988270" cy="225425"/>
          </a:xfrm>
        </p:spPr>
        <p:txBody>
          <a:bodyPr anchor="ctr">
            <a:noAutofit/>
          </a:bodyPr>
          <a:lstStyle>
            <a:lvl1pPr marL="177239">
              <a:defRPr sz="1231" cap="all" spc="369" baseline="0">
                <a:solidFill>
                  <a:schemeClr val="tx1"/>
                </a:solidFill>
              </a:defRPr>
            </a:lvl1pPr>
            <a:lvl7pPr>
              <a:defRPr>
                <a:solidFill>
                  <a:schemeClr val="tx1">
                    <a:lumMod val="50000"/>
                    <a:lumOff val="50000"/>
                  </a:schemeClr>
                </a:solidFill>
              </a:defRPr>
            </a:lvl7pPr>
          </a:lstStyle>
          <a:p>
            <a:pPr lvl="0"/>
            <a:r>
              <a:rPr lang="es-ES"/>
              <a:t>Subtítulo</a:t>
            </a:r>
            <a:endParaRPr lang="en-US"/>
          </a:p>
        </p:txBody>
      </p:sp>
    </p:spTree>
    <p:extLst>
      <p:ext uri="{BB962C8B-B14F-4D97-AF65-F5344CB8AC3E}">
        <p14:creationId xmlns:p14="http://schemas.microsoft.com/office/powerpoint/2010/main" val="1003386285"/>
      </p:ext>
    </p:extLst>
  </p:cSld>
  <p:clrMapOvr>
    <a:masterClrMapping/>
  </p:clrMapOvr>
  <p:transition spd="slow"/>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Oferta Económica">
    <p:spTree>
      <p:nvGrpSpPr>
        <p:cNvPr id="1" name=""/>
        <p:cNvGrpSpPr/>
        <p:nvPr/>
      </p:nvGrpSpPr>
      <p:grpSpPr>
        <a:xfrm>
          <a:off x="0" y="0"/>
          <a:ext cx="0" cy="0"/>
          <a:chOff x="0" y="0"/>
          <a:chExt cx="0" cy="0"/>
        </a:xfrm>
      </p:grpSpPr>
      <p:sp>
        <p:nvSpPr>
          <p:cNvPr id="23" name="22 Marcador de texto"/>
          <p:cNvSpPr>
            <a:spLocks noGrp="1"/>
          </p:cNvSpPr>
          <p:nvPr>
            <p:ph type="body" sz="quarter" idx="23"/>
          </p:nvPr>
        </p:nvSpPr>
        <p:spPr>
          <a:xfrm>
            <a:off x="423988" y="1320801"/>
            <a:ext cx="11344031" cy="5151940"/>
          </a:xfrm>
        </p:spPr>
        <p:txBody>
          <a:bodyPr>
            <a:noAutofit/>
          </a:bodyPr>
          <a:lstStyle>
            <a:lvl5pPr marL="1057085" indent="-211027">
              <a:defRPr kumimoji="0" lang="es-ES" sz="1354" b="0" i="0" u="none" strike="noStrike" kern="1200" cap="none" spc="0" normalizeH="0" baseline="0" noProof="0" dirty="0" smtClean="0">
                <a:ln>
                  <a:noFill/>
                </a:ln>
                <a:solidFill>
                  <a:srgbClr val="494949"/>
                </a:solidFill>
                <a:effectLst/>
                <a:uLnTx/>
                <a:uFillTx/>
                <a:latin typeface="+mn-lt"/>
                <a:ea typeface="+mn-ea"/>
                <a:cs typeface="+mn-cs"/>
              </a:defRPr>
            </a:lvl5pPr>
            <a:lvl6pPr marL="1057085" indent="-211027">
              <a:defRPr/>
            </a:lvl6pPr>
            <a:lvl7pPr>
              <a:defRPr/>
            </a:lvl7pPr>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a:p>
            <a:pPr marL="1041452" marR="0" lvl="4" indent="-195394" algn="l" defTabSz="1125472" rtl="0" eaLnBrk="1" fontAlgn="auto" latinLnBrk="0" hangingPunct="1">
              <a:lnSpc>
                <a:spcPct val="100000"/>
              </a:lnSpc>
              <a:spcBef>
                <a:spcPts val="0"/>
              </a:spcBef>
              <a:spcAft>
                <a:spcPts val="246"/>
              </a:spcAft>
              <a:buClr>
                <a:schemeClr val="accent1">
                  <a:lumMod val="90000"/>
                </a:schemeClr>
              </a:buClr>
              <a:buSzTx/>
              <a:buFont typeface="Arial" pitchFamily="34" charset="0"/>
              <a:buChar char="•"/>
              <a:tabLst/>
              <a:defRPr/>
            </a:pPr>
            <a:r>
              <a:rPr lang="es-ES" noProof="0"/>
              <a:t>Quinto nivel</a:t>
            </a:r>
          </a:p>
          <a:p>
            <a:pPr marL="1041452" marR="0" lvl="4" indent="-195394" algn="l" defTabSz="1125472" rtl="0" eaLnBrk="1" fontAlgn="auto" latinLnBrk="0" hangingPunct="1">
              <a:lnSpc>
                <a:spcPct val="100000"/>
              </a:lnSpc>
              <a:spcBef>
                <a:spcPts val="0"/>
              </a:spcBef>
              <a:spcAft>
                <a:spcPts val="246"/>
              </a:spcAft>
              <a:buClr>
                <a:schemeClr val="accent1">
                  <a:lumMod val="90000"/>
                </a:schemeClr>
              </a:buClr>
              <a:buSzTx/>
              <a:buFont typeface="Arial" pitchFamily="34" charset="0"/>
              <a:buChar char="•"/>
              <a:tabLst/>
              <a:defRPr/>
            </a:pPr>
            <a:r>
              <a:rPr lang="es-ES" noProof="0"/>
              <a:t>- </a:t>
            </a:r>
            <a:r>
              <a:rPr lang="es-ES" noProof="0" err="1"/>
              <a:t>bhhh</a:t>
            </a:r>
            <a:endParaRPr lang="es-ES" noProof="0"/>
          </a:p>
        </p:txBody>
      </p:sp>
      <p:sp>
        <p:nvSpPr>
          <p:cNvPr id="92" name="27 Título"/>
          <p:cNvSpPr>
            <a:spLocks noGrp="1"/>
          </p:cNvSpPr>
          <p:nvPr userDrawn="1">
            <p:ph type="title" hasCustomPrompt="1"/>
          </p:nvPr>
        </p:nvSpPr>
        <p:spPr>
          <a:xfrm>
            <a:off x="1235961" y="334933"/>
            <a:ext cx="8936800" cy="518277"/>
          </a:xfrm>
        </p:spPr>
        <p:txBody>
          <a:bodyPr>
            <a:noAutofit/>
          </a:bodyPr>
          <a:lstStyle>
            <a:lvl1pPr>
              <a:defRPr sz="2462">
                <a:solidFill>
                  <a:schemeClr val="tx1"/>
                </a:solidFill>
              </a:defRPr>
            </a:lvl1pPr>
          </a:lstStyle>
          <a:p>
            <a:r>
              <a:rPr lang="es-ES"/>
              <a:t>Título</a:t>
            </a:r>
            <a:endParaRPr lang="en-US"/>
          </a:p>
        </p:txBody>
      </p:sp>
      <p:sp>
        <p:nvSpPr>
          <p:cNvPr id="7" name="26 Marcador de contenido"/>
          <p:cNvSpPr>
            <a:spLocks noGrp="1"/>
          </p:cNvSpPr>
          <p:nvPr>
            <p:ph sz="quarter" idx="26" hasCustomPrompt="1"/>
          </p:nvPr>
        </p:nvSpPr>
        <p:spPr>
          <a:xfrm>
            <a:off x="1192824" y="863258"/>
            <a:ext cx="8988270" cy="225425"/>
          </a:xfrm>
        </p:spPr>
        <p:txBody>
          <a:bodyPr anchor="ctr">
            <a:noAutofit/>
          </a:bodyPr>
          <a:lstStyle>
            <a:lvl1pPr marL="177239">
              <a:defRPr sz="1231" cap="all" spc="369" baseline="0">
                <a:solidFill>
                  <a:schemeClr val="tx1"/>
                </a:solidFill>
              </a:defRPr>
            </a:lvl1pPr>
            <a:lvl7pPr>
              <a:defRPr>
                <a:solidFill>
                  <a:schemeClr val="tx1">
                    <a:lumMod val="50000"/>
                    <a:lumOff val="50000"/>
                  </a:schemeClr>
                </a:solidFill>
              </a:defRPr>
            </a:lvl7pPr>
          </a:lstStyle>
          <a:p>
            <a:pPr lvl="0"/>
            <a:r>
              <a:rPr lang="es-ES"/>
              <a:t>Subtítulo</a:t>
            </a:r>
            <a:endParaRPr lang="en-US"/>
          </a:p>
        </p:txBody>
      </p:sp>
    </p:spTree>
    <p:extLst>
      <p:ext uri="{BB962C8B-B14F-4D97-AF65-F5344CB8AC3E}">
        <p14:creationId xmlns:p14="http://schemas.microsoft.com/office/powerpoint/2010/main" val="3984059789"/>
      </p:ext>
    </p:extLst>
  </p:cSld>
  <p:clrMapOvr>
    <a:masterClrMapping/>
  </p:clrMapOvr>
  <p:transition spd="slow"/>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_principal">
    <p:spTree>
      <p:nvGrpSpPr>
        <p:cNvPr id="1" name=""/>
        <p:cNvGrpSpPr/>
        <p:nvPr/>
      </p:nvGrpSpPr>
      <p:grpSpPr>
        <a:xfrm>
          <a:off x="0" y="0"/>
          <a:ext cx="0" cy="0"/>
          <a:chOff x="0" y="0"/>
          <a:chExt cx="0" cy="0"/>
        </a:xfrm>
      </p:grpSpPr>
      <p:sp>
        <p:nvSpPr>
          <p:cNvPr id="30" name="29 Rectángulo"/>
          <p:cNvSpPr/>
          <p:nvPr userDrawn="1"/>
        </p:nvSpPr>
        <p:spPr bwMode="auto">
          <a:xfrm>
            <a:off x="0" y="0"/>
            <a:ext cx="12192000" cy="6858000"/>
          </a:xfrm>
          <a:prstGeom prst="rect">
            <a:avLst/>
          </a:prstGeom>
          <a:solidFill>
            <a:schemeClr val="bg1"/>
          </a:solidFill>
          <a:ln w="9525">
            <a:noFill/>
            <a:round/>
            <a:headEnd/>
            <a:tailEnd/>
          </a:ln>
        </p:spPr>
        <p:txBody>
          <a:bodyPr vert="horz" wrap="square" lIns="112542" tIns="56271" rIns="112542" bIns="56271" numCol="1" rtlCol="0" anchor="t" anchorCtr="0" compatLnSpc="1">
            <a:prstTxWarp prst="textNoShape">
              <a:avLst/>
            </a:prstTxWarp>
          </a:bodyPr>
          <a:lstStyle/>
          <a:p>
            <a:pPr algn="ctr"/>
            <a:endParaRPr lang="en-US" sz="2215"/>
          </a:p>
        </p:txBody>
      </p:sp>
    </p:spTree>
    <p:extLst>
      <p:ext uri="{BB962C8B-B14F-4D97-AF65-F5344CB8AC3E}">
        <p14:creationId xmlns:p14="http://schemas.microsoft.com/office/powerpoint/2010/main" val="2919994686"/>
      </p:ext>
    </p:extLst>
  </p:cSld>
  <p:clrMapOvr>
    <a:masterClrMapping/>
  </p:clrMapOvr>
  <p:transition spd="slow"/>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cSld name="str - general (título y nume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6DDE8FC-D7A6-4741-B4E6-95DC363B1FF4}"/>
              </a:ext>
            </a:extLst>
          </p:cNvPr>
          <p:cNvSpPr>
            <a:spLocks noGrp="1"/>
          </p:cNvSpPr>
          <p:nvPr>
            <p:ph type="title" hasCustomPrompt="1"/>
          </p:nvPr>
        </p:nvSpPr>
        <p:spPr>
          <a:xfrm>
            <a:off x="347502" y="219070"/>
            <a:ext cx="10515600" cy="365721"/>
          </a:xfrm>
        </p:spPr>
        <p:txBody>
          <a:bodyPr/>
          <a:lstStyle>
            <a:lvl1pPr>
              <a:defRPr sz="1800"/>
            </a:lvl1pPr>
          </a:lstStyle>
          <a:p>
            <a:r>
              <a:rPr lang="es-ES"/>
              <a:t>Haga clic para modificar el estilo de título del patrón </a:t>
            </a:r>
          </a:p>
        </p:txBody>
      </p:sp>
      <p:sp>
        <p:nvSpPr>
          <p:cNvPr id="5" name="Rectángulo 4">
            <a:extLst>
              <a:ext uri="{FF2B5EF4-FFF2-40B4-BE49-F238E27FC236}">
                <a16:creationId xmlns:a16="http://schemas.microsoft.com/office/drawing/2014/main" id="{D8AAFF47-09E5-284E-8593-50ABF65A3231}"/>
              </a:ext>
            </a:extLst>
          </p:cNvPr>
          <p:cNvSpPr/>
          <p:nvPr userDrawn="1"/>
        </p:nvSpPr>
        <p:spPr>
          <a:xfrm>
            <a:off x="0" y="6579031"/>
            <a:ext cx="12192000" cy="27896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 name="Page Placeholder Gray">
            <a:extLst>
              <a:ext uri="{FF2B5EF4-FFF2-40B4-BE49-F238E27FC236}">
                <a16:creationId xmlns:a16="http://schemas.microsoft.com/office/drawing/2014/main" id="{A2B004A2-055B-C94D-B5F9-C5B01DE0DCA4}"/>
              </a:ext>
            </a:extLst>
          </p:cNvPr>
          <p:cNvSpPr txBox="1"/>
          <p:nvPr userDrawn="1"/>
        </p:nvSpPr>
        <p:spPr>
          <a:xfrm>
            <a:off x="11623729" y="6664293"/>
            <a:ext cx="448170" cy="107722"/>
          </a:xfrm>
          <a:prstGeom prst="rect">
            <a:avLst/>
          </a:prstGeom>
          <a:noFill/>
        </p:spPr>
        <p:txBody>
          <a:bodyPr wrap="square" lIns="0" tIns="0" rIns="0" bIns="0" rtlCol="0" anchor="t" anchorCtr="0">
            <a:spAutoFit/>
          </a:bodyPr>
          <a:lstStyle/>
          <a:p>
            <a:pPr algn="ctr"/>
            <a:fld id="{9AE4D82F-B047-469B-AC52-A46321747EAF}" type="slidenum">
              <a:rPr lang="en-GB" sz="700" smtClean="0">
                <a:solidFill>
                  <a:srgbClr val="646464"/>
                </a:solidFill>
                <a:latin typeface="Arial" panose="020B0604020202020204" pitchFamily="34" charset="0"/>
                <a:cs typeface="Arial" panose="020B0604020202020204" pitchFamily="34" charset="0"/>
              </a:rPr>
              <a:pPr algn="ctr"/>
              <a:t>‹Nº›</a:t>
            </a:fld>
            <a:endParaRPr lang="en-GB" sz="800">
              <a:solidFill>
                <a:srgbClr val="646464"/>
              </a:solidFill>
              <a:latin typeface="Arial" panose="020B0604020202020204" pitchFamily="34" charset="0"/>
              <a:cs typeface="Arial" panose="020B0604020202020204" pitchFamily="34" charset="0"/>
            </a:endParaRPr>
          </a:p>
        </p:txBody>
      </p:sp>
      <p:sp>
        <p:nvSpPr>
          <p:cNvPr id="8" name="Rectangle 12">
            <a:extLst>
              <a:ext uri="{FF2B5EF4-FFF2-40B4-BE49-F238E27FC236}">
                <a16:creationId xmlns:a16="http://schemas.microsoft.com/office/drawing/2014/main" id="{C7F68D79-FD9F-794B-A85B-C63205077C43}"/>
              </a:ext>
            </a:extLst>
          </p:cNvPr>
          <p:cNvSpPr/>
          <p:nvPr userDrawn="1"/>
        </p:nvSpPr>
        <p:spPr>
          <a:xfrm>
            <a:off x="192152" y="6663354"/>
            <a:ext cx="5834311" cy="107722"/>
          </a:xfrm>
          <a:prstGeom prst="rect">
            <a:avLst/>
          </a:prstGeom>
          <a:noFill/>
        </p:spPr>
        <p:txBody>
          <a:bodyPr wrap="square" lIns="0" tIns="0" rIns="0" bIns="0" rtlCol="0" anchor="t" anchorCtr="0">
            <a:spAutoFit/>
          </a:bodyPr>
          <a:lstStyle/>
          <a:p>
            <a:r>
              <a:rPr lang="en-US" sz="700">
                <a:solidFill>
                  <a:srgbClr val="646464"/>
                </a:solidFill>
                <a:latin typeface="Arial" panose="020B0604020202020204" pitchFamily="34" charset="0"/>
                <a:cs typeface="Arial" panose="020B0604020202020204" pitchFamily="34" charset="0"/>
              </a:rPr>
              <a:t>Stratesys Technology Solutions -  All Rights Reserved - </a:t>
            </a:r>
            <a:r>
              <a:rPr lang="en-US" sz="700" noProof="0">
                <a:solidFill>
                  <a:srgbClr val="646464"/>
                </a:solidFill>
                <a:latin typeface="Arial" panose="020B0604020202020204" pitchFamily="34" charset="0"/>
                <a:cs typeface="Arial" panose="020B0604020202020204" pitchFamily="34" charset="0"/>
              </a:rPr>
              <a:t>Confidential</a:t>
            </a:r>
            <a:endParaRPr lang="en-US" sz="700">
              <a:solidFill>
                <a:srgbClr val="646464"/>
              </a:solidFill>
              <a:latin typeface="EYInterstate Light" panose="02000506000000020004" pitchFamily="2" charset="0"/>
            </a:endParaRPr>
          </a:p>
        </p:txBody>
      </p:sp>
    </p:spTree>
    <p:extLst>
      <p:ext uri="{BB962C8B-B14F-4D97-AF65-F5344CB8AC3E}">
        <p14:creationId xmlns:p14="http://schemas.microsoft.com/office/powerpoint/2010/main" val="1093900498"/>
      </p:ext>
    </p:extLst>
  </p:cSld>
  <p:clrMapOvr>
    <a:masterClrMapping/>
  </p:clrMapOvr>
  <p:extLst>
    <p:ext uri="{DCECCB84-F9BA-43D5-87BE-67443E8EF086}">
      <p15:sldGuideLst xmlns:p15="http://schemas.microsoft.com/office/powerpoint/2012/main">
        <p15:guide id="1" orient="horz" pos="2319">
          <p15:clr>
            <a:srgbClr val="FBAE40"/>
          </p15:clr>
        </p15:guide>
        <p15:guide id="2" pos="279">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69_Title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3DEBDAB1-EC3B-E842-B160-885DDB9F8FEB}"/>
              </a:ext>
            </a:extLst>
          </p:cNvPr>
          <p:cNvSpPr>
            <a:spLocks noGrp="1"/>
          </p:cNvSpPr>
          <p:nvPr>
            <p:ph type="pic" sz="quarter" idx="16" hasCustomPrompt="1"/>
          </p:nvPr>
        </p:nvSpPr>
        <p:spPr>
          <a:xfrm>
            <a:off x="1" y="455151"/>
            <a:ext cx="1379622" cy="6126124"/>
          </a:xfrm>
          <a:prstGeom prst="rect">
            <a:avLst/>
          </a:prstGeom>
          <a:pattFill prst="pct10">
            <a:fgClr>
              <a:schemeClr val="tx1"/>
            </a:fgClr>
            <a:bgClr>
              <a:schemeClr val="bg1"/>
            </a:bgClr>
          </a:pattFill>
        </p:spPr>
        <p:txBody>
          <a:bodyPr wrap="square" anchor="ctr">
            <a:noAutofit/>
          </a:bodyPr>
          <a:lstStyle>
            <a:lvl1pPr algn="ctr">
              <a:defRPr sz="1600" b="0" i="0">
                <a:latin typeface="Arial Normal" charset="0"/>
                <a:ea typeface="Arial Normal" charset="0"/>
                <a:cs typeface="Arial Normal" charset="0"/>
              </a:defRPr>
            </a:lvl1pPr>
          </a:lstStyle>
          <a:p>
            <a:r>
              <a:rPr lang="en-US"/>
              <a:t>Insert Image</a:t>
            </a:r>
          </a:p>
        </p:txBody>
      </p:sp>
    </p:spTree>
    <p:extLst>
      <p:ext uri="{BB962C8B-B14F-4D97-AF65-F5344CB8AC3E}">
        <p14:creationId xmlns:p14="http://schemas.microsoft.com/office/powerpoint/2010/main" val="300483457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str -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258179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emplate Propuesta 2022 - Portada">
    <p:spTree>
      <p:nvGrpSpPr>
        <p:cNvPr id="1" name=""/>
        <p:cNvGrpSpPr/>
        <p:nvPr/>
      </p:nvGrpSpPr>
      <p:grpSpPr>
        <a:xfrm>
          <a:off x="0" y="0"/>
          <a:ext cx="0" cy="0"/>
          <a:chOff x="0" y="0"/>
          <a:chExt cx="0" cy="0"/>
        </a:xfrm>
      </p:grpSpPr>
      <p:pic>
        <p:nvPicPr>
          <p:cNvPr id="15" name="Imagen 14">
            <a:extLst>
              <a:ext uri="{FF2B5EF4-FFF2-40B4-BE49-F238E27FC236}">
                <a16:creationId xmlns:a16="http://schemas.microsoft.com/office/drawing/2014/main" id="{D646C6E6-9416-2F4A-96B0-0D940E14D88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3866302"/>
          </a:xfrm>
          <a:prstGeom prst="rect">
            <a:avLst/>
          </a:prstGeom>
        </p:spPr>
      </p:pic>
      <p:sp>
        <p:nvSpPr>
          <p:cNvPr id="16" name="Rectangle 24">
            <a:extLst>
              <a:ext uri="{FF2B5EF4-FFF2-40B4-BE49-F238E27FC236}">
                <a16:creationId xmlns:a16="http://schemas.microsoft.com/office/drawing/2014/main" id="{A6A5844C-635D-0141-9317-E938D282690F}"/>
              </a:ext>
            </a:extLst>
          </p:cNvPr>
          <p:cNvSpPr/>
          <p:nvPr userDrawn="1"/>
        </p:nvSpPr>
        <p:spPr>
          <a:xfrm>
            <a:off x="0" y="0"/>
            <a:ext cx="12192000" cy="3866303"/>
          </a:xfrm>
          <a:prstGeom prst="rect">
            <a:avLst/>
          </a:prstGeom>
          <a:solidFill>
            <a:schemeClr val="bg1">
              <a:alpha val="15015"/>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1" i="0" u="none" strike="noStrike" kern="1200" cap="none" spc="300" normalizeH="0" baseline="0" noProof="0">
              <a:ln>
                <a:noFill/>
              </a:ln>
              <a:solidFill>
                <a:srgbClr val="FFFFFF"/>
              </a:solidFill>
              <a:effectLst/>
              <a:uLnTx/>
              <a:uFillTx/>
              <a:latin typeface="Arial" panose="020B0604020202020204"/>
              <a:ea typeface="+mn-ea"/>
              <a:cs typeface="+mn-cs"/>
            </a:endParaRPr>
          </a:p>
        </p:txBody>
      </p:sp>
      <p:sp>
        <p:nvSpPr>
          <p:cNvPr id="403" name="Marcador de título 2"/>
          <p:cNvSpPr>
            <a:spLocks noGrp="1"/>
          </p:cNvSpPr>
          <p:nvPr userDrawn="1">
            <p:ph type="title" hasCustomPrompt="1"/>
          </p:nvPr>
        </p:nvSpPr>
        <p:spPr>
          <a:xfrm>
            <a:off x="2897206" y="4253125"/>
            <a:ext cx="8782184" cy="1400153"/>
          </a:xfrm>
          <a:prstGeom prst="rect">
            <a:avLst/>
          </a:prstGeom>
        </p:spPr>
        <p:txBody>
          <a:bodyPr vert="horz" lIns="91440" tIns="45720" rIns="91440" bIns="45720" rtlCol="0" anchor="ctr">
            <a:noAutofit/>
          </a:bodyPr>
          <a:lstStyle>
            <a:lvl1pPr>
              <a:defRPr sz="3200" b="1" spc="0">
                <a:solidFill>
                  <a:schemeClr val="tx2"/>
                </a:solidFill>
                <a:latin typeface="+mj-lt"/>
              </a:defRPr>
            </a:lvl1pPr>
          </a:lstStyle>
          <a:p>
            <a:r>
              <a:rPr lang="es-ES_tradnl"/>
              <a:t>Nombre del Proyecto</a:t>
            </a:r>
            <a:endParaRPr lang="en-US"/>
          </a:p>
        </p:txBody>
      </p:sp>
      <p:sp>
        <p:nvSpPr>
          <p:cNvPr id="413" name="Marcador de texto 412"/>
          <p:cNvSpPr>
            <a:spLocks noGrp="1"/>
          </p:cNvSpPr>
          <p:nvPr userDrawn="1">
            <p:ph type="body" sz="quarter" idx="10" hasCustomPrompt="1"/>
          </p:nvPr>
        </p:nvSpPr>
        <p:spPr>
          <a:xfrm>
            <a:off x="2897204" y="5863739"/>
            <a:ext cx="8782185" cy="329838"/>
          </a:xfrm>
          <a:prstGeom prst="rect">
            <a:avLst/>
          </a:prstGeom>
        </p:spPr>
        <p:txBody>
          <a:bodyPr>
            <a:noAutofit/>
          </a:bodyPr>
          <a:lstStyle>
            <a:lvl1pPr>
              <a:defRPr sz="1400">
                <a:solidFill>
                  <a:schemeClr val="tx2"/>
                </a:solidFill>
              </a:defRPr>
            </a:lvl1pPr>
          </a:lstStyle>
          <a:p>
            <a:pPr lvl="0"/>
            <a:r>
              <a:rPr lang="es-ES_tradnl"/>
              <a:t>Fecha</a:t>
            </a:r>
            <a:endParaRPr lang="en-US"/>
          </a:p>
        </p:txBody>
      </p:sp>
      <p:cxnSp>
        <p:nvCxnSpPr>
          <p:cNvPr id="25" name="Conector recto 24"/>
          <p:cNvCxnSpPr>
            <a:cxnSpLocks/>
          </p:cNvCxnSpPr>
          <p:nvPr userDrawn="1"/>
        </p:nvCxnSpPr>
        <p:spPr>
          <a:xfrm>
            <a:off x="2897204" y="5778222"/>
            <a:ext cx="878218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7" name="Grupo 16">
            <a:extLst>
              <a:ext uri="{FF2B5EF4-FFF2-40B4-BE49-F238E27FC236}">
                <a16:creationId xmlns:a16="http://schemas.microsoft.com/office/drawing/2014/main" id="{C91D9E2C-4D0F-E44F-971D-01B1105F7012}"/>
              </a:ext>
            </a:extLst>
          </p:cNvPr>
          <p:cNvGrpSpPr/>
          <p:nvPr userDrawn="1"/>
        </p:nvGrpSpPr>
        <p:grpSpPr>
          <a:xfrm>
            <a:off x="4273148" y="300065"/>
            <a:ext cx="3645704" cy="3266172"/>
            <a:chOff x="3703034" y="585609"/>
            <a:chExt cx="4785933" cy="4287699"/>
          </a:xfrm>
        </p:grpSpPr>
        <p:sp>
          <p:nvSpPr>
            <p:cNvPr id="18" name="Rectangle 24">
              <a:extLst>
                <a:ext uri="{FF2B5EF4-FFF2-40B4-BE49-F238E27FC236}">
                  <a16:creationId xmlns:a16="http://schemas.microsoft.com/office/drawing/2014/main" id="{DA370FB5-977C-4447-AF1E-B3E8C19AE42A}"/>
                </a:ext>
              </a:extLst>
            </p:cNvPr>
            <p:cNvSpPr/>
            <p:nvPr/>
          </p:nvSpPr>
          <p:spPr>
            <a:xfrm>
              <a:off x="3952151" y="585609"/>
              <a:ext cx="4287699" cy="4287699"/>
            </a:xfrm>
            <a:prstGeom prst="rect">
              <a:avLst/>
            </a:prstGeom>
            <a:solidFill>
              <a:schemeClr val="bg1">
                <a:alpha val="76000"/>
              </a:schemeClr>
            </a:solid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1" i="0" u="none" strike="noStrike" kern="1200" cap="none" spc="300" normalizeH="0" baseline="0" noProof="0">
                <a:ln>
                  <a:noFill/>
                </a:ln>
                <a:solidFill>
                  <a:srgbClr val="FFFFFF"/>
                </a:solidFill>
                <a:effectLst/>
                <a:uLnTx/>
                <a:uFillTx/>
                <a:latin typeface="Arial" panose="020B0604020202020204"/>
                <a:ea typeface="+mn-ea"/>
                <a:cs typeface="+mn-cs"/>
              </a:endParaRPr>
            </a:p>
          </p:txBody>
        </p:sp>
        <p:sp>
          <p:nvSpPr>
            <p:cNvPr id="19" name="Rectángulo 18">
              <a:extLst>
                <a:ext uri="{FF2B5EF4-FFF2-40B4-BE49-F238E27FC236}">
                  <a16:creationId xmlns:a16="http://schemas.microsoft.com/office/drawing/2014/main" id="{D075A748-6544-4F4D-85F0-8259B5DCF908}"/>
                </a:ext>
              </a:extLst>
            </p:cNvPr>
            <p:cNvSpPr/>
            <p:nvPr/>
          </p:nvSpPr>
          <p:spPr>
            <a:xfrm>
              <a:off x="3703034" y="1623072"/>
              <a:ext cx="4785933" cy="606055"/>
            </a:xfrm>
            <a:prstGeom prst="rect">
              <a:avLst/>
            </a:prstGeom>
          </p:spPr>
          <p:txBody>
            <a:bodyPr wrap="square" anchor="ctr">
              <a:spAutoFit/>
            </a:bodyPr>
            <a:lstStyle/>
            <a:p>
              <a:pPr lvl="0" algn="ctr">
                <a:defRPr/>
              </a:pPr>
              <a:r>
                <a:rPr lang="es-ES" sz="1200" b="1" spc="300">
                  <a:solidFill>
                    <a:schemeClr val="tx2"/>
                  </a:solidFill>
                  <a:latin typeface="Arial" panose="020B0604020202020204" pitchFamily="34" charset="0"/>
                  <a:cs typeface="Arial" panose="020B0604020202020204" pitchFamily="34" charset="0"/>
                </a:rPr>
                <a:t>HUB TECNOLÓGICO</a:t>
              </a:r>
              <a:br>
                <a:rPr lang="es-ES" sz="1200" b="1" spc="300">
                  <a:solidFill>
                    <a:schemeClr val="tx2"/>
                  </a:solidFill>
                  <a:latin typeface="Arial" panose="020B0604020202020204" pitchFamily="34" charset="0"/>
                  <a:cs typeface="Arial" panose="020B0604020202020204" pitchFamily="34" charset="0"/>
                </a:rPr>
              </a:br>
              <a:r>
                <a:rPr lang="es-ES" sz="1200" b="1" spc="300">
                  <a:solidFill>
                    <a:schemeClr val="tx2"/>
                  </a:solidFill>
                  <a:latin typeface="Arial" panose="020B0604020202020204" pitchFamily="34" charset="0"/>
                  <a:cs typeface="Arial" panose="020B0604020202020204" pitchFamily="34" charset="0"/>
                </a:rPr>
                <a:t>EUROPA-AMÉRICA</a:t>
              </a:r>
            </a:p>
          </p:txBody>
        </p:sp>
        <p:sp>
          <p:nvSpPr>
            <p:cNvPr id="20" name="Rectángulo 19">
              <a:extLst>
                <a:ext uri="{FF2B5EF4-FFF2-40B4-BE49-F238E27FC236}">
                  <a16:creationId xmlns:a16="http://schemas.microsoft.com/office/drawing/2014/main" id="{2FD8A460-347A-C342-B730-1802619B4E7E}"/>
                </a:ext>
              </a:extLst>
            </p:cNvPr>
            <p:cNvSpPr/>
            <p:nvPr/>
          </p:nvSpPr>
          <p:spPr>
            <a:xfrm>
              <a:off x="3970933" y="2746423"/>
              <a:ext cx="4250135" cy="1818165"/>
            </a:xfrm>
            <a:prstGeom prst="rect">
              <a:avLst/>
            </a:prstGeom>
          </p:spPr>
          <p:txBody>
            <a:bodyPr wrap="square">
              <a:spAutoFit/>
            </a:bodyPr>
            <a:lstStyle/>
            <a:p>
              <a:pPr lvl="0" algn="ctr">
                <a:spcAft>
                  <a:spcPts val="300"/>
                </a:spcAft>
                <a:defRPr/>
              </a:pPr>
              <a:r>
                <a:rPr lang="es-ES_tradnl" sz="2800" b="1">
                  <a:solidFill>
                    <a:schemeClr val="tx2"/>
                  </a:solidFill>
                </a:rPr>
                <a:t>Propuesta de Colaboración Profesional</a:t>
              </a:r>
            </a:p>
          </p:txBody>
        </p:sp>
        <p:cxnSp>
          <p:nvCxnSpPr>
            <p:cNvPr id="21" name="Conector recto 20">
              <a:extLst>
                <a:ext uri="{FF2B5EF4-FFF2-40B4-BE49-F238E27FC236}">
                  <a16:creationId xmlns:a16="http://schemas.microsoft.com/office/drawing/2014/main" id="{2718DE35-73EB-9447-912D-5E90D8113B79}"/>
                </a:ext>
              </a:extLst>
            </p:cNvPr>
            <p:cNvCxnSpPr>
              <a:cxnSpLocks/>
            </p:cNvCxnSpPr>
            <p:nvPr/>
          </p:nvCxnSpPr>
          <p:spPr>
            <a:xfrm>
              <a:off x="4334773" y="2497048"/>
              <a:ext cx="3522456" cy="0"/>
            </a:xfrm>
            <a:prstGeom prst="line">
              <a:avLst/>
            </a:prstGeom>
            <a:ln w="15875"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23" name="Forma libre 22">
              <a:extLst>
                <a:ext uri="{FF2B5EF4-FFF2-40B4-BE49-F238E27FC236}">
                  <a16:creationId xmlns:a16="http://schemas.microsoft.com/office/drawing/2014/main" id="{3AD6B6D9-5053-854B-8DA5-D229DFD39B98}"/>
                </a:ext>
              </a:extLst>
            </p:cNvPr>
            <p:cNvSpPr/>
            <p:nvPr/>
          </p:nvSpPr>
          <p:spPr>
            <a:xfrm>
              <a:off x="5123744" y="954677"/>
              <a:ext cx="1944509" cy="448718"/>
            </a:xfrm>
            <a:custGeom>
              <a:avLst/>
              <a:gdLst>
                <a:gd name="connsiteX0" fmla="*/ 2305336 w 6124670"/>
                <a:gd name="connsiteY0" fmla="*/ 651766 h 1413343"/>
                <a:gd name="connsiteX1" fmla="*/ 2176082 w 6124670"/>
                <a:gd name="connsiteY1" fmla="*/ 694862 h 1413343"/>
                <a:gd name="connsiteX2" fmla="*/ 2099882 w 6124670"/>
                <a:gd name="connsiteY2" fmla="*/ 711416 h 1413343"/>
                <a:gd name="connsiteX3" fmla="*/ 2013681 w 6124670"/>
                <a:gd name="connsiteY3" fmla="*/ 754512 h 1413343"/>
                <a:gd name="connsiteX4" fmla="*/ 1990440 w 6124670"/>
                <a:gd name="connsiteY4" fmla="*/ 827385 h 1413343"/>
                <a:gd name="connsiteX5" fmla="*/ 2020348 w 6124670"/>
                <a:gd name="connsiteY5" fmla="*/ 906822 h 1413343"/>
                <a:gd name="connsiteX6" fmla="*/ 2106073 w 6124670"/>
                <a:gd name="connsiteY6" fmla="*/ 933269 h 1413343"/>
                <a:gd name="connsiteX7" fmla="*/ 2251900 w 6124670"/>
                <a:gd name="connsiteY7" fmla="*/ 880375 h 1413343"/>
                <a:gd name="connsiteX8" fmla="*/ 2304955 w 6124670"/>
                <a:gd name="connsiteY8" fmla="*/ 734629 h 1413343"/>
                <a:gd name="connsiteX9" fmla="*/ 3393473 w 6124670"/>
                <a:gd name="connsiteY9" fmla="*/ 386722 h 1413343"/>
                <a:gd name="connsiteX10" fmla="*/ 3274315 w 6124670"/>
                <a:gd name="connsiteY10" fmla="*/ 433052 h 1413343"/>
                <a:gd name="connsiteX11" fmla="*/ 3224404 w 6124670"/>
                <a:gd name="connsiteY11" fmla="*/ 565479 h 1413343"/>
                <a:gd name="connsiteX12" fmla="*/ 3562637 w 6124670"/>
                <a:gd name="connsiteY12" fmla="*/ 565479 h 1413343"/>
                <a:gd name="connsiteX13" fmla="*/ 3516155 w 6124670"/>
                <a:gd name="connsiteY13" fmla="*/ 433052 h 1413343"/>
                <a:gd name="connsiteX14" fmla="*/ 3393473 w 6124670"/>
                <a:gd name="connsiteY14" fmla="*/ 386722 h 1413343"/>
                <a:gd name="connsiteX15" fmla="*/ 4552474 w 6124670"/>
                <a:gd name="connsiteY15" fmla="*/ 214433 h 1413343"/>
                <a:gd name="connsiteX16" fmla="*/ 4807839 w 6124670"/>
                <a:gd name="connsiteY16" fmla="*/ 214433 h 1413343"/>
                <a:gd name="connsiteX17" fmla="*/ 4986910 w 6124670"/>
                <a:gd name="connsiteY17" fmla="*/ 837089 h 1413343"/>
                <a:gd name="connsiteX18" fmla="*/ 5142739 w 6124670"/>
                <a:gd name="connsiteY18" fmla="*/ 293966 h 1413343"/>
                <a:gd name="connsiteX19" fmla="*/ 5248847 w 6124670"/>
                <a:gd name="connsiteY19" fmla="*/ 214433 h 1413343"/>
                <a:gd name="connsiteX20" fmla="*/ 5407914 w 6124670"/>
                <a:gd name="connsiteY20" fmla="*/ 214433 h 1413343"/>
                <a:gd name="connsiteX21" fmla="*/ 5069681 w 6124670"/>
                <a:gd name="connsiteY21" fmla="*/ 1217912 h 1413343"/>
                <a:gd name="connsiteX22" fmla="*/ 4970146 w 6124670"/>
                <a:gd name="connsiteY22" fmla="*/ 1373552 h 1413343"/>
                <a:gd name="connsiteX23" fmla="*/ 4774597 w 6124670"/>
                <a:gd name="connsiteY23" fmla="*/ 1413318 h 1413343"/>
                <a:gd name="connsiteX24" fmla="*/ 4751737 w 6124670"/>
                <a:gd name="connsiteY24" fmla="*/ 1413318 h 1413343"/>
                <a:gd name="connsiteX25" fmla="*/ 4677918 w 6124670"/>
                <a:gd name="connsiteY25" fmla="*/ 1412558 h 1413343"/>
                <a:gd name="connsiteX26" fmla="*/ 4677918 w 6124670"/>
                <a:gd name="connsiteY26" fmla="*/ 1224572 h 1413343"/>
                <a:gd name="connsiteX27" fmla="*/ 4741164 w 6124670"/>
                <a:gd name="connsiteY27" fmla="*/ 1224572 h 1413343"/>
                <a:gd name="connsiteX28" fmla="*/ 4845939 w 6124670"/>
                <a:gd name="connsiteY28" fmla="*/ 1193082 h 1413343"/>
                <a:gd name="connsiteX29" fmla="*/ 4860893 w 6124670"/>
                <a:gd name="connsiteY29" fmla="*/ 1092050 h 1413343"/>
                <a:gd name="connsiteX30" fmla="*/ 1721739 w 6124670"/>
                <a:gd name="connsiteY30" fmla="*/ 214433 h 1413343"/>
                <a:gd name="connsiteX31" fmla="*/ 1754982 w 6124670"/>
                <a:gd name="connsiteY31" fmla="*/ 214433 h 1413343"/>
                <a:gd name="connsiteX32" fmla="*/ 1754982 w 6124670"/>
                <a:gd name="connsiteY32" fmla="*/ 449605 h 1413343"/>
                <a:gd name="connsiteX33" fmla="*/ 1678782 w 6124670"/>
                <a:gd name="connsiteY33" fmla="*/ 449605 h 1413343"/>
                <a:gd name="connsiteX34" fmla="*/ 1535907 w 6124670"/>
                <a:gd name="connsiteY34" fmla="*/ 495936 h 1413343"/>
                <a:gd name="connsiteX35" fmla="*/ 1489520 w 6124670"/>
                <a:gd name="connsiteY35" fmla="*/ 641682 h 1413343"/>
                <a:gd name="connsiteX36" fmla="*/ 1489520 w 6124670"/>
                <a:gd name="connsiteY36" fmla="*/ 1095379 h 1413343"/>
                <a:gd name="connsiteX37" fmla="*/ 1257205 w 6124670"/>
                <a:gd name="connsiteY37" fmla="*/ 1095379 h 1413343"/>
                <a:gd name="connsiteX38" fmla="*/ 1257205 w 6124670"/>
                <a:gd name="connsiteY38" fmla="*/ 668225 h 1413343"/>
                <a:gd name="connsiteX39" fmla="*/ 1295305 w 6124670"/>
                <a:gd name="connsiteY39" fmla="*/ 451223 h 1413343"/>
                <a:gd name="connsiteX40" fmla="*/ 1400080 w 6124670"/>
                <a:gd name="connsiteY40" fmla="*/ 310519 h 1413343"/>
                <a:gd name="connsiteX41" fmla="*/ 1547622 w 6124670"/>
                <a:gd name="connsiteY41" fmla="*/ 237646 h 1413343"/>
                <a:gd name="connsiteX42" fmla="*/ 1721739 w 6124670"/>
                <a:gd name="connsiteY42" fmla="*/ 214433 h 1413343"/>
                <a:gd name="connsiteX43" fmla="*/ 5716715 w 6124670"/>
                <a:gd name="connsiteY43" fmla="*/ 194645 h 1413343"/>
                <a:gd name="connsiteX44" fmla="*/ 5991892 w 6124670"/>
                <a:gd name="connsiteY44" fmla="*/ 270753 h 1413343"/>
                <a:gd name="connsiteX45" fmla="*/ 6094762 w 6124670"/>
                <a:gd name="connsiteY45" fmla="*/ 486042 h 1413343"/>
                <a:gd name="connsiteX46" fmla="*/ 5951887 w 6124670"/>
                <a:gd name="connsiteY46" fmla="*/ 486042 h 1413343"/>
                <a:gd name="connsiteX47" fmla="*/ 5855684 w 6124670"/>
                <a:gd name="connsiteY47" fmla="*/ 429722 h 1413343"/>
                <a:gd name="connsiteX48" fmla="*/ 5829205 w 6124670"/>
                <a:gd name="connsiteY48" fmla="*/ 403275 h 1413343"/>
                <a:gd name="connsiteX49" fmla="*/ 5719762 w 6124670"/>
                <a:gd name="connsiteY49" fmla="*/ 373403 h 1413343"/>
                <a:gd name="connsiteX50" fmla="*/ 5620322 w 6124670"/>
                <a:gd name="connsiteY50" fmla="*/ 393286 h 1413343"/>
                <a:gd name="connsiteX51" fmla="*/ 5590413 w 6124670"/>
                <a:gd name="connsiteY51" fmla="*/ 452935 h 1413343"/>
                <a:gd name="connsiteX52" fmla="*/ 5762816 w 6124670"/>
                <a:gd name="connsiteY52" fmla="*/ 542362 h 1413343"/>
                <a:gd name="connsiteX53" fmla="*/ 5797678 w 6124670"/>
                <a:gd name="connsiteY53" fmla="*/ 551875 h 1413343"/>
                <a:gd name="connsiteX54" fmla="*/ 5826253 w 6124670"/>
                <a:gd name="connsiteY54" fmla="*/ 555205 h 1413343"/>
                <a:gd name="connsiteX55" fmla="*/ 6061615 w 6124670"/>
                <a:gd name="connsiteY55" fmla="*/ 654525 h 1413343"/>
                <a:gd name="connsiteX56" fmla="*/ 6124670 w 6124670"/>
                <a:gd name="connsiteY56" fmla="*/ 813495 h 1413343"/>
                <a:gd name="connsiteX57" fmla="*/ 6018562 w 6124670"/>
                <a:gd name="connsiteY57" fmla="*/ 1038679 h 1413343"/>
                <a:gd name="connsiteX58" fmla="*/ 5720144 w 6124670"/>
                <a:gd name="connsiteY58" fmla="*/ 1111552 h 1413343"/>
                <a:gd name="connsiteX59" fmla="*/ 5438298 w 6124670"/>
                <a:gd name="connsiteY59" fmla="*/ 1035444 h 1413343"/>
                <a:gd name="connsiteX60" fmla="*/ 5342096 w 6124670"/>
                <a:gd name="connsiteY60" fmla="*/ 813495 h 1413343"/>
                <a:gd name="connsiteX61" fmla="*/ 5342287 w 6124670"/>
                <a:gd name="connsiteY61" fmla="*/ 803982 h 1413343"/>
                <a:gd name="connsiteX62" fmla="*/ 5567839 w 6124670"/>
                <a:gd name="connsiteY62" fmla="*/ 803982 h 1413343"/>
                <a:gd name="connsiteX63" fmla="*/ 5617559 w 6124670"/>
                <a:gd name="connsiteY63" fmla="*/ 903302 h 1413343"/>
                <a:gd name="connsiteX64" fmla="*/ 5750148 w 6124670"/>
                <a:gd name="connsiteY64" fmla="*/ 936409 h 1413343"/>
                <a:gd name="connsiteX65" fmla="*/ 5852922 w 6124670"/>
                <a:gd name="connsiteY65" fmla="*/ 913196 h 1413343"/>
                <a:gd name="connsiteX66" fmla="*/ 5892737 w 6124670"/>
                <a:gd name="connsiteY66" fmla="*/ 850312 h 1413343"/>
                <a:gd name="connsiteX67" fmla="*/ 5753481 w 6124670"/>
                <a:gd name="connsiteY67" fmla="*/ 760886 h 1413343"/>
                <a:gd name="connsiteX68" fmla="*/ 5663946 w 6124670"/>
                <a:gd name="connsiteY68" fmla="*/ 741003 h 1413343"/>
                <a:gd name="connsiteX69" fmla="*/ 5428584 w 6124670"/>
                <a:gd name="connsiteY69" fmla="*/ 638352 h 1413343"/>
                <a:gd name="connsiteX70" fmla="*/ 5361909 w 6124670"/>
                <a:gd name="connsiteY70" fmla="*/ 479383 h 1413343"/>
                <a:gd name="connsiteX71" fmla="*/ 5458111 w 6124670"/>
                <a:gd name="connsiteY71" fmla="*/ 270753 h 1413343"/>
                <a:gd name="connsiteX72" fmla="*/ 5716715 w 6124670"/>
                <a:gd name="connsiteY72" fmla="*/ 194645 h 1413343"/>
                <a:gd name="connsiteX73" fmla="*/ 4192239 w 6124670"/>
                <a:gd name="connsiteY73" fmla="*/ 194645 h 1413343"/>
                <a:gd name="connsiteX74" fmla="*/ 4467416 w 6124670"/>
                <a:gd name="connsiteY74" fmla="*/ 270753 h 1413343"/>
                <a:gd name="connsiteX75" fmla="*/ 4570190 w 6124670"/>
                <a:gd name="connsiteY75" fmla="*/ 486042 h 1413343"/>
                <a:gd name="connsiteX76" fmla="*/ 4427315 w 6124670"/>
                <a:gd name="connsiteY76" fmla="*/ 486042 h 1413343"/>
                <a:gd name="connsiteX77" fmla="*/ 4331589 w 6124670"/>
                <a:gd name="connsiteY77" fmla="*/ 429722 h 1413343"/>
                <a:gd name="connsiteX78" fmla="*/ 4305015 w 6124670"/>
                <a:gd name="connsiteY78" fmla="*/ 403275 h 1413343"/>
                <a:gd name="connsiteX79" fmla="*/ 4195667 w 6124670"/>
                <a:gd name="connsiteY79" fmla="*/ 373403 h 1413343"/>
                <a:gd name="connsiteX80" fmla="*/ 4096132 w 6124670"/>
                <a:gd name="connsiteY80" fmla="*/ 393286 h 1413343"/>
                <a:gd name="connsiteX81" fmla="*/ 4066318 w 6124670"/>
                <a:gd name="connsiteY81" fmla="*/ 452935 h 1413343"/>
                <a:gd name="connsiteX82" fmla="*/ 4238721 w 6124670"/>
                <a:gd name="connsiteY82" fmla="*/ 542362 h 1413343"/>
                <a:gd name="connsiteX83" fmla="*/ 4273582 w 6124670"/>
                <a:gd name="connsiteY83" fmla="*/ 551875 h 1413343"/>
                <a:gd name="connsiteX84" fmla="*/ 4301681 w 6124670"/>
                <a:gd name="connsiteY84" fmla="*/ 555205 h 1413343"/>
                <a:gd name="connsiteX85" fmla="*/ 4537139 w 6124670"/>
                <a:gd name="connsiteY85" fmla="*/ 654525 h 1413343"/>
                <a:gd name="connsiteX86" fmla="*/ 4600099 w 6124670"/>
                <a:gd name="connsiteY86" fmla="*/ 813495 h 1413343"/>
                <a:gd name="connsiteX87" fmla="*/ 4494086 w 6124670"/>
                <a:gd name="connsiteY87" fmla="*/ 1038679 h 1413343"/>
                <a:gd name="connsiteX88" fmla="*/ 4195667 w 6124670"/>
                <a:gd name="connsiteY88" fmla="*/ 1111552 h 1413343"/>
                <a:gd name="connsiteX89" fmla="*/ 3913823 w 6124670"/>
                <a:gd name="connsiteY89" fmla="*/ 1035444 h 1413343"/>
                <a:gd name="connsiteX90" fmla="*/ 3817620 w 6124670"/>
                <a:gd name="connsiteY90" fmla="*/ 813495 h 1413343"/>
                <a:gd name="connsiteX91" fmla="*/ 3817906 w 6124670"/>
                <a:gd name="connsiteY91" fmla="*/ 803982 h 1413343"/>
                <a:gd name="connsiteX92" fmla="*/ 4043363 w 6124670"/>
                <a:gd name="connsiteY92" fmla="*/ 803982 h 1413343"/>
                <a:gd name="connsiteX93" fmla="*/ 4093084 w 6124670"/>
                <a:gd name="connsiteY93" fmla="*/ 903302 h 1413343"/>
                <a:gd name="connsiteX94" fmla="*/ 4225767 w 6124670"/>
                <a:gd name="connsiteY94" fmla="*/ 936409 h 1413343"/>
                <a:gd name="connsiteX95" fmla="*/ 4328541 w 6124670"/>
                <a:gd name="connsiteY95" fmla="*/ 913196 h 1413343"/>
                <a:gd name="connsiteX96" fmla="*/ 4368356 w 6124670"/>
                <a:gd name="connsiteY96" fmla="*/ 850312 h 1413343"/>
                <a:gd name="connsiteX97" fmla="*/ 4229100 w 6124670"/>
                <a:gd name="connsiteY97" fmla="*/ 760886 h 1413343"/>
                <a:gd name="connsiteX98" fmla="*/ 4139566 w 6124670"/>
                <a:gd name="connsiteY98" fmla="*/ 741003 h 1413343"/>
                <a:gd name="connsiteX99" fmla="*/ 3904107 w 6124670"/>
                <a:gd name="connsiteY99" fmla="*/ 638352 h 1413343"/>
                <a:gd name="connsiteX100" fmla="*/ 3837432 w 6124670"/>
                <a:gd name="connsiteY100" fmla="*/ 479383 h 1413343"/>
                <a:gd name="connsiteX101" fmla="*/ 3933540 w 6124670"/>
                <a:gd name="connsiteY101" fmla="*/ 270753 h 1413343"/>
                <a:gd name="connsiteX102" fmla="*/ 4192239 w 6124670"/>
                <a:gd name="connsiteY102" fmla="*/ 194645 h 1413343"/>
                <a:gd name="connsiteX103" fmla="*/ 3386901 w 6124670"/>
                <a:gd name="connsiteY103" fmla="*/ 194645 h 1413343"/>
                <a:gd name="connsiteX104" fmla="*/ 3695225 w 6124670"/>
                <a:gd name="connsiteY104" fmla="*/ 313849 h 1413343"/>
                <a:gd name="connsiteX105" fmla="*/ 3801333 w 6124670"/>
                <a:gd name="connsiteY105" fmla="*/ 654906 h 1413343"/>
                <a:gd name="connsiteX106" fmla="*/ 3801333 w 6124670"/>
                <a:gd name="connsiteY106" fmla="*/ 691342 h 1413343"/>
                <a:gd name="connsiteX107" fmla="*/ 3797999 w 6124670"/>
                <a:gd name="connsiteY107" fmla="*/ 714555 h 1413343"/>
                <a:gd name="connsiteX108" fmla="*/ 3224404 w 6124670"/>
                <a:gd name="connsiteY108" fmla="*/ 714555 h 1413343"/>
                <a:gd name="connsiteX109" fmla="*/ 3274124 w 6124670"/>
                <a:gd name="connsiteY109" fmla="*/ 866771 h 1413343"/>
                <a:gd name="connsiteX110" fmla="*/ 3403474 w 6124670"/>
                <a:gd name="connsiteY110" fmla="*/ 919761 h 1413343"/>
                <a:gd name="connsiteX111" fmla="*/ 3499581 w 6124670"/>
                <a:gd name="connsiteY111" fmla="*/ 896643 h 1413343"/>
                <a:gd name="connsiteX112" fmla="*/ 3517869 w 6124670"/>
                <a:gd name="connsiteY112" fmla="*/ 885036 h 1413343"/>
                <a:gd name="connsiteX113" fmla="*/ 3536062 w 6124670"/>
                <a:gd name="connsiteY113" fmla="*/ 866771 h 1413343"/>
                <a:gd name="connsiteX114" fmla="*/ 3560923 w 6124670"/>
                <a:gd name="connsiteY114" fmla="*/ 840323 h 1413343"/>
                <a:gd name="connsiteX115" fmla="*/ 3622264 w 6124670"/>
                <a:gd name="connsiteY115" fmla="*/ 823865 h 1413343"/>
                <a:gd name="connsiteX116" fmla="*/ 3788094 w 6124670"/>
                <a:gd name="connsiteY116" fmla="*/ 823865 h 1413343"/>
                <a:gd name="connsiteX117" fmla="*/ 3648838 w 6124670"/>
                <a:gd name="connsiteY117" fmla="*/ 1035825 h 1413343"/>
                <a:gd name="connsiteX118" fmla="*/ 3390139 w 6124670"/>
                <a:gd name="connsiteY118" fmla="*/ 1111932 h 1413343"/>
                <a:gd name="connsiteX119" fmla="*/ 3094864 w 6124670"/>
                <a:gd name="connsiteY119" fmla="*/ 989399 h 1413343"/>
                <a:gd name="connsiteX120" fmla="*/ 2988851 w 6124670"/>
                <a:gd name="connsiteY120" fmla="*/ 648342 h 1413343"/>
                <a:gd name="connsiteX121" fmla="*/ 3091626 w 6124670"/>
                <a:gd name="connsiteY121" fmla="*/ 317178 h 1413343"/>
                <a:gd name="connsiteX122" fmla="*/ 3386901 w 6124670"/>
                <a:gd name="connsiteY122" fmla="*/ 194645 h 1413343"/>
                <a:gd name="connsiteX123" fmla="*/ 2146078 w 6124670"/>
                <a:gd name="connsiteY123" fmla="*/ 194645 h 1413343"/>
                <a:gd name="connsiteX124" fmla="*/ 2424684 w 6124670"/>
                <a:gd name="connsiteY124" fmla="*/ 257529 h 1413343"/>
                <a:gd name="connsiteX125" fmla="*/ 2520792 w 6124670"/>
                <a:gd name="connsiteY125" fmla="*/ 442946 h 1413343"/>
                <a:gd name="connsiteX126" fmla="*/ 2520792 w 6124670"/>
                <a:gd name="connsiteY126" fmla="*/ 744332 h 1413343"/>
                <a:gd name="connsiteX127" fmla="*/ 2473167 w 6124670"/>
                <a:gd name="connsiteY127" fmla="*/ 951345 h 1413343"/>
                <a:gd name="connsiteX128" fmla="*/ 2358391 w 6124670"/>
                <a:gd name="connsiteY128" fmla="*/ 1059133 h 1413343"/>
                <a:gd name="connsiteX129" fmla="*/ 2210848 w 6124670"/>
                <a:gd name="connsiteY129" fmla="*/ 1103846 h 1413343"/>
                <a:gd name="connsiteX130" fmla="*/ 2073307 w 6124670"/>
                <a:gd name="connsiteY130" fmla="*/ 1112123 h 1413343"/>
                <a:gd name="connsiteX131" fmla="*/ 1864614 w 6124670"/>
                <a:gd name="connsiteY131" fmla="*/ 1047336 h 1413343"/>
                <a:gd name="connsiteX132" fmla="*/ 1775079 w 6124670"/>
                <a:gd name="connsiteY132" fmla="*/ 833759 h 1413343"/>
                <a:gd name="connsiteX133" fmla="*/ 1856328 w 6124670"/>
                <a:gd name="connsiteY133" fmla="*/ 635023 h 1413343"/>
                <a:gd name="connsiteX134" fmla="*/ 2063496 w 6124670"/>
                <a:gd name="connsiteY134" fmla="*/ 555586 h 1413343"/>
                <a:gd name="connsiteX135" fmla="*/ 2103311 w 6124670"/>
                <a:gd name="connsiteY135" fmla="*/ 550638 h 1413343"/>
                <a:gd name="connsiteX136" fmla="*/ 2156365 w 6124670"/>
                <a:gd name="connsiteY136" fmla="*/ 542362 h 1413343"/>
                <a:gd name="connsiteX137" fmla="*/ 2302288 w 6124670"/>
                <a:gd name="connsiteY137" fmla="*/ 456265 h 1413343"/>
                <a:gd name="connsiteX138" fmla="*/ 2250853 w 6124670"/>
                <a:gd name="connsiteY138" fmla="*/ 391669 h 1413343"/>
                <a:gd name="connsiteX139" fmla="*/ 2156365 w 6124670"/>
                <a:gd name="connsiteY139" fmla="*/ 376732 h 1413343"/>
                <a:gd name="connsiteX140" fmla="*/ 2073497 w 6124670"/>
                <a:gd name="connsiteY140" fmla="*/ 389956 h 1413343"/>
                <a:gd name="connsiteX141" fmla="*/ 2020443 w 6124670"/>
                <a:gd name="connsiteY141" fmla="*/ 439712 h 1413343"/>
                <a:gd name="connsiteX142" fmla="*/ 1797939 w 6124670"/>
                <a:gd name="connsiteY142" fmla="*/ 439712 h 1413343"/>
                <a:gd name="connsiteX143" fmla="*/ 1890808 w 6124670"/>
                <a:gd name="connsiteY143" fmla="*/ 270753 h 1413343"/>
                <a:gd name="connsiteX144" fmla="*/ 2146078 w 6124670"/>
                <a:gd name="connsiteY144" fmla="*/ 194645 h 1413343"/>
                <a:gd name="connsiteX145" fmla="*/ 374523 w 6124670"/>
                <a:gd name="connsiteY145" fmla="*/ 194645 h 1413343"/>
                <a:gd name="connsiteX146" fmla="*/ 649796 w 6124670"/>
                <a:gd name="connsiteY146" fmla="*/ 270753 h 1413343"/>
                <a:gd name="connsiteX147" fmla="*/ 752570 w 6124670"/>
                <a:gd name="connsiteY147" fmla="*/ 486042 h 1413343"/>
                <a:gd name="connsiteX148" fmla="*/ 609695 w 6124670"/>
                <a:gd name="connsiteY148" fmla="*/ 486042 h 1413343"/>
                <a:gd name="connsiteX149" fmla="*/ 513493 w 6124670"/>
                <a:gd name="connsiteY149" fmla="*/ 429722 h 1413343"/>
                <a:gd name="connsiteX150" fmla="*/ 487013 w 6124670"/>
                <a:gd name="connsiteY150" fmla="*/ 403275 h 1413343"/>
                <a:gd name="connsiteX151" fmla="*/ 377571 w 6124670"/>
                <a:gd name="connsiteY151" fmla="*/ 373403 h 1413343"/>
                <a:gd name="connsiteX152" fmla="*/ 278130 w 6124670"/>
                <a:gd name="connsiteY152" fmla="*/ 393286 h 1413343"/>
                <a:gd name="connsiteX153" fmla="*/ 248317 w 6124670"/>
                <a:gd name="connsiteY153" fmla="*/ 452935 h 1413343"/>
                <a:gd name="connsiteX154" fmla="*/ 420719 w 6124670"/>
                <a:gd name="connsiteY154" fmla="*/ 542362 h 1413343"/>
                <a:gd name="connsiteX155" fmla="*/ 455486 w 6124670"/>
                <a:gd name="connsiteY155" fmla="*/ 551875 h 1413343"/>
                <a:gd name="connsiteX156" fmla="*/ 484061 w 6124670"/>
                <a:gd name="connsiteY156" fmla="*/ 555205 h 1413343"/>
                <a:gd name="connsiteX157" fmla="*/ 719519 w 6124670"/>
                <a:gd name="connsiteY157" fmla="*/ 654525 h 1413343"/>
                <a:gd name="connsiteX158" fmla="*/ 782479 w 6124670"/>
                <a:gd name="connsiteY158" fmla="*/ 813495 h 1413343"/>
                <a:gd name="connsiteX159" fmla="*/ 676370 w 6124670"/>
                <a:gd name="connsiteY159" fmla="*/ 1038679 h 1413343"/>
                <a:gd name="connsiteX160" fmla="*/ 377952 w 6124670"/>
                <a:gd name="connsiteY160" fmla="*/ 1111552 h 1413343"/>
                <a:gd name="connsiteX161" fmla="*/ 96108 w 6124670"/>
                <a:gd name="connsiteY161" fmla="*/ 1035444 h 1413343"/>
                <a:gd name="connsiteX162" fmla="*/ 0 w 6124670"/>
                <a:gd name="connsiteY162" fmla="*/ 813495 h 1413343"/>
                <a:gd name="connsiteX163" fmla="*/ 286 w 6124670"/>
                <a:gd name="connsiteY163" fmla="*/ 803982 h 1413343"/>
                <a:gd name="connsiteX164" fmla="*/ 225743 w 6124670"/>
                <a:gd name="connsiteY164" fmla="*/ 803982 h 1413343"/>
                <a:gd name="connsiteX165" fmla="*/ 275463 w 6124670"/>
                <a:gd name="connsiteY165" fmla="*/ 903302 h 1413343"/>
                <a:gd name="connsiteX166" fmla="*/ 408051 w 6124670"/>
                <a:gd name="connsiteY166" fmla="*/ 936409 h 1413343"/>
                <a:gd name="connsiteX167" fmla="*/ 510921 w 6124670"/>
                <a:gd name="connsiteY167" fmla="*/ 913196 h 1413343"/>
                <a:gd name="connsiteX168" fmla="*/ 550640 w 6124670"/>
                <a:gd name="connsiteY168" fmla="*/ 850312 h 1413343"/>
                <a:gd name="connsiteX169" fmla="*/ 411385 w 6124670"/>
                <a:gd name="connsiteY169" fmla="*/ 760886 h 1413343"/>
                <a:gd name="connsiteX170" fmla="*/ 321850 w 6124670"/>
                <a:gd name="connsiteY170" fmla="*/ 741003 h 1413343"/>
                <a:gd name="connsiteX171" fmla="*/ 86487 w 6124670"/>
                <a:gd name="connsiteY171" fmla="*/ 638352 h 1413343"/>
                <a:gd name="connsiteX172" fmla="*/ 19812 w 6124670"/>
                <a:gd name="connsiteY172" fmla="*/ 479383 h 1413343"/>
                <a:gd name="connsiteX173" fmla="*/ 115919 w 6124670"/>
                <a:gd name="connsiteY173" fmla="*/ 270753 h 1413343"/>
                <a:gd name="connsiteX174" fmla="*/ 374523 w 6124670"/>
                <a:gd name="connsiteY174" fmla="*/ 194645 h 1413343"/>
                <a:gd name="connsiteX175" fmla="*/ 2575750 w 6124670"/>
                <a:gd name="connsiteY175" fmla="*/ 0 h 1413343"/>
                <a:gd name="connsiteX176" fmla="*/ 2799779 w 6124670"/>
                <a:gd name="connsiteY176" fmla="*/ 0 h 1413343"/>
                <a:gd name="connsiteX177" fmla="*/ 2799779 w 6124670"/>
                <a:gd name="connsiteY177" fmla="*/ 221949 h 1413343"/>
                <a:gd name="connsiteX178" fmla="*/ 2958084 w 6124670"/>
                <a:gd name="connsiteY178" fmla="*/ 221949 h 1413343"/>
                <a:gd name="connsiteX179" fmla="*/ 2958084 w 6124670"/>
                <a:gd name="connsiteY179" fmla="*/ 420399 h 1413343"/>
                <a:gd name="connsiteX180" fmla="*/ 2800159 w 6124670"/>
                <a:gd name="connsiteY180" fmla="*/ 420399 h 1413343"/>
                <a:gd name="connsiteX181" fmla="*/ 2800159 w 6124670"/>
                <a:gd name="connsiteY181" fmla="*/ 728921 h 1413343"/>
                <a:gd name="connsiteX182" fmla="*/ 2841784 w 6124670"/>
                <a:gd name="connsiteY182" fmla="*/ 857828 h 1413343"/>
                <a:gd name="connsiteX183" fmla="*/ 2968276 w 6124670"/>
                <a:gd name="connsiteY183" fmla="*/ 889984 h 1413343"/>
                <a:gd name="connsiteX184" fmla="*/ 2968276 w 6124670"/>
                <a:gd name="connsiteY184" fmla="*/ 1093667 h 1413343"/>
                <a:gd name="connsiteX185" fmla="*/ 2798064 w 6124670"/>
                <a:gd name="connsiteY185" fmla="*/ 1081870 h 1413343"/>
                <a:gd name="connsiteX186" fmla="*/ 2675858 w 6124670"/>
                <a:gd name="connsiteY186" fmla="*/ 1010614 h 1413343"/>
                <a:gd name="connsiteX187" fmla="*/ 2601183 w 6124670"/>
                <a:gd name="connsiteY187" fmla="*/ 889413 h 1413343"/>
                <a:gd name="connsiteX188" fmla="*/ 2575750 w 6124670"/>
                <a:gd name="connsiteY188" fmla="*/ 727684 h 1413343"/>
                <a:gd name="connsiteX189" fmla="*/ 824770 w 6124670"/>
                <a:gd name="connsiteY189" fmla="*/ 0 h 1413343"/>
                <a:gd name="connsiteX190" fmla="*/ 1048893 w 6124670"/>
                <a:gd name="connsiteY190" fmla="*/ 0 h 1413343"/>
                <a:gd name="connsiteX191" fmla="*/ 1048893 w 6124670"/>
                <a:gd name="connsiteY191" fmla="*/ 221949 h 1413343"/>
                <a:gd name="connsiteX192" fmla="*/ 1206723 w 6124670"/>
                <a:gd name="connsiteY192" fmla="*/ 221949 h 1413343"/>
                <a:gd name="connsiteX193" fmla="*/ 1206723 w 6124670"/>
                <a:gd name="connsiteY193" fmla="*/ 420399 h 1413343"/>
                <a:gd name="connsiteX194" fmla="*/ 1048417 w 6124670"/>
                <a:gd name="connsiteY194" fmla="*/ 420399 h 1413343"/>
                <a:gd name="connsiteX195" fmla="*/ 1048417 w 6124670"/>
                <a:gd name="connsiteY195" fmla="*/ 728921 h 1413343"/>
                <a:gd name="connsiteX196" fmla="*/ 1089946 w 6124670"/>
                <a:gd name="connsiteY196" fmla="*/ 857828 h 1413343"/>
                <a:gd name="connsiteX197" fmla="*/ 1216915 w 6124670"/>
                <a:gd name="connsiteY197" fmla="*/ 890174 h 1413343"/>
                <a:gd name="connsiteX198" fmla="*/ 1216915 w 6124670"/>
                <a:gd name="connsiteY198" fmla="*/ 1093667 h 1413343"/>
                <a:gd name="connsiteX199" fmla="*/ 1047179 w 6124670"/>
                <a:gd name="connsiteY199" fmla="*/ 1081870 h 1413343"/>
                <a:gd name="connsiteX200" fmla="*/ 924973 w 6124670"/>
                <a:gd name="connsiteY200" fmla="*/ 1010614 h 1413343"/>
                <a:gd name="connsiteX201" fmla="*/ 850202 w 6124670"/>
                <a:gd name="connsiteY201" fmla="*/ 889413 h 1413343"/>
                <a:gd name="connsiteX202" fmla="*/ 824770 w 6124670"/>
                <a:gd name="connsiteY202" fmla="*/ 727684 h 1413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6124670" h="1413343">
                  <a:moveTo>
                    <a:pt x="2305336" y="651766"/>
                  </a:moveTo>
                  <a:cubicBezTo>
                    <a:pt x="2263969" y="670831"/>
                    <a:pt x="2220620" y="685282"/>
                    <a:pt x="2176082" y="694862"/>
                  </a:cubicBezTo>
                  <a:lnTo>
                    <a:pt x="2099882" y="711416"/>
                  </a:lnTo>
                  <a:cubicBezTo>
                    <a:pt x="2060067" y="722547"/>
                    <a:pt x="2031397" y="736817"/>
                    <a:pt x="2013681" y="754512"/>
                  </a:cubicBezTo>
                  <a:cubicBezTo>
                    <a:pt x="1999060" y="776060"/>
                    <a:pt x="1990992" y="801366"/>
                    <a:pt x="1990440" y="827385"/>
                  </a:cubicBezTo>
                  <a:cubicBezTo>
                    <a:pt x="1989058" y="856848"/>
                    <a:pt x="1999869" y="885569"/>
                    <a:pt x="2020348" y="906822"/>
                  </a:cubicBezTo>
                  <a:cubicBezTo>
                    <a:pt x="2040255" y="924517"/>
                    <a:pt x="2068926" y="933269"/>
                    <a:pt x="2106073" y="933269"/>
                  </a:cubicBezTo>
                  <a:cubicBezTo>
                    <a:pt x="2167919" y="933269"/>
                    <a:pt x="2216535" y="915641"/>
                    <a:pt x="2251900" y="880375"/>
                  </a:cubicBezTo>
                  <a:cubicBezTo>
                    <a:pt x="2287267" y="845108"/>
                    <a:pt x="2304955" y="796533"/>
                    <a:pt x="2304955" y="734629"/>
                  </a:cubicBezTo>
                  <a:close/>
                  <a:moveTo>
                    <a:pt x="3393473" y="386722"/>
                  </a:moveTo>
                  <a:cubicBezTo>
                    <a:pt x="3349077" y="385180"/>
                    <a:pt x="3305986" y="401934"/>
                    <a:pt x="3274315" y="433052"/>
                  </a:cubicBezTo>
                  <a:cubicBezTo>
                    <a:pt x="3243263" y="463999"/>
                    <a:pt x="3226623" y="508142"/>
                    <a:pt x="3224404" y="565479"/>
                  </a:cubicBezTo>
                  <a:lnTo>
                    <a:pt x="3562637" y="565479"/>
                  </a:lnTo>
                  <a:cubicBezTo>
                    <a:pt x="3558131" y="505925"/>
                    <a:pt x="3542634" y="461783"/>
                    <a:pt x="3516155" y="433052"/>
                  </a:cubicBezTo>
                  <a:cubicBezTo>
                    <a:pt x="3487513" y="402162"/>
                    <a:pt x="3446622" y="386722"/>
                    <a:pt x="3393473" y="386722"/>
                  </a:cubicBezTo>
                  <a:close/>
                  <a:moveTo>
                    <a:pt x="4552474" y="214433"/>
                  </a:moveTo>
                  <a:lnTo>
                    <a:pt x="4807839" y="214433"/>
                  </a:lnTo>
                  <a:lnTo>
                    <a:pt x="4986910" y="837089"/>
                  </a:lnTo>
                  <a:lnTo>
                    <a:pt x="5142739" y="293966"/>
                  </a:lnTo>
                  <a:cubicBezTo>
                    <a:pt x="5155978" y="241004"/>
                    <a:pt x="5191411" y="214500"/>
                    <a:pt x="5248847" y="214433"/>
                  </a:cubicBezTo>
                  <a:lnTo>
                    <a:pt x="5407914" y="214433"/>
                  </a:lnTo>
                  <a:lnTo>
                    <a:pt x="5069681" y="1217912"/>
                  </a:lnTo>
                  <a:cubicBezTo>
                    <a:pt x="5043106" y="1290785"/>
                    <a:pt x="5009959" y="1342662"/>
                    <a:pt x="4970146" y="1373552"/>
                  </a:cubicBezTo>
                  <a:cubicBezTo>
                    <a:pt x="4930426" y="1400124"/>
                    <a:pt x="4865180" y="1413385"/>
                    <a:pt x="4774597" y="1413318"/>
                  </a:cubicBezTo>
                  <a:lnTo>
                    <a:pt x="4751737" y="1413318"/>
                  </a:lnTo>
                  <a:cubicBezTo>
                    <a:pt x="4742403" y="1413509"/>
                    <a:pt x="4684586" y="1412558"/>
                    <a:pt x="4677918" y="1412558"/>
                  </a:cubicBezTo>
                  <a:lnTo>
                    <a:pt x="4677918" y="1224572"/>
                  </a:lnTo>
                  <a:lnTo>
                    <a:pt x="4741164" y="1224572"/>
                  </a:lnTo>
                  <a:cubicBezTo>
                    <a:pt x="4785646" y="1224572"/>
                    <a:pt x="4820507" y="1214078"/>
                    <a:pt x="4845939" y="1193082"/>
                  </a:cubicBezTo>
                  <a:cubicBezTo>
                    <a:pt x="4871371" y="1172057"/>
                    <a:pt x="4876323" y="1138475"/>
                    <a:pt x="4860893" y="1092050"/>
                  </a:cubicBezTo>
                  <a:close/>
                  <a:moveTo>
                    <a:pt x="1721739" y="214433"/>
                  </a:moveTo>
                  <a:lnTo>
                    <a:pt x="1754982" y="214433"/>
                  </a:lnTo>
                  <a:lnTo>
                    <a:pt x="1754982" y="449605"/>
                  </a:lnTo>
                  <a:lnTo>
                    <a:pt x="1678782" y="449605"/>
                  </a:lnTo>
                  <a:cubicBezTo>
                    <a:pt x="1614583" y="449605"/>
                    <a:pt x="1566958" y="465046"/>
                    <a:pt x="1535907" y="495936"/>
                  </a:cubicBezTo>
                  <a:cubicBezTo>
                    <a:pt x="1504855" y="526826"/>
                    <a:pt x="1489396" y="575402"/>
                    <a:pt x="1489520" y="641682"/>
                  </a:cubicBezTo>
                  <a:lnTo>
                    <a:pt x="1489520" y="1095379"/>
                  </a:lnTo>
                  <a:lnTo>
                    <a:pt x="1257205" y="1095379"/>
                  </a:lnTo>
                  <a:lnTo>
                    <a:pt x="1257205" y="668225"/>
                  </a:lnTo>
                  <a:cubicBezTo>
                    <a:pt x="1257205" y="582033"/>
                    <a:pt x="1269902" y="509702"/>
                    <a:pt x="1295305" y="451223"/>
                  </a:cubicBezTo>
                  <a:cubicBezTo>
                    <a:pt x="1318051" y="396397"/>
                    <a:pt x="1354046" y="348049"/>
                    <a:pt x="1400080" y="310519"/>
                  </a:cubicBezTo>
                  <a:cubicBezTo>
                    <a:pt x="1443829" y="276527"/>
                    <a:pt x="1494016" y="251735"/>
                    <a:pt x="1547622" y="237646"/>
                  </a:cubicBezTo>
                  <a:cubicBezTo>
                    <a:pt x="1604354" y="222148"/>
                    <a:pt x="1662923" y="214347"/>
                    <a:pt x="1721739" y="214433"/>
                  </a:cubicBezTo>
                  <a:close/>
                  <a:moveTo>
                    <a:pt x="5716715" y="194645"/>
                  </a:moveTo>
                  <a:cubicBezTo>
                    <a:pt x="5831586" y="194645"/>
                    <a:pt x="5923312" y="220017"/>
                    <a:pt x="5991892" y="270753"/>
                  </a:cubicBezTo>
                  <a:cubicBezTo>
                    <a:pt x="6055995" y="326054"/>
                    <a:pt x="6090285" y="397824"/>
                    <a:pt x="6094762" y="486042"/>
                  </a:cubicBezTo>
                  <a:lnTo>
                    <a:pt x="5951887" y="486042"/>
                  </a:lnTo>
                  <a:cubicBezTo>
                    <a:pt x="5911691" y="487127"/>
                    <a:pt x="5874353" y="465284"/>
                    <a:pt x="5855684" y="429722"/>
                  </a:cubicBezTo>
                  <a:lnTo>
                    <a:pt x="5829205" y="403275"/>
                  </a:lnTo>
                  <a:cubicBezTo>
                    <a:pt x="5802630" y="383420"/>
                    <a:pt x="5766149" y="373469"/>
                    <a:pt x="5719762" y="373403"/>
                  </a:cubicBezTo>
                  <a:cubicBezTo>
                    <a:pt x="5675280" y="373403"/>
                    <a:pt x="5642134" y="380034"/>
                    <a:pt x="5620322" y="393286"/>
                  </a:cubicBezTo>
                  <a:cubicBezTo>
                    <a:pt x="5600414" y="406386"/>
                    <a:pt x="5588984" y="429142"/>
                    <a:pt x="5590413" y="452935"/>
                  </a:cubicBezTo>
                  <a:cubicBezTo>
                    <a:pt x="5590413" y="488259"/>
                    <a:pt x="5647848" y="518074"/>
                    <a:pt x="5762816" y="542362"/>
                  </a:cubicBezTo>
                  <a:cubicBezTo>
                    <a:pt x="5774245" y="546148"/>
                    <a:pt x="5785867" y="549325"/>
                    <a:pt x="5797678" y="551875"/>
                  </a:cubicBezTo>
                  <a:cubicBezTo>
                    <a:pt x="5807012" y="554073"/>
                    <a:pt x="5816632" y="555195"/>
                    <a:pt x="5826253" y="555205"/>
                  </a:cubicBezTo>
                  <a:cubicBezTo>
                    <a:pt x="5938933" y="583935"/>
                    <a:pt x="6017323" y="617042"/>
                    <a:pt x="6061615" y="654525"/>
                  </a:cubicBezTo>
                  <a:cubicBezTo>
                    <a:pt x="6103620" y="694292"/>
                    <a:pt x="6124575" y="747282"/>
                    <a:pt x="6124670" y="813495"/>
                  </a:cubicBezTo>
                  <a:cubicBezTo>
                    <a:pt x="6124670" y="910723"/>
                    <a:pt x="6089333" y="985784"/>
                    <a:pt x="6018562" y="1038679"/>
                  </a:cubicBezTo>
                  <a:cubicBezTo>
                    <a:pt x="5952268" y="1087321"/>
                    <a:pt x="5852826" y="1111619"/>
                    <a:pt x="5720144" y="1111552"/>
                  </a:cubicBezTo>
                  <a:cubicBezTo>
                    <a:pt x="5594128" y="1111552"/>
                    <a:pt x="5500117" y="1086180"/>
                    <a:pt x="5438298" y="1035444"/>
                  </a:cubicBezTo>
                  <a:cubicBezTo>
                    <a:pt x="5374195" y="984709"/>
                    <a:pt x="5342096" y="910723"/>
                    <a:pt x="5342096" y="813495"/>
                  </a:cubicBezTo>
                  <a:lnTo>
                    <a:pt x="5342287" y="803982"/>
                  </a:lnTo>
                  <a:lnTo>
                    <a:pt x="5567839" y="803982"/>
                  </a:lnTo>
                  <a:cubicBezTo>
                    <a:pt x="5569934" y="848124"/>
                    <a:pt x="5586889" y="881326"/>
                    <a:pt x="5617559" y="903302"/>
                  </a:cubicBezTo>
                  <a:cubicBezTo>
                    <a:pt x="5650706" y="925469"/>
                    <a:pt x="5694902" y="936409"/>
                    <a:pt x="5750148" y="936409"/>
                  </a:cubicBezTo>
                  <a:cubicBezTo>
                    <a:pt x="5785771" y="937379"/>
                    <a:pt x="5821109" y="929398"/>
                    <a:pt x="5852922" y="913196"/>
                  </a:cubicBezTo>
                  <a:cubicBezTo>
                    <a:pt x="5879497" y="897784"/>
                    <a:pt x="5892737" y="876826"/>
                    <a:pt x="5892737" y="850312"/>
                  </a:cubicBezTo>
                  <a:cubicBezTo>
                    <a:pt x="5892737" y="810546"/>
                    <a:pt x="5846350" y="780740"/>
                    <a:pt x="5753481" y="760886"/>
                  </a:cubicBezTo>
                  <a:cubicBezTo>
                    <a:pt x="5723191" y="756472"/>
                    <a:pt x="5693283" y="749831"/>
                    <a:pt x="5663946" y="741003"/>
                  </a:cubicBezTo>
                  <a:cubicBezTo>
                    <a:pt x="5546788" y="712396"/>
                    <a:pt x="5468302" y="678185"/>
                    <a:pt x="5428584" y="638352"/>
                  </a:cubicBezTo>
                  <a:cubicBezTo>
                    <a:pt x="5384102" y="598710"/>
                    <a:pt x="5361909" y="545720"/>
                    <a:pt x="5361909" y="479383"/>
                  </a:cubicBezTo>
                  <a:cubicBezTo>
                    <a:pt x="5360384" y="398813"/>
                    <a:pt x="5395817" y="321964"/>
                    <a:pt x="5458111" y="270753"/>
                  </a:cubicBezTo>
                  <a:cubicBezTo>
                    <a:pt x="5524405" y="220017"/>
                    <a:pt x="5610606" y="194645"/>
                    <a:pt x="5716715" y="194645"/>
                  </a:cubicBezTo>
                  <a:close/>
                  <a:moveTo>
                    <a:pt x="4192239" y="194645"/>
                  </a:moveTo>
                  <a:cubicBezTo>
                    <a:pt x="4307110" y="194645"/>
                    <a:pt x="4398836" y="220017"/>
                    <a:pt x="4467416" y="270753"/>
                  </a:cubicBezTo>
                  <a:cubicBezTo>
                    <a:pt x="4531519" y="326054"/>
                    <a:pt x="4565809" y="397824"/>
                    <a:pt x="4570190" y="486042"/>
                  </a:cubicBezTo>
                  <a:lnTo>
                    <a:pt x="4427315" y="486042"/>
                  </a:lnTo>
                  <a:cubicBezTo>
                    <a:pt x="4387244" y="487098"/>
                    <a:pt x="4350087" y="465236"/>
                    <a:pt x="4331589" y="429722"/>
                  </a:cubicBezTo>
                  <a:lnTo>
                    <a:pt x="4305015" y="403275"/>
                  </a:lnTo>
                  <a:cubicBezTo>
                    <a:pt x="4278535" y="383420"/>
                    <a:pt x="4242083" y="373469"/>
                    <a:pt x="4195667" y="373403"/>
                  </a:cubicBezTo>
                  <a:cubicBezTo>
                    <a:pt x="4151214" y="373403"/>
                    <a:pt x="4118039" y="380034"/>
                    <a:pt x="4096132" y="393286"/>
                  </a:cubicBezTo>
                  <a:cubicBezTo>
                    <a:pt x="4076224" y="406415"/>
                    <a:pt x="4064861" y="429161"/>
                    <a:pt x="4066318" y="452935"/>
                  </a:cubicBezTo>
                  <a:cubicBezTo>
                    <a:pt x="4066318" y="488259"/>
                    <a:pt x="4123782" y="518074"/>
                    <a:pt x="4238721" y="542362"/>
                  </a:cubicBezTo>
                  <a:cubicBezTo>
                    <a:pt x="4250160" y="546167"/>
                    <a:pt x="4261799" y="549335"/>
                    <a:pt x="4273582" y="551875"/>
                  </a:cubicBezTo>
                  <a:cubicBezTo>
                    <a:pt x="4282793" y="554044"/>
                    <a:pt x="4292223" y="555157"/>
                    <a:pt x="4301681" y="555205"/>
                  </a:cubicBezTo>
                  <a:cubicBezTo>
                    <a:pt x="4414457" y="583935"/>
                    <a:pt x="4492943" y="617042"/>
                    <a:pt x="4537139" y="654525"/>
                  </a:cubicBezTo>
                  <a:cubicBezTo>
                    <a:pt x="4579144" y="694292"/>
                    <a:pt x="4600099" y="747282"/>
                    <a:pt x="4600099" y="813495"/>
                  </a:cubicBezTo>
                  <a:cubicBezTo>
                    <a:pt x="4600099" y="910723"/>
                    <a:pt x="4564761" y="985784"/>
                    <a:pt x="4494086" y="1038679"/>
                  </a:cubicBezTo>
                  <a:cubicBezTo>
                    <a:pt x="4427668" y="1087321"/>
                    <a:pt x="4328189" y="1111619"/>
                    <a:pt x="4195667" y="1111552"/>
                  </a:cubicBezTo>
                  <a:cubicBezTo>
                    <a:pt x="4069623" y="1111552"/>
                    <a:pt x="3975669" y="1086180"/>
                    <a:pt x="3913823" y="1035444"/>
                  </a:cubicBezTo>
                  <a:cubicBezTo>
                    <a:pt x="3849625" y="984709"/>
                    <a:pt x="3817554" y="910723"/>
                    <a:pt x="3817620" y="813495"/>
                  </a:cubicBezTo>
                  <a:lnTo>
                    <a:pt x="3817906" y="803982"/>
                  </a:lnTo>
                  <a:lnTo>
                    <a:pt x="4043363" y="803982"/>
                  </a:lnTo>
                  <a:cubicBezTo>
                    <a:pt x="4045553" y="848124"/>
                    <a:pt x="4062413" y="881326"/>
                    <a:pt x="4093084" y="903302"/>
                  </a:cubicBezTo>
                  <a:cubicBezTo>
                    <a:pt x="4126326" y="925469"/>
                    <a:pt x="4170522" y="936409"/>
                    <a:pt x="4225767" y="936409"/>
                  </a:cubicBezTo>
                  <a:cubicBezTo>
                    <a:pt x="4261428" y="937379"/>
                    <a:pt x="4296766" y="929398"/>
                    <a:pt x="4328541" y="913196"/>
                  </a:cubicBezTo>
                  <a:cubicBezTo>
                    <a:pt x="4355021" y="897784"/>
                    <a:pt x="4368356" y="876855"/>
                    <a:pt x="4368356" y="850312"/>
                  </a:cubicBezTo>
                  <a:cubicBezTo>
                    <a:pt x="4368356" y="810546"/>
                    <a:pt x="4321940" y="780740"/>
                    <a:pt x="4229100" y="760886"/>
                  </a:cubicBezTo>
                  <a:cubicBezTo>
                    <a:pt x="4198802" y="756472"/>
                    <a:pt x="4168874" y="749831"/>
                    <a:pt x="4139566" y="741003"/>
                  </a:cubicBezTo>
                  <a:cubicBezTo>
                    <a:pt x="4022284" y="712396"/>
                    <a:pt x="3943798" y="678185"/>
                    <a:pt x="3904107" y="638352"/>
                  </a:cubicBezTo>
                  <a:cubicBezTo>
                    <a:pt x="3859654" y="598710"/>
                    <a:pt x="3837432" y="545720"/>
                    <a:pt x="3837432" y="479383"/>
                  </a:cubicBezTo>
                  <a:cubicBezTo>
                    <a:pt x="3835918" y="398832"/>
                    <a:pt x="3871313" y="322011"/>
                    <a:pt x="3933540" y="270753"/>
                  </a:cubicBezTo>
                  <a:cubicBezTo>
                    <a:pt x="3999957" y="220017"/>
                    <a:pt x="4086197" y="194645"/>
                    <a:pt x="4192239" y="194645"/>
                  </a:cubicBezTo>
                  <a:close/>
                  <a:moveTo>
                    <a:pt x="3386901" y="194645"/>
                  </a:moveTo>
                  <a:cubicBezTo>
                    <a:pt x="3519488" y="194645"/>
                    <a:pt x="3622264" y="234383"/>
                    <a:pt x="3695225" y="313849"/>
                  </a:cubicBezTo>
                  <a:cubicBezTo>
                    <a:pt x="3765967" y="395541"/>
                    <a:pt x="3801333" y="509226"/>
                    <a:pt x="3801333" y="654906"/>
                  </a:cubicBezTo>
                  <a:lnTo>
                    <a:pt x="3801333" y="691342"/>
                  </a:lnTo>
                  <a:cubicBezTo>
                    <a:pt x="3801838" y="699229"/>
                    <a:pt x="3800704" y="707135"/>
                    <a:pt x="3797999" y="714555"/>
                  </a:cubicBezTo>
                  <a:lnTo>
                    <a:pt x="3224404" y="714555"/>
                  </a:lnTo>
                  <a:cubicBezTo>
                    <a:pt x="3226623" y="783052"/>
                    <a:pt x="3243197" y="833787"/>
                    <a:pt x="3274124" y="866771"/>
                  </a:cubicBezTo>
                  <a:cubicBezTo>
                    <a:pt x="3302766" y="902161"/>
                    <a:pt x="3345876" y="919827"/>
                    <a:pt x="3403474" y="919761"/>
                  </a:cubicBezTo>
                  <a:cubicBezTo>
                    <a:pt x="3437002" y="920750"/>
                    <a:pt x="3470187" y="912768"/>
                    <a:pt x="3499581" y="896643"/>
                  </a:cubicBezTo>
                  <a:cubicBezTo>
                    <a:pt x="3506515" y="894274"/>
                    <a:pt x="3512783" y="890297"/>
                    <a:pt x="3517869" y="885036"/>
                  </a:cubicBezTo>
                  <a:lnTo>
                    <a:pt x="3536062" y="866771"/>
                  </a:lnTo>
                  <a:cubicBezTo>
                    <a:pt x="3541967" y="855992"/>
                    <a:pt x="3550521" y="846887"/>
                    <a:pt x="3560923" y="840323"/>
                  </a:cubicBezTo>
                  <a:cubicBezTo>
                    <a:pt x="3579000" y="828250"/>
                    <a:pt x="3600565" y="822466"/>
                    <a:pt x="3622264" y="823865"/>
                  </a:cubicBezTo>
                  <a:lnTo>
                    <a:pt x="3788094" y="823865"/>
                  </a:lnTo>
                  <a:cubicBezTo>
                    <a:pt x="3763710" y="916526"/>
                    <a:pt x="3717294" y="987182"/>
                    <a:pt x="3648838" y="1035825"/>
                  </a:cubicBezTo>
                  <a:cubicBezTo>
                    <a:pt x="3580258" y="1086560"/>
                    <a:pt x="3494028" y="1111932"/>
                    <a:pt x="3390139" y="1111932"/>
                  </a:cubicBezTo>
                  <a:cubicBezTo>
                    <a:pt x="3264219" y="1111932"/>
                    <a:pt x="3165797" y="1071091"/>
                    <a:pt x="3094864" y="989399"/>
                  </a:cubicBezTo>
                  <a:cubicBezTo>
                    <a:pt x="3024188" y="909933"/>
                    <a:pt x="2988851" y="796247"/>
                    <a:pt x="2988851" y="648342"/>
                  </a:cubicBezTo>
                  <a:cubicBezTo>
                    <a:pt x="2988851" y="507095"/>
                    <a:pt x="3023112" y="396711"/>
                    <a:pt x="3091626" y="317178"/>
                  </a:cubicBezTo>
                  <a:cubicBezTo>
                    <a:pt x="3162301" y="235486"/>
                    <a:pt x="3260723" y="194645"/>
                    <a:pt x="3386901" y="194645"/>
                  </a:cubicBezTo>
                  <a:close/>
                  <a:moveTo>
                    <a:pt x="2146078" y="194645"/>
                  </a:moveTo>
                  <a:cubicBezTo>
                    <a:pt x="2269903" y="194645"/>
                    <a:pt x="2362772" y="215603"/>
                    <a:pt x="2424684" y="257529"/>
                  </a:cubicBezTo>
                  <a:cubicBezTo>
                    <a:pt x="2488816" y="301928"/>
                    <a:pt x="2520858" y="363728"/>
                    <a:pt x="2520792" y="442946"/>
                  </a:cubicBezTo>
                  <a:lnTo>
                    <a:pt x="2520792" y="744332"/>
                  </a:lnTo>
                  <a:cubicBezTo>
                    <a:pt x="2520792" y="832684"/>
                    <a:pt x="2504914" y="901685"/>
                    <a:pt x="2473167" y="951345"/>
                  </a:cubicBezTo>
                  <a:cubicBezTo>
                    <a:pt x="2445477" y="997067"/>
                    <a:pt x="2405777" y="1034341"/>
                    <a:pt x="2358391" y="1059133"/>
                  </a:cubicBezTo>
                  <a:cubicBezTo>
                    <a:pt x="2312508" y="1083297"/>
                    <a:pt x="2262435" y="1098471"/>
                    <a:pt x="2210848" y="1103846"/>
                  </a:cubicBezTo>
                  <a:cubicBezTo>
                    <a:pt x="2165176" y="1109002"/>
                    <a:pt x="2119265" y="1111761"/>
                    <a:pt x="2073307" y="1112123"/>
                  </a:cubicBezTo>
                  <a:cubicBezTo>
                    <a:pt x="1998574" y="1113559"/>
                    <a:pt x="1925374" y="1090831"/>
                    <a:pt x="1864614" y="1047336"/>
                  </a:cubicBezTo>
                  <a:cubicBezTo>
                    <a:pt x="1804921" y="1004335"/>
                    <a:pt x="1775079" y="933146"/>
                    <a:pt x="1775079" y="833759"/>
                  </a:cubicBezTo>
                  <a:cubicBezTo>
                    <a:pt x="1775079" y="741031"/>
                    <a:pt x="1802159" y="674789"/>
                    <a:pt x="1856328" y="635023"/>
                  </a:cubicBezTo>
                  <a:cubicBezTo>
                    <a:pt x="1910496" y="595256"/>
                    <a:pt x="1979553" y="568781"/>
                    <a:pt x="2063496" y="555586"/>
                  </a:cubicBezTo>
                  <a:cubicBezTo>
                    <a:pt x="2076908" y="555319"/>
                    <a:pt x="2090242" y="553664"/>
                    <a:pt x="2103311" y="550638"/>
                  </a:cubicBezTo>
                  <a:cubicBezTo>
                    <a:pt x="2120846" y="546976"/>
                    <a:pt x="2138553" y="544217"/>
                    <a:pt x="2156365" y="542362"/>
                  </a:cubicBezTo>
                  <a:cubicBezTo>
                    <a:pt x="2253644" y="529167"/>
                    <a:pt x="2302288" y="500474"/>
                    <a:pt x="2302288" y="456265"/>
                  </a:cubicBezTo>
                  <a:cubicBezTo>
                    <a:pt x="2302288" y="423158"/>
                    <a:pt x="2285143" y="401629"/>
                    <a:pt x="2250853" y="391669"/>
                  </a:cubicBezTo>
                  <a:cubicBezTo>
                    <a:pt x="2220220" y="382260"/>
                    <a:pt x="2188407" y="377237"/>
                    <a:pt x="2156365" y="376732"/>
                  </a:cubicBezTo>
                  <a:cubicBezTo>
                    <a:pt x="2128181" y="376314"/>
                    <a:pt x="2100149" y="380785"/>
                    <a:pt x="2073497" y="389956"/>
                  </a:cubicBezTo>
                  <a:cubicBezTo>
                    <a:pt x="2049618" y="398395"/>
                    <a:pt x="2030378" y="416442"/>
                    <a:pt x="2020443" y="439712"/>
                  </a:cubicBezTo>
                  <a:lnTo>
                    <a:pt x="1797939" y="439712"/>
                  </a:lnTo>
                  <a:cubicBezTo>
                    <a:pt x="1805626" y="373441"/>
                    <a:pt x="1838954" y="312802"/>
                    <a:pt x="1890808" y="270753"/>
                  </a:cubicBezTo>
                  <a:cubicBezTo>
                    <a:pt x="1950501" y="220017"/>
                    <a:pt x="2035588" y="194645"/>
                    <a:pt x="2146078" y="194645"/>
                  </a:cubicBezTo>
                  <a:close/>
                  <a:moveTo>
                    <a:pt x="374523" y="194645"/>
                  </a:moveTo>
                  <a:cubicBezTo>
                    <a:pt x="489462" y="194645"/>
                    <a:pt x="581216" y="220017"/>
                    <a:pt x="649796" y="270753"/>
                  </a:cubicBezTo>
                  <a:cubicBezTo>
                    <a:pt x="713927" y="326054"/>
                    <a:pt x="748189" y="397824"/>
                    <a:pt x="752570" y="486042"/>
                  </a:cubicBezTo>
                  <a:lnTo>
                    <a:pt x="609695" y="486042"/>
                  </a:lnTo>
                  <a:cubicBezTo>
                    <a:pt x="569500" y="487127"/>
                    <a:pt x="532181" y="465284"/>
                    <a:pt x="513493" y="429722"/>
                  </a:cubicBezTo>
                  <a:cubicBezTo>
                    <a:pt x="504634" y="420970"/>
                    <a:pt x="495776" y="412122"/>
                    <a:pt x="487013" y="403275"/>
                  </a:cubicBezTo>
                  <a:cubicBezTo>
                    <a:pt x="460534" y="383420"/>
                    <a:pt x="424053" y="373469"/>
                    <a:pt x="377571" y="373403"/>
                  </a:cubicBezTo>
                  <a:cubicBezTo>
                    <a:pt x="333118" y="373403"/>
                    <a:pt x="299971" y="380034"/>
                    <a:pt x="278130" y="393286"/>
                  </a:cubicBezTo>
                  <a:cubicBezTo>
                    <a:pt x="258223" y="406415"/>
                    <a:pt x="246859" y="429161"/>
                    <a:pt x="248317" y="452935"/>
                  </a:cubicBezTo>
                  <a:cubicBezTo>
                    <a:pt x="248317" y="488259"/>
                    <a:pt x="305781" y="518074"/>
                    <a:pt x="420719" y="542362"/>
                  </a:cubicBezTo>
                  <a:cubicBezTo>
                    <a:pt x="432130" y="546148"/>
                    <a:pt x="443732" y="549325"/>
                    <a:pt x="455486" y="551875"/>
                  </a:cubicBezTo>
                  <a:cubicBezTo>
                    <a:pt x="464849" y="554073"/>
                    <a:pt x="474440" y="555186"/>
                    <a:pt x="484061" y="555205"/>
                  </a:cubicBezTo>
                  <a:cubicBezTo>
                    <a:pt x="596837" y="583935"/>
                    <a:pt x="675323" y="617042"/>
                    <a:pt x="719519" y="654525"/>
                  </a:cubicBezTo>
                  <a:cubicBezTo>
                    <a:pt x="761429" y="694292"/>
                    <a:pt x="782412" y="747282"/>
                    <a:pt x="782479" y="813495"/>
                  </a:cubicBezTo>
                  <a:cubicBezTo>
                    <a:pt x="782479" y="910723"/>
                    <a:pt x="747113" y="985784"/>
                    <a:pt x="676370" y="1038679"/>
                  </a:cubicBezTo>
                  <a:cubicBezTo>
                    <a:pt x="610076" y="1087321"/>
                    <a:pt x="510607" y="1111619"/>
                    <a:pt x="377952" y="1111552"/>
                  </a:cubicBezTo>
                  <a:cubicBezTo>
                    <a:pt x="251908" y="1111552"/>
                    <a:pt x="157953" y="1086180"/>
                    <a:pt x="96108" y="1035444"/>
                  </a:cubicBezTo>
                  <a:cubicBezTo>
                    <a:pt x="31975" y="984709"/>
                    <a:pt x="-67" y="910723"/>
                    <a:pt x="0" y="813495"/>
                  </a:cubicBezTo>
                  <a:lnTo>
                    <a:pt x="286" y="803982"/>
                  </a:lnTo>
                  <a:lnTo>
                    <a:pt x="225743" y="803982"/>
                  </a:lnTo>
                  <a:cubicBezTo>
                    <a:pt x="227933" y="848124"/>
                    <a:pt x="244793" y="881326"/>
                    <a:pt x="275463" y="903302"/>
                  </a:cubicBezTo>
                  <a:cubicBezTo>
                    <a:pt x="308610" y="925469"/>
                    <a:pt x="352806" y="936409"/>
                    <a:pt x="408051" y="936409"/>
                  </a:cubicBezTo>
                  <a:cubicBezTo>
                    <a:pt x="443742" y="937379"/>
                    <a:pt x="479108" y="929398"/>
                    <a:pt x="510921" y="913196"/>
                  </a:cubicBezTo>
                  <a:cubicBezTo>
                    <a:pt x="537400" y="897784"/>
                    <a:pt x="550640" y="876826"/>
                    <a:pt x="550640" y="850312"/>
                  </a:cubicBezTo>
                  <a:cubicBezTo>
                    <a:pt x="550640" y="810546"/>
                    <a:pt x="504225" y="780740"/>
                    <a:pt x="411385" y="760886"/>
                  </a:cubicBezTo>
                  <a:cubicBezTo>
                    <a:pt x="381095" y="756462"/>
                    <a:pt x="351168" y="749822"/>
                    <a:pt x="321850" y="741003"/>
                  </a:cubicBezTo>
                  <a:cubicBezTo>
                    <a:pt x="204692" y="712396"/>
                    <a:pt x="126235" y="678185"/>
                    <a:pt x="86487" y="638352"/>
                  </a:cubicBezTo>
                  <a:cubicBezTo>
                    <a:pt x="42034" y="598710"/>
                    <a:pt x="19812" y="545720"/>
                    <a:pt x="19812" y="479383"/>
                  </a:cubicBezTo>
                  <a:cubicBezTo>
                    <a:pt x="18298" y="398832"/>
                    <a:pt x="53693" y="322011"/>
                    <a:pt x="115919" y="270753"/>
                  </a:cubicBezTo>
                  <a:cubicBezTo>
                    <a:pt x="182213" y="220017"/>
                    <a:pt x="268415" y="194645"/>
                    <a:pt x="374523" y="194645"/>
                  </a:cubicBezTo>
                  <a:close/>
                  <a:moveTo>
                    <a:pt x="2575750" y="0"/>
                  </a:moveTo>
                  <a:lnTo>
                    <a:pt x="2799779" y="0"/>
                  </a:lnTo>
                  <a:lnTo>
                    <a:pt x="2799779" y="221949"/>
                  </a:lnTo>
                  <a:lnTo>
                    <a:pt x="2958084" y="221949"/>
                  </a:lnTo>
                  <a:lnTo>
                    <a:pt x="2958084" y="420399"/>
                  </a:lnTo>
                  <a:lnTo>
                    <a:pt x="2800159" y="420399"/>
                  </a:lnTo>
                  <a:lnTo>
                    <a:pt x="2800159" y="728921"/>
                  </a:lnTo>
                  <a:cubicBezTo>
                    <a:pt x="2800159" y="789997"/>
                    <a:pt x="2814038" y="832969"/>
                    <a:pt x="2841784" y="857828"/>
                  </a:cubicBezTo>
                  <a:cubicBezTo>
                    <a:pt x="2869530" y="882687"/>
                    <a:pt x="2911697" y="893408"/>
                    <a:pt x="2968276" y="889984"/>
                  </a:cubicBezTo>
                  <a:lnTo>
                    <a:pt x="2968276" y="1093667"/>
                  </a:lnTo>
                  <a:cubicBezTo>
                    <a:pt x="2911317" y="1101116"/>
                    <a:pt x="2853443" y="1097111"/>
                    <a:pt x="2798064" y="1081870"/>
                  </a:cubicBezTo>
                  <a:cubicBezTo>
                    <a:pt x="2752011" y="1068675"/>
                    <a:pt x="2710006" y="1044178"/>
                    <a:pt x="2675858" y="1010614"/>
                  </a:cubicBezTo>
                  <a:cubicBezTo>
                    <a:pt x="2642092" y="976385"/>
                    <a:pt x="2616556" y="934944"/>
                    <a:pt x="2601183" y="889413"/>
                  </a:cubicBezTo>
                  <a:cubicBezTo>
                    <a:pt x="2583590" y="837336"/>
                    <a:pt x="2574998" y="782643"/>
                    <a:pt x="2575750" y="727684"/>
                  </a:cubicBezTo>
                  <a:close/>
                  <a:moveTo>
                    <a:pt x="824770" y="0"/>
                  </a:moveTo>
                  <a:lnTo>
                    <a:pt x="1048893" y="0"/>
                  </a:lnTo>
                  <a:lnTo>
                    <a:pt x="1048893" y="221949"/>
                  </a:lnTo>
                  <a:lnTo>
                    <a:pt x="1206723" y="221949"/>
                  </a:lnTo>
                  <a:lnTo>
                    <a:pt x="1206723" y="420399"/>
                  </a:lnTo>
                  <a:lnTo>
                    <a:pt x="1048417" y="420399"/>
                  </a:lnTo>
                  <a:lnTo>
                    <a:pt x="1048417" y="728921"/>
                  </a:lnTo>
                  <a:cubicBezTo>
                    <a:pt x="1048417" y="789997"/>
                    <a:pt x="1062257" y="832969"/>
                    <a:pt x="1089946" y="857828"/>
                  </a:cubicBezTo>
                  <a:cubicBezTo>
                    <a:pt x="1117636" y="882687"/>
                    <a:pt x="1159955" y="893475"/>
                    <a:pt x="1216915" y="890174"/>
                  </a:cubicBezTo>
                  <a:lnTo>
                    <a:pt x="1216915" y="1093667"/>
                  </a:lnTo>
                  <a:cubicBezTo>
                    <a:pt x="1160117" y="1101068"/>
                    <a:pt x="1102405" y="1097054"/>
                    <a:pt x="1047179" y="1081870"/>
                  </a:cubicBezTo>
                  <a:cubicBezTo>
                    <a:pt x="1001116" y="1068694"/>
                    <a:pt x="959101" y="1044197"/>
                    <a:pt x="924973" y="1010614"/>
                  </a:cubicBezTo>
                  <a:cubicBezTo>
                    <a:pt x="891207" y="976366"/>
                    <a:pt x="865642" y="934935"/>
                    <a:pt x="850202" y="889413"/>
                  </a:cubicBezTo>
                  <a:cubicBezTo>
                    <a:pt x="832619" y="837336"/>
                    <a:pt x="824018" y="782643"/>
                    <a:pt x="824770" y="727684"/>
                  </a:cubicBezTo>
                  <a:close/>
                </a:path>
              </a:pathLst>
            </a:custGeom>
            <a:solidFill>
              <a:srgbClr val="002060"/>
            </a:solidFill>
            <a:ln w="9525" cap="flat">
              <a:noFill/>
              <a:prstDash val="solid"/>
              <a:miter/>
            </a:ln>
          </p:spPr>
          <p:txBody>
            <a:bodyPr rtlCol="0" anchor="ctr"/>
            <a:lstStyle/>
            <a:p>
              <a:endParaRPr lang="es-ES"/>
            </a:p>
          </p:txBody>
        </p:sp>
      </p:grpSp>
      <p:sp>
        <p:nvSpPr>
          <p:cNvPr id="31" name="Marcador de posición de imagen 8">
            <a:extLst>
              <a:ext uri="{FF2B5EF4-FFF2-40B4-BE49-F238E27FC236}">
                <a16:creationId xmlns:a16="http://schemas.microsoft.com/office/drawing/2014/main" id="{37D7ECFC-CFFE-7D42-BE9D-F68C13FCB2EC}"/>
              </a:ext>
            </a:extLst>
          </p:cNvPr>
          <p:cNvSpPr>
            <a:spLocks noGrp="1"/>
          </p:cNvSpPr>
          <p:nvPr>
            <p:ph type="pic" sz="quarter" idx="11" hasCustomPrompt="1"/>
          </p:nvPr>
        </p:nvSpPr>
        <p:spPr>
          <a:xfrm>
            <a:off x="374650" y="4214535"/>
            <a:ext cx="2185988" cy="1979037"/>
          </a:xfrm>
        </p:spPr>
        <p:txBody>
          <a:bodyPr anchor="ctr">
            <a:normAutofit/>
          </a:bodyPr>
          <a:lstStyle>
            <a:lvl1pPr algn="ctr">
              <a:lnSpc>
                <a:spcPct val="100000"/>
              </a:lnSpc>
              <a:spcBef>
                <a:spcPts val="0"/>
              </a:spcBef>
              <a:defRPr sz="2000">
                <a:solidFill>
                  <a:schemeClr val="bg1">
                    <a:lumMod val="50000"/>
                  </a:schemeClr>
                </a:solidFill>
              </a:defRPr>
            </a:lvl1pPr>
          </a:lstStyle>
          <a:p>
            <a:r>
              <a:rPr lang="en-US"/>
              <a:t>Logo </a:t>
            </a:r>
            <a:r>
              <a:rPr lang="en-US" err="1"/>
              <a:t>Cliente</a:t>
            </a:r>
            <a:endParaRPr lang="en-US"/>
          </a:p>
        </p:txBody>
      </p:sp>
      <p:sp>
        <p:nvSpPr>
          <p:cNvPr id="32" name="CuadroTexto 31">
            <a:extLst>
              <a:ext uri="{FF2B5EF4-FFF2-40B4-BE49-F238E27FC236}">
                <a16:creationId xmlns:a16="http://schemas.microsoft.com/office/drawing/2014/main" id="{C576C82A-B610-3244-8497-01CF83B7FAC6}"/>
              </a:ext>
            </a:extLst>
          </p:cNvPr>
          <p:cNvSpPr txBox="1"/>
          <p:nvPr userDrawn="1"/>
        </p:nvSpPr>
        <p:spPr>
          <a:xfrm>
            <a:off x="1" y="6557935"/>
            <a:ext cx="12191999" cy="300066"/>
          </a:xfrm>
          <a:prstGeom prst="rect">
            <a:avLst/>
          </a:prstGeom>
          <a:solidFill>
            <a:schemeClr val="accent2">
              <a:lumMod val="75000"/>
            </a:schemeClr>
          </a:solidFill>
          <a:effectLst/>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900" b="1" spc="200">
                <a:solidFill>
                  <a:schemeClr val="bg1"/>
                </a:solidFill>
              </a:rPr>
              <a:t>ALEMANIA | ARGENTINA</a:t>
            </a:r>
            <a:r>
              <a:rPr lang="es-ES_tradnl" sz="900" b="1" spc="200" baseline="0">
                <a:solidFill>
                  <a:schemeClr val="bg1"/>
                </a:solidFill>
              </a:rPr>
              <a:t> </a:t>
            </a:r>
            <a:r>
              <a:rPr lang="es-ES_tradnl" sz="900" b="1" spc="200">
                <a:solidFill>
                  <a:schemeClr val="bg1"/>
                </a:solidFill>
              </a:rPr>
              <a:t>| BRASIL</a:t>
            </a:r>
            <a:r>
              <a:rPr lang="es-ES_tradnl" sz="900" b="1" spc="200" baseline="0">
                <a:solidFill>
                  <a:schemeClr val="bg1"/>
                </a:solidFill>
              </a:rPr>
              <a:t> </a:t>
            </a:r>
            <a:r>
              <a:rPr lang="es-ES_tradnl" sz="900" b="1" spc="200">
                <a:solidFill>
                  <a:schemeClr val="bg1"/>
                </a:solidFill>
              </a:rPr>
              <a:t>| CHILE | CHINA | COLOMBIA</a:t>
            </a:r>
            <a:r>
              <a:rPr lang="es-ES_tradnl" sz="900" b="1" spc="200" baseline="0">
                <a:solidFill>
                  <a:schemeClr val="bg1"/>
                </a:solidFill>
              </a:rPr>
              <a:t> | </a:t>
            </a:r>
            <a:r>
              <a:rPr lang="es-ES_tradnl" sz="900" b="1" spc="200">
                <a:solidFill>
                  <a:schemeClr val="bg1"/>
                </a:solidFill>
              </a:rPr>
              <a:t>ESPAÑA | MÉXICO | REINO UNIDO | PAÍSES BAJOS | PORTUGAL | USA</a:t>
            </a:r>
          </a:p>
        </p:txBody>
      </p:sp>
    </p:spTree>
    <p:extLst>
      <p:ext uri="{BB962C8B-B14F-4D97-AF65-F5344CB8AC3E}">
        <p14:creationId xmlns:p14="http://schemas.microsoft.com/office/powerpoint/2010/main" val="2686939618"/>
      </p:ext>
    </p:extLst>
  </p:cSld>
  <p:clrMapOvr>
    <a:masterClrMapping/>
  </p:clrMapOvr>
  <p:transition spd="slow"/>
  <p:extLst>
    <p:ext uri="{DCECCB84-F9BA-43D5-87BE-67443E8EF086}">
      <p15:sldGuideLst xmlns:p15="http://schemas.microsoft.com/office/powerpoint/2012/main">
        <p15:guide id="1" orient="horz" pos="2160">
          <p15:clr>
            <a:srgbClr val="FBAE40"/>
          </p15:clr>
        </p15:guide>
        <p15:guide id="2" pos="1689">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mplate Propuesta 2022 - Agradecimiento">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0D8D304-CE61-944D-A833-D67D361CD750}"/>
              </a:ext>
            </a:extLst>
          </p:cNvPr>
          <p:cNvSpPr/>
          <p:nvPr userDrawn="1"/>
        </p:nvSpPr>
        <p:spPr bwMode="auto">
          <a:xfrm>
            <a:off x="0" y="0"/>
            <a:ext cx="12192000" cy="1362950"/>
          </a:xfrm>
          <a:prstGeom prst="rect">
            <a:avLst/>
          </a:prstGeom>
          <a:solidFill>
            <a:schemeClr val="bg1"/>
          </a:solidFill>
          <a:ln>
            <a:noFill/>
          </a:ln>
        </p:spPr>
        <p:txBody>
          <a:bodyPr lIns="0" tIns="0" rIns="0" bIns="0" rtlCol="0" anchor="ctr"/>
          <a:lstStyle/>
          <a:p>
            <a:pPr algn="ctr"/>
            <a:endParaRPr lang="en-US"/>
          </a:p>
        </p:txBody>
      </p:sp>
      <p:pic>
        <p:nvPicPr>
          <p:cNvPr id="11" name="Imagen 10">
            <a:extLst>
              <a:ext uri="{FF2B5EF4-FFF2-40B4-BE49-F238E27FC236}">
                <a16:creationId xmlns:a16="http://schemas.microsoft.com/office/drawing/2014/main" id="{8C632E28-7A13-7943-B36D-695C45731E1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815804" cy="6580262"/>
          </a:xfrm>
          <a:prstGeom prst="rect">
            <a:avLst/>
          </a:prstGeom>
        </p:spPr>
      </p:pic>
      <p:sp>
        <p:nvSpPr>
          <p:cNvPr id="5" name="Marcador de título 2">
            <a:extLst>
              <a:ext uri="{FF2B5EF4-FFF2-40B4-BE49-F238E27FC236}">
                <a16:creationId xmlns:a16="http://schemas.microsoft.com/office/drawing/2014/main" id="{5EC8D08F-BED2-8C40-B203-9DA312D88B9F}"/>
              </a:ext>
            </a:extLst>
          </p:cNvPr>
          <p:cNvSpPr>
            <a:spLocks noGrp="1"/>
          </p:cNvSpPr>
          <p:nvPr>
            <p:ph type="title" hasCustomPrompt="1"/>
          </p:nvPr>
        </p:nvSpPr>
        <p:spPr>
          <a:xfrm>
            <a:off x="1219273" y="124288"/>
            <a:ext cx="4876726" cy="1085948"/>
          </a:xfrm>
          <a:prstGeom prst="rect">
            <a:avLst/>
          </a:prstGeom>
        </p:spPr>
        <p:txBody>
          <a:bodyPr vert="horz" lIns="0" tIns="45720" rIns="0" bIns="45720" rtlCol="0" anchor="ctr">
            <a:noAutofit/>
          </a:bodyPr>
          <a:lstStyle>
            <a:lvl1pPr>
              <a:defRPr sz="1800" b="1">
                <a:solidFill>
                  <a:schemeClr val="tx2"/>
                </a:solidFill>
                <a:latin typeface="+mj-lt"/>
              </a:defRPr>
            </a:lvl1pPr>
          </a:lstStyle>
          <a:p>
            <a:r>
              <a:rPr lang="es-ES_tradnl"/>
              <a:t>Nombre del Proyecto</a:t>
            </a:r>
            <a:endParaRPr lang="en-US"/>
          </a:p>
        </p:txBody>
      </p:sp>
      <p:sp>
        <p:nvSpPr>
          <p:cNvPr id="10" name="CuadroTexto 9">
            <a:extLst>
              <a:ext uri="{FF2B5EF4-FFF2-40B4-BE49-F238E27FC236}">
                <a16:creationId xmlns:a16="http://schemas.microsoft.com/office/drawing/2014/main" id="{331F49F5-299C-B94A-9503-90301329808F}"/>
              </a:ext>
            </a:extLst>
          </p:cNvPr>
          <p:cNvSpPr txBox="1"/>
          <p:nvPr userDrawn="1"/>
        </p:nvSpPr>
        <p:spPr>
          <a:xfrm>
            <a:off x="6375544" y="646866"/>
            <a:ext cx="2632559"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a:ln>
                  <a:noFill/>
                </a:ln>
                <a:solidFill>
                  <a:schemeClr val="tx2"/>
                </a:solidFill>
                <a:effectLst/>
                <a:uLnTx/>
                <a:uFillTx/>
                <a:ea typeface="+mn-ea"/>
                <a:cs typeface="+mn-cs"/>
              </a:rPr>
              <a:t>Stratesys </a:t>
            </a:r>
            <a:r>
              <a:rPr kumimoji="0" lang="en-US" sz="1100" b="1" i="0" u="none" strike="noStrike" kern="1200" cap="none" spc="0" normalizeH="0" baseline="0" noProof="0">
                <a:ln>
                  <a:noFill/>
                </a:ln>
                <a:solidFill>
                  <a:schemeClr val="tx2"/>
                </a:solidFill>
                <a:effectLst/>
                <a:uLnTx/>
                <a:uFillTx/>
                <a:ea typeface="+mn-ea"/>
                <a:cs typeface="+mn-cs"/>
              </a:rPr>
              <a:t>Technology Solu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a:ln>
                  <a:noFill/>
                </a:ln>
                <a:solidFill>
                  <a:schemeClr val="tx2"/>
                </a:solidFill>
                <a:effectLst/>
                <a:uLnTx/>
                <a:uFillTx/>
                <a:ea typeface="+mn-ea"/>
                <a:cs typeface="+mn-cs"/>
              </a:rPr>
              <a:t>C/ Torrelaguna 77, 28043 Madrid, España</a:t>
            </a:r>
          </a:p>
        </p:txBody>
      </p:sp>
      <p:cxnSp>
        <p:nvCxnSpPr>
          <p:cNvPr id="13" name="Conector recto 12">
            <a:extLst>
              <a:ext uri="{FF2B5EF4-FFF2-40B4-BE49-F238E27FC236}">
                <a16:creationId xmlns:a16="http://schemas.microsoft.com/office/drawing/2014/main" id="{929DBE25-642C-7846-BE72-6F119C19096D}"/>
              </a:ext>
            </a:extLst>
          </p:cNvPr>
          <p:cNvCxnSpPr>
            <a:cxnSpLocks/>
          </p:cNvCxnSpPr>
          <p:nvPr userDrawn="1"/>
        </p:nvCxnSpPr>
        <p:spPr>
          <a:xfrm>
            <a:off x="9008103" y="125506"/>
            <a:ext cx="0" cy="112955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Forma libre 21">
            <a:extLst>
              <a:ext uri="{FF2B5EF4-FFF2-40B4-BE49-F238E27FC236}">
                <a16:creationId xmlns:a16="http://schemas.microsoft.com/office/drawing/2014/main" id="{39831AF0-2D59-F24E-9C9E-41B7A9C24BDF}"/>
              </a:ext>
            </a:extLst>
          </p:cNvPr>
          <p:cNvSpPr/>
          <p:nvPr userDrawn="1"/>
        </p:nvSpPr>
        <p:spPr>
          <a:xfrm>
            <a:off x="6473897" y="239465"/>
            <a:ext cx="1056456" cy="243790"/>
          </a:xfrm>
          <a:custGeom>
            <a:avLst/>
            <a:gdLst>
              <a:gd name="connsiteX0" fmla="*/ 2305336 w 6124670"/>
              <a:gd name="connsiteY0" fmla="*/ 651766 h 1413343"/>
              <a:gd name="connsiteX1" fmla="*/ 2176082 w 6124670"/>
              <a:gd name="connsiteY1" fmla="*/ 694862 h 1413343"/>
              <a:gd name="connsiteX2" fmla="*/ 2099882 w 6124670"/>
              <a:gd name="connsiteY2" fmla="*/ 711416 h 1413343"/>
              <a:gd name="connsiteX3" fmla="*/ 2013681 w 6124670"/>
              <a:gd name="connsiteY3" fmla="*/ 754512 h 1413343"/>
              <a:gd name="connsiteX4" fmla="*/ 1990440 w 6124670"/>
              <a:gd name="connsiteY4" fmla="*/ 827385 h 1413343"/>
              <a:gd name="connsiteX5" fmla="*/ 2020348 w 6124670"/>
              <a:gd name="connsiteY5" fmla="*/ 906822 h 1413343"/>
              <a:gd name="connsiteX6" fmla="*/ 2106073 w 6124670"/>
              <a:gd name="connsiteY6" fmla="*/ 933269 h 1413343"/>
              <a:gd name="connsiteX7" fmla="*/ 2251900 w 6124670"/>
              <a:gd name="connsiteY7" fmla="*/ 880375 h 1413343"/>
              <a:gd name="connsiteX8" fmla="*/ 2304955 w 6124670"/>
              <a:gd name="connsiteY8" fmla="*/ 734629 h 1413343"/>
              <a:gd name="connsiteX9" fmla="*/ 3393473 w 6124670"/>
              <a:gd name="connsiteY9" fmla="*/ 386722 h 1413343"/>
              <a:gd name="connsiteX10" fmla="*/ 3274315 w 6124670"/>
              <a:gd name="connsiteY10" fmla="*/ 433052 h 1413343"/>
              <a:gd name="connsiteX11" fmla="*/ 3224404 w 6124670"/>
              <a:gd name="connsiteY11" fmla="*/ 565479 h 1413343"/>
              <a:gd name="connsiteX12" fmla="*/ 3562637 w 6124670"/>
              <a:gd name="connsiteY12" fmla="*/ 565479 h 1413343"/>
              <a:gd name="connsiteX13" fmla="*/ 3516155 w 6124670"/>
              <a:gd name="connsiteY13" fmla="*/ 433052 h 1413343"/>
              <a:gd name="connsiteX14" fmla="*/ 3393473 w 6124670"/>
              <a:gd name="connsiteY14" fmla="*/ 386722 h 1413343"/>
              <a:gd name="connsiteX15" fmla="*/ 4552474 w 6124670"/>
              <a:gd name="connsiteY15" fmla="*/ 214433 h 1413343"/>
              <a:gd name="connsiteX16" fmla="*/ 4807839 w 6124670"/>
              <a:gd name="connsiteY16" fmla="*/ 214433 h 1413343"/>
              <a:gd name="connsiteX17" fmla="*/ 4986910 w 6124670"/>
              <a:gd name="connsiteY17" fmla="*/ 837089 h 1413343"/>
              <a:gd name="connsiteX18" fmla="*/ 5142739 w 6124670"/>
              <a:gd name="connsiteY18" fmla="*/ 293966 h 1413343"/>
              <a:gd name="connsiteX19" fmla="*/ 5248847 w 6124670"/>
              <a:gd name="connsiteY19" fmla="*/ 214433 h 1413343"/>
              <a:gd name="connsiteX20" fmla="*/ 5407914 w 6124670"/>
              <a:gd name="connsiteY20" fmla="*/ 214433 h 1413343"/>
              <a:gd name="connsiteX21" fmla="*/ 5069681 w 6124670"/>
              <a:gd name="connsiteY21" fmla="*/ 1217912 h 1413343"/>
              <a:gd name="connsiteX22" fmla="*/ 4970146 w 6124670"/>
              <a:gd name="connsiteY22" fmla="*/ 1373552 h 1413343"/>
              <a:gd name="connsiteX23" fmla="*/ 4774597 w 6124670"/>
              <a:gd name="connsiteY23" fmla="*/ 1413318 h 1413343"/>
              <a:gd name="connsiteX24" fmla="*/ 4751737 w 6124670"/>
              <a:gd name="connsiteY24" fmla="*/ 1413318 h 1413343"/>
              <a:gd name="connsiteX25" fmla="*/ 4677918 w 6124670"/>
              <a:gd name="connsiteY25" fmla="*/ 1412558 h 1413343"/>
              <a:gd name="connsiteX26" fmla="*/ 4677918 w 6124670"/>
              <a:gd name="connsiteY26" fmla="*/ 1224572 h 1413343"/>
              <a:gd name="connsiteX27" fmla="*/ 4741164 w 6124670"/>
              <a:gd name="connsiteY27" fmla="*/ 1224572 h 1413343"/>
              <a:gd name="connsiteX28" fmla="*/ 4845939 w 6124670"/>
              <a:gd name="connsiteY28" fmla="*/ 1193082 h 1413343"/>
              <a:gd name="connsiteX29" fmla="*/ 4860893 w 6124670"/>
              <a:gd name="connsiteY29" fmla="*/ 1092050 h 1413343"/>
              <a:gd name="connsiteX30" fmla="*/ 1721739 w 6124670"/>
              <a:gd name="connsiteY30" fmla="*/ 214433 h 1413343"/>
              <a:gd name="connsiteX31" fmla="*/ 1754982 w 6124670"/>
              <a:gd name="connsiteY31" fmla="*/ 214433 h 1413343"/>
              <a:gd name="connsiteX32" fmla="*/ 1754982 w 6124670"/>
              <a:gd name="connsiteY32" fmla="*/ 449605 h 1413343"/>
              <a:gd name="connsiteX33" fmla="*/ 1678782 w 6124670"/>
              <a:gd name="connsiteY33" fmla="*/ 449605 h 1413343"/>
              <a:gd name="connsiteX34" fmla="*/ 1535907 w 6124670"/>
              <a:gd name="connsiteY34" fmla="*/ 495936 h 1413343"/>
              <a:gd name="connsiteX35" fmla="*/ 1489520 w 6124670"/>
              <a:gd name="connsiteY35" fmla="*/ 641682 h 1413343"/>
              <a:gd name="connsiteX36" fmla="*/ 1489520 w 6124670"/>
              <a:gd name="connsiteY36" fmla="*/ 1095379 h 1413343"/>
              <a:gd name="connsiteX37" fmla="*/ 1257205 w 6124670"/>
              <a:gd name="connsiteY37" fmla="*/ 1095379 h 1413343"/>
              <a:gd name="connsiteX38" fmla="*/ 1257205 w 6124670"/>
              <a:gd name="connsiteY38" fmla="*/ 668225 h 1413343"/>
              <a:gd name="connsiteX39" fmla="*/ 1295305 w 6124670"/>
              <a:gd name="connsiteY39" fmla="*/ 451223 h 1413343"/>
              <a:gd name="connsiteX40" fmla="*/ 1400080 w 6124670"/>
              <a:gd name="connsiteY40" fmla="*/ 310519 h 1413343"/>
              <a:gd name="connsiteX41" fmla="*/ 1547622 w 6124670"/>
              <a:gd name="connsiteY41" fmla="*/ 237646 h 1413343"/>
              <a:gd name="connsiteX42" fmla="*/ 1721739 w 6124670"/>
              <a:gd name="connsiteY42" fmla="*/ 214433 h 1413343"/>
              <a:gd name="connsiteX43" fmla="*/ 5716715 w 6124670"/>
              <a:gd name="connsiteY43" fmla="*/ 194645 h 1413343"/>
              <a:gd name="connsiteX44" fmla="*/ 5991892 w 6124670"/>
              <a:gd name="connsiteY44" fmla="*/ 270753 h 1413343"/>
              <a:gd name="connsiteX45" fmla="*/ 6094762 w 6124670"/>
              <a:gd name="connsiteY45" fmla="*/ 486042 h 1413343"/>
              <a:gd name="connsiteX46" fmla="*/ 5951887 w 6124670"/>
              <a:gd name="connsiteY46" fmla="*/ 486042 h 1413343"/>
              <a:gd name="connsiteX47" fmla="*/ 5855684 w 6124670"/>
              <a:gd name="connsiteY47" fmla="*/ 429722 h 1413343"/>
              <a:gd name="connsiteX48" fmla="*/ 5829205 w 6124670"/>
              <a:gd name="connsiteY48" fmla="*/ 403275 h 1413343"/>
              <a:gd name="connsiteX49" fmla="*/ 5719762 w 6124670"/>
              <a:gd name="connsiteY49" fmla="*/ 373403 h 1413343"/>
              <a:gd name="connsiteX50" fmla="*/ 5620322 w 6124670"/>
              <a:gd name="connsiteY50" fmla="*/ 393286 h 1413343"/>
              <a:gd name="connsiteX51" fmla="*/ 5590413 w 6124670"/>
              <a:gd name="connsiteY51" fmla="*/ 452935 h 1413343"/>
              <a:gd name="connsiteX52" fmla="*/ 5762816 w 6124670"/>
              <a:gd name="connsiteY52" fmla="*/ 542362 h 1413343"/>
              <a:gd name="connsiteX53" fmla="*/ 5797678 w 6124670"/>
              <a:gd name="connsiteY53" fmla="*/ 551875 h 1413343"/>
              <a:gd name="connsiteX54" fmla="*/ 5826253 w 6124670"/>
              <a:gd name="connsiteY54" fmla="*/ 555205 h 1413343"/>
              <a:gd name="connsiteX55" fmla="*/ 6061615 w 6124670"/>
              <a:gd name="connsiteY55" fmla="*/ 654525 h 1413343"/>
              <a:gd name="connsiteX56" fmla="*/ 6124670 w 6124670"/>
              <a:gd name="connsiteY56" fmla="*/ 813495 h 1413343"/>
              <a:gd name="connsiteX57" fmla="*/ 6018562 w 6124670"/>
              <a:gd name="connsiteY57" fmla="*/ 1038679 h 1413343"/>
              <a:gd name="connsiteX58" fmla="*/ 5720144 w 6124670"/>
              <a:gd name="connsiteY58" fmla="*/ 1111552 h 1413343"/>
              <a:gd name="connsiteX59" fmla="*/ 5438298 w 6124670"/>
              <a:gd name="connsiteY59" fmla="*/ 1035444 h 1413343"/>
              <a:gd name="connsiteX60" fmla="*/ 5342096 w 6124670"/>
              <a:gd name="connsiteY60" fmla="*/ 813495 h 1413343"/>
              <a:gd name="connsiteX61" fmla="*/ 5342287 w 6124670"/>
              <a:gd name="connsiteY61" fmla="*/ 803982 h 1413343"/>
              <a:gd name="connsiteX62" fmla="*/ 5567839 w 6124670"/>
              <a:gd name="connsiteY62" fmla="*/ 803982 h 1413343"/>
              <a:gd name="connsiteX63" fmla="*/ 5617559 w 6124670"/>
              <a:gd name="connsiteY63" fmla="*/ 903302 h 1413343"/>
              <a:gd name="connsiteX64" fmla="*/ 5750148 w 6124670"/>
              <a:gd name="connsiteY64" fmla="*/ 936409 h 1413343"/>
              <a:gd name="connsiteX65" fmla="*/ 5852922 w 6124670"/>
              <a:gd name="connsiteY65" fmla="*/ 913196 h 1413343"/>
              <a:gd name="connsiteX66" fmla="*/ 5892737 w 6124670"/>
              <a:gd name="connsiteY66" fmla="*/ 850312 h 1413343"/>
              <a:gd name="connsiteX67" fmla="*/ 5753481 w 6124670"/>
              <a:gd name="connsiteY67" fmla="*/ 760886 h 1413343"/>
              <a:gd name="connsiteX68" fmla="*/ 5663946 w 6124670"/>
              <a:gd name="connsiteY68" fmla="*/ 741003 h 1413343"/>
              <a:gd name="connsiteX69" fmla="*/ 5428584 w 6124670"/>
              <a:gd name="connsiteY69" fmla="*/ 638352 h 1413343"/>
              <a:gd name="connsiteX70" fmla="*/ 5361909 w 6124670"/>
              <a:gd name="connsiteY70" fmla="*/ 479383 h 1413343"/>
              <a:gd name="connsiteX71" fmla="*/ 5458111 w 6124670"/>
              <a:gd name="connsiteY71" fmla="*/ 270753 h 1413343"/>
              <a:gd name="connsiteX72" fmla="*/ 5716715 w 6124670"/>
              <a:gd name="connsiteY72" fmla="*/ 194645 h 1413343"/>
              <a:gd name="connsiteX73" fmla="*/ 4192239 w 6124670"/>
              <a:gd name="connsiteY73" fmla="*/ 194645 h 1413343"/>
              <a:gd name="connsiteX74" fmla="*/ 4467416 w 6124670"/>
              <a:gd name="connsiteY74" fmla="*/ 270753 h 1413343"/>
              <a:gd name="connsiteX75" fmla="*/ 4570190 w 6124670"/>
              <a:gd name="connsiteY75" fmla="*/ 486042 h 1413343"/>
              <a:gd name="connsiteX76" fmla="*/ 4427315 w 6124670"/>
              <a:gd name="connsiteY76" fmla="*/ 486042 h 1413343"/>
              <a:gd name="connsiteX77" fmla="*/ 4331589 w 6124670"/>
              <a:gd name="connsiteY77" fmla="*/ 429722 h 1413343"/>
              <a:gd name="connsiteX78" fmla="*/ 4305015 w 6124670"/>
              <a:gd name="connsiteY78" fmla="*/ 403275 h 1413343"/>
              <a:gd name="connsiteX79" fmla="*/ 4195667 w 6124670"/>
              <a:gd name="connsiteY79" fmla="*/ 373403 h 1413343"/>
              <a:gd name="connsiteX80" fmla="*/ 4096132 w 6124670"/>
              <a:gd name="connsiteY80" fmla="*/ 393286 h 1413343"/>
              <a:gd name="connsiteX81" fmla="*/ 4066318 w 6124670"/>
              <a:gd name="connsiteY81" fmla="*/ 452935 h 1413343"/>
              <a:gd name="connsiteX82" fmla="*/ 4238721 w 6124670"/>
              <a:gd name="connsiteY82" fmla="*/ 542362 h 1413343"/>
              <a:gd name="connsiteX83" fmla="*/ 4273582 w 6124670"/>
              <a:gd name="connsiteY83" fmla="*/ 551875 h 1413343"/>
              <a:gd name="connsiteX84" fmla="*/ 4301681 w 6124670"/>
              <a:gd name="connsiteY84" fmla="*/ 555205 h 1413343"/>
              <a:gd name="connsiteX85" fmla="*/ 4537139 w 6124670"/>
              <a:gd name="connsiteY85" fmla="*/ 654525 h 1413343"/>
              <a:gd name="connsiteX86" fmla="*/ 4600099 w 6124670"/>
              <a:gd name="connsiteY86" fmla="*/ 813495 h 1413343"/>
              <a:gd name="connsiteX87" fmla="*/ 4494086 w 6124670"/>
              <a:gd name="connsiteY87" fmla="*/ 1038679 h 1413343"/>
              <a:gd name="connsiteX88" fmla="*/ 4195667 w 6124670"/>
              <a:gd name="connsiteY88" fmla="*/ 1111552 h 1413343"/>
              <a:gd name="connsiteX89" fmla="*/ 3913823 w 6124670"/>
              <a:gd name="connsiteY89" fmla="*/ 1035444 h 1413343"/>
              <a:gd name="connsiteX90" fmla="*/ 3817620 w 6124670"/>
              <a:gd name="connsiteY90" fmla="*/ 813495 h 1413343"/>
              <a:gd name="connsiteX91" fmla="*/ 3817906 w 6124670"/>
              <a:gd name="connsiteY91" fmla="*/ 803982 h 1413343"/>
              <a:gd name="connsiteX92" fmla="*/ 4043363 w 6124670"/>
              <a:gd name="connsiteY92" fmla="*/ 803982 h 1413343"/>
              <a:gd name="connsiteX93" fmla="*/ 4093084 w 6124670"/>
              <a:gd name="connsiteY93" fmla="*/ 903302 h 1413343"/>
              <a:gd name="connsiteX94" fmla="*/ 4225767 w 6124670"/>
              <a:gd name="connsiteY94" fmla="*/ 936409 h 1413343"/>
              <a:gd name="connsiteX95" fmla="*/ 4328541 w 6124670"/>
              <a:gd name="connsiteY95" fmla="*/ 913196 h 1413343"/>
              <a:gd name="connsiteX96" fmla="*/ 4368356 w 6124670"/>
              <a:gd name="connsiteY96" fmla="*/ 850312 h 1413343"/>
              <a:gd name="connsiteX97" fmla="*/ 4229100 w 6124670"/>
              <a:gd name="connsiteY97" fmla="*/ 760886 h 1413343"/>
              <a:gd name="connsiteX98" fmla="*/ 4139566 w 6124670"/>
              <a:gd name="connsiteY98" fmla="*/ 741003 h 1413343"/>
              <a:gd name="connsiteX99" fmla="*/ 3904107 w 6124670"/>
              <a:gd name="connsiteY99" fmla="*/ 638352 h 1413343"/>
              <a:gd name="connsiteX100" fmla="*/ 3837432 w 6124670"/>
              <a:gd name="connsiteY100" fmla="*/ 479383 h 1413343"/>
              <a:gd name="connsiteX101" fmla="*/ 3933540 w 6124670"/>
              <a:gd name="connsiteY101" fmla="*/ 270753 h 1413343"/>
              <a:gd name="connsiteX102" fmla="*/ 4192239 w 6124670"/>
              <a:gd name="connsiteY102" fmla="*/ 194645 h 1413343"/>
              <a:gd name="connsiteX103" fmla="*/ 3386901 w 6124670"/>
              <a:gd name="connsiteY103" fmla="*/ 194645 h 1413343"/>
              <a:gd name="connsiteX104" fmla="*/ 3695225 w 6124670"/>
              <a:gd name="connsiteY104" fmla="*/ 313849 h 1413343"/>
              <a:gd name="connsiteX105" fmla="*/ 3801333 w 6124670"/>
              <a:gd name="connsiteY105" fmla="*/ 654906 h 1413343"/>
              <a:gd name="connsiteX106" fmla="*/ 3801333 w 6124670"/>
              <a:gd name="connsiteY106" fmla="*/ 691342 h 1413343"/>
              <a:gd name="connsiteX107" fmla="*/ 3797999 w 6124670"/>
              <a:gd name="connsiteY107" fmla="*/ 714555 h 1413343"/>
              <a:gd name="connsiteX108" fmla="*/ 3224404 w 6124670"/>
              <a:gd name="connsiteY108" fmla="*/ 714555 h 1413343"/>
              <a:gd name="connsiteX109" fmla="*/ 3274124 w 6124670"/>
              <a:gd name="connsiteY109" fmla="*/ 866771 h 1413343"/>
              <a:gd name="connsiteX110" fmla="*/ 3403474 w 6124670"/>
              <a:gd name="connsiteY110" fmla="*/ 919761 h 1413343"/>
              <a:gd name="connsiteX111" fmla="*/ 3499581 w 6124670"/>
              <a:gd name="connsiteY111" fmla="*/ 896643 h 1413343"/>
              <a:gd name="connsiteX112" fmla="*/ 3517869 w 6124670"/>
              <a:gd name="connsiteY112" fmla="*/ 885036 h 1413343"/>
              <a:gd name="connsiteX113" fmla="*/ 3536062 w 6124670"/>
              <a:gd name="connsiteY113" fmla="*/ 866771 h 1413343"/>
              <a:gd name="connsiteX114" fmla="*/ 3560923 w 6124670"/>
              <a:gd name="connsiteY114" fmla="*/ 840323 h 1413343"/>
              <a:gd name="connsiteX115" fmla="*/ 3622264 w 6124670"/>
              <a:gd name="connsiteY115" fmla="*/ 823865 h 1413343"/>
              <a:gd name="connsiteX116" fmla="*/ 3788094 w 6124670"/>
              <a:gd name="connsiteY116" fmla="*/ 823865 h 1413343"/>
              <a:gd name="connsiteX117" fmla="*/ 3648838 w 6124670"/>
              <a:gd name="connsiteY117" fmla="*/ 1035825 h 1413343"/>
              <a:gd name="connsiteX118" fmla="*/ 3390139 w 6124670"/>
              <a:gd name="connsiteY118" fmla="*/ 1111932 h 1413343"/>
              <a:gd name="connsiteX119" fmla="*/ 3094864 w 6124670"/>
              <a:gd name="connsiteY119" fmla="*/ 989399 h 1413343"/>
              <a:gd name="connsiteX120" fmla="*/ 2988851 w 6124670"/>
              <a:gd name="connsiteY120" fmla="*/ 648342 h 1413343"/>
              <a:gd name="connsiteX121" fmla="*/ 3091626 w 6124670"/>
              <a:gd name="connsiteY121" fmla="*/ 317178 h 1413343"/>
              <a:gd name="connsiteX122" fmla="*/ 3386901 w 6124670"/>
              <a:gd name="connsiteY122" fmla="*/ 194645 h 1413343"/>
              <a:gd name="connsiteX123" fmla="*/ 2146078 w 6124670"/>
              <a:gd name="connsiteY123" fmla="*/ 194645 h 1413343"/>
              <a:gd name="connsiteX124" fmla="*/ 2424684 w 6124670"/>
              <a:gd name="connsiteY124" fmla="*/ 257529 h 1413343"/>
              <a:gd name="connsiteX125" fmla="*/ 2520792 w 6124670"/>
              <a:gd name="connsiteY125" fmla="*/ 442946 h 1413343"/>
              <a:gd name="connsiteX126" fmla="*/ 2520792 w 6124670"/>
              <a:gd name="connsiteY126" fmla="*/ 744332 h 1413343"/>
              <a:gd name="connsiteX127" fmla="*/ 2473167 w 6124670"/>
              <a:gd name="connsiteY127" fmla="*/ 951345 h 1413343"/>
              <a:gd name="connsiteX128" fmla="*/ 2358391 w 6124670"/>
              <a:gd name="connsiteY128" fmla="*/ 1059133 h 1413343"/>
              <a:gd name="connsiteX129" fmla="*/ 2210848 w 6124670"/>
              <a:gd name="connsiteY129" fmla="*/ 1103846 h 1413343"/>
              <a:gd name="connsiteX130" fmla="*/ 2073307 w 6124670"/>
              <a:gd name="connsiteY130" fmla="*/ 1112123 h 1413343"/>
              <a:gd name="connsiteX131" fmla="*/ 1864614 w 6124670"/>
              <a:gd name="connsiteY131" fmla="*/ 1047336 h 1413343"/>
              <a:gd name="connsiteX132" fmla="*/ 1775079 w 6124670"/>
              <a:gd name="connsiteY132" fmla="*/ 833759 h 1413343"/>
              <a:gd name="connsiteX133" fmla="*/ 1856328 w 6124670"/>
              <a:gd name="connsiteY133" fmla="*/ 635023 h 1413343"/>
              <a:gd name="connsiteX134" fmla="*/ 2063496 w 6124670"/>
              <a:gd name="connsiteY134" fmla="*/ 555586 h 1413343"/>
              <a:gd name="connsiteX135" fmla="*/ 2103311 w 6124670"/>
              <a:gd name="connsiteY135" fmla="*/ 550638 h 1413343"/>
              <a:gd name="connsiteX136" fmla="*/ 2156365 w 6124670"/>
              <a:gd name="connsiteY136" fmla="*/ 542362 h 1413343"/>
              <a:gd name="connsiteX137" fmla="*/ 2302288 w 6124670"/>
              <a:gd name="connsiteY137" fmla="*/ 456265 h 1413343"/>
              <a:gd name="connsiteX138" fmla="*/ 2250853 w 6124670"/>
              <a:gd name="connsiteY138" fmla="*/ 391669 h 1413343"/>
              <a:gd name="connsiteX139" fmla="*/ 2156365 w 6124670"/>
              <a:gd name="connsiteY139" fmla="*/ 376732 h 1413343"/>
              <a:gd name="connsiteX140" fmla="*/ 2073497 w 6124670"/>
              <a:gd name="connsiteY140" fmla="*/ 389956 h 1413343"/>
              <a:gd name="connsiteX141" fmla="*/ 2020443 w 6124670"/>
              <a:gd name="connsiteY141" fmla="*/ 439712 h 1413343"/>
              <a:gd name="connsiteX142" fmla="*/ 1797939 w 6124670"/>
              <a:gd name="connsiteY142" fmla="*/ 439712 h 1413343"/>
              <a:gd name="connsiteX143" fmla="*/ 1890808 w 6124670"/>
              <a:gd name="connsiteY143" fmla="*/ 270753 h 1413343"/>
              <a:gd name="connsiteX144" fmla="*/ 2146078 w 6124670"/>
              <a:gd name="connsiteY144" fmla="*/ 194645 h 1413343"/>
              <a:gd name="connsiteX145" fmla="*/ 374523 w 6124670"/>
              <a:gd name="connsiteY145" fmla="*/ 194645 h 1413343"/>
              <a:gd name="connsiteX146" fmla="*/ 649796 w 6124670"/>
              <a:gd name="connsiteY146" fmla="*/ 270753 h 1413343"/>
              <a:gd name="connsiteX147" fmla="*/ 752570 w 6124670"/>
              <a:gd name="connsiteY147" fmla="*/ 486042 h 1413343"/>
              <a:gd name="connsiteX148" fmla="*/ 609695 w 6124670"/>
              <a:gd name="connsiteY148" fmla="*/ 486042 h 1413343"/>
              <a:gd name="connsiteX149" fmla="*/ 513493 w 6124670"/>
              <a:gd name="connsiteY149" fmla="*/ 429722 h 1413343"/>
              <a:gd name="connsiteX150" fmla="*/ 487013 w 6124670"/>
              <a:gd name="connsiteY150" fmla="*/ 403275 h 1413343"/>
              <a:gd name="connsiteX151" fmla="*/ 377571 w 6124670"/>
              <a:gd name="connsiteY151" fmla="*/ 373403 h 1413343"/>
              <a:gd name="connsiteX152" fmla="*/ 278130 w 6124670"/>
              <a:gd name="connsiteY152" fmla="*/ 393286 h 1413343"/>
              <a:gd name="connsiteX153" fmla="*/ 248317 w 6124670"/>
              <a:gd name="connsiteY153" fmla="*/ 452935 h 1413343"/>
              <a:gd name="connsiteX154" fmla="*/ 420719 w 6124670"/>
              <a:gd name="connsiteY154" fmla="*/ 542362 h 1413343"/>
              <a:gd name="connsiteX155" fmla="*/ 455486 w 6124670"/>
              <a:gd name="connsiteY155" fmla="*/ 551875 h 1413343"/>
              <a:gd name="connsiteX156" fmla="*/ 484061 w 6124670"/>
              <a:gd name="connsiteY156" fmla="*/ 555205 h 1413343"/>
              <a:gd name="connsiteX157" fmla="*/ 719519 w 6124670"/>
              <a:gd name="connsiteY157" fmla="*/ 654525 h 1413343"/>
              <a:gd name="connsiteX158" fmla="*/ 782479 w 6124670"/>
              <a:gd name="connsiteY158" fmla="*/ 813495 h 1413343"/>
              <a:gd name="connsiteX159" fmla="*/ 676370 w 6124670"/>
              <a:gd name="connsiteY159" fmla="*/ 1038679 h 1413343"/>
              <a:gd name="connsiteX160" fmla="*/ 377952 w 6124670"/>
              <a:gd name="connsiteY160" fmla="*/ 1111552 h 1413343"/>
              <a:gd name="connsiteX161" fmla="*/ 96108 w 6124670"/>
              <a:gd name="connsiteY161" fmla="*/ 1035444 h 1413343"/>
              <a:gd name="connsiteX162" fmla="*/ 0 w 6124670"/>
              <a:gd name="connsiteY162" fmla="*/ 813495 h 1413343"/>
              <a:gd name="connsiteX163" fmla="*/ 286 w 6124670"/>
              <a:gd name="connsiteY163" fmla="*/ 803982 h 1413343"/>
              <a:gd name="connsiteX164" fmla="*/ 225743 w 6124670"/>
              <a:gd name="connsiteY164" fmla="*/ 803982 h 1413343"/>
              <a:gd name="connsiteX165" fmla="*/ 275463 w 6124670"/>
              <a:gd name="connsiteY165" fmla="*/ 903302 h 1413343"/>
              <a:gd name="connsiteX166" fmla="*/ 408051 w 6124670"/>
              <a:gd name="connsiteY166" fmla="*/ 936409 h 1413343"/>
              <a:gd name="connsiteX167" fmla="*/ 510921 w 6124670"/>
              <a:gd name="connsiteY167" fmla="*/ 913196 h 1413343"/>
              <a:gd name="connsiteX168" fmla="*/ 550640 w 6124670"/>
              <a:gd name="connsiteY168" fmla="*/ 850312 h 1413343"/>
              <a:gd name="connsiteX169" fmla="*/ 411385 w 6124670"/>
              <a:gd name="connsiteY169" fmla="*/ 760886 h 1413343"/>
              <a:gd name="connsiteX170" fmla="*/ 321850 w 6124670"/>
              <a:gd name="connsiteY170" fmla="*/ 741003 h 1413343"/>
              <a:gd name="connsiteX171" fmla="*/ 86487 w 6124670"/>
              <a:gd name="connsiteY171" fmla="*/ 638352 h 1413343"/>
              <a:gd name="connsiteX172" fmla="*/ 19812 w 6124670"/>
              <a:gd name="connsiteY172" fmla="*/ 479383 h 1413343"/>
              <a:gd name="connsiteX173" fmla="*/ 115919 w 6124670"/>
              <a:gd name="connsiteY173" fmla="*/ 270753 h 1413343"/>
              <a:gd name="connsiteX174" fmla="*/ 374523 w 6124670"/>
              <a:gd name="connsiteY174" fmla="*/ 194645 h 1413343"/>
              <a:gd name="connsiteX175" fmla="*/ 2575750 w 6124670"/>
              <a:gd name="connsiteY175" fmla="*/ 0 h 1413343"/>
              <a:gd name="connsiteX176" fmla="*/ 2799779 w 6124670"/>
              <a:gd name="connsiteY176" fmla="*/ 0 h 1413343"/>
              <a:gd name="connsiteX177" fmla="*/ 2799779 w 6124670"/>
              <a:gd name="connsiteY177" fmla="*/ 221949 h 1413343"/>
              <a:gd name="connsiteX178" fmla="*/ 2958084 w 6124670"/>
              <a:gd name="connsiteY178" fmla="*/ 221949 h 1413343"/>
              <a:gd name="connsiteX179" fmla="*/ 2958084 w 6124670"/>
              <a:gd name="connsiteY179" fmla="*/ 420399 h 1413343"/>
              <a:gd name="connsiteX180" fmla="*/ 2800159 w 6124670"/>
              <a:gd name="connsiteY180" fmla="*/ 420399 h 1413343"/>
              <a:gd name="connsiteX181" fmla="*/ 2800159 w 6124670"/>
              <a:gd name="connsiteY181" fmla="*/ 728921 h 1413343"/>
              <a:gd name="connsiteX182" fmla="*/ 2841784 w 6124670"/>
              <a:gd name="connsiteY182" fmla="*/ 857828 h 1413343"/>
              <a:gd name="connsiteX183" fmla="*/ 2968276 w 6124670"/>
              <a:gd name="connsiteY183" fmla="*/ 889984 h 1413343"/>
              <a:gd name="connsiteX184" fmla="*/ 2968276 w 6124670"/>
              <a:gd name="connsiteY184" fmla="*/ 1093667 h 1413343"/>
              <a:gd name="connsiteX185" fmla="*/ 2798064 w 6124670"/>
              <a:gd name="connsiteY185" fmla="*/ 1081870 h 1413343"/>
              <a:gd name="connsiteX186" fmla="*/ 2675858 w 6124670"/>
              <a:gd name="connsiteY186" fmla="*/ 1010614 h 1413343"/>
              <a:gd name="connsiteX187" fmla="*/ 2601183 w 6124670"/>
              <a:gd name="connsiteY187" fmla="*/ 889413 h 1413343"/>
              <a:gd name="connsiteX188" fmla="*/ 2575750 w 6124670"/>
              <a:gd name="connsiteY188" fmla="*/ 727684 h 1413343"/>
              <a:gd name="connsiteX189" fmla="*/ 824770 w 6124670"/>
              <a:gd name="connsiteY189" fmla="*/ 0 h 1413343"/>
              <a:gd name="connsiteX190" fmla="*/ 1048893 w 6124670"/>
              <a:gd name="connsiteY190" fmla="*/ 0 h 1413343"/>
              <a:gd name="connsiteX191" fmla="*/ 1048893 w 6124670"/>
              <a:gd name="connsiteY191" fmla="*/ 221949 h 1413343"/>
              <a:gd name="connsiteX192" fmla="*/ 1206723 w 6124670"/>
              <a:gd name="connsiteY192" fmla="*/ 221949 h 1413343"/>
              <a:gd name="connsiteX193" fmla="*/ 1206723 w 6124670"/>
              <a:gd name="connsiteY193" fmla="*/ 420399 h 1413343"/>
              <a:gd name="connsiteX194" fmla="*/ 1048417 w 6124670"/>
              <a:gd name="connsiteY194" fmla="*/ 420399 h 1413343"/>
              <a:gd name="connsiteX195" fmla="*/ 1048417 w 6124670"/>
              <a:gd name="connsiteY195" fmla="*/ 728921 h 1413343"/>
              <a:gd name="connsiteX196" fmla="*/ 1089946 w 6124670"/>
              <a:gd name="connsiteY196" fmla="*/ 857828 h 1413343"/>
              <a:gd name="connsiteX197" fmla="*/ 1216915 w 6124670"/>
              <a:gd name="connsiteY197" fmla="*/ 890174 h 1413343"/>
              <a:gd name="connsiteX198" fmla="*/ 1216915 w 6124670"/>
              <a:gd name="connsiteY198" fmla="*/ 1093667 h 1413343"/>
              <a:gd name="connsiteX199" fmla="*/ 1047179 w 6124670"/>
              <a:gd name="connsiteY199" fmla="*/ 1081870 h 1413343"/>
              <a:gd name="connsiteX200" fmla="*/ 924973 w 6124670"/>
              <a:gd name="connsiteY200" fmla="*/ 1010614 h 1413343"/>
              <a:gd name="connsiteX201" fmla="*/ 850202 w 6124670"/>
              <a:gd name="connsiteY201" fmla="*/ 889413 h 1413343"/>
              <a:gd name="connsiteX202" fmla="*/ 824770 w 6124670"/>
              <a:gd name="connsiteY202" fmla="*/ 727684 h 1413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6124670" h="1413343">
                <a:moveTo>
                  <a:pt x="2305336" y="651766"/>
                </a:moveTo>
                <a:cubicBezTo>
                  <a:pt x="2263969" y="670831"/>
                  <a:pt x="2220620" y="685282"/>
                  <a:pt x="2176082" y="694862"/>
                </a:cubicBezTo>
                <a:lnTo>
                  <a:pt x="2099882" y="711416"/>
                </a:lnTo>
                <a:cubicBezTo>
                  <a:pt x="2060067" y="722547"/>
                  <a:pt x="2031397" y="736817"/>
                  <a:pt x="2013681" y="754512"/>
                </a:cubicBezTo>
                <a:cubicBezTo>
                  <a:pt x="1999060" y="776060"/>
                  <a:pt x="1990992" y="801366"/>
                  <a:pt x="1990440" y="827385"/>
                </a:cubicBezTo>
                <a:cubicBezTo>
                  <a:pt x="1989058" y="856848"/>
                  <a:pt x="1999869" y="885569"/>
                  <a:pt x="2020348" y="906822"/>
                </a:cubicBezTo>
                <a:cubicBezTo>
                  <a:pt x="2040255" y="924517"/>
                  <a:pt x="2068926" y="933269"/>
                  <a:pt x="2106073" y="933269"/>
                </a:cubicBezTo>
                <a:cubicBezTo>
                  <a:pt x="2167919" y="933269"/>
                  <a:pt x="2216535" y="915641"/>
                  <a:pt x="2251900" y="880375"/>
                </a:cubicBezTo>
                <a:cubicBezTo>
                  <a:pt x="2287267" y="845108"/>
                  <a:pt x="2304955" y="796533"/>
                  <a:pt x="2304955" y="734629"/>
                </a:cubicBezTo>
                <a:close/>
                <a:moveTo>
                  <a:pt x="3393473" y="386722"/>
                </a:moveTo>
                <a:cubicBezTo>
                  <a:pt x="3349077" y="385180"/>
                  <a:pt x="3305986" y="401934"/>
                  <a:pt x="3274315" y="433052"/>
                </a:cubicBezTo>
                <a:cubicBezTo>
                  <a:pt x="3243263" y="463999"/>
                  <a:pt x="3226623" y="508142"/>
                  <a:pt x="3224404" y="565479"/>
                </a:cubicBezTo>
                <a:lnTo>
                  <a:pt x="3562637" y="565479"/>
                </a:lnTo>
                <a:cubicBezTo>
                  <a:pt x="3558131" y="505925"/>
                  <a:pt x="3542634" y="461783"/>
                  <a:pt x="3516155" y="433052"/>
                </a:cubicBezTo>
                <a:cubicBezTo>
                  <a:pt x="3487513" y="402162"/>
                  <a:pt x="3446622" y="386722"/>
                  <a:pt x="3393473" y="386722"/>
                </a:cubicBezTo>
                <a:close/>
                <a:moveTo>
                  <a:pt x="4552474" y="214433"/>
                </a:moveTo>
                <a:lnTo>
                  <a:pt x="4807839" y="214433"/>
                </a:lnTo>
                <a:lnTo>
                  <a:pt x="4986910" y="837089"/>
                </a:lnTo>
                <a:lnTo>
                  <a:pt x="5142739" y="293966"/>
                </a:lnTo>
                <a:cubicBezTo>
                  <a:pt x="5155978" y="241004"/>
                  <a:pt x="5191411" y="214500"/>
                  <a:pt x="5248847" y="214433"/>
                </a:cubicBezTo>
                <a:lnTo>
                  <a:pt x="5407914" y="214433"/>
                </a:lnTo>
                <a:lnTo>
                  <a:pt x="5069681" y="1217912"/>
                </a:lnTo>
                <a:cubicBezTo>
                  <a:pt x="5043106" y="1290785"/>
                  <a:pt x="5009959" y="1342662"/>
                  <a:pt x="4970146" y="1373552"/>
                </a:cubicBezTo>
                <a:cubicBezTo>
                  <a:pt x="4930426" y="1400124"/>
                  <a:pt x="4865180" y="1413385"/>
                  <a:pt x="4774597" y="1413318"/>
                </a:cubicBezTo>
                <a:lnTo>
                  <a:pt x="4751737" y="1413318"/>
                </a:lnTo>
                <a:cubicBezTo>
                  <a:pt x="4742403" y="1413509"/>
                  <a:pt x="4684586" y="1412558"/>
                  <a:pt x="4677918" y="1412558"/>
                </a:cubicBezTo>
                <a:lnTo>
                  <a:pt x="4677918" y="1224572"/>
                </a:lnTo>
                <a:lnTo>
                  <a:pt x="4741164" y="1224572"/>
                </a:lnTo>
                <a:cubicBezTo>
                  <a:pt x="4785646" y="1224572"/>
                  <a:pt x="4820507" y="1214078"/>
                  <a:pt x="4845939" y="1193082"/>
                </a:cubicBezTo>
                <a:cubicBezTo>
                  <a:pt x="4871371" y="1172057"/>
                  <a:pt x="4876323" y="1138475"/>
                  <a:pt x="4860893" y="1092050"/>
                </a:cubicBezTo>
                <a:close/>
                <a:moveTo>
                  <a:pt x="1721739" y="214433"/>
                </a:moveTo>
                <a:lnTo>
                  <a:pt x="1754982" y="214433"/>
                </a:lnTo>
                <a:lnTo>
                  <a:pt x="1754982" y="449605"/>
                </a:lnTo>
                <a:lnTo>
                  <a:pt x="1678782" y="449605"/>
                </a:lnTo>
                <a:cubicBezTo>
                  <a:pt x="1614583" y="449605"/>
                  <a:pt x="1566958" y="465046"/>
                  <a:pt x="1535907" y="495936"/>
                </a:cubicBezTo>
                <a:cubicBezTo>
                  <a:pt x="1504855" y="526826"/>
                  <a:pt x="1489396" y="575402"/>
                  <a:pt x="1489520" y="641682"/>
                </a:cubicBezTo>
                <a:lnTo>
                  <a:pt x="1489520" y="1095379"/>
                </a:lnTo>
                <a:lnTo>
                  <a:pt x="1257205" y="1095379"/>
                </a:lnTo>
                <a:lnTo>
                  <a:pt x="1257205" y="668225"/>
                </a:lnTo>
                <a:cubicBezTo>
                  <a:pt x="1257205" y="582033"/>
                  <a:pt x="1269902" y="509702"/>
                  <a:pt x="1295305" y="451223"/>
                </a:cubicBezTo>
                <a:cubicBezTo>
                  <a:pt x="1318051" y="396397"/>
                  <a:pt x="1354046" y="348049"/>
                  <a:pt x="1400080" y="310519"/>
                </a:cubicBezTo>
                <a:cubicBezTo>
                  <a:pt x="1443829" y="276527"/>
                  <a:pt x="1494016" y="251735"/>
                  <a:pt x="1547622" y="237646"/>
                </a:cubicBezTo>
                <a:cubicBezTo>
                  <a:pt x="1604354" y="222148"/>
                  <a:pt x="1662923" y="214347"/>
                  <a:pt x="1721739" y="214433"/>
                </a:cubicBezTo>
                <a:close/>
                <a:moveTo>
                  <a:pt x="5716715" y="194645"/>
                </a:moveTo>
                <a:cubicBezTo>
                  <a:pt x="5831586" y="194645"/>
                  <a:pt x="5923312" y="220017"/>
                  <a:pt x="5991892" y="270753"/>
                </a:cubicBezTo>
                <a:cubicBezTo>
                  <a:pt x="6055995" y="326054"/>
                  <a:pt x="6090285" y="397824"/>
                  <a:pt x="6094762" y="486042"/>
                </a:cubicBezTo>
                <a:lnTo>
                  <a:pt x="5951887" y="486042"/>
                </a:lnTo>
                <a:cubicBezTo>
                  <a:pt x="5911691" y="487127"/>
                  <a:pt x="5874353" y="465284"/>
                  <a:pt x="5855684" y="429722"/>
                </a:cubicBezTo>
                <a:lnTo>
                  <a:pt x="5829205" y="403275"/>
                </a:lnTo>
                <a:cubicBezTo>
                  <a:pt x="5802630" y="383420"/>
                  <a:pt x="5766149" y="373469"/>
                  <a:pt x="5719762" y="373403"/>
                </a:cubicBezTo>
                <a:cubicBezTo>
                  <a:pt x="5675280" y="373403"/>
                  <a:pt x="5642134" y="380034"/>
                  <a:pt x="5620322" y="393286"/>
                </a:cubicBezTo>
                <a:cubicBezTo>
                  <a:pt x="5600414" y="406386"/>
                  <a:pt x="5588984" y="429142"/>
                  <a:pt x="5590413" y="452935"/>
                </a:cubicBezTo>
                <a:cubicBezTo>
                  <a:pt x="5590413" y="488259"/>
                  <a:pt x="5647848" y="518074"/>
                  <a:pt x="5762816" y="542362"/>
                </a:cubicBezTo>
                <a:cubicBezTo>
                  <a:pt x="5774245" y="546148"/>
                  <a:pt x="5785867" y="549325"/>
                  <a:pt x="5797678" y="551875"/>
                </a:cubicBezTo>
                <a:cubicBezTo>
                  <a:pt x="5807012" y="554073"/>
                  <a:pt x="5816632" y="555195"/>
                  <a:pt x="5826253" y="555205"/>
                </a:cubicBezTo>
                <a:cubicBezTo>
                  <a:pt x="5938933" y="583935"/>
                  <a:pt x="6017323" y="617042"/>
                  <a:pt x="6061615" y="654525"/>
                </a:cubicBezTo>
                <a:cubicBezTo>
                  <a:pt x="6103620" y="694292"/>
                  <a:pt x="6124575" y="747282"/>
                  <a:pt x="6124670" y="813495"/>
                </a:cubicBezTo>
                <a:cubicBezTo>
                  <a:pt x="6124670" y="910723"/>
                  <a:pt x="6089333" y="985784"/>
                  <a:pt x="6018562" y="1038679"/>
                </a:cubicBezTo>
                <a:cubicBezTo>
                  <a:pt x="5952268" y="1087321"/>
                  <a:pt x="5852826" y="1111619"/>
                  <a:pt x="5720144" y="1111552"/>
                </a:cubicBezTo>
                <a:cubicBezTo>
                  <a:pt x="5594128" y="1111552"/>
                  <a:pt x="5500117" y="1086180"/>
                  <a:pt x="5438298" y="1035444"/>
                </a:cubicBezTo>
                <a:cubicBezTo>
                  <a:pt x="5374195" y="984709"/>
                  <a:pt x="5342096" y="910723"/>
                  <a:pt x="5342096" y="813495"/>
                </a:cubicBezTo>
                <a:lnTo>
                  <a:pt x="5342287" y="803982"/>
                </a:lnTo>
                <a:lnTo>
                  <a:pt x="5567839" y="803982"/>
                </a:lnTo>
                <a:cubicBezTo>
                  <a:pt x="5569934" y="848124"/>
                  <a:pt x="5586889" y="881326"/>
                  <a:pt x="5617559" y="903302"/>
                </a:cubicBezTo>
                <a:cubicBezTo>
                  <a:pt x="5650706" y="925469"/>
                  <a:pt x="5694902" y="936409"/>
                  <a:pt x="5750148" y="936409"/>
                </a:cubicBezTo>
                <a:cubicBezTo>
                  <a:pt x="5785771" y="937379"/>
                  <a:pt x="5821109" y="929398"/>
                  <a:pt x="5852922" y="913196"/>
                </a:cubicBezTo>
                <a:cubicBezTo>
                  <a:pt x="5879497" y="897784"/>
                  <a:pt x="5892737" y="876826"/>
                  <a:pt x="5892737" y="850312"/>
                </a:cubicBezTo>
                <a:cubicBezTo>
                  <a:pt x="5892737" y="810546"/>
                  <a:pt x="5846350" y="780740"/>
                  <a:pt x="5753481" y="760886"/>
                </a:cubicBezTo>
                <a:cubicBezTo>
                  <a:pt x="5723191" y="756472"/>
                  <a:pt x="5693283" y="749831"/>
                  <a:pt x="5663946" y="741003"/>
                </a:cubicBezTo>
                <a:cubicBezTo>
                  <a:pt x="5546788" y="712396"/>
                  <a:pt x="5468302" y="678185"/>
                  <a:pt x="5428584" y="638352"/>
                </a:cubicBezTo>
                <a:cubicBezTo>
                  <a:pt x="5384102" y="598710"/>
                  <a:pt x="5361909" y="545720"/>
                  <a:pt x="5361909" y="479383"/>
                </a:cubicBezTo>
                <a:cubicBezTo>
                  <a:pt x="5360384" y="398813"/>
                  <a:pt x="5395817" y="321964"/>
                  <a:pt x="5458111" y="270753"/>
                </a:cubicBezTo>
                <a:cubicBezTo>
                  <a:pt x="5524405" y="220017"/>
                  <a:pt x="5610606" y="194645"/>
                  <a:pt x="5716715" y="194645"/>
                </a:cubicBezTo>
                <a:close/>
                <a:moveTo>
                  <a:pt x="4192239" y="194645"/>
                </a:moveTo>
                <a:cubicBezTo>
                  <a:pt x="4307110" y="194645"/>
                  <a:pt x="4398836" y="220017"/>
                  <a:pt x="4467416" y="270753"/>
                </a:cubicBezTo>
                <a:cubicBezTo>
                  <a:pt x="4531519" y="326054"/>
                  <a:pt x="4565809" y="397824"/>
                  <a:pt x="4570190" y="486042"/>
                </a:cubicBezTo>
                <a:lnTo>
                  <a:pt x="4427315" y="486042"/>
                </a:lnTo>
                <a:cubicBezTo>
                  <a:pt x="4387244" y="487098"/>
                  <a:pt x="4350087" y="465236"/>
                  <a:pt x="4331589" y="429722"/>
                </a:cubicBezTo>
                <a:lnTo>
                  <a:pt x="4305015" y="403275"/>
                </a:lnTo>
                <a:cubicBezTo>
                  <a:pt x="4278535" y="383420"/>
                  <a:pt x="4242083" y="373469"/>
                  <a:pt x="4195667" y="373403"/>
                </a:cubicBezTo>
                <a:cubicBezTo>
                  <a:pt x="4151214" y="373403"/>
                  <a:pt x="4118039" y="380034"/>
                  <a:pt x="4096132" y="393286"/>
                </a:cubicBezTo>
                <a:cubicBezTo>
                  <a:pt x="4076224" y="406415"/>
                  <a:pt x="4064861" y="429161"/>
                  <a:pt x="4066318" y="452935"/>
                </a:cubicBezTo>
                <a:cubicBezTo>
                  <a:pt x="4066318" y="488259"/>
                  <a:pt x="4123782" y="518074"/>
                  <a:pt x="4238721" y="542362"/>
                </a:cubicBezTo>
                <a:cubicBezTo>
                  <a:pt x="4250160" y="546167"/>
                  <a:pt x="4261799" y="549335"/>
                  <a:pt x="4273582" y="551875"/>
                </a:cubicBezTo>
                <a:cubicBezTo>
                  <a:pt x="4282793" y="554044"/>
                  <a:pt x="4292223" y="555157"/>
                  <a:pt x="4301681" y="555205"/>
                </a:cubicBezTo>
                <a:cubicBezTo>
                  <a:pt x="4414457" y="583935"/>
                  <a:pt x="4492943" y="617042"/>
                  <a:pt x="4537139" y="654525"/>
                </a:cubicBezTo>
                <a:cubicBezTo>
                  <a:pt x="4579144" y="694292"/>
                  <a:pt x="4600099" y="747282"/>
                  <a:pt x="4600099" y="813495"/>
                </a:cubicBezTo>
                <a:cubicBezTo>
                  <a:pt x="4600099" y="910723"/>
                  <a:pt x="4564761" y="985784"/>
                  <a:pt x="4494086" y="1038679"/>
                </a:cubicBezTo>
                <a:cubicBezTo>
                  <a:pt x="4427668" y="1087321"/>
                  <a:pt x="4328189" y="1111619"/>
                  <a:pt x="4195667" y="1111552"/>
                </a:cubicBezTo>
                <a:cubicBezTo>
                  <a:pt x="4069623" y="1111552"/>
                  <a:pt x="3975669" y="1086180"/>
                  <a:pt x="3913823" y="1035444"/>
                </a:cubicBezTo>
                <a:cubicBezTo>
                  <a:pt x="3849625" y="984709"/>
                  <a:pt x="3817554" y="910723"/>
                  <a:pt x="3817620" y="813495"/>
                </a:cubicBezTo>
                <a:lnTo>
                  <a:pt x="3817906" y="803982"/>
                </a:lnTo>
                <a:lnTo>
                  <a:pt x="4043363" y="803982"/>
                </a:lnTo>
                <a:cubicBezTo>
                  <a:pt x="4045553" y="848124"/>
                  <a:pt x="4062413" y="881326"/>
                  <a:pt x="4093084" y="903302"/>
                </a:cubicBezTo>
                <a:cubicBezTo>
                  <a:pt x="4126326" y="925469"/>
                  <a:pt x="4170522" y="936409"/>
                  <a:pt x="4225767" y="936409"/>
                </a:cubicBezTo>
                <a:cubicBezTo>
                  <a:pt x="4261428" y="937379"/>
                  <a:pt x="4296766" y="929398"/>
                  <a:pt x="4328541" y="913196"/>
                </a:cubicBezTo>
                <a:cubicBezTo>
                  <a:pt x="4355021" y="897784"/>
                  <a:pt x="4368356" y="876855"/>
                  <a:pt x="4368356" y="850312"/>
                </a:cubicBezTo>
                <a:cubicBezTo>
                  <a:pt x="4368356" y="810546"/>
                  <a:pt x="4321940" y="780740"/>
                  <a:pt x="4229100" y="760886"/>
                </a:cubicBezTo>
                <a:cubicBezTo>
                  <a:pt x="4198802" y="756472"/>
                  <a:pt x="4168874" y="749831"/>
                  <a:pt x="4139566" y="741003"/>
                </a:cubicBezTo>
                <a:cubicBezTo>
                  <a:pt x="4022284" y="712396"/>
                  <a:pt x="3943798" y="678185"/>
                  <a:pt x="3904107" y="638352"/>
                </a:cubicBezTo>
                <a:cubicBezTo>
                  <a:pt x="3859654" y="598710"/>
                  <a:pt x="3837432" y="545720"/>
                  <a:pt x="3837432" y="479383"/>
                </a:cubicBezTo>
                <a:cubicBezTo>
                  <a:pt x="3835918" y="398832"/>
                  <a:pt x="3871313" y="322011"/>
                  <a:pt x="3933540" y="270753"/>
                </a:cubicBezTo>
                <a:cubicBezTo>
                  <a:pt x="3999957" y="220017"/>
                  <a:pt x="4086197" y="194645"/>
                  <a:pt x="4192239" y="194645"/>
                </a:cubicBezTo>
                <a:close/>
                <a:moveTo>
                  <a:pt x="3386901" y="194645"/>
                </a:moveTo>
                <a:cubicBezTo>
                  <a:pt x="3519488" y="194645"/>
                  <a:pt x="3622264" y="234383"/>
                  <a:pt x="3695225" y="313849"/>
                </a:cubicBezTo>
                <a:cubicBezTo>
                  <a:pt x="3765967" y="395541"/>
                  <a:pt x="3801333" y="509226"/>
                  <a:pt x="3801333" y="654906"/>
                </a:cubicBezTo>
                <a:lnTo>
                  <a:pt x="3801333" y="691342"/>
                </a:lnTo>
                <a:cubicBezTo>
                  <a:pt x="3801838" y="699229"/>
                  <a:pt x="3800704" y="707135"/>
                  <a:pt x="3797999" y="714555"/>
                </a:cubicBezTo>
                <a:lnTo>
                  <a:pt x="3224404" y="714555"/>
                </a:lnTo>
                <a:cubicBezTo>
                  <a:pt x="3226623" y="783052"/>
                  <a:pt x="3243197" y="833787"/>
                  <a:pt x="3274124" y="866771"/>
                </a:cubicBezTo>
                <a:cubicBezTo>
                  <a:pt x="3302766" y="902161"/>
                  <a:pt x="3345876" y="919827"/>
                  <a:pt x="3403474" y="919761"/>
                </a:cubicBezTo>
                <a:cubicBezTo>
                  <a:pt x="3437002" y="920750"/>
                  <a:pt x="3470187" y="912768"/>
                  <a:pt x="3499581" y="896643"/>
                </a:cubicBezTo>
                <a:cubicBezTo>
                  <a:pt x="3506515" y="894274"/>
                  <a:pt x="3512783" y="890297"/>
                  <a:pt x="3517869" y="885036"/>
                </a:cubicBezTo>
                <a:lnTo>
                  <a:pt x="3536062" y="866771"/>
                </a:lnTo>
                <a:cubicBezTo>
                  <a:pt x="3541967" y="855992"/>
                  <a:pt x="3550521" y="846887"/>
                  <a:pt x="3560923" y="840323"/>
                </a:cubicBezTo>
                <a:cubicBezTo>
                  <a:pt x="3579000" y="828250"/>
                  <a:pt x="3600565" y="822466"/>
                  <a:pt x="3622264" y="823865"/>
                </a:cubicBezTo>
                <a:lnTo>
                  <a:pt x="3788094" y="823865"/>
                </a:lnTo>
                <a:cubicBezTo>
                  <a:pt x="3763710" y="916526"/>
                  <a:pt x="3717294" y="987182"/>
                  <a:pt x="3648838" y="1035825"/>
                </a:cubicBezTo>
                <a:cubicBezTo>
                  <a:pt x="3580258" y="1086560"/>
                  <a:pt x="3494028" y="1111932"/>
                  <a:pt x="3390139" y="1111932"/>
                </a:cubicBezTo>
                <a:cubicBezTo>
                  <a:pt x="3264219" y="1111932"/>
                  <a:pt x="3165797" y="1071091"/>
                  <a:pt x="3094864" y="989399"/>
                </a:cubicBezTo>
                <a:cubicBezTo>
                  <a:pt x="3024188" y="909933"/>
                  <a:pt x="2988851" y="796247"/>
                  <a:pt x="2988851" y="648342"/>
                </a:cubicBezTo>
                <a:cubicBezTo>
                  <a:pt x="2988851" y="507095"/>
                  <a:pt x="3023112" y="396711"/>
                  <a:pt x="3091626" y="317178"/>
                </a:cubicBezTo>
                <a:cubicBezTo>
                  <a:pt x="3162301" y="235486"/>
                  <a:pt x="3260723" y="194645"/>
                  <a:pt x="3386901" y="194645"/>
                </a:cubicBezTo>
                <a:close/>
                <a:moveTo>
                  <a:pt x="2146078" y="194645"/>
                </a:moveTo>
                <a:cubicBezTo>
                  <a:pt x="2269903" y="194645"/>
                  <a:pt x="2362772" y="215603"/>
                  <a:pt x="2424684" y="257529"/>
                </a:cubicBezTo>
                <a:cubicBezTo>
                  <a:pt x="2488816" y="301928"/>
                  <a:pt x="2520858" y="363728"/>
                  <a:pt x="2520792" y="442946"/>
                </a:cubicBezTo>
                <a:lnTo>
                  <a:pt x="2520792" y="744332"/>
                </a:lnTo>
                <a:cubicBezTo>
                  <a:pt x="2520792" y="832684"/>
                  <a:pt x="2504914" y="901685"/>
                  <a:pt x="2473167" y="951345"/>
                </a:cubicBezTo>
                <a:cubicBezTo>
                  <a:pt x="2445477" y="997067"/>
                  <a:pt x="2405777" y="1034341"/>
                  <a:pt x="2358391" y="1059133"/>
                </a:cubicBezTo>
                <a:cubicBezTo>
                  <a:pt x="2312508" y="1083297"/>
                  <a:pt x="2262435" y="1098471"/>
                  <a:pt x="2210848" y="1103846"/>
                </a:cubicBezTo>
                <a:cubicBezTo>
                  <a:pt x="2165176" y="1109002"/>
                  <a:pt x="2119265" y="1111761"/>
                  <a:pt x="2073307" y="1112123"/>
                </a:cubicBezTo>
                <a:cubicBezTo>
                  <a:pt x="1998574" y="1113559"/>
                  <a:pt x="1925374" y="1090831"/>
                  <a:pt x="1864614" y="1047336"/>
                </a:cubicBezTo>
                <a:cubicBezTo>
                  <a:pt x="1804921" y="1004335"/>
                  <a:pt x="1775079" y="933146"/>
                  <a:pt x="1775079" y="833759"/>
                </a:cubicBezTo>
                <a:cubicBezTo>
                  <a:pt x="1775079" y="741031"/>
                  <a:pt x="1802159" y="674789"/>
                  <a:pt x="1856328" y="635023"/>
                </a:cubicBezTo>
                <a:cubicBezTo>
                  <a:pt x="1910496" y="595256"/>
                  <a:pt x="1979553" y="568781"/>
                  <a:pt x="2063496" y="555586"/>
                </a:cubicBezTo>
                <a:cubicBezTo>
                  <a:pt x="2076908" y="555319"/>
                  <a:pt x="2090242" y="553664"/>
                  <a:pt x="2103311" y="550638"/>
                </a:cubicBezTo>
                <a:cubicBezTo>
                  <a:pt x="2120846" y="546976"/>
                  <a:pt x="2138553" y="544217"/>
                  <a:pt x="2156365" y="542362"/>
                </a:cubicBezTo>
                <a:cubicBezTo>
                  <a:pt x="2253644" y="529167"/>
                  <a:pt x="2302288" y="500474"/>
                  <a:pt x="2302288" y="456265"/>
                </a:cubicBezTo>
                <a:cubicBezTo>
                  <a:pt x="2302288" y="423158"/>
                  <a:pt x="2285143" y="401629"/>
                  <a:pt x="2250853" y="391669"/>
                </a:cubicBezTo>
                <a:cubicBezTo>
                  <a:pt x="2220220" y="382260"/>
                  <a:pt x="2188407" y="377237"/>
                  <a:pt x="2156365" y="376732"/>
                </a:cubicBezTo>
                <a:cubicBezTo>
                  <a:pt x="2128181" y="376314"/>
                  <a:pt x="2100149" y="380785"/>
                  <a:pt x="2073497" y="389956"/>
                </a:cubicBezTo>
                <a:cubicBezTo>
                  <a:pt x="2049618" y="398395"/>
                  <a:pt x="2030378" y="416442"/>
                  <a:pt x="2020443" y="439712"/>
                </a:cubicBezTo>
                <a:lnTo>
                  <a:pt x="1797939" y="439712"/>
                </a:lnTo>
                <a:cubicBezTo>
                  <a:pt x="1805626" y="373441"/>
                  <a:pt x="1838954" y="312802"/>
                  <a:pt x="1890808" y="270753"/>
                </a:cubicBezTo>
                <a:cubicBezTo>
                  <a:pt x="1950501" y="220017"/>
                  <a:pt x="2035588" y="194645"/>
                  <a:pt x="2146078" y="194645"/>
                </a:cubicBezTo>
                <a:close/>
                <a:moveTo>
                  <a:pt x="374523" y="194645"/>
                </a:moveTo>
                <a:cubicBezTo>
                  <a:pt x="489462" y="194645"/>
                  <a:pt x="581216" y="220017"/>
                  <a:pt x="649796" y="270753"/>
                </a:cubicBezTo>
                <a:cubicBezTo>
                  <a:pt x="713927" y="326054"/>
                  <a:pt x="748189" y="397824"/>
                  <a:pt x="752570" y="486042"/>
                </a:cubicBezTo>
                <a:lnTo>
                  <a:pt x="609695" y="486042"/>
                </a:lnTo>
                <a:cubicBezTo>
                  <a:pt x="569500" y="487127"/>
                  <a:pt x="532181" y="465284"/>
                  <a:pt x="513493" y="429722"/>
                </a:cubicBezTo>
                <a:cubicBezTo>
                  <a:pt x="504634" y="420970"/>
                  <a:pt x="495776" y="412122"/>
                  <a:pt x="487013" y="403275"/>
                </a:cubicBezTo>
                <a:cubicBezTo>
                  <a:pt x="460534" y="383420"/>
                  <a:pt x="424053" y="373469"/>
                  <a:pt x="377571" y="373403"/>
                </a:cubicBezTo>
                <a:cubicBezTo>
                  <a:pt x="333118" y="373403"/>
                  <a:pt x="299971" y="380034"/>
                  <a:pt x="278130" y="393286"/>
                </a:cubicBezTo>
                <a:cubicBezTo>
                  <a:pt x="258223" y="406415"/>
                  <a:pt x="246859" y="429161"/>
                  <a:pt x="248317" y="452935"/>
                </a:cubicBezTo>
                <a:cubicBezTo>
                  <a:pt x="248317" y="488259"/>
                  <a:pt x="305781" y="518074"/>
                  <a:pt x="420719" y="542362"/>
                </a:cubicBezTo>
                <a:cubicBezTo>
                  <a:pt x="432130" y="546148"/>
                  <a:pt x="443732" y="549325"/>
                  <a:pt x="455486" y="551875"/>
                </a:cubicBezTo>
                <a:cubicBezTo>
                  <a:pt x="464849" y="554073"/>
                  <a:pt x="474440" y="555186"/>
                  <a:pt x="484061" y="555205"/>
                </a:cubicBezTo>
                <a:cubicBezTo>
                  <a:pt x="596837" y="583935"/>
                  <a:pt x="675323" y="617042"/>
                  <a:pt x="719519" y="654525"/>
                </a:cubicBezTo>
                <a:cubicBezTo>
                  <a:pt x="761429" y="694292"/>
                  <a:pt x="782412" y="747282"/>
                  <a:pt x="782479" y="813495"/>
                </a:cubicBezTo>
                <a:cubicBezTo>
                  <a:pt x="782479" y="910723"/>
                  <a:pt x="747113" y="985784"/>
                  <a:pt x="676370" y="1038679"/>
                </a:cubicBezTo>
                <a:cubicBezTo>
                  <a:pt x="610076" y="1087321"/>
                  <a:pt x="510607" y="1111619"/>
                  <a:pt x="377952" y="1111552"/>
                </a:cubicBezTo>
                <a:cubicBezTo>
                  <a:pt x="251908" y="1111552"/>
                  <a:pt x="157953" y="1086180"/>
                  <a:pt x="96108" y="1035444"/>
                </a:cubicBezTo>
                <a:cubicBezTo>
                  <a:pt x="31975" y="984709"/>
                  <a:pt x="-67" y="910723"/>
                  <a:pt x="0" y="813495"/>
                </a:cubicBezTo>
                <a:lnTo>
                  <a:pt x="286" y="803982"/>
                </a:lnTo>
                <a:lnTo>
                  <a:pt x="225743" y="803982"/>
                </a:lnTo>
                <a:cubicBezTo>
                  <a:pt x="227933" y="848124"/>
                  <a:pt x="244793" y="881326"/>
                  <a:pt x="275463" y="903302"/>
                </a:cubicBezTo>
                <a:cubicBezTo>
                  <a:pt x="308610" y="925469"/>
                  <a:pt x="352806" y="936409"/>
                  <a:pt x="408051" y="936409"/>
                </a:cubicBezTo>
                <a:cubicBezTo>
                  <a:pt x="443742" y="937379"/>
                  <a:pt x="479108" y="929398"/>
                  <a:pt x="510921" y="913196"/>
                </a:cubicBezTo>
                <a:cubicBezTo>
                  <a:pt x="537400" y="897784"/>
                  <a:pt x="550640" y="876826"/>
                  <a:pt x="550640" y="850312"/>
                </a:cubicBezTo>
                <a:cubicBezTo>
                  <a:pt x="550640" y="810546"/>
                  <a:pt x="504225" y="780740"/>
                  <a:pt x="411385" y="760886"/>
                </a:cubicBezTo>
                <a:cubicBezTo>
                  <a:pt x="381095" y="756462"/>
                  <a:pt x="351168" y="749822"/>
                  <a:pt x="321850" y="741003"/>
                </a:cubicBezTo>
                <a:cubicBezTo>
                  <a:pt x="204692" y="712396"/>
                  <a:pt x="126235" y="678185"/>
                  <a:pt x="86487" y="638352"/>
                </a:cubicBezTo>
                <a:cubicBezTo>
                  <a:pt x="42034" y="598710"/>
                  <a:pt x="19812" y="545720"/>
                  <a:pt x="19812" y="479383"/>
                </a:cubicBezTo>
                <a:cubicBezTo>
                  <a:pt x="18298" y="398832"/>
                  <a:pt x="53693" y="322011"/>
                  <a:pt x="115919" y="270753"/>
                </a:cubicBezTo>
                <a:cubicBezTo>
                  <a:pt x="182213" y="220017"/>
                  <a:pt x="268415" y="194645"/>
                  <a:pt x="374523" y="194645"/>
                </a:cubicBezTo>
                <a:close/>
                <a:moveTo>
                  <a:pt x="2575750" y="0"/>
                </a:moveTo>
                <a:lnTo>
                  <a:pt x="2799779" y="0"/>
                </a:lnTo>
                <a:lnTo>
                  <a:pt x="2799779" y="221949"/>
                </a:lnTo>
                <a:lnTo>
                  <a:pt x="2958084" y="221949"/>
                </a:lnTo>
                <a:lnTo>
                  <a:pt x="2958084" y="420399"/>
                </a:lnTo>
                <a:lnTo>
                  <a:pt x="2800159" y="420399"/>
                </a:lnTo>
                <a:lnTo>
                  <a:pt x="2800159" y="728921"/>
                </a:lnTo>
                <a:cubicBezTo>
                  <a:pt x="2800159" y="789997"/>
                  <a:pt x="2814038" y="832969"/>
                  <a:pt x="2841784" y="857828"/>
                </a:cubicBezTo>
                <a:cubicBezTo>
                  <a:pt x="2869530" y="882687"/>
                  <a:pt x="2911697" y="893408"/>
                  <a:pt x="2968276" y="889984"/>
                </a:cubicBezTo>
                <a:lnTo>
                  <a:pt x="2968276" y="1093667"/>
                </a:lnTo>
                <a:cubicBezTo>
                  <a:pt x="2911317" y="1101116"/>
                  <a:pt x="2853443" y="1097111"/>
                  <a:pt x="2798064" y="1081870"/>
                </a:cubicBezTo>
                <a:cubicBezTo>
                  <a:pt x="2752011" y="1068675"/>
                  <a:pt x="2710006" y="1044178"/>
                  <a:pt x="2675858" y="1010614"/>
                </a:cubicBezTo>
                <a:cubicBezTo>
                  <a:pt x="2642092" y="976385"/>
                  <a:pt x="2616556" y="934944"/>
                  <a:pt x="2601183" y="889413"/>
                </a:cubicBezTo>
                <a:cubicBezTo>
                  <a:pt x="2583590" y="837336"/>
                  <a:pt x="2574998" y="782643"/>
                  <a:pt x="2575750" y="727684"/>
                </a:cubicBezTo>
                <a:close/>
                <a:moveTo>
                  <a:pt x="824770" y="0"/>
                </a:moveTo>
                <a:lnTo>
                  <a:pt x="1048893" y="0"/>
                </a:lnTo>
                <a:lnTo>
                  <a:pt x="1048893" y="221949"/>
                </a:lnTo>
                <a:lnTo>
                  <a:pt x="1206723" y="221949"/>
                </a:lnTo>
                <a:lnTo>
                  <a:pt x="1206723" y="420399"/>
                </a:lnTo>
                <a:lnTo>
                  <a:pt x="1048417" y="420399"/>
                </a:lnTo>
                <a:lnTo>
                  <a:pt x="1048417" y="728921"/>
                </a:lnTo>
                <a:cubicBezTo>
                  <a:pt x="1048417" y="789997"/>
                  <a:pt x="1062257" y="832969"/>
                  <a:pt x="1089946" y="857828"/>
                </a:cubicBezTo>
                <a:cubicBezTo>
                  <a:pt x="1117636" y="882687"/>
                  <a:pt x="1159955" y="893475"/>
                  <a:pt x="1216915" y="890174"/>
                </a:cubicBezTo>
                <a:lnTo>
                  <a:pt x="1216915" y="1093667"/>
                </a:lnTo>
                <a:cubicBezTo>
                  <a:pt x="1160117" y="1101068"/>
                  <a:pt x="1102405" y="1097054"/>
                  <a:pt x="1047179" y="1081870"/>
                </a:cubicBezTo>
                <a:cubicBezTo>
                  <a:pt x="1001116" y="1068694"/>
                  <a:pt x="959101" y="1044197"/>
                  <a:pt x="924973" y="1010614"/>
                </a:cubicBezTo>
                <a:cubicBezTo>
                  <a:pt x="891207" y="976366"/>
                  <a:pt x="865642" y="934935"/>
                  <a:pt x="850202" y="889413"/>
                </a:cubicBezTo>
                <a:cubicBezTo>
                  <a:pt x="832619" y="837336"/>
                  <a:pt x="824018" y="782643"/>
                  <a:pt x="824770" y="727684"/>
                </a:cubicBezTo>
                <a:close/>
              </a:path>
            </a:pathLst>
          </a:custGeom>
          <a:solidFill>
            <a:srgbClr val="002060"/>
          </a:solidFill>
          <a:ln w="9525" cap="flat">
            <a:noFill/>
            <a:prstDash val="solid"/>
            <a:miter/>
          </a:ln>
        </p:spPr>
        <p:txBody>
          <a:bodyPr rtlCol="0" anchor="ctr"/>
          <a:lstStyle/>
          <a:p>
            <a:endParaRPr lang="es-ES"/>
          </a:p>
        </p:txBody>
      </p:sp>
    </p:spTree>
    <p:extLst>
      <p:ext uri="{BB962C8B-B14F-4D97-AF65-F5344CB8AC3E}">
        <p14:creationId xmlns:p14="http://schemas.microsoft.com/office/powerpoint/2010/main" val="4076520521"/>
      </p:ext>
    </p:extLst>
  </p:cSld>
  <p:clrMapOvr>
    <a:masterClrMapping/>
  </p:clrMapOvr>
  <p:transition spd="slow"/>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emplate Propuesta 2022 - Índice">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4B1F9D7A-1DF1-7E4D-9BA4-FB02422FEC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5418644" cy="6858000"/>
          </a:xfrm>
          <a:prstGeom prst="rect">
            <a:avLst/>
          </a:prstGeom>
        </p:spPr>
      </p:pic>
      <p:sp>
        <p:nvSpPr>
          <p:cNvPr id="3" name="Rectangle 24">
            <a:extLst>
              <a:ext uri="{FF2B5EF4-FFF2-40B4-BE49-F238E27FC236}">
                <a16:creationId xmlns:a16="http://schemas.microsoft.com/office/drawing/2014/main" id="{CB36530A-2345-B64A-AEA2-2C67F5B36F23}"/>
              </a:ext>
            </a:extLst>
          </p:cNvPr>
          <p:cNvSpPr/>
          <p:nvPr userDrawn="1"/>
        </p:nvSpPr>
        <p:spPr>
          <a:xfrm>
            <a:off x="0" y="0"/>
            <a:ext cx="5418644" cy="6858000"/>
          </a:xfrm>
          <a:prstGeom prst="rect">
            <a:avLst/>
          </a:prstGeom>
          <a:solidFill>
            <a:schemeClr val="tx2">
              <a:alpha val="47386"/>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1" i="0" u="none" strike="noStrike" kern="1200" cap="none" spc="300" normalizeH="0" baseline="0" noProof="0">
              <a:ln>
                <a:noFill/>
              </a:ln>
              <a:solidFill>
                <a:srgbClr val="FFFFFF"/>
              </a:solidFill>
              <a:effectLst/>
              <a:uLnTx/>
              <a:uFillTx/>
              <a:latin typeface="Arial" panose="020B0604020202020204"/>
              <a:ea typeface="+mn-ea"/>
              <a:cs typeface="+mn-cs"/>
            </a:endParaRPr>
          </a:p>
        </p:txBody>
      </p:sp>
      <p:sp>
        <p:nvSpPr>
          <p:cNvPr id="48" name="Rectangle 24">
            <a:extLst>
              <a:ext uri="{FF2B5EF4-FFF2-40B4-BE49-F238E27FC236}">
                <a16:creationId xmlns:a16="http://schemas.microsoft.com/office/drawing/2014/main" id="{24D0A1F8-0D36-1D4C-8930-D449B00B1E6D}"/>
              </a:ext>
            </a:extLst>
          </p:cNvPr>
          <p:cNvSpPr/>
          <p:nvPr userDrawn="1"/>
        </p:nvSpPr>
        <p:spPr>
          <a:xfrm>
            <a:off x="746892" y="1466570"/>
            <a:ext cx="3924862" cy="3924860"/>
          </a:xfrm>
          <a:prstGeom prst="rect">
            <a:avLst/>
          </a:prstGeom>
          <a:solidFill>
            <a:schemeClr val="bg1">
              <a:alpha val="76000"/>
            </a:schemeClr>
          </a:solid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1" i="0" u="none" strike="noStrike" kern="1200" cap="none" spc="300" normalizeH="0" baseline="0" noProof="0">
              <a:ln>
                <a:noFill/>
              </a:ln>
              <a:solidFill>
                <a:srgbClr val="FFFFFF"/>
              </a:solidFill>
              <a:effectLst/>
              <a:uLnTx/>
              <a:uFillTx/>
              <a:latin typeface="Arial" panose="020B0604020202020204"/>
              <a:ea typeface="+mn-ea"/>
              <a:cs typeface="+mn-cs"/>
            </a:endParaRPr>
          </a:p>
        </p:txBody>
      </p:sp>
      <p:sp>
        <p:nvSpPr>
          <p:cNvPr id="52" name="Forma libre 51">
            <a:extLst>
              <a:ext uri="{FF2B5EF4-FFF2-40B4-BE49-F238E27FC236}">
                <a16:creationId xmlns:a16="http://schemas.microsoft.com/office/drawing/2014/main" id="{62D8678F-368A-7B4F-A19A-32A07DBA7295}"/>
              </a:ext>
            </a:extLst>
          </p:cNvPr>
          <p:cNvSpPr/>
          <p:nvPr/>
        </p:nvSpPr>
        <p:spPr>
          <a:xfrm>
            <a:off x="2035361" y="1785473"/>
            <a:ext cx="1347920" cy="311048"/>
          </a:xfrm>
          <a:custGeom>
            <a:avLst/>
            <a:gdLst>
              <a:gd name="connsiteX0" fmla="*/ 2305336 w 6124670"/>
              <a:gd name="connsiteY0" fmla="*/ 651766 h 1413343"/>
              <a:gd name="connsiteX1" fmla="*/ 2176082 w 6124670"/>
              <a:gd name="connsiteY1" fmla="*/ 694862 h 1413343"/>
              <a:gd name="connsiteX2" fmla="*/ 2099882 w 6124670"/>
              <a:gd name="connsiteY2" fmla="*/ 711416 h 1413343"/>
              <a:gd name="connsiteX3" fmla="*/ 2013681 w 6124670"/>
              <a:gd name="connsiteY3" fmla="*/ 754512 h 1413343"/>
              <a:gd name="connsiteX4" fmla="*/ 1990440 w 6124670"/>
              <a:gd name="connsiteY4" fmla="*/ 827385 h 1413343"/>
              <a:gd name="connsiteX5" fmla="*/ 2020348 w 6124670"/>
              <a:gd name="connsiteY5" fmla="*/ 906822 h 1413343"/>
              <a:gd name="connsiteX6" fmla="*/ 2106073 w 6124670"/>
              <a:gd name="connsiteY6" fmla="*/ 933269 h 1413343"/>
              <a:gd name="connsiteX7" fmla="*/ 2251900 w 6124670"/>
              <a:gd name="connsiteY7" fmla="*/ 880375 h 1413343"/>
              <a:gd name="connsiteX8" fmla="*/ 2304955 w 6124670"/>
              <a:gd name="connsiteY8" fmla="*/ 734629 h 1413343"/>
              <a:gd name="connsiteX9" fmla="*/ 3393473 w 6124670"/>
              <a:gd name="connsiteY9" fmla="*/ 386722 h 1413343"/>
              <a:gd name="connsiteX10" fmla="*/ 3274315 w 6124670"/>
              <a:gd name="connsiteY10" fmla="*/ 433052 h 1413343"/>
              <a:gd name="connsiteX11" fmla="*/ 3224404 w 6124670"/>
              <a:gd name="connsiteY11" fmla="*/ 565479 h 1413343"/>
              <a:gd name="connsiteX12" fmla="*/ 3562637 w 6124670"/>
              <a:gd name="connsiteY12" fmla="*/ 565479 h 1413343"/>
              <a:gd name="connsiteX13" fmla="*/ 3516155 w 6124670"/>
              <a:gd name="connsiteY13" fmla="*/ 433052 h 1413343"/>
              <a:gd name="connsiteX14" fmla="*/ 3393473 w 6124670"/>
              <a:gd name="connsiteY14" fmla="*/ 386722 h 1413343"/>
              <a:gd name="connsiteX15" fmla="*/ 4552474 w 6124670"/>
              <a:gd name="connsiteY15" fmla="*/ 214433 h 1413343"/>
              <a:gd name="connsiteX16" fmla="*/ 4807839 w 6124670"/>
              <a:gd name="connsiteY16" fmla="*/ 214433 h 1413343"/>
              <a:gd name="connsiteX17" fmla="*/ 4986910 w 6124670"/>
              <a:gd name="connsiteY17" fmla="*/ 837089 h 1413343"/>
              <a:gd name="connsiteX18" fmla="*/ 5142739 w 6124670"/>
              <a:gd name="connsiteY18" fmla="*/ 293966 h 1413343"/>
              <a:gd name="connsiteX19" fmla="*/ 5248847 w 6124670"/>
              <a:gd name="connsiteY19" fmla="*/ 214433 h 1413343"/>
              <a:gd name="connsiteX20" fmla="*/ 5407914 w 6124670"/>
              <a:gd name="connsiteY20" fmla="*/ 214433 h 1413343"/>
              <a:gd name="connsiteX21" fmla="*/ 5069681 w 6124670"/>
              <a:gd name="connsiteY21" fmla="*/ 1217912 h 1413343"/>
              <a:gd name="connsiteX22" fmla="*/ 4970146 w 6124670"/>
              <a:gd name="connsiteY22" fmla="*/ 1373552 h 1413343"/>
              <a:gd name="connsiteX23" fmla="*/ 4774597 w 6124670"/>
              <a:gd name="connsiteY23" fmla="*/ 1413318 h 1413343"/>
              <a:gd name="connsiteX24" fmla="*/ 4751737 w 6124670"/>
              <a:gd name="connsiteY24" fmla="*/ 1413318 h 1413343"/>
              <a:gd name="connsiteX25" fmla="*/ 4677918 w 6124670"/>
              <a:gd name="connsiteY25" fmla="*/ 1412558 h 1413343"/>
              <a:gd name="connsiteX26" fmla="*/ 4677918 w 6124670"/>
              <a:gd name="connsiteY26" fmla="*/ 1224572 h 1413343"/>
              <a:gd name="connsiteX27" fmla="*/ 4741164 w 6124670"/>
              <a:gd name="connsiteY27" fmla="*/ 1224572 h 1413343"/>
              <a:gd name="connsiteX28" fmla="*/ 4845939 w 6124670"/>
              <a:gd name="connsiteY28" fmla="*/ 1193082 h 1413343"/>
              <a:gd name="connsiteX29" fmla="*/ 4860893 w 6124670"/>
              <a:gd name="connsiteY29" fmla="*/ 1092050 h 1413343"/>
              <a:gd name="connsiteX30" fmla="*/ 1721739 w 6124670"/>
              <a:gd name="connsiteY30" fmla="*/ 214433 h 1413343"/>
              <a:gd name="connsiteX31" fmla="*/ 1754982 w 6124670"/>
              <a:gd name="connsiteY31" fmla="*/ 214433 h 1413343"/>
              <a:gd name="connsiteX32" fmla="*/ 1754982 w 6124670"/>
              <a:gd name="connsiteY32" fmla="*/ 449605 h 1413343"/>
              <a:gd name="connsiteX33" fmla="*/ 1678782 w 6124670"/>
              <a:gd name="connsiteY33" fmla="*/ 449605 h 1413343"/>
              <a:gd name="connsiteX34" fmla="*/ 1535907 w 6124670"/>
              <a:gd name="connsiteY34" fmla="*/ 495936 h 1413343"/>
              <a:gd name="connsiteX35" fmla="*/ 1489520 w 6124670"/>
              <a:gd name="connsiteY35" fmla="*/ 641682 h 1413343"/>
              <a:gd name="connsiteX36" fmla="*/ 1489520 w 6124670"/>
              <a:gd name="connsiteY36" fmla="*/ 1095379 h 1413343"/>
              <a:gd name="connsiteX37" fmla="*/ 1257205 w 6124670"/>
              <a:gd name="connsiteY37" fmla="*/ 1095379 h 1413343"/>
              <a:gd name="connsiteX38" fmla="*/ 1257205 w 6124670"/>
              <a:gd name="connsiteY38" fmla="*/ 668225 h 1413343"/>
              <a:gd name="connsiteX39" fmla="*/ 1295305 w 6124670"/>
              <a:gd name="connsiteY39" fmla="*/ 451223 h 1413343"/>
              <a:gd name="connsiteX40" fmla="*/ 1400080 w 6124670"/>
              <a:gd name="connsiteY40" fmla="*/ 310519 h 1413343"/>
              <a:gd name="connsiteX41" fmla="*/ 1547622 w 6124670"/>
              <a:gd name="connsiteY41" fmla="*/ 237646 h 1413343"/>
              <a:gd name="connsiteX42" fmla="*/ 1721739 w 6124670"/>
              <a:gd name="connsiteY42" fmla="*/ 214433 h 1413343"/>
              <a:gd name="connsiteX43" fmla="*/ 5716715 w 6124670"/>
              <a:gd name="connsiteY43" fmla="*/ 194645 h 1413343"/>
              <a:gd name="connsiteX44" fmla="*/ 5991892 w 6124670"/>
              <a:gd name="connsiteY44" fmla="*/ 270753 h 1413343"/>
              <a:gd name="connsiteX45" fmla="*/ 6094762 w 6124670"/>
              <a:gd name="connsiteY45" fmla="*/ 486042 h 1413343"/>
              <a:gd name="connsiteX46" fmla="*/ 5951887 w 6124670"/>
              <a:gd name="connsiteY46" fmla="*/ 486042 h 1413343"/>
              <a:gd name="connsiteX47" fmla="*/ 5855684 w 6124670"/>
              <a:gd name="connsiteY47" fmla="*/ 429722 h 1413343"/>
              <a:gd name="connsiteX48" fmla="*/ 5829205 w 6124670"/>
              <a:gd name="connsiteY48" fmla="*/ 403275 h 1413343"/>
              <a:gd name="connsiteX49" fmla="*/ 5719762 w 6124670"/>
              <a:gd name="connsiteY49" fmla="*/ 373403 h 1413343"/>
              <a:gd name="connsiteX50" fmla="*/ 5620322 w 6124670"/>
              <a:gd name="connsiteY50" fmla="*/ 393286 h 1413343"/>
              <a:gd name="connsiteX51" fmla="*/ 5590413 w 6124670"/>
              <a:gd name="connsiteY51" fmla="*/ 452935 h 1413343"/>
              <a:gd name="connsiteX52" fmla="*/ 5762816 w 6124670"/>
              <a:gd name="connsiteY52" fmla="*/ 542362 h 1413343"/>
              <a:gd name="connsiteX53" fmla="*/ 5797678 w 6124670"/>
              <a:gd name="connsiteY53" fmla="*/ 551875 h 1413343"/>
              <a:gd name="connsiteX54" fmla="*/ 5826253 w 6124670"/>
              <a:gd name="connsiteY54" fmla="*/ 555205 h 1413343"/>
              <a:gd name="connsiteX55" fmla="*/ 6061615 w 6124670"/>
              <a:gd name="connsiteY55" fmla="*/ 654525 h 1413343"/>
              <a:gd name="connsiteX56" fmla="*/ 6124670 w 6124670"/>
              <a:gd name="connsiteY56" fmla="*/ 813495 h 1413343"/>
              <a:gd name="connsiteX57" fmla="*/ 6018562 w 6124670"/>
              <a:gd name="connsiteY57" fmla="*/ 1038679 h 1413343"/>
              <a:gd name="connsiteX58" fmla="*/ 5720144 w 6124670"/>
              <a:gd name="connsiteY58" fmla="*/ 1111552 h 1413343"/>
              <a:gd name="connsiteX59" fmla="*/ 5438298 w 6124670"/>
              <a:gd name="connsiteY59" fmla="*/ 1035444 h 1413343"/>
              <a:gd name="connsiteX60" fmla="*/ 5342096 w 6124670"/>
              <a:gd name="connsiteY60" fmla="*/ 813495 h 1413343"/>
              <a:gd name="connsiteX61" fmla="*/ 5342287 w 6124670"/>
              <a:gd name="connsiteY61" fmla="*/ 803982 h 1413343"/>
              <a:gd name="connsiteX62" fmla="*/ 5567839 w 6124670"/>
              <a:gd name="connsiteY62" fmla="*/ 803982 h 1413343"/>
              <a:gd name="connsiteX63" fmla="*/ 5617559 w 6124670"/>
              <a:gd name="connsiteY63" fmla="*/ 903302 h 1413343"/>
              <a:gd name="connsiteX64" fmla="*/ 5750148 w 6124670"/>
              <a:gd name="connsiteY64" fmla="*/ 936409 h 1413343"/>
              <a:gd name="connsiteX65" fmla="*/ 5852922 w 6124670"/>
              <a:gd name="connsiteY65" fmla="*/ 913196 h 1413343"/>
              <a:gd name="connsiteX66" fmla="*/ 5892737 w 6124670"/>
              <a:gd name="connsiteY66" fmla="*/ 850312 h 1413343"/>
              <a:gd name="connsiteX67" fmla="*/ 5753481 w 6124670"/>
              <a:gd name="connsiteY67" fmla="*/ 760886 h 1413343"/>
              <a:gd name="connsiteX68" fmla="*/ 5663946 w 6124670"/>
              <a:gd name="connsiteY68" fmla="*/ 741003 h 1413343"/>
              <a:gd name="connsiteX69" fmla="*/ 5428584 w 6124670"/>
              <a:gd name="connsiteY69" fmla="*/ 638352 h 1413343"/>
              <a:gd name="connsiteX70" fmla="*/ 5361909 w 6124670"/>
              <a:gd name="connsiteY70" fmla="*/ 479383 h 1413343"/>
              <a:gd name="connsiteX71" fmla="*/ 5458111 w 6124670"/>
              <a:gd name="connsiteY71" fmla="*/ 270753 h 1413343"/>
              <a:gd name="connsiteX72" fmla="*/ 5716715 w 6124670"/>
              <a:gd name="connsiteY72" fmla="*/ 194645 h 1413343"/>
              <a:gd name="connsiteX73" fmla="*/ 4192239 w 6124670"/>
              <a:gd name="connsiteY73" fmla="*/ 194645 h 1413343"/>
              <a:gd name="connsiteX74" fmla="*/ 4467416 w 6124670"/>
              <a:gd name="connsiteY74" fmla="*/ 270753 h 1413343"/>
              <a:gd name="connsiteX75" fmla="*/ 4570190 w 6124670"/>
              <a:gd name="connsiteY75" fmla="*/ 486042 h 1413343"/>
              <a:gd name="connsiteX76" fmla="*/ 4427315 w 6124670"/>
              <a:gd name="connsiteY76" fmla="*/ 486042 h 1413343"/>
              <a:gd name="connsiteX77" fmla="*/ 4331589 w 6124670"/>
              <a:gd name="connsiteY77" fmla="*/ 429722 h 1413343"/>
              <a:gd name="connsiteX78" fmla="*/ 4305015 w 6124670"/>
              <a:gd name="connsiteY78" fmla="*/ 403275 h 1413343"/>
              <a:gd name="connsiteX79" fmla="*/ 4195667 w 6124670"/>
              <a:gd name="connsiteY79" fmla="*/ 373403 h 1413343"/>
              <a:gd name="connsiteX80" fmla="*/ 4096132 w 6124670"/>
              <a:gd name="connsiteY80" fmla="*/ 393286 h 1413343"/>
              <a:gd name="connsiteX81" fmla="*/ 4066318 w 6124670"/>
              <a:gd name="connsiteY81" fmla="*/ 452935 h 1413343"/>
              <a:gd name="connsiteX82" fmla="*/ 4238721 w 6124670"/>
              <a:gd name="connsiteY82" fmla="*/ 542362 h 1413343"/>
              <a:gd name="connsiteX83" fmla="*/ 4273582 w 6124670"/>
              <a:gd name="connsiteY83" fmla="*/ 551875 h 1413343"/>
              <a:gd name="connsiteX84" fmla="*/ 4301681 w 6124670"/>
              <a:gd name="connsiteY84" fmla="*/ 555205 h 1413343"/>
              <a:gd name="connsiteX85" fmla="*/ 4537139 w 6124670"/>
              <a:gd name="connsiteY85" fmla="*/ 654525 h 1413343"/>
              <a:gd name="connsiteX86" fmla="*/ 4600099 w 6124670"/>
              <a:gd name="connsiteY86" fmla="*/ 813495 h 1413343"/>
              <a:gd name="connsiteX87" fmla="*/ 4494086 w 6124670"/>
              <a:gd name="connsiteY87" fmla="*/ 1038679 h 1413343"/>
              <a:gd name="connsiteX88" fmla="*/ 4195667 w 6124670"/>
              <a:gd name="connsiteY88" fmla="*/ 1111552 h 1413343"/>
              <a:gd name="connsiteX89" fmla="*/ 3913823 w 6124670"/>
              <a:gd name="connsiteY89" fmla="*/ 1035444 h 1413343"/>
              <a:gd name="connsiteX90" fmla="*/ 3817620 w 6124670"/>
              <a:gd name="connsiteY90" fmla="*/ 813495 h 1413343"/>
              <a:gd name="connsiteX91" fmla="*/ 3817906 w 6124670"/>
              <a:gd name="connsiteY91" fmla="*/ 803982 h 1413343"/>
              <a:gd name="connsiteX92" fmla="*/ 4043363 w 6124670"/>
              <a:gd name="connsiteY92" fmla="*/ 803982 h 1413343"/>
              <a:gd name="connsiteX93" fmla="*/ 4093084 w 6124670"/>
              <a:gd name="connsiteY93" fmla="*/ 903302 h 1413343"/>
              <a:gd name="connsiteX94" fmla="*/ 4225767 w 6124670"/>
              <a:gd name="connsiteY94" fmla="*/ 936409 h 1413343"/>
              <a:gd name="connsiteX95" fmla="*/ 4328541 w 6124670"/>
              <a:gd name="connsiteY95" fmla="*/ 913196 h 1413343"/>
              <a:gd name="connsiteX96" fmla="*/ 4368356 w 6124670"/>
              <a:gd name="connsiteY96" fmla="*/ 850312 h 1413343"/>
              <a:gd name="connsiteX97" fmla="*/ 4229100 w 6124670"/>
              <a:gd name="connsiteY97" fmla="*/ 760886 h 1413343"/>
              <a:gd name="connsiteX98" fmla="*/ 4139566 w 6124670"/>
              <a:gd name="connsiteY98" fmla="*/ 741003 h 1413343"/>
              <a:gd name="connsiteX99" fmla="*/ 3904107 w 6124670"/>
              <a:gd name="connsiteY99" fmla="*/ 638352 h 1413343"/>
              <a:gd name="connsiteX100" fmla="*/ 3837432 w 6124670"/>
              <a:gd name="connsiteY100" fmla="*/ 479383 h 1413343"/>
              <a:gd name="connsiteX101" fmla="*/ 3933540 w 6124670"/>
              <a:gd name="connsiteY101" fmla="*/ 270753 h 1413343"/>
              <a:gd name="connsiteX102" fmla="*/ 4192239 w 6124670"/>
              <a:gd name="connsiteY102" fmla="*/ 194645 h 1413343"/>
              <a:gd name="connsiteX103" fmla="*/ 3386901 w 6124670"/>
              <a:gd name="connsiteY103" fmla="*/ 194645 h 1413343"/>
              <a:gd name="connsiteX104" fmla="*/ 3695225 w 6124670"/>
              <a:gd name="connsiteY104" fmla="*/ 313849 h 1413343"/>
              <a:gd name="connsiteX105" fmla="*/ 3801333 w 6124670"/>
              <a:gd name="connsiteY105" fmla="*/ 654906 h 1413343"/>
              <a:gd name="connsiteX106" fmla="*/ 3801333 w 6124670"/>
              <a:gd name="connsiteY106" fmla="*/ 691342 h 1413343"/>
              <a:gd name="connsiteX107" fmla="*/ 3797999 w 6124670"/>
              <a:gd name="connsiteY107" fmla="*/ 714555 h 1413343"/>
              <a:gd name="connsiteX108" fmla="*/ 3224404 w 6124670"/>
              <a:gd name="connsiteY108" fmla="*/ 714555 h 1413343"/>
              <a:gd name="connsiteX109" fmla="*/ 3274124 w 6124670"/>
              <a:gd name="connsiteY109" fmla="*/ 866771 h 1413343"/>
              <a:gd name="connsiteX110" fmla="*/ 3403474 w 6124670"/>
              <a:gd name="connsiteY110" fmla="*/ 919761 h 1413343"/>
              <a:gd name="connsiteX111" fmla="*/ 3499581 w 6124670"/>
              <a:gd name="connsiteY111" fmla="*/ 896643 h 1413343"/>
              <a:gd name="connsiteX112" fmla="*/ 3517869 w 6124670"/>
              <a:gd name="connsiteY112" fmla="*/ 885036 h 1413343"/>
              <a:gd name="connsiteX113" fmla="*/ 3536062 w 6124670"/>
              <a:gd name="connsiteY113" fmla="*/ 866771 h 1413343"/>
              <a:gd name="connsiteX114" fmla="*/ 3560923 w 6124670"/>
              <a:gd name="connsiteY114" fmla="*/ 840323 h 1413343"/>
              <a:gd name="connsiteX115" fmla="*/ 3622264 w 6124670"/>
              <a:gd name="connsiteY115" fmla="*/ 823865 h 1413343"/>
              <a:gd name="connsiteX116" fmla="*/ 3788094 w 6124670"/>
              <a:gd name="connsiteY116" fmla="*/ 823865 h 1413343"/>
              <a:gd name="connsiteX117" fmla="*/ 3648838 w 6124670"/>
              <a:gd name="connsiteY117" fmla="*/ 1035825 h 1413343"/>
              <a:gd name="connsiteX118" fmla="*/ 3390139 w 6124670"/>
              <a:gd name="connsiteY118" fmla="*/ 1111932 h 1413343"/>
              <a:gd name="connsiteX119" fmla="*/ 3094864 w 6124670"/>
              <a:gd name="connsiteY119" fmla="*/ 989399 h 1413343"/>
              <a:gd name="connsiteX120" fmla="*/ 2988851 w 6124670"/>
              <a:gd name="connsiteY120" fmla="*/ 648342 h 1413343"/>
              <a:gd name="connsiteX121" fmla="*/ 3091626 w 6124670"/>
              <a:gd name="connsiteY121" fmla="*/ 317178 h 1413343"/>
              <a:gd name="connsiteX122" fmla="*/ 3386901 w 6124670"/>
              <a:gd name="connsiteY122" fmla="*/ 194645 h 1413343"/>
              <a:gd name="connsiteX123" fmla="*/ 2146078 w 6124670"/>
              <a:gd name="connsiteY123" fmla="*/ 194645 h 1413343"/>
              <a:gd name="connsiteX124" fmla="*/ 2424684 w 6124670"/>
              <a:gd name="connsiteY124" fmla="*/ 257529 h 1413343"/>
              <a:gd name="connsiteX125" fmla="*/ 2520792 w 6124670"/>
              <a:gd name="connsiteY125" fmla="*/ 442946 h 1413343"/>
              <a:gd name="connsiteX126" fmla="*/ 2520792 w 6124670"/>
              <a:gd name="connsiteY126" fmla="*/ 744332 h 1413343"/>
              <a:gd name="connsiteX127" fmla="*/ 2473167 w 6124670"/>
              <a:gd name="connsiteY127" fmla="*/ 951345 h 1413343"/>
              <a:gd name="connsiteX128" fmla="*/ 2358391 w 6124670"/>
              <a:gd name="connsiteY128" fmla="*/ 1059133 h 1413343"/>
              <a:gd name="connsiteX129" fmla="*/ 2210848 w 6124670"/>
              <a:gd name="connsiteY129" fmla="*/ 1103846 h 1413343"/>
              <a:gd name="connsiteX130" fmla="*/ 2073307 w 6124670"/>
              <a:gd name="connsiteY130" fmla="*/ 1112123 h 1413343"/>
              <a:gd name="connsiteX131" fmla="*/ 1864614 w 6124670"/>
              <a:gd name="connsiteY131" fmla="*/ 1047336 h 1413343"/>
              <a:gd name="connsiteX132" fmla="*/ 1775079 w 6124670"/>
              <a:gd name="connsiteY132" fmla="*/ 833759 h 1413343"/>
              <a:gd name="connsiteX133" fmla="*/ 1856328 w 6124670"/>
              <a:gd name="connsiteY133" fmla="*/ 635023 h 1413343"/>
              <a:gd name="connsiteX134" fmla="*/ 2063496 w 6124670"/>
              <a:gd name="connsiteY134" fmla="*/ 555586 h 1413343"/>
              <a:gd name="connsiteX135" fmla="*/ 2103311 w 6124670"/>
              <a:gd name="connsiteY135" fmla="*/ 550638 h 1413343"/>
              <a:gd name="connsiteX136" fmla="*/ 2156365 w 6124670"/>
              <a:gd name="connsiteY136" fmla="*/ 542362 h 1413343"/>
              <a:gd name="connsiteX137" fmla="*/ 2302288 w 6124670"/>
              <a:gd name="connsiteY137" fmla="*/ 456265 h 1413343"/>
              <a:gd name="connsiteX138" fmla="*/ 2250853 w 6124670"/>
              <a:gd name="connsiteY138" fmla="*/ 391669 h 1413343"/>
              <a:gd name="connsiteX139" fmla="*/ 2156365 w 6124670"/>
              <a:gd name="connsiteY139" fmla="*/ 376732 h 1413343"/>
              <a:gd name="connsiteX140" fmla="*/ 2073497 w 6124670"/>
              <a:gd name="connsiteY140" fmla="*/ 389956 h 1413343"/>
              <a:gd name="connsiteX141" fmla="*/ 2020443 w 6124670"/>
              <a:gd name="connsiteY141" fmla="*/ 439712 h 1413343"/>
              <a:gd name="connsiteX142" fmla="*/ 1797939 w 6124670"/>
              <a:gd name="connsiteY142" fmla="*/ 439712 h 1413343"/>
              <a:gd name="connsiteX143" fmla="*/ 1890808 w 6124670"/>
              <a:gd name="connsiteY143" fmla="*/ 270753 h 1413343"/>
              <a:gd name="connsiteX144" fmla="*/ 2146078 w 6124670"/>
              <a:gd name="connsiteY144" fmla="*/ 194645 h 1413343"/>
              <a:gd name="connsiteX145" fmla="*/ 374523 w 6124670"/>
              <a:gd name="connsiteY145" fmla="*/ 194645 h 1413343"/>
              <a:gd name="connsiteX146" fmla="*/ 649796 w 6124670"/>
              <a:gd name="connsiteY146" fmla="*/ 270753 h 1413343"/>
              <a:gd name="connsiteX147" fmla="*/ 752570 w 6124670"/>
              <a:gd name="connsiteY147" fmla="*/ 486042 h 1413343"/>
              <a:gd name="connsiteX148" fmla="*/ 609695 w 6124670"/>
              <a:gd name="connsiteY148" fmla="*/ 486042 h 1413343"/>
              <a:gd name="connsiteX149" fmla="*/ 513493 w 6124670"/>
              <a:gd name="connsiteY149" fmla="*/ 429722 h 1413343"/>
              <a:gd name="connsiteX150" fmla="*/ 487013 w 6124670"/>
              <a:gd name="connsiteY150" fmla="*/ 403275 h 1413343"/>
              <a:gd name="connsiteX151" fmla="*/ 377571 w 6124670"/>
              <a:gd name="connsiteY151" fmla="*/ 373403 h 1413343"/>
              <a:gd name="connsiteX152" fmla="*/ 278130 w 6124670"/>
              <a:gd name="connsiteY152" fmla="*/ 393286 h 1413343"/>
              <a:gd name="connsiteX153" fmla="*/ 248317 w 6124670"/>
              <a:gd name="connsiteY153" fmla="*/ 452935 h 1413343"/>
              <a:gd name="connsiteX154" fmla="*/ 420719 w 6124670"/>
              <a:gd name="connsiteY154" fmla="*/ 542362 h 1413343"/>
              <a:gd name="connsiteX155" fmla="*/ 455486 w 6124670"/>
              <a:gd name="connsiteY155" fmla="*/ 551875 h 1413343"/>
              <a:gd name="connsiteX156" fmla="*/ 484061 w 6124670"/>
              <a:gd name="connsiteY156" fmla="*/ 555205 h 1413343"/>
              <a:gd name="connsiteX157" fmla="*/ 719519 w 6124670"/>
              <a:gd name="connsiteY157" fmla="*/ 654525 h 1413343"/>
              <a:gd name="connsiteX158" fmla="*/ 782479 w 6124670"/>
              <a:gd name="connsiteY158" fmla="*/ 813495 h 1413343"/>
              <a:gd name="connsiteX159" fmla="*/ 676370 w 6124670"/>
              <a:gd name="connsiteY159" fmla="*/ 1038679 h 1413343"/>
              <a:gd name="connsiteX160" fmla="*/ 377952 w 6124670"/>
              <a:gd name="connsiteY160" fmla="*/ 1111552 h 1413343"/>
              <a:gd name="connsiteX161" fmla="*/ 96108 w 6124670"/>
              <a:gd name="connsiteY161" fmla="*/ 1035444 h 1413343"/>
              <a:gd name="connsiteX162" fmla="*/ 0 w 6124670"/>
              <a:gd name="connsiteY162" fmla="*/ 813495 h 1413343"/>
              <a:gd name="connsiteX163" fmla="*/ 286 w 6124670"/>
              <a:gd name="connsiteY163" fmla="*/ 803982 h 1413343"/>
              <a:gd name="connsiteX164" fmla="*/ 225743 w 6124670"/>
              <a:gd name="connsiteY164" fmla="*/ 803982 h 1413343"/>
              <a:gd name="connsiteX165" fmla="*/ 275463 w 6124670"/>
              <a:gd name="connsiteY165" fmla="*/ 903302 h 1413343"/>
              <a:gd name="connsiteX166" fmla="*/ 408051 w 6124670"/>
              <a:gd name="connsiteY166" fmla="*/ 936409 h 1413343"/>
              <a:gd name="connsiteX167" fmla="*/ 510921 w 6124670"/>
              <a:gd name="connsiteY167" fmla="*/ 913196 h 1413343"/>
              <a:gd name="connsiteX168" fmla="*/ 550640 w 6124670"/>
              <a:gd name="connsiteY168" fmla="*/ 850312 h 1413343"/>
              <a:gd name="connsiteX169" fmla="*/ 411385 w 6124670"/>
              <a:gd name="connsiteY169" fmla="*/ 760886 h 1413343"/>
              <a:gd name="connsiteX170" fmla="*/ 321850 w 6124670"/>
              <a:gd name="connsiteY170" fmla="*/ 741003 h 1413343"/>
              <a:gd name="connsiteX171" fmla="*/ 86487 w 6124670"/>
              <a:gd name="connsiteY171" fmla="*/ 638352 h 1413343"/>
              <a:gd name="connsiteX172" fmla="*/ 19812 w 6124670"/>
              <a:gd name="connsiteY172" fmla="*/ 479383 h 1413343"/>
              <a:gd name="connsiteX173" fmla="*/ 115919 w 6124670"/>
              <a:gd name="connsiteY173" fmla="*/ 270753 h 1413343"/>
              <a:gd name="connsiteX174" fmla="*/ 374523 w 6124670"/>
              <a:gd name="connsiteY174" fmla="*/ 194645 h 1413343"/>
              <a:gd name="connsiteX175" fmla="*/ 2575750 w 6124670"/>
              <a:gd name="connsiteY175" fmla="*/ 0 h 1413343"/>
              <a:gd name="connsiteX176" fmla="*/ 2799779 w 6124670"/>
              <a:gd name="connsiteY176" fmla="*/ 0 h 1413343"/>
              <a:gd name="connsiteX177" fmla="*/ 2799779 w 6124670"/>
              <a:gd name="connsiteY177" fmla="*/ 221949 h 1413343"/>
              <a:gd name="connsiteX178" fmla="*/ 2958084 w 6124670"/>
              <a:gd name="connsiteY178" fmla="*/ 221949 h 1413343"/>
              <a:gd name="connsiteX179" fmla="*/ 2958084 w 6124670"/>
              <a:gd name="connsiteY179" fmla="*/ 420399 h 1413343"/>
              <a:gd name="connsiteX180" fmla="*/ 2800159 w 6124670"/>
              <a:gd name="connsiteY180" fmla="*/ 420399 h 1413343"/>
              <a:gd name="connsiteX181" fmla="*/ 2800159 w 6124670"/>
              <a:gd name="connsiteY181" fmla="*/ 728921 h 1413343"/>
              <a:gd name="connsiteX182" fmla="*/ 2841784 w 6124670"/>
              <a:gd name="connsiteY182" fmla="*/ 857828 h 1413343"/>
              <a:gd name="connsiteX183" fmla="*/ 2968276 w 6124670"/>
              <a:gd name="connsiteY183" fmla="*/ 889984 h 1413343"/>
              <a:gd name="connsiteX184" fmla="*/ 2968276 w 6124670"/>
              <a:gd name="connsiteY184" fmla="*/ 1093667 h 1413343"/>
              <a:gd name="connsiteX185" fmla="*/ 2798064 w 6124670"/>
              <a:gd name="connsiteY185" fmla="*/ 1081870 h 1413343"/>
              <a:gd name="connsiteX186" fmla="*/ 2675858 w 6124670"/>
              <a:gd name="connsiteY186" fmla="*/ 1010614 h 1413343"/>
              <a:gd name="connsiteX187" fmla="*/ 2601183 w 6124670"/>
              <a:gd name="connsiteY187" fmla="*/ 889413 h 1413343"/>
              <a:gd name="connsiteX188" fmla="*/ 2575750 w 6124670"/>
              <a:gd name="connsiteY188" fmla="*/ 727684 h 1413343"/>
              <a:gd name="connsiteX189" fmla="*/ 824770 w 6124670"/>
              <a:gd name="connsiteY189" fmla="*/ 0 h 1413343"/>
              <a:gd name="connsiteX190" fmla="*/ 1048893 w 6124670"/>
              <a:gd name="connsiteY190" fmla="*/ 0 h 1413343"/>
              <a:gd name="connsiteX191" fmla="*/ 1048893 w 6124670"/>
              <a:gd name="connsiteY191" fmla="*/ 221949 h 1413343"/>
              <a:gd name="connsiteX192" fmla="*/ 1206723 w 6124670"/>
              <a:gd name="connsiteY192" fmla="*/ 221949 h 1413343"/>
              <a:gd name="connsiteX193" fmla="*/ 1206723 w 6124670"/>
              <a:gd name="connsiteY193" fmla="*/ 420399 h 1413343"/>
              <a:gd name="connsiteX194" fmla="*/ 1048417 w 6124670"/>
              <a:gd name="connsiteY194" fmla="*/ 420399 h 1413343"/>
              <a:gd name="connsiteX195" fmla="*/ 1048417 w 6124670"/>
              <a:gd name="connsiteY195" fmla="*/ 728921 h 1413343"/>
              <a:gd name="connsiteX196" fmla="*/ 1089946 w 6124670"/>
              <a:gd name="connsiteY196" fmla="*/ 857828 h 1413343"/>
              <a:gd name="connsiteX197" fmla="*/ 1216915 w 6124670"/>
              <a:gd name="connsiteY197" fmla="*/ 890174 h 1413343"/>
              <a:gd name="connsiteX198" fmla="*/ 1216915 w 6124670"/>
              <a:gd name="connsiteY198" fmla="*/ 1093667 h 1413343"/>
              <a:gd name="connsiteX199" fmla="*/ 1047179 w 6124670"/>
              <a:gd name="connsiteY199" fmla="*/ 1081870 h 1413343"/>
              <a:gd name="connsiteX200" fmla="*/ 924973 w 6124670"/>
              <a:gd name="connsiteY200" fmla="*/ 1010614 h 1413343"/>
              <a:gd name="connsiteX201" fmla="*/ 850202 w 6124670"/>
              <a:gd name="connsiteY201" fmla="*/ 889413 h 1413343"/>
              <a:gd name="connsiteX202" fmla="*/ 824770 w 6124670"/>
              <a:gd name="connsiteY202" fmla="*/ 727684 h 1413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6124670" h="1413343">
                <a:moveTo>
                  <a:pt x="2305336" y="651766"/>
                </a:moveTo>
                <a:cubicBezTo>
                  <a:pt x="2263969" y="670831"/>
                  <a:pt x="2220620" y="685282"/>
                  <a:pt x="2176082" y="694862"/>
                </a:cubicBezTo>
                <a:lnTo>
                  <a:pt x="2099882" y="711416"/>
                </a:lnTo>
                <a:cubicBezTo>
                  <a:pt x="2060067" y="722547"/>
                  <a:pt x="2031397" y="736817"/>
                  <a:pt x="2013681" y="754512"/>
                </a:cubicBezTo>
                <a:cubicBezTo>
                  <a:pt x="1999060" y="776060"/>
                  <a:pt x="1990992" y="801366"/>
                  <a:pt x="1990440" y="827385"/>
                </a:cubicBezTo>
                <a:cubicBezTo>
                  <a:pt x="1989058" y="856848"/>
                  <a:pt x="1999869" y="885569"/>
                  <a:pt x="2020348" y="906822"/>
                </a:cubicBezTo>
                <a:cubicBezTo>
                  <a:pt x="2040255" y="924517"/>
                  <a:pt x="2068926" y="933269"/>
                  <a:pt x="2106073" y="933269"/>
                </a:cubicBezTo>
                <a:cubicBezTo>
                  <a:pt x="2167919" y="933269"/>
                  <a:pt x="2216535" y="915641"/>
                  <a:pt x="2251900" y="880375"/>
                </a:cubicBezTo>
                <a:cubicBezTo>
                  <a:pt x="2287267" y="845108"/>
                  <a:pt x="2304955" y="796533"/>
                  <a:pt x="2304955" y="734629"/>
                </a:cubicBezTo>
                <a:close/>
                <a:moveTo>
                  <a:pt x="3393473" y="386722"/>
                </a:moveTo>
                <a:cubicBezTo>
                  <a:pt x="3349077" y="385180"/>
                  <a:pt x="3305986" y="401934"/>
                  <a:pt x="3274315" y="433052"/>
                </a:cubicBezTo>
                <a:cubicBezTo>
                  <a:pt x="3243263" y="463999"/>
                  <a:pt x="3226623" y="508142"/>
                  <a:pt x="3224404" y="565479"/>
                </a:cubicBezTo>
                <a:lnTo>
                  <a:pt x="3562637" y="565479"/>
                </a:lnTo>
                <a:cubicBezTo>
                  <a:pt x="3558131" y="505925"/>
                  <a:pt x="3542634" y="461783"/>
                  <a:pt x="3516155" y="433052"/>
                </a:cubicBezTo>
                <a:cubicBezTo>
                  <a:pt x="3487513" y="402162"/>
                  <a:pt x="3446622" y="386722"/>
                  <a:pt x="3393473" y="386722"/>
                </a:cubicBezTo>
                <a:close/>
                <a:moveTo>
                  <a:pt x="4552474" y="214433"/>
                </a:moveTo>
                <a:lnTo>
                  <a:pt x="4807839" y="214433"/>
                </a:lnTo>
                <a:lnTo>
                  <a:pt x="4986910" y="837089"/>
                </a:lnTo>
                <a:lnTo>
                  <a:pt x="5142739" y="293966"/>
                </a:lnTo>
                <a:cubicBezTo>
                  <a:pt x="5155978" y="241004"/>
                  <a:pt x="5191411" y="214500"/>
                  <a:pt x="5248847" y="214433"/>
                </a:cubicBezTo>
                <a:lnTo>
                  <a:pt x="5407914" y="214433"/>
                </a:lnTo>
                <a:lnTo>
                  <a:pt x="5069681" y="1217912"/>
                </a:lnTo>
                <a:cubicBezTo>
                  <a:pt x="5043106" y="1290785"/>
                  <a:pt x="5009959" y="1342662"/>
                  <a:pt x="4970146" y="1373552"/>
                </a:cubicBezTo>
                <a:cubicBezTo>
                  <a:pt x="4930426" y="1400124"/>
                  <a:pt x="4865180" y="1413385"/>
                  <a:pt x="4774597" y="1413318"/>
                </a:cubicBezTo>
                <a:lnTo>
                  <a:pt x="4751737" y="1413318"/>
                </a:lnTo>
                <a:cubicBezTo>
                  <a:pt x="4742403" y="1413509"/>
                  <a:pt x="4684586" y="1412558"/>
                  <a:pt x="4677918" y="1412558"/>
                </a:cubicBezTo>
                <a:lnTo>
                  <a:pt x="4677918" y="1224572"/>
                </a:lnTo>
                <a:lnTo>
                  <a:pt x="4741164" y="1224572"/>
                </a:lnTo>
                <a:cubicBezTo>
                  <a:pt x="4785646" y="1224572"/>
                  <a:pt x="4820507" y="1214078"/>
                  <a:pt x="4845939" y="1193082"/>
                </a:cubicBezTo>
                <a:cubicBezTo>
                  <a:pt x="4871371" y="1172057"/>
                  <a:pt x="4876323" y="1138475"/>
                  <a:pt x="4860893" y="1092050"/>
                </a:cubicBezTo>
                <a:close/>
                <a:moveTo>
                  <a:pt x="1721739" y="214433"/>
                </a:moveTo>
                <a:lnTo>
                  <a:pt x="1754982" y="214433"/>
                </a:lnTo>
                <a:lnTo>
                  <a:pt x="1754982" y="449605"/>
                </a:lnTo>
                <a:lnTo>
                  <a:pt x="1678782" y="449605"/>
                </a:lnTo>
                <a:cubicBezTo>
                  <a:pt x="1614583" y="449605"/>
                  <a:pt x="1566958" y="465046"/>
                  <a:pt x="1535907" y="495936"/>
                </a:cubicBezTo>
                <a:cubicBezTo>
                  <a:pt x="1504855" y="526826"/>
                  <a:pt x="1489396" y="575402"/>
                  <a:pt x="1489520" y="641682"/>
                </a:cubicBezTo>
                <a:lnTo>
                  <a:pt x="1489520" y="1095379"/>
                </a:lnTo>
                <a:lnTo>
                  <a:pt x="1257205" y="1095379"/>
                </a:lnTo>
                <a:lnTo>
                  <a:pt x="1257205" y="668225"/>
                </a:lnTo>
                <a:cubicBezTo>
                  <a:pt x="1257205" y="582033"/>
                  <a:pt x="1269902" y="509702"/>
                  <a:pt x="1295305" y="451223"/>
                </a:cubicBezTo>
                <a:cubicBezTo>
                  <a:pt x="1318051" y="396397"/>
                  <a:pt x="1354046" y="348049"/>
                  <a:pt x="1400080" y="310519"/>
                </a:cubicBezTo>
                <a:cubicBezTo>
                  <a:pt x="1443829" y="276527"/>
                  <a:pt x="1494016" y="251735"/>
                  <a:pt x="1547622" y="237646"/>
                </a:cubicBezTo>
                <a:cubicBezTo>
                  <a:pt x="1604354" y="222148"/>
                  <a:pt x="1662923" y="214347"/>
                  <a:pt x="1721739" y="214433"/>
                </a:cubicBezTo>
                <a:close/>
                <a:moveTo>
                  <a:pt x="5716715" y="194645"/>
                </a:moveTo>
                <a:cubicBezTo>
                  <a:pt x="5831586" y="194645"/>
                  <a:pt x="5923312" y="220017"/>
                  <a:pt x="5991892" y="270753"/>
                </a:cubicBezTo>
                <a:cubicBezTo>
                  <a:pt x="6055995" y="326054"/>
                  <a:pt x="6090285" y="397824"/>
                  <a:pt x="6094762" y="486042"/>
                </a:cubicBezTo>
                <a:lnTo>
                  <a:pt x="5951887" y="486042"/>
                </a:lnTo>
                <a:cubicBezTo>
                  <a:pt x="5911691" y="487127"/>
                  <a:pt x="5874353" y="465284"/>
                  <a:pt x="5855684" y="429722"/>
                </a:cubicBezTo>
                <a:lnTo>
                  <a:pt x="5829205" y="403275"/>
                </a:lnTo>
                <a:cubicBezTo>
                  <a:pt x="5802630" y="383420"/>
                  <a:pt x="5766149" y="373469"/>
                  <a:pt x="5719762" y="373403"/>
                </a:cubicBezTo>
                <a:cubicBezTo>
                  <a:pt x="5675280" y="373403"/>
                  <a:pt x="5642134" y="380034"/>
                  <a:pt x="5620322" y="393286"/>
                </a:cubicBezTo>
                <a:cubicBezTo>
                  <a:pt x="5600414" y="406386"/>
                  <a:pt x="5588984" y="429142"/>
                  <a:pt x="5590413" y="452935"/>
                </a:cubicBezTo>
                <a:cubicBezTo>
                  <a:pt x="5590413" y="488259"/>
                  <a:pt x="5647848" y="518074"/>
                  <a:pt x="5762816" y="542362"/>
                </a:cubicBezTo>
                <a:cubicBezTo>
                  <a:pt x="5774245" y="546148"/>
                  <a:pt x="5785867" y="549325"/>
                  <a:pt x="5797678" y="551875"/>
                </a:cubicBezTo>
                <a:cubicBezTo>
                  <a:pt x="5807012" y="554073"/>
                  <a:pt x="5816632" y="555195"/>
                  <a:pt x="5826253" y="555205"/>
                </a:cubicBezTo>
                <a:cubicBezTo>
                  <a:pt x="5938933" y="583935"/>
                  <a:pt x="6017323" y="617042"/>
                  <a:pt x="6061615" y="654525"/>
                </a:cubicBezTo>
                <a:cubicBezTo>
                  <a:pt x="6103620" y="694292"/>
                  <a:pt x="6124575" y="747282"/>
                  <a:pt x="6124670" y="813495"/>
                </a:cubicBezTo>
                <a:cubicBezTo>
                  <a:pt x="6124670" y="910723"/>
                  <a:pt x="6089333" y="985784"/>
                  <a:pt x="6018562" y="1038679"/>
                </a:cubicBezTo>
                <a:cubicBezTo>
                  <a:pt x="5952268" y="1087321"/>
                  <a:pt x="5852826" y="1111619"/>
                  <a:pt x="5720144" y="1111552"/>
                </a:cubicBezTo>
                <a:cubicBezTo>
                  <a:pt x="5594128" y="1111552"/>
                  <a:pt x="5500117" y="1086180"/>
                  <a:pt x="5438298" y="1035444"/>
                </a:cubicBezTo>
                <a:cubicBezTo>
                  <a:pt x="5374195" y="984709"/>
                  <a:pt x="5342096" y="910723"/>
                  <a:pt x="5342096" y="813495"/>
                </a:cubicBezTo>
                <a:lnTo>
                  <a:pt x="5342287" y="803982"/>
                </a:lnTo>
                <a:lnTo>
                  <a:pt x="5567839" y="803982"/>
                </a:lnTo>
                <a:cubicBezTo>
                  <a:pt x="5569934" y="848124"/>
                  <a:pt x="5586889" y="881326"/>
                  <a:pt x="5617559" y="903302"/>
                </a:cubicBezTo>
                <a:cubicBezTo>
                  <a:pt x="5650706" y="925469"/>
                  <a:pt x="5694902" y="936409"/>
                  <a:pt x="5750148" y="936409"/>
                </a:cubicBezTo>
                <a:cubicBezTo>
                  <a:pt x="5785771" y="937379"/>
                  <a:pt x="5821109" y="929398"/>
                  <a:pt x="5852922" y="913196"/>
                </a:cubicBezTo>
                <a:cubicBezTo>
                  <a:pt x="5879497" y="897784"/>
                  <a:pt x="5892737" y="876826"/>
                  <a:pt x="5892737" y="850312"/>
                </a:cubicBezTo>
                <a:cubicBezTo>
                  <a:pt x="5892737" y="810546"/>
                  <a:pt x="5846350" y="780740"/>
                  <a:pt x="5753481" y="760886"/>
                </a:cubicBezTo>
                <a:cubicBezTo>
                  <a:pt x="5723191" y="756472"/>
                  <a:pt x="5693283" y="749831"/>
                  <a:pt x="5663946" y="741003"/>
                </a:cubicBezTo>
                <a:cubicBezTo>
                  <a:pt x="5546788" y="712396"/>
                  <a:pt x="5468302" y="678185"/>
                  <a:pt x="5428584" y="638352"/>
                </a:cubicBezTo>
                <a:cubicBezTo>
                  <a:pt x="5384102" y="598710"/>
                  <a:pt x="5361909" y="545720"/>
                  <a:pt x="5361909" y="479383"/>
                </a:cubicBezTo>
                <a:cubicBezTo>
                  <a:pt x="5360384" y="398813"/>
                  <a:pt x="5395817" y="321964"/>
                  <a:pt x="5458111" y="270753"/>
                </a:cubicBezTo>
                <a:cubicBezTo>
                  <a:pt x="5524405" y="220017"/>
                  <a:pt x="5610606" y="194645"/>
                  <a:pt x="5716715" y="194645"/>
                </a:cubicBezTo>
                <a:close/>
                <a:moveTo>
                  <a:pt x="4192239" y="194645"/>
                </a:moveTo>
                <a:cubicBezTo>
                  <a:pt x="4307110" y="194645"/>
                  <a:pt x="4398836" y="220017"/>
                  <a:pt x="4467416" y="270753"/>
                </a:cubicBezTo>
                <a:cubicBezTo>
                  <a:pt x="4531519" y="326054"/>
                  <a:pt x="4565809" y="397824"/>
                  <a:pt x="4570190" y="486042"/>
                </a:cubicBezTo>
                <a:lnTo>
                  <a:pt x="4427315" y="486042"/>
                </a:lnTo>
                <a:cubicBezTo>
                  <a:pt x="4387244" y="487098"/>
                  <a:pt x="4350087" y="465236"/>
                  <a:pt x="4331589" y="429722"/>
                </a:cubicBezTo>
                <a:lnTo>
                  <a:pt x="4305015" y="403275"/>
                </a:lnTo>
                <a:cubicBezTo>
                  <a:pt x="4278535" y="383420"/>
                  <a:pt x="4242083" y="373469"/>
                  <a:pt x="4195667" y="373403"/>
                </a:cubicBezTo>
                <a:cubicBezTo>
                  <a:pt x="4151214" y="373403"/>
                  <a:pt x="4118039" y="380034"/>
                  <a:pt x="4096132" y="393286"/>
                </a:cubicBezTo>
                <a:cubicBezTo>
                  <a:pt x="4076224" y="406415"/>
                  <a:pt x="4064861" y="429161"/>
                  <a:pt x="4066318" y="452935"/>
                </a:cubicBezTo>
                <a:cubicBezTo>
                  <a:pt x="4066318" y="488259"/>
                  <a:pt x="4123782" y="518074"/>
                  <a:pt x="4238721" y="542362"/>
                </a:cubicBezTo>
                <a:cubicBezTo>
                  <a:pt x="4250160" y="546167"/>
                  <a:pt x="4261799" y="549335"/>
                  <a:pt x="4273582" y="551875"/>
                </a:cubicBezTo>
                <a:cubicBezTo>
                  <a:pt x="4282793" y="554044"/>
                  <a:pt x="4292223" y="555157"/>
                  <a:pt x="4301681" y="555205"/>
                </a:cubicBezTo>
                <a:cubicBezTo>
                  <a:pt x="4414457" y="583935"/>
                  <a:pt x="4492943" y="617042"/>
                  <a:pt x="4537139" y="654525"/>
                </a:cubicBezTo>
                <a:cubicBezTo>
                  <a:pt x="4579144" y="694292"/>
                  <a:pt x="4600099" y="747282"/>
                  <a:pt x="4600099" y="813495"/>
                </a:cubicBezTo>
                <a:cubicBezTo>
                  <a:pt x="4600099" y="910723"/>
                  <a:pt x="4564761" y="985784"/>
                  <a:pt x="4494086" y="1038679"/>
                </a:cubicBezTo>
                <a:cubicBezTo>
                  <a:pt x="4427668" y="1087321"/>
                  <a:pt x="4328189" y="1111619"/>
                  <a:pt x="4195667" y="1111552"/>
                </a:cubicBezTo>
                <a:cubicBezTo>
                  <a:pt x="4069623" y="1111552"/>
                  <a:pt x="3975669" y="1086180"/>
                  <a:pt x="3913823" y="1035444"/>
                </a:cubicBezTo>
                <a:cubicBezTo>
                  <a:pt x="3849625" y="984709"/>
                  <a:pt x="3817554" y="910723"/>
                  <a:pt x="3817620" y="813495"/>
                </a:cubicBezTo>
                <a:lnTo>
                  <a:pt x="3817906" y="803982"/>
                </a:lnTo>
                <a:lnTo>
                  <a:pt x="4043363" y="803982"/>
                </a:lnTo>
                <a:cubicBezTo>
                  <a:pt x="4045553" y="848124"/>
                  <a:pt x="4062413" y="881326"/>
                  <a:pt x="4093084" y="903302"/>
                </a:cubicBezTo>
                <a:cubicBezTo>
                  <a:pt x="4126326" y="925469"/>
                  <a:pt x="4170522" y="936409"/>
                  <a:pt x="4225767" y="936409"/>
                </a:cubicBezTo>
                <a:cubicBezTo>
                  <a:pt x="4261428" y="937379"/>
                  <a:pt x="4296766" y="929398"/>
                  <a:pt x="4328541" y="913196"/>
                </a:cubicBezTo>
                <a:cubicBezTo>
                  <a:pt x="4355021" y="897784"/>
                  <a:pt x="4368356" y="876855"/>
                  <a:pt x="4368356" y="850312"/>
                </a:cubicBezTo>
                <a:cubicBezTo>
                  <a:pt x="4368356" y="810546"/>
                  <a:pt x="4321940" y="780740"/>
                  <a:pt x="4229100" y="760886"/>
                </a:cubicBezTo>
                <a:cubicBezTo>
                  <a:pt x="4198802" y="756472"/>
                  <a:pt x="4168874" y="749831"/>
                  <a:pt x="4139566" y="741003"/>
                </a:cubicBezTo>
                <a:cubicBezTo>
                  <a:pt x="4022284" y="712396"/>
                  <a:pt x="3943798" y="678185"/>
                  <a:pt x="3904107" y="638352"/>
                </a:cubicBezTo>
                <a:cubicBezTo>
                  <a:pt x="3859654" y="598710"/>
                  <a:pt x="3837432" y="545720"/>
                  <a:pt x="3837432" y="479383"/>
                </a:cubicBezTo>
                <a:cubicBezTo>
                  <a:pt x="3835918" y="398832"/>
                  <a:pt x="3871313" y="322011"/>
                  <a:pt x="3933540" y="270753"/>
                </a:cubicBezTo>
                <a:cubicBezTo>
                  <a:pt x="3999957" y="220017"/>
                  <a:pt x="4086197" y="194645"/>
                  <a:pt x="4192239" y="194645"/>
                </a:cubicBezTo>
                <a:close/>
                <a:moveTo>
                  <a:pt x="3386901" y="194645"/>
                </a:moveTo>
                <a:cubicBezTo>
                  <a:pt x="3519488" y="194645"/>
                  <a:pt x="3622264" y="234383"/>
                  <a:pt x="3695225" y="313849"/>
                </a:cubicBezTo>
                <a:cubicBezTo>
                  <a:pt x="3765967" y="395541"/>
                  <a:pt x="3801333" y="509226"/>
                  <a:pt x="3801333" y="654906"/>
                </a:cubicBezTo>
                <a:lnTo>
                  <a:pt x="3801333" y="691342"/>
                </a:lnTo>
                <a:cubicBezTo>
                  <a:pt x="3801838" y="699229"/>
                  <a:pt x="3800704" y="707135"/>
                  <a:pt x="3797999" y="714555"/>
                </a:cubicBezTo>
                <a:lnTo>
                  <a:pt x="3224404" y="714555"/>
                </a:lnTo>
                <a:cubicBezTo>
                  <a:pt x="3226623" y="783052"/>
                  <a:pt x="3243197" y="833787"/>
                  <a:pt x="3274124" y="866771"/>
                </a:cubicBezTo>
                <a:cubicBezTo>
                  <a:pt x="3302766" y="902161"/>
                  <a:pt x="3345876" y="919827"/>
                  <a:pt x="3403474" y="919761"/>
                </a:cubicBezTo>
                <a:cubicBezTo>
                  <a:pt x="3437002" y="920750"/>
                  <a:pt x="3470187" y="912768"/>
                  <a:pt x="3499581" y="896643"/>
                </a:cubicBezTo>
                <a:cubicBezTo>
                  <a:pt x="3506515" y="894274"/>
                  <a:pt x="3512783" y="890297"/>
                  <a:pt x="3517869" y="885036"/>
                </a:cubicBezTo>
                <a:lnTo>
                  <a:pt x="3536062" y="866771"/>
                </a:lnTo>
                <a:cubicBezTo>
                  <a:pt x="3541967" y="855992"/>
                  <a:pt x="3550521" y="846887"/>
                  <a:pt x="3560923" y="840323"/>
                </a:cubicBezTo>
                <a:cubicBezTo>
                  <a:pt x="3579000" y="828250"/>
                  <a:pt x="3600565" y="822466"/>
                  <a:pt x="3622264" y="823865"/>
                </a:cubicBezTo>
                <a:lnTo>
                  <a:pt x="3788094" y="823865"/>
                </a:lnTo>
                <a:cubicBezTo>
                  <a:pt x="3763710" y="916526"/>
                  <a:pt x="3717294" y="987182"/>
                  <a:pt x="3648838" y="1035825"/>
                </a:cubicBezTo>
                <a:cubicBezTo>
                  <a:pt x="3580258" y="1086560"/>
                  <a:pt x="3494028" y="1111932"/>
                  <a:pt x="3390139" y="1111932"/>
                </a:cubicBezTo>
                <a:cubicBezTo>
                  <a:pt x="3264219" y="1111932"/>
                  <a:pt x="3165797" y="1071091"/>
                  <a:pt x="3094864" y="989399"/>
                </a:cubicBezTo>
                <a:cubicBezTo>
                  <a:pt x="3024188" y="909933"/>
                  <a:pt x="2988851" y="796247"/>
                  <a:pt x="2988851" y="648342"/>
                </a:cubicBezTo>
                <a:cubicBezTo>
                  <a:pt x="2988851" y="507095"/>
                  <a:pt x="3023112" y="396711"/>
                  <a:pt x="3091626" y="317178"/>
                </a:cubicBezTo>
                <a:cubicBezTo>
                  <a:pt x="3162301" y="235486"/>
                  <a:pt x="3260723" y="194645"/>
                  <a:pt x="3386901" y="194645"/>
                </a:cubicBezTo>
                <a:close/>
                <a:moveTo>
                  <a:pt x="2146078" y="194645"/>
                </a:moveTo>
                <a:cubicBezTo>
                  <a:pt x="2269903" y="194645"/>
                  <a:pt x="2362772" y="215603"/>
                  <a:pt x="2424684" y="257529"/>
                </a:cubicBezTo>
                <a:cubicBezTo>
                  <a:pt x="2488816" y="301928"/>
                  <a:pt x="2520858" y="363728"/>
                  <a:pt x="2520792" y="442946"/>
                </a:cubicBezTo>
                <a:lnTo>
                  <a:pt x="2520792" y="744332"/>
                </a:lnTo>
                <a:cubicBezTo>
                  <a:pt x="2520792" y="832684"/>
                  <a:pt x="2504914" y="901685"/>
                  <a:pt x="2473167" y="951345"/>
                </a:cubicBezTo>
                <a:cubicBezTo>
                  <a:pt x="2445477" y="997067"/>
                  <a:pt x="2405777" y="1034341"/>
                  <a:pt x="2358391" y="1059133"/>
                </a:cubicBezTo>
                <a:cubicBezTo>
                  <a:pt x="2312508" y="1083297"/>
                  <a:pt x="2262435" y="1098471"/>
                  <a:pt x="2210848" y="1103846"/>
                </a:cubicBezTo>
                <a:cubicBezTo>
                  <a:pt x="2165176" y="1109002"/>
                  <a:pt x="2119265" y="1111761"/>
                  <a:pt x="2073307" y="1112123"/>
                </a:cubicBezTo>
                <a:cubicBezTo>
                  <a:pt x="1998574" y="1113559"/>
                  <a:pt x="1925374" y="1090831"/>
                  <a:pt x="1864614" y="1047336"/>
                </a:cubicBezTo>
                <a:cubicBezTo>
                  <a:pt x="1804921" y="1004335"/>
                  <a:pt x="1775079" y="933146"/>
                  <a:pt x="1775079" y="833759"/>
                </a:cubicBezTo>
                <a:cubicBezTo>
                  <a:pt x="1775079" y="741031"/>
                  <a:pt x="1802159" y="674789"/>
                  <a:pt x="1856328" y="635023"/>
                </a:cubicBezTo>
                <a:cubicBezTo>
                  <a:pt x="1910496" y="595256"/>
                  <a:pt x="1979553" y="568781"/>
                  <a:pt x="2063496" y="555586"/>
                </a:cubicBezTo>
                <a:cubicBezTo>
                  <a:pt x="2076908" y="555319"/>
                  <a:pt x="2090242" y="553664"/>
                  <a:pt x="2103311" y="550638"/>
                </a:cubicBezTo>
                <a:cubicBezTo>
                  <a:pt x="2120846" y="546976"/>
                  <a:pt x="2138553" y="544217"/>
                  <a:pt x="2156365" y="542362"/>
                </a:cubicBezTo>
                <a:cubicBezTo>
                  <a:pt x="2253644" y="529167"/>
                  <a:pt x="2302288" y="500474"/>
                  <a:pt x="2302288" y="456265"/>
                </a:cubicBezTo>
                <a:cubicBezTo>
                  <a:pt x="2302288" y="423158"/>
                  <a:pt x="2285143" y="401629"/>
                  <a:pt x="2250853" y="391669"/>
                </a:cubicBezTo>
                <a:cubicBezTo>
                  <a:pt x="2220220" y="382260"/>
                  <a:pt x="2188407" y="377237"/>
                  <a:pt x="2156365" y="376732"/>
                </a:cubicBezTo>
                <a:cubicBezTo>
                  <a:pt x="2128181" y="376314"/>
                  <a:pt x="2100149" y="380785"/>
                  <a:pt x="2073497" y="389956"/>
                </a:cubicBezTo>
                <a:cubicBezTo>
                  <a:pt x="2049618" y="398395"/>
                  <a:pt x="2030378" y="416442"/>
                  <a:pt x="2020443" y="439712"/>
                </a:cubicBezTo>
                <a:lnTo>
                  <a:pt x="1797939" y="439712"/>
                </a:lnTo>
                <a:cubicBezTo>
                  <a:pt x="1805626" y="373441"/>
                  <a:pt x="1838954" y="312802"/>
                  <a:pt x="1890808" y="270753"/>
                </a:cubicBezTo>
                <a:cubicBezTo>
                  <a:pt x="1950501" y="220017"/>
                  <a:pt x="2035588" y="194645"/>
                  <a:pt x="2146078" y="194645"/>
                </a:cubicBezTo>
                <a:close/>
                <a:moveTo>
                  <a:pt x="374523" y="194645"/>
                </a:moveTo>
                <a:cubicBezTo>
                  <a:pt x="489462" y="194645"/>
                  <a:pt x="581216" y="220017"/>
                  <a:pt x="649796" y="270753"/>
                </a:cubicBezTo>
                <a:cubicBezTo>
                  <a:pt x="713927" y="326054"/>
                  <a:pt x="748189" y="397824"/>
                  <a:pt x="752570" y="486042"/>
                </a:cubicBezTo>
                <a:lnTo>
                  <a:pt x="609695" y="486042"/>
                </a:lnTo>
                <a:cubicBezTo>
                  <a:pt x="569500" y="487127"/>
                  <a:pt x="532181" y="465284"/>
                  <a:pt x="513493" y="429722"/>
                </a:cubicBezTo>
                <a:cubicBezTo>
                  <a:pt x="504634" y="420970"/>
                  <a:pt x="495776" y="412122"/>
                  <a:pt x="487013" y="403275"/>
                </a:cubicBezTo>
                <a:cubicBezTo>
                  <a:pt x="460534" y="383420"/>
                  <a:pt x="424053" y="373469"/>
                  <a:pt x="377571" y="373403"/>
                </a:cubicBezTo>
                <a:cubicBezTo>
                  <a:pt x="333118" y="373403"/>
                  <a:pt x="299971" y="380034"/>
                  <a:pt x="278130" y="393286"/>
                </a:cubicBezTo>
                <a:cubicBezTo>
                  <a:pt x="258223" y="406415"/>
                  <a:pt x="246859" y="429161"/>
                  <a:pt x="248317" y="452935"/>
                </a:cubicBezTo>
                <a:cubicBezTo>
                  <a:pt x="248317" y="488259"/>
                  <a:pt x="305781" y="518074"/>
                  <a:pt x="420719" y="542362"/>
                </a:cubicBezTo>
                <a:cubicBezTo>
                  <a:pt x="432130" y="546148"/>
                  <a:pt x="443732" y="549325"/>
                  <a:pt x="455486" y="551875"/>
                </a:cubicBezTo>
                <a:cubicBezTo>
                  <a:pt x="464849" y="554073"/>
                  <a:pt x="474440" y="555186"/>
                  <a:pt x="484061" y="555205"/>
                </a:cubicBezTo>
                <a:cubicBezTo>
                  <a:pt x="596837" y="583935"/>
                  <a:pt x="675323" y="617042"/>
                  <a:pt x="719519" y="654525"/>
                </a:cubicBezTo>
                <a:cubicBezTo>
                  <a:pt x="761429" y="694292"/>
                  <a:pt x="782412" y="747282"/>
                  <a:pt x="782479" y="813495"/>
                </a:cubicBezTo>
                <a:cubicBezTo>
                  <a:pt x="782479" y="910723"/>
                  <a:pt x="747113" y="985784"/>
                  <a:pt x="676370" y="1038679"/>
                </a:cubicBezTo>
                <a:cubicBezTo>
                  <a:pt x="610076" y="1087321"/>
                  <a:pt x="510607" y="1111619"/>
                  <a:pt x="377952" y="1111552"/>
                </a:cubicBezTo>
                <a:cubicBezTo>
                  <a:pt x="251908" y="1111552"/>
                  <a:pt x="157953" y="1086180"/>
                  <a:pt x="96108" y="1035444"/>
                </a:cubicBezTo>
                <a:cubicBezTo>
                  <a:pt x="31975" y="984709"/>
                  <a:pt x="-67" y="910723"/>
                  <a:pt x="0" y="813495"/>
                </a:cubicBezTo>
                <a:lnTo>
                  <a:pt x="286" y="803982"/>
                </a:lnTo>
                <a:lnTo>
                  <a:pt x="225743" y="803982"/>
                </a:lnTo>
                <a:cubicBezTo>
                  <a:pt x="227933" y="848124"/>
                  <a:pt x="244793" y="881326"/>
                  <a:pt x="275463" y="903302"/>
                </a:cubicBezTo>
                <a:cubicBezTo>
                  <a:pt x="308610" y="925469"/>
                  <a:pt x="352806" y="936409"/>
                  <a:pt x="408051" y="936409"/>
                </a:cubicBezTo>
                <a:cubicBezTo>
                  <a:pt x="443742" y="937379"/>
                  <a:pt x="479108" y="929398"/>
                  <a:pt x="510921" y="913196"/>
                </a:cubicBezTo>
                <a:cubicBezTo>
                  <a:pt x="537400" y="897784"/>
                  <a:pt x="550640" y="876826"/>
                  <a:pt x="550640" y="850312"/>
                </a:cubicBezTo>
                <a:cubicBezTo>
                  <a:pt x="550640" y="810546"/>
                  <a:pt x="504225" y="780740"/>
                  <a:pt x="411385" y="760886"/>
                </a:cubicBezTo>
                <a:cubicBezTo>
                  <a:pt x="381095" y="756462"/>
                  <a:pt x="351168" y="749822"/>
                  <a:pt x="321850" y="741003"/>
                </a:cubicBezTo>
                <a:cubicBezTo>
                  <a:pt x="204692" y="712396"/>
                  <a:pt x="126235" y="678185"/>
                  <a:pt x="86487" y="638352"/>
                </a:cubicBezTo>
                <a:cubicBezTo>
                  <a:pt x="42034" y="598710"/>
                  <a:pt x="19812" y="545720"/>
                  <a:pt x="19812" y="479383"/>
                </a:cubicBezTo>
                <a:cubicBezTo>
                  <a:pt x="18298" y="398832"/>
                  <a:pt x="53693" y="322011"/>
                  <a:pt x="115919" y="270753"/>
                </a:cubicBezTo>
                <a:cubicBezTo>
                  <a:pt x="182213" y="220017"/>
                  <a:pt x="268415" y="194645"/>
                  <a:pt x="374523" y="194645"/>
                </a:cubicBezTo>
                <a:close/>
                <a:moveTo>
                  <a:pt x="2575750" y="0"/>
                </a:moveTo>
                <a:lnTo>
                  <a:pt x="2799779" y="0"/>
                </a:lnTo>
                <a:lnTo>
                  <a:pt x="2799779" y="221949"/>
                </a:lnTo>
                <a:lnTo>
                  <a:pt x="2958084" y="221949"/>
                </a:lnTo>
                <a:lnTo>
                  <a:pt x="2958084" y="420399"/>
                </a:lnTo>
                <a:lnTo>
                  <a:pt x="2800159" y="420399"/>
                </a:lnTo>
                <a:lnTo>
                  <a:pt x="2800159" y="728921"/>
                </a:lnTo>
                <a:cubicBezTo>
                  <a:pt x="2800159" y="789997"/>
                  <a:pt x="2814038" y="832969"/>
                  <a:pt x="2841784" y="857828"/>
                </a:cubicBezTo>
                <a:cubicBezTo>
                  <a:pt x="2869530" y="882687"/>
                  <a:pt x="2911697" y="893408"/>
                  <a:pt x="2968276" y="889984"/>
                </a:cubicBezTo>
                <a:lnTo>
                  <a:pt x="2968276" y="1093667"/>
                </a:lnTo>
                <a:cubicBezTo>
                  <a:pt x="2911317" y="1101116"/>
                  <a:pt x="2853443" y="1097111"/>
                  <a:pt x="2798064" y="1081870"/>
                </a:cubicBezTo>
                <a:cubicBezTo>
                  <a:pt x="2752011" y="1068675"/>
                  <a:pt x="2710006" y="1044178"/>
                  <a:pt x="2675858" y="1010614"/>
                </a:cubicBezTo>
                <a:cubicBezTo>
                  <a:pt x="2642092" y="976385"/>
                  <a:pt x="2616556" y="934944"/>
                  <a:pt x="2601183" y="889413"/>
                </a:cubicBezTo>
                <a:cubicBezTo>
                  <a:pt x="2583590" y="837336"/>
                  <a:pt x="2574998" y="782643"/>
                  <a:pt x="2575750" y="727684"/>
                </a:cubicBezTo>
                <a:close/>
                <a:moveTo>
                  <a:pt x="824770" y="0"/>
                </a:moveTo>
                <a:lnTo>
                  <a:pt x="1048893" y="0"/>
                </a:lnTo>
                <a:lnTo>
                  <a:pt x="1048893" y="221949"/>
                </a:lnTo>
                <a:lnTo>
                  <a:pt x="1206723" y="221949"/>
                </a:lnTo>
                <a:lnTo>
                  <a:pt x="1206723" y="420399"/>
                </a:lnTo>
                <a:lnTo>
                  <a:pt x="1048417" y="420399"/>
                </a:lnTo>
                <a:lnTo>
                  <a:pt x="1048417" y="728921"/>
                </a:lnTo>
                <a:cubicBezTo>
                  <a:pt x="1048417" y="789997"/>
                  <a:pt x="1062257" y="832969"/>
                  <a:pt x="1089946" y="857828"/>
                </a:cubicBezTo>
                <a:cubicBezTo>
                  <a:pt x="1117636" y="882687"/>
                  <a:pt x="1159955" y="893475"/>
                  <a:pt x="1216915" y="890174"/>
                </a:cubicBezTo>
                <a:lnTo>
                  <a:pt x="1216915" y="1093667"/>
                </a:lnTo>
                <a:cubicBezTo>
                  <a:pt x="1160117" y="1101068"/>
                  <a:pt x="1102405" y="1097054"/>
                  <a:pt x="1047179" y="1081870"/>
                </a:cubicBezTo>
                <a:cubicBezTo>
                  <a:pt x="1001116" y="1068694"/>
                  <a:pt x="959101" y="1044197"/>
                  <a:pt x="924973" y="1010614"/>
                </a:cubicBezTo>
                <a:cubicBezTo>
                  <a:pt x="891207" y="976366"/>
                  <a:pt x="865642" y="934935"/>
                  <a:pt x="850202" y="889413"/>
                </a:cubicBezTo>
                <a:cubicBezTo>
                  <a:pt x="832619" y="837336"/>
                  <a:pt x="824018" y="782643"/>
                  <a:pt x="824770" y="727684"/>
                </a:cubicBezTo>
                <a:close/>
              </a:path>
            </a:pathLst>
          </a:custGeom>
          <a:solidFill>
            <a:srgbClr val="002060"/>
          </a:solidFill>
          <a:ln w="9525" cap="flat">
            <a:noFill/>
            <a:prstDash val="solid"/>
            <a:miter/>
          </a:ln>
        </p:spPr>
        <p:txBody>
          <a:bodyPr rtlCol="0" anchor="ctr"/>
          <a:lstStyle/>
          <a:p>
            <a:endParaRPr lang="es-ES"/>
          </a:p>
        </p:txBody>
      </p:sp>
      <p:grpSp>
        <p:nvGrpSpPr>
          <p:cNvPr id="62" name="Grupo 61">
            <a:extLst>
              <a:ext uri="{FF2B5EF4-FFF2-40B4-BE49-F238E27FC236}">
                <a16:creationId xmlns:a16="http://schemas.microsoft.com/office/drawing/2014/main" id="{E2554FB8-5BBC-B94F-BBE5-12D66CDB4DBE}"/>
              </a:ext>
            </a:extLst>
          </p:cNvPr>
          <p:cNvGrpSpPr/>
          <p:nvPr userDrawn="1"/>
        </p:nvGrpSpPr>
        <p:grpSpPr>
          <a:xfrm>
            <a:off x="1112652" y="2410691"/>
            <a:ext cx="3193342" cy="2036618"/>
            <a:chOff x="1545843" y="2381388"/>
            <a:chExt cx="2326959" cy="2034986"/>
          </a:xfrm>
        </p:grpSpPr>
        <p:cxnSp>
          <p:nvCxnSpPr>
            <p:cNvPr id="51" name="Conector recto 50">
              <a:extLst>
                <a:ext uri="{FF2B5EF4-FFF2-40B4-BE49-F238E27FC236}">
                  <a16:creationId xmlns:a16="http://schemas.microsoft.com/office/drawing/2014/main" id="{0FC016DF-E1BD-A147-8EA0-38BA9F33F61A}"/>
                </a:ext>
              </a:extLst>
            </p:cNvPr>
            <p:cNvCxnSpPr>
              <a:cxnSpLocks/>
            </p:cNvCxnSpPr>
            <p:nvPr userDrawn="1"/>
          </p:nvCxnSpPr>
          <p:spPr>
            <a:xfrm>
              <a:off x="1545843" y="2381388"/>
              <a:ext cx="2326959" cy="0"/>
            </a:xfrm>
            <a:prstGeom prst="line">
              <a:avLst/>
            </a:prstGeom>
            <a:ln w="15875"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58" name="Conector recto 57">
              <a:extLst>
                <a:ext uri="{FF2B5EF4-FFF2-40B4-BE49-F238E27FC236}">
                  <a16:creationId xmlns:a16="http://schemas.microsoft.com/office/drawing/2014/main" id="{32EE8BAD-D91E-3E49-A169-2BD1C9C1BA64}"/>
                </a:ext>
              </a:extLst>
            </p:cNvPr>
            <p:cNvCxnSpPr>
              <a:cxnSpLocks/>
            </p:cNvCxnSpPr>
            <p:nvPr userDrawn="1"/>
          </p:nvCxnSpPr>
          <p:spPr>
            <a:xfrm>
              <a:off x="1545843" y="4416374"/>
              <a:ext cx="2326959" cy="0"/>
            </a:xfrm>
            <a:prstGeom prst="line">
              <a:avLst/>
            </a:prstGeom>
            <a:ln w="15875"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grpSp>
      <p:sp>
        <p:nvSpPr>
          <p:cNvPr id="57" name="Marcador de posición de imagen 8">
            <a:extLst>
              <a:ext uri="{FF2B5EF4-FFF2-40B4-BE49-F238E27FC236}">
                <a16:creationId xmlns:a16="http://schemas.microsoft.com/office/drawing/2014/main" id="{CBEEE9F6-C3E6-DB4D-80E8-7E4BC3E20470}"/>
              </a:ext>
            </a:extLst>
          </p:cNvPr>
          <p:cNvSpPr>
            <a:spLocks noGrp="1"/>
          </p:cNvSpPr>
          <p:nvPr>
            <p:ph type="pic" sz="quarter" idx="11" hasCustomPrompt="1"/>
          </p:nvPr>
        </p:nvSpPr>
        <p:spPr>
          <a:xfrm>
            <a:off x="1816704" y="4582206"/>
            <a:ext cx="1785235" cy="644206"/>
          </a:xfrm>
        </p:spPr>
        <p:txBody>
          <a:bodyPr anchor="ctr">
            <a:normAutofit/>
          </a:bodyPr>
          <a:lstStyle>
            <a:lvl1pPr algn="ctr">
              <a:lnSpc>
                <a:spcPct val="100000"/>
              </a:lnSpc>
              <a:spcBef>
                <a:spcPts val="0"/>
              </a:spcBef>
              <a:defRPr sz="1400">
                <a:solidFill>
                  <a:schemeClr val="tx2"/>
                </a:solidFill>
              </a:defRPr>
            </a:lvl1pPr>
          </a:lstStyle>
          <a:p>
            <a:r>
              <a:rPr lang="en-US"/>
              <a:t>Logo </a:t>
            </a:r>
            <a:r>
              <a:rPr lang="en-US" err="1"/>
              <a:t>Cliente</a:t>
            </a:r>
            <a:endParaRPr lang="en-US"/>
          </a:p>
        </p:txBody>
      </p:sp>
      <p:sp>
        <p:nvSpPr>
          <p:cNvPr id="10" name="Marcador de título 2">
            <a:extLst>
              <a:ext uri="{FF2B5EF4-FFF2-40B4-BE49-F238E27FC236}">
                <a16:creationId xmlns:a16="http://schemas.microsoft.com/office/drawing/2014/main" id="{7972FE72-9A23-B346-A9BE-73FF35AC44E8}"/>
              </a:ext>
            </a:extLst>
          </p:cNvPr>
          <p:cNvSpPr>
            <a:spLocks noGrp="1"/>
          </p:cNvSpPr>
          <p:nvPr>
            <p:ph type="title" hasCustomPrompt="1"/>
          </p:nvPr>
        </p:nvSpPr>
        <p:spPr>
          <a:xfrm>
            <a:off x="1087714" y="2649620"/>
            <a:ext cx="3243218" cy="1558760"/>
          </a:xfrm>
          <a:prstGeom prst="rect">
            <a:avLst/>
          </a:prstGeom>
        </p:spPr>
        <p:txBody>
          <a:bodyPr vert="horz" lIns="0" tIns="45720" rIns="0" bIns="45720" rtlCol="0" anchor="ctr">
            <a:noAutofit/>
          </a:bodyPr>
          <a:lstStyle>
            <a:lvl1pPr algn="ctr">
              <a:defRPr sz="2000" b="1">
                <a:solidFill>
                  <a:schemeClr val="tx2"/>
                </a:solidFill>
                <a:latin typeface="+mj-lt"/>
              </a:defRPr>
            </a:lvl1pPr>
          </a:lstStyle>
          <a:p>
            <a:r>
              <a:rPr lang="es-ES_tradnl"/>
              <a:t>Nombre del Proyecto</a:t>
            </a:r>
            <a:endParaRPr lang="en-US"/>
          </a:p>
        </p:txBody>
      </p:sp>
    </p:spTree>
    <p:extLst>
      <p:ext uri="{BB962C8B-B14F-4D97-AF65-F5344CB8AC3E}">
        <p14:creationId xmlns:p14="http://schemas.microsoft.com/office/powerpoint/2010/main" val="1076539818"/>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196730057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emplate Propuesta 2022 - Portadilla">
    <p:spTree>
      <p:nvGrpSpPr>
        <p:cNvPr id="1" name=""/>
        <p:cNvGrpSpPr/>
        <p:nvPr/>
      </p:nvGrpSpPr>
      <p:grpSpPr>
        <a:xfrm>
          <a:off x="0" y="0"/>
          <a:ext cx="0" cy="0"/>
          <a:chOff x="0" y="0"/>
          <a:chExt cx="0" cy="0"/>
        </a:xfrm>
      </p:grpSpPr>
      <p:sp>
        <p:nvSpPr>
          <p:cNvPr id="21" name="Marcador de posición de imagen 20">
            <a:extLst>
              <a:ext uri="{FF2B5EF4-FFF2-40B4-BE49-F238E27FC236}">
                <a16:creationId xmlns:a16="http://schemas.microsoft.com/office/drawing/2014/main" id="{9299B49D-BAA2-9A43-8F61-2ABEA293E629}"/>
              </a:ext>
            </a:extLst>
          </p:cNvPr>
          <p:cNvSpPr>
            <a:spLocks noGrp="1"/>
          </p:cNvSpPr>
          <p:nvPr>
            <p:ph type="pic" sz="quarter" idx="24"/>
          </p:nvPr>
        </p:nvSpPr>
        <p:spPr>
          <a:xfrm>
            <a:off x="0" y="0"/>
            <a:ext cx="6960221" cy="6857999"/>
          </a:xfrm>
          <a:custGeom>
            <a:avLst/>
            <a:gdLst>
              <a:gd name="connsiteX0" fmla="*/ 3686436 w 6960221"/>
              <a:gd name="connsiteY0" fmla="*/ 4734732 h 6857999"/>
              <a:gd name="connsiteX1" fmla="*/ 5812120 w 6960221"/>
              <a:gd name="connsiteY1" fmla="*/ 4734732 h 6857999"/>
              <a:gd name="connsiteX2" fmla="*/ 5812120 w 6960221"/>
              <a:gd name="connsiteY2" fmla="*/ 6857999 h 6857999"/>
              <a:gd name="connsiteX3" fmla="*/ 3686436 w 6960221"/>
              <a:gd name="connsiteY3" fmla="*/ 6857999 h 6857999"/>
              <a:gd name="connsiteX4" fmla="*/ 2103991 w 6960221"/>
              <a:gd name="connsiteY4" fmla="*/ 4734732 h 6857999"/>
              <a:gd name="connsiteX5" fmla="*/ 3564297 w 6960221"/>
              <a:gd name="connsiteY5" fmla="*/ 4734732 h 6857999"/>
              <a:gd name="connsiteX6" fmla="*/ 3564297 w 6960221"/>
              <a:gd name="connsiteY6" fmla="*/ 6193377 h 6857999"/>
              <a:gd name="connsiteX7" fmla="*/ 2103991 w 6960221"/>
              <a:gd name="connsiteY7" fmla="*/ 6193377 h 6857999"/>
              <a:gd name="connsiteX8" fmla="*/ 4864535 w 6960221"/>
              <a:gd name="connsiteY8" fmla="*/ 3115595 h 6857999"/>
              <a:gd name="connsiteX9" fmla="*/ 6338807 w 6960221"/>
              <a:gd name="connsiteY9" fmla="*/ 3115595 h 6857999"/>
              <a:gd name="connsiteX10" fmla="*/ 6338807 w 6960221"/>
              <a:gd name="connsiteY10" fmla="*/ 4588190 h 6857999"/>
              <a:gd name="connsiteX11" fmla="*/ 4864535 w 6960221"/>
              <a:gd name="connsiteY11" fmla="*/ 4588190 h 6857999"/>
              <a:gd name="connsiteX12" fmla="*/ 0 w 6960221"/>
              <a:gd name="connsiteY12" fmla="*/ 3115595 h 6857999"/>
              <a:gd name="connsiteX13" fmla="*/ 1952873 w 6960221"/>
              <a:gd name="connsiteY13" fmla="*/ 3115595 h 6857999"/>
              <a:gd name="connsiteX14" fmla="*/ 1952873 w 6960221"/>
              <a:gd name="connsiteY14" fmla="*/ 5066248 h 6857999"/>
              <a:gd name="connsiteX15" fmla="*/ 0 w 6960221"/>
              <a:gd name="connsiteY15" fmla="*/ 5066248 h 6857999"/>
              <a:gd name="connsiteX16" fmla="*/ 2103990 w 6960221"/>
              <a:gd name="connsiteY16" fmla="*/ 1952787 h 6857999"/>
              <a:gd name="connsiteX17" fmla="*/ 4742395 w 6960221"/>
              <a:gd name="connsiteY17" fmla="*/ 1952787 h 6857999"/>
              <a:gd name="connsiteX18" fmla="*/ 4742395 w 6960221"/>
              <a:gd name="connsiteY18" fmla="*/ 4588191 h 6857999"/>
              <a:gd name="connsiteX19" fmla="*/ 2103990 w 6960221"/>
              <a:gd name="connsiteY19" fmla="*/ 4588191 h 6857999"/>
              <a:gd name="connsiteX20" fmla="*/ 935889 w 6960221"/>
              <a:gd name="connsiteY20" fmla="*/ 1952787 h 6857999"/>
              <a:gd name="connsiteX21" fmla="*/ 1952874 w 6960221"/>
              <a:gd name="connsiteY21" fmla="*/ 1952787 h 6857999"/>
              <a:gd name="connsiteX22" fmla="*/ 1952874 w 6960221"/>
              <a:gd name="connsiteY22" fmla="*/ 2968616 h 6857999"/>
              <a:gd name="connsiteX23" fmla="*/ 935889 w 6960221"/>
              <a:gd name="connsiteY23" fmla="*/ 2968616 h 6857999"/>
              <a:gd name="connsiteX24" fmla="*/ 4864535 w 6960221"/>
              <a:gd name="connsiteY24" fmla="*/ 875313 h 6857999"/>
              <a:gd name="connsiteX25" fmla="*/ 6960221 w 6960221"/>
              <a:gd name="connsiteY25" fmla="*/ 875313 h 6857999"/>
              <a:gd name="connsiteX26" fmla="*/ 6960221 w 6960221"/>
              <a:gd name="connsiteY26" fmla="*/ 2968616 h 6857999"/>
              <a:gd name="connsiteX27" fmla="*/ 4864535 w 6960221"/>
              <a:gd name="connsiteY27" fmla="*/ 2968616 h 6857999"/>
              <a:gd name="connsiteX28" fmla="*/ 2919271 w 6960221"/>
              <a:gd name="connsiteY28" fmla="*/ 0 h 6857999"/>
              <a:gd name="connsiteX29" fmla="*/ 4742395 w 6960221"/>
              <a:gd name="connsiteY29" fmla="*/ 0 h 6857999"/>
              <a:gd name="connsiteX30" fmla="*/ 4742395 w 6960221"/>
              <a:gd name="connsiteY30" fmla="*/ 1821052 h 6857999"/>
              <a:gd name="connsiteX31" fmla="*/ 2919271 w 6960221"/>
              <a:gd name="connsiteY31" fmla="*/ 1821052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960221" h="6857999">
                <a:moveTo>
                  <a:pt x="3686436" y="4734732"/>
                </a:moveTo>
                <a:lnTo>
                  <a:pt x="5812120" y="4734732"/>
                </a:lnTo>
                <a:lnTo>
                  <a:pt x="5812120" y="6857999"/>
                </a:lnTo>
                <a:lnTo>
                  <a:pt x="3686436" y="6857999"/>
                </a:lnTo>
                <a:close/>
                <a:moveTo>
                  <a:pt x="2103991" y="4734732"/>
                </a:moveTo>
                <a:lnTo>
                  <a:pt x="3564297" y="4734732"/>
                </a:lnTo>
                <a:lnTo>
                  <a:pt x="3564297" y="6193377"/>
                </a:lnTo>
                <a:lnTo>
                  <a:pt x="2103991" y="6193377"/>
                </a:lnTo>
                <a:close/>
                <a:moveTo>
                  <a:pt x="4864535" y="3115595"/>
                </a:moveTo>
                <a:lnTo>
                  <a:pt x="6338807" y="3115595"/>
                </a:lnTo>
                <a:lnTo>
                  <a:pt x="6338807" y="4588190"/>
                </a:lnTo>
                <a:lnTo>
                  <a:pt x="4864535" y="4588190"/>
                </a:lnTo>
                <a:close/>
                <a:moveTo>
                  <a:pt x="0" y="3115595"/>
                </a:moveTo>
                <a:lnTo>
                  <a:pt x="1952873" y="3115595"/>
                </a:lnTo>
                <a:lnTo>
                  <a:pt x="1952873" y="5066248"/>
                </a:lnTo>
                <a:lnTo>
                  <a:pt x="0" y="5066248"/>
                </a:lnTo>
                <a:close/>
                <a:moveTo>
                  <a:pt x="2103990" y="1952787"/>
                </a:moveTo>
                <a:lnTo>
                  <a:pt x="4742395" y="1952787"/>
                </a:lnTo>
                <a:lnTo>
                  <a:pt x="4742395" y="4588191"/>
                </a:lnTo>
                <a:lnTo>
                  <a:pt x="2103990" y="4588191"/>
                </a:lnTo>
                <a:close/>
                <a:moveTo>
                  <a:pt x="935889" y="1952787"/>
                </a:moveTo>
                <a:lnTo>
                  <a:pt x="1952874" y="1952787"/>
                </a:lnTo>
                <a:lnTo>
                  <a:pt x="1952874" y="2968616"/>
                </a:lnTo>
                <a:lnTo>
                  <a:pt x="935889" y="2968616"/>
                </a:lnTo>
                <a:close/>
                <a:moveTo>
                  <a:pt x="4864535" y="875313"/>
                </a:moveTo>
                <a:lnTo>
                  <a:pt x="6960221" y="875313"/>
                </a:lnTo>
                <a:lnTo>
                  <a:pt x="6960221" y="2968616"/>
                </a:lnTo>
                <a:lnTo>
                  <a:pt x="4864535" y="2968616"/>
                </a:lnTo>
                <a:close/>
                <a:moveTo>
                  <a:pt x="2919271" y="0"/>
                </a:moveTo>
                <a:lnTo>
                  <a:pt x="4742395" y="0"/>
                </a:lnTo>
                <a:lnTo>
                  <a:pt x="4742395" y="1821052"/>
                </a:lnTo>
                <a:lnTo>
                  <a:pt x="2919271" y="1821052"/>
                </a:lnTo>
                <a:close/>
              </a:path>
            </a:pathLst>
          </a:custGeom>
          <a:solidFill>
            <a:schemeClr val="bg1"/>
          </a:solidFill>
        </p:spPr>
        <p:txBody>
          <a:bodyPr wrap="square">
            <a:noAutofit/>
          </a:bodyPr>
          <a:lstStyle/>
          <a:p>
            <a:endParaRPr lang="en-US"/>
          </a:p>
        </p:txBody>
      </p:sp>
      <p:sp>
        <p:nvSpPr>
          <p:cNvPr id="22" name="Forma libre 21">
            <a:extLst>
              <a:ext uri="{FF2B5EF4-FFF2-40B4-BE49-F238E27FC236}">
                <a16:creationId xmlns:a16="http://schemas.microsoft.com/office/drawing/2014/main" id="{22DAC27B-FF40-0348-A70D-FE5729C7D44B}"/>
              </a:ext>
            </a:extLst>
          </p:cNvPr>
          <p:cNvSpPr/>
          <p:nvPr userDrawn="1"/>
        </p:nvSpPr>
        <p:spPr>
          <a:xfrm>
            <a:off x="5415190" y="368314"/>
            <a:ext cx="1065209" cy="245809"/>
          </a:xfrm>
          <a:custGeom>
            <a:avLst/>
            <a:gdLst>
              <a:gd name="connsiteX0" fmla="*/ 2305336 w 6124670"/>
              <a:gd name="connsiteY0" fmla="*/ 651766 h 1413343"/>
              <a:gd name="connsiteX1" fmla="*/ 2176082 w 6124670"/>
              <a:gd name="connsiteY1" fmla="*/ 694862 h 1413343"/>
              <a:gd name="connsiteX2" fmla="*/ 2099882 w 6124670"/>
              <a:gd name="connsiteY2" fmla="*/ 711416 h 1413343"/>
              <a:gd name="connsiteX3" fmla="*/ 2013681 w 6124670"/>
              <a:gd name="connsiteY3" fmla="*/ 754512 h 1413343"/>
              <a:gd name="connsiteX4" fmla="*/ 1990440 w 6124670"/>
              <a:gd name="connsiteY4" fmla="*/ 827385 h 1413343"/>
              <a:gd name="connsiteX5" fmla="*/ 2020348 w 6124670"/>
              <a:gd name="connsiteY5" fmla="*/ 906822 h 1413343"/>
              <a:gd name="connsiteX6" fmla="*/ 2106073 w 6124670"/>
              <a:gd name="connsiteY6" fmla="*/ 933269 h 1413343"/>
              <a:gd name="connsiteX7" fmla="*/ 2251900 w 6124670"/>
              <a:gd name="connsiteY7" fmla="*/ 880375 h 1413343"/>
              <a:gd name="connsiteX8" fmla="*/ 2304955 w 6124670"/>
              <a:gd name="connsiteY8" fmla="*/ 734629 h 1413343"/>
              <a:gd name="connsiteX9" fmla="*/ 3393473 w 6124670"/>
              <a:gd name="connsiteY9" fmla="*/ 386722 h 1413343"/>
              <a:gd name="connsiteX10" fmla="*/ 3274315 w 6124670"/>
              <a:gd name="connsiteY10" fmla="*/ 433052 h 1413343"/>
              <a:gd name="connsiteX11" fmla="*/ 3224404 w 6124670"/>
              <a:gd name="connsiteY11" fmla="*/ 565479 h 1413343"/>
              <a:gd name="connsiteX12" fmla="*/ 3562637 w 6124670"/>
              <a:gd name="connsiteY12" fmla="*/ 565479 h 1413343"/>
              <a:gd name="connsiteX13" fmla="*/ 3516155 w 6124670"/>
              <a:gd name="connsiteY13" fmla="*/ 433052 h 1413343"/>
              <a:gd name="connsiteX14" fmla="*/ 3393473 w 6124670"/>
              <a:gd name="connsiteY14" fmla="*/ 386722 h 1413343"/>
              <a:gd name="connsiteX15" fmla="*/ 4552474 w 6124670"/>
              <a:gd name="connsiteY15" fmla="*/ 214433 h 1413343"/>
              <a:gd name="connsiteX16" fmla="*/ 4807839 w 6124670"/>
              <a:gd name="connsiteY16" fmla="*/ 214433 h 1413343"/>
              <a:gd name="connsiteX17" fmla="*/ 4986910 w 6124670"/>
              <a:gd name="connsiteY17" fmla="*/ 837089 h 1413343"/>
              <a:gd name="connsiteX18" fmla="*/ 5142739 w 6124670"/>
              <a:gd name="connsiteY18" fmla="*/ 293966 h 1413343"/>
              <a:gd name="connsiteX19" fmla="*/ 5248847 w 6124670"/>
              <a:gd name="connsiteY19" fmla="*/ 214433 h 1413343"/>
              <a:gd name="connsiteX20" fmla="*/ 5407914 w 6124670"/>
              <a:gd name="connsiteY20" fmla="*/ 214433 h 1413343"/>
              <a:gd name="connsiteX21" fmla="*/ 5069681 w 6124670"/>
              <a:gd name="connsiteY21" fmla="*/ 1217912 h 1413343"/>
              <a:gd name="connsiteX22" fmla="*/ 4970146 w 6124670"/>
              <a:gd name="connsiteY22" fmla="*/ 1373552 h 1413343"/>
              <a:gd name="connsiteX23" fmla="*/ 4774597 w 6124670"/>
              <a:gd name="connsiteY23" fmla="*/ 1413318 h 1413343"/>
              <a:gd name="connsiteX24" fmla="*/ 4751737 w 6124670"/>
              <a:gd name="connsiteY24" fmla="*/ 1413318 h 1413343"/>
              <a:gd name="connsiteX25" fmla="*/ 4677918 w 6124670"/>
              <a:gd name="connsiteY25" fmla="*/ 1412558 h 1413343"/>
              <a:gd name="connsiteX26" fmla="*/ 4677918 w 6124670"/>
              <a:gd name="connsiteY26" fmla="*/ 1224572 h 1413343"/>
              <a:gd name="connsiteX27" fmla="*/ 4741164 w 6124670"/>
              <a:gd name="connsiteY27" fmla="*/ 1224572 h 1413343"/>
              <a:gd name="connsiteX28" fmla="*/ 4845939 w 6124670"/>
              <a:gd name="connsiteY28" fmla="*/ 1193082 h 1413343"/>
              <a:gd name="connsiteX29" fmla="*/ 4860893 w 6124670"/>
              <a:gd name="connsiteY29" fmla="*/ 1092050 h 1413343"/>
              <a:gd name="connsiteX30" fmla="*/ 1721739 w 6124670"/>
              <a:gd name="connsiteY30" fmla="*/ 214433 h 1413343"/>
              <a:gd name="connsiteX31" fmla="*/ 1754982 w 6124670"/>
              <a:gd name="connsiteY31" fmla="*/ 214433 h 1413343"/>
              <a:gd name="connsiteX32" fmla="*/ 1754982 w 6124670"/>
              <a:gd name="connsiteY32" fmla="*/ 449605 h 1413343"/>
              <a:gd name="connsiteX33" fmla="*/ 1678782 w 6124670"/>
              <a:gd name="connsiteY33" fmla="*/ 449605 h 1413343"/>
              <a:gd name="connsiteX34" fmla="*/ 1535907 w 6124670"/>
              <a:gd name="connsiteY34" fmla="*/ 495936 h 1413343"/>
              <a:gd name="connsiteX35" fmla="*/ 1489520 w 6124670"/>
              <a:gd name="connsiteY35" fmla="*/ 641682 h 1413343"/>
              <a:gd name="connsiteX36" fmla="*/ 1489520 w 6124670"/>
              <a:gd name="connsiteY36" fmla="*/ 1095379 h 1413343"/>
              <a:gd name="connsiteX37" fmla="*/ 1257205 w 6124670"/>
              <a:gd name="connsiteY37" fmla="*/ 1095379 h 1413343"/>
              <a:gd name="connsiteX38" fmla="*/ 1257205 w 6124670"/>
              <a:gd name="connsiteY38" fmla="*/ 668225 h 1413343"/>
              <a:gd name="connsiteX39" fmla="*/ 1295305 w 6124670"/>
              <a:gd name="connsiteY39" fmla="*/ 451223 h 1413343"/>
              <a:gd name="connsiteX40" fmla="*/ 1400080 w 6124670"/>
              <a:gd name="connsiteY40" fmla="*/ 310519 h 1413343"/>
              <a:gd name="connsiteX41" fmla="*/ 1547622 w 6124670"/>
              <a:gd name="connsiteY41" fmla="*/ 237646 h 1413343"/>
              <a:gd name="connsiteX42" fmla="*/ 1721739 w 6124670"/>
              <a:gd name="connsiteY42" fmla="*/ 214433 h 1413343"/>
              <a:gd name="connsiteX43" fmla="*/ 5716715 w 6124670"/>
              <a:gd name="connsiteY43" fmla="*/ 194645 h 1413343"/>
              <a:gd name="connsiteX44" fmla="*/ 5991892 w 6124670"/>
              <a:gd name="connsiteY44" fmla="*/ 270753 h 1413343"/>
              <a:gd name="connsiteX45" fmla="*/ 6094762 w 6124670"/>
              <a:gd name="connsiteY45" fmla="*/ 486042 h 1413343"/>
              <a:gd name="connsiteX46" fmla="*/ 5951887 w 6124670"/>
              <a:gd name="connsiteY46" fmla="*/ 486042 h 1413343"/>
              <a:gd name="connsiteX47" fmla="*/ 5855684 w 6124670"/>
              <a:gd name="connsiteY47" fmla="*/ 429722 h 1413343"/>
              <a:gd name="connsiteX48" fmla="*/ 5829205 w 6124670"/>
              <a:gd name="connsiteY48" fmla="*/ 403275 h 1413343"/>
              <a:gd name="connsiteX49" fmla="*/ 5719762 w 6124670"/>
              <a:gd name="connsiteY49" fmla="*/ 373403 h 1413343"/>
              <a:gd name="connsiteX50" fmla="*/ 5620322 w 6124670"/>
              <a:gd name="connsiteY50" fmla="*/ 393286 h 1413343"/>
              <a:gd name="connsiteX51" fmla="*/ 5590413 w 6124670"/>
              <a:gd name="connsiteY51" fmla="*/ 452935 h 1413343"/>
              <a:gd name="connsiteX52" fmla="*/ 5762816 w 6124670"/>
              <a:gd name="connsiteY52" fmla="*/ 542362 h 1413343"/>
              <a:gd name="connsiteX53" fmla="*/ 5797678 w 6124670"/>
              <a:gd name="connsiteY53" fmla="*/ 551875 h 1413343"/>
              <a:gd name="connsiteX54" fmla="*/ 5826253 w 6124670"/>
              <a:gd name="connsiteY54" fmla="*/ 555205 h 1413343"/>
              <a:gd name="connsiteX55" fmla="*/ 6061615 w 6124670"/>
              <a:gd name="connsiteY55" fmla="*/ 654525 h 1413343"/>
              <a:gd name="connsiteX56" fmla="*/ 6124670 w 6124670"/>
              <a:gd name="connsiteY56" fmla="*/ 813495 h 1413343"/>
              <a:gd name="connsiteX57" fmla="*/ 6018562 w 6124670"/>
              <a:gd name="connsiteY57" fmla="*/ 1038679 h 1413343"/>
              <a:gd name="connsiteX58" fmla="*/ 5720144 w 6124670"/>
              <a:gd name="connsiteY58" fmla="*/ 1111552 h 1413343"/>
              <a:gd name="connsiteX59" fmla="*/ 5438298 w 6124670"/>
              <a:gd name="connsiteY59" fmla="*/ 1035444 h 1413343"/>
              <a:gd name="connsiteX60" fmla="*/ 5342096 w 6124670"/>
              <a:gd name="connsiteY60" fmla="*/ 813495 h 1413343"/>
              <a:gd name="connsiteX61" fmla="*/ 5342287 w 6124670"/>
              <a:gd name="connsiteY61" fmla="*/ 803982 h 1413343"/>
              <a:gd name="connsiteX62" fmla="*/ 5567839 w 6124670"/>
              <a:gd name="connsiteY62" fmla="*/ 803982 h 1413343"/>
              <a:gd name="connsiteX63" fmla="*/ 5617559 w 6124670"/>
              <a:gd name="connsiteY63" fmla="*/ 903302 h 1413343"/>
              <a:gd name="connsiteX64" fmla="*/ 5750148 w 6124670"/>
              <a:gd name="connsiteY64" fmla="*/ 936409 h 1413343"/>
              <a:gd name="connsiteX65" fmla="*/ 5852922 w 6124670"/>
              <a:gd name="connsiteY65" fmla="*/ 913196 h 1413343"/>
              <a:gd name="connsiteX66" fmla="*/ 5892737 w 6124670"/>
              <a:gd name="connsiteY66" fmla="*/ 850312 h 1413343"/>
              <a:gd name="connsiteX67" fmla="*/ 5753481 w 6124670"/>
              <a:gd name="connsiteY67" fmla="*/ 760886 h 1413343"/>
              <a:gd name="connsiteX68" fmla="*/ 5663946 w 6124670"/>
              <a:gd name="connsiteY68" fmla="*/ 741003 h 1413343"/>
              <a:gd name="connsiteX69" fmla="*/ 5428584 w 6124670"/>
              <a:gd name="connsiteY69" fmla="*/ 638352 h 1413343"/>
              <a:gd name="connsiteX70" fmla="*/ 5361909 w 6124670"/>
              <a:gd name="connsiteY70" fmla="*/ 479383 h 1413343"/>
              <a:gd name="connsiteX71" fmla="*/ 5458111 w 6124670"/>
              <a:gd name="connsiteY71" fmla="*/ 270753 h 1413343"/>
              <a:gd name="connsiteX72" fmla="*/ 5716715 w 6124670"/>
              <a:gd name="connsiteY72" fmla="*/ 194645 h 1413343"/>
              <a:gd name="connsiteX73" fmla="*/ 4192239 w 6124670"/>
              <a:gd name="connsiteY73" fmla="*/ 194645 h 1413343"/>
              <a:gd name="connsiteX74" fmla="*/ 4467416 w 6124670"/>
              <a:gd name="connsiteY74" fmla="*/ 270753 h 1413343"/>
              <a:gd name="connsiteX75" fmla="*/ 4570190 w 6124670"/>
              <a:gd name="connsiteY75" fmla="*/ 486042 h 1413343"/>
              <a:gd name="connsiteX76" fmla="*/ 4427315 w 6124670"/>
              <a:gd name="connsiteY76" fmla="*/ 486042 h 1413343"/>
              <a:gd name="connsiteX77" fmla="*/ 4331589 w 6124670"/>
              <a:gd name="connsiteY77" fmla="*/ 429722 h 1413343"/>
              <a:gd name="connsiteX78" fmla="*/ 4305015 w 6124670"/>
              <a:gd name="connsiteY78" fmla="*/ 403275 h 1413343"/>
              <a:gd name="connsiteX79" fmla="*/ 4195667 w 6124670"/>
              <a:gd name="connsiteY79" fmla="*/ 373403 h 1413343"/>
              <a:gd name="connsiteX80" fmla="*/ 4096132 w 6124670"/>
              <a:gd name="connsiteY80" fmla="*/ 393286 h 1413343"/>
              <a:gd name="connsiteX81" fmla="*/ 4066318 w 6124670"/>
              <a:gd name="connsiteY81" fmla="*/ 452935 h 1413343"/>
              <a:gd name="connsiteX82" fmla="*/ 4238721 w 6124670"/>
              <a:gd name="connsiteY82" fmla="*/ 542362 h 1413343"/>
              <a:gd name="connsiteX83" fmla="*/ 4273582 w 6124670"/>
              <a:gd name="connsiteY83" fmla="*/ 551875 h 1413343"/>
              <a:gd name="connsiteX84" fmla="*/ 4301681 w 6124670"/>
              <a:gd name="connsiteY84" fmla="*/ 555205 h 1413343"/>
              <a:gd name="connsiteX85" fmla="*/ 4537139 w 6124670"/>
              <a:gd name="connsiteY85" fmla="*/ 654525 h 1413343"/>
              <a:gd name="connsiteX86" fmla="*/ 4600099 w 6124670"/>
              <a:gd name="connsiteY86" fmla="*/ 813495 h 1413343"/>
              <a:gd name="connsiteX87" fmla="*/ 4494086 w 6124670"/>
              <a:gd name="connsiteY87" fmla="*/ 1038679 h 1413343"/>
              <a:gd name="connsiteX88" fmla="*/ 4195667 w 6124670"/>
              <a:gd name="connsiteY88" fmla="*/ 1111552 h 1413343"/>
              <a:gd name="connsiteX89" fmla="*/ 3913823 w 6124670"/>
              <a:gd name="connsiteY89" fmla="*/ 1035444 h 1413343"/>
              <a:gd name="connsiteX90" fmla="*/ 3817620 w 6124670"/>
              <a:gd name="connsiteY90" fmla="*/ 813495 h 1413343"/>
              <a:gd name="connsiteX91" fmla="*/ 3817906 w 6124670"/>
              <a:gd name="connsiteY91" fmla="*/ 803982 h 1413343"/>
              <a:gd name="connsiteX92" fmla="*/ 4043363 w 6124670"/>
              <a:gd name="connsiteY92" fmla="*/ 803982 h 1413343"/>
              <a:gd name="connsiteX93" fmla="*/ 4093084 w 6124670"/>
              <a:gd name="connsiteY93" fmla="*/ 903302 h 1413343"/>
              <a:gd name="connsiteX94" fmla="*/ 4225767 w 6124670"/>
              <a:gd name="connsiteY94" fmla="*/ 936409 h 1413343"/>
              <a:gd name="connsiteX95" fmla="*/ 4328541 w 6124670"/>
              <a:gd name="connsiteY95" fmla="*/ 913196 h 1413343"/>
              <a:gd name="connsiteX96" fmla="*/ 4368356 w 6124670"/>
              <a:gd name="connsiteY96" fmla="*/ 850312 h 1413343"/>
              <a:gd name="connsiteX97" fmla="*/ 4229100 w 6124670"/>
              <a:gd name="connsiteY97" fmla="*/ 760886 h 1413343"/>
              <a:gd name="connsiteX98" fmla="*/ 4139566 w 6124670"/>
              <a:gd name="connsiteY98" fmla="*/ 741003 h 1413343"/>
              <a:gd name="connsiteX99" fmla="*/ 3904107 w 6124670"/>
              <a:gd name="connsiteY99" fmla="*/ 638352 h 1413343"/>
              <a:gd name="connsiteX100" fmla="*/ 3837432 w 6124670"/>
              <a:gd name="connsiteY100" fmla="*/ 479383 h 1413343"/>
              <a:gd name="connsiteX101" fmla="*/ 3933540 w 6124670"/>
              <a:gd name="connsiteY101" fmla="*/ 270753 h 1413343"/>
              <a:gd name="connsiteX102" fmla="*/ 4192239 w 6124670"/>
              <a:gd name="connsiteY102" fmla="*/ 194645 h 1413343"/>
              <a:gd name="connsiteX103" fmla="*/ 3386901 w 6124670"/>
              <a:gd name="connsiteY103" fmla="*/ 194645 h 1413343"/>
              <a:gd name="connsiteX104" fmla="*/ 3695225 w 6124670"/>
              <a:gd name="connsiteY104" fmla="*/ 313849 h 1413343"/>
              <a:gd name="connsiteX105" fmla="*/ 3801333 w 6124670"/>
              <a:gd name="connsiteY105" fmla="*/ 654906 h 1413343"/>
              <a:gd name="connsiteX106" fmla="*/ 3801333 w 6124670"/>
              <a:gd name="connsiteY106" fmla="*/ 691342 h 1413343"/>
              <a:gd name="connsiteX107" fmla="*/ 3797999 w 6124670"/>
              <a:gd name="connsiteY107" fmla="*/ 714555 h 1413343"/>
              <a:gd name="connsiteX108" fmla="*/ 3224404 w 6124670"/>
              <a:gd name="connsiteY108" fmla="*/ 714555 h 1413343"/>
              <a:gd name="connsiteX109" fmla="*/ 3274124 w 6124670"/>
              <a:gd name="connsiteY109" fmla="*/ 866771 h 1413343"/>
              <a:gd name="connsiteX110" fmla="*/ 3403474 w 6124670"/>
              <a:gd name="connsiteY110" fmla="*/ 919761 h 1413343"/>
              <a:gd name="connsiteX111" fmla="*/ 3499581 w 6124670"/>
              <a:gd name="connsiteY111" fmla="*/ 896643 h 1413343"/>
              <a:gd name="connsiteX112" fmla="*/ 3517869 w 6124670"/>
              <a:gd name="connsiteY112" fmla="*/ 885036 h 1413343"/>
              <a:gd name="connsiteX113" fmla="*/ 3536062 w 6124670"/>
              <a:gd name="connsiteY113" fmla="*/ 866771 h 1413343"/>
              <a:gd name="connsiteX114" fmla="*/ 3560923 w 6124670"/>
              <a:gd name="connsiteY114" fmla="*/ 840323 h 1413343"/>
              <a:gd name="connsiteX115" fmla="*/ 3622264 w 6124670"/>
              <a:gd name="connsiteY115" fmla="*/ 823865 h 1413343"/>
              <a:gd name="connsiteX116" fmla="*/ 3788094 w 6124670"/>
              <a:gd name="connsiteY116" fmla="*/ 823865 h 1413343"/>
              <a:gd name="connsiteX117" fmla="*/ 3648838 w 6124670"/>
              <a:gd name="connsiteY117" fmla="*/ 1035825 h 1413343"/>
              <a:gd name="connsiteX118" fmla="*/ 3390139 w 6124670"/>
              <a:gd name="connsiteY118" fmla="*/ 1111932 h 1413343"/>
              <a:gd name="connsiteX119" fmla="*/ 3094864 w 6124670"/>
              <a:gd name="connsiteY119" fmla="*/ 989399 h 1413343"/>
              <a:gd name="connsiteX120" fmla="*/ 2988851 w 6124670"/>
              <a:gd name="connsiteY120" fmla="*/ 648342 h 1413343"/>
              <a:gd name="connsiteX121" fmla="*/ 3091626 w 6124670"/>
              <a:gd name="connsiteY121" fmla="*/ 317178 h 1413343"/>
              <a:gd name="connsiteX122" fmla="*/ 3386901 w 6124670"/>
              <a:gd name="connsiteY122" fmla="*/ 194645 h 1413343"/>
              <a:gd name="connsiteX123" fmla="*/ 2146078 w 6124670"/>
              <a:gd name="connsiteY123" fmla="*/ 194645 h 1413343"/>
              <a:gd name="connsiteX124" fmla="*/ 2424684 w 6124670"/>
              <a:gd name="connsiteY124" fmla="*/ 257529 h 1413343"/>
              <a:gd name="connsiteX125" fmla="*/ 2520792 w 6124670"/>
              <a:gd name="connsiteY125" fmla="*/ 442946 h 1413343"/>
              <a:gd name="connsiteX126" fmla="*/ 2520792 w 6124670"/>
              <a:gd name="connsiteY126" fmla="*/ 744332 h 1413343"/>
              <a:gd name="connsiteX127" fmla="*/ 2473167 w 6124670"/>
              <a:gd name="connsiteY127" fmla="*/ 951345 h 1413343"/>
              <a:gd name="connsiteX128" fmla="*/ 2358391 w 6124670"/>
              <a:gd name="connsiteY128" fmla="*/ 1059133 h 1413343"/>
              <a:gd name="connsiteX129" fmla="*/ 2210848 w 6124670"/>
              <a:gd name="connsiteY129" fmla="*/ 1103846 h 1413343"/>
              <a:gd name="connsiteX130" fmla="*/ 2073307 w 6124670"/>
              <a:gd name="connsiteY130" fmla="*/ 1112123 h 1413343"/>
              <a:gd name="connsiteX131" fmla="*/ 1864614 w 6124670"/>
              <a:gd name="connsiteY131" fmla="*/ 1047336 h 1413343"/>
              <a:gd name="connsiteX132" fmla="*/ 1775079 w 6124670"/>
              <a:gd name="connsiteY132" fmla="*/ 833759 h 1413343"/>
              <a:gd name="connsiteX133" fmla="*/ 1856328 w 6124670"/>
              <a:gd name="connsiteY133" fmla="*/ 635023 h 1413343"/>
              <a:gd name="connsiteX134" fmla="*/ 2063496 w 6124670"/>
              <a:gd name="connsiteY134" fmla="*/ 555586 h 1413343"/>
              <a:gd name="connsiteX135" fmla="*/ 2103311 w 6124670"/>
              <a:gd name="connsiteY135" fmla="*/ 550638 h 1413343"/>
              <a:gd name="connsiteX136" fmla="*/ 2156365 w 6124670"/>
              <a:gd name="connsiteY136" fmla="*/ 542362 h 1413343"/>
              <a:gd name="connsiteX137" fmla="*/ 2302288 w 6124670"/>
              <a:gd name="connsiteY137" fmla="*/ 456265 h 1413343"/>
              <a:gd name="connsiteX138" fmla="*/ 2250853 w 6124670"/>
              <a:gd name="connsiteY138" fmla="*/ 391669 h 1413343"/>
              <a:gd name="connsiteX139" fmla="*/ 2156365 w 6124670"/>
              <a:gd name="connsiteY139" fmla="*/ 376732 h 1413343"/>
              <a:gd name="connsiteX140" fmla="*/ 2073497 w 6124670"/>
              <a:gd name="connsiteY140" fmla="*/ 389956 h 1413343"/>
              <a:gd name="connsiteX141" fmla="*/ 2020443 w 6124670"/>
              <a:gd name="connsiteY141" fmla="*/ 439712 h 1413343"/>
              <a:gd name="connsiteX142" fmla="*/ 1797939 w 6124670"/>
              <a:gd name="connsiteY142" fmla="*/ 439712 h 1413343"/>
              <a:gd name="connsiteX143" fmla="*/ 1890808 w 6124670"/>
              <a:gd name="connsiteY143" fmla="*/ 270753 h 1413343"/>
              <a:gd name="connsiteX144" fmla="*/ 2146078 w 6124670"/>
              <a:gd name="connsiteY144" fmla="*/ 194645 h 1413343"/>
              <a:gd name="connsiteX145" fmla="*/ 374523 w 6124670"/>
              <a:gd name="connsiteY145" fmla="*/ 194645 h 1413343"/>
              <a:gd name="connsiteX146" fmla="*/ 649796 w 6124670"/>
              <a:gd name="connsiteY146" fmla="*/ 270753 h 1413343"/>
              <a:gd name="connsiteX147" fmla="*/ 752570 w 6124670"/>
              <a:gd name="connsiteY147" fmla="*/ 486042 h 1413343"/>
              <a:gd name="connsiteX148" fmla="*/ 609695 w 6124670"/>
              <a:gd name="connsiteY148" fmla="*/ 486042 h 1413343"/>
              <a:gd name="connsiteX149" fmla="*/ 513493 w 6124670"/>
              <a:gd name="connsiteY149" fmla="*/ 429722 h 1413343"/>
              <a:gd name="connsiteX150" fmla="*/ 487013 w 6124670"/>
              <a:gd name="connsiteY150" fmla="*/ 403275 h 1413343"/>
              <a:gd name="connsiteX151" fmla="*/ 377571 w 6124670"/>
              <a:gd name="connsiteY151" fmla="*/ 373403 h 1413343"/>
              <a:gd name="connsiteX152" fmla="*/ 278130 w 6124670"/>
              <a:gd name="connsiteY152" fmla="*/ 393286 h 1413343"/>
              <a:gd name="connsiteX153" fmla="*/ 248317 w 6124670"/>
              <a:gd name="connsiteY153" fmla="*/ 452935 h 1413343"/>
              <a:gd name="connsiteX154" fmla="*/ 420719 w 6124670"/>
              <a:gd name="connsiteY154" fmla="*/ 542362 h 1413343"/>
              <a:gd name="connsiteX155" fmla="*/ 455486 w 6124670"/>
              <a:gd name="connsiteY155" fmla="*/ 551875 h 1413343"/>
              <a:gd name="connsiteX156" fmla="*/ 484061 w 6124670"/>
              <a:gd name="connsiteY156" fmla="*/ 555205 h 1413343"/>
              <a:gd name="connsiteX157" fmla="*/ 719519 w 6124670"/>
              <a:gd name="connsiteY157" fmla="*/ 654525 h 1413343"/>
              <a:gd name="connsiteX158" fmla="*/ 782479 w 6124670"/>
              <a:gd name="connsiteY158" fmla="*/ 813495 h 1413343"/>
              <a:gd name="connsiteX159" fmla="*/ 676370 w 6124670"/>
              <a:gd name="connsiteY159" fmla="*/ 1038679 h 1413343"/>
              <a:gd name="connsiteX160" fmla="*/ 377952 w 6124670"/>
              <a:gd name="connsiteY160" fmla="*/ 1111552 h 1413343"/>
              <a:gd name="connsiteX161" fmla="*/ 96108 w 6124670"/>
              <a:gd name="connsiteY161" fmla="*/ 1035444 h 1413343"/>
              <a:gd name="connsiteX162" fmla="*/ 0 w 6124670"/>
              <a:gd name="connsiteY162" fmla="*/ 813495 h 1413343"/>
              <a:gd name="connsiteX163" fmla="*/ 286 w 6124670"/>
              <a:gd name="connsiteY163" fmla="*/ 803982 h 1413343"/>
              <a:gd name="connsiteX164" fmla="*/ 225743 w 6124670"/>
              <a:gd name="connsiteY164" fmla="*/ 803982 h 1413343"/>
              <a:gd name="connsiteX165" fmla="*/ 275463 w 6124670"/>
              <a:gd name="connsiteY165" fmla="*/ 903302 h 1413343"/>
              <a:gd name="connsiteX166" fmla="*/ 408051 w 6124670"/>
              <a:gd name="connsiteY166" fmla="*/ 936409 h 1413343"/>
              <a:gd name="connsiteX167" fmla="*/ 510921 w 6124670"/>
              <a:gd name="connsiteY167" fmla="*/ 913196 h 1413343"/>
              <a:gd name="connsiteX168" fmla="*/ 550640 w 6124670"/>
              <a:gd name="connsiteY168" fmla="*/ 850312 h 1413343"/>
              <a:gd name="connsiteX169" fmla="*/ 411385 w 6124670"/>
              <a:gd name="connsiteY169" fmla="*/ 760886 h 1413343"/>
              <a:gd name="connsiteX170" fmla="*/ 321850 w 6124670"/>
              <a:gd name="connsiteY170" fmla="*/ 741003 h 1413343"/>
              <a:gd name="connsiteX171" fmla="*/ 86487 w 6124670"/>
              <a:gd name="connsiteY171" fmla="*/ 638352 h 1413343"/>
              <a:gd name="connsiteX172" fmla="*/ 19812 w 6124670"/>
              <a:gd name="connsiteY172" fmla="*/ 479383 h 1413343"/>
              <a:gd name="connsiteX173" fmla="*/ 115919 w 6124670"/>
              <a:gd name="connsiteY173" fmla="*/ 270753 h 1413343"/>
              <a:gd name="connsiteX174" fmla="*/ 374523 w 6124670"/>
              <a:gd name="connsiteY174" fmla="*/ 194645 h 1413343"/>
              <a:gd name="connsiteX175" fmla="*/ 2575750 w 6124670"/>
              <a:gd name="connsiteY175" fmla="*/ 0 h 1413343"/>
              <a:gd name="connsiteX176" fmla="*/ 2799779 w 6124670"/>
              <a:gd name="connsiteY176" fmla="*/ 0 h 1413343"/>
              <a:gd name="connsiteX177" fmla="*/ 2799779 w 6124670"/>
              <a:gd name="connsiteY177" fmla="*/ 221949 h 1413343"/>
              <a:gd name="connsiteX178" fmla="*/ 2958084 w 6124670"/>
              <a:gd name="connsiteY178" fmla="*/ 221949 h 1413343"/>
              <a:gd name="connsiteX179" fmla="*/ 2958084 w 6124670"/>
              <a:gd name="connsiteY179" fmla="*/ 420399 h 1413343"/>
              <a:gd name="connsiteX180" fmla="*/ 2800159 w 6124670"/>
              <a:gd name="connsiteY180" fmla="*/ 420399 h 1413343"/>
              <a:gd name="connsiteX181" fmla="*/ 2800159 w 6124670"/>
              <a:gd name="connsiteY181" fmla="*/ 728921 h 1413343"/>
              <a:gd name="connsiteX182" fmla="*/ 2841784 w 6124670"/>
              <a:gd name="connsiteY182" fmla="*/ 857828 h 1413343"/>
              <a:gd name="connsiteX183" fmla="*/ 2968276 w 6124670"/>
              <a:gd name="connsiteY183" fmla="*/ 889984 h 1413343"/>
              <a:gd name="connsiteX184" fmla="*/ 2968276 w 6124670"/>
              <a:gd name="connsiteY184" fmla="*/ 1093667 h 1413343"/>
              <a:gd name="connsiteX185" fmla="*/ 2798064 w 6124670"/>
              <a:gd name="connsiteY185" fmla="*/ 1081870 h 1413343"/>
              <a:gd name="connsiteX186" fmla="*/ 2675858 w 6124670"/>
              <a:gd name="connsiteY186" fmla="*/ 1010614 h 1413343"/>
              <a:gd name="connsiteX187" fmla="*/ 2601183 w 6124670"/>
              <a:gd name="connsiteY187" fmla="*/ 889413 h 1413343"/>
              <a:gd name="connsiteX188" fmla="*/ 2575750 w 6124670"/>
              <a:gd name="connsiteY188" fmla="*/ 727684 h 1413343"/>
              <a:gd name="connsiteX189" fmla="*/ 824770 w 6124670"/>
              <a:gd name="connsiteY189" fmla="*/ 0 h 1413343"/>
              <a:gd name="connsiteX190" fmla="*/ 1048893 w 6124670"/>
              <a:gd name="connsiteY190" fmla="*/ 0 h 1413343"/>
              <a:gd name="connsiteX191" fmla="*/ 1048893 w 6124670"/>
              <a:gd name="connsiteY191" fmla="*/ 221949 h 1413343"/>
              <a:gd name="connsiteX192" fmla="*/ 1206723 w 6124670"/>
              <a:gd name="connsiteY192" fmla="*/ 221949 h 1413343"/>
              <a:gd name="connsiteX193" fmla="*/ 1206723 w 6124670"/>
              <a:gd name="connsiteY193" fmla="*/ 420399 h 1413343"/>
              <a:gd name="connsiteX194" fmla="*/ 1048417 w 6124670"/>
              <a:gd name="connsiteY194" fmla="*/ 420399 h 1413343"/>
              <a:gd name="connsiteX195" fmla="*/ 1048417 w 6124670"/>
              <a:gd name="connsiteY195" fmla="*/ 728921 h 1413343"/>
              <a:gd name="connsiteX196" fmla="*/ 1089946 w 6124670"/>
              <a:gd name="connsiteY196" fmla="*/ 857828 h 1413343"/>
              <a:gd name="connsiteX197" fmla="*/ 1216915 w 6124670"/>
              <a:gd name="connsiteY197" fmla="*/ 890174 h 1413343"/>
              <a:gd name="connsiteX198" fmla="*/ 1216915 w 6124670"/>
              <a:gd name="connsiteY198" fmla="*/ 1093667 h 1413343"/>
              <a:gd name="connsiteX199" fmla="*/ 1047179 w 6124670"/>
              <a:gd name="connsiteY199" fmla="*/ 1081870 h 1413343"/>
              <a:gd name="connsiteX200" fmla="*/ 924973 w 6124670"/>
              <a:gd name="connsiteY200" fmla="*/ 1010614 h 1413343"/>
              <a:gd name="connsiteX201" fmla="*/ 850202 w 6124670"/>
              <a:gd name="connsiteY201" fmla="*/ 889413 h 1413343"/>
              <a:gd name="connsiteX202" fmla="*/ 824770 w 6124670"/>
              <a:gd name="connsiteY202" fmla="*/ 727684 h 1413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6124670" h="1413343">
                <a:moveTo>
                  <a:pt x="2305336" y="651766"/>
                </a:moveTo>
                <a:cubicBezTo>
                  <a:pt x="2263969" y="670831"/>
                  <a:pt x="2220620" y="685282"/>
                  <a:pt x="2176082" y="694862"/>
                </a:cubicBezTo>
                <a:lnTo>
                  <a:pt x="2099882" y="711416"/>
                </a:lnTo>
                <a:cubicBezTo>
                  <a:pt x="2060067" y="722547"/>
                  <a:pt x="2031397" y="736817"/>
                  <a:pt x="2013681" y="754512"/>
                </a:cubicBezTo>
                <a:cubicBezTo>
                  <a:pt x="1999060" y="776060"/>
                  <a:pt x="1990992" y="801366"/>
                  <a:pt x="1990440" y="827385"/>
                </a:cubicBezTo>
                <a:cubicBezTo>
                  <a:pt x="1989058" y="856848"/>
                  <a:pt x="1999869" y="885569"/>
                  <a:pt x="2020348" y="906822"/>
                </a:cubicBezTo>
                <a:cubicBezTo>
                  <a:pt x="2040255" y="924517"/>
                  <a:pt x="2068926" y="933269"/>
                  <a:pt x="2106073" y="933269"/>
                </a:cubicBezTo>
                <a:cubicBezTo>
                  <a:pt x="2167919" y="933269"/>
                  <a:pt x="2216535" y="915641"/>
                  <a:pt x="2251900" y="880375"/>
                </a:cubicBezTo>
                <a:cubicBezTo>
                  <a:pt x="2287267" y="845108"/>
                  <a:pt x="2304955" y="796533"/>
                  <a:pt x="2304955" y="734629"/>
                </a:cubicBezTo>
                <a:close/>
                <a:moveTo>
                  <a:pt x="3393473" y="386722"/>
                </a:moveTo>
                <a:cubicBezTo>
                  <a:pt x="3349077" y="385180"/>
                  <a:pt x="3305986" y="401934"/>
                  <a:pt x="3274315" y="433052"/>
                </a:cubicBezTo>
                <a:cubicBezTo>
                  <a:pt x="3243263" y="463999"/>
                  <a:pt x="3226623" y="508142"/>
                  <a:pt x="3224404" y="565479"/>
                </a:cubicBezTo>
                <a:lnTo>
                  <a:pt x="3562637" y="565479"/>
                </a:lnTo>
                <a:cubicBezTo>
                  <a:pt x="3558131" y="505925"/>
                  <a:pt x="3542634" y="461783"/>
                  <a:pt x="3516155" y="433052"/>
                </a:cubicBezTo>
                <a:cubicBezTo>
                  <a:pt x="3487513" y="402162"/>
                  <a:pt x="3446622" y="386722"/>
                  <a:pt x="3393473" y="386722"/>
                </a:cubicBezTo>
                <a:close/>
                <a:moveTo>
                  <a:pt x="4552474" y="214433"/>
                </a:moveTo>
                <a:lnTo>
                  <a:pt x="4807839" y="214433"/>
                </a:lnTo>
                <a:lnTo>
                  <a:pt x="4986910" y="837089"/>
                </a:lnTo>
                <a:lnTo>
                  <a:pt x="5142739" y="293966"/>
                </a:lnTo>
                <a:cubicBezTo>
                  <a:pt x="5155978" y="241004"/>
                  <a:pt x="5191411" y="214500"/>
                  <a:pt x="5248847" y="214433"/>
                </a:cubicBezTo>
                <a:lnTo>
                  <a:pt x="5407914" y="214433"/>
                </a:lnTo>
                <a:lnTo>
                  <a:pt x="5069681" y="1217912"/>
                </a:lnTo>
                <a:cubicBezTo>
                  <a:pt x="5043106" y="1290785"/>
                  <a:pt x="5009959" y="1342662"/>
                  <a:pt x="4970146" y="1373552"/>
                </a:cubicBezTo>
                <a:cubicBezTo>
                  <a:pt x="4930426" y="1400124"/>
                  <a:pt x="4865180" y="1413385"/>
                  <a:pt x="4774597" y="1413318"/>
                </a:cubicBezTo>
                <a:lnTo>
                  <a:pt x="4751737" y="1413318"/>
                </a:lnTo>
                <a:cubicBezTo>
                  <a:pt x="4742403" y="1413509"/>
                  <a:pt x="4684586" y="1412558"/>
                  <a:pt x="4677918" y="1412558"/>
                </a:cubicBezTo>
                <a:lnTo>
                  <a:pt x="4677918" y="1224572"/>
                </a:lnTo>
                <a:lnTo>
                  <a:pt x="4741164" y="1224572"/>
                </a:lnTo>
                <a:cubicBezTo>
                  <a:pt x="4785646" y="1224572"/>
                  <a:pt x="4820507" y="1214078"/>
                  <a:pt x="4845939" y="1193082"/>
                </a:cubicBezTo>
                <a:cubicBezTo>
                  <a:pt x="4871371" y="1172057"/>
                  <a:pt x="4876323" y="1138475"/>
                  <a:pt x="4860893" y="1092050"/>
                </a:cubicBezTo>
                <a:close/>
                <a:moveTo>
                  <a:pt x="1721739" y="214433"/>
                </a:moveTo>
                <a:lnTo>
                  <a:pt x="1754982" y="214433"/>
                </a:lnTo>
                <a:lnTo>
                  <a:pt x="1754982" y="449605"/>
                </a:lnTo>
                <a:lnTo>
                  <a:pt x="1678782" y="449605"/>
                </a:lnTo>
                <a:cubicBezTo>
                  <a:pt x="1614583" y="449605"/>
                  <a:pt x="1566958" y="465046"/>
                  <a:pt x="1535907" y="495936"/>
                </a:cubicBezTo>
                <a:cubicBezTo>
                  <a:pt x="1504855" y="526826"/>
                  <a:pt x="1489396" y="575402"/>
                  <a:pt x="1489520" y="641682"/>
                </a:cubicBezTo>
                <a:lnTo>
                  <a:pt x="1489520" y="1095379"/>
                </a:lnTo>
                <a:lnTo>
                  <a:pt x="1257205" y="1095379"/>
                </a:lnTo>
                <a:lnTo>
                  <a:pt x="1257205" y="668225"/>
                </a:lnTo>
                <a:cubicBezTo>
                  <a:pt x="1257205" y="582033"/>
                  <a:pt x="1269902" y="509702"/>
                  <a:pt x="1295305" y="451223"/>
                </a:cubicBezTo>
                <a:cubicBezTo>
                  <a:pt x="1318051" y="396397"/>
                  <a:pt x="1354046" y="348049"/>
                  <a:pt x="1400080" y="310519"/>
                </a:cubicBezTo>
                <a:cubicBezTo>
                  <a:pt x="1443829" y="276527"/>
                  <a:pt x="1494016" y="251735"/>
                  <a:pt x="1547622" y="237646"/>
                </a:cubicBezTo>
                <a:cubicBezTo>
                  <a:pt x="1604354" y="222148"/>
                  <a:pt x="1662923" y="214347"/>
                  <a:pt x="1721739" y="214433"/>
                </a:cubicBezTo>
                <a:close/>
                <a:moveTo>
                  <a:pt x="5716715" y="194645"/>
                </a:moveTo>
                <a:cubicBezTo>
                  <a:pt x="5831586" y="194645"/>
                  <a:pt x="5923312" y="220017"/>
                  <a:pt x="5991892" y="270753"/>
                </a:cubicBezTo>
                <a:cubicBezTo>
                  <a:pt x="6055995" y="326054"/>
                  <a:pt x="6090285" y="397824"/>
                  <a:pt x="6094762" y="486042"/>
                </a:cubicBezTo>
                <a:lnTo>
                  <a:pt x="5951887" y="486042"/>
                </a:lnTo>
                <a:cubicBezTo>
                  <a:pt x="5911691" y="487127"/>
                  <a:pt x="5874353" y="465284"/>
                  <a:pt x="5855684" y="429722"/>
                </a:cubicBezTo>
                <a:lnTo>
                  <a:pt x="5829205" y="403275"/>
                </a:lnTo>
                <a:cubicBezTo>
                  <a:pt x="5802630" y="383420"/>
                  <a:pt x="5766149" y="373469"/>
                  <a:pt x="5719762" y="373403"/>
                </a:cubicBezTo>
                <a:cubicBezTo>
                  <a:pt x="5675280" y="373403"/>
                  <a:pt x="5642134" y="380034"/>
                  <a:pt x="5620322" y="393286"/>
                </a:cubicBezTo>
                <a:cubicBezTo>
                  <a:pt x="5600414" y="406386"/>
                  <a:pt x="5588984" y="429142"/>
                  <a:pt x="5590413" y="452935"/>
                </a:cubicBezTo>
                <a:cubicBezTo>
                  <a:pt x="5590413" y="488259"/>
                  <a:pt x="5647848" y="518074"/>
                  <a:pt x="5762816" y="542362"/>
                </a:cubicBezTo>
                <a:cubicBezTo>
                  <a:pt x="5774245" y="546148"/>
                  <a:pt x="5785867" y="549325"/>
                  <a:pt x="5797678" y="551875"/>
                </a:cubicBezTo>
                <a:cubicBezTo>
                  <a:pt x="5807012" y="554073"/>
                  <a:pt x="5816632" y="555195"/>
                  <a:pt x="5826253" y="555205"/>
                </a:cubicBezTo>
                <a:cubicBezTo>
                  <a:pt x="5938933" y="583935"/>
                  <a:pt x="6017323" y="617042"/>
                  <a:pt x="6061615" y="654525"/>
                </a:cubicBezTo>
                <a:cubicBezTo>
                  <a:pt x="6103620" y="694292"/>
                  <a:pt x="6124575" y="747282"/>
                  <a:pt x="6124670" y="813495"/>
                </a:cubicBezTo>
                <a:cubicBezTo>
                  <a:pt x="6124670" y="910723"/>
                  <a:pt x="6089333" y="985784"/>
                  <a:pt x="6018562" y="1038679"/>
                </a:cubicBezTo>
                <a:cubicBezTo>
                  <a:pt x="5952268" y="1087321"/>
                  <a:pt x="5852826" y="1111619"/>
                  <a:pt x="5720144" y="1111552"/>
                </a:cubicBezTo>
                <a:cubicBezTo>
                  <a:pt x="5594128" y="1111552"/>
                  <a:pt x="5500117" y="1086180"/>
                  <a:pt x="5438298" y="1035444"/>
                </a:cubicBezTo>
                <a:cubicBezTo>
                  <a:pt x="5374195" y="984709"/>
                  <a:pt x="5342096" y="910723"/>
                  <a:pt x="5342096" y="813495"/>
                </a:cubicBezTo>
                <a:lnTo>
                  <a:pt x="5342287" y="803982"/>
                </a:lnTo>
                <a:lnTo>
                  <a:pt x="5567839" y="803982"/>
                </a:lnTo>
                <a:cubicBezTo>
                  <a:pt x="5569934" y="848124"/>
                  <a:pt x="5586889" y="881326"/>
                  <a:pt x="5617559" y="903302"/>
                </a:cubicBezTo>
                <a:cubicBezTo>
                  <a:pt x="5650706" y="925469"/>
                  <a:pt x="5694902" y="936409"/>
                  <a:pt x="5750148" y="936409"/>
                </a:cubicBezTo>
                <a:cubicBezTo>
                  <a:pt x="5785771" y="937379"/>
                  <a:pt x="5821109" y="929398"/>
                  <a:pt x="5852922" y="913196"/>
                </a:cubicBezTo>
                <a:cubicBezTo>
                  <a:pt x="5879497" y="897784"/>
                  <a:pt x="5892737" y="876826"/>
                  <a:pt x="5892737" y="850312"/>
                </a:cubicBezTo>
                <a:cubicBezTo>
                  <a:pt x="5892737" y="810546"/>
                  <a:pt x="5846350" y="780740"/>
                  <a:pt x="5753481" y="760886"/>
                </a:cubicBezTo>
                <a:cubicBezTo>
                  <a:pt x="5723191" y="756472"/>
                  <a:pt x="5693283" y="749831"/>
                  <a:pt x="5663946" y="741003"/>
                </a:cubicBezTo>
                <a:cubicBezTo>
                  <a:pt x="5546788" y="712396"/>
                  <a:pt x="5468302" y="678185"/>
                  <a:pt x="5428584" y="638352"/>
                </a:cubicBezTo>
                <a:cubicBezTo>
                  <a:pt x="5384102" y="598710"/>
                  <a:pt x="5361909" y="545720"/>
                  <a:pt x="5361909" y="479383"/>
                </a:cubicBezTo>
                <a:cubicBezTo>
                  <a:pt x="5360384" y="398813"/>
                  <a:pt x="5395817" y="321964"/>
                  <a:pt x="5458111" y="270753"/>
                </a:cubicBezTo>
                <a:cubicBezTo>
                  <a:pt x="5524405" y="220017"/>
                  <a:pt x="5610606" y="194645"/>
                  <a:pt x="5716715" y="194645"/>
                </a:cubicBezTo>
                <a:close/>
                <a:moveTo>
                  <a:pt x="4192239" y="194645"/>
                </a:moveTo>
                <a:cubicBezTo>
                  <a:pt x="4307110" y="194645"/>
                  <a:pt x="4398836" y="220017"/>
                  <a:pt x="4467416" y="270753"/>
                </a:cubicBezTo>
                <a:cubicBezTo>
                  <a:pt x="4531519" y="326054"/>
                  <a:pt x="4565809" y="397824"/>
                  <a:pt x="4570190" y="486042"/>
                </a:cubicBezTo>
                <a:lnTo>
                  <a:pt x="4427315" y="486042"/>
                </a:lnTo>
                <a:cubicBezTo>
                  <a:pt x="4387244" y="487098"/>
                  <a:pt x="4350087" y="465236"/>
                  <a:pt x="4331589" y="429722"/>
                </a:cubicBezTo>
                <a:lnTo>
                  <a:pt x="4305015" y="403275"/>
                </a:lnTo>
                <a:cubicBezTo>
                  <a:pt x="4278535" y="383420"/>
                  <a:pt x="4242083" y="373469"/>
                  <a:pt x="4195667" y="373403"/>
                </a:cubicBezTo>
                <a:cubicBezTo>
                  <a:pt x="4151214" y="373403"/>
                  <a:pt x="4118039" y="380034"/>
                  <a:pt x="4096132" y="393286"/>
                </a:cubicBezTo>
                <a:cubicBezTo>
                  <a:pt x="4076224" y="406415"/>
                  <a:pt x="4064861" y="429161"/>
                  <a:pt x="4066318" y="452935"/>
                </a:cubicBezTo>
                <a:cubicBezTo>
                  <a:pt x="4066318" y="488259"/>
                  <a:pt x="4123782" y="518074"/>
                  <a:pt x="4238721" y="542362"/>
                </a:cubicBezTo>
                <a:cubicBezTo>
                  <a:pt x="4250160" y="546167"/>
                  <a:pt x="4261799" y="549335"/>
                  <a:pt x="4273582" y="551875"/>
                </a:cubicBezTo>
                <a:cubicBezTo>
                  <a:pt x="4282793" y="554044"/>
                  <a:pt x="4292223" y="555157"/>
                  <a:pt x="4301681" y="555205"/>
                </a:cubicBezTo>
                <a:cubicBezTo>
                  <a:pt x="4414457" y="583935"/>
                  <a:pt x="4492943" y="617042"/>
                  <a:pt x="4537139" y="654525"/>
                </a:cubicBezTo>
                <a:cubicBezTo>
                  <a:pt x="4579144" y="694292"/>
                  <a:pt x="4600099" y="747282"/>
                  <a:pt x="4600099" y="813495"/>
                </a:cubicBezTo>
                <a:cubicBezTo>
                  <a:pt x="4600099" y="910723"/>
                  <a:pt x="4564761" y="985784"/>
                  <a:pt x="4494086" y="1038679"/>
                </a:cubicBezTo>
                <a:cubicBezTo>
                  <a:pt x="4427668" y="1087321"/>
                  <a:pt x="4328189" y="1111619"/>
                  <a:pt x="4195667" y="1111552"/>
                </a:cubicBezTo>
                <a:cubicBezTo>
                  <a:pt x="4069623" y="1111552"/>
                  <a:pt x="3975669" y="1086180"/>
                  <a:pt x="3913823" y="1035444"/>
                </a:cubicBezTo>
                <a:cubicBezTo>
                  <a:pt x="3849625" y="984709"/>
                  <a:pt x="3817554" y="910723"/>
                  <a:pt x="3817620" y="813495"/>
                </a:cubicBezTo>
                <a:lnTo>
                  <a:pt x="3817906" y="803982"/>
                </a:lnTo>
                <a:lnTo>
                  <a:pt x="4043363" y="803982"/>
                </a:lnTo>
                <a:cubicBezTo>
                  <a:pt x="4045553" y="848124"/>
                  <a:pt x="4062413" y="881326"/>
                  <a:pt x="4093084" y="903302"/>
                </a:cubicBezTo>
                <a:cubicBezTo>
                  <a:pt x="4126326" y="925469"/>
                  <a:pt x="4170522" y="936409"/>
                  <a:pt x="4225767" y="936409"/>
                </a:cubicBezTo>
                <a:cubicBezTo>
                  <a:pt x="4261428" y="937379"/>
                  <a:pt x="4296766" y="929398"/>
                  <a:pt x="4328541" y="913196"/>
                </a:cubicBezTo>
                <a:cubicBezTo>
                  <a:pt x="4355021" y="897784"/>
                  <a:pt x="4368356" y="876855"/>
                  <a:pt x="4368356" y="850312"/>
                </a:cubicBezTo>
                <a:cubicBezTo>
                  <a:pt x="4368356" y="810546"/>
                  <a:pt x="4321940" y="780740"/>
                  <a:pt x="4229100" y="760886"/>
                </a:cubicBezTo>
                <a:cubicBezTo>
                  <a:pt x="4198802" y="756472"/>
                  <a:pt x="4168874" y="749831"/>
                  <a:pt x="4139566" y="741003"/>
                </a:cubicBezTo>
                <a:cubicBezTo>
                  <a:pt x="4022284" y="712396"/>
                  <a:pt x="3943798" y="678185"/>
                  <a:pt x="3904107" y="638352"/>
                </a:cubicBezTo>
                <a:cubicBezTo>
                  <a:pt x="3859654" y="598710"/>
                  <a:pt x="3837432" y="545720"/>
                  <a:pt x="3837432" y="479383"/>
                </a:cubicBezTo>
                <a:cubicBezTo>
                  <a:pt x="3835918" y="398832"/>
                  <a:pt x="3871313" y="322011"/>
                  <a:pt x="3933540" y="270753"/>
                </a:cubicBezTo>
                <a:cubicBezTo>
                  <a:pt x="3999957" y="220017"/>
                  <a:pt x="4086197" y="194645"/>
                  <a:pt x="4192239" y="194645"/>
                </a:cubicBezTo>
                <a:close/>
                <a:moveTo>
                  <a:pt x="3386901" y="194645"/>
                </a:moveTo>
                <a:cubicBezTo>
                  <a:pt x="3519488" y="194645"/>
                  <a:pt x="3622264" y="234383"/>
                  <a:pt x="3695225" y="313849"/>
                </a:cubicBezTo>
                <a:cubicBezTo>
                  <a:pt x="3765967" y="395541"/>
                  <a:pt x="3801333" y="509226"/>
                  <a:pt x="3801333" y="654906"/>
                </a:cubicBezTo>
                <a:lnTo>
                  <a:pt x="3801333" y="691342"/>
                </a:lnTo>
                <a:cubicBezTo>
                  <a:pt x="3801838" y="699229"/>
                  <a:pt x="3800704" y="707135"/>
                  <a:pt x="3797999" y="714555"/>
                </a:cubicBezTo>
                <a:lnTo>
                  <a:pt x="3224404" y="714555"/>
                </a:lnTo>
                <a:cubicBezTo>
                  <a:pt x="3226623" y="783052"/>
                  <a:pt x="3243197" y="833787"/>
                  <a:pt x="3274124" y="866771"/>
                </a:cubicBezTo>
                <a:cubicBezTo>
                  <a:pt x="3302766" y="902161"/>
                  <a:pt x="3345876" y="919827"/>
                  <a:pt x="3403474" y="919761"/>
                </a:cubicBezTo>
                <a:cubicBezTo>
                  <a:pt x="3437002" y="920750"/>
                  <a:pt x="3470187" y="912768"/>
                  <a:pt x="3499581" y="896643"/>
                </a:cubicBezTo>
                <a:cubicBezTo>
                  <a:pt x="3506515" y="894274"/>
                  <a:pt x="3512783" y="890297"/>
                  <a:pt x="3517869" y="885036"/>
                </a:cubicBezTo>
                <a:lnTo>
                  <a:pt x="3536062" y="866771"/>
                </a:lnTo>
                <a:cubicBezTo>
                  <a:pt x="3541967" y="855992"/>
                  <a:pt x="3550521" y="846887"/>
                  <a:pt x="3560923" y="840323"/>
                </a:cubicBezTo>
                <a:cubicBezTo>
                  <a:pt x="3579000" y="828250"/>
                  <a:pt x="3600565" y="822466"/>
                  <a:pt x="3622264" y="823865"/>
                </a:cubicBezTo>
                <a:lnTo>
                  <a:pt x="3788094" y="823865"/>
                </a:lnTo>
                <a:cubicBezTo>
                  <a:pt x="3763710" y="916526"/>
                  <a:pt x="3717294" y="987182"/>
                  <a:pt x="3648838" y="1035825"/>
                </a:cubicBezTo>
                <a:cubicBezTo>
                  <a:pt x="3580258" y="1086560"/>
                  <a:pt x="3494028" y="1111932"/>
                  <a:pt x="3390139" y="1111932"/>
                </a:cubicBezTo>
                <a:cubicBezTo>
                  <a:pt x="3264219" y="1111932"/>
                  <a:pt x="3165797" y="1071091"/>
                  <a:pt x="3094864" y="989399"/>
                </a:cubicBezTo>
                <a:cubicBezTo>
                  <a:pt x="3024188" y="909933"/>
                  <a:pt x="2988851" y="796247"/>
                  <a:pt x="2988851" y="648342"/>
                </a:cubicBezTo>
                <a:cubicBezTo>
                  <a:pt x="2988851" y="507095"/>
                  <a:pt x="3023112" y="396711"/>
                  <a:pt x="3091626" y="317178"/>
                </a:cubicBezTo>
                <a:cubicBezTo>
                  <a:pt x="3162301" y="235486"/>
                  <a:pt x="3260723" y="194645"/>
                  <a:pt x="3386901" y="194645"/>
                </a:cubicBezTo>
                <a:close/>
                <a:moveTo>
                  <a:pt x="2146078" y="194645"/>
                </a:moveTo>
                <a:cubicBezTo>
                  <a:pt x="2269903" y="194645"/>
                  <a:pt x="2362772" y="215603"/>
                  <a:pt x="2424684" y="257529"/>
                </a:cubicBezTo>
                <a:cubicBezTo>
                  <a:pt x="2488816" y="301928"/>
                  <a:pt x="2520858" y="363728"/>
                  <a:pt x="2520792" y="442946"/>
                </a:cubicBezTo>
                <a:lnTo>
                  <a:pt x="2520792" y="744332"/>
                </a:lnTo>
                <a:cubicBezTo>
                  <a:pt x="2520792" y="832684"/>
                  <a:pt x="2504914" y="901685"/>
                  <a:pt x="2473167" y="951345"/>
                </a:cubicBezTo>
                <a:cubicBezTo>
                  <a:pt x="2445477" y="997067"/>
                  <a:pt x="2405777" y="1034341"/>
                  <a:pt x="2358391" y="1059133"/>
                </a:cubicBezTo>
                <a:cubicBezTo>
                  <a:pt x="2312508" y="1083297"/>
                  <a:pt x="2262435" y="1098471"/>
                  <a:pt x="2210848" y="1103846"/>
                </a:cubicBezTo>
                <a:cubicBezTo>
                  <a:pt x="2165176" y="1109002"/>
                  <a:pt x="2119265" y="1111761"/>
                  <a:pt x="2073307" y="1112123"/>
                </a:cubicBezTo>
                <a:cubicBezTo>
                  <a:pt x="1998574" y="1113559"/>
                  <a:pt x="1925374" y="1090831"/>
                  <a:pt x="1864614" y="1047336"/>
                </a:cubicBezTo>
                <a:cubicBezTo>
                  <a:pt x="1804921" y="1004335"/>
                  <a:pt x="1775079" y="933146"/>
                  <a:pt x="1775079" y="833759"/>
                </a:cubicBezTo>
                <a:cubicBezTo>
                  <a:pt x="1775079" y="741031"/>
                  <a:pt x="1802159" y="674789"/>
                  <a:pt x="1856328" y="635023"/>
                </a:cubicBezTo>
                <a:cubicBezTo>
                  <a:pt x="1910496" y="595256"/>
                  <a:pt x="1979553" y="568781"/>
                  <a:pt x="2063496" y="555586"/>
                </a:cubicBezTo>
                <a:cubicBezTo>
                  <a:pt x="2076908" y="555319"/>
                  <a:pt x="2090242" y="553664"/>
                  <a:pt x="2103311" y="550638"/>
                </a:cubicBezTo>
                <a:cubicBezTo>
                  <a:pt x="2120846" y="546976"/>
                  <a:pt x="2138553" y="544217"/>
                  <a:pt x="2156365" y="542362"/>
                </a:cubicBezTo>
                <a:cubicBezTo>
                  <a:pt x="2253644" y="529167"/>
                  <a:pt x="2302288" y="500474"/>
                  <a:pt x="2302288" y="456265"/>
                </a:cubicBezTo>
                <a:cubicBezTo>
                  <a:pt x="2302288" y="423158"/>
                  <a:pt x="2285143" y="401629"/>
                  <a:pt x="2250853" y="391669"/>
                </a:cubicBezTo>
                <a:cubicBezTo>
                  <a:pt x="2220220" y="382260"/>
                  <a:pt x="2188407" y="377237"/>
                  <a:pt x="2156365" y="376732"/>
                </a:cubicBezTo>
                <a:cubicBezTo>
                  <a:pt x="2128181" y="376314"/>
                  <a:pt x="2100149" y="380785"/>
                  <a:pt x="2073497" y="389956"/>
                </a:cubicBezTo>
                <a:cubicBezTo>
                  <a:pt x="2049618" y="398395"/>
                  <a:pt x="2030378" y="416442"/>
                  <a:pt x="2020443" y="439712"/>
                </a:cubicBezTo>
                <a:lnTo>
                  <a:pt x="1797939" y="439712"/>
                </a:lnTo>
                <a:cubicBezTo>
                  <a:pt x="1805626" y="373441"/>
                  <a:pt x="1838954" y="312802"/>
                  <a:pt x="1890808" y="270753"/>
                </a:cubicBezTo>
                <a:cubicBezTo>
                  <a:pt x="1950501" y="220017"/>
                  <a:pt x="2035588" y="194645"/>
                  <a:pt x="2146078" y="194645"/>
                </a:cubicBezTo>
                <a:close/>
                <a:moveTo>
                  <a:pt x="374523" y="194645"/>
                </a:moveTo>
                <a:cubicBezTo>
                  <a:pt x="489462" y="194645"/>
                  <a:pt x="581216" y="220017"/>
                  <a:pt x="649796" y="270753"/>
                </a:cubicBezTo>
                <a:cubicBezTo>
                  <a:pt x="713927" y="326054"/>
                  <a:pt x="748189" y="397824"/>
                  <a:pt x="752570" y="486042"/>
                </a:cubicBezTo>
                <a:lnTo>
                  <a:pt x="609695" y="486042"/>
                </a:lnTo>
                <a:cubicBezTo>
                  <a:pt x="569500" y="487127"/>
                  <a:pt x="532181" y="465284"/>
                  <a:pt x="513493" y="429722"/>
                </a:cubicBezTo>
                <a:cubicBezTo>
                  <a:pt x="504634" y="420970"/>
                  <a:pt x="495776" y="412122"/>
                  <a:pt x="487013" y="403275"/>
                </a:cubicBezTo>
                <a:cubicBezTo>
                  <a:pt x="460534" y="383420"/>
                  <a:pt x="424053" y="373469"/>
                  <a:pt x="377571" y="373403"/>
                </a:cubicBezTo>
                <a:cubicBezTo>
                  <a:pt x="333118" y="373403"/>
                  <a:pt x="299971" y="380034"/>
                  <a:pt x="278130" y="393286"/>
                </a:cubicBezTo>
                <a:cubicBezTo>
                  <a:pt x="258223" y="406415"/>
                  <a:pt x="246859" y="429161"/>
                  <a:pt x="248317" y="452935"/>
                </a:cubicBezTo>
                <a:cubicBezTo>
                  <a:pt x="248317" y="488259"/>
                  <a:pt x="305781" y="518074"/>
                  <a:pt x="420719" y="542362"/>
                </a:cubicBezTo>
                <a:cubicBezTo>
                  <a:pt x="432130" y="546148"/>
                  <a:pt x="443732" y="549325"/>
                  <a:pt x="455486" y="551875"/>
                </a:cubicBezTo>
                <a:cubicBezTo>
                  <a:pt x="464849" y="554073"/>
                  <a:pt x="474440" y="555186"/>
                  <a:pt x="484061" y="555205"/>
                </a:cubicBezTo>
                <a:cubicBezTo>
                  <a:pt x="596837" y="583935"/>
                  <a:pt x="675323" y="617042"/>
                  <a:pt x="719519" y="654525"/>
                </a:cubicBezTo>
                <a:cubicBezTo>
                  <a:pt x="761429" y="694292"/>
                  <a:pt x="782412" y="747282"/>
                  <a:pt x="782479" y="813495"/>
                </a:cubicBezTo>
                <a:cubicBezTo>
                  <a:pt x="782479" y="910723"/>
                  <a:pt x="747113" y="985784"/>
                  <a:pt x="676370" y="1038679"/>
                </a:cubicBezTo>
                <a:cubicBezTo>
                  <a:pt x="610076" y="1087321"/>
                  <a:pt x="510607" y="1111619"/>
                  <a:pt x="377952" y="1111552"/>
                </a:cubicBezTo>
                <a:cubicBezTo>
                  <a:pt x="251908" y="1111552"/>
                  <a:pt x="157953" y="1086180"/>
                  <a:pt x="96108" y="1035444"/>
                </a:cubicBezTo>
                <a:cubicBezTo>
                  <a:pt x="31975" y="984709"/>
                  <a:pt x="-67" y="910723"/>
                  <a:pt x="0" y="813495"/>
                </a:cubicBezTo>
                <a:lnTo>
                  <a:pt x="286" y="803982"/>
                </a:lnTo>
                <a:lnTo>
                  <a:pt x="225743" y="803982"/>
                </a:lnTo>
                <a:cubicBezTo>
                  <a:pt x="227933" y="848124"/>
                  <a:pt x="244793" y="881326"/>
                  <a:pt x="275463" y="903302"/>
                </a:cubicBezTo>
                <a:cubicBezTo>
                  <a:pt x="308610" y="925469"/>
                  <a:pt x="352806" y="936409"/>
                  <a:pt x="408051" y="936409"/>
                </a:cubicBezTo>
                <a:cubicBezTo>
                  <a:pt x="443742" y="937379"/>
                  <a:pt x="479108" y="929398"/>
                  <a:pt x="510921" y="913196"/>
                </a:cubicBezTo>
                <a:cubicBezTo>
                  <a:pt x="537400" y="897784"/>
                  <a:pt x="550640" y="876826"/>
                  <a:pt x="550640" y="850312"/>
                </a:cubicBezTo>
                <a:cubicBezTo>
                  <a:pt x="550640" y="810546"/>
                  <a:pt x="504225" y="780740"/>
                  <a:pt x="411385" y="760886"/>
                </a:cubicBezTo>
                <a:cubicBezTo>
                  <a:pt x="381095" y="756462"/>
                  <a:pt x="351168" y="749822"/>
                  <a:pt x="321850" y="741003"/>
                </a:cubicBezTo>
                <a:cubicBezTo>
                  <a:pt x="204692" y="712396"/>
                  <a:pt x="126235" y="678185"/>
                  <a:pt x="86487" y="638352"/>
                </a:cubicBezTo>
                <a:cubicBezTo>
                  <a:pt x="42034" y="598710"/>
                  <a:pt x="19812" y="545720"/>
                  <a:pt x="19812" y="479383"/>
                </a:cubicBezTo>
                <a:cubicBezTo>
                  <a:pt x="18298" y="398832"/>
                  <a:pt x="53693" y="322011"/>
                  <a:pt x="115919" y="270753"/>
                </a:cubicBezTo>
                <a:cubicBezTo>
                  <a:pt x="182213" y="220017"/>
                  <a:pt x="268415" y="194645"/>
                  <a:pt x="374523" y="194645"/>
                </a:cubicBezTo>
                <a:close/>
                <a:moveTo>
                  <a:pt x="2575750" y="0"/>
                </a:moveTo>
                <a:lnTo>
                  <a:pt x="2799779" y="0"/>
                </a:lnTo>
                <a:lnTo>
                  <a:pt x="2799779" y="221949"/>
                </a:lnTo>
                <a:lnTo>
                  <a:pt x="2958084" y="221949"/>
                </a:lnTo>
                <a:lnTo>
                  <a:pt x="2958084" y="420399"/>
                </a:lnTo>
                <a:lnTo>
                  <a:pt x="2800159" y="420399"/>
                </a:lnTo>
                <a:lnTo>
                  <a:pt x="2800159" y="728921"/>
                </a:lnTo>
                <a:cubicBezTo>
                  <a:pt x="2800159" y="789997"/>
                  <a:pt x="2814038" y="832969"/>
                  <a:pt x="2841784" y="857828"/>
                </a:cubicBezTo>
                <a:cubicBezTo>
                  <a:pt x="2869530" y="882687"/>
                  <a:pt x="2911697" y="893408"/>
                  <a:pt x="2968276" y="889984"/>
                </a:cubicBezTo>
                <a:lnTo>
                  <a:pt x="2968276" y="1093667"/>
                </a:lnTo>
                <a:cubicBezTo>
                  <a:pt x="2911317" y="1101116"/>
                  <a:pt x="2853443" y="1097111"/>
                  <a:pt x="2798064" y="1081870"/>
                </a:cubicBezTo>
                <a:cubicBezTo>
                  <a:pt x="2752011" y="1068675"/>
                  <a:pt x="2710006" y="1044178"/>
                  <a:pt x="2675858" y="1010614"/>
                </a:cubicBezTo>
                <a:cubicBezTo>
                  <a:pt x="2642092" y="976385"/>
                  <a:pt x="2616556" y="934944"/>
                  <a:pt x="2601183" y="889413"/>
                </a:cubicBezTo>
                <a:cubicBezTo>
                  <a:pt x="2583590" y="837336"/>
                  <a:pt x="2574998" y="782643"/>
                  <a:pt x="2575750" y="727684"/>
                </a:cubicBezTo>
                <a:close/>
                <a:moveTo>
                  <a:pt x="824770" y="0"/>
                </a:moveTo>
                <a:lnTo>
                  <a:pt x="1048893" y="0"/>
                </a:lnTo>
                <a:lnTo>
                  <a:pt x="1048893" y="221949"/>
                </a:lnTo>
                <a:lnTo>
                  <a:pt x="1206723" y="221949"/>
                </a:lnTo>
                <a:lnTo>
                  <a:pt x="1206723" y="420399"/>
                </a:lnTo>
                <a:lnTo>
                  <a:pt x="1048417" y="420399"/>
                </a:lnTo>
                <a:lnTo>
                  <a:pt x="1048417" y="728921"/>
                </a:lnTo>
                <a:cubicBezTo>
                  <a:pt x="1048417" y="789997"/>
                  <a:pt x="1062257" y="832969"/>
                  <a:pt x="1089946" y="857828"/>
                </a:cubicBezTo>
                <a:cubicBezTo>
                  <a:pt x="1117636" y="882687"/>
                  <a:pt x="1159955" y="893475"/>
                  <a:pt x="1216915" y="890174"/>
                </a:cubicBezTo>
                <a:lnTo>
                  <a:pt x="1216915" y="1093667"/>
                </a:lnTo>
                <a:cubicBezTo>
                  <a:pt x="1160117" y="1101068"/>
                  <a:pt x="1102405" y="1097054"/>
                  <a:pt x="1047179" y="1081870"/>
                </a:cubicBezTo>
                <a:cubicBezTo>
                  <a:pt x="1001116" y="1068694"/>
                  <a:pt x="959101" y="1044197"/>
                  <a:pt x="924973" y="1010614"/>
                </a:cubicBezTo>
                <a:cubicBezTo>
                  <a:pt x="891207" y="976366"/>
                  <a:pt x="865642" y="934935"/>
                  <a:pt x="850202" y="889413"/>
                </a:cubicBezTo>
                <a:cubicBezTo>
                  <a:pt x="832619" y="837336"/>
                  <a:pt x="824018" y="782643"/>
                  <a:pt x="824770" y="727684"/>
                </a:cubicBezTo>
                <a:close/>
              </a:path>
            </a:pathLst>
          </a:custGeom>
          <a:solidFill>
            <a:srgbClr val="002060"/>
          </a:solidFill>
          <a:ln w="9525" cap="flat">
            <a:noFill/>
            <a:prstDash val="solid"/>
            <a:miter/>
          </a:ln>
        </p:spPr>
        <p:txBody>
          <a:bodyPr rtlCol="0" anchor="ctr"/>
          <a:lstStyle/>
          <a:p>
            <a:endParaRPr lang="es-ES"/>
          </a:p>
        </p:txBody>
      </p:sp>
      <p:pic>
        <p:nvPicPr>
          <p:cNvPr id="2" name="Imagen 1">
            <a:extLst>
              <a:ext uri="{FF2B5EF4-FFF2-40B4-BE49-F238E27FC236}">
                <a16:creationId xmlns:a16="http://schemas.microsoft.com/office/drawing/2014/main" id="{5B387A02-E167-C64C-81FF-FC187DB4D8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6768" y="221456"/>
            <a:ext cx="1802384" cy="1098328"/>
          </a:xfrm>
          <a:prstGeom prst="rect">
            <a:avLst/>
          </a:prstGeom>
        </p:spPr>
      </p:pic>
    </p:spTree>
    <p:extLst>
      <p:ext uri="{BB962C8B-B14F-4D97-AF65-F5344CB8AC3E}">
        <p14:creationId xmlns:p14="http://schemas.microsoft.com/office/powerpoint/2010/main" val="339125102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Template Propuesta 2022 - Portadilla">
    <p:spTree>
      <p:nvGrpSpPr>
        <p:cNvPr id="1" name=""/>
        <p:cNvGrpSpPr/>
        <p:nvPr/>
      </p:nvGrpSpPr>
      <p:grpSpPr>
        <a:xfrm>
          <a:off x="0" y="0"/>
          <a:ext cx="0" cy="0"/>
          <a:chOff x="0" y="0"/>
          <a:chExt cx="0" cy="0"/>
        </a:xfrm>
      </p:grpSpPr>
      <p:sp>
        <p:nvSpPr>
          <p:cNvPr id="21" name="Marcador de posición de imagen 20">
            <a:extLst>
              <a:ext uri="{FF2B5EF4-FFF2-40B4-BE49-F238E27FC236}">
                <a16:creationId xmlns:a16="http://schemas.microsoft.com/office/drawing/2014/main" id="{9299B49D-BAA2-9A43-8F61-2ABEA293E629}"/>
              </a:ext>
            </a:extLst>
          </p:cNvPr>
          <p:cNvSpPr>
            <a:spLocks noGrp="1"/>
          </p:cNvSpPr>
          <p:nvPr>
            <p:ph type="pic" sz="quarter" idx="24"/>
          </p:nvPr>
        </p:nvSpPr>
        <p:spPr>
          <a:xfrm>
            <a:off x="0" y="0"/>
            <a:ext cx="6960221" cy="6857999"/>
          </a:xfrm>
          <a:custGeom>
            <a:avLst/>
            <a:gdLst>
              <a:gd name="connsiteX0" fmla="*/ 3686436 w 6960221"/>
              <a:gd name="connsiteY0" fmla="*/ 4734732 h 6857999"/>
              <a:gd name="connsiteX1" fmla="*/ 5812120 w 6960221"/>
              <a:gd name="connsiteY1" fmla="*/ 4734732 h 6857999"/>
              <a:gd name="connsiteX2" fmla="*/ 5812120 w 6960221"/>
              <a:gd name="connsiteY2" fmla="*/ 6857999 h 6857999"/>
              <a:gd name="connsiteX3" fmla="*/ 3686436 w 6960221"/>
              <a:gd name="connsiteY3" fmla="*/ 6857999 h 6857999"/>
              <a:gd name="connsiteX4" fmla="*/ 2103991 w 6960221"/>
              <a:gd name="connsiteY4" fmla="*/ 4734732 h 6857999"/>
              <a:gd name="connsiteX5" fmla="*/ 3564297 w 6960221"/>
              <a:gd name="connsiteY5" fmla="*/ 4734732 h 6857999"/>
              <a:gd name="connsiteX6" fmla="*/ 3564297 w 6960221"/>
              <a:gd name="connsiteY6" fmla="*/ 6193377 h 6857999"/>
              <a:gd name="connsiteX7" fmla="*/ 2103991 w 6960221"/>
              <a:gd name="connsiteY7" fmla="*/ 6193377 h 6857999"/>
              <a:gd name="connsiteX8" fmla="*/ 4864535 w 6960221"/>
              <a:gd name="connsiteY8" fmla="*/ 3115595 h 6857999"/>
              <a:gd name="connsiteX9" fmla="*/ 6338807 w 6960221"/>
              <a:gd name="connsiteY9" fmla="*/ 3115595 h 6857999"/>
              <a:gd name="connsiteX10" fmla="*/ 6338807 w 6960221"/>
              <a:gd name="connsiteY10" fmla="*/ 4588190 h 6857999"/>
              <a:gd name="connsiteX11" fmla="*/ 4864535 w 6960221"/>
              <a:gd name="connsiteY11" fmla="*/ 4588190 h 6857999"/>
              <a:gd name="connsiteX12" fmla="*/ 0 w 6960221"/>
              <a:gd name="connsiteY12" fmla="*/ 3115595 h 6857999"/>
              <a:gd name="connsiteX13" fmla="*/ 1952873 w 6960221"/>
              <a:gd name="connsiteY13" fmla="*/ 3115595 h 6857999"/>
              <a:gd name="connsiteX14" fmla="*/ 1952873 w 6960221"/>
              <a:gd name="connsiteY14" fmla="*/ 5066248 h 6857999"/>
              <a:gd name="connsiteX15" fmla="*/ 0 w 6960221"/>
              <a:gd name="connsiteY15" fmla="*/ 5066248 h 6857999"/>
              <a:gd name="connsiteX16" fmla="*/ 2103990 w 6960221"/>
              <a:gd name="connsiteY16" fmla="*/ 1952787 h 6857999"/>
              <a:gd name="connsiteX17" fmla="*/ 4742395 w 6960221"/>
              <a:gd name="connsiteY17" fmla="*/ 1952787 h 6857999"/>
              <a:gd name="connsiteX18" fmla="*/ 4742395 w 6960221"/>
              <a:gd name="connsiteY18" fmla="*/ 4588191 h 6857999"/>
              <a:gd name="connsiteX19" fmla="*/ 2103990 w 6960221"/>
              <a:gd name="connsiteY19" fmla="*/ 4588191 h 6857999"/>
              <a:gd name="connsiteX20" fmla="*/ 935889 w 6960221"/>
              <a:gd name="connsiteY20" fmla="*/ 1952787 h 6857999"/>
              <a:gd name="connsiteX21" fmla="*/ 1952874 w 6960221"/>
              <a:gd name="connsiteY21" fmla="*/ 1952787 h 6857999"/>
              <a:gd name="connsiteX22" fmla="*/ 1952874 w 6960221"/>
              <a:gd name="connsiteY22" fmla="*/ 2968616 h 6857999"/>
              <a:gd name="connsiteX23" fmla="*/ 935889 w 6960221"/>
              <a:gd name="connsiteY23" fmla="*/ 2968616 h 6857999"/>
              <a:gd name="connsiteX24" fmla="*/ 4864535 w 6960221"/>
              <a:gd name="connsiteY24" fmla="*/ 875313 h 6857999"/>
              <a:gd name="connsiteX25" fmla="*/ 6960221 w 6960221"/>
              <a:gd name="connsiteY25" fmla="*/ 875313 h 6857999"/>
              <a:gd name="connsiteX26" fmla="*/ 6960221 w 6960221"/>
              <a:gd name="connsiteY26" fmla="*/ 2968616 h 6857999"/>
              <a:gd name="connsiteX27" fmla="*/ 4864535 w 6960221"/>
              <a:gd name="connsiteY27" fmla="*/ 2968616 h 6857999"/>
              <a:gd name="connsiteX28" fmla="*/ 2919271 w 6960221"/>
              <a:gd name="connsiteY28" fmla="*/ 0 h 6857999"/>
              <a:gd name="connsiteX29" fmla="*/ 4742395 w 6960221"/>
              <a:gd name="connsiteY29" fmla="*/ 0 h 6857999"/>
              <a:gd name="connsiteX30" fmla="*/ 4742395 w 6960221"/>
              <a:gd name="connsiteY30" fmla="*/ 1821052 h 6857999"/>
              <a:gd name="connsiteX31" fmla="*/ 2919271 w 6960221"/>
              <a:gd name="connsiteY31" fmla="*/ 1821052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960221" h="6857999">
                <a:moveTo>
                  <a:pt x="3686436" y="4734732"/>
                </a:moveTo>
                <a:lnTo>
                  <a:pt x="5812120" y="4734732"/>
                </a:lnTo>
                <a:lnTo>
                  <a:pt x="5812120" y="6857999"/>
                </a:lnTo>
                <a:lnTo>
                  <a:pt x="3686436" y="6857999"/>
                </a:lnTo>
                <a:close/>
                <a:moveTo>
                  <a:pt x="2103991" y="4734732"/>
                </a:moveTo>
                <a:lnTo>
                  <a:pt x="3564297" y="4734732"/>
                </a:lnTo>
                <a:lnTo>
                  <a:pt x="3564297" y="6193377"/>
                </a:lnTo>
                <a:lnTo>
                  <a:pt x="2103991" y="6193377"/>
                </a:lnTo>
                <a:close/>
                <a:moveTo>
                  <a:pt x="4864535" y="3115595"/>
                </a:moveTo>
                <a:lnTo>
                  <a:pt x="6338807" y="3115595"/>
                </a:lnTo>
                <a:lnTo>
                  <a:pt x="6338807" y="4588190"/>
                </a:lnTo>
                <a:lnTo>
                  <a:pt x="4864535" y="4588190"/>
                </a:lnTo>
                <a:close/>
                <a:moveTo>
                  <a:pt x="0" y="3115595"/>
                </a:moveTo>
                <a:lnTo>
                  <a:pt x="1952873" y="3115595"/>
                </a:lnTo>
                <a:lnTo>
                  <a:pt x="1952873" y="5066248"/>
                </a:lnTo>
                <a:lnTo>
                  <a:pt x="0" y="5066248"/>
                </a:lnTo>
                <a:close/>
                <a:moveTo>
                  <a:pt x="2103990" y="1952787"/>
                </a:moveTo>
                <a:lnTo>
                  <a:pt x="4742395" y="1952787"/>
                </a:lnTo>
                <a:lnTo>
                  <a:pt x="4742395" y="4588191"/>
                </a:lnTo>
                <a:lnTo>
                  <a:pt x="2103990" y="4588191"/>
                </a:lnTo>
                <a:close/>
                <a:moveTo>
                  <a:pt x="935889" y="1952787"/>
                </a:moveTo>
                <a:lnTo>
                  <a:pt x="1952874" y="1952787"/>
                </a:lnTo>
                <a:lnTo>
                  <a:pt x="1952874" y="2968616"/>
                </a:lnTo>
                <a:lnTo>
                  <a:pt x="935889" y="2968616"/>
                </a:lnTo>
                <a:close/>
                <a:moveTo>
                  <a:pt x="4864535" y="875313"/>
                </a:moveTo>
                <a:lnTo>
                  <a:pt x="6960221" y="875313"/>
                </a:lnTo>
                <a:lnTo>
                  <a:pt x="6960221" y="2968616"/>
                </a:lnTo>
                <a:lnTo>
                  <a:pt x="4864535" y="2968616"/>
                </a:lnTo>
                <a:close/>
                <a:moveTo>
                  <a:pt x="2919271" y="0"/>
                </a:moveTo>
                <a:lnTo>
                  <a:pt x="4742395" y="0"/>
                </a:lnTo>
                <a:lnTo>
                  <a:pt x="4742395" y="1821052"/>
                </a:lnTo>
                <a:lnTo>
                  <a:pt x="2919271" y="1821052"/>
                </a:lnTo>
                <a:close/>
              </a:path>
            </a:pathLst>
          </a:custGeom>
          <a:solidFill>
            <a:schemeClr val="bg1"/>
          </a:solidFill>
        </p:spPr>
        <p:txBody>
          <a:bodyPr wrap="square">
            <a:noAutofit/>
          </a:bodyPr>
          <a:lstStyle/>
          <a:p>
            <a:endParaRPr lang="en-US"/>
          </a:p>
        </p:txBody>
      </p:sp>
      <p:sp>
        <p:nvSpPr>
          <p:cNvPr id="22" name="Forma libre 21">
            <a:extLst>
              <a:ext uri="{FF2B5EF4-FFF2-40B4-BE49-F238E27FC236}">
                <a16:creationId xmlns:a16="http://schemas.microsoft.com/office/drawing/2014/main" id="{22DAC27B-FF40-0348-A70D-FE5729C7D44B}"/>
              </a:ext>
            </a:extLst>
          </p:cNvPr>
          <p:cNvSpPr/>
          <p:nvPr userDrawn="1"/>
        </p:nvSpPr>
        <p:spPr>
          <a:xfrm>
            <a:off x="5415190" y="368314"/>
            <a:ext cx="1065209" cy="245809"/>
          </a:xfrm>
          <a:custGeom>
            <a:avLst/>
            <a:gdLst>
              <a:gd name="connsiteX0" fmla="*/ 2305336 w 6124670"/>
              <a:gd name="connsiteY0" fmla="*/ 651766 h 1413343"/>
              <a:gd name="connsiteX1" fmla="*/ 2176082 w 6124670"/>
              <a:gd name="connsiteY1" fmla="*/ 694862 h 1413343"/>
              <a:gd name="connsiteX2" fmla="*/ 2099882 w 6124670"/>
              <a:gd name="connsiteY2" fmla="*/ 711416 h 1413343"/>
              <a:gd name="connsiteX3" fmla="*/ 2013681 w 6124670"/>
              <a:gd name="connsiteY3" fmla="*/ 754512 h 1413343"/>
              <a:gd name="connsiteX4" fmla="*/ 1990440 w 6124670"/>
              <a:gd name="connsiteY4" fmla="*/ 827385 h 1413343"/>
              <a:gd name="connsiteX5" fmla="*/ 2020348 w 6124670"/>
              <a:gd name="connsiteY5" fmla="*/ 906822 h 1413343"/>
              <a:gd name="connsiteX6" fmla="*/ 2106073 w 6124670"/>
              <a:gd name="connsiteY6" fmla="*/ 933269 h 1413343"/>
              <a:gd name="connsiteX7" fmla="*/ 2251900 w 6124670"/>
              <a:gd name="connsiteY7" fmla="*/ 880375 h 1413343"/>
              <a:gd name="connsiteX8" fmla="*/ 2304955 w 6124670"/>
              <a:gd name="connsiteY8" fmla="*/ 734629 h 1413343"/>
              <a:gd name="connsiteX9" fmla="*/ 3393473 w 6124670"/>
              <a:gd name="connsiteY9" fmla="*/ 386722 h 1413343"/>
              <a:gd name="connsiteX10" fmla="*/ 3274315 w 6124670"/>
              <a:gd name="connsiteY10" fmla="*/ 433052 h 1413343"/>
              <a:gd name="connsiteX11" fmla="*/ 3224404 w 6124670"/>
              <a:gd name="connsiteY11" fmla="*/ 565479 h 1413343"/>
              <a:gd name="connsiteX12" fmla="*/ 3562637 w 6124670"/>
              <a:gd name="connsiteY12" fmla="*/ 565479 h 1413343"/>
              <a:gd name="connsiteX13" fmla="*/ 3516155 w 6124670"/>
              <a:gd name="connsiteY13" fmla="*/ 433052 h 1413343"/>
              <a:gd name="connsiteX14" fmla="*/ 3393473 w 6124670"/>
              <a:gd name="connsiteY14" fmla="*/ 386722 h 1413343"/>
              <a:gd name="connsiteX15" fmla="*/ 4552474 w 6124670"/>
              <a:gd name="connsiteY15" fmla="*/ 214433 h 1413343"/>
              <a:gd name="connsiteX16" fmla="*/ 4807839 w 6124670"/>
              <a:gd name="connsiteY16" fmla="*/ 214433 h 1413343"/>
              <a:gd name="connsiteX17" fmla="*/ 4986910 w 6124670"/>
              <a:gd name="connsiteY17" fmla="*/ 837089 h 1413343"/>
              <a:gd name="connsiteX18" fmla="*/ 5142739 w 6124670"/>
              <a:gd name="connsiteY18" fmla="*/ 293966 h 1413343"/>
              <a:gd name="connsiteX19" fmla="*/ 5248847 w 6124670"/>
              <a:gd name="connsiteY19" fmla="*/ 214433 h 1413343"/>
              <a:gd name="connsiteX20" fmla="*/ 5407914 w 6124670"/>
              <a:gd name="connsiteY20" fmla="*/ 214433 h 1413343"/>
              <a:gd name="connsiteX21" fmla="*/ 5069681 w 6124670"/>
              <a:gd name="connsiteY21" fmla="*/ 1217912 h 1413343"/>
              <a:gd name="connsiteX22" fmla="*/ 4970146 w 6124670"/>
              <a:gd name="connsiteY22" fmla="*/ 1373552 h 1413343"/>
              <a:gd name="connsiteX23" fmla="*/ 4774597 w 6124670"/>
              <a:gd name="connsiteY23" fmla="*/ 1413318 h 1413343"/>
              <a:gd name="connsiteX24" fmla="*/ 4751737 w 6124670"/>
              <a:gd name="connsiteY24" fmla="*/ 1413318 h 1413343"/>
              <a:gd name="connsiteX25" fmla="*/ 4677918 w 6124670"/>
              <a:gd name="connsiteY25" fmla="*/ 1412558 h 1413343"/>
              <a:gd name="connsiteX26" fmla="*/ 4677918 w 6124670"/>
              <a:gd name="connsiteY26" fmla="*/ 1224572 h 1413343"/>
              <a:gd name="connsiteX27" fmla="*/ 4741164 w 6124670"/>
              <a:gd name="connsiteY27" fmla="*/ 1224572 h 1413343"/>
              <a:gd name="connsiteX28" fmla="*/ 4845939 w 6124670"/>
              <a:gd name="connsiteY28" fmla="*/ 1193082 h 1413343"/>
              <a:gd name="connsiteX29" fmla="*/ 4860893 w 6124670"/>
              <a:gd name="connsiteY29" fmla="*/ 1092050 h 1413343"/>
              <a:gd name="connsiteX30" fmla="*/ 1721739 w 6124670"/>
              <a:gd name="connsiteY30" fmla="*/ 214433 h 1413343"/>
              <a:gd name="connsiteX31" fmla="*/ 1754982 w 6124670"/>
              <a:gd name="connsiteY31" fmla="*/ 214433 h 1413343"/>
              <a:gd name="connsiteX32" fmla="*/ 1754982 w 6124670"/>
              <a:gd name="connsiteY32" fmla="*/ 449605 h 1413343"/>
              <a:gd name="connsiteX33" fmla="*/ 1678782 w 6124670"/>
              <a:gd name="connsiteY33" fmla="*/ 449605 h 1413343"/>
              <a:gd name="connsiteX34" fmla="*/ 1535907 w 6124670"/>
              <a:gd name="connsiteY34" fmla="*/ 495936 h 1413343"/>
              <a:gd name="connsiteX35" fmla="*/ 1489520 w 6124670"/>
              <a:gd name="connsiteY35" fmla="*/ 641682 h 1413343"/>
              <a:gd name="connsiteX36" fmla="*/ 1489520 w 6124670"/>
              <a:gd name="connsiteY36" fmla="*/ 1095379 h 1413343"/>
              <a:gd name="connsiteX37" fmla="*/ 1257205 w 6124670"/>
              <a:gd name="connsiteY37" fmla="*/ 1095379 h 1413343"/>
              <a:gd name="connsiteX38" fmla="*/ 1257205 w 6124670"/>
              <a:gd name="connsiteY38" fmla="*/ 668225 h 1413343"/>
              <a:gd name="connsiteX39" fmla="*/ 1295305 w 6124670"/>
              <a:gd name="connsiteY39" fmla="*/ 451223 h 1413343"/>
              <a:gd name="connsiteX40" fmla="*/ 1400080 w 6124670"/>
              <a:gd name="connsiteY40" fmla="*/ 310519 h 1413343"/>
              <a:gd name="connsiteX41" fmla="*/ 1547622 w 6124670"/>
              <a:gd name="connsiteY41" fmla="*/ 237646 h 1413343"/>
              <a:gd name="connsiteX42" fmla="*/ 1721739 w 6124670"/>
              <a:gd name="connsiteY42" fmla="*/ 214433 h 1413343"/>
              <a:gd name="connsiteX43" fmla="*/ 5716715 w 6124670"/>
              <a:gd name="connsiteY43" fmla="*/ 194645 h 1413343"/>
              <a:gd name="connsiteX44" fmla="*/ 5991892 w 6124670"/>
              <a:gd name="connsiteY44" fmla="*/ 270753 h 1413343"/>
              <a:gd name="connsiteX45" fmla="*/ 6094762 w 6124670"/>
              <a:gd name="connsiteY45" fmla="*/ 486042 h 1413343"/>
              <a:gd name="connsiteX46" fmla="*/ 5951887 w 6124670"/>
              <a:gd name="connsiteY46" fmla="*/ 486042 h 1413343"/>
              <a:gd name="connsiteX47" fmla="*/ 5855684 w 6124670"/>
              <a:gd name="connsiteY47" fmla="*/ 429722 h 1413343"/>
              <a:gd name="connsiteX48" fmla="*/ 5829205 w 6124670"/>
              <a:gd name="connsiteY48" fmla="*/ 403275 h 1413343"/>
              <a:gd name="connsiteX49" fmla="*/ 5719762 w 6124670"/>
              <a:gd name="connsiteY49" fmla="*/ 373403 h 1413343"/>
              <a:gd name="connsiteX50" fmla="*/ 5620322 w 6124670"/>
              <a:gd name="connsiteY50" fmla="*/ 393286 h 1413343"/>
              <a:gd name="connsiteX51" fmla="*/ 5590413 w 6124670"/>
              <a:gd name="connsiteY51" fmla="*/ 452935 h 1413343"/>
              <a:gd name="connsiteX52" fmla="*/ 5762816 w 6124670"/>
              <a:gd name="connsiteY52" fmla="*/ 542362 h 1413343"/>
              <a:gd name="connsiteX53" fmla="*/ 5797678 w 6124670"/>
              <a:gd name="connsiteY53" fmla="*/ 551875 h 1413343"/>
              <a:gd name="connsiteX54" fmla="*/ 5826253 w 6124670"/>
              <a:gd name="connsiteY54" fmla="*/ 555205 h 1413343"/>
              <a:gd name="connsiteX55" fmla="*/ 6061615 w 6124670"/>
              <a:gd name="connsiteY55" fmla="*/ 654525 h 1413343"/>
              <a:gd name="connsiteX56" fmla="*/ 6124670 w 6124670"/>
              <a:gd name="connsiteY56" fmla="*/ 813495 h 1413343"/>
              <a:gd name="connsiteX57" fmla="*/ 6018562 w 6124670"/>
              <a:gd name="connsiteY57" fmla="*/ 1038679 h 1413343"/>
              <a:gd name="connsiteX58" fmla="*/ 5720144 w 6124670"/>
              <a:gd name="connsiteY58" fmla="*/ 1111552 h 1413343"/>
              <a:gd name="connsiteX59" fmla="*/ 5438298 w 6124670"/>
              <a:gd name="connsiteY59" fmla="*/ 1035444 h 1413343"/>
              <a:gd name="connsiteX60" fmla="*/ 5342096 w 6124670"/>
              <a:gd name="connsiteY60" fmla="*/ 813495 h 1413343"/>
              <a:gd name="connsiteX61" fmla="*/ 5342287 w 6124670"/>
              <a:gd name="connsiteY61" fmla="*/ 803982 h 1413343"/>
              <a:gd name="connsiteX62" fmla="*/ 5567839 w 6124670"/>
              <a:gd name="connsiteY62" fmla="*/ 803982 h 1413343"/>
              <a:gd name="connsiteX63" fmla="*/ 5617559 w 6124670"/>
              <a:gd name="connsiteY63" fmla="*/ 903302 h 1413343"/>
              <a:gd name="connsiteX64" fmla="*/ 5750148 w 6124670"/>
              <a:gd name="connsiteY64" fmla="*/ 936409 h 1413343"/>
              <a:gd name="connsiteX65" fmla="*/ 5852922 w 6124670"/>
              <a:gd name="connsiteY65" fmla="*/ 913196 h 1413343"/>
              <a:gd name="connsiteX66" fmla="*/ 5892737 w 6124670"/>
              <a:gd name="connsiteY66" fmla="*/ 850312 h 1413343"/>
              <a:gd name="connsiteX67" fmla="*/ 5753481 w 6124670"/>
              <a:gd name="connsiteY67" fmla="*/ 760886 h 1413343"/>
              <a:gd name="connsiteX68" fmla="*/ 5663946 w 6124670"/>
              <a:gd name="connsiteY68" fmla="*/ 741003 h 1413343"/>
              <a:gd name="connsiteX69" fmla="*/ 5428584 w 6124670"/>
              <a:gd name="connsiteY69" fmla="*/ 638352 h 1413343"/>
              <a:gd name="connsiteX70" fmla="*/ 5361909 w 6124670"/>
              <a:gd name="connsiteY70" fmla="*/ 479383 h 1413343"/>
              <a:gd name="connsiteX71" fmla="*/ 5458111 w 6124670"/>
              <a:gd name="connsiteY71" fmla="*/ 270753 h 1413343"/>
              <a:gd name="connsiteX72" fmla="*/ 5716715 w 6124670"/>
              <a:gd name="connsiteY72" fmla="*/ 194645 h 1413343"/>
              <a:gd name="connsiteX73" fmla="*/ 4192239 w 6124670"/>
              <a:gd name="connsiteY73" fmla="*/ 194645 h 1413343"/>
              <a:gd name="connsiteX74" fmla="*/ 4467416 w 6124670"/>
              <a:gd name="connsiteY74" fmla="*/ 270753 h 1413343"/>
              <a:gd name="connsiteX75" fmla="*/ 4570190 w 6124670"/>
              <a:gd name="connsiteY75" fmla="*/ 486042 h 1413343"/>
              <a:gd name="connsiteX76" fmla="*/ 4427315 w 6124670"/>
              <a:gd name="connsiteY76" fmla="*/ 486042 h 1413343"/>
              <a:gd name="connsiteX77" fmla="*/ 4331589 w 6124670"/>
              <a:gd name="connsiteY77" fmla="*/ 429722 h 1413343"/>
              <a:gd name="connsiteX78" fmla="*/ 4305015 w 6124670"/>
              <a:gd name="connsiteY78" fmla="*/ 403275 h 1413343"/>
              <a:gd name="connsiteX79" fmla="*/ 4195667 w 6124670"/>
              <a:gd name="connsiteY79" fmla="*/ 373403 h 1413343"/>
              <a:gd name="connsiteX80" fmla="*/ 4096132 w 6124670"/>
              <a:gd name="connsiteY80" fmla="*/ 393286 h 1413343"/>
              <a:gd name="connsiteX81" fmla="*/ 4066318 w 6124670"/>
              <a:gd name="connsiteY81" fmla="*/ 452935 h 1413343"/>
              <a:gd name="connsiteX82" fmla="*/ 4238721 w 6124670"/>
              <a:gd name="connsiteY82" fmla="*/ 542362 h 1413343"/>
              <a:gd name="connsiteX83" fmla="*/ 4273582 w 6124670"/>
              <a:gd name="connsiteY83" fmla="*/ 551875 h 1413343"/>
              <a:gd name="connsiteX84" fmla="*/ 4301681 w 6124670"/>
              <a:gd name="connsiteY84" fmla="*/ 555205 h 1413343"/>
              <a:gd name="connsiteX85" fmla="*/ 4537139 w 6124670"/>
              <a:gd name="connsiteY85" fmla="*/ 654525 h 1413343"/>
              <a:gd name="connsiteX86" fmla="*/ 4600099 w 6124670"/>
              <a:gd name="connsiteY86" fmla="*/ 813495 h 1413343"/>
              <a:gd name="connsiteX87" fmla="*/ 4494086 w 6124670"/>
              <a:gd name="connsiteY87" fmla="*/ 1038679 h 1413343"/>
              <a:gd name="connsiteX88" fmla="*/ 4195667 w 6124670"/>
              <a:gd name="connsiteY88" fmla="*/ 1111552 h 1413343"/>
              <a:gd name="connsiteX89" fmla="*/ 3913823 w 6124670"/>
              <a:gd name="connsiteY89" fmla="*/ 1035444 h 1413343"/>
              <a:gd name="connsiteX90" fmla="*/ 3817620 w 6124670"/>
              <a:gd name="connsiteY90" fmla="*/ 813495 h 1413343"/>
              <a:gd name="connsiteX91" fmla="*/ 3817906 w 6124670"/>
              <a:gd name="connsiteY91" fmla="*/ 803982 h 1413343"/>
              <a:gd name="connsiteX92" fmla="*/ 4043363 w 6124670"/>
              <a:gd name="connsiteY92" fmla="*/ 803982 h 1413343"/>
              <a:gd name="connsiteX93" fmla="*/ 4093084 w 6124670"/>
              <a:gd name="connsiteY93" fmla="*/ 903302 h 1413343"/>
              <a:gd name="connsiteX94" fmla="*/ 4225767 w 6124670"/>
              <a:gd name="connsiteY94" fmla="*/ 936409 h 1413343"/>
              <a:gd name="connsiteX95" fmla="*/ 4328541 w 6124670"/>
              <a:gd name="connsiteY95" fmla="*/ 913196 h 1413343"/>
              <a:gd name="connsiteX96" fmla="*/ 4368356 w 6124670"/>
              <a:gd name="connsiteY96" fmla="*/ 850312 h 1413343"/>
              <a:gd name="connsiteX97" fmla="*/ 4229100 w 6124670"/>
              <a:gd name="connsiteY97" fmla="*/ 760886 h 1413343"/>
              <a:gd name="connsiteX98" fmla="*/ 4139566 w 6124670"/>
              <a:gd name="connsiteY98" fmla="*/ 741003 h 1413343"/>
              <a:gd name="connsiteX99" fmla="*/ 3904107 w 6124670"/>
              <a:gd name="connsiteY99" fmla="*/ 638352 h 1413343"/>
              <a:gd name="connsiteX100" fmla="*/ 3837432 w 6124670"/>
              <a:gd name="connsiteY100" fmla="*/ 479383 h 1413343"/>
              <a:gd name="connsiteX101" fmla="*/ 3933540 w 6124670"/>
              <a:gd name="connsiteY101" fmla="*/ 270753 h 1413343"/>
              <a:gd name="connsiteX102" fmla="*/ 4192239 w 6124670"/>
              <a:gd name="connsiteY102" fmla="*/ 194645 h 1413343"/>
              <a:gd name="connsiteX103" fmla="*/ 3386901 w 6124670"/>
              <a:gd name="connsiteY103" fmla="*/ 194645 h 1413343"/>
              <a:gd name="connsiteX104" fmla="*/ 3695225 w 6124670"/>
              <a:gd name="connsiteY104" fmla="*/ 313849 h 1413343"/>
              <a:gd name="connsiteX105" fmla="*/ 3801333 w 6124670"/>
              <a:gd name="connsiteY105" fmla="*/ 654906 h 1413343"/>
              <a:gd name="connsiteX106" fmla="*/ 3801333 w 6124670"/>
              <a:gd name="connsiteY106" fmla="*/ 691342 h 1413343"/>
              <a:gd name="connsiteX107" fmla="*/ 3797999 w 6124670"/>
              <a:gd name="connsiteY107" fmla="*/ 714555 h 1413343"/>
              <a:gd name="connsiteX108" fmla="*/ 3224404 w 6124670"/>
              <a:gd name="connsiteY108" fmla="*/ 714555 h 1413343"/>
              <a:gd name="connsiteX109" fmla="*/ 3274124 w 6124670"/>
              <a:gd name="connsiteY109" fmla="*/ 866771 h 1413343"/>
              <a:gd name="connsiteX110" fmla="*/ 3403474 w 6124670"/>
              <a:gd name="connsiteY110" fmla="*/ 919761 h 1413343"/>
              <a:gd name="connsiteX111" fmla="*/ 3499581 w 6124670"/>
              <a:gd name="connsiteY111" fmla="*/ 896643 h 1413343"/>
              <a:gd name="connsiteX112" fmla="*/ 3517869 w 6124670"/>
              <a:gd name="connsiteY112" fmla="*/ 885036 h 1413343"/>
              <a:gd name="connsiteX113" fmla="*/ 3536062 w 6124670"/>
              <a:gd name="connsiteY113" fmla="*/ 866771 h 1413343"/>
              <a:gd name="connsiteX114" fmla="*/ 3560923 w 6124670"/>
              <a:gd name="connsiteY114" fmla="*/ 840323 h 1413343"/>
              <a:gd name="connsiteX115" fmla="*/ 3622264 w 6124670"/>
              <a:gd name="connsiteY115" fmla="*/ 823865 h 1413343"/>
              <a:gd name="connsiteX116" fmla="*/ 3788094 w 6124670"/>
              <a:gd name="connsiteY116" fmla="*/ 823865 h 1413343"/>
              <a:gd name="connsiteX117" fmla="*/ 3648838 w 6124670"/>
              <a:gd name="connsiteY117" fmla="*/ 1035825 h 1413343"/>
              <a:gd name="connsiteX118" fmla="*/ 3390139 w 6124670"/>
              <a:gd name="connsiteY118" fmla="*/ 1111932 h 1413343"/>
              <a:gd name="connsiteX119" fmla="*/ 3094864 w 6124670"/>
              <a:gd name="connsiteY119" fmla="*/ 989399 h 1413343"/>
              <a:gd name="connsiteX120" fmla="*/ 2988851 w 6124670"/>
              <a:gd name="connsiteY120" fmla="*/ 648342 h 1413343"/>
              <a:gd name="connsiteX121" fmla="*/ 3091626 w 6124670"/>
              <a:gd name="connsiteY121" fmla="*/ 317178 h 1413343"/>
              <a:gd name="connsiteX122" fmla="*/ 3386901 w 6124670"/>
              <a:gd name="connsiteY122" fmla="*/ 194645 h 1413343"/>
              <a:gd name="connsiteX123" fmla="*/ 2146078 w 6124670"/>
              <a:gd name="connsiteY123" fmla="*/ 194645 h 1413343"/>
              <a:gd name="connsiteX124" fmla="*/ 2424684 w 6124670"/>
              <a:gd name="connsiteY124" fmla="*/ 257529 h 1413343"/>
              <a:gd name="connsiteX125" fmla="*/ 2520792 w 6124670"/>
              <a:gd name="connsiteY125" fmla="*/ 442946 h 1413343"/>
              <a:gd name="connsiteX126" fmla="*/ 2520792 w 6124670"/>
              <a:gd name="connsiteY126" fmla="*/ 744332 h 1413343"/>
              <a:gd name="connsiteX127" fmla="*/ 2473167 w 6124670"/>
              <a:gd name="connsiteY127" fmla="*/ 951345 h 1413343"/>
              <a:gd name="connsiteX128" fmla="*/ 2358391 w 6124670"/>
              <a:gd name="connsiteY128" fmla="*/ 1059133 h 1413343"/>
              <a:gd name="connsiteX129" fmla="*/ 2210848 w 6124670"/>
              <a:gd name="connsiteY129" fmla="*/ 1103846 h 1413343"/>
              <a:gd name="connsiteX130" fmla="*/ 2073307 w 6124670"/>
              <a:gd name="connsiteY130" fmla="*/ 1112123 h 1413343"/>
              <a:gd name="connsiteX131" fmla="*/ 1864614 w 6124670"/>
              <a:gd name="connsiteY131" fmla="*/ 1047336 h 1413343"/>
              <a:gd name="connsiteX132" fmla="*/ 1775079 w 6124670"/>
              <a:gd name="connsiteY132" fmla="*/ 833759 h 1413343"/>
              <a:gd name="connsiteX133" fmla="*/ 1856328 w 6124670"/>
              <a:gd name="connsiteY133" fmla="*/ 635023 h 1413343"/>
              <a:gd name="connsiteX134" fmla="*/ 2063496 w 6124670"/>
              <a:gd name="connsiteY134" fmla="*/ 555586 h 1413343"/>
              <a:gd name="connsiteX135" fmla="*/ 2103311 w 6124670"/>
              <a:gd name="connsiteY135" fmla="*/ 550638 h 1413343"/>
              <a:gd name="connsiteX136" fmla="*/ 2156365 w 6124670"/>
              <a:gd name="connsiteY136" fmla="*/ 542362 h 1413343"/>
              <a:gd name="connsiteX137" fmla="*/ 2302288 w 6124670"/>
              <a:gd name="connsiteY137" fmla="*/ 456265 h 1413343"/>
              <a:gd name="connsiteX138" fmla="*/ 2250853 w 6124670"/>
              <a:gd name="connsiteY138" fmla="*/ 391669 h 1413343"/>
              <a:gd name="connsiteX139" fmla="*/ 2156365 w 6124670"/>
              <a:gd name="connsiteY139" fmla="*/ 376732 h 1413343"/>
              <a:gd name="connsiteX140" fmla="*/ 2073497 w 6124670"/>
              <a:gd name="connsiteY140" fmla="*/ 389956 h 1413343"/>
              <a:gd name="connsiteX141" fmla="*/ 2020443 w 6124670"/>
              <a:gd name="connsiteY141" fmla="*/ 439712 h 1413343"/>
              <a:gd name="connsiteX142" fmla="*/ 1797939 w 6124670"/>
              <a:gd name="connsiteY142" fmla="*/ 439712 h 1413343"/>
              <a:gd name="connsiteX143" fmla="*/ 1890808 w 6124670"/>
              <a:gd name="connsiteY143" fmla="*/ 270753 h 1413343"/>
              <a:gd name="connsiteX144" fmla="*/ 2146078 w 6124670"/>
              <a:gd name="connsiteY144" fmla="*/ 194645 h 1413343"/>
              <a:gd name="connsiteX145" fmla="*/ 374523 w 6124670"/>
              <a:gd name="connsiteY145" fmla="*/ 194645 h 1413343"/>
              <a:gd name="connsiteX146" fmla="*/ 649796 w 6124670"/>
              <a:gd name="connsiteY146" fmla="*/ 270753 h 1413343"/>
              <a:gd name="connsiteX147" fmla="*/ 752570 w 6124670"/>
              <a:gd name="connsiteY147" fmla="*/ 486042 h 1413343"/>
              <a:gd name="connsiteX148" fmla="*/ 609695 w 6124670"/>
              <a:gd name="connsiteY148" fmla="*/ 486042 h 1413343"/>
              <a:gd name="connsiteX149" fmla="*/ 513493 w 6124670"/>
              <a:gd name="connsiteY149" fmla="*/ 429722 h 1413343"/>
              <a:gd name="connsiteX150" fmla="*/ 487013 w 6124670"/>
              <a:gd name="connsiteY150" fmla="*/ 403275 h 1413343"/>
              <a:gd name="connsiteX151" fmla="*/ 377571 w 6124670"/>
              <a:gd name="connsiteY151" fmla="*/ 373403 h 1413343"/>
              <a:gd name="connsiteX152" fmla="*/ 278130 w 6124670"/>
              <a:gd name="connsiteY152" fmla="*/ 393286 h 1413343"/>
              <a:gd name="connsiteX153" fmla="*/ 248317 w 6124670"/>
              <a:gd name="connsiteY153" fmla="*/ 452935 h 1413343"/>
              <a:gd name="connsiteX154" fmla="*/ 420719 w 6124670"/>
              <a:gd name="connsiteY154" fmla="*/ 542362 h 1413343"/>
              <a:gd name="connsiteX155" fmla="*/ 455486 w 6124670"/>
              <a:gd name="connsiteY155" fmla="*/ 551875 h 1413343"/>
              <a:gd name="connsiteX156" fmla="*/ 484061 w 6124670"/>
              <a:gd name="connsiteY156" fmla="*/ 555205 h 1413343"/>
              <a:gd name="connsiteX157" fmla="*/ 719519 w 6124670"/>
              <a:gd name="connsiteY157" fmla="*/ 654525 h 1413343"/>
              <a:gd name="connsiteX158" fmla="*/ 782479 w 6124670"/>
              <a:gd name="connsiteY158" fmla="*/ 813495 h 1413343"/>
              <a:gd name="connsiteX159" fmla="*/ 676370 w 6124670"/>
              <a:gd name="connsiteY159" fmla="*/ 1038679 h 1413343"/>
              <a:gd name="connsiteX160" fmla="*/ 377952 w 6124670"/>
              <a:gd name="connsiteY160" fmla="*/ 1111552 h 1413343"/>
              <a:gd name="connsiteX161" fmla="*/ 96108 w 6124670"/>
              <a:gd name="connsiteY161" fmla="*/ 1035444 h 1413343"/>
              <a:gd name="connsiteX162" fmla="*/ 0 w 6124670"/>
              <a:gd name="connsiteY162" fmla="*/ 813495 h 1413343"/>
              <a:gd name="connsiteX163" fmla="*/ 286 w 6124670"/>
              <a:gd name="connsiteY163" fmla="*/ 803982 h 1413343"/>
              <a:gd name="connsiteX164" fmla="*/ 225743 w 6124670"/>
              <a:gd name="connsiteY164" fmla="*/ 803982 h 1413343"/>
              <a:gd name="connsiteX165" fmla="*/ 275463 w 6124670"/>
              <a:gd name="connsiteY165" fmla="*/ 903302 h 1413343"/>
              <a:gd name="connsiteX166" fmla="*/ 408051 w 6124670"/>
              <a:gd name="connsiteY166" fmla="*/ 936409 h 1413343"/>
              <a:gd name="connsiteX167" fmla="*/ 510921 w 6124670"/>
              <a:gd name="connsiteY167" fmla="*/ 913196 h 1413343"/>
              <a:gd name="connsiteX168" fmla="*/ 550640 w 6124670"/>
              <a:gd name="connsiteY168" fmla="*/ 850312 h 1413343"/>
              <a:gd name="connsiteX169" fmla="*/ 411385 w 6124670"/>
              <a:gd name="connsiteY169" fmla="*/ 760886 h 1413343"/>
              <a:gd name="connsiteX170" fmla="*/ 321850 w 6124670"/>
              <a:gd name="connsiteY170" fmla="*/ 741003 h 1413343"/>
              <a:gd name="connsiteX171" fmla="*/ 86487 w 6124670"/>
              <a:gd name="connsiteY171" fmla="*/ 638352 h 1413343"/>
              <a:gd name="connsiteX172" fmla="*/ 19812 w 6124670"/>
              <a:gd name="connsiteY172" fmla="*/ 479383 h 1413343"/>
              <a:gd name="connsiteX173" fmla="*/ 115919 w 6124670"/>
              <a:gd name="connsiteY173" fmla="*/ 270753 h 1413343"/>
              <a:gd name="connsiteX174" fmla="*/ 374523 w 6124670"/>
              <a:gd name="connsiteY174" fmla="*/ 194645 h 1413343"/>
              <a:gd name="connsiteX175" fmla="*/ 2575750 w 6124670"/>
              <a:gd name="connsiteY175" fmla="*/ 0 h 1413343"/>
              <a:gd name="connsiteX176" fmla="*/ 2799779 w 6124670"/>
              <a:gd name="connsiteY176" fmla="*/ 0 h 1413343"/>
              <a:gd name="connsiteX177" fmla="*/ 2799779 w 6124670"/>
              <a:gd name="connsiteY177" fmla="*/ 221949 h 1413343"/>
              <a:gd name="connsiteX178" fmla="*/ 2958084 w 6124670"/>
              <a:gd name="connsiteY178" fmla="*/ 221949 h 1413343"/>
              <a:gd name="connsiteX179" fmla="*/ 2958084 w 6124670"/>
              <a:gd name="connsiteY179" fmla="*/ 420399 h 1413343"/>
              <a:gd name="connsiteX180" fmla="*/ 2800159 w 6124670"/>
              <a:gd name="connsiteY180" fmla="*/ 420399 h 1413343"/>
              <a:gd name="connsiteX181" fmla="*/ 2800159 w 6124670"/>
              <a:gd name="connsiteY181" fmla="*/ 728921 h 1413343"/>
              <a:gd name="connsiteX182" fmla="*/ 2841784 w 6124670"/>
              <a:gd name="connsiteY182" fmla="*/ 857828 h 1413343"/>
              <a:gd name="connsiteX183" fmla="*/ 2968276 w 6124670"/>
              <a:gd name="connsiteY183" fmla="*/ 889984 h 1413343"/>
              <a:gd name="connsiteX184" fmla="*/ 2968276 w 6124670"/>
              <a:gd name="connsiteY184" fmla="*/ 1093667 h 1413343"/>
              <a:gd name="connsiteX185" fmla="*/ 2798064 w 6124670"/>
              <a:gd name="connsiteY185" fmla="*/ 1081870 h 1413343"/>
              <a:gd name="connsiteX186" fmla="*/ 2675858 w 6124670"/>
              <a:gd name="connsiteY186" fmla="*/ 1010614 h 1413343"/>
              <a:gd name="connsiteX187" fmla="*/ 2601183 w 6124670"/>
              <a:gd name="connsiteY187" fmla="*/ 889413 h 1413343"/>
              <a:gd name="connsiteX188" fmla="*/ 2575750 w 6124670"/>
              <a:gd name="connsiteY188" fmla="*/ 727684 h 1413343"/>
              <a:gd name="connsiteX189" fmla="*/ 824770 w 6124670"/>
              <a:gd name="connsiteY189" fmla="*/ 0 h 1413343"/>
              <a:gd name="connsiteX190" fmla="*/ 1048893 w 6124670"/>
              <a:gd name="connsiteY190" fmla="*/ 0 h 1413343"/>
              <a:gd name="connsiteX191" fmla="*/ 1048893 w 6124670"/>
              <a:gd name="connsiteY191" fmla="*/ 221949 h 1413343"/>
              <a:gd name="connsiteX192" fmla="*/ 1206723 w 6124670"/>
              <a:gd name="connsiteY192" fmla="*/ 221949 h 1413343"/>
              <a:gd name="connsiteX193" fmla="*/ 1206723 w 6124670"/>
              <a:gd name="connsiteY193" fmla="*/ 420399 h 1413343"/>
              <a:gd name="connsiteX194" fmla="*/ 1048417 w 6124670"/>
              <a:gd name="connsiteY194" fmla="*/ 420399 h 1413343"/>
              <a:gd name="connsiteX195" fmla="*/ 1048417 w 6124670"/>
              <a:gd name="connsiteY195" fmla="*/ 728921 h 1413343"/>
              <a:gd name="connsiteX196" fmla="*/ 1089946 w 6124670"/>
              <a:gd name="connsiteY196" fmla="*/ 857828 h 1413343"/>
              <a:gd name="connsiteX197" fmla="*/ 1216915 w 6124670"/>
              <a:gd name="connsiteY197" fmla="*/ 890174 h 1413343"/>
              <a:gd name="connsiteX198" fmla="*/ 1216915 w 6124670"/>
              <a:gd name="connsiteY198" fmla="*/ 1093667 h 1413343"/>
              <a:gd name="connsiteX199" fmla="*/ 1047179 w 6124670"/>
              <a:gd name="connsiteY199" fmla="*/ 1081870 h 1413343"/>
              <a:gd name="connsiteX200" fmla="*/ 924973 w 6124670"/>
              <a:gd name="connsiteY200" fmla="*/ 1010614 h 1413343"/>
              <a:gd name="connsiteX201" fmla="*/ 850202 w 6124670"/>
              <a:gd name="connsiteY201" fmla="*/ 889413 h 1413343"/>
              <a:gd name="connsiteX202" fmla="*/ 824770 w 6124670"/>
              <a:gd name="connsiteY202" fmla="*/ 727684 h 1413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6124670" h="1413343">
                <a:moveTo>
                  <a:pt x="2305336" y="651766"/>
                </a:moveTo>
                <a:cubicBezTo>
                  <a:pt x="2263969" y="670831"/>
                  <a:pt x="2220620" y="685282"/>
                  <a:pt x="2176082" y="694862"/>
                </a:cubicBezTo>
                <a:lnTo>
                  <a:pt x="2099882" y="711416"/>
                </a:lnTo>
                <a:cubicBezTo>
                  <a:pt x="2060067" y="722547"/>
                  <a:pt x="2031397" y="736817"/>
                  <a:pt x="2013681" y="754512"/>
                </a:cubicBezTo>
                <a:cubicBezTo>
                  <a:pt x="1999060" y="776060"/>
                  <a:pt x="1990992" y="801366"/>
                  <a:pt x="1990440" y="827385"/>
                </a:cubicBezTo>
                <a:cubicBezTo>
                  <a:pt x="1989058" y="856848"/>
                  <a:pt x="1999869" y="885569"/>
                  <a:pt x="2020348" y="906822"/>
                </a:cubicBezTo>
                <a:cubicBezTo>
                  <a:pt x="2040255" y="924517"/>
                  <a:pt x="2068926" y="933269"/>
                  <a:pt x="2106073" y="933269"/>
                </a:cubicBezTo>
                <a:cubicBezTo>
                  <a:pt x="2167919" y="933269"/>
                  <a:pt x="2216535" y="915641"/>
                  <a:pt x="2251900" y="880375"/>
                </a:cubicBezTo>
                <a:cubicBezTo>
                  <a:pt x="2287267" y="845108"/>
                  <a:pt x="2304955" y="796533"/>
                  <a:pt x="2304955" y="734629"/>
                </a:cubicBezTo>
                <a:close/>
                <a:moveTo>
                  <a:pt x="3393473" y="386722"/>
                </a:moveTo>
                <a:cubicBezTo>
                  <a:pt x="3349077" y="385180"/>
                  <a:pt x="3305986" y="401934"/>
                  <a:pt x="3274315" y="433052"/>
                </a:cubicBezTo>
                <a:cubicBezTo>
                  <a:pt x="3243263" y="463999"/>
                  <a:pt x="3226623" y="508142"/>
                  <a:pt x="3224404" y="565479"/>
                </a:cubicBezTo>
                <a:lnTo>
                  <a:pt x="3562637" y="565479"/>
                </a:lnTo>
                <a:cubicBezTo>
                  <a:pt x="3558131" y="505925"/>
                  <a:pt x="3542634" y="461783"/>
                  <a:pt x="3516155" y="433052"/>
                </a:cubicBezTo>
                <a:cubicBezTo>
                  <a:pt x="3487513" y="402162"/>
                  <a:pt x="3446622" y="386722"/>
                  <a:pt x="3393473" y="386722"/>
                </a:cubicBezTo>
                <a:close/>
                <a:moveTo>
                  <a:pt x="4552474" y="214433"/>
                </a:moveTo>
                <a:lnTo>
                  <a:pt x="4807839" y="214433"/>
                </a:lnTo>
                <a:lnTo>
                  <a:pt x="4986910" y="837089"/>
                </a:lnTo>
                <a:lnTo>
                  <a:pt x="5142739" y="293966"/>
                </a:lnTo>
                <a:cubicBezTo>
                  <a:pt x="5155978" y="241004"/>
                  <a:pt x="5191411" y="214500"/>
                  <a:pt x="5248847" y="214433"/>
                </a:cubicBezTo>
                <a:lnTo>
                  <a:pt x="5407914" y="214433"/>
                </a:lnTo>
                <a:lnTo>
                  <a:pt x="5069681" y="1217912"/>
                </a:lnTo>
                <a:cubicBezTo>
                  <a:pt x="5043106" y="1290785"/>
                  <a:pt x="5009959" y="1342662"/>
                  <a:pt x="4970146" y="1373552"/>
                </a:cubicBezTo>
                <a:cubicBezTo>
                  <a:pt x="4930426" y="1400124"/>
                  <a:pt x="4865180" y="1413385"/>
                  <a:pt x="4774597" y="1413318"/>
                </a:cubicBezTo>
                <a:lnTo>
                  <a:pt x="4751737" y="1413318"/>
                </a:lnTo>
                <a:cubicBezTo>
                  <a:pt x="4742403" y="1413509"/>
                  <a:pt x="4684586" y="1412558"/>
                  <a:pt x="4677918" y="1412558"/>
                </a:cubicBezTo>
                <a:lnTo>
                  <a:pt x="4677918" y="1224572"/>
                </a:lnTo>
                <a:lnTo>
                  <a:pt x="4741164" y="1224572"/>
                </a:lnTo>
                <a:cubicBezTo>
                  <a:pt x="4785646" y="1224572"/>
                  <a:pt x="4820507" y="1214078"/>
                  <a:pt x="4845939" y="1193082"/>
                </a:cubicBezTo>
                <a:cubicBezTo>
                  <a:pt x="4871371" y="1172057"/>
                  <a:pt x="4876323" y="1138475"/>
                  <a:pt x="4860893" y="1092050"/>
                </a:cubicBezTo>
                <a:close/>
                <a:moveTo>
                  <a:pt x="1721739" y="214433"/>
                </a:moveTo>
                <a:lnTo>
                  <a:pt x="1754982" y="214433"/>
                </a:lnTo>
                <a:lnTo>
                  <a:pt x="1754982" y="449605"/>
                </a:lnTo>
                <a:lnTo>
                  <a:pt x="1678782" y="449605"/>
                </a:lnTo>
                <a:cubicBezTo>
                  <a:pt x="1614583" y="449605"/>
                  <a:pt x="1566958" y="465046"/>
                  <a:pt x="1535907" y="495936"/>
                </a:cubicBezTo>
                <a:cubicBezTo>
                  <a:pt x="1504855" y="526826"/>
                  <a:pt x="1489396" y="575402"/>
                  <a:pt x="1489520" y="641682"/>
                </a:cubicBezTo>
                <a:lnTo>
                  <a:pt x="1489520" y="1095379"/>
                </a:lnTo>
                <a:lnTo>
                  <a:pt x="1257205" y="1095379"/>
                </a:lnTo>
                <a:lnTo>
                  <a:pt x="1257205" y="668225"/>
                </a:lnTo>
                <a:cubicBezTo>
                  <a:pt x="1257205" y="582033"/>
                  <a:pt x="1269902" y="509702"/>
                  <a:pt x="1295305" y="451223"/>
                </a:cubicBezTo>
                <a:cubicBezTo>
                  <a:pt x="1318051" y="396397"/>
                  <a:pt x="1354046" y="348049"/>
                  <a:pt x="1400080" y="310519"/>
                </a:cubicBezTo>
                <a:cubicBezTo>
                  <a:pt x="1443829" y="276527"/>
                  <a:pt x="1494016" y="251735"/>
                  <a:pt x="1547622" y="237646"/>
                </a:cubicBezTo>
                <a:cubicBezTo>
                  <a:pt x="1604354" y="222148"/>
                  <a:pt x="1662923" y="214347"/>
                  <a:pt x="1721739" y="214433"/>
                </a:cubicBezTo>
                <a:close/>
                <a:moveTo>
                  <a:pt x="5716715" y="194645"/>
                </a:moveTo>
                <a:cubicBezTo>
                  <a:pt x="5831586" y="194645"/>
                  <a:pt x="5923312" y="220017"/>
                  <a:pt x="5991892" y="270753"/>
                </a:cubicBezTo>
                <a:cubicBezTo>
                  <a:pt x="6055995" y="326054"/>
                  <a:pt x="6090285" y="397824"/>
                  <a:pt x="6094762" y="486042"/>
                </a:cubicBezTo>
                <a:lnTo>
                  <a:pt x="5951887" y="486042"/>
                </a:lnTo>
                <a:cubicBezTo>
                  <a:pt x="5911691" y="487127"/>
                  <a:pt x="5874353" y="465284"/>
                  <a:pt x="5855684" y="429722"/>
                </a:cubicBezTo>
                <a:lnTo>
                  <a:pt x="5829205" y="403275"/>
                </a:lnTo>
                <a:cubicBezTo>
                  <a:pt x="5802630" y="383420"/>
                  <a:pt x="5766149" y="373469"/>
                  <a:pt x="5719762" y="373403"/>
                </a:cubicBezTo>
                <a:cubicBezTo>
                  <a:pt x="5675280" y="373403"/>
                  <a:pt x="5642134" y="380034"/>
                  <a:pt x="5620322" y="393286"/>
                </a:cubicBezTo>
                <a:cubicBezTo>
                  <a:pt x="5600414" y="406386"/>
                  <a:pt x="5588984" y="429142"/>
                  <a:pt x="5590413" y="452935"/>
                </a:cubicBezTo>
                <a:cubicBezTo>
                  <a:pt x="5590413" y="488259"/>
                  <a:pt x="5647848" y="518074"/>
                  <a:pt x="5762816" y="542362"/>
                </a:cubicBezTo>
                <a:cubicBezTo>
                  <a:pt x="5774245" y="546148"/>
                  <a:pt x="5785867" y="549325"/>
                  <a:pt x="5797678" y="551875"/>
                </a:cubicBezTo>
                <a:cubicBezTo>
                  <a:pt x="5807012" y="554073"/>
                  <a:pt x="5816632" y="555195"/>
                  <a:pt x="5826253" y="555205"/>
                </a:cubicBezTo>
                <a:cubicBezTo>
                  <a:pt x="5938933" y="583935"/>
                  <a:pt x="6017323" y="617042"/>
                  <a:pt x="6061615" y="654525"/>
                </a:cubicBezTo>
                <a:cubicBezTo>
                  <a:pt x="6103620" y="694292"/>
                  <a:pt x="6124575" y="747282"/>
                  <a:pt x="6124670" y="813495"/>
                </a:cubicBezTo>
                <a:cubicBezTo>
                  <a:pt x="6124670" y="910723"/>
                  <a:pt x="6089333" y="985784"/>
                  <a:pt x="6018562" y="1038679"/>
                </a:cubicBezTo>
                <a:cubicBezTo>
                  <a:pt x="5952268" y="1087321"/>
                  <a:pt x="5852826" y="1111619"/>
                  <a:pt x="5720144" y="1111552"/>
                </a:cubicBezTo>
                <a:cubicBezTo>
                  <a:pt x="5594128" y="1111552"/>
                  <a:pt x="5500117" y="1086180"/>
                  <a:pt x="5438298" y="1035444"/>
                </a:cubicBezTo>
                <a:cubicBezTo>
                  <a:pt x="5374195" y="984709"/>
                  <a:pt x="5342096" y="910723"/>
                  <a:pt x="5342096" y="813495"/>
                </a:cubicBezTo>
                <a:lnTo>
                  <a:pt x="5342287" y="803982"/>
                </a:lnTo>
                <a:lnTo>
                  <a:pt x="5567839" y="803982"/>
                </a:lnTo>
                <a:cubicBezTo>
                  <a:pt x="5569934" y="848124"/>
                  <a:pt x="5586889" y="881326"/>
                  <a:pt x="5617559" y="903302"/>
                </a:cubicBezTo>
                <a:cubicBezTo>
                  <a:pt x="5650706" y="925469"/>
                  <a:pt x="5694902" y="936409"/>
                  <a:pt x="5750148" y="936409"/>
                </a:cubicBezTo>
                <a:cubicBezTo>
                  <a:pt x="5785771" y="937379"/>
                  <a:pt x="5821109" y="929398"/>
                  <a:pt x="5852922" y="913196"/>
                </a:cubicBezTo>
                <a:cubicBezTo>
                  <a:pt x="5879497" y="897784"/>
                  <a:pt x="5892737" y="876826"/>
                  <a:pt x="5892737" y="850312"/>
                </a:cubicBezTo>
                <a:cubicBezTo>
                  <a:pt x="5892737" y="810546"/>
                  <a:pt x="5846350" y="780740"/>
                  <a:pt x="5753481" y="760886"/>
                </a:cubicBezTo>
                <a:cubicBezTo>
                  <a:pt x="5723191" y="756472"/>
                  <a:pt x="5693283" y="749831"/>
                  <a:pt x="5663946" y="741003"/>
                </a:cubicBezTo>
                <a:cubicBezTo>
                  <a:pt x="5546788" y="712396"/>
                  <a:pt x="5468302" y="678185"/>
                  <a:pt x="5428584" y="638352"/>
                </a:cubicBezTo>
                <a:cubicBezTo>
                  <a:pt x="5384102" y="598710"/>
                  <a:pt x="5361909" y="545720"/>
                  <a:pt x="5361909" y="479383"/>
                </a:cubicBezTo>
                <a:cubicBezTo>
                  <a:pt x="5360384" y="398813"/>
                  <a:pt x="5395817" y="321964"/>
                  <a:pt x="5458111" y="270753"/>
                </a:cubicBezTo>
                <a:cubicBezTo>
                  <a:pt x="5524405" y="220017"/>
                  <a:pt x="5610606" y="194645"/>
                  <a:pt x="5716715" y="194645"/>
                </a:cubicBezTo>
                <a:close/>
                <a:moveTo>
                  <a:pt x="4192239" y="194645"/>
                </a:moveTo>
                <a:cubicBezTo>
                  <a:pt x="4307110" y="194645"/>
                  <a:pt x="4398836" y="220017"/>
                  <a:pt x="4467416" y="270753"/>
                </a:cubicBezTo>
                <a:cubicBezTo>
                  <a:pt x="4531519" y="326054"/>
                  <a:pt x="4565809" y="397824"/>
                  <a:pt x="4570190" y="486042"/>
                </a:cubicBezTo>
                <a:lnTo>
                  <a:pt x="4427315" y="486042"/>
                </a:lnTo>
                <a:cubicBezTo>
                  <a:pt x="4387244" y="487098"/>
                  <a:pt x="4350087" y="465236"/>
                  <a:pt x="4331589" y="429722"/>
                </a:cubicBezTo>
                <a:lnTo>
                  <a:pt x="4305015" y="403275"/>
                </a:lnTo>
                <a:cubicBezTo>
                  <a:pt x="4278535" y="383420"/>
                  <a:pt x="4242083" y="373469"/>
                  <a:pt x="4195667" y="373403"/>
                </a:cubicBezTo>
                <a:cubicBezTo>
                  <a:pt x="4151214" y="373403"/>
                  <a:pt x="4118039" y="380034"/>
                  <a:pt x="4096132" y="393286"/>
                </a:cubicBezTo>
                <a:cubicBezTo>
                  <a:pt x="4076224" y="406415"/>
                  <a:pt x="4064861" y="429161"/>
                  <a:pt x="4066318" y="452935"/>
                </a:cubicBezTo>
                <a:cubicBezTo>
                  <a:pt x="4066318" y="488259"/>
                  <a:pt x="4123782" y="518074"/>
                  <a:pt x="4238721" y="542362"/>
                </a:cubicBezTo>
                <a:cubicBezTo>
                  <a:pt x="4250160" y="546167"/>
                  <a:pt x="4261799" y="549335"/>
                  <a:pt x="4273582" y="551875"/>
                </a:cubicBezTo>
                <a:cubicBezTo>
                  <a:pt x="4282793" y="554044"/>
                  <a:pt x="4292223" y="555157"/>
                  <a:pt x="4301681" y="555205"/>
                </a:cubicBezTo>
                <a:cubicBezTo>
                  <a:pt x="4414457" y="583935"/>
                  <a:pt x="4492943" y="617042"/>
                  <a:pt x="4537139" y="654525"/>
                </a:cubicBezTo>
                <a:cubicBezTo>
                  <a:pt x="4579144" y="694292"/>
                  <a:pt x="4600099" y="747282"/>
                  <a:pt x="4600099" y="813495"/>
                </a:cubicBezTo>
                <a:cubicBezTo>
                  <a:pt x="4600099" y="910723"/>
                  <a:pt x="4564761" y="985784"/>
                  <a:pt x="4494086" y="1038679"/>
                </a:cubicBezTo>
                <a:cubicBezTo>
                  <a:pt x="4427668" y="1087321"/>
                  <a:pt x="4328189" y="1111619"/>
                  <a:pt x="4195667" y="1111552"/>
                </a:cubicBezTo>
                <a:cubicBezTo>
                  <a:pt x="4069623" y="1111552"/>
                  <a:pt x="3975669" y="1086180"/>
                  <a:pt x="3913823" y="1035444"/>
                </a:cubicBezTo>
                <a:cubicBezTo>
                  <a:pt x="3849625" y="984709"/>
                  <a:pt x="3817554" y="910723"/>
                  <a:pt x="3817620" y="813495"/>
                </a:cubicBezTo>
                <a:lnTo>
                  <a:pt x="3817906" y="803982"/>
                </a:lnTo>
                <a:lnTo>
                  <a:pt x="4043363" y="803982"/>
                </a:lnTo>
                <a:cubicBezTo>
                  <a:pt x="4045553" y="848124"/>
                  <a:pt x="4062413" y="881326"/>
                  <a:pt x="4093084" y="903302"/>
                </a:cubicBezTo>
                <a:cubicBezTo>
                  <a:pt x="4126326" y="925469"/>
                  <a:pt x="4170522" y="936409"/>
                  <a:pt x="4225767" y="936409"/>
                </a:cubicBezTo>
                <a:cubicBezTo>
                  <a:pt x="4261428" y="937379"/>
                  <a:pt x="4296766" y="929398"/>
                  <a:pt x="4328541" y="913196"/>
                </a:cubicBezTo>
                <a:cubicBezTo>
                  <a:pt x="4355021" y="897784"/>
                  <a:pt x="4368356" y="876855"/>
                  <a:pt x="4368356" y="850312"/>
                </a:cubicBezTo>
                <a:cubicBezTo>
                  <a:pt x="4368356" y="810546"/>
                  <a:pt x="4321940" y="780740"/>
                  <a:pt x="4229100" y="760886"/>
                </a:cubicBezTo>
                <a:cubicBezTo>
                  <a:pt x="4198802" y="756472"/>
                  <a:pt x="4168874" y="749831"/>
                  <a:pt x="4139566" y="741003"/>
                </a:cubicBezTo>
                <a:cubicBezTo>
                  <a:pt x="4022284" y="712396"/>
                  <a:pt x="3943798" y="678185"/>
                  <a:pt x="3904107" y="638352"/>
                </a:cubicBezTo>
                <a:cubicBezTo>
                  <a:pt x="3859654" y="598710"/>
                  <a:pt x="3837432" y="545720"/>
                  <a:pt x="3837432" y="479383"/>
                </a:cubicBezTo>
                <a:cubicBezTo>
                  <a:pt x="3835918" y="398832"/>
                  <a:pt x="3871313" y="322011"/>
                  <a:pt x="3933540" y="270753"/>
                </a:cubicBezTo>
                <a:cubicBezTo>
                  <a:pt x="3999957" y="220017"/>
                  <a:pt x="4086197" y="194645"/>
                  <a:pt x="4192239" y="194645"/>
                </a:cubicBezTo>
                <a:close/>
                <a:moveTo>
                  <a:pt x="3386901" y="194645"/>
                </a:moveTo>
                <a:cubicBezTo>
                  <a:pt x="3519488" y="194645"/>
                  <a:pt x="3622264" y="234383"/>
                  <a:pt x="3695225" y="313849"/>
                </a:cubicBezTo>
                <a:cubicBezTo>
                  <a:pt x="3765967" y="395541"/>
                  <a:pt x="3801333" y="509226"/>
                  <a:pt x="3801333" y="654906"/>
                </a:cubicBezTo>
                <a:lnTo>
                  <a:pt x="3801333" y="691342"/>
                </a:lnTo>
                <a:cubicBezTo>
                  <a:pt x="3801838" y="699229"/>
                  <a:pt x="3800704" y="707135"/>
                  <a:pt x="3797999" y="714555"/>
                </a:cubicBezTo>
                <a:lnTo>
                  <a:pt x="3224404" y="714555"/>
                </a:lnTo>
                <a:cubicBezTo>
                  <a:pt x="3226623" y="783052"/>
                  <a:pt x="3243197" y="833787"/>
                  <a:pt x="3274124" y="866771"/>
                </a:cubicBezTo>
                <a:cubicBezTo>
                  <a:pt x="3302766" y="902161"/>
                  <a:pt x="3345876" y="919827"/>
                  <a:pt x="3403474" y="919761"/>
                </a:cubicBezTo>
                <a:cubicBezTo>
                  <a:pt x="3437002" y="920750"/>
                  <a:pt x="3470187" y="912768"/>
                  <a:pt x="3499581" y="896643"/>
                </a:cubicBezTo>
                <a:cubicBezTo>
                  <a:pt x="3506515" y="894274"/>
                  <a:pt x="3512783" y="890297"/>
                  <a:pt x="3517869" y="885036"/>
                </a:cubicBezTo>
                <a:lnTo>
                  <a:pt x="3536062" y="866771"/>
                </a:lnTo>
                <a:cubicBezTo>
                  <a:pt x="3541967" y="855992"/>
                  <a:pt x="3550521" y="846887"/>
                  <a:pt x="3560923" y="840323"/>
                </a:cubicBezTo>
                <a:cubicBezTo>
                  <a:pt x="3579000" y="828250"/>
                  <a:pt x="3600565" y="822466"/>
                  <a:pt x="3622264" y="823865"/>
                </a:cubicBezTo>
                <a:lnTo>
                  <a:pt x="3788094" y="823865"/>
                </a:lnTo>
                <a:cubicBezTo>
                  <a:pt x="3763710" y="916526"/>
                  <a:pt x="3717294" y="987182"/>
                  <a:pt x="3648838" y="1035825"/>
                </a:cubicBezTo>
                <a:cubicBezTo>
                  <a:pt x="3580258" y="1086560"/>
                  <a:pt x="3494028" y="1111932"/>
                  <a:pt x="3390139" y="1111932"/>
                </a:cubicBezTo>
                <a:cubicBezTo>
                  <a:pt x="3264219" y="1111932"/>
                  <a:pt x="3165797" y="1071091"/>
                  <a:pt x="3094864" y="989399"/>
                </a:cubicBezTo>
                <a:cubicBezTo>
                  <a:pt x="3024188" y="909933"/>
                  <a:pt x="2988851" y="796247"/>
                  <a:pt x="2988851" y="648342"/>
                </a:cubicBezTo>
                <a:cubicBezTo>
                  <a:pt x="2988851" y="507095"/>
                  <a:pt x="3023112" y="396711"/>
                  <a:pt x="3091626" y="317178"/>
                </a:cubicBezTo>
                <a:cubicBezTo>
                  <a:pt x="3162301" y="235486"/>
                  <a:pt x="3260723" y="194645"/>
                  <a:pt x="3386901" y="194645"/>
                </a:cubicBezTo>
                <a:close/>
                <a:moveTo>
                  <a:pt x="2146078" y="194645"/>
                </a:moveTo>
                <a:cubicBezTo>
                  <a:pt x="2269903" y="194645"/>
                  <a:pt x="2362772" y="215603"/>
                  <a:pt x="2424684" y="257529"/>
                </a:cubicBezTo>
                <a:cubicBezTo>
                  <a:pt x="2488816" y="301928"/>
                  <a:pt x="2520858" y="363728"/>
                  <a:pt x="2520792" y="442946"/>
                </a:cubicBezTo>
                <a:lnTo>
                  <a:pt x="2520792" y="744332"/>
                </a:lnTo>
                <a:cubicBezTo>
                  <a:pt x="2520792" y="832684"/>
                  <a:pt x="2504914" y="901685"/>
                  <a:pt x="2473167" y="951345"/>
                </a:cubicBezTo>
                <a:cubicBezTo>
                  <a:pt x="2445477" y="997067"/>
                  <a:pt x="2405777" y="1034341"/>
                  <a:pt x="2358391" y="1059133"/>
                </a:cubicBezTo>
                <a:cubicBezTo>
                  <a:pt x="2312508" y="1083297"/>
                  <a:pt x="2262435" y="1098471"/>
                  <a:pt x="2210848" y="1103846"/>
                </a:cubicBezTo>
                <a:cubicBezTo>
                  <a:pt x="2165176" y="1109002"/>
                  <a:pt x="2119265" y="1111761"/>
                  <a:pt x="2073307" y="1112123"/>
                </a:cubicBezTo>
                <a:cubicBezTo>
                  <a:pt x="1998574" y="1113559"/>
                  <a:pt x="1925374" y="1090831"/>
                  <a:pt x="1864614" y="1047336"/>
                </a:cubicBezTo>
                <a:cubicBezTo>
                  <a:pt x="1804921" y="1004335"/>
                  <a:pt x="1775079" y="933146"/>
                  <a:pt x="1775079" y="833759"/>
                </a:cubicBezTo>
                <a:cubicBezTo>
                  <a:pt x="1775079" y="741031"/>
                  <a:pt x="1802159" y="674789"/>
                  <a:pt x="1856328" y="635023"/>
                </a:cubicBezTo>
                <a:cubicBezTo>
                  <a:pt x="1910496" y="595256"/>
                  <a:pt x="1979553" y="568781"/>
                  <a:pt x="2063496" y="555586"/>
                </a:cubicBezTo>
                <a:cubicBezTo>
                  <a:pt x="2076908" y="555319"/>
                  <a:pt x="2090242" y="553664"/>
                  <a:pt x="2103311" y="550638"/>
                </a:cubicBezTo>
                <a:cubicBezTo>
                  <a:pt x="2120846" y="546976"/>
                  <a:pt x="2138553" y="544217"/>
                  <a:pt x="2156365" y="542362"/>
                </a:cubicBezTo>
                <a:cubicBezTo>
                  <a:pt x="2253644" y="529167"/>
                  <a:pt x="2302288" y="500474"/>
                  <a:pt x="2302288" y="456265"/>
                </a:cubicBezTo>
                <a:cubicBezTo>
                  <a:pt x="2302288" y="423158"/>
                  <a:pt x="2285143" y="401629"/>
                  <a:pt x="2250853" y="391669"/>
                </a:cubicBezTo>
                <a:cubicBezTo>
                  <a:pt x="2220220" y="382260"/>
                  <a:pt x="2188407" y="377237"/>
                  <a:pt x="2156365" y="376732"/>
                </a:cubicBezTo>
                <a:cubicBezTo>
                  <a:pt x="2128181" y="376314"/>
                  <a:pt x="2100149" y="380785"/>
                  <a:pt x="2073497" y="389956"/>
                </a:cubicBezTo>
                <a:cubicBezTo>
                  <a:pt x="2049618" y="398395"/>
                  <a:pt x="2030378" y="416442"/>
                  <a:pt x="2020443" y="439712"/>
                </a:cubicBezTo>
                <a:lnTo>
                  <a:pt x="1797939" y="439712"/>
                </a:lnTo>
                <a:cubicBezTo>
                  <a:pt x="1805626" y="373441"/>
                  <a:pt x="1838954" y="312802"/>
                  <a:pt x="1890808" y="270753"/>
                </a:cubicBezTo>
                <a:cubicBezTo>
                  <a:pt x="1950501" y="220017"/>
                  <a:pt x="2035588" y="194645"/>
                  <a:pt x="2146078" y="194645"/>
                </a:cubicBezTo>
                <a:close/>
                <a:moveTo>
                  <a:pt x="374523" y="194645"/>
                </a:moveTo>
                <a:cubicBezTo>
                  <a:pt x="489462" y="194645"/>
                  <a:pt x="581216" y="220017"/>
                  <a:pt x="649796" y="270753"/>
                </a:cubicBezTo>
                <a:cubicBezTo>
                  <a:pt x="713927" y="326054"/>
                  <a:pt x="748189" y="397824"/>
                  <a:pt x="752570" y="486042"/>
                </a:cubicBezTo>
                <a:lnTo>
                  <a:pt x="609695" y="486042"/>
                </a:lnTo>
                <a:cubicBezTo>
                  <a:pt x="569500" y="487127"/>
                  <a:pt x="532181" y="465284"/>
                  <a:pt x="513493" y="429722"/>
                </a:cubicBezTo>
                <a:cubicBezTo>
                  <a:pt x="504634" y="420970"/>
                  <a:pt x="495776" y="412122"/>
                  <a:pt x="487013" y="403275"/>
                </a:cubicBezTo>
                <a:cubicBezTo>
                  <a:pt x="460534" y="383420"/>
                  <a:pt x="424053" y="373469"/>
                  <a:pt x="377571" y="373403"/>
                </a:cubicBezTo>
                <a:cubicBezTo>
                  <a:pt x="333118" y="373403"/>
                  <a:pt x="299971" y="380034"/>
                  <a:pt x="278130" y="393286"/>
                </a:cubicBezTo>
                <a:cubicBezTo>
                  <a:pt x="258223" y="406415"/>
                  <a:pt x="246859" y="429161"/>
                  <a:pt x="248317" y="452935"/>
                </a:cubicBezTo>
                <a:cubicBezTo>
                  <a:pt x="248317" y="488259"/>
                  <a:pt x="305781" y="518074"/>
                  <a:pt x="420719" y="542362"/>
                </a:cubicBezTo>
                <a:cubicBezTo>
                  <a:pt x="432130" y="546148"/>
                  <a:pt x="443732" y="549325"/>
                  <a:pt x="455486" y="551875"/>
                </a:cubicBezTo>
                <a:cubicBezTo>
                  <a:pt x="464849" y="554073"/>
                  <a:pt x="474440" y="555186"/>
                  <a:pt x="484061" y="555205"/>
                </a:cubicBezTo>
                <a:cubicBezTo>
                  <a:pt x="596837" y="583935"/>
                  <a:pt x="675323" y="617042"/>
                  <a:pt x="719519" y="654525"/>
                </a:cubicBezTo>
                <a:cubicBezTo>
                  <a:pt x="761429" y="694292"/>
                  <a:pt x="782412" y="747282"/>
                  <a:pt x="782479" y="813495"/>
                </a:cubicBezTo>
                <a:cubicBezTo>
                  <a:pt x="782479" y="910723"/>
                  <a:pt x="747113" y="985784"/>
                  <a:pt x="676370" y="1038679"/>
                </a:cubicBezTo>
                <a:cubicBezTo>
                  <a:pt x="610076" y="1087321"/>
                  <a:pt x="510607" y="1111619"/>
                  <a:pt x="377952" y="1111552"/>
                </a:cubicBezTo>
                <a:cubicBezTo>
                  <a:pt x="251908" y="1111552"/>
                  <a:pt x="157953" y="1086180"/>
                  <a:pt x="96108" y="1035444"/>
                </a:cubicBezTo>
                <a:cubicBezTo>
                  <a:pt x="31975" y="984709"/>
                  <a:pt x="-67" y="910723"/>
                  <a:pt x="0" y="813495"/>
                </a:cubicBezTo>
                <a:lnTo>
                  <a:pt x="286" y="803982"/>
                </a:lnTo>
                <a:lnTo>
                  <a:pt x="225743" y="803982"/>
                </a:lnTo>
                <a:cubicBezTo>
                  <a:pt x="227933" y="848124"/>
                  <a:pt x="244793" y="881326"/>
                  <a:pt x="275463" y="903302"/>
                </a:cubicBezTo>
                <a:cubicBezTo>
                  <a:pt x="308610" y="925469"/>
                  <a:pt x="352806" y="936409"/>
                  <a:pt x="408051" y="936409"/>
                </a:cubicBezTo>
                <a:cubicBezTo>
                  <a:pt x="443742" y="937379"/>
                  <a:pt x="479108" y="929398"/>
                  <a:pt x="510921" y="913196"/>
                </a:cubicBezTo>
                <a:cubicBezTo>
                  <a:pt x="537400" y="897784"/>
                  <a:pt x="550640" y="876826"/>
                  <a:pt x="550640" y="850312"/>
                </a:cubicBezTo>
                <a:cubicBezTo>
                  <a:pt x="550640" y="810546"/>
                  <a:pt x="504225" y="780740"/>
                  <a:pt x="411385" y="760886"/>
                </a:cubicBezTo>
                <a:cubicBezTo>
                  <a:pt x="381095" y="756462"/>
                  <a:pt x="351168" y="749822"/>
                  <a:pt x="321850" y="741003"/>
                </a:cubicBezTo>
                <a:cubicBezTo>
                  <a:pt x="204692" y="712396"/>
                  <a:pt x="126235" y="678185"/>
                  <a:pt x="86487" y="638352"/>
                </a:cubicBezTo>
                <a:cubicBezTo>
                  <a:pt x="42034" y="598710"/>
                  <a:pt x="19812" y="545720"/>
                  <a:pt x="19812" y="479383"/>
                </a:cubicBezTo>
                <a:cubicBezTo>
                  <a:pt x="18298" y="398832"/>
                  <a:pt x="53693" y="322011"/>
                  <a:pt x="115919" y="270753"/>
                </a:cubicBezTo>
                <a:cubicBezTo>
                  <a:pt x="182213" y="220017"/>
                  <a:pt x="268415" y="194645"/>
                  <a:pt x="374523" y="194645"/>
                </a:cubicBezTo>
                <a:close/>
                <a:moveTo>
                  <a:pt x="2575750" y="0"/>
                </a:moveTo>
                <a:lnTo>
                  <a:pt x="2799779" y="0"/>
                </a:lnTo>
                <a:lnTo>
                  <a:pt x="2799779" y="221949"/>
                </a:lnTo>
                <a:lnTo>
                  <a:pt x="2958084" y="221949"/>
                </a:lnTo>
                <a:lnTo>
                  <a:pt x="2958084" y="420399"/>
                </a:lnTo>
                <a:lnTo>
                  <a:pt x="2800159" y="420399"/>
                </a:lnTo>
                <a:lnTo>
                  <a:pt x="2800159" y="728921"/>
                </a:lnTo>
                <a:cubicBezTo>
                  <a:pt x="2800159" y="789997"/>
                  <a:pt x="2814038" y="832969"/>
                  <a:pt x="2841784" y="857828"/>
                </a:cubicBezTo>
                <a:cubicBezTo>
                  <a:pt x="2869530" y="882687"/>
                  <a:pt x="2911697" y="893408"/>
                  <a:pt x="2968276" y="889984"/>
                </a:cubicBezTo>
                <a:lnTo>
                  <a:pt x="2968276" y="1093667"/>
                </a:lnTo>
                <a:cubicBezTo>
                  <a:pt x="2911317" y="1101116"/>
                  <a:pt x="2853443" y="1097111"/>
                  <a:pt x="2798064" y="1081870"/>
                </a:cubicBezTo>
                <a:cubicBezTo>
                  <a:pt x="2752011" y="1068675"/>
                  <a:pt x="2710006" y="1044178"/>
                  <a:pt x="2675858" y="1010614"/>
                </a:cubicBezTo>
                <a:cubicBezTo>
                  <a:pt x="2642092" y="976385"/>
                  <a:pt x="2616556" y="934944"/>
                  <a:pt x="2601183" y="889413"/>
                </a:cubicBezTo>
                <a:cubicBezTo>
                  <a:pt x="2583590" y="837336"/>
                  <a:pt x="2574998" y="782643"/>
                  <a:pt x="2575750" y="727684"/>
                </a:cubicBezTo>
                <a:close/>
                <a:moveTo>
                  <a:pt x="824770" y="0"/>
                </a:moveTo>
                <a:lnTo>
                  <a:pt x="1048893" y="0"/>
                </a:lnTo>
                <a:lnTo>
                  <a:pt x="1048893" y="221949"/>
                </a:lnTo>
                <a:lnTo>
                  <a:pt x="1206723" y="221949"/>
                </a:lnTo>
                <a:lnTo>
                  <a:pt x="1206723" y="420399"/>
                </a:lnTo>
                <a:lnTo>
                  <a:pt x="1048417" y="420399"/>
                </a:lnTo>
                <a:lnTo>
                  <a:pt x="1048417" y="728921"/>
                </a:lnTo>
                <a:cubicBezTo>
                  <a:pt x="1048417" y="789997"/>
                  <a:pt x="1062257" y="832969"/>
                  <a:pt x="1089946" y="857828"/>
                </a:cubicBezTo>
                <a:cubicBezTo>
                  <a:pt x="1117636" y="882687"/>
                  <a:pt x="1159955" y="893475"/>
                  <a:pt x="1216915" y="890174"/>
                </a:cubicBezTo>
                <a:lnTo>
                  <a:pt x="1216915" y="1093667"/>
                </a:lnTo>
                <a:cubicBezTo>
                  <a:pt x="1160117" y="1101068"/>
                  <a:pt x="1102405" y="1097054"/>
                  <a:pt x="1047179" y="1081870"/>
                </a:cubicBezTo>
                <a:cubicBezTo>
                  <a:pt x="1001116" y="1068694"/>
                  <a:pt x="959101" y="1044197"/>
                  <a:pt x="924973" y="1010614"/>
                </a:cubicBezTo>
                <a:cubicBezTo>
                  <a:pt x="891207" y="976366"/>
                  <a:pt x="865642" y="934935"/>
                  <a:pt x="850202" y="889413"/>
                </a:cubicBezTo>
                <a:cubicBezTo>
                  <a:pt x="832619" y="837336"/>
                  <a:pt x="824018" y="782643"/>
                  <a:pt x="824770" y="727684"/>
                </a:cubicBezTo>
                <a:close/>
              </a:path>
            </a:pathLst>
          </a:custGeom>
          <a:solidFill>
            <a:srgbClr val="002060"/>
          </a:solidFill>
          <a:ln w="9525" cap="flat">
            <a:noFill/>
            <a:prstDash val="solid"/>
            <a:miter/>
          </a:ln>
        </p:spPr>
        <p:txBody>
          <a:bodyPr rtlCol="0" anchor="ctr"/>
          <a:lstStyle/>
          <a:p>
            <a:endParaRPr lang="es-ES"/>
          </a:p>
        </p:txBody>
      </p:sp>
      <p:pic>
        <p:nvPicPr>
          <p:cNvPr id="5" name="Imagen 4">
            <a:extLst>
              <a:ext uri="{FF2B5EF4-FFF2-40B4-BE49-F238E27FC236}">
                <a16:creationId xmlns:a16="http://schemas.microsoft.com/office/drawing/2014/main" id="{866117E9-652A-41C9-B0BC-17A40B2DE00A}"/>
              </a:ext>
            </a:extLst>
          </p:cNvPr>
          <p:cNvPicPr>
            <a:picLocks noChangeAspect="1"/>
          </p:cNvPicPr>
          <p:nvPr userDrawn="1"/>
        </p:nvPicPr>
        <p:blipFill>
          <a:blip r:embed="rId2"/>
          <a:stretch>
            <a:fillRect/>
          </a:stretch>
        </p:blipFill>
        <p:spPr>
          <a:xfrm>
            <a:off x="491192" y="475783"/>
            <a:ext cx="2057400" cy="571500"/>
          </a:xfrm>
          <a:prstGeom prst="rect">
            <a:avLst/>
          </a:prstGeom>
        </p:spPr>
      </p:pic>
    </p:spTree>
    <p:extLst>
      <p:ext uri="{BB962C8B-B14F-4D97-AF65-F5344CB8AC3E}">
        <p14:creationId xmlns:p14="http://schemas.microsoft.com/office/powerpoint/2010/main" val="96941726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mplate Propuesta 2022 - Genérica">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50040F2E-A856-F74D-B747-8F63180F396D}"/>
              </a:ext>
            </a:extLst>
          </p:cNvPr>
          <p:cNvSpPr>
            <a:spLocks noGrp="1"/>
          </p:cNvSpPr>
          <p:nvPr>
            <p:ph type="title"/>
          </p:nvPr>
        </p:nvSpPr>
        <p:spPr/>
        <p:txBody>
          <a:bodyPr/>
          <a:lstStyle/>
          <a:p>
            <a:r>
              <a:rPr lang="es-ES"/>
              <a:t>Haga clic para modificar el estilo de título del patrón</a:t>
            </a:r>
            <a:endParaRPr lang="en-US"/>
          </a:p>
        </p:txBody>
      </p:sp>
      <p:sp>
        <p:nvSpPr>
          <p:cNvPr id="7" name="Marcador de texto 5">
            <a:extLst>
              <a:ext uri="{FF2B5EF4-FFF2-40B4-BE49-F238E27FC236}">
                <a16:creationId xmlns:a16="http://schemas.microsoft.com/office/drawing/2014/main" id="{CC6303D6-D0FC-984A-8419-A50470327A59}"/>
              </a:ext>
            </a:extLst>
          </p:cNvPr>
          <p:cNvSpPr>
            <a:spLocks noGrp="1"/>
          </p:cNvSpPr>
          <p:nvPr>
            <p:ph type="body" sz="quarter" idx="10"/>
          </p:nvPr>
        </p:nvSpPr>
        <p:spPr>
          <a:xfrm>
            <a:off x="442659" y="671500"/>
            <a:ext cx="11306682" cy="5741999"/>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Tree>
    <p:extLst>
      <p:ext uri="{BB962C8B-B14F-4D97-AF65-F5344CB8AC3E}">
        <p14:creationId xmlns:p14="http://schemas.microsoft.com/office/powerpoint/2010/main" val="734506923"/>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mplate Propuesta 2022 - Introducción">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50040F2E-A856-F74D-B747-8F63180F396D}"/>
              </a:ext>
            </a:extLst>
          </p:cNvPr>
          <p:cNvSpPr>
            <a:spLocks noGrp="1"/>
          </p:cNvSpPr>
          <p:nvPr>
            <p:ph type="title"/>
          </p:nvPr>
        </p:nvSpPr>
        <p:spPr>
          <a:xfrm>
            <a:off x="1138892" y="36122"/>
            <a:ext cx="10610449" cy="276999"/>
          </a:xfrm>
        </p:spPr>
        <p:txBody>
          <a:bodyPr wrap="square" lIns="0" anchor="t">
            <a:noAutofit/>
          </a:bodyPr>
          <a:lstStyle>
            <a:lvl1pPr>
              <a:defRPr lang="es-ES_tradnl" cap="all" baseline="0" noProof="0" dirty="0"/>
            </a:lvl1pPr>
          </a:lstStyle>
          <a:p>
            <a:pPr lvl="0"/>
            <a:r>
              <a:rPr lang="es-ES_tradnl" noProof="0"/>
              <a:t>Haga clic para modificar el estilo de título del patrón</a:t>
            </a:r>
          </a:p>
        </p:txBody>
      </p:sp>
      <p:sp>
        <p:nvSpPr>
          <p:cNvPr id="7" name="Marcador de texto 5">
            <a:extLst>
              <a:ext uri="{FF2B5EF4-FFF2-40B4-BE49-F238E27FC236}">
                <a16:creationId xmlns:a16="http://schemas.microsoft.com/office/drawing/2014/main" id="{CC6303D6-D0FC-984A-8419-A50470327A59}"/>
              </a:ext>
            </a:extLst>
          </p:cNvPr>
          <p:cNvSpPr>
            <a:spLocks noGrp="1"/>
          </p:cNvSpPr>
          <p:nvPr>
            <p:ph type="body" sz="quarter" idx="10"/>
          </p:nvPr>
        </p:nvSpPr>
        <p:spPr>
          <a:xfrm>
            <a:off x="442659" y="671500"/>
            <a:ext cx="11306682" cy="5741999"/>
          </a:xfrm>
        </p:spPr>
        <p:txBody>
          <a:bodyPr/>
          <a:lstStyle/>
          <a:p>
            <a:pPr lvl="0"/>
            <a:r>
              <a:rPr lang="es-ES_tradnl" noProof="0"/>
              <a:t>Haga clic para modificar los estilos de texto del patrón</a:t>
            </a:r>
          </a:p>
          <a:p>
            <a:pPr lvl="1"/>
            <a:r>
              <a:rPr lang="es-ES_tradnl" noProof="0"/>
              <a:t>Segundo nivel</a:t>
            </a:r>
          </a:p>
          <a:p>
            <a:pPr lvl="2"/>
            <a:r>
              <a:rPr lang="es-ES_tradnl" noProof="0"/>
              <a:t>Tercer nivel</a:t>
            </a:r>
          </a:p>
          <a:p>
            <a:pPr lvl="3"/>
            <a:r>
              <a:rPr lang="es-ES_tradnl" noProof="0"/>
              <a:t>Cuarto nivel</a:t>
            </a:r>
          </a:p>
          <a:p>
            <a:pPr lvl="4"/>
            <a:r>
              <a:rPr lang="es-ES_tradnl" noProof="0"/>
              <a:t>Quinto nivel</a:t>
            </a:r>
          </a:p>
        </p:txBody>
      </p:sp>
      <p:sp>
        <p:nvSpPr>
          <p:cNvPr id="4" name="Marcador de texto 4">
            <a:extLst>
              <a:ext uri="{FF2B5EF4-FFF2-40B4-BE49-F238E27FC236}">
                <a16:creationId xmlns:a16="http://schemas.microsoft.com/office/drawing/2014/main" id="{DED7AFAC-0516-FB48-9E02-44CC62A80883}"/>
              </a:ext>
            </a:extLst>
          </p:cNvPr>
          <p:cNvSpPr>
            <a:spLocks noGrp="1"/>
          </p:cNvSpPr>
          <p:nvPr>
            <p:ph type="body" sz="quarter" idx="11"/>
          </p:nvPr>
        </p:nvSpPr>
        <p:spPr>
          <a:xfrm>
            <a:off x="1138639" y="290195"/>
            <a:ext cx="10610449" cy="217488"/>
          </a:xfrm>
        </p:spPr>
        <p:txBody>
          <a:bodyPr/>
          <a:lstStyle>
            <a:lvl1pPr>
              <a:defRPr sz="1200">
                <a:solidFill>
                  <a:schemeClr val="tx2"/>
                </a:solidFill>
              </a:defRPr>
            </a:lvl1pPr>
          </a:lstStyle>
          <a:p>
            <a:pPr lvl="0"/>
            <a:r>
              <a:rPr lang="es-ES_tradnl" noProof="0"/>
              <a:t>Haga clic para modificar los estilos de texto del patrón</a:t>
            </a:r>
          </a:p>
        </p:txBody>
      </p:sp>
      <p:grpSp>
        <p:nvGrpSpPr>
          <p:cNvPr id="8" name="Grupo 7">
            <a:extLst>
              <a:ext uri="{FF2B5EF4-FFF2-40B4-BE49-F238E27FC236}">
                <a16:creationId xmlns:a16="http://schemas.microsoft.com/office/drawing/2014/main" id="{B5B8CF7A-33AF-534D-A707-F1AFA19DADF1}"/>
              </a:ext>
            </a:extLst>
          </p:cNvPr>
          <p:cNvGrpSpPr/>
          <p:nvPr userDrawn="1"/>
        </p:nvGrpSpPr>
        <p:grpSpPr>
          <a:xfrm>
            <a:off x="596159" y="67814"/>
            <a:ext cx="405613" cy="405613"/>
            <a:chOff x="663989" y="1147969"/>
            <a:chExt cx="405613" cy="405613"/>
          </a:xfrm>
        </p:grpSpPr>
        <p:sp>
          <p:nvSpPr>
            <p:cNvPr id="9" name="Rectángulo 8">
              <a:extLst>
                <a:ext uri="{FF2B5EF4-FFF2-40B4-BE49-F238E27FC236}">
                  <a16:creationId xmlns:a16="http://schemas.microsoft.com/office/drawing/2014/main" id="{9D31E6A8-7FC5-D346-B913-27F3CB84C0BF}"/>
                </a:ext>
              </a:extLst>
            </p:cNvPr>
            <p:cNvSpPr/>
            <p:nvPr userDrawn="1"/>
          </p:nvSpPr>
          <p:spPr bwMode="auto">
            <a:xfrm>
              <a:off x="663989" y="1147969"/>
              <a:ext cx="405613" cy="405613"/>
            </a:xfrm>
            <a:prstGeom prst="rect">
              <a:avLst/>
            </a:prstGeom>
            <a:solidFill>
              <a:schemeClr val="bg1"/>
            </a:solidFill>
            <a:ln w="25400" cap="flat">
              <a:solidFill>
                <a:srgbClr val="7ECDD1"/>
              </a:solidFill>
              <a:miter lim="800000"/>
            </a:ln>
          </p:spPr>
          <p:txBody>
            <a:bodyPr lIns="0" tIns="0" rIns="0" bIns="0" rtlCol="0" anchor="ctr">
              <a:noAutofit/>
            </a:bodyPr>
            <a:lstStyle/>
            <a:p>
              <a:pPr algn="ctr"/>
              <a:endParaRPr lang="es-ES_tradnl" sz="1400" noProof="0"/>
            </a:p>
          </p:txBody>
        </p:sp>
        <p:sp>
          <p:nvSpPr>
            <p:cNvPr id="10" name="Shape 3609">
              <a:extLst>
                <a:ext uri="{FF2B5EF4-FFF2-40B4-BE49-F238E27FC236}">
                  <a16:creationId xmlns:a16="http://schemas.microsoft.com/office/drawing/2014/main" id="{984874FB-B9FA-E147-BBBC-0509024A0EEF}"/>
                </a:ext>
              </a:extLst>
            </p:cNvPr>
            <p:cNvSpPr/>
            <p:nvPr userDrawn="1"/>
          </p:nvSpPr>
          <p:spPr>
            <a:xfrm>
              <a:off x="761901" y="1244122"/>
              <a:ext cx="207824" cy="207823"/>
            </a:xfrm>
            <a:custGeom>
              <a:avLst/>
              <a:gdLst/>
              <a:ahLst/>
              <a:cxnLst>
                <a:cxn ang="0">
                  <a:pos x="wd2" y="hd2"/>
                </a:cxn>
                <a:cxn ang="5400000">
                  <a:pos x="wd2" y="hd2"/>
                </a:cxn>
                <a:cxn ang="10800000">
                  <a:pos x="wd2" y="hd2"/>
                </a:cxn>
                <a:cxn ang="16200000">
                  <a:pos x="wd2" y="hd2"/>
                </a:cxn>
              </a:cxnLst>
              <a:rect l="0" t="0" r="r" b="b"/>
              <a:pathLst>
                <a:path w="21600" h="21600" extrusionOk="0">
                  <a:moveTo>
                    <a:pt x="4418" y="11782"/>
                  </a:moveTo>
                  <a:lnTo>
                    <a:pt x="14236" y="11782"/>
                  </a:lnTo>
                  <a:cubicBezTo>
                    <a:pt x="14507" y="11782"/>
                    <a:pt x="14727" y="11562"/>
                    <a:pt x="14727" y="11291"/>
                  </a:cubicBezTo>
                  <a:cubicBezTo>
                    <a:pt x="14727" y="11020"/>
                    <a:pt x="14507" y="10800"/>
                    <a:pt x="14236" y="10800"/>
                  </a:cubicBezTo>
                  <a:lnTo>
                    <a:pt x="4418" y="10800"/>
                  </a:lnTo>
                  <a:cubicBezTo>
                    <a:pt x="4147" y="10800"/>
                    <a:pt x="3927" y="11020"/>
                    <a:pt x="3927" y="11291"/>
                  </a:cubicBezTo>
                  <a:cubicBezTo>
                    <a:pt x="3927" y="11562"/>
                    <a:pt x="4147" y="11782"/>
                    <a:pt x="4418" y="11782"/>
                  </a:cubicBezTo>
                  <a:moveTo>
                    <a:pt x="20618" y="20618"/>
                  </a:moveTo>
                  <a:lnTo>
                    <a:pt x="5891" y="20618"/>
                  </a:lnTo>
                  <a:lnTo>
                    <a:pt x="5891" y="16200"/>
                  </a:lnTo>
                  <a:cubicBezTo>
                    <a:pt x="5891" y="15929"/>
                    <a:pt x="5671" y="15709"/>
                    <a:pt x="5400" y="15709"/>
                  </a:cubicBezTo>
                  <a:lnTo>
                    <a:pt x="982" y="15709"/>
                  </a:lnTo>
                  <a:lnTo>
                    <a:pt x="982" y="982"/>
                  </a:lnTo>
                  <a:lnTo>
                    <a:pt x="20618" y="982"/>
                  </a:lnTo>
                  <a:cubicBezTo>
                    <a:pt x="20618" y="982"/>
                    <a:pt x="20618" y="20618"/>
                    <a:pt x="20618" y="20618"/>
                  </a:cubicBezTo>
                  <a:close/>
                  <a:moveTo>
                    <a:pt x="4909" y="20127"/>
                  </a:moveTo>
                  <a:lnTo>
                    <a:pt x="1473" y="16691"/>
                  </a:lnTo>
                  <a:lnTo>
                    <a:pt x="4909" y="16691"/>
                  </a:lnTo>
                  <a:cubicBezTo>
                    <a:pt x="4909" y="16691"/>
                    <a:pt x="4909" y="20127"/>
                    <a:pt x="4909" y="20127"/>
                  </a:cubicBezTo>
                  <a:close/>
                  <a:moveTo>
                    <a:pt x="20618" y="0"/>
                  </a:moveTo>
                  <a:lnTo>
                    <a:pt x="982" y="0"/>
                  </a:lnTo>
                  <a:cubicBezTo>
                    <a:pt x="440" y="0"/>
                    <a:pt x="0" y="440"/>
                    <a:pt x="0" y="982"/>
                  </a:cubicBezTo>
                  <a:lnTo>
                    <a:pt x="0" y="16691"/>
                  </a:lnTo>
                  <a:lnTo>
                    <a:pt x="4909" y="21600"/>
                  </a:lnTo>
                  <a:lnTo>
                    <a:pt x="20618" y="21600"/>
                  </a:lnTo>
                  <a:cubicBezTo>
                    <a:pt x="21160" y="21600"/>
                    <a:pt x="21600" y="21161"/>
                    <a:pt x="21600" y="20618"/>
                  </a:cubicBezTo>
                  <a:lnTo>
                    <a:pt x="21600" y="982"/>
                  </a:lnTo>
                  <a:cubicBezTo>
                    <a:pt x="21600" y="440"/>
                    <a:pt x="21160" y="0"/>
                    <a:pt x="20618" y="0"/>
                  </a:cubicBezTo>
                  <a:moveTo>
                    <a:pt x="4418" y="8836"/>
                  </a:moveTo>
                  <a:lnTo>
                    <a:pt x="17182" y="8836"/>
                  </a:lnTo>
                  <a:cubicBezTo>
                    <a:pt x="17453" y="8836"/>
                    <a:pt x="17673" y="8617"/>
                    <a:pt x="17673" y="8345"/>
                  </a:cubicBezTo>
                  <a:cubicBezTo>
                    <a:pt x="17673" y="8075"/>
                    <a:pt x="17453" y="7855"/>
                    <a:pt x="17182" y="7855"/>
                  </a:cubicBezTo>
                  <a:lnTo>
                    <a:pt x="4418" y="7855"/>
                  </a:lnTo>
                  <a:cubicBezTo>
                    <a:pt x="4147" y="7855"/>
                    <a:pt x="3927" y="8075"/>
                    <a:pt x="3927" y="8345"/>
                  </a:cubicBezTo>
                  <a:cubicBezTo>
                    <a:pt x="3927" y="8617"/>
                    <a:pt x="4147" y="8836"/>
                    <a:pt x="4418" y="8836"/>
                  </a:cubicBezTo>
                  <a:moveTo>
                    <a:pt x="4418" y="5891"/>
                  </a:moveTo>
                  <a:lnTo>
                    <a:pt x="10309" y="5891"/>
                  </a:lnTo>
                  <a:cubicBezTo>
                    <a:pt x="10580" y="5891"/>
                    <a:pt x="10800" y="5672"/>
                    <a:pt x="10800" y="5400"/>
                  </a:cubicBezTo>
                  <a:cubicBezTo>
                    <a:pt x="10800" y="5129"/>
                    <a:pt x="10580" y="4909"/>
                    <a:pt x="10309" y="4909"/>
                  </a:cubicBezTo>
                  <a:lnTo>
                    <a:pt x="4418" y="4909"/>
                  </a:lnTo>
                  <a:cubicBezTo>
                    <a:pt x="4147" y="4909"/>
                    <a:pt x="3927" y="5129"/>
                    <a:pt x="3927" y="5400"/>
                  </a:cubicBezTo>
                  <a:cubicBezTo>
                    <a:pt x="3927" y="5672"/>
                    <a:pt x="4147" y="5891"/>
                    <a:pt x="4418" y="5891"/>
                  </a:cubicBezTo>
                </a:path>
              </a:pathLst>
            </a:custGeom>
            <a:solidFill>
              <a:schemeClr val="tx2"/>
            </a:solidFill>
            <a:ln w="12700">
              <a:miter lim="400000"/>
            </a:ln>
          </p:spPr>
          <p:txBody>
            <a:bodyPr lIns="38100" tIns="38100" rIns="38100" bIns="38100" anchor="ctr">
              <a:noAutofit/>
            </a:bodyPr>
            <a:lstStyle/>
            <a:p>
              <a:endParaRPr lang="es-ES_tradnl" noProof="0">
                <a:solidFill>
                  <a:prstClr val="black"/>
                </a:solidFill>
              </a:endParaRPr>
            </a:p>
          </p:txBody>
        </p:sp>
      </p:grpSp>
      <p:sp>
        <p:nvSpPr>
          <p:cNvPr id="11" name="Rectangle 12">
            <a:extLst>
              <a:ext uri="{FF2B5EF4-FFF2-40B4-BE49-F238E27FC236}">
                <a16:creationId xmlns:a16="http://schemas.microsoft.com/office/drawing/2014/main" id="{76E17A97-AF6C-4C45-A2C7-7F159E8CF989}"/>
              </a:ext>
            </a:extLst>
          </p:cNvPr>
          <p:cNvSpPr/>
          <p:nvPr userDrawn="1"/>
        </p:nvSpPr>
        <p:spPr>
          <a:xfrm>
            <a:off x="9457765" y="6579030"/>
            <a:ext cx="2734235" cy="278969"/>
          </a:xfrm>
          <a:prstGeom prst="rect">
            <a:avLst/>
          </a:prstGeom>
          <a:solidFill>
            <a:schemeClr val="accent1"/>
          </a:solidFill>
        </p:spPr>
        <p:txBody>
          <a:bodyPr wrap="square" lIns="0" tIns="0" rIns="0" bIns="0" rtlCol="0" anchor="ctr" anchorCtr="0">
            <a:noAutofit/>
          </a:bodyPr>
          <a:lstStyle/>
          <a:p>
            <a:pPr algn="ctr"/>
            <a:r>
              <a:rPr lang="en-US" sz="800" b="1">
                <a:solidFill>
                  <a:schemeClr val="tx2"/>
                </a:solidFill>
                <a:cs typeface="Arial" panose="020B0604020202020204" pitchFamily="34" charset="0"/>
              </a:rPr>
              <a:t>INTRODUCCIÓN</a:t>
            </a:r>
          </a:p>
        </p:txBody>
      </p:sp>
    </p:spTree>
    <p:extLst>
      <p:ext uri="{BB962C8B-B14F-4D97-AF65-F5344CB8AC3E}">
        <p14:creationId xmlns:p14="http://schemas.microsoft.com/office/powerpoint/2010/main" val="4044430726"/>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emplate Propuesta 2022 - Introducción">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50040F2E-A856-F74D-B747-8F63180F396D}"/>
              </a:ext>
            </a:extLst>
          </p:cNvPr>
          <p:cNvSpPr>
            <a:spLocks noGrp="1"/>
          </p:cNvSpPr>
          <p:nvPr>
            <p:ph type="title"/>
          </p:nvPr>
        </p:nvSpPr>
        <p:spPr>
          <a:xfrm>
            <a:off x="1138892" y="36122"/>
            <a:ext cx="10610449" cy="276999"/>
          </a:xfrm>
        </p:spPr>
        <p:txBody>
          <a:bodyPr wrap="square" lIns="0" anchor="t">
            <a:noAutofit/>
          </a:bodyPr>
          <a:lstStyle>
            <a:lvl1pPr>
              <a:defRPr lang="es-ES_tradnl" cap="all" baseline="0" noProof="0" dirty="0"/>
            </a:lvl1pPr>
          </a:lstStyle>
          <a:p>
            <a:pPr lvl="0"/>
            <a:r>
              <a:rPr lang="es-ES_tradnl" noProof="0"/>
              <a:t>Haga clic para modificar el estilo de título del patrón</a:t>
            </a:r>
          </a:p>
        </p:txBody>
      </p:sp>
      <p:sp>
        <p:nvSpPr>
          <p:cNvPr id="7" name="Marcador de texto 5">
            <a:extLst>
              <a:ext uri="{FF2B5EF4-FFF2-40B4-BE49-F238E27FC236}">
                <a16:creationId xmlns:a16="http://schemas.microsoft.com/office/drawing/2014/main" id="{CC6303D6-D0FC-984A-8419-A50470327A59}"/>
              </a:ext>
            </a:extLst>
          </p:cNvPr>
          <p:cNvSpPr>
            <a:spLocks noGrp="1"/>
          </p:cNvSpPr>
          <p:nvPr>
            <p:ph type="body" sz="quarter" idx="10"/>
          </p:nvPr>
        </p:nvSpPr>
        <p:spPr>
          <a:xfrm>
            <a:off x="442659" y="671500"/>
            <a:ext cx="11306682" cy="5741999"/>
          </a:xfrm>
        </p:spPr>
        <p:txBody>
          <a:bodyPr/>
          <a:lstStyle/>
          <a:p>
            <a:pPr lvl="0"/>
            <a:r>
              <a:rPr lang="es-ES_tradnl" noProof="0"/>
              <a:t>Haga clic para modificar los estilos de texto del patrón</a:t>
            </a:r>
          </a:p>
          <a:p>
            <a:pPr lvl="1"/>
            <a:r>
              <a:rPr lang="es-ES_tradnl" noProof="0"/>
              <a:t>Segundo nivel</a:t>
            </a:r>
          </a:p>
          <a:p>
            <a:pPr lvl="2"/>
            <a:r>
              <a:rPr lang="es-ES_tradnl" noProof="0"/>
              <a:t>Tercer nivel</a:t>
            </a:r>
          </a:p>
          <a:p>
            <a:pPr lvl="3"/>
            <a:r>
              <a:rPr lang="es-ES_tradnl" noProof="0"/>
              <a:t>Cuarto nivel</a:t>
            </a:r>
          </a:p>
          <a:p>
            <a:pPr lvl="4"/>
            <a:r>
              <a:rPr lang="es-ES_tradnl" noProof="0"/>
              <a:t>Quinto nivel</a:t>
            </a:r>
          </a:p>
        </p:txBody>
      </p:sp>
      <p:sp>
        <p:nvSpPr>
          <p:cNvPr id="4" name="Marcador de texto 4">
            <a:extLst>
              <a:ext uri="{FF2B5EF4-FFF2-40B4-BE49-F238E27FC236}">
                <a16:creationId xmlns:a16="http://schemas.microsoft.com/office/drawing/2014/main" id="{DED7AFAC-0516-FB48-9E02-44CC62A80883}"/>
              </a:ext>
            </a:extLst>
          </p:cNvPr>
          <p:cNvSpPr>
            <a:spLocks noGrp="1"/>
          </p:cNvSpPr>
          <p:nvPr>
            <p:ph type="body" sz="quarter" idx="11"/>
          </p:nvPr>
        </p:nvSpPr>
        <p:spPr>
          <a:xfrm>
            <a:off x="1138639" y="290195"/>
            <a:ext cx="10610449" cy="217488"/>
          </a:xfrm>
        </p:spPr>
        <p:txBody>
          <a:bodyPr/>
          <a:lstStyle>
            <a:lvl1pPr>
              <a:defRPr sz="1200">
                <a:solidFill>
                  <a:schemeClr val="tx2"/>
                </a:solidFill>
              </a:defRPr>
            </a:lvl1pPr>
          </a:lstStyle>
          <a:p>
            <a:pPr lvl="0"/>
            <a:r>
              <a:rPr lang="es-ES_tradnl" noProof="0"/>
              <a:t>Haga clic para modificar los estilos de texto del patrón</a:t>
            </a:r>
          </a:p>
        </p:txBody>
      </p:sp>
      <p:grpSp>
        <p:nvGrpSpPr>
          <p:cNvPr id="8" name="Grupo 7">
            <a:extLst>
              <a:ext uri="{FF2B5EF4-FFF2-40B4-BE49-F238E27FC236}">
                <a16:creationId xmlns:a16="http://schemas.microsoft.com/office/drawing/2014/main" id="{B5B8CF7A-33AF-534D-A707-F1AFA19DADF1}"/>
              </a:ext>
            </a:extLst>
          </p:cNvPr>
          <p:cNvGrpSpPr/>
          <p:nvPr userDrawn="1"/>
        </p:nvGrpSpPr>
        <p:grpSpPr>
          <a:xfrm>
            <a:off x="596159" y="67814"/>
            <a:ext cx="405613" cy="405613"/>
            <a:chOff x="663989" y="1147969"/>
            <a:chExt cx="405613" cy="405613"/>
          </a:xfrm>
        </p:grpSpPr>
        <p:sp>
          <p:nvSpPr>
            <p:cNvPr id="9" name="Rectángulo 8">
              <a:extLst>
                <a:ext uri="{FF2B5EF4-FFF2-40B4-BE49-F238E27FC236}">
                  <a16:creationId xmlns:a16="http://schemas.microsoft.com/office/drawing/2014/main" id="{9D31E6A8-7FC5-D346-B913-27F3CB84C0BF}"/>
                </a:ext>
              </a:extLst>
            </p:cNvPr>
            <p:cNvSpPr/>
            <p:nvPr userDrawn="1"/>
          </p:nvSpPr>
          <p:spPr bwMode="auto">
            <a:xfrm>
              <a:off x="663989" y="1147969"/>
              <a:ext cx="405613" cy="405613"/>
            </a:xfrm>
            <a:prstGeom prst="rect">
              <a:avLst/>
            </a:prstGeom>
            <a:solidFill>
              <a:schemeClr val="bg1"/>
            </a:solidFill>
            <a:ln w="25400" cap="flat">
              <a:solidFill>
                <a:srgbClr val="7ECDD1"/>
              </a:solidFill>
              <a:miter lim="800000"/>
            </a:ln>
          </p:spPr>
          <p:txBody>
            <a:bodyPr lIns="0" tIns="0" rIns="0" bIns="0" rtlCol="0" anchor="ctr">
              <a:noAutofit/>
            </a:bodyPr>
            <a:lstStyle/>
            <a:p>
              <a:pPr algn="ctr"/>
              <a:endParaRPr lang="es-ES_tradnl" sz="1400" noProof="0"/>
            </a:p>
          </p:txBody>
        </p:sp>
        <p:sp>
          <p:nvSpPr>
            <p:cNvPr id="10" name="Shape 3609">
              <a:extLst>
                <a:ext uri="{FF2B5EF4-FFF2-40B4-BE49-F238E27FC236}">
                  <a16:creationId xmlns:a16="http://schemas.microsoft.com/office/drawing/2014/main" id="{984874FB-B9FA-E147-BBBC-0509024A0EEF}"/>
                </a:ext>
              </a:extLst>
            </p:cNvPr>
            <p:cNvSpPr/>
            <p:nvPr userDrawn="1"/>
          </p:nvSpPr>
          <p:spPr>
            <a:xfrm>
              <a:off x="761901" y="1244122"/>
              <a:ext cx="207824" cy="207823"/>
            </a:xfrm>
            <a:custGeom>
              <a:avLst/>
              <a:gdLst/>
              <a:ahLst/>
              <a:cxnLst>
                <a:cxn ang="0">
                  <a:pos x="wd2" y="hd2"/>
                </a:cxn>
                <a:cxn ang="5400000">
                  <a:pos x="wd2" y="hd2"/>
                </a:cxn>
                <a:cxn ang="10800000">
                  <a:pos x="wd2" y="hd2"/>
                </a:cxn>
                <a:cxn ang="16200000">
                  <a:pos x="wd2" y="hd2"/>
                </a:cxn>
              </a:cxnLst>
              <a:rect l="0" t="0" r="r" b="b"/>
              <a:pathLst>
                <a:path w="21600" h="21600" extrusionOk="0">
                  <a:moveTo>
                    <a:pt x="4418" y="11782"/>
                  </a:moveTo>
                  <a:lnTo>
                    <a:pt x="14236" y="11782"/>
                  </a:lnTo>
                  <a:cubicBezTo>
                    <a:pt x="14507" y="11782"/>
                    <a:pt x="14727" y="11562"/>
                    <a:pt x="14727" y="11291"/>
                  </a:cubicBezTo>
                  <a:cubicBezTo>
                    <a:pt x="14727" y="11020"/>
                    <a:pt x="14507" y="10800"/>
                    <a:pt x="14236" y="10800"/>
                  </a:cubicBezTo>
                  <a:lnTo>
                    <a:pt x="4418" y="10800"/>
                  </a:lnTo>
                  <a:cubicBezTo>
                    <a:pt x="4147" y="10800"/>
                    <a:pt x="3927" y="11020"/>
                    <a:pt x="3927" y="11291"/>
                  </a:cubicBezTo>
                  <a:cubicBezTo>
                    <a:pt x="3927" y="11562"/>
                    <a:pt x="4147" y="11782"/>
                    <a:pt x="4418" y="11782"/>
                  </a:cubicBezTo>
                  <a:moveTo>
                    <a:pt x="20618" y="20618"/>
                  </a:moveTo>
                  <a:lnTo>
                    <a:pt x="5891" y="20618"/>
                  </a:lnTo>
                  <a:lnTo>
                    <a:pt x="5891" y="16200"/>
                  </a:lnTo>
                  <a:cubicBezTo>
                    <a:pt x="5891" y="15929"/>
                    <a:pt x="5671" y="15709"/>
                    <a:pt x="5400" y="15709"/>
                  </a:cubicBezTo>
                  <a:lnTo>
                    <a:pt x="982" y="15709"/>
                  </a:lnTo>
                  <a:lnTo>
                    <a:pt x="982" y="982"/>
                  </a:lnTo>
                  <a:lnTo>
                    <a:pt x="20618" y="982"/>
                  </a:lnTo>
                  <a:cubicBezTo>
                    <a:pt x="20618" y="982"/>
                    <a:pt x="20618" y="20618"/>
                    <a:pt x="20618" y="20618"/>
                  </a:cubicBezTo>
                  <a:close/>
                  <a:moveTo>
                    <a:pt x="4909" y="20127"/>
                  </a:moveTo>
                  <a:lnTo>
                    <a:pt x="1473" y="16691"/>
                  </a:lnTo>
                  <a:lnTo>
                    <a:pt x="4909" y="16691"/>
                  </a:lnTo>
                  <a:cubicBezTo>
                    <a:pt x="4909" y="16691"/>
                    <a:pt x="4909" y="20127"/>
                    <a:pt x="4909" y="20127"/>
                  </a:cubicBezTo>
                  <a:close/>
                  <a:moveTo>
                    <a:pt x="20618" y="0"/>
                  </a:moveTo>
                  <a:lnTo>
                    <a:pt x="982" y="0"/>
                  </a:lnTo>
                  <a:cubicBezTo>
                    <a:pt x="440" y="0"/>
                    <a:pt x="0" y="440"/>
                    <a:pt x="0" y="982"/>
                  </a:cubicBezTo>
                  <a:lnTo>
                    <a:pt x="0" y="16691"/>
                  </a:lnTo>
                  <a:lnTo>
                    <a:pt x="4909" y="21600"/>
                  </a:lnTo>
                  <a:lnTo>
                    <a:pt x="20618" y="21600"/>
                  </a:lnTo>
                  <a:cubicBezTo>
                    <a:pt x="21160" y="21600"/>
                    <a:pt x="21600" y="21161"/>
                    <a:pt x="21600" y="20618"/>
                  </a:cubicBezTo>
                  <a:lnTo>
                    <a:pt x="21600" y="982"/>
                  </a:lnTo>
                  <a:cubicBezTo>
                    <a:pt x="21600" y="440"/>
                    <a:pt x="21160" y="0"/>
                    <a:pt x="20618" y="0"/>
                  </a:cubicBezTo>
                  <a:moveTo>
                    <a:pt x="4418" y="8836"/>
                  </a:moveTo>
                  <a:lnTo>
                    <a:pt x="17182" y="8836"/>
                  </a:lnTo>
                  <a:cubicBezTo>
                    <a:pt x="17453" y="8836"/>
                    <a:pt x="17673" y="8617"/>
                    <a:pt x="17673" y="8345"/>
                  </a:cubicBezTo>
                  <a:cubicBezTo>
                    <a:pt x="17673" y="8075"/>
                    <a:pt x="17453" y="7855"/>
                    <a:pt x="17182" y="7855"/>
                  </a:cubicBezTo>
                  <a:lnTo>
                    <a:pt x="4418" y="7855"/>
                  </a:lnTo>
                  <a:cubicBezTo>
                    <a:pt x="4147" y="7855"/>
                    <a:pt x="3927" y="8075"/>
                    <a:pt x="3927" y="8345"/>
                  </a:cubicBezTo>
                  <a:cubicBezTo>
                    <a:pt x="3927" y="8617"/>
                    <a:pt x="4147" y="8836"/>
                    <a:pt x="4418" y="8836"/>
                  </a:cubicBezTo>
                  <a:moveTo>
                    <a:pt x="4418" y="5891"/>
                  </a:moveTo>
                  <a:lnTo>
                    <a:pt x="10309" y="5891"/>
                  </a:lnTo>
                  <a:cubicBezTo>
                    <a:pt x="10580" y="5891"/>
                    <a:pt x="10800" y="5672"/>
                    <a:pt x="10800" y="5400"/>
                  </a:cubicBezTo>
                  <a:cubicBezTo>
                    <a:pt x="10800" y="5129"/>
                    <a:pt x="10580" y="4909"/>
                    <a:pt x="10309" y="4909"/>
                  </a:cubicBezTo>
                  <a:lnTo>
                    <a:pt x="4418" y="4909"/>
                  </a:lnTo>
                  <a:cubicBezTo>
                    <a:pt x="4147" y="4909"/>
                    <a:pt x="3927" y="5129"/>
                    <a:pt x="3927" y="5400"/>
                  </a:cubicBezTo>
                  <a:cubicBezTo>
                    <a:pt x="3927" y="5672"/>
                    <a:pt x="4147" y="5891"/>
                    <a:pt x="4418" y="5891"/>
                  </a:cubicBezTo>
                </a:path>
              </a:pathLst>
            </a:custGeom>
            <a:solidFill>
              <a:schemeClr val="tx2"/>
            </a:solidFill>
            <a:ln w="12700">
              <a:miter lim="400000"/>
            </a:ln>
          </p:spPr>
          <p:txBody>
            <a:bodyPr lIns="38100" tIns="38100" rIns="38100" bIns="38100" anchor="ctr">
              <a:noAutofit/>
            </a:bodyPr>
            <a:lstStyle/>
            <a:p>
              <a:endParaRPr lang="es-ES_tradnl" noProof="0">
                <a:solidFill>
                  <a:prstClr val="black"/>
                </a:solidFill>
              </a:endParaRPr>
            </a:p>
          </p:txBody>
        </p:sp>
      </p:grpSp>
      <p:sp>
        <p:nvSpPr>
          <p:cNvPr id="11" name="Rectangle 12">
            <a:extLst>
              <a:ext uri="{FF2B5EF4-FFF2-40B4-BE49-F238E27FC236}">
                <a16:creationId xmlns:a16="http://schemas.microsoft.com/office/drawing/2014/main" id="{76E17A97-AF6C-4C45-A2C7-7F159E8CF989}"/>
              </a:ext>
            </a:extLst>
          </p:cNvPr>
          <p:cNvSpPr/>
          <p:nvPr userDrawn="1"/>
        </p:nvSpPr>
        <p:spPr>
          <a:xfrm>
            <a:off x="9457765" y="6579030"/>
            <a:ext cx="2734235" cy="278969"/>
          </a:xfrm>
          <a:prstGeom prst="rect">
            <a:avLst/>
          </a:prstGeom>
          <a:solidFill>
            <a:schemeClr val="accent1"/>
          </a:solidFill>
        </p:spPr>
        <p:txBody>
          <a:bodyPr wrap="square" lIns="0" tIns="0" rIns="0" bIns="0" rtlCol="0" anchor="ctr" anchorCtr="0">
            <a:noAutofit/>
          </a:bodyPr>
          <a:lstStyle/>
          <a:p>
            <a:pPr algn="ctr"/>
            <a:r>
              <a:rPr lang="en-US" sz="800" b="1">
                <a:solidFill>
                  <a:schemeClr val="tx2"/>
                </a:solidFill>
                <a:cs typeface="Arial" panose="020B0604020202020204" pitchFamily="34" charset="0"/>
              </a:rPr>
              <a:t>DOCUMENTACIÓN DE LOS MODELOS</a:t>
            </a:r>
          </a:p>
        </p:txBody>
      </p:sp>
    </p:spTree>
    <p:extLst>
      <p:ext uri="{BB962C8B-B14F-4D97-AF65-F5344CB8AC3E}">
        <p14:creationId xmlns:p14="http://schemas.microsoft.com/office/powerpoint/2010/main" val="3574192358"/>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021 - Entendimiento Proyecto">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50040F2E-A856-F74D-B747-8F63180F396D}"/>
              </a:ext>
            </a:extLst>
          </p:cNvPr>
          <p:cNvSpPr>
            <a:spLocks noGrp="1"/>
          </p:cNvSpPr>
          <p:nvPr>
            <p:ph type="title"/>
          </p:nvPr>
        </p:nvSpPr>
        <p:spPr>
          <a:xfrm>
            <a:off x="1138892" y="36122"/>
            <a:ext cx="10610449" cy="276999"/>
          </a:xfrm>
        </p:spPr>
        <p:txBody>
          <a:bodyPr wrap="square" lIns="0" anchor="t">
            <a:noAutofit/>
          </a:bodyPr>
          <a:lstStyle>
            <a:lvl1pPr>
              <a:defRPr lang="es-ES_tradnl" cap="all" baseline="0" noProof="0" dirty="0"/>
            </a:lvl1pPr>
          </a:lstStyle>
          <a:p>
            <a:pPr lvl="0"/>
            <a:r>
              <a:rPr lang="es-ES_tradnl" noProof="0"/>
              <a:t>Haga clic para modificar el estilo de título del patrón</a:t>
            </a:r>
          </a:p>
        </p:txBody>
      </p:sp>
      <p:sp>
        <p:nvSpPr>
          <p:cNvPr id="7" name="Marcador de texto 5">
            <a:extLst>
              <a:ext uri="{FF2B5EF4-FFF2-40B4-BE49-F238E27FC236}">
                <a16:creationId xmlns:a16="http://schemas.microsoft.com/office/drawing/2014/main" id="{CC6303D6-D0FC-984A-8419-A50470327A59}"/>
              </a:ext>
            </a:extLst>
          </p:cNvPr>
          <p:cNvSpPr>
            <a:spLocks noGrp="1"/>
          </p:cNvSpPr>
          <p:nvPr>
            <p:ph type="body" sz="quarter" idx="10"/>
          </p:nvPr>
        </p:nvSpPr>
        <p:spPr>
          <a:xfrm>
            <a:off x="442659" y="671500"/>
            <a:ext cx="11306682" cy="5741999"/>
          </a:xfrm>
        </p:spPr>
        <p:txBody>
          <a:bodyPr/>
          <a:lstStyle/>
          <a:p>
            <a:pPr lvl="0"/>
            <a:r>
              <a:rPr lang="es-ES_tradnl" noProof="0"/>
              <a:t>Haga clic para modificar los estilos de texto del patrón</a:t>
            </a:r>
          </a:p>
          <a:p>
            <a:pPr lvl="1"/>
            <a:r>
              <a:rPr lang="es-ES_tradnl" noProof="0"/>
              <a:t>Segundo nivel</a:t>
            </a:r>
          </a:p>
          <a:p>
            <a:pPr lvl="2"/>
            <a:r>
              <a:rPr lang="es-ES_tradnl" noProof="0"/>
              <a:t>Tercer nivel</a:t>
            </a:r>
          </a:p>
          <a:p>
            <a:pPr lvl="3"/>
            <a:r>
              <a:rPr lang="es-ES_tradnl" noProof="0"/>
              <a:t>Cuarto nivel</a:t>
            </a:r>
          </a:p>
          <a:p>
            <a:pPr lvl="4"/>
            <a:r>
              <a:rPr lang="es-ES_tradnl" noProof="0"/>
              <a:t>Quinto nivel</a:t>
            </a:r>
          </a:p>
        </p:txBody>
      </p:sp>
      <p:sp>
        <p:nvSpPr>
          <p:cNvPr id="4" name="Marcador de texto 4">
            <a:extLst>
              <a:ext uri="{FF2B5EF4-FFF2-40B4-BE49-F238E27FC236}">
                <a16:creationId xmlns:a16="http://schemas.microsoft.com/office/drawing/2014/main" id="{DED7AFAC-0516-FB48-9E02-44CC62A80883}"/>
              </a:ext>
            </a:extLst>
          </p:cNvPr>
          <p:cNvSpPr>
            <a:spLocks noGrp="1"/>
          </p:cNvSpPr>
          <p:nvPr>
            <p:ph type="body" sz="quarter" idx="11"/>
          </p:nvPr>
        </p:nvSpPr>
        <p:spPr>
          <a:xfrm>
            <a:off x="1138639" y="290195"/>
            <a:ext cx="10610449" cy="217488"/>
          </a:xfrm>
        </p:spPr>
        <p:txBody>
          <a:bodyPr/>
          <a:lstStyle>
            <a:lvl1pPr>
              <a:defRPr sz="1200">
                <a:solidFill>
                  <a:schemeClr val="tx2"/>
                </a:solidFill>
              </a:defRPr>
            </a:lvl1pPr>
          </a:lstStyle>
          <a:p>
            <a:pPr lvl="0"/>
            <a:r>
              <a:rPr lang="es-ES_tradnl" noProof="0"/>
              <a:t>Haga clic para modificar los estilos de texto del patrón</a:t>
            </a:r>
          </a:p>
        </p:txBody>
      </p:sp>
      <p:sp>
        <p:nvSpPr>
          <p:cNvPr id="9" name="Rectángulo 8">
            <a:extLst>
              <a:ext uri="{FF2B5EF4-FFF2-40B4-BE49-F238E27FC236}">
                <a16:creationId xmlns:a16="http://schemas.microsoft.com/office/drawing/2014/main" id="{9D31E6A8-7FC5-D346-B913-27F3CB84C0BF}"/>
              </a:ext>
            </a:extLst>
          </p:cNvPr>
          <p:cNvSpPr/>
          <p:nvPr userDrawn="1"/>
        </p:nvSpPr>
        <p:spPr bwMode="auto">
          <a:xfrm>
            <a:off x="596159" y="67814"/>
            <a:ext cx="405613" cy="405613"/>
          </a:xfrm>
          <a:prstGeom prst="rect">
            <a:avLst/>
          </a:prstGeom>
          <a:solidFill>
            <a:schemeClr val="bg1"/>
          </a:solidFill>
          <a:ln w="25400" cap="flat">
            <a:solidFill>
              <a:schemeClr val="accent2"/>
            </a:solidFill>
            <a:miter lim="800000"/>
          </a:ln>
        </p:spPr>
        <p:txBody>
          <a:bodyPr lIns="0" tIns="0" rIns="0" bIns="0" rtlCol="0" anchor="ctr">
            <a:noAutofit/>
          </a:bodyPr>
          <a:lstStyle/>
          <a:p>
            <a:pPr algn="ctr"/>
            <a:endParaRPr lang="es-ES_tradnl" sz="1400" noProof="0"/>
          </a:p>
        </p:txBody>
      </p:sp>
      <p:sp>
        <p:nvSpPr>
          <p:cNvPr id="11" name="Freeform 97">
            <a:extLst>
              <a:ext uri="{FF2B5EF4-FFF2-40B4-BE49-F238E27FC236}">
                <a16:creationId xmlns:a16="http://schemas.microsoft.com/office/drawing/2014/main" id="{4A00AD40-2F58-1441-8C8C-2F1B25580543}"/>
              </a:ext>
            </a:extLst>
          </p:cNvPr>
          <p:cNvSpPr>
            <a:spLocks noEditPoints="1"/>
          </p:cNvSpPr>
          <p:nvPr userDrawn="1"/>
        </p:nvSpPr>
        <p:spPr bwMode="auto">
          <a:xfrm>
            <a:off x="647101" y="140378"/>
            <a:ext cx="303727" cy="250807"/>
          </a:xfrm>
          <a:custGeom>
            <a:avLst/>
            <a:gdLst/>
            <a:ahLst/>
            <a:cxnLst>
              <a:cxn ang="0">
                <a:pos x="202" y="316"/>
              </a:cxn>
              <a:cxn ang="0">
                <a:pos x="115" y="410"/>
              </a:cxn>
              <a:cxn ang="0">
                <a:pos x="7" y="280"/>
              </a:cxn>
              <a:cxn ang="0">
                <a:pos x="55" y="107"/>
              </a:cxn>
              <a:cxn ang="0">
                <a:pos x="83" y="61"/>
              </a:cxn>
              <a:cxn ang="0">
                <a:pos x="200" y="62"/>
              </a:cxn>
              <a:cxn ang="0">
                <a:pos x="200" y="92"/>
              </a:cxn>
              <a:cxn ang="0">
                <a:pos x="292" y="105"/>
              </a:cxn>
              <a:cxn ang="0">
                <a:pos x="303" y="88"/>
              </a:cxn>
              <a:cxn ang="0">
                <a:pos x="363" y="11"/>
              </a:cxn>
              <a:cxn ang="0">
                <a:pos x="420" y="61"/>
              </a:cxn>
              <a:cxn ang="0">
                <a:pos x="449" y="105"/>
              </a:cxn>
              <a:cxn ang="0">
                <a:pos x="498" y="286"/>
              </a:cxn>
              <a:cxn ang="0">
                <a:pos x="302" y="323"/>
              </a:cxn>
              <a:cxn ang="0">
                <a:pos x="41" y="230"/>
              </a:cxn>
              <a:cxn ang="0">
                <a:pos x="93" y="211"/>
              </a:cxn>
              <a:cxn ang="0">
                <a:pos x="204" y="291"/>
              </a:cxn>
              <a:cxn ang="0">
                <a:pos x="308" y="274"/>
              </a:cxn>
              <a:cxn ang="0">
                <a:pos x="463" y="231"/>
              </a:cxn>
              <a:cxn ang="0">
                <a:pos x="430" y="111"/>
              </a:cxn>
              <a:cxn ang="0">
                <a:pos x="333" y="91"/>
              </a:cxn>
              <a:cxn ang="0">
                <a:pos x="281" y="122"/>
              </a:cxn>
              <a:cxn ang="0">
                <a:pos x="207" y="126"/>
              </a:cxn>
              <a:cxn ang="0">
                <a:pos x="176" y="96"/>
              </a:cxn>
              <a:cxn ang="0">
                <a:pos x="75" y="109"/>
              </a:cxn>
              <a:cxn ang="0">
                <a:pos x="481" y="311"/>
              </a:cxn>
              <a:cxn ang="0">
                <a:pos x="321" y="311"/>
              </a:cxn>
              <a:cxn ang="0">
                <a:pos x="481" y="311"/>
              </a:cxn>
              <a:cxn ang="0">
                <a:pos x="85" y="233"/>
              </a:cxn>
              <a:cxn ang="0">
                <a:pos x="24" y="295"/>
              </a:cxn>
              <a:cxn ang="0">
                <a:pos x="113" y="389"/>
              </a:cxn>
              <a:cxn ang="0">
                <a:pos x="102" y="231"/>
              </a:cxn>
              <a:cxn ang="0">
                <a:pos x="350" y="33"/>
              </a:cxn>
              <a:cxn ang="0">
                <a:pos x="397" y="55"/>
              </a:cxn>
              <a:cxn ang="0">
                <a:pos x="145" y="55"/>
              </a:cxn>
              <a:cxn ang="0">
                <a:pos x="151" y="33"/>
              </a:cxn>
              <a:cxn ang="0">
                <a:pos x="251" y="211"/>
              </a:cxn>
              <a:cxn ang="0">
                <a:pos x="251" y="291"/>
              </a:cxn>
              <a:cxn ang="0">
                <a:pos x="251" y="211"/>
              </a:cxn>
              <a:cxn ang="0">
                <a:pos x="251" y="270"/>
              </a:cxn>
              <a:cxn ang="0">
                <a:pos x="252" y="231"/>
              </a:cxn>
              <a:cxn ang="0">
                <a:pos x="420" y="365"/>
              </a:cxn>
              <a:cxn ang="0">
                <a:pos x="380" y="336"/>
              </a:cxn>
              <a:cxn ang="0">
                <a:pos x="361" y="301"/>
              </a:cxn>
              <a:cxn ang="0">
                <a:pos x="352" y="319"/>
              </a:cxn>
              <a:cxn ang="0">
                <a:pos x="420" y="365"/>
              </a:cxn>
              <a:cxn ang="0">
                <a:pos x="99" y="371"/>
              </a:cxn>
              <a:cxn ang="0">
                <a:pos x="100" y="350"/>
              </a:cxn>
              <a:cxn ang="0">
                <a:pos x="61" y="307"/>
              </a:cxn>
              <a:cxn ang="0">
                <a:pos x="42" y="314"/>
              </a:cxn>
            </a:cxnLst>
            <a:rect l="0" t="0" r="r" b="b"/>
            <a:pathLst>
              <a:path w="511" h="422">
                <a:moveTo>
                  <a:pt x="301" y="316"/>
                </a:moveTo>
                <a:cubicBezTo>
                  <a:pt x="271" y="336"/>
                  <a:pt x="229" y="335"/>
                  <a:pt x="202" y="316"/>
                </a:cubicBezTo>
                <a:cubicBezTo>
                  <a:pt x="201" y="323"/>
                  <a:pt x="199" y="330"/>
                  <a:pt x="198" y="337"/>
                </a:cubicBezTo>
                <a:cubicBezTo>
                  <a:pt x="188" y="375"/>
                  <a:pt x="153" y="405"/>
                  <a:pt x="115" y="410"/>
                </a:cubicBezTo>
                <a:cubicBezTo>
                  <a:pt x="66" y="415"/>
                  <a:pt x="24" y="389"/>
                  <a:pt x="7" y="343"/>
                </a:cubicBezTo>
                <a:cubicBezTo>
                  <a:pt x="0" y="322"/>
                  <a:pt x="0" y="301"/>
                  <a:pt x="7" y="280"/>
                </a:cubicBezTo>
                <a:cubicBezTo>
                  <a:pt x="12" y="263"/>
                  <a:pt x="17" y="246"/>
                  <a:pt x="21" y="229"/>
                </a:cubicBezTo>
                <a:cubicBezTo>
                  <a:pt x="32" y="189"/>
                  <a:pt x="43" y="148"/>
                  <a:pt x="55" y="107"/>
                </a:cubicBezTo>
                <a:cubicBezTo>
                  <a:pt x="59" y="92"/>
                  <a:pt x="67" y="77"/>
                  <a:pt x="80" y="67"/>
                </a:cubicBezTo>
                <a:cubicBezTo>
                  <a:pt x="82" y="66"/>
                  <a:pt x="82" y="63"/>
                  <a:pt x="83" y="61"/>
                </a:cubicBezTo>
                <a:cubicBezTo>
                  <a:pt x="87" y="40"/>
                  <a:pt x="98" y="25"/>
                  <a:pt x="118" y="16"/>
                </a:cubicBezTo>
                <a:cubicBezTo>
                  <a:pt x="155" y="0"/>
                  <a:pt x="195" y="24"/>
                  <a:pt x="200" y="62"/>
                </a:cubicBezTo>
                <a:cubicBezTo>
                  <a:pt x="202" y="70"/>
                  <a:pt x="200" y="79"/>
                  <a:pt x="199" y="88"/>
                </a:cubicBezTo>
                <a:cubicBezTo>
                  <a:pt x="199" y="89"/>
                  <a:pt x="199" y="91"/>
                  <a:pt x="200" y="92"/>
                </a:cubicBezTo>
                <a:cubicBezTo>
                  <a:pt x="204" y="97"/>
                  <a:pt x="208" y="101"/>
                  <a:pt x="212" y="106"/>
                </a:cubicBezTo>
                <a:cubicBezTo>
                  <a:pt x="239" y="88"/>
                  <a:pt x="265" y="88"/>
                  <a:pt x="292" y="105"/>
                </a:cubicBezTo>
                <a:cubicBezTo>
                  <a:pt x="296" y="102"/>
                  <a:pt x="300" y="98"/>
                  <a:pt x="303" y="94"/>
                </a:cubicBezTo>
                <a:cubicBezTo>
                  <a:pt x="304" y="92"/>
                  <a:pt x="304" y="90"/>
                  <a:pt x="303" y="88"/>
                </a:cubicBezTo>
                <a:cubicBezTo>
                  <a:pt x="298" y="67"/>
                  <a:pt x="302" y="48"/>
                  <a:pt x="316" y="32"/>
                </a:cubicBezTo>
                <a:cubicBezTo>
                  <a:pt x="329" y="17"/>
                  <a:pt x="344" y="10"/>
                  <a:pt x="363" y="11"/>
                </a:cubicBezTo>
                <a:cubicBezTo>
                  <a:pt x="385" y="12"/>
                  <a:pt x="402" y="22"/>
                  <a:pt x="412" y="41"/>
                </a:cubicBezTo>
                <a:cubicBezTo>
                  <a:pt x="416" y="47"/>
                  <a:pt x="417" y="54"/>
                  <a:pt x="420" y="61"/>
                </a:cubicBezTo>
                <a:cubicBezTo>
                  <a:pt x="421" y="63"/>
                  <a:pt x="421" y="65"/>
                  <a:pt x="423" y="66"/>
                </a:cubicBezTo>
                <a:cubicBezTo>
                  <a:pt x="436" y="76"/>
                  <a:pt x="444" y="90"/>
                  <a:pt x="449" y="105"/>
                </a:cubicBezTo>
                <a:cubicBezTo>
                  <a:pt x="456" y="130"/>
                  <a:pt x="463" y="154"/>
                  <a:pt x="470" y="179"/>
                </a:cubicBezTo>
                <a:cubicBezTo>
                  <a:pt x="479" y="215"/>
                  <a:pt x="489" y="251"/>
                  <a:pt x="498" y="286"/>
                </a:cubicBezTo>
                <a:cubicBezTo>
                  <a:pt x="511" y="340"/>
                  <a:pt x="479" y="394"/>
                  <a:pt x="426" y="408"/>
                </a:cubicBezTo>
                <a:cubicBezTo>
                  <a:pt x="367" y="422"/>
                  <a:pt x="309" y="382"/>
                  <a:pt x="302" y="323"/>
                </a:cubicBezTo>
                <a:cubicBezTo>
                  <a:pt x="302" y="321"/>
                  <a:pt x="301" y="319"/>
                  <a:pt x="301" y="316"/>
                </a:cubicBezTo>
                <a:close/>
                <a:moveTo>
                  <a:pt x="41" y="230"/>
                </a:moveTo>
                <a:cubicBezTo>
                  <a:pt x="42" y="230"/>
                  <a:pt x="42" y="230"/>
                  <a:pt x="43" y="230"/>
                </a:cubicBezTo>
                <a:cubicBezTo>
                  <a:pt x="58" y="219"/>
                  <a:pt x="74" y="213"/>
                  <a:pt x="93" y="211"/>
                </a:cubicBezTo>
                <a:cubicBezTo>
                  <a:pt x="138" y="207"/>
                  <a:pt x="180" y="234"/>
                  <a:pt x="196" y="277"/>
                </a:cubicBezTo>
                <a:cubicBezTo>
                  <a:pt x="198" y="282"/>
                  <a:pt x="200" y="287"/>
                  <a:pt x="204" y="291"/>
                </a:cubicBezTo>
                <a:cubicBezTo>
                  <a:pt x="218" y="307"/>
                  <a:pt x="237" y="312"/>
                  <a:pt x="258" y="310"/>
                </a:cubicBezTo>
                <a:cubicBezTo>
                  <a:pt x="282" y="308"/>
                  <a:pt x="299" y="297"/>
                  <a:pt x="308" y="274"/>
                </a:cubicBezTo>
                <a:cubicBezTo>
                  <a:pt x="327" y="224"/>
                  <a:pt x="385" y="198"/>
                  <a:pt x="434" y="217"/>
                </a:cubicBezTo>
                <a:cubicBezTo>
                  <a:pt x="444" y="220"/>
                  <a:pt x="453" y="226"/>
                  <a:pt x="463" y="231"/>
                </a:cubicBezTo>
                <a:cubicBezTo>
                  <a:pt x="459" y="216"/>
                  <a:pt x="455" y="202"/>
                  <a:pt x="451" y="187"/>
                </a:cubicBezTo>
                <a:cubicBezTo>
                  <a:pt x="444" y="162"/>
                  <a:pt x="437" y="136"/>
                  <a:pt x="430" y="111"/>
                </a:cubicBezTo>
                <a:cubicBezTo>
                  <a:pt x="426" y="98"/>
                  <a:pt x="419" y="87"/>
                  <a:pt x="407" y="80"/>
                </a:cubicBezTo>
                <a:cubicBezTo>
                  <a:pt x="384" y="69"/>
                  <a:pt x="354" y="70"/>
                  <a:pt x="333" y="91"/>
                </a:cubicBezTo>
                <a:cubicBezTo>
                  <a:pt x="325" y="100"/>
                  <a:pt x="317" y="109"/>
                  <a:pt x="308" y="118"/>
                </a:cubicBezTo>
                <a:cubicBezTo>
                  <a:pt x="301" y="126"/>
                  <a:pt x="291" y="130"/>
                  <a:pt x="281" y="122"/>
                </a:cubicBezTo>
                <a:cubicBezTo>
                  <a:pt x="263" y="109"/>
                  <a:pt x="240" y="109"/>
                  <a:pt x="223" y="123"/>
                </a:cubicBezTo>
                <a:cubicBezTo>
                  <a:pt x="218" y="127"/>
                  <a:pt x="213" y="128"/>
                  <a:pt x="207" y="126"/>
                </a:cubicBezTo>
                <a:cubicBezTo>
                  <a:pt x="203" y="124"/>
                  <a:pt x="199" y="121"/>
                  <a:pt x="196" y="118"/>
                </a:cubicBezTo>
                <a:cubicBezTo>
                  <a:pt x="189" y="111"/>
                  <a:pt x="183" y="104"/>
                  <a:pt x="176" y="96"/>
                </a:cubicBezTo>
                <a:cubicBezTo>
                  <a:pt x="162" y="81"/>
                  <a:pt x="145" y="72"/>
                  <a:pt x="123" y="74"/>
                </a:cubicBezTo>
                <a:cubicBezTo>
                  <a:pt x="97" y="76"/>
                  <a:pt x="83" y="84"/>
                  <a:pt x="75" y="109"/>
                </a:cubicBezTo>
                <a:cubicBezTo>
                  <a:pt x="63" y="149"/>
                  <a:pt x="52" y="189"/>
                  <a:pt x="41" y="230"/>
                </a:cubicBezTo>
                <a:close/>
                <a:moveTo>
                  <a:pt x="481" y="311"/>
                </a:moveTo>
                <a:cubicBezTo>
                  <a:pt x="480" y="266"/>
                  <a:pt x="445" y="231"/>
                  <a:pt x="401" y="231"/>
                </a:cubicBezTo>
                <a:cubicBezTo>
                  <a:pt x="357" y="231"/>
                  <a:pt x="321" y="267"/>
                  <a:pt x="321" y="311"/>
                </a:cubicBezTo>
                <a:cubicBezTo>
                  <a:pt x="321" y="355"/>
                  <a:pt x="357" y="390"/>
                  <a:pt x="401" y="390"/>
                </a:cubicBezTo>
                <a:cubicBezTo>
                  <a:pt x="445" y="390"/>
                  <a:pt x="481" y="355"/>
                  <a:pt x="481" y="311"/>
                </a:cubicBezTo>
                <a:close/>
                <a:moveTo>
                  <a:pt x="102" y="231"/>
                </a:moveTo>
                <a:cubicBezTo>
                  <a:pt x="96" y="231"/>
                  <a:pt x="90" y="232"/>
                  <a:pt x="85" y="233"/>
                </a:cubicBezTo>
                <a:cubicBezTo>
                  <a:pt x="69" y="236"/>
                  <a:pt x="57" y="244"/>
                  <a:pt x="45" y="255"/>
                </a:cubicBezTo>
                <a:cubicBezTo>
                  <a:pt x="32" y="266"/>
                  <a:pt x="28" y="281"/>
                  <a:pt x="24" y="295"/>
                </a:cubicBezTo>
                <a:cubicBezTo>
                  <a:pt x="21" y="305"/>
                  <a:pt x="22" y="316"/>
                  <a:pt x="24" y="327"/>
                </a:cubicBezTo>
                <a:cubicBezTo>
                  <a:pt x="32" y="368"/>
                  <a:pt x="71" y="395"/>
                  <a:pt x="113" y="389"/>
                </a:cubicBezTo>
                <a:cubicBezTo>
                  <a:pt x="157" y="383"/>
                  <a:pt x="187" y="343"/>
                  <a:pt x="180" y="300"/>
                </a:cubicBezTo>
                <a:cubicBezTo>
                  <a:pt x="174" y="260"/>
                  <a:pt x="142" y="231"/>
                  <a:pt x="102" y="231"/>
                </a:cubicBezTo>
                <a:close/>
                <a:moveTo>
                  <a:pt x="397" y="55"/>
                </a:moveTo>
                <a:cubicBezTo>
                  <a:pt x="392" y="40"/>
                  <a:pt x="371" y="27"/>
                  <a:pt x="350" y="33"/>
                </a:cubicBezTo>
                <a:cubicBezTo>
                  <a:pt x="328" y="39"/>
                  <a:pt x="319" y="62"/>
                  <a:pt x="322" y="74"/>
                </a:cubicBezTo>
                <a:cubicBezTo>
                  <a:pt x="344" y="55"/>
                  <a:pt x="369" y="50"/>
                  <a:pt x="397" y="55"/>
                </a:cubicBezTo>
                <a:close/>
                <a:moveTo>
                  <a:pt x="105" y="56"/>
                </a:moveTo>
                <a:cubicBezTo>
                  <a:pt x="119" y="53"/>
                  <a:pt x="132" y="52"/>
                  <a:pt x="145" y="55"/>
                </a:cubicBezTo>
                <a:cubicBezTo>
                  <a:pt x="159" y="57"/>
                  <a:pt x="170" y="64"/>
                  <a:pt x="181" y="73"/>
                </a:cubicBezTo>
                <a:cubicBezTo>
                  <a:pt x="182" y="54"/>
                  <a:pt x="169" y="37"/>
                  <a:pt x="151" y="33"/>
                </a:cubicBezTo>
                <a:cubicBezTo>
                  <a:pt x="132" y="28"/>
                  <a:pt x="112" y="38"/>
                  <a:pt x="105" y="56"/>
                </a:cubicBezTo>
                <a:close/>
                <a:moveTo>
                  <a:pt x="251" y="211"/>
                </a:moveTo>
                <a:cubicBezTo>
                  <a:pt x="273" y="211"/>
                  <a:pt x="291" y="229"/>
                  <a:pt x="291" y="251"/>
                </a:cubicBezTo>
                <a:cubicBezTo>
                  <a:pt x="291" y="273"/>
                  <a:pt x="273" y="291"/>
                  <a:pt x="251" y="291"/>
                </a:cubicBezTo>
                <a:cubicBezTo>
                  <a:pt x="229" y="291"/>
                  <a:pt x="211" y="273"/>
                  <a:pt x="211" y="251"/>
                </a:cubicBezTo>
                <a:cubicBezTo>
                  <a:pt x="211" y="229"/>
                  <a:pt x="229" y="211"/>
                  <a:pt x="251" y="211"/>
                </a:cubicBezTo>
                <a:close/>
                <a:moveTo>
                  <a:pt x="232" y="251"/>
                </a:moveTo>
                <a:cubicBezTo>
                  <a:pt x="232" y="262"/>
                  <a:pt x="240" y="270"/>
                  <a:pt x="251" y="270"/>
                </a:cubicBezTo>
                <a:cubicBezTo>
                  <a:pt x="262" y="271"/>
                  <a:pt x="271" y="262"/>
                  <a:pt x="271" y="251"/>
                </a:cubicBezTo>
                <a:cubicBezTo>
                  <a:pt x="271" y="240"/>
                  <a:pt x="263" y="231"/>
                  <a:pt x="252" y="231"/>
                </a:cubicBezTo>
                <a:cubicBezTo>
                  <a:pt x="240" y="231"/>
                  <a:pt x="232" y="240"/>
                  <a:pt x="232" y="251"/>
                </a:cubicBezTo>
                <a:close/>
                <a:moveTo>
                  <a:pt x="420" y="365"/>
                </a:moveTo>
                <a:cubicBezTo>
                  <a:pt x="423" y="358"/>
                  <a:pt x="418" y="351"/>
                  <a:pt x="409" y="350"/>
                </a:cubicBezTo>
                <a:cubicBezTo>
                  <a:pt x="397" y="350"/>
                  <a:pt x="388" y="345"/>
                  <a:pt x="380" y="336"/>
                </a:cubicBezTo>
                <a:cubicBezTo>
                  <a:pt x="374" y="329"/>
                  <a:pt x="372" y="321"/>
                  <a:pt x="371" y="312"/>
                </a:cubicBezTo>
                <a:cubicBezTo>
                  <a:pt x="371" y="305"/>
                  <a:pt x="366" y="301"/>
                  <a:pt x="361" y="301"/>
                </a:cubicBezTo>
                <a:cubicBezTo>
                  <a:pt x="355" y="301"/>
                  <a:pt x="351" y="306"/>
                  <a:pt x="351" y="312"/>
                </a:cubicBezTo>
                <a:cubicBezTo>
                  <a:pt x="351" y="314"/>
                  <a:pt x="351" y="317"/>
                  <a:pt x="352" y="319"/>
                </a:cubicBezTo>
                <a:cubicBezTo>
                  <a:pt x="355" y="347"/>
                  <a:pt x="380" y="370"/>
                  <a:pt x="408" y="371"/>
                </a:cubicBezTo>
                <a:cubicBezTo>
                  <a:pt x="413" y="371"/>
                  <a:pt x="417" y="370"/>
                  <a:pt x="420" y="365"/>
                </a:cubicBezTo>
                <a:close/>
                <a:moveTo>
                  <a:pt x="43" y="323"/>
                </a:moveTo>
                <a:cubicBezTo>
                  <a:pt x="47" y="349"/>
                  <a:pt x="73" y="371"/>
                  <a:pt x="99" y="371"/>
                </a:cubicBezTo>
                <a:cubicBezTo>
                  <a:pt x="106" y="371"/>
                  <a:pt x="111" y="367"/>
                  <a:pt x="112" y="361"/>
                </a:cubicBezTo>
                <a:cubicBezTo>
                  <a:pt x="112" y="355"/>
                  <a:pt x="107" y="351"/>
                  <a:pt x="100" y="350"/>
                </a:cubicBezTo>
                <a:cubicBezTo>
                  <a:pt x="80" y="350"/>
                  <a:pt x="62" y="332"/>
                  <a:pt x="62" y="313"/>
                </a:cubicBezTo>
                <a:cubicBezTo>
                  <a:pt x="62" y="311"/>
                  <a:pt x="61" y="309"/>
                  <a:pt x="61" y="307"/>
                </a:cubicBezTo>
                <a:cubicBezTo>
                  <a:pt x="59" y="302"/>
                  <a:pt x="54" y="300"/>
                  <a:pt x="49" y="301"/>
                </a:cubicBezTo>
                <a:cubicBezTo>
                  <a:pt x="44" y="303"/>
                  <a:pt x="42" y="307"/>
                  <a:pt x="42" y="314"/>
                </a:cubicBezTo>
                <a:cubicBezTo>
                  <a:pt x="42" y="317"/>
                  <a:pt x="42" y="320"/>
                  <a:pt x="43" y="323"/>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r>
              <a:rPr lang="es-ES">
                <a:latin typeface="+mj-lt"/>
                <a:cs typeface="Arial" pitchFamily="34" charset="0"/>
              </a:rPr>
              <a:t> </a:t>
            </a:r>
          </a:p>
        </p:txBody>
      </p:sp>
      <p:sp>
        <p:nvSpPr>
          <p:cNvPr id="10" name="Rectangle 12">
            <a:extLst>
              <a:ext uri="{FF2B5EF4-FFF2-40B4-BE49-F238E27FC236}">
                <a16:creationId xmlns:a16="http://schemas.microsoft.com/office/drawing/2014/main" id="{E6B645F9-47B1-B040-8534-50BCAD2CF9D1}"/>
              </a:ext>
            </a:extLst>
          </p:cNvPr>
          <p:cNvSpPr/>
          <p:nvPr userDrawn="1"/>
        </p:nvSpPr>
        <p:spPr>
          <a:xfrm>
            <a:off x="9457765" y="6579030"/>
            <a:ext cx="2734235" cy="278969"/>
          </a:xfrm>
          <a:prstGeom prst="rect">
            <a:avLst/>
          </a:prstGeom>
          <a:solidFill>
            <a:schemeClr val="accent2"/>
          </a:solidFill>
        </p:spPr>
        <p:txBody>
          <a:bodyPr wrap="square" lIns="0" tIns="0" rIns="0" bIns="0" rtlCol="0" anchor="ctr" anchorCtr="0">
            <a:noAutofit/>
          </a:bodyPr>
          <a:lstStyle/>
          <a:p>
            <a:pPr algn="ctr"/>
            <a:r>
              <a:rPr lang="en-US" sz="800" b="1">
                <a:solidFill>
                  <a:schemeClr val="tx2"/>
                </a:solidFill>
                <a:cs typeface="Arial" panose="020B0604020202020204" pitchFamily="34" charset="0"/>
              </a:rPr>
              <a:t>PLANTEAMIENTO GLOBAL DE LA SOLUCIÓN</a:t>
            </a:r>
          </a:p>
        </p:txBody>
      </p:sp>
    </p:spTree>
    <p:extLst>
      <p:ext uri="{BB962C8B-B14F-4D97-AF65-F5344CB8AC3E}">
        <p14:creationId xmlns:p14="http://schemas.microsoft.com/office/powerpoint/2010/main" val="468049067"/>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mplate Propuesta 2022 - Alcance de la Colaboración">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50040F2E-A856-F74D-B747-8F63180F396D}"/>
              </a:ext>
            </a:extLst>
          </p:cNvPr>
          <p:cNvSpPr>
            <a:spLocks noGrp="1"/>
          </p:cNvSpPr>
          <p:nvPr>
            <p:ph type="title"/>
          </p:nvPr>
        </p:nvSpPr>
        <p:spPr>
          <a:xfrm>
            <a:off x="1138892" y="36122"/>
            <a:ext cx="10610449" cy="276999"/>
          </a:xfrm>
        </p:spPr>
        <p:txBody>
          <a:bodyPr wrap="square" lIns="0" anchor="t">
            <a:noAutofit/>
          </a:bodyPr>
          <a:lstStyle>
            <a:lvl1pPr>
              <a:defRPr lang="es-ES_tradnl" cap="all" baseline="0" noProof="0" dirty="0"/>
            </a:lvl1pPr>
          </a:lstStyle>
          <a:p>
            <a:pPr lvl="0"/>
            <a:r>
              <a:rPr lang="es-ES_tradnl" noProof="0"/>
              <a:t>Haga clic para modificar el estilo de título del patrón</a:t>
            </a:r>
          </a:p>
        </p:txBody>
      </p:sp>
      <p:sp>
        <p:nvSpPr>
          <p:cNvPr id="7" name="Marcador de texto 5">
            <a:extLst>
              <a:ext uri="{FF2B5EF4-FFF2-40B4-BE49-F238E27FC236}">
                <a16:creationId xmlns:a16="http://schemas.microsoft.com/office/drawing/2014/main" id="{CC6303D6-D0FC-984A-8419-A50470327A59}"/>
              </a:ext>
            </a:extLst>
          </p:cNvPr>
          <p:cNvSpPr>
            <a:spLocks noGrp="1"/>
          </p:cNvSpPr>
          <p:nvPr>
            <p:ph type="body" sz="quarter" idx="10"/>
          </p:nvPr>
        </p:nvSpPr>
        <p:spPr>
          <a:xfrm>
            <a:off x="442659" y="671500"/>
            <a:ext cx="11306682" cy="5741999"/>
          </a:xfrm>
        </p:spPr>
        <p:txBody>
          <a:bodyPr/>
          <a:lstStyle/>
          <a:p>
            <a:pPr lvl="0"/>
            <a:r>
              <a:rPr lang="es-ES_tradnl" noProof="0"/>
              <a:t>Haga clic para modificar los estilos de texto del patrón</a:t>
            </a:r>
          </a:p>
          <a:p>
            <a:pPr lvl="1"/>
            <a:r>
              <a:rPr lang="es-ES_tradnl" noProof="0"/>
              <a:t>Segundo nivel</a:t>
            </a:r>
          </a:p>
          <a:p>
            <a:pPr lvl="2"/>
            <a:r>
              <a:rPr lang="es-ES_tradnl" noProof="0"/>
              <a:t>Tercer nivel</a:t>
            </a:r>
          </a:p>
          <a:p>
            <a:pPr lvl="3"/>
            <a:r>
              <a:rPr lang="es-ES_tradnl" noProof="0"/>
              <a:t>Cuarto nivel</a:t>
            </a:r>
          </a:p>
          <a:p>
            <a:pPr lvl="4"/>
            <a:r>
              <a:rPr lang="es-ES_tradnl" noProof="0"/>
              <a:t>Quinto nivel</a:t>
            </a:r>
          </a:p>
        </p:txBody>
      </p:sp>
      <p:sp>
        <p:nvSpPr>
          <p:cNvPr id="4" name="Marcador de texto 4">
            <a:extLst>
              <a:ext uri="{FF2B5EF4-FFF2-40B4-BE49-F238E27FC236}">
                <a16:creationId xmlns:a16="http://schemas.microsoft.com/office/drawing/2014/main" id="{DED7AFAC-0516-FB48-9E02-44CC62A80883}"/>
              </a:ext>
            </a:extLst>
          </p:cNvPr>
          <p:cNvSpPr>
            <a:spLocks noGrp="1"/>
          </p:cNvSpPr>
          <p:nvPr>
            <p:ph type="body" sz="quarter" idx="11"/>
          </p:nvPr>
        </p:nvSpPr>
        <p:spPr>
          <a:xfrm>
            <a:off x="1138639" y="290195"/>
            <a:ext cx="10610449" cy="217488"/>
          </a:xfrm>
        </p:spPr>
        <p:txBody>
          <a:bodyPr/>
          <a:lstStyle>
            <a:lvl1pPr>
              <a:defRPr sz="1200">
                <a:solidFill>
                  <a:schemeClr val="tx2"/>
                </a:solidFill>
              </a:defRPr>
            </a:lvl1pPr>
          </a:lstStyle>
          <a:p>
            <a:pPr lvl="0"/>
            <a:r>
              <a:rPr lang="es-ES_tradnl" noProof="0"/>
              <a:t>Haga clic para modificar los estilos de texto del patrón</a:t>
            </a:r>
          </a:p>
        </p:txBody>
      </p:sp>
      <p:sp>
        <p:nvSpPr>
          <p:cNvPr id="9" name="Rectángulo 8">
            <a:extLst>
              <a:ext uri="{FF2B5EF4-FFF2-40B4-BE49-F238E27FC236}">
                <a16:creationId xmlns:a16="http://schemas.microsoft.com/office/drawing/2014/main" id="{9D31E6A8-7FC5-D346-B913-27F3CB84C0BF}"/>
              </a:ext>
            </a:extLst>
          </p:cNvPr>
          <p:cNvSpPr/>
          <p:nvPr userDrawn="1"/>
        </p:nvSpPr>
        <p:spPr bwMode="auto">
          <a:xfrm>
            <a:off x="596159" y="67814"/>
            <a:ext cx="405613" cy="405613"/>
          </a:xfrm>
          <a:prstGeom prst="rect">
            <a:avLst/>
          </a:prstGeom>
          <a:solidFill>
            <a:schemeClr val="bg1"/>
          </a:solidFill>
          <a:ln w="25400" cap="flat">
            <a:solidFill>
              <a:schemeClr val="accent3"/>
            </a:solidFill>
            <a:miter lim="800000"/>
          </a:ln>
        </p:spPr>
        <p:txBody>
          <a:bodyPr lIns="0" tIns="0" rIns="0" bIns="0" rtlCol="0" anchor="ctr">
            <a:noAutofit/>
          </a:bodyPr>
          <a:lstStyle/>
          <a:p>
            <a:pPr algn="ctr"/>
            <a:endParaRPr lang="es-ES_tradnl" sz="1400" noProof="0"/>
          </a:p>
        </p:txBody>
      </p:sp>
      <p:sp>
        <p:nvSpPr>
          <p:cNvPr id="10" name="Shape 3779">
            <a:extLst>
              <a:ext uri="{FF2B5EF4-FFF2-40B4-BE49-F238E27FC236}">
                <a16:creationId xmlns:a16="http://schemas.microsoft.com/office/drawing/2014/main" id="{4F19A0FB-E43C-8543-96E2-C15DD739DC2D}"/>
              </a:ext>
            </a:extLst>
          </p:cNvPr>
          <p:cNvSpPr/>
          <p:nvPr userDrawn="1"/>
        </p:nvSpPr>
        <p:spPr>
          <a:xfrm>
            <a:off x="656513" y="122460"/>
            <a:ext cx="293369" cy="293411"/>
          </a:xfrm>
          <a:custGeom>
            <a:avLst/>
            <a:gdLst/>
            <a:ahLst/>
            <a:cxnLst>
              <a:cxn ang="0">
                <a:pos x="wd2" y="hd2"/>
              </a:cxn>
              <a:cxn ang="5400000">
                <a:pos x="wd2" y="hd2"/>
              </a:cxn>
              <a:cxn ang="10800000">
                <a:pos x="wd2" y="hd2"/>
              </a:cxn>
              <a:cxn ang="16200000">
                <a:pos x="wd2" y="hd2"/>
              </a:cxn>
            </a:cxnLst>
            <a:rect l="0" t="0" r="r" b="b"/>
            <a:pathLst>
              <a:path w="21530" h="21600" extrusionOk="0">
                <a:moveTo>
                  <a:pt x="6365" y="15409"/>
                </a:moveTo>
                <a:cubicBezTo>
                  <a:pt x="5782" y="14888"/>
                  <a:pt x="4858" y="14006"/>
                  <a:pt x="3935" y="12896"/>
                </a:cubicBezTo>
                <a:cubicBezTo>
                  <a:pt x="2587" y="11273"/>
                  <a:pt x="979" y="8836"/>
                  <a:pt x="979" y="6431"/>
                </a:cubicBezTo>
                <a:cubicBezTo>
                  <a:pt x="979" y="3427"/>
                  <a:pt x="3396" y="982"/>
                  <a:pt x="6366" y="982"/>
                </a:cubicBezTo>
                <a:cubicBezTo>
                  <a:pt x="9336" y="982"/>
                  <a:pt x="11752" y="3427"/>
                  <a:pt x="11752" y="6431"/>
                </a:cubicBezTo>
                <a:cubicBezTo>
                  <a:pt x="11752" y="10209"/>
                  <a:pt x="7888" y="14044"/>
                  <a:pt x="6365" y="15409"/>
                </a:cubicBezTo>
                <a:moveTo>
                  <a:pt x="6366" y="0"/>
                </a:moveTo>
                <a:cubicBezTo>
                  <a:pt x="2850" y="0"/>
                  <a:pt x="0" y="2879"/>
                  <a:pt x="0" y="6431"/>
                </a:cubicBezTo>
                <a:cubicBezTo>
                  <a:pt x="0" y="11655"/>
                  <a:pt x="6366" y="16701"/>
                  <a:pt x="6366" y="16701"/>
                </a:cubicBezTo>
                <a:cubicBezTo>
                  <a:pt x="6366" y="16701"/>
                  <a:pt x="12732" y="11655"/>
                  <a:pt x="12732" y="6431"/>
                </a:cubicBezTo>
                <a:cubicBezTo>
                  <a:pt x="12732" y="2879"/>
                  <a:pt x="9882" y="0"/>
                  <a:pt x="6366" y="0"/>
                </a:cubicBezTo>
                <a:moveTo>
                  <a:pt x="17357" y="19604"/>
                </a:moveTo>
                <a:cubicBezTo>
                  <a:pt x="17127" y="19764"/>
                  <a:pt x="16856" y="19909"/>
                  <a:pt x="16554" y="20033"/>
                </a:cubicBezTo>
                <a:cubicBezTo>
                  <a:pt x="16303" y="20137"/>
                  <a:pt x="16184" y="20424"/>
                  <a:pt x="16287" y="20675"/>
                </a:cubicBezTo>
                <a:cubicBezTo>
                  <a:pt x="16365" y="20865"/>
                  <a:pt x="16548" y="20979"/>
                  <a:pt x="16740" y="20979"/>
                </a:cubicBezTo>
                <a:cubicBezTo>
                  <a:pt x="16802" y="20979"/>
                  <a:pt x="16866" y="20968"/>
                  <a:pt x="16926" y="20943"/>
                </a:cubicBezTo>
                <a:cubicBezTo>
                  <a:pt x="17294" y="20790"/>
                  <a:pt x="17627" y="20611"/>
                  <a:pt x="17915" y="20411"/>
                </a:cubicBezTo>
                <a:cubicBezTo>
                  <a:pt x="18137" y="20256"/>
                  <a:pt x="18192" y="19950"/>
                  <a:pt x="18039" y="19727"/>
                </a:cubicBezTo>
                <a:cubicBezTo>
                  <a:pt x="17884" y="19505"/>
                  <a:pt x="17578" y="19449"/>
                  <a:pt x="17357" y="19604"/>
                </a:cubicBezTo>
                <a:moveTo>
                  <a:pt x="16249" y="13042"/>
                </a:moveTo>
                <a:cubicBezTo>
                  <a:pt x="16108" y="12790"/>
                  <a:pt x="16023" y="12529"/>
                  <a:pt x="15995" y="12265"/>
                </a:cubicBezTo>
                <a:cubicBezTo>
                  <a:pt x="15966" y="11996"/>
                  <a:pt x="15731" y="11801"/>
                  <a:pt x="15456" y="11830"/>
                </a:cubicBezTo>
                <a:cubicBezTo>
                  <a:pt x="15187" y="11859"/>
                  <a:pt x="14992" y="12100"/>
                  <a:pt x="15021" y="12371"/>
                </a:cubicBezTo>
                <a:cubicBezTo>
                  <a:pt x="15064" y="12767"/>
                  <a:pt x="15189" y="13155"/>
                  <a:pt x="15395" y="13522"/>
                </a:cubicBezTo>
                <a:cubicBezTo>
                  <a:pt x="15484" y="13682"/>
                  <a:pt x="15651" y="13774"/>
                  <a:pt x="15822" y="13774"/>
                </a:cubicBezTo>
                <a:cubicBezTo>
                  <a:pt x="15904" y="13774"/>
                  <a:pt x="15985" y="13753"/>
                  <a:pt x="16061" y="13710"/>
                </a:cubicBezTo>
                <a:cubicBezTo>
                  <a:pt x="16297" y="13578"/>
                  <a:pt x="16381" y="13279"/>
                  <a:pt x="16249" y="13042"/>
                </a:cubicBezTo>
                <a:moveTo>
                  <a:pt x="18249" y="15254"/>
                </a:moveTo>
                <a:cubicBezTo>
                  <a:pt x="18041" y="14981"/>
                  <a:pt x="17802" y="14708"/>
                  <a:pt x="17538" y="14439"/>
                </a:cubicBezTo>
                <a:cubicBezTo>
                  <a:pt x="17349" y="14246"/>
                  <a:pt x="17038" y="14244"/>
                  <a:pt x="16845" y="14434"/>
                </a:cubicBezTo>
                <a:cubicBezTo>
                  <a:pt x="16653" y="14624"/>
                  <a:pt x="16651" y="14935"/>
                  <a:pt x="16841" y="15129"/>
                </a:cubicBezTo>
                <a:cubicBezTo>
                  <a:pt x="17076" y="15368"/>
                  <a:pt x="17289" y="15612"/>
                  <a:pt x="17471" y="15851"/>
                </a:cubicBezTo>
                <a:cubicBezTo>
                  <a:pt x="17567" y="15977"/>
                  <a:pt x="17713" y="16043"/>
                  <a:pt x="17860" y="16043"/>
                </a:cubicBezTo>
                <a:cubicBezTo>
                  <a:pt x="17964" y="16043"/>
                  <a:pt x="18068" y="16011"/>
                  <a:pt x="18157" y="15943"/>
                </a:cubicBezTo>
                <a:cubicBezTo>
                  <a:pt x="18372" y="15777"/>
                  <a:pt x="18413" y="15469"/>
                  <a:pt x="18249" y="15254"/>
                </a:cubicBezTo>
                <a:moveTo>
                  <a:pt x="21476" y="5929"/>
                </a:moveTo>
                <a:cubicBezTo>
                  <a:pt x="21352" y="5687"/>
                  <a:pt x="21056" y="5592"/>
                  <a:pt x="20817" y="5717"/>
                </a:cubicBezTo>
                <a:cubicBezTo>
                  <a:pt x="20817" y="5717"/>
                  <a:pt x="20649" y="5803"/>
                  <a:pt x="20371" y="5962"/>
                </a:cubicBezTo>
                <a:cubicBezTo>
                  <a:pt x="20136" y="6097"/>
                  <a:pt x="20054" y="6396"/>
                  <a:pt x="20188" y="6632"/>
                </a:cubicBezTo>
                <a:cubicBezTo>
                  <a:pt x="20278" y="6791"/>
                  <a:pt x="20444" y="6880"/>
                  <a:pt x="20614" y="6880"/>
                </a:cubicBezTo>
                <a:cubicBezTo>
                  <a:pt x="20696" y="6880"/>
                  <a:pt x="20779" y="6859"/>
                  <a:pt x="20856" y="6815"/>
                </a:cubicBezTo>
                <a:cubicBezTo>
                  <a:pt x="21107" y="6672"/>
                  <a:pt x="21260" y="6593"/>
                  <a:pt x="21265" y="6590"/>
                </a:cubicBezTo>
                <a:cubicBezTo>
                  <a:pt x="21505" y="6466"/>
                  <a:pt x="21600" y="6170"/>
                  <a:pt x="21476" y="5929"/>
                </a:cubicBezTo>
                <a:moveTo>
                  <a:pt x="18659" y="16886"/>
                </a:moveTo>
                <a:cubicBezTo>
                  <a:pt x="18395" y="16941"/>
                  <a:pt x="18224" y="17201"/>
                  <a:pt x="18279" y="17467"/>
                </a:cubicBezTo>
                <a:cubicBezTo>
                  <a:pt x="18312" y="17625"/>
                  <a:pt x="18329" y="17782"/>
                  <a:pt x="18329" y="17929"/>
                </a:cubicBezTo>
                <a:cubicBezTo>
                  <a:pt x="18329" y="18050"/>
                  <a:pt x="18318" y="18171"/>
                  <a:pt x="18296" y="18287"/>
                </a:cubicBezTo>
                <a:cubicBezTo>
                  <a:pt x="18244" y="18554"/>
                  <a:pt x="18417" y="18811"/>
                  <a:pt x="18683" y="18862"/>
                </a:cubicBezTo>
                <a:cubicBezTo>
                  <a:pt x="18715" y="18869"/>
                  <a:pt x="18746" y="18872"/>
                  <a:pt x="18777" y="18872"/>
                </a:cubicBezTo>
                <a:cubicBezTo>
                  <a:pt x="19007" y="18872"/>
                  <a:pt x="19212" y="18708"/>
                  <a:pt x="19257" y="18473"/>
                </a:cubicBezTo>
                <a:cubicBezTo>
                  <a:pt x="19291" y="18296"/>
                  <a:pt x="19308" y="18114"/>
                  <a:pt x="19308" y="17929"/>
                </a:cubicBezTo>
                <a:cubicBezTo>
                  <a:pt x="19308" y="17715"/>
                  <a:pt x="19285" y="17492"/>
                  <a:pt x="19239" y="17268"/>
                </a:cubicBezTo>
                <a:cubicBezTo>
                  <a:pt x="19183" y="17001"/>
                  <a:pt x="18922" y="16832"/>
                  <a:pt x="18659" y="16886"/>
                </a:cubicBezTo>
                <a:moveTo>
                  <a:pt x="18590" y="7107"/>
                </a:moveTo>
                <a:cubicBezTo>
                  <a:pt x="18317" y="7304"/>
                  <a:pt x="18035" y="7518"/>
                  <a:pt x="17756" y="7745"/>
                </a:cubicBezTo>
                <a:cubicBezTo>
                  <a:pt x="17546" y="7917"/>
                  <a:pt x="17515" y="8227"/>
                  <a:pt x="17685" y="8437"/>
                </a:cubicBezTo>
                <a:cubicBezTo>
                  <a:pt x="17783" y="8556"/>
                  <a:pt x="17924" y="8617"/>
                  <a:pt x="18066" y="8617"/>
                </a:cubicBezTo>
                <a:cubicBezTo>
                  <a:pt x="18174" y="8617"/>
                  <a:pt x="18284" y="8581"/>
                  <a:pt x="18374" y="8507"/>
                </a:cubicBezTo>
                <a:cubicBezTo>
                  <a:pt x="18637" y="8292"/>
                  <a:pt x="18903" y="8090"/>
                  <a:pt x="19161" y="7905"/>
                </a:cubicBezTo>
                <a:cubicBezTo>
                  <a:pt x="19380" y="7747"/>
                  <a:pt x="19431" y="7440"/>
                  <a:pt x="19273" y="7220"/>
                </a:cubicBezTo>
                <a:cubicBezTo>
                  <a:pt x="19116" y="6999"/>
                  <a:pt x="18810" y="6949"/>
                  <a:pt x="18590" y="7107"/>
                </a:cubicBezTo>
                <a:moveTo>
                  <a:pt x="14704" y="20512"/>
                </a:moveTo>
                <a:cubicBezTo>
                  <a:pt x="14393" y="20556"/>
                  <a:pt x="14064" y="20590"/>
                  <a:pt x="13729" y="20612"/>
                </a:cubicBezTo>
                <a:cubicBezTo>
                  <a:pt x="13459" y="20629"/>
                  <a:pt x="13254" y="20863"/>
                  <a:pt x="13272" y="21134"/>
                </a:cubicBezTo>
                <a:cubicBezTo>
                  <a:pt x="13289" y="21394"/>
                  <a:pt x="13504" y="21593"/>
                  <a:pt x="13760" y="21593"/>
                </a:cubicBezTo>
                <a:cubicBezTo>
                  <a:pt x="13770" y="21593"/>
                  <a:pt x="13781" y="21592"/>
                  <a:pt x="13792" y="21592"/>
                </a:cubicBezTo>
                <a:cubicBezTo>
                  <a:pt x="14152" y="21568"/>
                  <a:pt x="14506" y="21533"/>
                  <a:pt x="14842" y="21485"/>
                </a:cubicBezTo>
                <a:cubicBezTo>
                  <a:pt x="15110" y="21447"/>
                  <a:pt x="15295" y="21198"/>
                  <a:pt x="15258" y="20929"/>
                </a:cubicBezTo>
                <a:cubicBezTo>
                  <a:pt x="15220" y="20661"/>
                  <a:pt x="14973" y="20472"/>
                  <a:pt x="14704" y="20512"/>
                </a:cubicBezTo>
                <a:moveTo>
                  <a:pt x="8893" y="20109"/>
                </a:moveTo>
                <a:cubicBezTo>
                  <a:pt x="8581" y="19998"/>
                  <a:pt x="8298" y="19866"/>
                  <a:pt x="8052" y="19722"/>
                </a:cubicBezTo>
                <a:cubicBezTo>
                  <a:pt x="7818" y="19582"/>
                  <a:pt x="7519" y="19663"/>
                  <a:pt x="7382" y="19896"/>
                </a:cubicBezTo>
                <a:cubicBezTo>
                  <a:pt x="7244" y="20130"/>
                  <a:pt x="7323" y="20432"/>
                  <a:pt x="7556" y="20569"/>
                </a:cubicBezTo>
                <a:cubicBezTo>
                  <a:pt x="7855" y="20744"/>
                  <a:pt x="8194" y="20901"/>
                  <a:pt x="8562" y="21034"/>
                </a:cubicBezTo>
                <a:cubicBezTo>
                  <a:pt x="8617" y="21053"/>
                  <a:pt x="8672" y="21063"/>
                  <a:pt x="8728" y="21063"/>
                </a:cubicBezTo>
                <a:cubicBezTo>
                  <a:pt x="8929" y="21063"/>
                  <a:pt x="9116" y="20938"/>
                  <a:pt x="9189" y="20738"/>
                </a:cubicBezTo>
                <a:cubicBezTo>
                  <a:pt x="9280" y="20482"/>
                  <a:pt x="9148" y="20200"/>
                  <a:pt x="8893" y="20109"/>
                </a:cubicBezTo>
                <a:moveTo>
                  <a:pt x="11750" y="20618"/>
                </a:moveTo>
                <a:cubicBezTo>
                  <a:pt x="11411" y="20600"/>
                  <a:pt x="11082" y="20572"/>
                  <a:pt x="10771" y="20533"/>
                </a:cubicBezTo>
                <a:cubicBezTo>
                  <a:pt x="10502" y="20493"/>
                  <a:pt x="10258" y="20690"/>
                  <a:pt x="10224" y="20959"/>
                </a:cubicBezTo>
                <a:cubicBezTo>
                  <a:pt x="10191" y="21229"/>
                  <a:pt x="10382" y="21474"/>
                  <a:pt x="10650" y="21508"/>
                </a:cubicBezTo>
                <a:cubicBezTo>
                  <a:pt x="10984" y="21549"/>
                  <a:pt x="11337" y="21581"/>
                  <a:pt x="11699" y="21600"/>
                </a:cubicBezTo>
                <a:cubicBezTo>
                  <a:pt x="11708" y="21600"/>
                  <a:pt x="11716" y="21600"/>
                  <a:pt x="11725" y="21600"/>
                </a:cubicBezTo>
                <a:cubicBezTo>
                  <a:pt x="11983" y="21600"/>
                  <a:pt x="12200" y="21397"/>
                  <a:pt x="12214" y="21135"/>
                </a:cubicBezTo>
                <a:cubicBezTo>
                  <a:pt x="12228" y="20863"/>
                  <a:pt x="12021" y="20632"/>
                  <a:pt x="11750" y="20618"/>
                </a:cubicBezTo>
                <a:moveTo>
                  <a:pt x="6840" y="18180"/>
                </a:moveTo>
                <a:cubicBezTo>
                  <a:pt x="6836" y="17912"/>
                  <a:pt x="6619" y="17696"/>
                  <a:pt x="6351" y="17696"/>
                </a:cubicBezTo>
                <a:cubicBezTo>
                  <a:pt x="6080" y="17696"/>
                  <a:pt x="5861" y="17916"/>
                  <a:pt x="5861" y="18188"/>
                </a:cubicBezTo>
                <a:cubicBezTo>
                  <a:pt x="5861" y="18235"/>
                  <a:pt x="5867" y="18484"/>
                  <a:pt x="5997" y="18834"/>
                </a:cubicBezTo>
                <a:cubicBezTo>
                  <a:pt x="6070" y="19033"/>
                  <a:pt x="6256" y="19156"/>
                  <a:pt x="6456" y="19156"/>
                </a:cubicBezTo>
                <a:cubicBezTo>
                  <a:pt x="6512" y="19156"/>
                  <a:pt x="6570" y="19145"/>
                  <a:pt x="6626" y="19124"/>
                </a:cubicBezTo>
                <a:cubicBezTo>
                  <a:pt x="6879" y="19030"/>
                  <a:pt x="7009" y="18748"/>
                  <a:pt x="6915" y="18493"/>
                </a:cubicBezTo>
                <a:cubicBezTo>
                  <a:pt x="6848" y="18314"/>
                  <a:pt x="6841" y="18191"/>
                  <a:pt x="6840" y="18180"/>
                </a:cubicBezTo>
                <a:moveTo>
                  <a:pt x="15760" y="10798"/>
                </a:moveTo>
                <a:cubicBezTo>
                  <a:pt x="15838" y="10844"/>
                  <a:pt x="15924" y="10866"/>
                  <a:pt x="16008" y="10866"/>
                </a:cubicBezTo>
                <a:cubicBezTo>
                  <a:pt x="16176" y="10866"/>
                  <a:pt x="16339" y="10780"/>
                  <a:pt x="16431" y="10625"/>
                </a:cubicBezTo>
                <a:cubicBezTo>
                  <a:pt x="16577" y="10376"/>
                  <a:pt x="16761" y="10120"/>
                  <a:pt x="16977" y="9861"/>
                </a:cubicBezTo>
                <a:cubicBezTo>
                  <a:pt x="17151" y="9653"/>
                  <a:pt x="17124" y="9343"/>
                  <a:pt x="16916" y="9169"/>
                </a:cubicBezTo>
                <a:cubicBezTo>
                  <a:pt x="16709" y="8994"/>
                  <a:pt x="16400" y="9022"/>
                  <a:pt x="16227" y="9230"/>
                </a:cubicBezTo>
                <a:cubicBezTo>
                  <a:pt x="15976" y="9529"/>
                  <a:pt x="15760" y="9832"/>
                  <a:pt x="15587" y="10125"/>
                </a:cubicBezTo>
                <a:cubicBezTo>
                  <a:pt x="15450" y="10359"/>
                  <a:pt x="15527" y="10659"/>
                  <a:pt x="15760" y="10798"/>
                </a:cubicBezTo>
                <a:moveTo>
                  <a:pt x="6366" y="8841"/>
                </a:moveTo>
                <a:cubicBezTo>
                  <a:pt x="5014" y="8841"/>
                  <a:pt x="3917" y="7741"/>
                  <a:pt x="3917" y="6385"/>
                </a:cubicBezTo>
                <a:cubicBezTo>
                  <a:pt x="3917" y="5027"/>
                  <a:pt x="5014" y="3927"/>
                  <a:pt x="6366" y="3927"/>
                </a:cubicBezTo>
                <a:cubicBezTo>
                  <a:pt x="7719" y="3927"/>
                  <a:pt x="8814" y="5027"/>
                  <a:pt x="8814" y="6385"/>
                </a:cubicBezTo>
                <a:cubicBezTo>
                  <a:pt x="8814" y="7741"/>
                  <a:pt x="7719" y="8841"/>
                  <a:pt x="6366" y="8841"/>
                </a:cubicBezTo>
                <a:moveTo>
                  <a:pt x="6366" y="2955"/>
                </a:moveTo>
                <a:cubicBezTo>
                  <a:pt x="4473" y="2955"/>
                  <a:pt x="2938" y="4494"/>
                  <a:pt x="2938" y="6392"/>
                </a:cubicBezTo>
                <a:cubicBezTo>
                  <a:pt x="2938" y="8291"/>
                  <a:pt x="4473" y="9831"/>
                  <a:pt x="6366" y="9831"/>
                </a:cubicBezTo>
                <a:cubicBezTo>
                  <a:pt x="8259" y="9831"/>
                  <a:pt x="9794" y="8291"/>
                  <a:pt x="9794" y="6392"/>
                </a:cubicBezTo>
                <a:cubicBezTo>
                  <a:pt x="9794" y="4494"/>
                  <a:pt x="8259" y="2955"/>
                  <a:pt x="6366" y="2955"/>
                </a:cubicBezTo>
              </a:path>
            </a:pathLst>
          </a:custGeom>
          <a:solidFill>
            <a:schemeClr val="tx2"/>
          </a:solidFill>
          <a:ln w="12700">
            <a:noFill/>
            <a:miter lim="400000"/>
          </a:ln>
        </p:spPr>
        <p:txBody>
          <a:bodyPr lIns="38100" tIns="38100" rIns="38100" bIns="38100" anchor="ctr"/>
          <a:lstStyle/>
          <a:p>
            <a:endParaRPr>
              <a:solidFill>
                <a:prstClr val="black"/>
              </a:solidFill>
            </a:endParaRPr>
          </a:p>
        </p:txBody>
      </p:sp>
      <p:sp>
        <p:nvSpPr>
          <p:cNvPr id="8" name="Rectangle 12">
            <a:extLst>
              <a:ext uri="{FF2B5EF4-FFF2-40B4-BE49-F238E27FC236}">
                <a16:creationId xmlns:a16="http://schemas.microsoft.com/office/drawing/2014/main" id="{5BC2EE76-97BD-7649-9791-105C3DD85F3E}"/>
              </a:ext>
            </a:extLst>
          </p:cNvPr>
          <p:cNvSpPr/>
          <p:nvPr userDrawn="1"/>
        </p:nvSpPr>
        <p:spPr>
          <a:xfrm>
            <a:off x="9457764" y="6579030"/>
            <a:ext cx="2734235" cy="278969"/>
          </a:xfrm>
          <a:prstGeom prst="rect">
            <a:avLst/>
          </a:prstGeom>
          <a:solidFill>
            <a:schemeClr val="accent3"/>
          </a:solidFill>
        </p:spPr>
        <p:txBody>
          <a:bodyPr wrap="square" lIns="0" tIns="0" rIns="0" bIns="0" rtlCol="0" anchor="ctr" anchorCtr="0">
            <a:noAutofit/>
          </a:bodyPr>
          <a:lstStyle/>
          <a:p>
            <a:pPr algn="ctr"/>
            <a:r>
              <a:rPr lang="en-US" sz="800" b="1">
                <a:solidFill>
                  <a:schemeClr val="bg1"/>
                </a:solidFill>
                <a:cs typeface="Arial" panose="020B0604020202020204" pitchFamily="34" charset="0"/>
              </a:rPr>
              <a:t>ALCANCE DE LA COLABORACIÓN</a:t>
            </a:r>
          </a:p>
        </p:txBody>
      </p:sp>
    </p:spTree>
    <p:extLst>
      <p:ext uri="{BB962C8B-B14F-4D97-AF65-F5344CB8AC3E}">
        <p14:creationId xmlns:p14="http://schemas.microsoft.com/office/powerpoint/2010/main" val="3855119567"/>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mplate Propuesta 2022 - Marco Metodológico">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50040F2E-A856-F74D-B747-8F63180F396D}"/>
              </a:ext>
            </a:extLst>
          </p:cNvPr>
          <p:cNvSpPr>
            <a:spLocks noGrp="1"/>
          </p:cNvSpPr>
          <p:nvPr>
            <p:ph type="title"/>
          </p:nvPr>
        </p:nvSpPr>
        <p:spPr>
          <a:xfrm>
            <a:off x="1138892" y="36122"/>
            <a:ext cx="10610449" cy="276999"/>
          </a:xfrm>
        </p:spPr>
        <p:txBody>
          <a:bodyPr wrap="square" lIns="0" anchor="t">
            <a:noAutofit/>
          </a:bodyPr>
          <a:lstStyle>
            <a:lvl1pPr>
              <a:defRPr lang="es-ES_tradnl" cap="all" baseline="0" noProof="0" dirty="0"/>
            </a:lvl1pPr>
          </a:lstStyle>
          <a:p>
            <a:pPr lvl="0"/>
            <a:r>
              <a:rPr lang="es-ES_tradnl" noProof="0"/>
              <a:t>Haga clic para modificar el estilo de título del patrón</a:t>
            </a:r>
          </a:p>
        </p:txBody>
      </p:sp>
      <p:sp>
        <p:nvSpPr>
          <p:cNvPr id="7" name="Marcador de texto 5">
            <a:extLst>
              <a:ext uri="{FF2B5EF4-FFF2-40B4-BE49-F238E27FC236}">
                <a16:creationId xmlns:a16="http://schemas.microsoft.com/office/drawing/2014/main" id="{CC6303D6-D0FC-984A-8419-A50470327A59}"/>
              </a:ext>
            </a:extLst>
          </p:cNvPr>
          <p:cNvSpPr>
            <a:spLocks noGrp="1"/>
          </p:cNvSpPr>
          <p:nvPr>
            <p:ph type="body" sz="quarter" idx="10"/>
          </p:nvPr>
        </p:nvSpPr>
        <p:spPr>
          <a:xfrm>
            <a:off x="442659" y="671500"/>
            <a:ext cx="11306682" cy="5741999"/>
          </a:xfrm>
        </p:spPr>
        <p:txBody>
          <a:bodyPr/>
          <a:lstStyle/>
          <a:p>
            <a:pPr lvl="0"/>
            <a:r>
              <a:rPr lang="es-ES_tradnl" noProof="0"/>
              <a:t>Haga clic para modificar los estilos de texto del patrón</a:t>
            </a:r>
          </a:p>
          <a:p>
            <a:pPr lvl="1"/>
            <a:r>
              <a:rPr lang="es-ES_tradnl" noProof="0"/>
              <a:t>Segundo nivel</a:t>
            </a:r>
          </a:p>
          <a:p>
            <a:pPr lvl="2"/>
            <a:r>
              <a:rPr lang="es-ES_tradnl" noProof="0"/>
              <a:t>Tercer nivel</a:t>
            </a:r>
          </a:p>
          <a:p>
            <a:pPr lvl="3"/>
            <a:r>
              <a:rPr lang="es-ES_tradnl" noProof="0"/>
              <a:t>Cuarto nivel</a:t>
            </a:r>
          </a:p>
          <a:p>
            <a:pPr lvl="4"/>
            <a:r>
              <a:rPr lang="es-ES_tradnl" noProof="0"/>
              <a:t>Quinto nivel</a:t>
            </a:r>
          </a:p>
        </p:txBody>
      </p:sp>
      <p:sp>
        <p:nvSpPr>
          <p:cNvPr id="4" name="Marcador de texto 4">
            <a:extLst>
              <a:ext uri="{FF2B5EF4-FFF2-40B4-BE49-F238E27FC236}">
                <a16:creationId xmlns:a16="http://schemas.microsoft.com/office/drawing/2014/main" id="{DED7AFAC-0516-FB48-9E02-44CC62A80883}"/>
              </a:ext>
            </a:extLst>
          </p:cNvPr>
          <p:cNvSpPr>
            <a:spLocks noGrp="1"/>
          </p:cNvSpPr>
          <p:nvPr>
            <p:ph type="body" sz="quarter" idx="11"/>
          </p:nvPr>
        </p:nvSpPr>
        <p:spPr>
          <a:xfrm>
            <a:off x="1138639" y="290195"/>
            <a:ext cx="10610449" cy="217488"/>
          </a:xfrm>
        </p:spPr>
        <p:txBody>
          <a:bodyPr/>
          <a:lstStyle>
            <a:lvl1pPr>
              <a:defRPr sz="1200">
                <a:solidFill>
                  <a:schemeClr val="tx2"/>
                </a:solidFill>
              </a:defRPr>
            </a:lvl1pPr>
          </a:lstStyle>
          <a:p>
            <a:pPr lvl="0"/>
            <a:r>
              <a:rPr lang="es-ES_tradnl" noProof="0"/>
              <a:t>Haga clic para modificar los estilos de texto del patrón</a:t>
            </a:r>
          </a:p>
        </p:txBody>
      </p:sp>
      <p:sp>
        <p:nvSpPr>
          <p:cNvPr id="9" name="Rectángulo 8">
            <a:extLst>
              <a:ext uri="{FF2B5EF4-FFF2-40B4-BE49-F238E27FC236}">
                <a16:creationId xmlns:a16="http://schemas.microsoft.com/office/drawing/2014/main" id="{9D31E6A8-7FC5-D346-B913-27F3CB84C0BF}"/>
              </a:ext>
            </a:extLst>
          </p:cNvPr>
          <p:cNvSpPr/>
          <p:nvPr userDrawn="1"/>
        </p:nvSpPr>
        <p:spPr bwMode="auto">
          <a:xfrm>
            <a:off x="596159" y="67814"/>
            <a:ext cx="405613" cy="405613"/>
          </a:xfrm>
          <a:prstGeom prst="rect">
            <a:avLst/>
          </a:prstGeom>
          <a:solidFill>
            <a:schemeClr val="bg1"/>
          </a:solidFill>
          <a:ln w="25400" cap="flat">
            <a:solidFill>
              <a:schemeClr val="accent4"/>
            </a:solidFill>
            <a:miter lim="800000"/>
          </a:ln>
        </p:spPr>
        <p:txBody>
          <a:bodyPr lIns="0" tIns="0" rIns="0" bIns="0" rtlCol="0" anchor="ctr">
            <a:noAutofit/>
          </a:bodyPr>
          <a:lstStyle/>
          <a:p>
            <a:pPr algn="ctr"/>
            <a:endParaRPr lang="es-ES_tradnl" sz="1400" noProof="0"/>
          </a:p>
        </p:txBody>
      </p:sp>
      <p:sp>
        <p:nvSpPr>
          <p:cNvPr id="8" name="Shape 3664">
            <a:extLst>
              <a:ext uri="{FF2B5EF4-FFF2-40B4-BE49-F238E27FC236}">
                <a16:creationId xmlns:a16="http://schemas.microsoft.com/office/drawing/2014/main" id="{01493D49-94F0-024B-9453-F3902DD79E60}"/>
              </a:ext>
            </a:extLst>
          </p:cNvPr>
          <p:cNvSpPr/>
          <p:nvPr userDrawn="1"/>
        </p:nvSpPr>
        <p:spPr>
          <a:xfrm>
            <a:off x="659124" y="125056"/>
            <a:ext cx="279552" cy="279550"/>
          </a:xfrm>
          <a:custGeom>
            <a:avLst/>
            <a:gdLst/>
            <a:ahLst/>
            <a:cxnLst>
              <a:cxn ang="0">
                <a:pos x="wd2" y="hd2"/>
              </a:cxn>
              <a:cxn ang="5400000">
                <a:pos x="wd2" y="hd2"/>
              </a:cxn>
              <a:cxn ang="10800000">
                <a:pos x="wd2" y="hd2"/>
              </a:cxn>
              <a:cxn ang="16200000">
                <a:pos x="wd2" y="hd2"/>
              </a:cxn>
            </a:cxnLst>
            <a:rect l="0" t="0" r="r" b="b"/>
            <a:pathLst>
              <a:path w="21600" h="21600" extrusionOk="0">
                <a:moveTo>
                  <a:pt x="10800" y="14727"/>
                </a:moveTo>
                <a:cubicBezTo>
                  <a:pt x="8631" y="14727"/>
                  <a:pt x="6873" y="12969"/>
                  <a:pt x="6873" y="10800"/>
                </a:cubicBezTo>
                <a:cubicBezTo>
                  <a:pt x="6873" y="8631"/>
                  <a:pt x="8631" y="6873"/>
                  <a:pt x="10800" y="6873"/>
                </a:cubicBezTo>
                <a:cubicBezTo>
                  <a:pt x="12969" y="6873"/>
                  <a:pt x="14727" y="8631"/>
                  <a:pt x="14727" y="10800"/>
                </a:cubicBezTo>
                <a:cubicBezTo>
                  <a:pt x="14727" y="12969"/>
                  <a:pt x="12969" y="14727"/>
                  <a:pt x="10800" y="14727"/>
                </a:cubicBezTo>
                <a:moveTo>
                  <a:pt x="10800" y="5891"/>
                </a:moveTo>
                <a:cubicBezTo>
                  <a:pt x="8088" y="5891"/>
                  <a:pt x="5891" y="8089"/>
                  <a:pt x="5891" y="10800"/>
                </a:cubicBezTo>
                <a:cubicBezTo>
                  <a:pt x="5891" y="13512"/>
                  <a:pt x="8088" y="15709"/>
                  <a:pt x="10800" y="15709"/>
                </a:cubicBezTo>
                <a:cubicBezTo>
                  <a:pt x="13512" y="15709"/>
                  <a:pt x="15709" y="13512"/>
                  <a:pt x="15709" y="10800"/>
                </a:cubicBezTo>
                <a:cubicBezTo>
                  <a:pt x="15709" y="8089"/>
                  <a:pt x="13512" y="5891"/>
                  <a:pt x="10800" y="5891"/>
                </a:cubicBezTo>
                <a:moveTo>
                  <a:pt x="20618" y="12013"/>
                </a:moveTo>
                <a:cubicBezTo>
                  <a:pt x="20614" y="12014"/>
                  <a:pt x="20611" y="12016"/>
                  <a:pt x="20607" y="12017"/>
                </a:cubicBezTo>
                <a:lnTo>
                  <a:pt x="19602" y="12268"/>
                </a:lnTo>
                <a:cubicBezTo>
                  <a:pt x="19256" y="12354"/>
                  <a:pt x="18984" y="12622"/>
                  <a:pt x="18892" y="12966"/>
                </a:cubicBezTo>
                <a:cubicBezTo>
                  <a:pt x="18703" y="13673"/>
                  <a:pt x="18421" y="14351"/>
                  <a:pt x="18053" y="14986"/>
                </a:cubicBezTo>
                <a:cubicBezTo>
                  <a:pt x="17873" y="15295"/>
                  <a:pt x="17876" y="15677"/>
                  <a:pt x="18060" y="15984"/>
                </a:cubicBezTo>
                <a:lnTo>
                  <a:pt x="18601" y="16885"/>
                </a:lnTo>
                <a:lnTo>
                  <a:pt x="16886" y="18600"/>
                </a:lnTo>
                <a:cubicBezTo>
                  <a:pt x="16882" y="18599"/>
                  <a:pt x="16878" y="18597"/>
                  <a:pt x="16875" y="18595"/>
                </a:cubicBezTo>
                <a:lnTo>
                  <a:pt x="15978" y="18057"/>
                </a:lnTo>
                <a:cubicBezTo>
                  <a:pt x="15822" y="17964"/>
                  <a:pt x="15648" y="17917"/>
                  <a:pt x="15473" y="17917"/>
                </a:cubicBezTo>
                <a:cubicBezTo>
                  <a:pt x="15304" y="17917"/>
                  <a:pt x="15134" y="17961"/>
                  <a:pt x="14982" y="18049"/>
                </a:cubicBezTo>
                <a:cubicBezTo>
                  <a:pt x="14348" y="18415"/>
                  <a:pt x="13671" y="18696"/>
                  <a:pt x="12968" y="18884"/>
                </a:cubicBezTo>
                <a:cubicBezTo>
                  <a:pt x="12624" y="18976"/>
                  <a:pt x="12356" y="19248"/>
                  <a:pt x="12269" y="19594"/>
                </a:cubicBezTo>
                <a:lnTo>
                  <a:pt x="12016" y="20608"/>
                </a:lnTo>
                <a:cubicBezTo>
                  <a:pt x="12015" y="20611"/>
                  <a:pt x="12014" y="20614"/>
                  <a:pt x="12012" y="20619"/>
                </a:cubicBezTo>
                <a:lnTo>
                  <a:pt x="9587" y="20619"/>
                </a:lnTo>
                <a:lnTo>
                  <a:pt x="9331" y="19594"/>
                </a:lnTo>
                <a:cubicBezTo>
                  <a:pt x="9244" y="19248"/>
                  <a:pt x="8976" y="18976"/>
                  <a:pt x="8632" y="18884"/>
                </a:cubicBezTo>
                <a:cubicBezTo>
                  <a:pt x="7929" y="18696"/>
                  <a:pt x="7251" y="18415"/>
                  <a:pt x="6617" y="18049"/>
                </a:cubicBezTo>
                <a:cubicBezTo>
                  <a:pt x="6465" y="17961"/>
                  <a:pt x="6296" y="17917"/>
                  <a:pt x="6127" y="17917"/>
                </a:cubicBezTo>
                <a:cubicBezTo>
                  <a:pt x="5951" y="17917"/>
                  <a:pt x="5777" y="17964"/>
                  <a:pt x="5621" y="18057"/>
                </a:cubicBezTo>
                <a:lnTo>
                  <a:pt x="4725" y="18595"/>
                </a:lnTo>
                <a:cubicBezTo>
                  <a:pt x="4722" y="18597"/>
                  <a:pt x="4718" y="18599"/>
                  <a:pt x="4714" y="18600"/>
                </a:cubicBezTo>
                <a:lnTo>
                  <a:pt x="3000" y="16885"/>
                </a:lnTo>
                <a:lnTo>
                  <a:pt x="3540" y="15983"/>
                </a:lnTo>
                <a:cubicBezTo>
                  <a:pt x="3724" y="15677"/>
                  <a:pt x="3727" y="15295"/>
                  <a:pt x="3548" y="14986"/>
                </a:cubicBezTo>
                <a:cubicBezTo>
                  <a:pt x="3179" y="14351"/>
                  <a:pt x="2897" y="13672"/>
                  <a:pt x="2708" y="12966"/>
                </a:cubicBezTo>
                <a:cubicBezTo>
                  <a:pt x="2616" y="12622"/>
                  <a:pt x="2343" y="12354"/>
                  <a:pt x="1998" y="12268"/>
                </a:cubicBezTo>
                <a:lnTo>
                  <a:pt x="993" y="12017"/>
                </a:lnTo>
                <a:cubicBezTo>
                  <a:pt x="989" y="12016"/>
                  <a:pt x="986" y="12014"/>
                  <a:pt x="982" y="12013"/>
                </a:cubicBezTo>
                <a:lnTo>
                  <a:pt x="982" y="9587"/>
                </a:lnTo>
                <a:lnTo>
                  <a:pt x="1998" y="9333"/>
                </a:lnTo>
                <a:cubicBezTo>
                  <a:pt x="2343" y="9247"/>
                  <a:pt x="2616" y="8979"/>
                  <a:pt x="2708" y="8634"/>
                </a:cubicBezTo>
                <a:cubicBezTo>
                  <a:pt x="2897" y="7928"/>
                  <a:pt x="3179" y="7250"/>
                  <a:pt x="3548" y="6615"/>
                </a:cubicBezTo>
                <a:cubicBezTo>
                  <a:pt x="3727" y="6305"/>
                  <a:pt x="3724" y="5924"/>
                  <a:pt x="3540" y="5617"/>
                </a:cubicBezTo>
                <a:lnTo>
                  <a:pt x="3005" y="4725"/>
                </a:lnTo>
                <a:cubicBezTo>
                  <a:pt x="3004" y="4722"/>
                  <a:pt x="3002" y="4718"/>
                  <a:pt x="3000" y="4714"/>
                </a:cubicBezTo>
                <a:lnTo>
                  <a:pt x="4715" y="3000"/>
                </a:lnTo>
                <a:lnTo>
                  <a:pt x="5621" y="3544"/>
                </a:lnTo>
                <a:cubicBezTo>
                  <a:pt x="5777" y="3637"/>
                  <a:pt x="5951" y="3683"/>
                  <a:pt x="6127" y="3683"/>
                </a:cubicBezTo>
                <a:cubicBezTo>
                  <a:pt x="6296" y="3683"/>
                  <a:pt x="6465" y="3640"/>
                  <a:pt x="6618" y="3551"/>
                </a:cubicBezTo>
                <a:cubicBezTo>
                  <a:pt x="7251" y="3185"/>
                  <a:pt x="7929" y="2904"/>
                  <a:pt x="8632" y="2717"/>
                </a:cubicBezTo>
                <a:cubicBezTo>
                  <a:pt x="8976" y="2624"/>
                  <a:pt x="9244" y="2353"/>
                  <a:pt x="9331" y="2007"/>
                </a:cubicBezTo>
                <a:lnTo>
                  <a:pt x="9587" y="982"/>
                </a:lnTo>
                <a:lnTo>
                  <a:pt x="12012" y="982"/>
                </a:lnTo>
                <a:cubicBezTo>
                  <a:pt x="12014" y="986"/>
                  <a:pt x="12015" y="989"/>
                  <a:pt x="12016" y="993"/>
                </a:cubicBezTo>
                <a:lnTo>
                  <a:pt x="12269" y="2007"/>
                </a:lnTo>
                <a:cubicBezTo>
                  <a:pt x="12356" y="2353"/>
                  <a:pt x="12624" y="2624"/>
                  <a:pt x="12968" y="2717"/>
                </a:cubicBezTo>
                <a:cubicBezTo>
                  <a:pt x="13671" y="2904"/>
                  <a:pt x="14348" y="3185"/>
                  <a:pt x="14982" y="3551"/>
                </a:cubicBezTo>
                <a:cubicBezTo>
                  <a:pt x="15134" y="3640"/>
                  <a:pt x="15304" y="3683"/>
                  <a:pt x="15473" y="3683"/>
                </a:cubicBezTo>
                <a:cubicBezTo>
                  <a:pt x="15648" y="3683"/>
                  <a:pt x="15822" y="3637"/>
                  <a:pt x="15978" y="3544"/>
                </a:cubicBezTo>
                <a:lnTo>
                  <a:pt x="16884" y="3000"/>
                </a:lnTo>
                <a:lnTo>
                  <a:pt x="18600" y="4714"/>
                </a:lnTo>
                <a:cubicBezTo>
                  <a:pt x="18598" y="4718"/>
                  <a:pt x="18597" y="4722"/>
                  <a:pt x="18595" y="4726"/>
                </a:cubicBezTo>
                <a:lnTo>
                  <a:pt x="18060" y="5617"/>
                </a:lnTo>
                <a:cubicBezTo>
                  <a:pt x="17876" y="5924"/>
                  <a:pt x="17873" y="6305"/>
                  <a:pt x="18053" y="6615"/>
                </a:cubicBezTo>
                <a:cubicBezTo>
                  <a:pt x="18421" y="7249"/>
                  <a:pt x="18703" y="7928"/>
                  <a:pt x="18892" y="8634"/>
                </a:cubicBezTo>
                <a:cubicBezTo>
                  <a:pt x="18984" y="8979"/>
                  <a:pt x="19256" y="9247"/>
                  <a:pt x="19602" y="9333"/>
                </a:cubicBezTo>
                <a:lnTo>
                  <a:pt x="20618" y="9587"/>
                </a:lnTo>
                <a:cubicBezTo>
                  <a:pt x="20618" y="9587"/>
                  <a:pt x="20618" y="12013"/>
                  <a:pt x="20618" y="12013"/>
                </a:cubicBezTo>
                <a:close/>
                <a:moveTo>
                  <a:pt x="20880" y="8641"/>
                </a:moveTo>
                <a:lnTo>
                  <a:pt x="19841" y="8380"/>
                </a:lnTo>
                <a:cubicBezTo>
                  <a:pt x="19626" y="7580"/>
                  <a:pt x="19308" y="6822"/>
                  <a:pt x="18902" y="6122"/>
                </a:cubicBezTo>
                <a:lnTo>
                  <a:pt x="19455" y="5201"/>
                </a:lnTo>
                <a:cubicBezTo>
                  <a:pt x="19625" y="4871"/>
                  <a:pt x="19736" y="4463"/>
                  <a:pt x="19455" y="4182"/>
                </a:cubicBezTo>
                <a:lnTo>
                  <a:pt x="17419" y="2146"/>
                </a:lnTo>
                <a:cubicBezTo>
                  <a:pt x="17292" y="2018"/>
                  <a:pt x="17136" y="1968"/>
                  <a:pt x="16975" y="1968"/>
                </a:cubicBezTo>
                <a:cubicBezTo>
                  <a:pt x="16778" y="1968"/>
                  <a:pt x="16572" y="2043"/>
                  <a:pt x="16400" y="2146"/>
                </a:cubicBezTo>
                <a:lnTo>
                  <a:pt x="15473" y="2702"/>
                </a:lnTo>
                <a:cubicBezTo>
                  <a:pt x="14775" y="2298"/>
                  <a:pt x="14020" y="1982"/>
                  <a:pt x="13222" y="1768"/>
                </a:cubicBezTo>
                <a:lnTo>
                  <a:pt x="12960" y="720"/>
                </a:lnTo>
                <a:cubicBezTo>
                  <a:pt x="12848" y="367"/>
                  <a:pt x="12638" y="0"/>
                  <a:pt x="12240" y="0"/>
                </a:cubicBezTo>
                <a:lnTo>
                  <a:pt x="9360" y="0"/>
                </a:lnTo>
                <a:cubicBezTo>
                  <a:pt x="8962" y="0"/>
                  <a:pt x="8730" y="367"/>
                  <a:pt x="8640" y="720"/>
                </a:cubicBezTo>
                <a:lnTo>
                  <a:pt x="8378" y="1768"/>
                </a:lnTo>
                <a:cubicBezTo>
                  <a:pt x="7580" y="1982"/>
                  <a:pt x="6825" y="2298"/>
                  <a:pt x="6127" y="2702"/>
                </a:cubicBezTo>
                <a:lnTo>
                  <a:pt x="5200" y="2146"/>
                </a:lnTo>
                <a:cubicBezTo>
                  <a:pt x="5028" y="2043"/>
                  <a:pt x="4822" y="1968"/>
                  <a:pt x="4625" y="1968"/>
                </a:cubicBezTo>
                <a:cubicBezTo>
                  <a:pt x="4464" y="1968"/>
                  <a:pt x="4308" y="2018"/>
                  <a:pt x="4181" y="2146"/>
                </a:cubicBezTo>
                <a:lnTo>
                  <a:pt x="2145" y="4182"/>
                </a:lnTo>
                <a:cubicBezTo>
                  <a:pt x="1864" y="4463"/>
                  <a:pt x="1975" y="4871"/>
                  <a:pt x="2145" y="5201"/>
                </a:cubicBezTo>
                <a:lnTo>
                  <a:pt x="2698" y="6122"/>
                </a:lnTo>
                <a:cubicBezTo>
                  <a:pt x="2292" y="6822"/>
                  <a:pt x="1973" y="7580"/>
                  <a:pt x="1759" y="8380"/>
                </a:cubicBezTo>
                <a:lnTo>
                  <a:pt x="720" y="8641"/>
                </a:lnTo>
                <a:cubicBezTo>
                  <a:pt x="367" y="8730"/>
                  <a:pt x="0" y="8963"/>
                  <a:pt x="0" y="9361"/>
                </a:cubicBezTo>
                <a:lnTo>
                  <a:pt x="0" y="12240"/>
                </a:lnTo>
                <a:cubicBezTo>
                  <a:pt x="0" y="12638"/>
                  <a:pt x="367" y="12848"/>
                  <a:pt x="720" y="12960"/>
                </a:cubicBezTo>
                <a:lnTo>
                  <a:pt x="1759" y="13220"/>
                </a:lnTo>
                <a:cubicBezTo>
                  <a:pt x="1973" y="14021"/>
                  <a:pt x="2292" y="14778"/>
                  <a:pt x="2698" y="15479"/>
                </a:cubicBezTo>
                <a:lnTo>
                  <a:pt x="2145" y="16400"/>
                </a:lnTo>
                <a:cubicBezTo>
                  <a:pt x="1959" y="16714"/>
                  <a:pt x="1864" y="17138"/>
                  <a:pt x="2145" y="17419"/>
                </a:cubicBezTo>
                <a:lnTo>
                  <a:pt x="4181" y="19455"/>
                </a:lnTo>
                <a:cubicBezTo>
                  <a:pt x="4305" y="19579"/>
                  <a:pt x="4454" y="19627"/>
                  <a:pt x="4610" y="19627"/>
                </a:cubicBezTo>
                <a:cubicBezTo>
                  <a:pt x="4807" y="19627"/>
                  <a:pt x="5016" y="19550"/>
                  <a:pt x="5200" y="19455"/>
                </a:cubicBezTo>
                <a:lnTo>
                  <a:pt x="6127" y="18899"/>
                </a:lnTo>
                <a:cubicBezTo>
                  <a:pt x="6825" y="19303"/>
                  <a:pt x="7580" y="19619"/>
                  <a:pt x="8378" y="19832"/>
                </a:cubicBezTo>
                <a:lnTo>
                  <a:pt x="8640" y="20880"/>
                </a:lnTo>
                <a:cubicBezTo>
                  <a:pt x="8730" y="21233"/>
                  <a:pt x="8962" y="21600"/>
                  <a:pt x="9360" y="21600"/>
                </a:cubicBezTo>
                <a:lnTo>
                  <a:pt x="12240" y="21600"/>
                </a:lnTo>
                <a:cubicBezTo>
                  <a:pt x="12638" y="21600"/>
                  <a:pt x="12848" y="21233"/>
                  <a:pt x="12960" y="20880"/>
                </a:cubicBezTo>
                <a:lnTo>
                  <a:pt x="13222" y="19832"/>
                </a:lnTo>
                <a:cubicBezTo>
                  <a:pt x="14020" y="19619"/>
                  <a:pt x="14775" y="19303"/>
                  <a:pt x="15473" y="18899"/>
                </a:cubicBezTo>
                <a:lnTo>
                  <a:pt x="16400" y="19455"/>
                </a:lnTo>
                <a:cubicBezTo>
                  <a:pt x="16584" y="19550"/>
                  <a:pt x="16793" y="19627"/>
                  <a:pt x="16990" y="19627"/>
                </a:cubicBezTo>
                <a:cubicBezTo>
                  <a:pt x="17146" y="19627"/>
                  <a:pt x="17294" y="19579"/>
                  <a:pt x="17419" y="19455"/>
                </a:cubicBezTo>
                <a:lnTo>
                  <a:pt x="19455" y="17419"/>
                </a:lnTo>
                <a:cubicBezTo>
                  <a:pt x="19736" y="17138"/>
                  <a:pt x="19641" y="16714"/>
                  <a:pt x="19455" y="16400"/>
                </a:cubicBezTo>
                <a:lnTo>
                  <a:pt x="18902" y="15479"/>
                </a:lnTo>
                <a:cubicBezTo>
                  <a:pt x="19308" y="14778"/>
                  <a:pt x="19626" y="14021"/>
                  <a:pt x="19841" y="13220"/>
                </a:cubicBezTo>
                <a:lnTo>
                  <a:pt x="20880" y="12960"/>
                </a:lnTo>
                <a:cubicBezTo>
                  <a:pt x="21233" y="12848"/>
                  <a:pt x="21600" y="12638"/>
                  <a:pt x="21600" y="12240"/>
                </a:cubicBezTo>
                <a:lnTo>
                  <a:pt x="21600" y="9361"/>
                </a:lnTo>
                <a:cubicBezTo>
                  <a:pt x="21600" y="8963"/>
                  <a:pt x="21233" y="8730"/>
                  <a:pt x="20880" y="8641"/>
                </a:cubicBezTo>
              </a:path>
            </a:pathLst>
          </a:custGeom>
          <a:solidFill>
            <a:schemeClr val="tx2"/>
          </a:solidFill>
          <a:ln w="12700">
            <a:miter lim="400000"/>
          </a:ln>
        </p:spPr>
        <p:txBody>
          <a:bodyPr lIns="38100" tIns="38100" rIns="38100" bIns="38100" anchor="ctr"/>
          <a:lstStyle/>
          <a:p>
            <a:endParaRPr>
              <a:solidFill>
                <a:prstClr val="black"/>
              </a:solidFill>
            </a:endParaRPr>
          </a:p>
        </p:txBody>
      </p:sp>
      <p:sp>
        <p:nvSpPr>
          <p:cNvPr id="10" name="Rectangle 12">
            <a:extLst>
              <a:ext uri="{FF2B5EF4-FFF2-40B4-BE49-F238E27FC236}">
                <a16:creationId xmlns:a16="http://schemas.microsoft.com/office/drawing/2014/main" id="{CC6CD134-0C0C-8C45-99D7-661BD193CF57}"/>
              </a:ext>
            </a:extLst>
          </p:cNvPr>
          <p:cNvSpPr/>
          <p:nvPr userDrawn="1"/>
        </p:nvSpPr>
        <p:spPr>
          <a:xfrm>
            <a:off x="9457764" y="6579030"/>
            <a:ext cx="2734235" cy="278969"/>
          </a:xfrm>
          <a:prstGeom prst="rect">
            <a:avLst/>
          </a:prstGeom>
          <a:solidFill>
            <a:schemeClr val="accent4"/>
          </a:solidFill>
        </p:spPr>
        <p:txBody>
          <a:bodyPr wrap="square" lIns="0" tIns="0" rIns="0" bIns="0" rtlCol="0" anchor="ctr" anchorCtr="0">
            <a:noAutofit/>
          </a:bodyPr>
          <a:lstStyle/>
          <a:p>
            <a:pPr algn="ctr"/>
            <a:r>
              <a:rPr lang="en-US" sz="800" b="1">
                <a:solidFill>
                  <a:schemeClr val="bg1"/>
                </a:solidFill>
                <a:cs typeface="Arial" panose="020B0604020202020204" pitchFamily="34" charset="0"/>
              </a:rPr>
              <a:t>MARCO METODOLÓGICO</a:t>
            </a:r>
          </a:p>
        </p:txBody>
      </p:sp>
    </p:spTree>
    <p:extLst>
      <p:ext uri="{BB962C8B-B14F-4D97-AF65-F5344CB8AC3E}">
        <p14:creationId xmlns:p14="http://schemas.microsoft.com/office/powerpoint/2010/main" val="806358920"/>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mplate Propuesta 2022 - Gestión y Calidad del Proyecto">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50040F2E-A856-F74D-B747-8F63180F396D}"/>
              </a:ext>
            </a:extLst>
          </p:cNvPr>
          <p:cNvSpPr>
            <a:spLocks noGrp="1"/>
          </p:cNvSpPr>
          <p:nvPr>
            <p:ph type="title"/>
          </p:nvPr>
        </p:nvSpPr>
        <p:spPr>
          <a:xfrm>
            <a:off x="1138892" y="36122"/>
            <a:ext cx="10610449" cy="276999"/>
          </a:xfrm>
        </p:spPr>
        <p:txBody>
          <a:bodyPr wrap="square" lIns="0" anchor="t">
            <a:noAutofit/>
          </a:bodyPr>
          <a:lstStyle>
            <a:lvl1pPr>
              <a:defRPr lang="es-ES_tradnl" cap="all" baseline="0" noProof="0" dirty="0"/>
            </a:lvl1pPr>
          </a:lstStyle>
          <a:p>
            <a:pPr lvl="0"/>
            <a:r>
              <a:rPr lang="es-ES_tradnl" noProof="0"/>
              <a:t>Haga clic para modificar el estilo de título del patrón</a:t>
            </a:r>
          </a:p>
        </p:txBody>
      </p:sp>
      <p:sp>
        <p:nvSpPr>
          <p:cNvPr id="7" name="Marcador de texto 5">
            <a:extLst>
              <a:ext uri="{FF2B5EF4-FFF2-40B4-BE49-F238E27FC236}">
                <a16:creationId xmlns:a16="http://schemas.microsoft.com/office/drawing/2014/main" id="{CC6303D6-D0FC-984A-8419-A50470327A59}"/>
              </a:ext>
            </a:extLst>
          </p:cNvPr>
          <p:cNvSpPr>
            <a:spLocks noGrp="1"/>
          </p:cNvSpPr>
          <p:nvPr>
            <p:ph type="body" sz="quarter" idx="10"/>
          </p:nvPr>
        </p:nvSpPr>
        <p:spPr>
          <a:xfrm>
            <a:off x="442659" y="671500"/>
            <a:ext cx="11306682" cy="5741999"/>
          </a:xfrm>
        </p:spPr>
        <p:txBody>
          <a:bodyPr/>
          <a:lstStyle/>
          <a:p>
            <a:pPr lvl="0"/>
            <a:r>
              <a:rPr lang="es-ES_tradnl" noProof="0"/>
              <a:t>Haga clic para modificar los estilos de texto del patrón</a:t>
            </a:r>
          </a:p>
          <a:p>
            <a:pPr lvl="1"/>
            <a:r>
              <a:rPr lang="es-ES_tradnl" noProof="0"/>
              <a:t>Segundo nivel</a:t>
            </a:r>
          </a:p>
          <a:p>
            <a:pPr lvl="2"/>
            <a:r>
              <a:rPr lang="es-ES_tradnl" noProof="0"/>
              <a:t>Tercer nivel</a:t>
            </a:r>
          </a:p>
          <a:p>
            <a:pPr lvl="3"/>
            <a:r>
              <a:rPr lang="es-ES_tradnl" noProof="0"/>
              <a:t>Cuarto nivel</a:t>
            </a:r>
          </a:p>
          <a:p>
            <a:pPr lvl="4"/>
            <a:r>
              <a:rPr lang="es-ES_tradnl" noProof="0"/>
              <a:t>Quinto nivel</a:t>
            </a:r>
          </a:p>
        </p:txBody>
      </p:sp>
      <p:sp>
        <p:nvSpPr>
          <p:cNvPr id="4" name="Marcador de texto 4">
            <a:extLst>
              <a:ext uri="{FF2B5EF4-FFF2-40B4-BE49-F238E27FC236}">
                <a16:creationId xmlns:a16="http://schemas.microsoft.com/office/drawing/2014/main" id="{DED7AFAC-0516-FB48-9E02-44CC62A80883}"/>
              </a:ext>
            </a:extLst>
          </p:cNvPr>
          <p:cNvSpPr>
            <a:spLocks noGrp="1"/>
          </p:cNvSpPr>
          <p:nvPr>
            <p:ph type="body" sz="quarter" idx="11"/>
          </p:nvPr>
        </p:nvSpPr>
        <p:spPr>
          <a:xfrm>
            <a:off x="1138639" y="290195"/>
            <a:ext cx="10610449" cy="217488"/>
          </a:xfrm>
        </p:spPr>
        <p:txBody>
          <a:bodyPr/>
          <a:lstStyle>
            <a:lvl1pPr>
              <a:defRPr sz="1200">
                <a:solidFill>
                  <a:schemeClr val="tx2"/>
                </a:solidFill>
              </a:defRPr>
            </a:lvl1pPr>
          </a:lstStyle>
          <a:p>
            <a:pPr lvl="0"/>
            <a:r>
              <a:rPr lang="es-ES_tradnl" noProof="0"/>
              <a:t>Haga clic para modificar los estilos de texto del patrón</a:t>
            </a:r>
          </a:p>
        </p:txBody>
      </p:sp>
      <p:sp>
        <p:nvSpPr>
          <p:cNvPr id="9" name="Rectángulo 8">
            <a:extLst>
              <a:ext uri="{FF2B5EF4-FFF2-40B4-BE49-F238E27FC236}">
                <a16:creationId xmlns:a16="http://schemas.microsoft.com/office/drawing/2014/main" id="{9D31E6A8-7FC5-D346-B913-27F3CB84C0BF}"/>
              </a:ext>
            </a:extLst>
          </p:cNvPr>
          <p:cNvSpPr/>
          <p:nvPr userDrawn="1"/>
        </p:nvSpPr>
        <p:spPr bwMode="auto">
          <a:xfrm>
            <a:off x="596159" y="67814"/>
            <a:ext cx="405613" cy="405613"/>
          </a:xfrm>
          <a:prstGeom prst="rect">
            <a:avLst/>
          </a:prstGeom>
          <a:solidFill>
            <a:schemeClr val="bg1"/>
          </a:solidFill>
          <a:ln w="25400" cap="flat">
            <a:solidFill>
              <a:schemeClr val="accent5"/>
            </a:solidFill>
            <a:miter lim="800000"/>
          </a:ln>
        </p:spPr>
        <p:txBody>
          <a:bodyPr lIns="0" tIns="0" rIns="0" bIns="0" rtlCol="0" anchor="ctr">
            <a:noAutofit/>
          </a:bodyPr>
          <a:lstStyle/>
          <a:p>
            <a:pPr algn="ctr"/>
            <a:endParaRPr lang="es-ES_tradnl" sz="1400" noProof="0"/>
          </a:p>
        </p:txBody>
      </p:sp>
      <p:sp>
        <p:nvSpPr>
          <p:cNvPr id="12" name="Forma libre 11">
            <a:extLst>
              <a:ext uri="{FF2B5EF4-FFF2-40B4-BE49-F238E27FC236}">
                <a16:creationId xmlns:a16="http://schemas.microsoft.com/office/drawing/2014/main" id="{96B7EC79-F112-D949-9D97-856C882E6945}"/>
              </a:ext>
            </a:extLst>
          </p:cNvPr>
          <p:cNvSpPr/>
          <p:nvPr userDrawn="1"/>
        </p:nvSpPr>
        <p:spPr>
          <a:xfrm>
            <a:off x="632143" y="103798"/>
            <a:ext cx="333644" cy="333644"/>
          </a:xfrm>
          <a:custGeom>
            <a:avLst/>
            <a:gdLst>
              <a:gd name="connsiteX0" fmla="*/ 3023540 w 6502400"/>
              <a:gd name="connsiteY0" fmla="*/ 5623077 h 6502399"/>
              <a:gd name="connsiteX1" fmla="*/ 2986380 w 6502400"/>
              <a:gd name="connsiteY1" fmla="*/ 6047079 h 6502399"/>
              <a:gd name="connsiteX2" fmla="*/ 3251200 w 6502400"/>
              <a:gd name="connsiteY2" fmla="*/ 6311899 h 6502399"/>
              <a:gd name="connsiteX3" fmla="*/ 3516020 w 6502400"/>
              <a:gd name="connsiteY3" fmla="*/ 6047079 h 6502399"/>
              <a:gd name="connsiteX4" fmla="*/ 3478860 w 6502400"/>
              <a:gd name="connsiteY4" fmla="*/ 5623077 h 6502399"/>
              <a:gd name="connsiteX5" fmla="*/ 3476473 w 6502400"/>
              <a:gd name="connsiteY5" fmla="*/ 5623267 h 6502399"/>
              <a:gd name="connsiteX6" fmla="*/ 3027413 w 6502400"/>
              <a:gd name="connsiteY6" fmla="*/ 5623369 h 6502399"/>
              <a:gd name="connsiteX7" fmla="*/ 3023540 w 6502400"/>
              <a:gd name="connsiteY7" fmla="*/ 5623077 h 6502399"/>
              <a:gd name="connsiteX8" fmla="*/ 1413866 w 6502400"/>
              <a:gd name="connsiteY8" fmla="*/ 4766817 h 6502399"/>
              <a:gd name="connsiteX9" fmla="*/ 1086941 w 6502400"/>
              <a:gd name="connsiteY9" fmla="*/ 5040909 h 6502399"/>
              <a:gd name="connsiteX10" fmla="*/ 1086941 w 6502400"/>
              <a:gd name="connsiteY10" fmla="*/ 5415457 h 6502399"/>
              <a:gd name="connsiteX11" fmla="*/ 1461491 w 6502400"/>
              <a:gd name="connsiteY11" fmla="*/ 5415457 h 6502399"/>
              <a:gd name="connsiteX12" fmla="*/ 1735582 w 6502400"/>
              <a:gd name="connsiteY12" fmla="*/ 5088483 h 6502399"/>
              <a:gd name="connsiteX13" fmla="*/ 1413866 w 6502400"/>
              <a:gd name="connsiteY13" fmla="*/ 4766817 h 6502399"/>
              <a:gd name="connsiteX14" fmla="*/ 5088382 w 6502400"/>
              <a:gd name="connsiteY14" fmla="*/ 4766767 h 6502399"/>
              <a:gd name="connsiteX15" fmla="*/ 5082680 w 6502400"/>
              <a:gd name="connsiteY15" fmla="*/ 4773510 h 6502399"/>
              <a:gd name="connsiteX16" fmla="*/ 4772470 w 6502400"/>
              <a:gd name="connsiteY16" fmla="*/ 5083568 h 6502399"/>
              <a:gd name="connsiteX17" fmla="*/ 4766767 w 6502400"/>
              <a:gd name="connsiteY17" fmla="*/ 5088432 h 6502399"/>
              <a:gd name="connsiteX18" fmla="*/ 5040910 w 6502400"/>
              <a:gd name="connsiteY18" fmla="*/ 5415457 h 6502399"/>
              <a:gd name="connsiteX19" fmla="*/ 5415458 w 6502400"/>
              <a:gd name="connsiteY19" fmla="*/ 5415457 h 6502399"/>
              <a:gd name="connsiteX20" fmla="*/ 5415458 w 6502400"/>
              <a:gd name="connsiteY20" fmla="*/ 5040909 h 6502399"/>
              <a:gd name="connsiteX21" fmla="*/ 5088382 w 6502400"/>
              <a:gd name="connsiteY21" fmla="*/ 4766767 h 6502399"/>
              <a:gd name="connsiteX22" fmla="*/ 3537101 w 6502400"/>
              <a:gd name="connsiteY22" fmla="*/ 3941368 h 6502399"/>
              <a:gd name="connsiteX23" fmla="*/ 3537101 w 6502400"/>
              <a:gd name="connsiteY23" fmla="*/ 4652213 h 6502399"/>
              <a:gd name="connsiteX24" fmla="*/ 4039247 w 6502400"/>
              <a:gd name="connsiteY24" fmla="*/ 4443564 h 6502399"/>
              <a:gd name="connsiteX25" fmla="*/ 2965297 w 6502400"/>
              <a:gd name="connsiteY25" fmla="*/ 3941368 h 6502399"/>
              <a:gd name="connsiteX26" fmla="*/ 2463151 w 6502400"/>
              <a:gd name="connsiteY26" fmla="*/ 4443564 h 6502399"/>
              <a:gd name="connsiteX27" fmla="*/ 2965297 w 6502400"/>
              <a:gd name="connsiteY27" fmla="*/ 4652264 h 6502399"/>
              <a:gd name="connsiteX28" fmla="*/ 3155797 w 6502400"/>
              <a:gd name="connsiteY28" fmla="*/ 3847261 h 6502399"/>
              <a:gd name="connsiteX29" fmla="*/ 3155797 w 6502400"/>
              <a:gd name="connsiteY29" fmla="*/ 4677714 h 6502399"/>
              <a:gd name="connsiteX30" fmla="*/ 3340696 w 6502400"/>
              <a:gd name="connsiteY30" fmla="*/ 4678565 h 6502399"/>
              <a:gd name="connsiteX31" fmla="*/ 3346601 w 6502400"/>
              <a:gd name="connsiteY31" fmla="*/ 4677714 h 6502399"/>
              <a:gd name="connsiteX32" fmla="*/ 3346601 w 6502400"/>
              <a:gd name="connsiteY32" fmla="*/ 3847261 h 6502399"/>
              <a:gd name="connsiteX33" fmla="*/ 3290734 w 6502400"/>
              <a:gd name="connsiteY33" fmla="*/ 3853357 h 6502399"/>
              <a:gd name="connsiteX34" fmla="*/ 3155797 w 6502400"/>
              <a:gd name="connsiteY34" fmla="*/ 3847261 h 6502399"/>
              <a:gd name="connsiteX35" fmla="*/ 3740251 w 6502400"/>
              <a:gd name="connsiteY35" fmla="*/ 3605364 h 6502399"/>
              <a:gd name="connsiteX36" fmla="*/ 3605364 w 6502400"/>
              <a:gd name="connsiteY36" fmla="*/ 3740251 h 6502399"/>
              <a:gd name="connsiteX37" fmla="*/ 4191939 w 6502400"/>
              <a:gd name="connsiteY37" fmla="*/ 4326877 h 6502399"/>
              <a:gd name="connsiteX38" fmla="*/ 4326826 w 6502400"/>
              <a:gd name="connsiteY38" fmla="*/ 4191990 h 6502399"/>
              <a:gd name="connsiteX39" fmla="*/ 2762148 w 6502400"/>
              <a:gd name="connsiteY39" fmla="*/ 3605364 h 6502399"/>
              <a:gd name="connsiteX40" fmla="*/ 2175572 w 6502400"/>
              <a:gd name="connsiteY40" fmla="*/ 4191939 h 6502399"/>
              <a:gd name="connsiteX41" fmla="*/ 2310459 w 6502400"/>
              <a:gd name="connsiteY41" fmla="*/ 4326826 h 6502399"/>
              <a:gd name="connsiteX42" fmla="*/ 2897034 w 6502400"/>
              <a:gd name="connsiteY42" fmla="*/ 3740251 h 6502399"/>
              <a:gd name="connsiteX43" fmla="*/ 2762148 w 6502400"/>
              <a:gd name="connsiteY43" fmla="*/ 3605364 h 6502399"/>
              <a:gd name="connsiteX44" fmla="*/ 3941368 w 6502400"/>
              <a:gd name="connsiteY44" fmla="*/ 3537102 h 6502399"/>
              <a:gd name="connsiteX45" fmla="*/ 4443564 w 6502400"/>
              <a:gd name="connsiteY45" fmla="*/ 4039298 h 6502399"/>
              <a:gd name="connsiteX46" fmla="*/ 4652213 w 6502400"/>
              <a:gd name="connsiteY46" fmla="*/ 3537102 h 6502399"/>
              <a:gd name="connsiteX47" fmla="*/ 1850186 w 6502400"/>
              <a:gd name="connsiteY47" fmla="*/ 3537102 h 6502399"/>
              <a:gd name="connsiteX48" fmla="*/ 2058834 w 6502400"/>
              <a:gd name="connsiteY48" fmla="*/ 4039247 h 6502399"/>
              <a:gd name="connsiteX49" fmla="*/ 2561030 w 6502400"/>
              <a:gd name="connsiteY49" fmla="*/ 3537102 h 6502399"/>
              <a:gd name="connsiteX50" fmla="*/ 3847261 w 6502400"/>
              <a:gd name="connsiteY50" fmla="*/ 3155848 h 6502399"/>
              <a:gd name="connsiteX51" fmla="*/ 3848442 w 6502400"/>
              <a:gd name="connsiteY51" fmla="*/ 3338220 h 6502399"/>
              <a:gd name="connsiteX52" fmla="*/ 3847261 w 6502400"/>
              <a:gd name="connsiteY52" fmla="*/ 3346602 h 6502399"/>
              <a:gd name="connsiteX53" fmla="*/ 4677714 w 6502400"/>
              <a:gd name="connsiteY53" fmla="*/ 3346602 h 6502399"/>
              <a:gd name="connsiteX54" fmla="*/ 4680203 w 6502400"/>
              <a:gd name="connsiteY54" fmla="*/ 3295002 h 6502399"/>
              <a:gd name="connsiteX55" fmla="*/ 4677714 w 6502400"/>
              <a:gd name="connsiteY55" fmla="*/ 3155848 h 6502399"/>
              <a:gd name="connsiteX56" fmla="*/ 1824684 w 6502400"/>
              <a:gd name="connsiteY56" fmla="*/ 3155797 h 6502399"/>
              <a:gd name="connsiteX57" fmla="*/ 1821458 w 6502400"/>
              <a:gd name="connsiteY57" fmla="*/ 3251199 h 6502399"/>
              <a:gd name="connsiteX58" fmla="*/ 1824684 w 6502400"/>
              <a:gd name="connsiteY58" fmla="*/ 3346602 h 6502399"/>
              <a:gd name="connsiteX59" fmla="*/ 2655137 w 6502400"/>
              <a:gd name="connsiteY59" fmla="*/ 3346602 h 6502399"/>
              <a:gd name="connsiteX60" fmla="*/ 2648292 w 6502400"/>
              <a:gd name="connsiteY60" fmla="*/ 3279381 h 6502399"/>
              <a:gd name="connsiteX61" fmla="*/ 2655137 w 6502400"/>
              <a:gd name="connsiteY61" fmla="*/ 3155797 h 6502399"/>
              <a:gd name="connsiteX62" fmla="*/ 6047080 w 6502400"/>
              <a:gd name="connsiteY62" fmla="*/ 2986380 h 6502399"/>
              <a:gd name="connsiteX63" fmla="*/ 5623077 w 6502400"/>
              <a:gd name="connsiteY63" fmla="*/ 3023540 h 6502399"/>
              <a:gd name="connsiteX64" fmla="*/ 5623319 w 6502400"/>
              <a:gd name="connsiteY64" fmla="*/ 3026867 h 6502399"/>
              <a:gd name="connsiteX65" fmla="*/ 5631015 w 6502400"/>
              <a:gd name="connsiteY65" fmla="*/ 3368827 h 6502399"/>
              <a:gd name="connsiteX66" fmla="*/ 5623128 w 6502400"/>
              <a:gd name="connsiteY66" fmla="*/ 3478860 h 6502399"/>
              <a:gd name="connsiteX67" fmla="*/ 6047080 w 6502400"/>
              <a:gd name="connsiteY67" fmla="*/ 3516020 h 6502399"/>
              <a:gd name="connsiteX68" fmla="*/ 6311900 w 6502400"/>
              <a:gd name="connsiteY68" fmla="*/ 3251200 h 6502399"/>
              <a:gd name="connsiteX69" fmla="*/ 6047080 w 6502400"/>
              <a:gd name="connsiteY69" fmla="*/ 2986380 h 6502399"/>
              <a:gd name="connsiteX70" fmla="*/ 455315 w 6502400"/>
              <a:gd name="connsiteY70" fmla="*/ 2986379 h 6502399"/>
              <a:gd name="connsiteX71" fmla="*/ 190500 w 6502400"/>
              <a:gd name="connsiteY71" fmla="*/ 3251199 h 6502399"/>
              <a:gd name="connsiteX72" fmla="*/ 455315 w 6502400"/>
              <a:gd name="connsiteY72" fmla="*/ 3516020 h 6502399"/>
              <a:gd name="connsiteX73" fmla="*/ 879326 w 6502400"/>
              <a:gd name="connsiteY73" fmla="*/ 3478860 h 6502399"/>
              <a:gd name="connsiteX74" fmla="*/ 873521 w 6502400"/>
              <a:gd name="connsiteY74" fmla="*/ 3120974 h 6502399"/>
              <a:gd name="connsiteX75" fmla="*/ 879326 w 6502400"/>
              <a:gd name="connsiteY75" fmla="*/ 3023539 h 6502399"/>
              <a:gd name="connsiteX76" fmla="*/ 455315 w 6502400"/>
              <a:gd name="connsiteY76" fmla="*/ 2986379 h 6502399"/>
              <a:gd name="connsiteX77" fmla="*/ 3245318 w 6502400"/>
              <a:gd name="connsiteY77" fmla="*/ 2838530 h 6502399"/>
              <a:gd name="connsiteX78" fmla="*/ 3150844 w 6502400"/>
              <a:gd name="connsiteY78" fmla="*/ 2851404 h 6502399"/>
              <a:gd name="connsiteX79" fmla="*/ 2839440 w 6502400"/>
              <a:gd name="connsiteY79" fmla="*/ 3283839 h 6502399"/>
              <a:gd name="connsiteX80" fmla="*/ 3250259 w 6502400"/>
              <a:gd name="connsiteY80" fmla="*/ 3664242 h 6502399"/>
              <a:gd name="connsiteX81" fmla="*/ 3251199 w 6502400"/>
              <a:gd name="connsiteY81" fmla="*/ 3664292 h 6502399"/>
              <a:gd name="connsiteX82" fmla="*/ 3252139 w 6502400"/>
              <a:gd name="connsiteY82" fmla="*/ 3664242 h 6502399"/>
              <a:gd name="connsiteX83" fmla="*/ 3664292 w 6502400"/>
              <a:gd name="connsiteY83" fmla="*/ 3251250 h 6502399"/>
              <a:gd name="connsiteX84" fmla="*/ 3245318 w 6502400"/>
              <a:gd name="connsiteY84" fmla="*/ 2838530 h 6502399"/>
              <a:gd name="connsiteX85" fmla="*/ 4443564 w 6502400"/>
              <a:gd name="connsiteY85" fmla="*/ 2463152 h 6502399"/>
              <a:gd name="connsiteX86" fmla="*/ 3941368 w 6502400"/>
              <a:gd name="connsiteY86" fmla="*/ 2965297 h 6502399"/>
              <a:gd name="connsiteX87" fmla="*/ 4652213 w 6502400"/>
              <a:gd name="connsiteY87" fmla="*/ 2965297 h 6502399"/>
              <a:gd name="connsiteX88" fmla="*/ 4443564 w 6502400"/>
              <a:gd name="connsiteY88" fmla="*/ 2463152 h 6502399"/>
              <a:gd name="connsiteX89" fmla="*/ 2058834 w 6502400"/>
              <a:gd name="connsiteY89" fmla="*/ 2463152 h 6502399"/>
              <a:gd name="connsiteX90" fmla="*/ 1850186 w 6502400"/>
              <a:gd name="connsiteY90" fmla="*/ 2965297 h 6502399"/>
              <a:gd name="connsiteX91" fmla="*/ 2561030 w 6502400"/>
              <a:gd name="connsiteY91" fmla="*/ 2965297 h 6502399"/>
              <a:gd name="connsiteX92" fmla="*/ 1075955 w 6502400"/>
              <a:gd name="connsiteY92" fmla="*/ 2426397 h 6502399"/>
              <a:gd name="connsiteX93" fmla="*/ 1113483 w 6502400"/>
              <a:gd name="connsiteY93" fmla="*/ 2431160 h 6502399"/>
              <a:gd name="connsiteX94" fmla="*/ 1173311 w 6502400"/>
              <a:gd name="connsiteY94" fmla="*/ 2551861 h 6502399"/>
              <a:gd name="connsiteX95" fmla="*/ 1063427 w 6502400"/>
              <a:gd name="connsiteY95" fmla="*/ 3390696 h 6502399"/>
              <a:gd name="connsiteX96" fmla="*/ 1078409 w 6502400"/>
              <a:gd name="connsiteY96" fmla="*/ 3543198 h 6502399"/>
              <a:gd name="connsiteX97" fmla="*/ 2959049 w 6502400"/>
              <a:gd name="connsiteY97" fmla="*/ 5423992 h 6502399"/>
              <a:gd name="connsiteX98" fmla="*/ 5213642 w 6502400"/>
              <a:gd name="connsiteY98" fmla="*/ 4227613 h 6502399"/>
              <a:gd name="connsiteX99" fmla="*/ 5341442 w 6502400"/>
              <a:gd name="connsiteY99" fmla="*/ 4184992 h 6502399"/>
              <a:gd name="connsiteX100" fmla="*/ 5384051 w 6502400"/>
              <a:gd name="connsiteY100" fmla="*/ 4312742 h 6502399"/>
              <a:gd name="connsiteX101" fmla="*/ 5203622 w 6502400"/>
              <a:gd name="connsiteY101" fmla="*/ 4615154 h 6502399"/>
              <a:gd name="connsiteX102" fmla="*/ 5550154 w 6502400"/>
              <a:gd name="connsiteY102" fmla="*/ 4906213 h 6502399"/>
              <a:gd name="connsiteX103" fmla="*/ 5550154 w 6502400"/>
              <a:gd name="connsiteY103" fmla="*/ 5550153 h 6502399"/>
              <a:gd name="connsiteX104" fmla="*/ 4906214 w 6502400"/>
              <a:gd name="connsiteY104" fmla="*/ 5550153 h 6502399"/>
              <a:gd name="connsiteX105" fmla="*/ 4615155 w 6502400"/>
              <a:gd name="connsiteY105" fmla="*/ 5203571 h 6502399"/>
              <a:gd name="connsiteX106" fmla="*/ 4520946 w 6502400"/>
              <a:gd name="connsiteY106" fmla="*/ 5266728 h 6502399"/>
              <a:gd name="connsiteX107" fmla="*/ 3667519 w 6502400"/>
              <a:gd name="connsiteY107" fmla="*/ 5597423 h 6502399"/>
              <a:gd name="connsiteX108" fmla="*/ 3706520 w 6502400"/>
              <a:gd name="connsiteY108" fmla="*/ 6047079 h 6502399"/>
              <a:gd name="connsiteX109" fmla="*/ 3251200 w 6502400"/>
              <a:gd name="connsiteY109" fmla="*/ 6502399 h 6502399"/>
              <a:gd name="connsiteX110" fmla="*/ 2795880 w 6502400"/>
              <a:gd name="connsiteY110" fmla="*/ 6047079 h 6502399"/>
              <a:gd name="connsiteX111" fmla="*/ 2834881 w 6502400"/>
              <a:gd name="connsiteY111" fmla="*/ 5597524 h 6502399"/>
              <a:gd name="connsiteX112" fmla="*/ 1887144 w 6502400"/>
              <a:gd name="connsiteY112" fmla="*/ 5203774 h 6502399"/>
              <a:gd name="connsiteX113" fmla="*/ 1596187 w 6502400"/>
              <a:gd name="connsiteY113" fmla="*/ 5550153 h 6502399"/>
              <a:gd name="connsiteX114" fmla="*/ 952252 w 6502400"/>
              <a:gd name="connsiteY114" fmla="*/ 5550153 h 6502399"/>
              <a:gd name="connsiteX115" fmla="*/ 952252 w 6502400"/>
              <a:gd name="connsiteY115" fmla="*/ 4906213 h 6502399"/>
              <a:gd name="connsiteX116" fmla="*/ 1298626 w 6502400"/>
              <a:gd name="connsiteY116" fmla="*/ 4615256 h 6502399"/>
              <a:gd name="connsiteX117" fmla="*/ 904875 w 6502400"/>
              <a:gd name="connsiteY117" fmla="*/ 3667518 h 6502399"/>
              <a:gd name="connsiteX118" fmla="*/ 455315 w 6502400"/>
              <a:gd name="connsiteY118" fmla="*/ 3706520 h 6502399"/>
              <a:gd name="connsiteX119" fmla="*/ 0 w 6502400"/>
              <a:gd name="connsiteY119" fmla="*/ 3251199 h 6502399"/>
              <a:gd name="connsiteX120" fmla="*/ 455315 w 6502400"/>
              <a:gd name="connsiteY120" fmla="*/ 2795879 h 6502399"/>
              <a:gd name="connsiteX121" fmla="*/ 904974 w 6502400"/>
              <a:gd name="connsiteY121" fmla="*/ 2834881 h 6502399"/>
              <a:gd name="connsiteX122" fmla="*/ 992783 w 6502400"/>
              <a:gd name="connsiteY122" fmla="*/ 2490939 h 6502399"/>
              <a:gd name="connsiteX123" fmla="*/ 1075955 w 6502400"/>
              <a:gd name="connsiteY123" fmla="*/ 2426397 h 6502399"/>
              <a:gd name="connsiteX124" fmla="*/ 4191939 w 6502400"/>
              <a:gd name="connsiteY124" fmla="*/ 2175573 h 6502399"/>
              <a:gd name="connsiteX125" fmla="*/ 3605364 w 6502400"/>
              <a:gd name="connsiteY125" fmla="*/ 2762148 h 6502399"/>
              <a:gd name="connsiteX126" fmla="*/ 3740251 w 6502400"/>
              <a:gd name="connsiteY126" fmla="*/ 2897035 h 6502399"/>
              <a:gd name="connsiteX127" fmla="*/ 4326826 w 6502400"/>
              <a:gd name="connsiteY127" fmla="*/ 2310460 h 6502399"/>
              <a:gd name="connsiteX128" fmla="*/ 4191939 w 6502400"/>
              <a:gd name="connsiteY128" fmla="*/ 2175573 h 6502399"/>
              <a:gd name="connsiteX129" fmla="*/ 2310459 w 6502400"/>
              <a:gd name="connsiteY129" fmla="*/ 2175573 h 6502399"/>
              <a:gd name="connsiteX130" fmla="*/ 2175572 w 6502400"/>
              <a:gd name="connsiteY130" fmla="*/ 2310460 h 6502399"/>
              <a:gd name="connsiteX131" fmla="*/ 2762148 w 6502400"/>
              <a:gd name="connsiteY131" fmla="*/ 2897035 h 6502399"/>
              <a:gd name="connsiteX132" fmla="*/ 2897034 w 6502400"/>
              <a:gd name="connsiteY132" fmla="*/ 2762148 h 6502399"/>
              <a:gd name="connsiteX133" fmla="*/ 3537101 w 6502400"/>
              <a:gd name="connsiteY133" fmla="*/ 1850186 h 6502399"/>
              <a:gd name="connsiteX134" fmla="*/ 3537101 w 6502400"/>
              <a:gd name="connsiteY134" fmla="*/ 2561031 h 6502399"/>
              <a:gd name="connsiteX135" fmla="*/ 4039247 w 6502400"/>
              <a:gd name="connsiteY135" fmla="*/ 2058835 h 6502399"/>
              <a:gd name="connsiteX136" fmla="*/ 3537101 w 6502400"/>
              <a:gd name="connsiteY136" fmla="*/ 1850186 h 6502399"/>
              <a:gd name="connsiteX137" fmla="*/ 2965297 w 6502400"/>
              <a:gd name="connsiteY137" fmla="*/ 1850186 h 6502399"/>
              <a:gd name="connsiteX138" fmla="*/ 2463101 w 6502400"/>
              <a:gd name="connsiteY138" fmla="*/ 2058835 h 6502399"/>
              <a:gd name="connsiteX139" fmla="*/ 2965297 w 6502400"/>
              <a:gd name="connsiteY139" fmla="*/ 2561031 h 6502399"/>
              <a:gd name="connsiteX140" fmla="*/ 3161804 w 6502400"/>
              <a:gd name="connsiteY140" fmla="*/ 1824291 h 6502399"/>
              <a:gd name="connsiteX141" fmla="*/ 3155848 w 6502400"/>
              <a:gd name="connsiteY141" fmla="*/ 1824685 h 6502399"/>
              <a:gd name="connsiteX142" fmla="*/ 3155848 w 6502400"/>
              <a:gd name="connsiteY142" fmla="*/ 2655138 h 6502399"/>
              <a:gd name="connsiteX143" fmla="*/ 3157930 w 6502400"/>
              <a:gd name="connsiteY143" fmla="*/ 2654846 h 6502399"/>
              <a:gd name="connsiteX144" fmla="*/ 3344468 w 6502400"/>
              <a:gd name="connsiteY144" fmla="*/ 2654846 h 6502399"/>
              <a:gd name="connsiteX145" fmla="*/ 3346601 w 6502400"/>
              <a:gd name="connsiteY145" fmla="*/ 2655138 h 6502399"/>
              <a:gd name="connsiteX146" fmla="*/ 3346601 w 6502400"/>
              <a:gd name="connsiteY146" fmla="*/ 1824685 h 6502399"/>
              <a:gd name="connsiteX147" fmla="*/ 3161804 w 6502400"/>
              <a:gd name="connsiteY147" fmla="*/ 1824291 h 6502399"/>
              <a:gd name="connsiteX148" fmla="*/ 3227928 w 6502400"/>
              <a:gd name="connsiteY148" fmla="*/ 1631954 h 6502399"/>
              <a:gd name="connsiteX149" fmla="*/ 3406431 w 6502400"/>
              <a:gd name="connsiteY149" fmla="*/ 1638401 h 6502399"/>
              <a:gd name="connsiteX150" fmla="*/ 4863947 w 6502400"/>
              <a:gd name="connsiteY150" fmla="*/ 3095574 h 6502399"/>
              <a:gd name="connsiteX151" fmla="*/ 4245622 w 6502400"/>
              <a:gd name="connsiteY151" fmla="*/ 4529531 h 6502399"/>
              <a:gd name="connsiteX152" fmla="*/ 4244276 w 6502400"/>
              <a:gd name="connsiteY152" fmla="*/ 4530572 h 6502399"/>
              <a:gd name="connsiteX153" fmla="*/ 4243882 w 6502400"/>
              <a:gd name="connsiteY153" fmla="*/ 4530877 h 6502399"/>
              <a:gd name="connsiteX154" fmla="*/ 2258567 w 6502400"/>
              <a:gd name="connsiteY154" fmla="*/ 4530877 h 6502399"/>
              <a:gd name="connsiteX155" fmla="*/ 2258122 w 6502400"/>
              <a:gd name="connsiteY155" fmla="*/ 4530572 h 6502399"/>
              <a:gd name="connsiteX156" fmla="*/ 2256535 w 6502400"/>
              <a:gd name="connsiteY156" fmla="*/ 4529340 h 6502399"/>
              <a:gd name="connsiteX157" fmla="*/ 1634972 w 6502400"/>
              <a:gd name="connsiteY157" fmla="*/ 3346894 h 6502399"/>
              <a:gd name="connsiteX158" fmla="*/ 3227928 w 6502400"/>
              <a:gd name="connsiteY158" fmla="*/ 1631954 h 6502399"/>
              <a:gd name="connsiteX159" fmla="*/ 5228184 w 6502400"/>
              <a:gd name="connsiteY159" fmla="*/ 1009402 h 6502399"/>
              <a:gd name="connsiteX160" fmla="*/ 5040909 w 6502400"/>
              <a:gd name="connsiteY160" fmla="*/ 1086941 h 6502399"/>
              <a:gd name="connsiteX161" fmla="*/ 4766818 w 6502400"/>
              <a:gd name="connsiteY161" fmla="*/ 1413866 h 6502399"/>
              <a:gd name="connsiteX162" fmla="*/ 5088484 w 6502400"/>
              <a:gd name="connsiteY162" fmla="*/ 1735582 h 6502399"/>
              <a:gd name="connsiteX163" fmla="*/ 5415458 w 6502400"/>
              <a:gd name="connsiteY163" fmla="*/ 1461491 h 6502399"/>
              <a:gd name="connsiteX164" fmla="*/ 5415458 w 6502400"/>
              <a:gd name="connsiteY164" fmla="*/ 1086941 h 6502399"/>
              <a:gd name="connsiteX165" fmla="*/ 5228184 w 6502400"/>
              <a:gd name="connsiteY165" fmla="*/ 1009402 h 6502399"/>
              <a:gd name="connsiteX166" fmla="*/ 1274216 w 6502400"/>
              <a:gd name="connsiteY166" fmla="*/ 1009402 h 6502399"/>
              <a:gd name="connsiteX167" fmla="*/ 1086941 w 6502400"/>
              <a:gd name="connsiteY167" fmla="*/ 1086941 h 6502399"/>
              <a:gd name="connsiteX168" fmla="*/ 1086941 w 6502400"/>
              <a:gd name="connsiteY168" fmla="*/ 1461491 h 6502399"/>
              <a:gd name="connsiteX169" fmla="*/ 1413764 w 6502400"/>
              <a:gd name="connsiteY169" fmla="*/ 1735480 h 6502399"/>
              <a:gd name="connsiteX170" fmla="*/ 1735391 w 6502400"/>
              <a:gd name="connsiteY170" fmla="*/ 1413662 h 6502399"/>
              <a:gd name="connsiteX171" fmla="*/ 1461490 w 6502400"/>
              <a:gd name="connsiteY171" fmla="*/ 1086941 h 6502399"/>
              <a:gd name="connsiteX172" fmla="*/ 1274216 w 6502400"/>
              <a:gd name="connsiteY172" fmla="*/ 1009402 h 6502399"/>
              <a:gd name="connsiteX173" fmla="*/ 3251200 w 6502400"/>
              <a:gd name="connsiteY173" fmla="*/ 190500 h 6502399"/>
              <a:gd name="connsiteX174" fmla="*/ 2986379 w 6502400"/>
              <a:gd name="connsiteY174" fmla="*/ 455315 h 6502399"/>
              <a:gd name="connsiteX175" fmla="*/ 3023540 w 6502400"/>
              <a:gd name="connsiteY175" fmla="*/ 879326 h 6502399"/>
              <a:gd name="connsiteX176" fmla="*/ 3082087 w 6502400"/>
              <a:gd name="connsiteY176" fmla="*/ 874465 h 6502399"/>
              <a:gd name="connsiteX177" fmla="*/ 3474441 w 6502400"/>
              <a:gd name="connsiteY177" fmla="*/ 878978 h 6502399"/>
              <a:gd name="connsiteX178" fmla="*/ 3478860 w 6502400"/>
              <a:gd name="connsiteY178" fmla="*/ 879326 h 6502399"/>
              <a:gd name="connsiteX179" fmla="*/ 3516020 w 6502400"/>
              <a:gd name="connsiteY179" fmla="*/ 455315 h 6502399"/>
              <a:gd name="connsiteX180" fmla="*/ 3251200 w 6502400"/>
              <a:gd name="connsiteY180" fmla="*/ 190500 h 6502399"/>
              <a:gd name="connsiteX181" fmla="*/ 3251200 w 6502400"/>
              <a:gd name="connsiteY181" fmla="*/ 0 h 6502399"/>
              <a:gd name="connsiteX182" fmla="*/ 3706520 w 6502400"/>
              <a:gd name="connsiteY182" fmla="*/ 455315 h 6502399"/>
              <a:gd name="connsiteX183" fmla="*/ 3667519 w 6502400"/>
              <a:gd name="connsiteY183" fmla="*/ 904875 h 6502399"/>
              <a:gd name="connsiteX184" fmla="*/ 4615256 w 6502400"/>
              <a:gd name="connsiteY184" fmla="*/ 1298626 h 6502399"/>
              <a:gd name="connsiteX185" fmla="*/ 4906213 w 6502400"/>
              <a:gd name="connsiteY185" fmla="*/ 952252 h 6502399"/>
              <a:gd name="connsiteX186" fmla="*/ 5228184 w 6502400"/>
              <a:gd name="connsiteY186" fmla="*/ 818902 h 6502399"/>
              <a:gd name="connsiteX187" fmla="*/ 5550154 w 6502400"/>
              <a:gd name="connsiteY187" fmla="*/ 952252 h 6502399"/>
              <a:gd name="connsiteX188" fmla="*/ 5550154 w 6502400"/>
              <a:gd name="connsiteY188" fmla="*/ 1596187 h 6502399"/>
              <a:gd name="connsiteX189" fmla="*/ 5203774 w 6502400"/>
              <a:gd name="connsiteY189" fmla="*/ 1887144 h 6502399"/>
              <a:gd name="connsiteX190" fmla="*/ 5597525 w 6502400"/>
              <a:gd name="connsiteY190" fmla="*/ 2834881 h 6502399"/>
              <a:gd name="connsiteX191" fmla="*/ 6047080 w 6502400"/>
              <a:gd name="connsiteY191" fmla="*/ 2795880 h 6502399"/>
              <a:gd name="connsiteX192" fmla="*/ 6502400 w 6502400"/>
              <a:gd name="connsiteY192" fmla="*/ 3251200 h 6502399"/>
              <a:gd name="connsiteX193" fmla="*/ 6047080 w 6502400"/>
              <a:gd name="connsiteY193" fmla="*/ 3706559 h 6502399"/>
              <a:gd name="connsiteX194" fmla="*/ 5597373 w 6502400"/>
              <a:gd name="connsiteY194" fmla="*/ 3667519 h 6502399"/>
              <a:gd name="connsiteX195" fmla="*/ 5530304 w 6502400"/>
              <a:gd name="connsiteY195" fmla="*/ 3946817 h 6502399"/>
              <a:gd name="connsiteX196" fmla="*/ 5411343 w 6502400"/>
              <a:gd name="connsiteY196" fmla="*/ 4010076 h 6502399"/>
              <a:gd name="connsiteX197" fmla="*/ 5348135 w 6502400"/>
              <a:gd name="connsiteY197" fmla="*/ 3891115 h 6502399"/>
              <a:gd name="connsiteX198" fmla="*/ 5423992 w 6502400"/>
              <a:gd name="connsiteY198" fmla="*/ 2959100 h 6502399"/>
              <a:gd name="connsiteX199" fmla="*/ 4993780 w 6502400"/>
              <a:gd name="connsiteY199" fmla="*/ 1922666 h 6502399"/>
              <a:gd name="connsiteX200" fmla="*/ 4993284 w 6502400"/>
              <a:gd name="connsiteY200" fmla="*/ 1922018 h 6502399"/>
              <a:gd name="connsiteX201" fmla="*/ 3543046 w 6502400"/>
              <a:gd name="connsiteY201" fmla="*/ 1078409 h 6502399"/>
              <a:gd name="connsiteX202" fmla="*/ 1509115 w 6502400"/>
              <a:gd name="connsiteY202" fmla="*/ 1922018 h 6502399"/>
              <a:gd name="connsiteX203" fmla="*/ 1508176 w 6502400"/>
              <a:gd name="connsiteY203" fmla="*/ 1923161 h 6502399"/>
              <a:gd name="connsiteX204" fmla="*/ 1316977 w 6502400"/>
              <a:gd name="connsiteY204" fmla="*/ 2220265 h 6502399"/>
              <a:gd name="connsiteX205" fmla="*/ 1188045 w 6502400"/>
              <a:gd name="connsiteY205" fmla="*/ 2259267 h 6502399"/>
              <a:gd name="connsiteX206" fmla="*/ 1149053 w 6502400"/>
              <a:gd name="connsiteY206" fmla="*/ 2130324 h 6502399"/>
              <a:gd name="connsiteX207" fmla="*/ 1298727 w 6502400"/>
              <a:gd name="connsiteY207" fmla="*/ 1887195 h 6502399"/>
              <a:gd name="connsiteX208" fmla="*/ 952252 w 6502400"/>
              <a:gd name="connsiteY208" fmla="*/ 1596187 h 6502399"/>
              <a:gd name="connsiteX209" fmla="*/ 952252 w 6502400"/>
              <a:gd name="connsiteY209" fmla="*/ 952252 h 6502399"/>
              <a:gd name="connsiteX210" fmla="*/ 1274216 w 6502400"/>
              <a:gd name="connsiteY210" fmla="*/ 818902 h 6502399"/>
              <a:gd name="connsiteX211" fmla="*/ 1596187 w 6502400"/>
              <a:gd name="connsiteY211" fmla="*/ 952252 h 6502399"/>
              <a:gd name="connsiteX212" fmla="*/ 1886788 w 6502400"/>
              <a:gd name="connsiteY212" fmla="*/ 1298181 h 6502399"/>
              <a:gd name="connsiteX213" fmla="*/ 2834932 w 6502400"/>
              <a:gd name="connsiteY213" fmla="*/ 905123 h 6502399"/>
              <a:gd name="connsiteX214" fmla="*/ 2795879 w 6502400"/>
              <a:gd name="connsiteY214" fmla="*/ 455315 h 6502399"/>
              <a:gd name="connsiteX215" fmla="*/ 3251200 w 6502400"/>
              <a:gd name="connsiteY215" fmla="*/ 0 h 6502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Lst>
            <a:rect l="l" t="t" r="r" b="b"/>
            <a:pathLst>
              <a:path w="6502400" h="6502399">
                <a:moveTo>
                  <a:pt x="3023540" y="5623077"/>
                </a:moveTo>
                <a:cubicBezTo>
                  <a:pt x="2998889" y="5766092"/>
                  <a:pt x="2986380" y="5908331"/>
                  <a:pt x="2986380" y="6047079"/>
                </a:cubicBezTo>
                <a:cubicBezTo>
                  <a:pt x="2986380" y="6193091"/>
                  <a:pt x="3105150" y="6311899"/>
                  <a:pt x="3251200" y="6311899"/>
                </a:cubicBezTo>
                <a:cubicBezTo>
                  <a:pt x="3397250" y="6311899"/>
                  <a:pt x="3516020" y="6193091"/>
                  <a:pt x="3516020" y="6047079"/>
                </a:cubicBezTo>
                <a:cubicBezTo>
                  <a:pt x="3516020" y="5908382"/>
                  <a:pt x="3503511" y="5766092"/>
                  <a:pt x="3478860" y="5623077"/>
                </a:cubicBezTo>
                <a:cubicBezTo>
                  <a:pt x="3478060" y="5623178"/>
                  <a:pt x="3477273" y="5623217"/>
                  <a:pt x="3476473" y="5623267"/>
                </a:cubicBezTo>
                <a:cubicBezTo>
                  <a:pt x="3327451" y="5637364"/>
                  <a:pt x="3175292" y="5637110"/>
                  <a:pt x="3027413" y="5623369"/>
                </a:cubicBezTo>
                <a:cubicBezTo>
                  <a:pt x="3026118" y="5623267"/>
                  <a:pt x="3024835" y="5623178"/>
                  <a:pt x="3023540" y="5623077"/>
                </a:cubicBezTo>
                <a:close/>
                <a:moveTo>
                  <a:pt x="1413866" y="4766817"/>
                </a:moveTo>
                <a:cubicBezTo>
                  <a:pt x="1294956" y="4850650"/>
                  <a:pt x="1185267" y="4942585"/>
                  <a:pt x="1086941" y="5040909"/>
                </a:cubicBezTo>
                <a:cubicBezTo>
                  <a:pt x="983704" y="5144198"/>
                  <a:pt x="983704" y="5312168"/>
                  <a:pt x="1086941" y="5415457"/>
                </a:cubicBezTo>
                <a:cubicBezTo>
                  <a:pt x="1189038" y="5517502"/>
                  <a:pt x="1359243" y="5517654"/>
                  <a:pt x="1461491" y="5415457"/>
                </a:cubicBezTo>
                <a:cubicBezTo>
                  <a:pt x="1559814" y="5317134"/>
                  <a:pt x="1651749" y="5207393"/>
                  <a:pt x="1735582" y="5088483"/>
                </a:cubicBezTo>
                <a:cubicBezTo>
                  <a:pt x="1618463" y="4991696"/>
                  <a:pt x="1510703" y="4883937"/>
                  <a:pt x="1413866" y="4766817"/>
                </a:cubicBezTo>
                <a:close/>
                <a:moveTo>
                  <a:pt x="5088382" y="4766767"/>
                </a:moveTo>
                <a:cubicBezTo>
                  <a:pt x="5086503" y="4769053"/>
                  <a:pt x="5084560" y="4771275"/>
                  <a:pt x="5082680" y="4773510"/>
                </a:cubicBezTo>
                <a:cubicBezTo>
                  <a:pt x="4989017" y="4885931"/>
                  <a:pt x="4885132" y="4990261"/>
                  <a:pt x="4772470" y="5083568"/>
                </a:cubicBezTo>
                <a:cubicBezTo>
                  <a:pt x="4770539" y="5085156"/>
                  <a:pt x="4768647" y="5086845"/>
                  <a:pt x="4766767" y="5088432"/>
                </a:cubicBezTo>
                <a:cubicBezTo>
                  <a:pt x="4850613" y="5207342"/>
                  <a:pt x="4942586" y="5317083"/>
                  <a:pt x="5040910" y="5415457"/>
                </a:cubicBezTo>
                <a:cubicBezTo>
                  <a:pt x="5142853" y="5517362"/>
                  <a:pt x="5313414" y="5517502"/>
                  <a:pt x="5415458" y="5415457"/>
                </a:cubicBezTo>
                <a:cubicBezTo>
                  <a:pt x="5518696" y="5312168"/>
                  <a:pt x="5518696" y="5144198"/>
                  <a:pt x="5415458" y="5040909"/>
                </a:cubicBezTo>
                <a:cubicBezTo>
                  <a:pt x="5317084" y="4942585"/>
                  <a:pt x="5207343" y="4850612"/>
                  <a:pt x="5088382" y="4766767"/>
                </a:cubicBezTo>
                <a:close/>
                <a:moveTo>
                  <a:pt x="3537101" y="3941368"/>
                </a:moveTo>
                <a:lnTo>
                  <a:pt x="3537101" y="4652213"/>
                </a:lnTo>
                <a:cubicBezTo>
                  <a:pt x="3719410" y="4615116"/>
                  <a:pt x="3889171" y="4543082"/>
                  <a:pt x="4039247" y="4443564"/>
                </a:cubicBezTo>
                <a:close/>
                <a:moveTo>
                  <a:pt x="2965297" y="3941368"/>
                </a:moveTo>
                <a:lnTo>
                  <a:pt x="2463151" y="4443564"/>
                </a:lnTo>
                <a:cubicBezTo>
                  <a:pt x="2613176" y="4543082"/>
                  <a:pt x="2782988" y="4615116"/>
                  <a:pt x="2965297" y="4652264"/>
                </a:cubicBezTo>
                <a:close/>
                <a:moveTo>
                  <a:pt x="3155797" y="3847261"/>
                </a:moveTo>
                <a:lnTo>
                  <a:pt x="3155797" y="4677714"/>
                </a:lnTo>
                <a:cubicBezTo>
                  <a:pt x="3155797" y="4683226"/>
                  <a:pt x="3324072" y="4679797"/>
                  <a:pt x="3340696" y="4678565"/>
                </a:cubicBezTo>
                <a:cubicBezTo>
                  <a:pt x="3344265" y="4678311"/>
                  <a:pt x="3346551" y="4678019"/>
                  <a:pt x="3346601" y="4677714"/>
                </a:cubicBezTo>
                <a:lnTo>
                  <a:pt x="3346601" y="3847261"/>
                </a:lnTo>
                <a:cubicBezTo>
                  <a:pt x="3328148" y="3850284"/>
                  <a:pt x="3309441" y="3852214"/>
                  <a:pt x="3290734" y="3853357"/>
                </a:cubicBezTo>
                <a:cubicBezTo>
                  <a:pt x="3245789" y="3856189"/>
                  <a:pt x="3200298" y="3854602"/>
                  <a:pt x="3155797" y="3847261"/>
                </a:cubicBezTo>
                <a:close/>
                <a:moveTo>
                  <a:pt x="3740251" y="3605364"/>
                </a:moveTo>
                <a:cubicBezTo>
                  <a:pt x="3702748" y="3657307"/>
                  <a:pt x="3657307" y="3702748"/>
                  <a:pt x="3605364" y="3740251"/>
                </a:cubicBezTo>
                <a:lnTo>
                  <a:pt x="4191939" y="4326877"/>
                </a:lnTo>
                <a:cubicBezTo>
                  <a:pt x="4239818" y="4284916"/>
                  <a:pt x="4284916" y="4239869"/>
                  <a:pt x="4326826" y="4191990"/>
                </a:cubicBezTo>
                <a:close/>
                <a:moveTo>
                  <a:pt x="2762148" y="3605364"/>
                </a:moveTo>
                <a:lnTo>
                  <a:pt x="2175572" y="4191939"/>
                </a:lnTo>
                <a:cubicBezTo>
                  <a:pt x="2217483" y="4239818"/>
                  <a:pt x="2262529" y="4284916"/>
                  <a:pt x="2310459" y="4326826"/>
                </a:cubicBezTo>
                <a:lnTo>
                  <a:pt x="2897034" y="3740251"/>
                </a:lnTo>
                <a:cubicBezTo>
                  <a:pt x="2845091" y="3702748"/>
                  <a:pt x="2799651" y="3657307"/>
                  <a:pt x="2762148" y="3605364"/>
                </a:cubicBezTo>
                <a:close/>
                <a:moveTo>
                  <a:pt x="3941368" y="3537102"/>
                </a:moveTo>
                <a:lnTo>
                  <a:pt x="4443564" y="4039298"/>
                </a:lnTo>
                <a:cubicBezTo>
                  <a:pt x="4543081" y="3889222"/>
                  <a:pt x="4615116" y="3719410"/>
                  <a:pt x="4652213" y="3537102"/>
                </a:cubicBezTo>
                <a:close/>
                <a:moveTo>
                  <a:pt x="1850186" y="3537102"/>
                </a:moveTo>
                <a:cubicBezTo>
                  <a:pt x="1887283" y="3719410"/>
                  <a:pt x="1959317" y="3889222"/>
                  <a:pt x="2058834" y="4039247"/>
                </a:cubicBezTo>
                <a:lnTo>
                  <a:pt x="2561030" y="3537102"/>
                </a:lnTo>
                <a:close/>
                <a:moveTo>
                  <a:pt x="3847261" y="3155848"/>
                </a:moveTo>
                <a:cubicBezTo>
                  <a:pt x="3856875" y="3216071"/>
                  <a:pt x="3857230" y="3277844"/>
                  <a:pt x="3848442" y="3338220"/>
                </a:cubicBezTo>
                <a:cubicBezTo>
                  <a:pt x="3848150" y="3340303"/>
                  <a:pt x="3847401" y="3345853"/>
                  <a:pt x="3847261" y="3346602"/>
                </a:cubicBezTo>
                <a:lnTo>
                  <a:pt x="4677714" y="3346602"/>
                </a:lnTo>
                <a:cubicBezTo>
                  <a:pt x="4678857" y="3329381"/>
                  <a:pt x="4679695" y="3312223"/>
                  <a:pt x="4680203" y="3295002"/>
                </a:cubicBezTo>
                <a:cubicBezTo>
                  <a:pt x="4681638" y="3248621"/>
                  <a:pt x="4680737" y="3202139"/>
                  <a:pt x="4677714" y="3155848"/>
                </a:cubicBezTo>
                <a:close/>
                <a:moveTo>
                  <a:pt x="1824684" y="3155797"/>
                </a:moveTo>
                <a:cubicBezTo>
                  <a:pt x="1823541" y="3173018"/>
                  <a:pt x="1821408" y="3236620"/>
                  <a:pt x="1821458" y="3251199"/>
                </a:cubicBezTo>
                <a:cubicBezTo>
                  <a:pt x="1821458" y="3255517"/>
                  <a:pt x="1820760" y="3346005"/>
                  <a:pt x="1824684" y="3346602"/>
                </a:cubicBezTo>
                <a:lnTo>
                  <a:pt x="2655137" y="3346602"/>
                </a:lnTo>
                <a:cubicBezTo>
                  <a:pt x="2651518" y="3324377"/>
                  <a:pt x="2649283" y="3301847"/>
                  <a:pt x="2648292" y="3279381"/>
                </a:cubicBezTo>
                <a:cubicBezTo>
                  <a:pt x="2646514" y="3238055"/>
                  <a:pt x="2648698" y="3196678"/>
                  <a:pt x="2655137" y="3155797"/>
                </a:cubicBezTo>
                <a:close/>
                <a:moveTo>
                  <a:pt x="6047080" y="2986380"/>
                </a:moveTo>
                <a:cubicBezTo>
                  <a:pt x="5908332" y="2986380"/>
                  <a:pt x="5766092" y="2998889"/>
                  <a:pt x="5623077" y="3023540"/>
                </a:cubicBezTo>
                <a:cubicBezTo>
                  <a:pt x="5623179" y="3024632"/>
                  <a:pt x="5623217" y="3025775"/>
                  <a:pt x="5623319" y="3026867"/>
                </a:cubicBezTo>
                <a:cubicBezTo>
                  <a:pt x="5633936" y="3140469"/>
                  <a:pt x="5636616" y="3254820"/>
                  <a:pt x="5631015" y="3368827"/>
                </a:cubicBezTo>
                <a:cubicBezTo>
                  <a:pt x="5629224" y="3405581"/>
                  <a:pt x="5626595" y="3442297"/>
                  <a:pt x="5623128" y="3478860"/>
                </a:cubicBezTo>
                <a:cubicBezTo>
                  <a:pt x="5766143" y="3503562"/>
                  <a:pt x="5908383" y="3516020"/>
                  <a:pt x="6047080" y="3516020"/>
                </a:cubicBezTo>
                <a:cubicBezTo>
                  <a:pt x="6193091" y="3516020"/>
                  <a:pt x="6311900" y="3397199"/>
                  <a:pt x="6311900" y="3251200"/>
                </a:cubicBezTo>
                <a:cubicBezTo>
                  <a:pt x="6311900" y="3105201"/>
                  <a:pt x="6193091" y="2986380"/>
                  <a:pt x="6047080" y="2986380"/>
                </a:cubicBezTo>
                <a:close/>
                <a:moveTo>
                  <a:pt x="455315" y="2986379"/>
                </a:moveTo>
                <a:cubicBezTo>
                  <a:pt x="309315" y="2986379"/>
                  <a:pt x="190500" y="3105200"/>
                  <a:pt x="190500" y="3251199"/>
                </a:cubicBezTo>
                <a:cubicBezTo>
                  <a:pt x="190500" y="3397199"/>
                  <a:pt x="309315" y="3516020"/>
                  <a:pt x="455315" y="3516020"/>
                </a:cubicBezTo>
                <a:cubicBezTo>
                  <a:pt x="594022" y="3516020"/>
                  <a:pt x="736303" y="3503510"/>
                  <a:pt x="879326" y="3478860"/>
                </a:cubicBezTo>
                <a:cubicBezTo>
                  <a:pt x="867767" y="3359442"/>
                  <a:pt x="866973" y="3240633"/>
                  <a:pt x="873521" y="3120974"/>
                </a:cubicBezTo>
                <a:cubicBezTo>
                  <a:pt x="873919" y="3113531"/>
                  <a:pt x="874265" y="3024834"/>
                  <a:pt x="879326" y="3023539"/>
                </a:cubicBezTo>
                <a:cubicBezTo>
                  <a:pt x="736303" y="2998888"/>
                  <a:pt x="594072" y="2986379"/>
                  <a:pt x="455315" y="2986379"/>
                </a:cubicBezTo>
                <a:close/>
                <a:moveTo>
                  <a:pt x="3245318" y="2838530"/>
                </a:moveTo>
                <a:cubicBezTo>
                  <a:pt x="3214038" y="2838800"/>
                  <a:pt x="3182370" y="2842944"/>
                  <a:pt x="3150844" y="2851404"/>
                </a:cubicBezTo>
                <a:cubicBezTo>
                  <a:pt x="2964560" y="2901403"/>
                  <a:pt x="2823019" y="3085261"/>
                  <a:pt x="2839440" y="3283839"/>
                </a:cubicBezTo>
                <a:cubicBezTo>
                  <a:pt x="2856902" y="3494189"/>
                  <a:pt x="3038766" y="3663848"/>
                  <a:pt x="3250259" y="3664242"/>
                </a:cubicBezTo>
                <a:cubicBezTo>
                  <a:pt x="3250551" y="3664242"/>
                  <a:pt x="3250907" y="3664292"/>
                  <a:pt x="3251199" y="3664292"/>
                </a:cubicBezTo>
                <a:cubicBezTo>
                  <a:pt x="3251542" y="3664292"/>
                  <a:pt x="3251847" y="3664242"/>
                  <a:pt x="3252139" y="3664242"/>
                </a:cubicBezTo>
                <a:cubicBezTo>
                  <a:pt x="3475532" y="3663848"/>
                  <a:pt x="3664292" y="3474491"/>
                  <a:pt x="3664292" y="3251250"/>
                </a:cubicBezTo>
                <a:cubicBezTo>
                  <a:pt x="3664292" y="3024611"/>
                  <a:pt x="3464281" y="2836642"/>
                  <a:pt x="3245318" y="2838530"/>
                </a:cubicBezTo>
                <a:close/>
                <a:moveTo>
                  <a:pt x="4443564" y="2463152"/>
                </a:moveTo>
                <a:lnTo>
                  <a:pt x="3941368" y="2965297"/>
                </a:lnTo>
                <a:lnTo>
                  <a:pt x="4652213" y="2965297"/>
                </a:lnTo>
                <a:cubicBezTo>
                  <a:pt x="4615116" y="2782989"/>
                  <a:pt x="4543081" y="2613177"/>
                  <a:pt x="4443564" y="2463152"/>
                </a:cubicBezTo>
                <a:close/>
                <a:moveTo>
                  <a:pt x="2058834" y="2463152"/>
                </a:moveTo>
                <a:cubicBezTo>
                  <a:pt x="1959317" y="2613177"/>
                  <a:pt x="1887283" y="2782989"/>
                  <a:pt x="1850186" y="2965297"/>
                </a:cubicBezTo>
                <a:lnTo>
                  <a:pt x="2561030" y="2965297"/>
                </a:lnTo>
                <a:close/>
                <a:moveTo>
                  <a:pt x="1075955" y="2426397"/>
                </a:moveTo>
                <a:cubicBezTo>
                  <a:pt x="1088294" y="2425473"/>
                  <a:pt x="1101018" y="2426953"/>
                  <a:pt x="1113483" y="2431160"/>
                </a:cubicBezTo>
                <a:cubicBezTo>
                  <a:pt x="1163340" y="2447975"/>
                  <a:pt x="1190128" y="2502052"/>
                  <a:pt x="1173311" y="2551861"/>
                </a:cubicBezTo>
                <a:cubicBezTo>
                  <a:pt x="1082576" y="2820644"/>
                  <a:pt x="1045616" y="3107537"/>
                  <a:pt x="1063427" y="3390696"/>
                </a:cubicBezTo>
                <a:cubicBezTo>
                  <a:pt x="1066651" y="3441699"/>
                  <a:pt x="1071662" y="3492601"/>
                  <a:pt x="1078409" y="3543198"/>
                </a:cubicBezTo>
                <a:cubicBezTo>
                  <a:pt x="1207195" y="4506315"/>
                  <a:pt x="1995386" y="5295061"/>
                  <a:pt x="2959049" y="5423992"/>
                </a:cubicBezTo>
                <a:cubicBezTo>
                  <a:pt x="3874834" y="5546521"/>
                  <a:pt x="4800651" y="5054346"/>
                  <a:pt x="5213642" y="4227613"/>
                </a:cubicBezTo>
                <a:cubicBezTo>
                  <a:pt x="5237163" y="4180535"/>
                  <a:pt x="5294364" y="4161485"/>
                  <a:pt x="5341442" y="4184992"/>
                </a:cubicBezTo>
                <a:cubicBezTo>
                  <a:pt x="5388471" y="4208513"/>
                  <a:pt x="5407571" y="4265713"/>
                  <a:pt x="5384051" y="4312742"/>
                </a:cubicBezTo>
                <a:cubicBezTo>
                  <a:pt x="5331321" y="4418266"/>
                  <a:pt x="5270792" y="4519167"/>
                  <a:pt x="5203622" y="4615154"/>
                </a:cubicBezTo>
                <a:cubicBezTo>
                  <a:pt x="5329339" y="4704206"/>
                  <a:pt x="5445671" y="4801742"/>
                  <a:pt x="5550154" y="4906213"/>
                </a:cubicBezTo>
                <a:cubicBezTo>
                  <a:pt x="5727700" y="5083771"/>
                  <a:pt x="5727700" y="5372595"/>
                  <a:pt x="5550154" y="5550153"/>
                </a:cubicBezTo>
                <a:cubicBezTo>
                  <a:pt x="5374780" y="5725515"/>
                  <a:pt x="5081740" y="5725667"/>
                  <a:pt x="4906214" y="5550153"/>
                </a:cubicBezTo>
                <a:cubicBezTo>
                  <a:pt x="4801743" y="5445671"/>
                  <a:pt x="4704207" y="5329288"/>
                  <a:pt x="4615155" y="5203571"/>
                </a:cubicBezTo>
                <a:cubicBezTo>
                  <a:pt x="4584205" y="5225262"/>
                  <a:pt x="4552950" y="5246484"/>
                  <a:pt x="4520946" y="5266728"/>
                </a:cubicBezTo>
                <a:cubicBezTo>
                  <a:pt x="4259314" y="5432132"/>
                  <a:pt x="3969639" y="5543842"/>
                  <a:pt x="3667519" y="5597423"/>
                </a:cubicBezTo>
                <a:cubicBezTo>
                  <a:pt x="3693274" y="5748883"/>
                  <a:pt x="3706520" y="5899696"/>
                  <a:pt x="3706520" y="6047079"/>
                </a:cubicBezTo>
                <a:cubicBezTo>
                  <a:pt x="3706520" y="6298158"/>
                  <a:pt x="3502279" y="6502399"/>
                  <a:pt x="3251200" y="6502399"/>
                </a:cubicBezTo>
                <a:cubicBezTo>
                  <a:pt x="3000121" y="6502399"/>
                  <a:pt x="2795880" y="6298158"/>
                  <a:pt x="2795880" y="6047079"/>
                </a:cubicBezTo>
                <a:cubicBezTo>
                  <a:pt x="2795880" y="5899746"/>
                  <a:pt x="2809126" y="5748934"/>
                  <a:pt x="2834881" y="5597524"/>
                </a:cubicBezTo>
                <a:cubicBezTo>
                  <a:pt x="2487270" y="5536006"/>
                  <a:pt x="2165502" y="5398833"/>
                  <a:pt x="1887144" y="5203774"/>
                </a:cubicBezTo>
                <a:cubicBezTo>
                  <a:pt x="1798091" y="5329389"/>
                  <a:pt x="1700606" y="5445721"/>
                  <a:pt x="1596187" y="5550153"/>
                </a:cubicBezTo>
                <a:cubicBezTo>
                  <a:pt x="1420660" y="5725667"/>
                  <a:pt x="1127869" y="5725769"/>
                  <a:pt x="952252" y="5550153"/>
                </a:cubicBezTo>
                <a:cubicBezTo>
                  <a:pt x="774750" y="5372595"/>
                  <a:pt x="774750" y="5083771"/>
                  <a:pt x="952252" y="4906213"/>
                </a:cubicBezTo>
                <a:cubicBezTo>
                  <a:pt x="1056679" y="4801793"/>
                  <a:pt x="1173014" y="4704308"/>
                  <a:pt x="1298626" y="4615256"/>
                </a:cubicBezTo>
                <a:cubicBezTo>
                  <a:pt x="1103560" y="4336897"/>
                  <a:pt x="966391" y="4015130"/>
                  <a:pt x="904875" y="3667518"/>
                </a:cubicBezTo>
                <a:cubicBezTo>
                  <a:pt x="753467" y="3693274"/>
                  <a:pt x="602654" y="3706520"/>
                  <a:pt x="455315" y="3706520"/>
                </a:cubicBezTo>
                <a:cubicBezTo>
                  <a:pt x="204241" y="3706520"/>
                  <a:pt x="0" y="3502278"/>
                  <a:pt x="0" y="3251199"/>
                </a:cubicBezTo>
                <a:cubicBezTo>
                  <a:pt x="0" y="3000120"/>
                  <a:pt x="204241" y="2795879"/>
                  <a:pt x="455315" y="2795879"/>
                </a:cubicBezTo>
                <a:cubicBezTo>
                  <a:pt x="602704" y="2795879"/>
                  <a:pt x="753516" y="2809125"/>
                  <a:pt x="904974" y="2834881"/>
                </a:cubicBezTo>
                <a:cubicBezTo>
                  <a:pt x="925612" y="2718345"/>
                  <a:pt x="954832" y="2603449"/>
                  <a:pt x="992783" y="2490939"/>
                </a:cubicBezTo>
                <a:cubicBezTo>
                  <a:pt x="1005396" y="2453583"/>
                  <a:pt x="1038938" y="2429170"/>
                  <a:pt x="1075955" y="2426397"/>
                </a:cubicBezTo>
                <a:close/>
                <a:moveTo>
                  <a:pt x="4191939" y="2175573"/>
                </a:moveTo>
                <a:lnTo>
                  <a:pt x="3605364" y="2762148"/>
                </a:lnTo>
                <a:cubicBezTo>
                  <a:pt x="3657307" y="2799651"/>
                  <a:pt x="3702748" y="2845091"/>
                  <a:pt x="3740251" y="2897035"/>
                </a:cubicBezTo>
                <a:lnTo>
                  <a:pt x="4326826" y="2310460"/>
                </a:lnTo>
                <a:cubicBezTo>
                  <a:pt x="4284916" y="2262581"/>
                  <a:pt x="4239869" y="2217483"/>
                  <a:pt x="4191939" y="2175573"/>
                </a:cubicBezTo>
                <a:close/>
                <a:moveTo>
                  <a:pt x="2310459" y="2175573"/>
                </a:moveTo>
                <a:cubicBezTo>
                  <a:pt x="2262529" y="2217483"/>
                  <a:pt x="2217483" y="2262530"/>
                  <a:pt x="2175572" y="2310460"/>
                </a:cubicBezTo>
                <a:lnTo>
                  <a:pt x="2762148" y="2897035"/>
                </a:lnTo>
                <a:cubicBezTo>
                  <a:pt x="2799651" y="2845091"/>
                  <a:pt x="2845091" y="2799651"/>
                  <a:pt x="2897034" y="2762148"/>
                </a:cubicBezTo>
                <a:close/>
                <a:moveTo>
                  <a:pt x="3537101" y="1850186"/>
                </a:moveTo>
                <a:lnTo>
                  <a:pt x="3537101" y="2561031"/>
                </a:lnTo>
                <a:lnTo>
                  <a:pt x="4039247" y="2058835"/>
                </a:lnTo>
                <a:cubicBezTo>
                  <a:pt x="3889222" y="1959317"/>
                  <a:pt x="3719410" y="1887283"/>
                  <a:pt x="3537101" y="1850186"/>
                </a:cubicBezTo>
                <a:close/>
                <a:moveTo>
                  <a:pt x="2965297" y="1850186"/>
                </a:moveTo>
                <a:cubicBezTo>
                  <a:pt x="2782988" y="1887334"/>
                  <a:pt x="2613176" y="1959317"/>
                  <a:pt x="2463101" y="2058835"/>
                </a:cubicBezTo>
                <a:lnTo>
                  <a:pt x="2965297" y="2561031"/>
                </a:lnTo>
                <a:close/>
                <a:moveTo>
                  <a:pt x="3161804" y="1824291"/>
                </a:moveTo>
                <a:cubicBezTo>
                  <a:pt x="3159823" y="1824431"/>
                  <a:pt x="3157829" y="1824532"/>
                  <a:pt x="3155848" y="1824685"/>
                </a:cubicBezTo>
                <a:lnTo>
                  <a:pt x="3155848" y="2655138"/>
                </a:lnTo>
                <a:cubicBezTo>
                  <a:pt x="3156546" y="2655049"/>
                  <a:pt x="3157245" y="2654947"/>
                  <a:pt x="3157930" y="2654846"/>
                </a:cubicBezTo>
                <a:cubicBezTo>
                  <a:pt x="3219449" y="2644978"/>
                  <a:pt x="3282949" y="2645117"/>
                  <a:pt x="3344468" y="2654846"/>
                </a:cubicBezTo>
                <a:cubicBezTo>
                  <a:pt x="3345154" y="2654947"/>
                  <a:pt x="3345852" y="2655049"/>
                  <a:pt x="3346601" y="2655138"/>
                </a:cubicBezTo>
                <a:lnTo>
                  <a:pt x="3346601" y="1824685"/>
                </a:lnTo>
                <a:cubicBezTo>
                  <a:pt x="3285032" y="1820710"/>
                  <a:pt x="3223373" y="1820468"/>
                  <a:pt x="3161804" y="1824291"/>
                </a:cubicBezTo>
                <a:close/>
                <a:moveTo>
                  <a:pt x="3227928" y="1631954"/>
                </a:moveTo>
                <a:cubicBezTo>
                  <a:pt x="3286975" y="1630612"/>
                  <a:pt x="3346546" y="1632696"/>
                  <a:pt x="3406431" y="1638401"/>
                </a:cubicBezTo>
                <a:cubicBezTo>
                  <a:pt x="4168482" y="1710982"/>
                  <a:pt x="4791417" y="2337689"/>
                  <a:pt x="4863947" y="3095574"/>
                </a:cubicBezTo>
                <a:cubicBezTo>
                  <a:pt x="4916334" y="3642867"/>
                  <a:pt x="4676673" y="4190555"/>
                  <a:pt x="4245622" y="4529531"/>
                </a:cubicBezTo>
                <a:cubicBezTo>
                  <a:pt x="4245177" y="4529886"/>
                  <a:pt x="4244720" y="4530229"/>
                  <a:pt x="4244276" y="4530572"/>
                </a:cubicBezTo>
                <a:cubicBezTo>
                  <a:pt x="4244187" y="4530674"/>
                  <a:pt x="4244034" y="4530775"/>
                  <a:pt x="4243882" y="4530877"/>
                </a:cubicBezTo>
                <a:cubicBezTo>
                  <a:pt x="3670198" y="4984457"/>
                  <a:pt x="2833585" y="4975568"/>
                  <a:pt x="2258567" y="4530877"/>
                </a:cubicBezTo>
                <a:cubicBezTo>
                  <a:pt x="2258415" y="4530775"/>
                  <a:pt x="2258262" y="4530674"/>
                  <a:pt x="2258122" y="4530572"/>
                </a:cubicBezTo>
                <a:cubicBezTo>
                  <a:pt x="2257576" y="4530178"/>
                  <a:pt x="2257081" y="4529734"/>
                  <a:pt x="2256535" y="4529340"/>
                </a:cubicBezTo>
                <a:cubicBezTo>
                  <a:pt x="1894039" y="4246460"/>
                  <a:pt x="1665629" y="3804792"/>
                  <a:pt x="1634972" y="3346894"/>
                </a:cubicBezTo>
                <a:cubicBezTo>
                  <a:pt x="1574512" y="2443185"/>
                  <a:pt x="2342225" y="1652092"/>
                  <a:pt x="3227928" y="1631954"/>
                </a:cubicBezTo>
                <a:close/>
                <a:moveTo>
                  <a:pt x="5228184" y="1009402"/>
                </a:moveTo>
                <a:cubicBezTo>
                  <a:pt x="5157445" y="1009402"/>
                  <a:pt x="5090909" y="1036935"/>
                  <a:pt x="5040909" y="1086941"/>
                </a:cubicBezTo>
                <a:cubicBezTo>
                  <a:pt x="4942637" y="1185267"/>
                  <a:pt x="4850651" y="1295006"/>
                  <a:pt x="4766818" y="1413866"/>
                </a:cubicBezTo>
                <a:cubicBezTo>
                  <a:pt x="4883937" y="1510703"/>
                  <a:pt x="4991697" y="1618463"/>
                  <a:pt x="5088484" y="1735582"/>
                </a:cubicBezTo>
                <a:cubicBezTo>
                  <a:pt x="5207394" y="1651749"/>
                  <a:pt x="5317134" y="1559814"/>
                  <a:pt x="5415458" y="1461491"/>
                </a:cubicBezTo>
                <a:cubicBezTo>
                  <a:pt x="5518696" y="1358202"/>
                  <a:pt x="5518696" y="1190229"/>
                  <a:pt x="5415458" y="1086941"/>
                </a:cubicBezTo>
                <a:cubicBezTo>
                  <a:pt x="5365458" y="1036935"/>
                  <a:pt x="5298923" y="1009402"/>
                  <a:pt x="5228184" y="1009402"/>
                </a:cubicBezTo>
                <a:close/>
                <a:moveTo>
                  <a:pt x="1274216" y="1009402"/>
                </a:moveTo>
                <a:cubicBezTo>
                  <a:pt x="1203473" y="1009402"/>
                  <a:pt x="1136947" y="1036935"/>
                  <a:pt x="1086941" y="1086941"/>
                </a:cubicBezTo>
                <a:cubicBezTo>
                  <a:pt x="983704" y="1190229"/>
                  <a:pt x="983704" y="1358202"/>
                  <a:pt x="1086941" y="1461491"/>
                </a:cubicBezTo>
                <a:cubicBezTo>
                  <a:pt x="1185217" y="1559763"/>
                  <a:pt x="1294904" y="1651698"/>
                  <a:pt x="1413764" y="1735480"/>
                </a:cubicBezTo>
                <a:cubicBezTo>
                  <a:pt x="1511046" y="1617409"/>
                  <a:pt x="1618907" y="1509865"/>
                  <a:pt x="1735391" y="1413662"/>
                </a:cubicBezTo>
                <a:cubicBezTo>
                  <a:pt x="1651597" y="1294803"/>
                  <a:pt x="1559712" y="1185217"/>
                  <a:pt x="1461490" y="1086941"/>
                </a:cubicBezTo>
                <a:cubicBezTo>
                  <a:pt x="1411440" y="1036935"/>
                  <a:pt x="1344955" y="1009402"/>
                  <a:pt x="1274216" y="1009402"/>
                </a:cubicBezTo>
                <a:close/>
                <a:moveTo>
                  <a:pt x="3251200" y="190500"/>
                </a:moveTo>
                <a:cubicBezTo>
                  <a:pt x="3105201" y="190500"/>
                  <a:pt x="2986379" y="309315"/>
                  <a:pt x="2986379" y="455315"/>
                </a:cubicBezTo>
                <a:cubicBezTo>
                  <a:pt x="2986379" y="594072"/>
                  <a:pt x="2998889" y="736352"/>
                  <a:pt x="3023540" y="879326"/>
                </a:cubicBezTo>
                <a:cubicBezTo>
                  <a:pt x="3043085" y="877491"/>
                  <a:pt x="3062579" y="875853"/>
                  <a:pt x="3082087" y="874465"/>
                </a:cubicBezTo>
                <a:cubicBezTo>
                  <a:pt x="3212605" y="865188"/>
                  <a:pt x="3344164" y="866379"/>
                  <a:pt x="3474441" y="878978"/>
                </a:cubicBezTo>
                <a:cubicBezTo>
                  <a:pt x="3475876" y="879128"/>
                  <a:pt x="3477374" y="879178"/>
                  <a:pt x="3478860" y="879326"/>
                </a:cubicBezTo>
                <a:cubicBezTo>
                  <a:pt x="3503562" y="736303"/>
                  <a:pt x="3516020" y="594072"/>
                  <a:pt x="3516020" y="455315"/>
                </a:cubicBezTo>
                <a:cubicBezTo>
                  <a:pt x="3516020" y="309315"/>
                  <a:pt x="3397199" y="190500"/>
                  <a:pt x="3251200" y="190500"/>
                </a:cubicBezTo>
                <a:close/>
                <a:moveTo>
                  <a:pt x="3251200" y="0"/>
                </a:moveTo>
                <a:cubicBezTo>
                  <a:pt x="3502279" y="0"/>
                  <a:pt x="3706520" y="204241"/>
                  <a:pt x="3706520" y="455315"/>
                </a:cubicBezTo>
                <a:cubicBezTo>
                  <a:pt x="3706520" y="602654"/>
                  <a:pt x="3693274" y="753467"/>
                  <a:pt x="3667519" y="904875"/>
                </a:cubicBezTo>
                <a:cubicBezTo>
                  <a:pt x="4015130" y="966391"/>
                  <a:pt x="4336898" y="1103560"/>
                  <a:pt x="4615256" y="1298626"/>
                </a:cubicBezTo>
                <a:cubicBezTo>
                  <a:pt x="4704308" y="1172964"/>
                  <a:pt x="4801794" y="1056679"/>
                  <a:pt x="4906213" y="952252"/>
                </a:cubicBezTo>
                <a:cubicBezTo>
                  <a:pt x="4992243" y="866229"/>
                  <a:pt x="5106594" y="818902"/>
                  <a:pt x="5228184" y="818902"/>
                </a:cubicBezTo>
                <a:cubicBezTo>
                  <a:pt x="5349824" y="818902"/>
                  <a:pt x="5464175" y="866278"/>
                  <a:pt x="5550154" y="952252"/>
                </a:cubicBezTo>
                <a:cubicBezTo>
                  <a:pt x="5727700" y="1129803"/>
                  <a:pt x="5727700" y="1418628"/>
                  <a:pt x="5550154" y="1596187"/>
                </a:cubicBezTo>
                <a:cubicBezTo>
                  <a:pt x="5445722" y="1700606"/>
                  <a:pt x="5329390" y="1798142"/>
                  <a:pt x="5203774" y="1887144"/>
                </a:cubicBezTo>
                <a:cubicBezTo>
                  <a:pt x="5398834" y="2165553"/>
                  <a:pt x="5536006" y="2487270"/>
                  <a:pt x="5597525" y="2834881"/>
                </a:cubicBezTo>
                <a:cubicBezTo>
                  <a:pt x="5748934" y="2809126"/>
                  <a:pt x="5899747" y="2795880"/>
                  <a:pt x="6047080" y="2795880"/>
                </a:cubicBezTo>
                <a:cubicBezTo>
                  <a:pt x="6298159" y="2795880"/>
                  <a:pt x="6502400" y="3000121"/>
                  <a:pt x="6502400" y="3251200"/>
                </a:cubicBezTo>
                <a:cubicBezTo>
                  <a:pt x="6502400" y="3502279"/>
                  <a:pt x="6298159" y="3706520"/>
                  <a:pt x="6047080" y="3706559"/>
                </a:cubicBezTo>
                <a:cubicBezTo>
                  <a:pt x="5899696" y="3706559"/>
                  <a:pt x="5748833" y="3693274"/>
                  <a:pt x="5597373" y="3667519"/>
                </a:cubicBezTo>
                <a:cubicBezTo>
                  <a:pt x="5580659" y="3761829"/>
                  <a:pt x="5558333" y="3855098"/>
                  <a:pt x="5530304" y="3946817"/>
                </a:cubicBezTo>
                <a:cubicBezTo>
                  <a:pt x="5514823" y="3997376"/>
                  <a:pt x="5459413" y="4024757"/>
                  <a:pt x="5411343" y="4010076"/>
                </a:cubicBezTo>
                <a:cubicBezTo>
                  <a:pt x="5361038" y="3994645"/>
                  <a:pt x="5332756" y="3941420"/>
                  <a:pt x="5348135" y="3891115"/>
                </a:cubicBezTo>
                <a:cubicBezTo>
                  <a:pt x="5440020" y="3590671"/>
                  <a:pt x="5465610" y="3270453"/>
                  <a:pt x="5423992" y="2959100"/>
                </a:cubicBezTo>
                <a:cubicBezTo>
                  <a:pt x="5372303" y="2572893"/>
                  <a:pt x="5219751" y="2218334"/>
                  <a:pt x="4993780" y="1922666"/>
                </a:cubicBezTo>
                <a:cubicBezTo>
                  <a:pt x="4993627" y="1922412"/>
                  <a:pt x="4993437" y="1922259"/>
                  <a:pt x="4993284" y="1922018"/>
                </a:cubicBezTo>
                <a:cubicBezTo>
                  <a:pt x="4642294" y="1463180"/>
                  <a:pt x="4111130" y="1155055"/>
                  <a:pt x="3543046" y="1078409"/>
                </a:cubicBezTo>
                <a:cubicBezTo>
                  <a:pt x="2770530" y="974228"/>
                  <a:pt x="1983829" y="1305471"/>
                  <a:pt x="1509115" y="1922018"/>
                </a:cubicBezTo>
                <a:cubicBezTo>
                  <a:pt x="1508823" y="1922412"/>
                  <a:pt x="1508468" y="1922755"/>
                  <a:pt x="1508176" y="1923161"/>
                </a:cubicBezTo>
                <a:cubicBezTo>
                  <a:pt x="1437437" y="2016024"/>
                  <a:pt x="1373238" y="2115147"/>
                  <a:pt x="1316977" y="2220265"/>
                </a:cubicBezTo>
                <a:cubicBezTo>
                  <a:pt x="1292174" y="2266658"/>
                  <a:pt x="1234430" y="2284121"/>
                  <a:pt x="1188045" y="2259267"/>
                </a:cubicBezTo>
                <a:cubicBezTo>
                  <a:pt x="1141660" y="2234451"/>
                  <a:pt x="1124197" y="2176717"/>
                  <a:pt x="1149053" y="2130324"/>
                </a:cubicBezTo>
                <a:cubicBezTo>
                  <a:pt x="1194346" y="2045640"/>
                  <a:pt x="1244550" y="1964677"/>
                  <a:pt x="1298727" y="1887195"/>
                </a:cubicBezTo>
                <a:cubicBezTo>
                  <a:pt x="1173014" y="1798142"/>
                  <a:pt x="1056679" y="1700657"/>
                  <a:pt x="952252" y="1596187"/>
                </a:cubicBezTo>
                <a:cubicBezTo>
                  <a:pt x="774749" y="1418679"/>
                  <a:pt x="774749" y="1129803"/>
                  <a:pt x="952252" y="952252"/>
                </a:cubicBezTo>
                <a:cubicBezTo>
                  <a:pt x="1038274" y="866278"/>
                  <a:pt x="1152624" y="818902"/>
                  <a:pt x="1274216" y="818902"/>
                </a:cubicBezTo>
                <a:cubicBezTo>
                  <a:pt x="1395857" y="818902"/>
                  <a:pt x="1510208" y="866278"/>
                  <a:pt x="1596187" y="952252"/>
                </a:cubicBezTo>
                <a:cubicBezTo>
                  <a:pt x="1700466" y="1056580"/>
                  <a:pt x="1797837" y="1172715"/>
                  <a:pt x="1886788" y="1298181"/>
                </a:cubicBezTo>
                <a:cubicBezTo>
                  <a:pt x="2168423" y="1101129"/>
                  <a:pt x="2491435" y="965944"/>
                  <a:pt x="2834932" y="905123"/>
                </a:cubicBezTo>
                <a:cubicBezTo>
                  <a:pt x="2809125" y="753666"/>
                  <a:pt x="2795879" y="602753"/>
                  <a:pt x="2795879" y="455315"/>
                </a:cubicBezTo>
                <a:cubicBezTo>
                  <a:pt x="2795879" y="204241"/>
                  <a:pt x="3000121" y="0"/>
                  <a:pt x="3251200" y="0"/>
                </a:cubicBezTo>
                <a:close/>
              </a:path>
            </a:pathLst>
          </a:custGeom>
          <a:solidFill>
            <a:schemeClr val="tx2"/>
          </a:solidFill>
          <a:ln w="12688" cap="flat">
            <a:noFill/>
            <a:prstDash val="solid"/>
            <a:miter/>
          </a:ln>
        </p:spPr>
        <p:txBody>
          <a:bodyPr rtlCol="0" anchor="ctr"/>
          <a:lstStyle/>
          <a:p>
            <a:endParaRPr lang="en-US"/>
          </a:p>
        </p:txBody>
      </p:sp>
      <p:sp>
        <p:nvSpPr>
          <p:cNvPr id="8" name="Rectangle 12">
            <a:extLst>
              <a:ext uri="{FF2B5EF4-FFF2-40B4-BE49-F238E27FC236}">
                <a16:creationId xmlns:a16="http://schemas.microsoft.com/office/drawing/2014/main" id="{612C07CF-523B-A54F-8131-16D1B038D46A}"/>
              </a:ext>
            </a:extLst>
          </p:cNvPr>
          <p:cNvSpPr/>
          <p:nvPr userDrawn="1"/>
        </p:nvSpPr>
        <p:spPr>
          <a:xfrm>
            <a:off x="9457764" y="6579030"/>
            <a:ext cx="2734235" cy="278969"/>
          </a:xfrm>
          <a:prstGeom prst="rect">
            <a:avLst/>
          </a:prstGeom>
          <a:solidFill>
            <a:schemeClr val="accent5"/>
          </a:solidFill>
        </p:spPr>
        <p:txBody>
          <a:bodyPr wrap="square" lIns="0" tIns="0" rIns="0" bIns="0" rtlCol="0" anchor="ctr" anchorCtr="0">
            <a:noAutofit/>
          </a:bodyPr>
          <a:lstStyle/>
          <a:p>
            <a:pPr algn="ctr"/>
            <a:r>
              <a:rPr lang="en-US" sz="800" b="1">
                <a:solidFill>
                  <a:schemeClr val="bg1"/>
                </a:solidFill>
                <a:cs typeface="Arial" panose="020B0604020202020204" pitchFamily="34" charset="0"/>
              </a:rPr>
              <a:t>GESTIÓN Y CALIDAD DEL PROYECTO</a:t>
            </a:r>
          </a:p>
        </p:txBody>
      </p:sp>
    </p:spTree>
    <p:extLst>
      <p:ext uri="{BB962C8B-B14F-4D97-AF65-F5344CB8AC3E}">
        <p14:creationId xmlns:p14="http://schemas.microsoft.com/office/powerpoint/2010/main" val="1082665821"/>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mplate Propuesta 2022 - Gestión del Cambio">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50040F2E-A856-F74D-B747-8F63180F396D}"/>
              </a:ext>
            </a:extLst>
          </p:cNvPr>
          <p:cNvSpPr>
            <a:spLocks noGrp="1"/>
          </p:cNvSpPr>
          <p:nvPr>
            <p:ph type="title"/>
          </p:nvPr>
        </p:nvSpPr>
        <p:spPr>
          <a:xfrm>
            <a:off x="1138892" y="36122"/>
            <a:ext cx="10610449" cy="276999"/>
          </a:xfrm>
        </p:spPr>
        <p:txBody>
          <a:bodyPr wrap="square" lIns="0" anchor="t">
            <a:noAutofit/>
          </a:bodyPr>
          <a:lstStyle>
            <a:lvl1pPr>
              <a:defRPr lang="es-ES_tradnl" cap="all" baseline="0" noProof="0" dirty="0"/>
            </a:lvl1pPr>
          </a:lstStyle>
          <a:p>
            <a:pPr lvl="0"/>
            <a:r>
              <a:rPr lang="es-ES_tradnl" noProof="0"/>
              <a:t>Haga clic para modificar el estilo de título del patrón</a:t>
            </a:r>
          </a:p>
        </p:txBody>
      </p:sp>
      <p:sp>
        <p:nvSpPr>
          <p:cNvPr id="7" name="Marcador de texto 5">
            <a:extLst>
              <a:ext uri="{FF2B5EF4-FFF2-40B4-BE49-F238E27FC236}">
                <a16:creationId xmlns:a16="http://schemas.microsoft.com/office/drawing/2014/main" id="{CC6303D6-D0FC-984A-8419-A50470327A59}"/>
              </a:ext>
            </a:extLst>
          </p:cNvPr>
          <p:cNvSpPr>
            <a:spLocks noGrp="1"/>
          </p:cNvSpPr>
          <p:nvPr>
            <p:ph type="body" sz="quarter" idx="10"/>
          </p:nvPr>
        </p:nvSpPr>
        <p:spPr>
          <a:xfrm>
            <a:off x="442659" y="671500"/>
            <a:ext cx="11306682" cy="5741999"/>
          </a:xfrm>
        </p:spPr>
        <p:txBody>
          <a:bodyPr/>
          <a:lstStyle/>
          <a:p>
            <a:pPr lvl="0"/>
            <a:r>
              <a:rPr lang="es-ES_tradnl" noProof="0"/>
              <a:t>Haga clic para modificar los estilos de texto del patrón</a:t>
            </a:r>
          </a:p>
          <a:p>
            <a:pPr lvl="1"/>
            <a:r>
              <a:rPr lang="es-ES_tradnl" noProof="0"/>
              <a:t>Segundo nivel</a:t>
            </a:r>
          </a:p>
          <a:p>
            <a:pPr lvl="2"/>
            <a:r>
              <a:rPr lang="es-ES_tradnl" noProof="0"/>
              <a:t>Tercer nivel</a:t>
            </a:r>
          </a:p>
          <a:p>
            <a:pPr lvl="3"/>
            <a:r>
              <a:rPr lang="es-ES_tradnl" noProof="0"/>
              <a:t>Cuarto nivel</a:t>
            </a:r>
          </a:p>
          <a:p>
            <a:pPr lvl="4"/>
            <a:r>
              <a:rPr lang="es-ES_tradnl" noProof="0"/>
              <a:t>Quinto nivel</a:t>
            </a:r>
          </a:p>
        </p:txBody>
      </p:sp>
      <p:sp>
        <p:nvSpPr>
          <p:cNvPr id="4" name="Marcador de texto 4">
            <a:extLst>
              <a:ext uri="{FF2B5EF4-FFF2-40B4-BE49-F238E27FC236}">
                <a16:creationId xmlns:a16="http://schemas.microsoft.com/office/drawing/2014/main" id="{DED7AFAC-0516-FB48-9E02-44CC62A80883}"/>
              </a:ext>
            </a:extLst>
          </p:cNvPr>
          <p:cNvSpPr>
            <a:spLocks noGrp="1"/>
          </p:cNvSpPr>
          <p:nvPr>
            <p:ph type="body" sz="quarter" idx="11"/>
          </p:nvPr>
        </p:nvSpPr>
        <p:spPr>
          <a:xfrm>
            <a:off x="1138639" y="290195"/>
            <a:ext cx="10610449" cy="217488"/>
          </a:xfrm>
        </p:spPr>
        <p:txBody>
          <a:bodyPr/>
          <a:lstStyle>
            <a:lvl1pPr>
              <a:defRPr sz="1200">
                <a:solidFill>
                  <a:schemeClr val="tx2"/>
                </a:solidFill>
              </a:defRPr>
            </a:lvl1pPr>
          </a:lstStyle>
          <a:p>
            <a:pPr lvl="0"/>
            <a:r>
              <a:rPr lang="es-ES_tradnl" noProof="0"/>
              <a:t>Haga clic para modificar los estilos de texto del patrón</a:t>
            </a:r>
          </a:p>
        </p:txBody>
      </p:sp>
      <p:sp>
        <p:nvSpPr>
          <p:cNvPr id="9" name="Rectángulo 8">
            <a:extLst>
              <a:ext uri="{FF2B5EF4-FFF2-40B4-BE49-F238E27FC236}">
                <a16:creationId xmlns:a16="http://schemas.microsoft.com/office/drawing/2014/main" id="{9D31E6A8-7FC5-D346-B913-27F3CB84C0BF}"/>
              </a:ext>
            </a:extLst>
          </p:cNvPr>
          <p:cNvSpPr/>
          <p:nvPr userDrawn="1"/>
        </p:nvSpPr>
        <p:spPr bwMode="auto">
          <a:xfrm>
            <a:off x="596159" y="67814"/>
            <a:ext cx="405613" cy="405613"/>
          </a:xfrm>
          <a:prstGeom prst="rect">
            <a:avLst/>
          </a:prstGeom>
          <a:solidFill>
            <a:schemeClr val="bg1"/>
          </a:solidFill>
          <a:ln w="25400" cap="flat">
            <a:solidFill>
              <a:schemeClr val="tx1"/>
            </a:solidFill>
            <a:miter lim="800000"/>
          </a:ln>
        </p:spPr>
        <p:txBody>
          <a:bodyPr lIns="0" tIns="0" rIns="0" bIns="0" rtlCol="0" anchor="ctr">
            <a:noAutofit/>
          </a:bodyPr>
          <a:lstStyle/>
          <a:p>
            <a:pPr algn="ctr"/>
            <a:endParaRPr lang="es-ES_tradnl" sz="1400" noProof="0"/>
          </a:p>
        </p:txBody>
      </p:sp>
      <p:sp>
        <p:nvSpPr>
          <p:cNvPr id="8" name="Forma libre 7">
            <a:extLst>
              <a:ext uri="{FF2B5EF4-FFF2-40B4-BE49-F238E27FC236}">
                <a16:creationId xmlns:a16="http://schemas.microsoft.com/office/drawing/2014/main" id="{15DCF29F-159F-BD41-B335-B1CA3CD47682}"/>
              </a:ext>
            </a:extLst>
          </p:cNvPr>
          <p:cNvSpPr/>
          <p:nvPr userDrawn="1"/>
        </p:nvSpPr>
        <p:spPr>
          <a:xfrm>
            <a:off x="680143" y="151633"/>
            <a:ext cx="237644" cy="237974"/>
          </a:xfrm>
          <a:custGeom>
            <a:avLst/>
            <a:gdLst>
              <a:gd name="connsiteX0" fmla="*/ 114300 w 4299585"/>
              <a:gd name="connsiteY0" fmla="*/ 2634853 h 4305538"/>
              <a:gd name="connsiteX1" fmla="*/ 228600 w 4299585"/>
              <a:gd name="connsiteY1" fmla="*/ 2749153 h 4305538"/>
              <a:gd name="connsiteX2" fmla="*/ 228600 w 4299585"/>
              <a:gd name="connsiteY2" fmla="*/ 3133010 h 4305538"/>
              <a:gd name="connsiteX3" fmla="*/ 847725 w 4299585"/>
              <a:gd name="connsiteY3" fmla="*/ 3752135 h 4305538"/>
              <a:gd name="connsiteX4" fmla="*/ 1373505 w 4299585"/>
              <a:gd name="connsiteY4" fmla="*/ 3752135 h 4305538"/>
              <a:gd name="connsiteX5" fmla="*/ 1243965 w 4299585"/>
              <a:gd name="connsiteY5" fmla="*/ 3622596 h 4305538"/>
              <a:gd name="connsiteX6" fmla="*/ 1243965 w 4299585"/>
              <a:gd name="connsiteY6" fmla="*/ 3460671 h 4305538"/>
              <a:gd name="connsiteX7" fmla="*/ 1405890 w 4299585"/>
              <a:gd name="connsiteY7" fmla="*/ 3460671 h 4305538"/>
              <a:gd name="connsiteX8" fmla="*/ 1730692 w 4299585"/>
              <a:gd name="connsiteY8" fmla="*/ 3785473 h 4305538"/>
              <a:gd name="connsiteX9" fmla="*/ 1730692 w 4299585"/>
              <a:gd name="connsiteY9" fmla="*/ 3947398 h 4305538"/>
              <a:gd name="connsiteX10" fmla="*/ 1405890 w 4299585"/>
              <a:gd name="connsiteY10" fmla="*/ 4272201 h 4305538"/>
              <a:gd name="connsiteX11" fmla="*/ 1324928 w 4299585"/>
              <a:gd name="connsiteY11" fmla="*/ 4305538 h 4305538"/>
              <a:gd name="connsiteX12" fmla="*/ 1243965 w 4299585"/>
              <a:gd name="connsiteY12" fmla="*/ 4272201 h 4305538"/>
              <a:gd name="connsiteX13" fmla="*/ 1243965 w 4299585"/>
              <a:gd name="connsiteY13" fmla="*/ 4110276 h 4305538"/>
              <a:gd name="connsiteX14" fmla="*/ 1373505 w 4299585"/>
              <a:gd name="connsiteY14" fmla="*/ 3980735 h 4305538"/>
              <a:gd name="connsiteX15" fmla="*/ 847725 w 4299585"/>
              <a:gd name="connsiteY15" fmla="*/ 3980735 h 4305538"/>
              <a:gd name="connsiteX16" fmla="*/ 0 w 4299585"/>
              <a:gd name="connsiteY16" fmla="*/ 3133010 h 4305538"/>
              <a:gd name="connsiteX17" fmla="*/ 0 w 4299585"/>
              <a:gd name="connsiteY17" fmla="*/ 2749153 h 4305538"/>
              <a:gd name="connsiteX18" fmla="*/ 114300 w 4299585"/>
              <a:gd name="connsiteY18" fmla="*/ 2634853 h 4305538"/>
              <a:gd name="connsiteX19" fmla="*/ 2413635 w 4299585"/>
              <a:gd name="connsiteY19" fmla="*/ 2428160 h 4305538"/>
              <a:gd name="connsiteX20" fmla="*/ 2413635 w 4299585"/>
              <a:gd name="connsiteY20" fmla="*/ 4076937 h 4305538"/>
              <a:gd name="connsiteX21" fmla="*/ 4062413 w 4299585"/>
              <a:gd name="connsiteY21" fmla="*/ 4076937 h 4305538"/>
              <a:gd name="connsiteX22" fmla="*/ 4062413 w 4299585"/>
              <a:gd name="connsiteY22" fmla="*/ 2428160 h 4305538"/>
              <a:gd name="connsiteX23" fmla="*/ 2299335 w 4299585"/>
              <a:gd name="connsiteY23" fmla="*/ 2199560 h 4305538"/>
              <a:gd name="connsiteX24" fmla="*/ 4176713 w 4299585"/>
              <a:gd name="connsiteY24" fmla="*/ 2199560 h 4305538"/>
              <a:gd name="connsiteX25" fmla="*/ 4291013 w 4299585"/>
              <a:gd name="connsiteY25" fmla="*/ 2313860 h 4305538"/>
              <a:gd name="connsiteX26" fmla="*/ 4291013 w 4299585"/>
              <a:gd name="connsiteY26" fmla="*/ 4191237 h 4305538"/>
              <a:gd name="connsiteX27" fmla="*/ 4176713 w 4299585"/>
              <a:gd name="connsiteY27" fmla="*/ 4305538 h 4305538"/>
              <a:gd name="connsiteX28" fmla="*/ 2299335 w 4299585"/>
              <a:gd name="connsiteY28" fmla="*/ 4305538 h 4305538"/>
              <a:gd name="connsiteX29" fmla="*/ 2185035 w 4299585"/>
              <a:gd name="connsiteY29" fmla="*/ 4191237 h 4305538"/>
              <a:gd name="connsiteX30" fmla="*/ 2185035 w 4299585"/>
              <a:gd name="connsiteY30" fmla="*/ 2313860 h 4305538"/>
              <a:gd name="connsiteX31" fmla="*/ 2299335 w 4299585"/>
              <a:gd name="connsiteY31" fmla="*/ 2199560 h 4305538"/>
              <a:gd name="connsiteX32" fmla="*/ 2000250 w 4299585"/>
              <a:gd name="connsiteY32" fmla="*/ 1877615 h 4305538"/>
              <a:gd name="connsiteX33" fmla="*/ 2081213 w 4299585"/>
              <a:gd name="connsiteY33" fmla="*/ 1910953 h 4305538"/>
              <a:gd name="connsiteX34" fmla="*/ 2114550 w 4299585"/>
              <a:gd name="connsiteY34" fmla="*/ 1991915 h 4305538"/>
              <a:gd name="connsiteX35" fmla="*/ 2081213 w 4299585"/>
              <a:gd name="connsiteY35" fmla="*/ 2072878 h 4305538"/>
              <a:gd name="connsiteX36" fmla="*/ 2000250 w 4299585"/>
              <a:gd name="connsiteY36" fmla="*/ 2106215 h 4305538"/>
              <a:gd name="connsiteX37" fmla="*/ 1919288 w 4299585"/>
              <a:gd name="connsiteY37" fmla="*/ 2072878 h 4305538"/>
              <a:gd name="connsiteX38" fmla="*/ 1885950 w 4299585"/>
              <a:gd name="connsiteY38" fmla="*/ 1991915 h 4305538"/>
              <a:gd name="connsiteX39" fmla="*/ 1919288 w 4299585"/>
              <a:gd name="connsiteY39" fmla="*/ 1910953 h 4305538"/>
              <a:gd name="connsiteX40" fmla="*/ 2000250 w 4299585"/>
              <a:gd name="connsiteY40" fmla="*/ 1877615 h 4305538"/>
              <a:gd name="connsiteX41" fmla="*/ 1530668 w 4299585"/>
              <a:gd name="connsiteY41" fmla="*/ 1877615 h 4305538"/>
              <a:gd name="connsiteX42" fmla="*/ 1644968 w 4299585"/>
              <a:gd name="connsiteY42" fmla="*/ 1991915 h 4305538"/>
              <a:gd name="connsiteX43" fmla="*/ 1530668 w 4299585"/>
              <a:gd name="connsiteY43" fmla="*/ 2106215 h 4305538"/>
              <a:gd name="connsiteX44" fmla="*/ 1416368 w 4299585"/>
              <a:gd name="connsiteY44" fmla="*/ 1991915 h 4305538"/>
              <a:gd name="connsiteX45" fmla="*/ 1530668 w 4299585"/>
              <a:gd name="connsiteY45" fmla="*/ 1877615 h 4305538"/>
              <a:gd name="connsiteX46" fmla="*/ 1062038 w 4299585"/>
              <a:gd name="connsiteY46" fmla="*/ 1877615 h 4305538"/>
              <a:gd name="connsiteX47" fmla="*/ 1176338 w 4299585"/>
              <a:gd name="connsiteY47" fmla="*/ 1991915 h 4305538"/>
              <a:gd name="connsiteX48" fmla="*/ 1062038 w 4299585"/>
              <a:gd name="connsiteY48" fmla="*/ 2106215 h 4305538"/>
              <a:gd name="connsiteX49" fmla="*/ 947738 w 4299585"/>
              <a:gd name="connsiteY49" fmla="*/ 1991915 h 4305538"/>
              <a:gd name="connsiteX50" fmla="*/ 1062038 w 4299585"/>
              <a:gd name="connsiteY50" fmla="*/ 1877615 h 4305538"/>
              <a:gd name="connsiteX51" fmla="*/ 592455 w 4299585"/>
              <a:gd name="connsiteY51" fmla="*/ 1877615 h 4305538"/>
              <a:gd name="connsiteX52" fmla="*/ 706755 w 4299585"/>
              <a:gd name="connsiteY52" fmla="*/ 1991915 h 4305538"/>
              <a:gd name="connsiteX53" fmla="*/ 592455 w 4299585"/>
              <a:gd name="connsiteY53" fmla="*/ 2106215 h 4305538"/>
              <a:gd name="connsiteX54" fmla="*/ 478155 w 4299585"/>
              <a:gd name="connsiteY54" fmla="*/ 1991915 h 4305538"/>
              <a:gd name="connsiteX55" fmla="*/ 592455 w 4299585"/>
              <a:gd name="connsiteY55" fmla="*/ 1877615 h 4305538"/>
              <a:gd name="connsiteX56" fmla="*/ 122873 w 4299585"/>
              <a:gd name="connsiteY56" fmla="*/ 1877615 h 4305538"/>
              <a:gd name="connsiteX57" fmla="*/ 203836 w 4299585"/>
              <a:gd name="connsiteY57" fmla="*/ 1910953 h 4305538"/>
              <a:gd name="connsiteX58" fmla="*/ 237173 w 4299585"/>
              <a:gd name="connsiteY58" fmla="*/ 1991915 h 4305538"/>
              <a:gd name="connsiteX59" fmla="*/ 203836 w 4299585"/>
              <a:gd name="connsiteY59" fmla="*/ 2072878 h 4305538"/>
              <a:gd name="connsiteX60" fmla="*/ 122873 w 4299585"/>
              <a:gd name="connsiteY60" fmla="*/ 2106215 h 4305538"/>
              <a:gd name="connsiteX61" fmla="*/ 41911 w 4299585"/>
              <a:gd name="connsiteY61" fmla="*/ 2072878 h 4305538"/>
              <a:gd name="connsiteX62" fmla="*/ 8573 w 4299585"/>
              <a:gd name="connsiteY62" fmla="*/ 1991915 h 4305538"/>
              <a:gd name="connsiteX63" fmla="*/ 41911 w 4299585"/>
              <a:gd name="connsiteY63" fmla="*/ 1910953 h 4305538"/>
              <a:gd name="connsiteX64" fmla="*/ 122873 w 4299585"/>
              <a:gd name="connsiteY64" fmla="*/ 1877615 h 4305538"/>
              <a:gd name="connsiteX65" fmla="*/ 2000250 w 4299585"/>
              <a:gd name="connsiteY65" fmla="*/ 1408985 h 4305538"/>
              <a:gd name="connsiteX66" fmla="*/ 2114550 w 4299585"/>
              <a:gd name="connsiteY66" fmla="*/ 1523285 h 4305538"/>
              <a:gd name="connsiteX67" fmla="*/ 2000250 w 4299585"/>
              <a:gd name="connsiteY67" fmla="*/ 1637585 h 4305538"/>
              <a:gd name="connsiteX68" fmla="*/ 1885950 w 4299585"/>
              <a:gd name="connsiteY68" fmla="*/ 1523285 h 4305538"/>
              <a:gd name="connsiteX69" fmla="*/ 2000250 w 4299585"/>
              <a:gd name="connsiteY69" fmla="*/ 1408985 h 4305538"/>
              <a:gd name="connsiteX70" fmla="*/ 122873 w 4299585"/>
              <a:gd name="connsiteY70" fmla="*/ 1408985 h 4305538"/>
              <a:gd name="connsiteX71" fmla="*/ 237173 w 4299585"/>
              <a:gd name="connsiteY71" fmla="*/ 1523285 h 4305538"/>
              <a:gd name="connsiteX72" fmla="*/ 122873 w 4299585"/>
              <a:gd name="connsiteY72" fmla="*/ 1637585 h 4305538"/>
              <a:gd name="connsiteX73" fmla="*/ 8573 w 4299585"/>
              <a:gd name="connsiteY73" fmla="*/ 1523285 h 4305538"/>
              <a:gd name="connsiteX74" fmla="*/ 122873 w 4299585"/>
              <a:gd name="connsiteY74" fmla="*/ 1408985 h 4305538"/>
              <a:gd name="connsiteX75" fmla="*/ 2000250 w 4299585"/>
              <a:gd name="connsiteY75" fmla="*/ 939403 h 4305538"/>
              <a:gd name="connsiteX76" fmla="*/ 2114550 w 4299585"/>
              <a:gd name="connsiteY76" fmla="*/ 1053703 h 4305538"/>
              <a:gd name="connsiteX77" fmla="*/ 2000250 w 4299585"/>
              <a:gd name="connsiteY77" fmla="*/ 1168003 h 4305538"/>
              <a:gd name="connsiteX78" fmla="*/ 1885950 w 4299585"/>
              <a:gd name="connsiteY78" fmla="*/ 1053703 h 4305538"/>
              <a:gd name="connsiteX79" fmla="*/ 2000250 w 4299585"/>
              <a:gd name="connsiteY79" fmla="*/ 939403 h 4305538"/>
              <a:gd name="connsiteX80" fmla="*/ 122873 w 4299585"/>
              <a:gd name="connsiteY80" fmla="*/ 939403 h 4305538"/>
              <a:gd name="connsiteX81" fmla="*/ 237173 w 4299585"/>
              <a:gd name="connsiteY81" fmla="*/ 1053703 h 4305538"/>
              <a:gd name="connsiteX82" fmla="*/ 122873 w 4299585"/>
              <a:gd name="connsiteY82" fmla="*/ 1168003 h 4305538"/>
              <a:gd name="connsiteX83" fmla="*/ 8573 w 4299585"/>
              <a:gd name="connsiteY83" fmla="*/ 1053703 h 4305538"/>
              <a:gd name="connsiteX84" fmla="*/ 122873 w 4299585"/>
              <a:gd name="connsiteY84" fmla="*/ 939403 h 4305538"/>
              <a:gd name="connsiteX85" fmla="*/ 122873 w 4299585"/>
              <a:gd name="connsiteY85" fmla="*/ 469822 h 4305538"/>
              <a:gd name="connsiteX86" fmla="*/ 237173 w 4299585"/>
              <a:gd name="connsiteY86" fmla="*/ 584121 h 4305538"/>
              <a:gd name="connsiteX87" fmla="*/ 122873 w 4299585"/>
              <a:gd name="connsiteY87" fmla="*/ 698421 h 4305538"/>
              <a:gd name="connsiteX88" fmla="*/ 8573 w 4299585"/>
              <a:gd name="connsiteY88" fmla="*/ 584121 h 4305538"/>
              <a:gd name="connsiteX89" fmla="*/ 122873 w 4299585"/>
              <a:gd name="connsiteY89" fmla="*/ 469822 h 4305538"/>
              <a:gd name="connsiteX90" fmla="*/ 2000250 w 4299585"/>
              <a:gd name="connsiteY90" fmla="*/ 469821 h 4305538"/>
              <a:gd name="connsiteX91" fmla="*/ 2114550 w 4299585"/>
              <a:gd name="connsiteY91" fmla="*/ 584121 h 4305538"/>
              <a:gd name="connsiteX92" fmla="*/ 2000250 w 4299585"/>
              <a:gd name="connsiteY92" fmla="*/ 698421 h 4305538"/>
              <a:gd name="connsiteX93" fmla="*/ 1885950 w 4299585"/>
              <a:gd name="connsiteY93" fmla="*/ 584121 h 4305538"/>
              <a:gd name="connsiteX94" fmla="*/ 2000250 w 4299585"/>
              <a:gd name="connsiteY94" fmla="*/ 469821 h 4305538"/>
              <a:gd name="connsiteX95" fmla="*/ 1530668 w 4299585"/>
              <a:gd name="connsiteY95" fmla="*/ 238 h 4305538"/>
              <a:gd name="connsiteX96" fmla="*/ 1644968 w 4299585"/>
              <a:gd name="connsiteY96" fmla="*/ 114539 h 4305538"/>
              <a:gd name="connsiteX97" fmla="*/ 1530668 w 4299585"/>
              <a:gd name="connsiteY97" fmla="*/ 228839 h 4305538"/>
              <a:gd name="connsiteX98" fmla="*/ 1416368 w 4299585"/>
              <a:gd name="connsiteY98" fmla="*/ 114539 h 4305538"/>
              <a:gd name="connsiteX99" fmla="*/ 1530668 w 4299585"/>
              <a:gd name="connsiteY99" fmla="*/ 238 h 4305538"/>
              <a:gd name="connsiteX100" fmla="*/ 1062038 w 4299585"/>
              <a:gd name="connsiteY100" fmla="*/ 238 h 4305538"/>
              <a:gd name="connsiteX101" fmla="*/ 1176338 w 4299585"/>
              <a:gd name="connsiteY101" fmla="*/ 114539 h 4305538"/>
              <a:gd name="connsiteX102" fmla="*/ 1062038 w 4299585"/>
              <a:gd name="connsiteY102" fmla="*/ 228839 h 4305538"/>
              <a:gd name="connsiteX103" fmla="*/ 947738 w 4299585"/>
              <a:gd name="connsiteY103" fmla="*/ 114539 h 4305538"/>
              <a:gd name="connsiteX104" fmla="*/ 1062038 w 4299585"/>
              <a:gd name="connsiteY104" fmla="*/ 238 h 4305538"/>
              <a:gd name="connsiteX105" fmla="*/ 122873 w 4299585"/>
              <a:gd name="connsiteY105" fmla="*/ 238 h 4305538"/>
              <a:gd name="connsiteX106" fmla="*/ 203836 w 4299585"/>
              <a:gd name="connsiteY106" fmla="*/ 33576 h 4305538"/>
              <a:gd name="connsiteX107" fmla="*/ 237173 w 4299585"/>
              <a:gd name="connsiteY107" fmla="*/ 114539 h 4305538"/>
              <a:gd name="connsiteX108" fmla="*/ 203836 w 4299585"/>
              <a:gd name="connsiteY108" fmla="*/ 195502 h 4305538"/>
              <a:gd name="connsiteX109" fmla="*/ 122873 w 4299585"/>
              <a:gd name="connsiteY109" fmla="*/ 228839 h 4305538"/>
              <a:gd name="connsiteX110" fmla="*/ 41911 w 4299585"/>
              <a:gd name="connsiteY110" fmla="*/ 195502 h 4305538"/>
              <a:gd name="connsiteX111" fmla="*/ 8573 w 4299585"/>
              <a:gd name="connsiteY111" fmla="*/ 114539 h 4305538"/>
              <a:gd name="connsiteX112" fmla="*/ 41911 w 4299585"/>
              <a:gd name="connsiteY112" fmla="*/ 33576 h 4305538"/>
              <a:gd name="connsiteX113" fmla="*/ 122873 w 4299585"/>
              <a:gd name="connsiteY113" fmla="*/ 238 h 4305538"/>
              <a:gd name="connsiteX114" fmla="*/ 2000250 w 4299585"/>
              <a:gd name="connsiteY114" fmla="*/ 238 h 4305538"/>
              <a:gd name="connsiteX115" fmla="*/ 2081213 w 4299585"/>
              <a:gd name="connsiteY115" fmla="*/ 33576 h 4305538"/>
              <a:gd name="connsiteX116" fmla="*/ 2114550 w 4299585"/>
              <a:gd name="connsiteY116" fmla="*/ 114539 h 4305538"/>
              <a:gd name="connsiteX117" fmla="*/ 2081213 w 4299585"/>
              <a:gd name="connsiteY117" fmla="*/ 195502 h 4305538"/>
              <a:gd name="connsiteX118" fmla="*/ 2000250 w 4299585"/>
              <a:gd name="connsiteY118" fmla="*/ 228839 h 4305538"/>
              <a:gd name="connsiteX119" fmla="*/ 1919288 w 4299585"/>
              <a:gd name="connsiteY119" fmla="*/ 195502 h 4305538"/>
              <a:gd name="connsiteX120" fmla="*/ 1885950 w 4299585"/>
              <a:gd name="connsiteY120" fmla="*/ 114539 h 4305538"/>
              <a:gd name="connsiteX121" fmla="*/ 1919288 w 4299585"/>
              <a:gd name="connsiteY121" fmla="*/ 33576 h 4305538"/>
              <a:gd name="connsiteX122" fmla="*/ 2000250 w 4299585"/>
              <a:gd name="connsiteY122" fmla="*/ 238 h 4305538"/>
              <a:gd name="connsiteX123" fmla="*/ 592455 w 4299585"/>
              <a:gd name="connsiteY123" fmla="*/ 238 h 4305538"/>
              <a:gd name="connsiteX124" fmla="*/ 706755 w 4299585"/>
              <a:gd name="connsiteY124" fmla="*/ 114538 h 4305538"/>
              <a:gd name="connsiteX125" fmla="*/ 592455 w 4299585"/>
              <a:gd name="connsiteY125" fmla="*/ 228838 h 4305538"/>
              <a:gd name="connsiteX126" fmla="*/ 478155 w 4299585"/>
              <a:gd name="connsiteY126" fmla="*/ 114538 h 4305538"/>
              <a:gd name="connsiteX127" fmla="*/ 592455 w 4299585"/>
              <a:gd name="connsiteY127" fmla="*/ 238 h 4305538"/>
              <a:gd name="connsiteX128" fmla="*/ 2973705 w 4299585"/>
              <a:gd name="connsiteY128" fmla="*/ 0 h 4305538"/>
              <a:gd name="connsiteX129" fmla="*/ 3054668 w 4299585"/>
              <a:gd name="connsiteY129" fmla="*/ 33576 h 4305538"/>
              <a:gd name="connsiteX130" fmla="*/ 3054668 w 4299585"/>
              <a:gd name="connsiteY130" fmla="*/ 195502 h 4305538"/>
              <a:gd name="connsiteX131" fmla="*/ 2925127 w 4299585"/>
              <a:gd name="connsiteY131" fmla="*/ 325041 h 4305538"/>
              <a:gd name="connsiteX132" fmla="*/ 3450908 w 4299585"/>
              <a:gd name="connsiteY132" fmla="*/ 325041 h 4305538"/>
              <a:gd name="connsiteX133" fmla="*/ 4299585 w 4299585"/>
              <a:gd name="connsiteY133" fmla="*/ 1172766 h 4305538"/>
              <a:gd name="connsiteX134" fmla="*/ 4299585 w 4299585"/>
              <a:gd name="connsiteY134" fmla="*/ 1556623 h 4305538"/>
              <a:gd name="connsiteX135" fmla="*/ 4185285 w 4299585"/>
              <a:gd name="connsiteY135" fmla="*/ 1670923 h 4305538"/>
              <a:gd name="connsiteX136" fmla="*/ 4070985 w 4299585"/>
              <a:gd name="connsiteY136" fmla="*/ 1556623 h 4305538"/>
              <a:gd name="connsiteX137" fmla="*/ 4070985 w 4299585"/>
              <a:gd name="connsiteY137" fmla="*/ 1172766 h 4305538"/>
              <a:gd name="connsiteX138" fmla="*/ 3451860 w 4299585"/>
              <a:gd name="connsiteY138" fmla="*/ 553642 h 4305538"/>
              <a:gd name="connsiteX139" fmla="*/ 2926080 w 4299585"/>
              <a:gd name="connsiteY139" fmla="*/ 553642 h 4305538"/>
              <a:gd name="connsiteX140" fmla="*/ 3055620 w 4299585"/>
              <a:gd name="connsiteY140" fmla="*/ 683181 h 4305538"/>
              <a:gd name="connsiteX141" fmla="*/ 3055620 w 4299585"/>
              <a:gd name="connsiteY141" fmla="*/ 845106 h 4305538"/>
              <a:gd name="connsiteX142" fmla="*/ 2974658 w 4299585"/>
              <a:gd name="connsiteY142" fmla="*/ 878443 h 4305538"/>
              <a:gd name="connsiteX143" fmla="*/ 2893695 w 4299585"/>
              <a:gd name="connsiteY143" fmla="*/ 845106 h 4305538"/>
              <a:gd name="connsiteX144" fmla="*/ 2568893 w 4299585"/>
              <a:gd name="connsiteY144" fmla="*/ 520303 h 4305538"/>
              <a:gd name="connsiteX145" fmla="*/ 2535555 w 4299585"/>
              <a:gd name="connsiteY145" fmla="*/ 439341 h 4305538"/>
              <a:gd name="connsiteX146" fmla="*/ 2568893 w 4299585"/>
              <a:gd name="connsiteY146" fmla="*/ 358379 h 4305538"/>
              <a:gd name="connsiteX147" fmla="*/ 2892743 w 4299585"/>
              <a:gd name="connsiteY147" fmla="*/ 33576 h 4305538"/>
              <a:gd name="connsiteX148" fmla="*/ 2973705 w 4299585"/>
              <a:gd name="connsiteY148" fmla="*/ 0 h 4305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4299585" h="4305538">
                <a:moveTo>
                  <a:pt x="114300" y="2634853"/>
                </a:moveTo>
                <a:cubicBezTo>
                  <a:pt x="177165" y="2634853"/>
                  <a:pt x="228600" y="2686288"/>
                  <a:pt x="228600" y="2749153"/>
                </a:cubicBezTo>
                <a:lnTo>
                  <a:pt x="228600" y="3133010"/>
                </a:lnTo>
                <a:cubicBezTo>
                  <a:pt x="228600" y="3474006"/>
                  <a:pt x="505778" y="3752135"/>
                  <a:pt x="847725" y="3752135"/>
                </a:cubicBezTo>
                <a:lnTo>
                  <a:pt x="1373505" y="3752135"/>
                </a:lnTo>
                <a:lnTo>
                  <a:pt x="1243965" y="3622596"/>
                </a:lnTo>
                <a:cubicBezTo>
                  <a:pt x="1199198" y="3577828"/>
                  <a:pt x="1199198" y="3505438"/>
                  <a:pt x="1243965" y="3460671"/>
                </a:cubicBezTo>
                <a:cubicBezTo>
                  <a:pt x="1288733" y="3415903"/>
                  <a:pt x="1361123" y="3415903"/>
                  <a:pt x="1405890" y="3460671"/>
                </a:cubicBezTo>
                <a:lnTo>
                  <a:pt x="1730692" y="3785473"/>
                </a:lnTo>
                <a:cubicBezTo>
                  <a:pt x="1775460" y="3830241"/>
                  <a:pt x="1775460" y="3902631"/>
                  <a:pt x="1730692" y="3947398"/>
                </a:cubicBezTo>
                <a:lnTo>
                  <a:pt x="1405890" y="4272201"/>
                </a:lnTo>
                <a:cubicBezTo>
                  <a:pt x="1383030" y="4294108"/>
                  <a:pt x="1354455" y="4305538"/>
                  <a:pt x="1324928" y="4305538"/>
                </a:cubicBezTo>
                <a:cubicBezTo>
                  <a:pt x="1295400" y="4305538"/>
                  <a:pt x="1265873" y="4294108"/>
                  <a:pt x="1243965" y="4272201"/>
                </a:cubicBezTo>
                <a:cubicBezTo>
                  <a:pt x="1199198" y="4227433"/>
                  <a:pt x="1199198" y="4155043"/>
                  <a:pt x="1243965" y="4110276"/>
                </a:cubicBezTo>
                <a:lnTo>
                  <a:pt x="1373505" y="3980735"/>
                </a:lnTo>
                <a:lnTo>
                  <a:pt x="847725" y="3980735"/>
                </a:lnTo>
                <a:cubicBezTo>
                  <a:pt x="380048" y="3980735"/>
                  <a:pt x="0" y="3600688"/>
                  <a:pt x="0" y="3133010"/>
                </a:cubicBezTo>
                <a:lnTo>
                  <a:pt x="0" y="2749153"/>
                </a:lnTo>
                <a:cubicBezTo>
                  <a:pt x="0" y="2686288"/>
                  <a:pt x="51435" y="2634853"/>
                  <a:pt x="114300" y="2634853"/>
                </a:cubicBezTo>
                <a:close/>
                <a:moveTo>
                  <a:pt x="2413635" y="2428160"/>
                </a:moveTo>
                <a:lnTo>
                  <a:pt x="2413635" y="4076937"/>
                </a:lnTo>
                <a:lnTo>
                  <a:pt x="4062413" y="4076937"/>
                </a:lnTo>
                <a:lnTo>
                  <a:pt x="4062413" y="2428160"/>
                </a:lnTo>
                <a:close/>
                <a:moveTo>
                  <a:pt x="2299335" y="2199560"/>
                </a:moveTo>
                <a:lnTo>
                  <a:pt x="4176713" y="2199560"/>
                </a:lnTo>
                <a:cubicBezTo>
                  <a:pt x="4239577" y="2199560"/>
                  <a:pt x="4291013" y="2250043"/>
                  <a:pt x="4291013" y="2313860"/>
                </a:cubicBezTo>
                <a:lnTo>
                  <a:pt x="4291013" y="4191237"/>
                </a:lnTo>
                <a:cubicBezTo>
                  <a:pt x="4291013" y="4254103"/>
                  <a:pt x="4239577" y="4305538"/>
                  <a:pt x="4176713" y="4305538"/>
                </a:cubicBezTo>
                <a:lnTo>
                  <a:pt x="2299335" y="4305538"/>
                </a:lnTo>
                <a:cubicBezTo>
                  <a:pt x="2236470" y="4305538"/>
                  <a:pt x="2185035" y="4254103"/>
                  <a:pt x="2185035" y="4191237"/>
                </a:cubicBezTo>
                <a:lnTo>
                  <a:pt x="2185035" y="2313860"/>
                </a:lnTo>
                <a:cubicBezTo>
                  <a:pt x="2185035" y="2250995"/>
                  <a:pt x="2236470" y="2199560"/>
                  <a:pt x="2299335" y="2199560"/>
                </a:cubicBezTo>
                <a:close/>
                <a:moveTo>
                  <a:pt x="2000250" y="1877615"/>
                </a:moveTo>
                <a:cubicBezTo>
                  <a:pt x="2030730" y="1877615"/>
                  <a:pt x="2060267" y="1889998"/>
                  <a:pt x="2081213" y="1910953"/>
                </a:cubicBezTo>
                <a:cubicBezTo>
                  <a:pt x="2102167" y="1931907"/>
                  <a:pt x="2114550" y="1961435"/>
                  <a:pt x="2114550" y="1991915"/>
                </a:cubicBezTo>
                <a:cubicBezTo>
                  <a:pt x="2114550" y="2022395"/>
                  <a:pt x="2102167" y="2051923"/>
                  <a:pt x="2081213" y="2072878"/>
                </a:cubicBezTo>
                <a:cubicBezTo>
                  <a:pt x="2060258" y="2093832"/>
                  <a:pt x="2030730" y="2106215"/>
                  <a:pt x="2000250" y="2106215"/>
                </a:cubicBezTo>
                <a:cubicBezTo>
                  <a:pt x="1969770" y="2106215"/>
                  <a:pt x="1940242" y="2093832"/>
                  <a:pt x="1919288" y="2072878"/>
                </a:cubicBezTo>
                <a:cubicBezTo>
                  <a:pt x="1898333" y="2051923"/>
                  <a:pt x="1885950" y="2021443"/>
                  <a:pt x="1885950" y="1991915"/>
                </a:cubicBezTo>
                <a:cubicBezTo>
                  <a:pt x="1885950" y="1961435"/>
                  <a:pt x="1898333" y="1931907"/>
                  <a:pt x="1919288" y="1910953"/>
                </a:cubicBezTo>
                <a:cubicBezTo>
                  <a:pt x="1940242" y="1889998"/>
                  <a:pt x="1969770" y="1877615"/>
                  <a:pt x="2000250" y="1877615"/>
                </a:cubicBezTo>
                <a:close/>
                <a:moveTo>
                  <a:pt x="1530668" y="1877615"/>
                </a:moveTo>
                <a:cubicBezTo>
                  <a:pt x="1593533" y="1877615"/>
                  <a:pt x="1644968" y="1929050"/>
                  <a:pt x="1644968" y="1991915"/>
                </a:cubicBezTo>
                <a:cubicBezTo>
                  <a:pt x="1644968" y="2054780"/>
                  <a:pt x="1593533" y="2106215"/>
                  <a:pt x="1530668" y="2106215"/>
                </a:cubicBezTo>
                <a:cubicBezTo>
                  <a:pt x="1467803" y="2106215"/>
                  <a:pt x="1416368" y="2055732"/>
                  <a:pt x="1416368" y="1991915"/>
                </a:cubicBezTo>
                <a:cubicBezTo>
                  <a:pt x="1416368" y="1929050"/>
                  <a:pt x="1467803" y="1877615"/>
                  <a:pt x="1530668" y="1877615"/>
                </a:cubicBezTo>
                <a:close/>
                <a:moveTo>
                  <a:pt x="1062038" y="1877615"/>
                </a:moveTo>
                <a:cubicBezTo>
                  <a:pt x="1124903" y="1877615"/>
                  <a:pt x="1176338" y="1929050"/>
                  <a:pt x="1176338" y="1991915"/>
                </a:cubicBezTo>
                <a:cubicBezTo>
                  <a:pt x="1176338" y="2054780"/>
                  <a:pt x="1124903" y="2106215"/>
                  <a:pt x="1062038" y="2106215"/>
                </a:cubicBezTo>
                <a:cubicBezTo>
                  <a:pt x="998221" y="2106215"/>
                  <a:pt x="947738" y="2055732"/>
                  <a:pt x="947738" y="1991915"/>
                </a:cubicBezTo>
                <a:cubicBezTo>
                  <a:pt x="947738" y="1929050"/>
                  <a:pt x="999173" y="1877615"/>
                  <a:pt x="1062038" y="1877615"/>
                </a:cubicBezTo>
                <a:close/>
                <a:moveTo>
                  <a:pt x="592455" y="1877615"/>
                </a:moveTo>
                <a:cubicBezTo>
                  <a:pt x="655320" y="1877615"/>
                  <a:pt x="706755" y="1929050"/>
                  <a:pt x="706755" y="1991915"/>
                </a:cubicBezTo>
                <a:cubicBezTo>
                  <a:pt x="706755" y="2054780"/>
                  <a:pt x="655320" y="2106215"/>
                  <a:pt x="592455" y="2106215"/>
                </a:cubicBezTo>
                <a:cubicBezTo>
                  <a:pt x="529590" y="2106215"/>
                  <a:pt x="478155" y="2055732"/>
                  <a:pt x="478155" y="1991915"/>
                </a:cubicBezTo>
                <a:cubicBezTo>
                  <a:pt x="478155" y="1929050"/>
                  <a:pt x="529590" y="1877615"/>
                  <a:pt x="592455" y="1877615"/>
                </a:cubicBezTo>
                <a:close/>
                <a:moveTo>
                  <a:pt x="122873" y="1877615"/>
                </a:moveTo>
                <a:cubicBezTo>
                  <a:pt x="153353" y="1877615"/>
                  <a:pt x="182880" y="1889998"/>
                  <a:pt x="203836" y="1910953"/>
                </a:cubicBezTo>
                <a:cubicBezTo>
                  <a:pt x="224791" y="1931907"/>
                  <a:pt x="237173" y="1961435"/>
                  <a:pt x="237173" y="1991915"/>
                </a:cubicBezTo>
                <a:cubicBezTo>
                  <a:pt x="237173" y="2022395"/>
                  <a:pt x="224791" y="2051923"/>
                  <a:pt x="203836" y="2072878"/>
                </a:cubicBezTo>
                <a:cubicBezTo>
                  <a:pt x="182880" y="2093832"/>
                  <a:pt x="153353" y="2106215"/>
                  <a:pt x="122873" y="2106215"/>
                </a:cubicBezTo>
                <a:cubicBezTo>
                  <a:pt x="92393" y="2106215"/>
                  <a:pt x="63818" y="2093832"/>
                  <a:pt x="41911" y="2072878"/>
                </a:cubicBezTo>
                <a:cubicBezTo>
                  <a:pt x="20956" y="2051923"/>
                  <a:pt x="8573" y="2021443"/>
                  <a:pt x="8573" y="1991915"/>
                </a:cubicBezTo>
                <a:cubicBezTo>
                  <a:pt x="8573" y="1961435"/>
                  <a:pt x="20956" y="1931907"/>
                  <a:pt x="41911" y="1910953"/>
                </a:cubicBezTo>
                <a:cubicBezTo>
                  <a:pt x="62866" y="1889998"/>
                  <a:pt x="92393" y="1877615"/>
                  <a:pt x="122873" y="1877615"/>
                </a:cubicBezTo>
                <a:close/>
                <a:moveTo>
                  <a:pt x="2000250" y="1408985"/>
                </a:moveTo>
                <a:cubicBezTo>
                  <a:pt x="2064067" y="1408985"/>
                  <a:pt x="2114550" y="1459468"/>
                  <a:pt x="2114550" y="1523285"/>
                </a:cubicBezTo>
                <a:cubicBezTo>
                  <a:pt x="2114550" y="1586150"/>
                  <a:pt x="2063115" y="1637585"/>
                  <a:pt x="2000250" y="1637585"/>
                </a:cubicBezTo>
                <a:cubicBezTo>
                  <a:pt x="1937385" y="1637585"/>
                  <a:pt x="1885950" y="1586150"/>
                  <a:pt x="1885950" y="1523285"/>
                </a:cubicBezTo>
                <a:cubicBezTo>
                  <a:pt x="1885950" y="1460420"/>
                  <a:pt x="1937385" y="1408985"/>
                  <a:pt x="2000250" y="1408985"/>
                </a:cubicBezTo>
                <a:close/>
                <a:moveTo>
                  <a:pt x="122873" y="1408985"/>
                </a:moveTo>
                <a:cubicBezTo>
                  <a:pt x="185738" y="1408985"/>
                  <a:pt x="237173" y="1460420"/>
                  <a:pt x="237173" y="1523285"/>
                </a:cubicBezTo>
                <a:cubicBezTo>
                  <a:pt x="237173" y="1586150"/>
                  <a:pt x="185738" y="1637585"/>
                  <a:pt x="122873" y="1637585"/>
                </a:cubicBezTo>
                <a:cubicBezTo>
                  <a:pt x="60008" y="1637585"/>
                  <a:pt x="8573" y="1586150"/>
                  <a:pt x="8573" y="1523285"/>
                </a:cubicBezTo>
                <a:cubicBezTo>
                  <a:pt x="8573" y="1460420"/>
                  <a:pt x="60008" y="1408985"/>
                  <a:pt x="122873" y="1408985"/>
                </a:cubicBezTo>
                <a:close/>
                <a:moveTo>
                  <a:pt x="2000250" y="939403"/>
                </a:moveTo>
                <a:cubicBezTo>
                  <a:pt x="2064067" y="939403"/>
                  <a:pt x="2114550" y="989886"/>
                  <a:pt x="2114550" y="1053703"/>
                </a:cubicBezTo>
                <a:cubicBezTo>
                  <a:pt x="2114550" y="1116568"/>
                  <a:pt x="2063115" y="1168003"/>
                  <a:pt x="2000250" y="1168003"/>
                </a:cubicBezTo>
                <a:cubicBezTo>
                  <a:pt x="1937385" y="1168003"/>
                  <a:pt x="1885950" y="1116568"/>
                  <a:pt x="1885950" y="1053703"/>
                </a:cubicBezTo>
                <a:cubicBezTo>
                  <a:pt x="1885950" y="990838"/>
                  <a:pt x="1937385" y="939403"/>
                  <a:pt x="2000250" y="939403"/>
                </a:cubicBezTo>
                <a:close/>
                <a:moveTo>
                  <a:pt x="122873" y="939403"/>
                </a:moveTo>
                <a:cubicBezTo>
                  <a:pt x="185738" y="939403"/>
                  <a:pt x="237173" y="990838"/>
                  <a:pt x="237173" y="1053703"/>
                </a:cubicBezTo>
                <a:cubicBezTo>
                  <a:pt x="237173" y="1116568"/>
                  <a:pt x="185738" y="1168003"/>
                  <a:pt x="122873" y="1168003"/>
                </a:cubicBezTo>
                <a:cubicBezTo>
                  <a:pt x="60008" y="1168003"/>
                  <a:pt x="8573" y="1116568"/>
                  <a:pt x="8573" y="1053703"/>
                </a:cubicBezTo>
                <a:cubicBezTo>
                  <a:pt x="8573" y="990838"/>
                  <a:pt x="60008" y="939403"/>
                  <a:pt x="122873" y="939403"/>
                </a:cubicBezTo>
                <a:close/>
                <a:moveTo>
                  <a:pt x="122873" y="469822"/>
                </a:moveTo>
                <a:cubicBezTo>
                  <a:pt x="185738" y="469822"/>
                  <a:pt x="237173" y="521256"/>
                  <a:pt x="237173" y="584121"/>
                </a:cubicBezTo>
                <a:cubicBezTo>
                  <a:pt x="237173" y="646985"/>
                  <a:pt x="185738" y="698421"/>
                  <a:pt x="122873" y="698421"/>
                </a:cubicBezTo>
                <a:cubicBezTo>
                  <a:pt x="60008" y="698421"/>
                  <a:pt x="8573" y="646985"/>
                  <a:pt x="8573" y="584121"/>
                </a:cubicBezTo>
                <a:cubicBezTo>
                  <a:pt x="8573" y="521256"/>
                  <a:pt x="60008" y="469822"/>
                  <a:pt x="122873" y="469822"/>
                </a:cubicBezTo>
                <a:close/>
                <a:moveTo>
                  <a:pt x="2000250" y="469821"/>
                </a:moveTo>
                <a:cubicBezTo>
                  <a:pt x="2064067" y="469821"/>
                  <a:pt x="2114550" y="521256"/>
                  <a:pt x="2114550" y="584121"/>
                </a:cubicBezTo>
                <a:cubicBezTo>
                  <a:pt x="2114550" y="646985"/>
                  <a:pt x="2063115" y="698421"/>
                  <a:pt x="2000250" y="698421"/>
                </a:cubicBezTo>
                <a:cubicBezTo>
                  <a:pt x="1937385" y="698421"/>
                  <a:pt x="1885950" y="646985"/>
                  <a:pt x="1885950" y="584121"/>
                </a:cubicBezTo>
                <a:cubicBezTo>
                  <a:pt x="1885950" y="521256"/>
                  <a:pt x="1937385" y="469821"/>
                  <a:pt x="2000250" y="469821"/>
                </a:cubicBezTo>
                <a:close/>
                <a:moveTo>
                  <a:pt x="1530668" y="238"/>
                </a:moveTo>
                <a:cubicBezTo>
                  <a:pt x="1593533" y="238"/>
                  <a:pt x="1644968" y="51674"/>
                  <a:pt x="1644968" y="114539"/>
                </a:cubicBezTo>
                <a:cubicBezTo>
                  <a:pt x="1644968" y="177404"/>
                  <a:pt x="1593533" y="228839"/>
                  <a:pt x="1530668" y="228839"/>
                </a:cubicBezTo>
                <a:cubicBezTo>
                  <a:pt x="1467803" y="228839"/>
                  <a:pt x="1416368" y="177404"/>
                  <a:pt x="1416368" y="114539"/>
                </a:cubicBezTo>
                <a:cubicBezTo>
                  <a:pt x="1416368" y="51674"/>
                  <a:pt x="1467803" y="238"/>
                  <a:pt x="1530668" y="238"/>
                </a:cubicBezTo>
                <a:close/>
                <a:moveTo>
                  <a:pt x="1062038" y="238"/>
                </a:moveTo>
                <a:cubicBezTo>
                  <a:pt x="1124903" y="238"/>
                  <a:pt x="1176338" y="51674"/>
                  <a:pt x="1176338" y="114539"/>
                </a:cubicBezTo>
                <a:cubicBezTo>
                  <a:pt x="1176338" y="177404"/>
                  <a:pt x="1124903" y="228839"/>
                  <a:pt x="1062038" y="228839"/>
                </a:cubicBezTo>
                <a:cubicBezTo>
                  <a:pt x="998221" y="228839"/>
                  <a:pt x="947738" y="177404"/>
                  <a:pt x="947738" y="114539"/>
                </a:cubicBezTo>
                <a:cubicBezTo>
                  <a:pt x="947738" y="51674"/>
                  <a:pt x="999173" y="238"/>
                  <a:pt x="1062038" y="238"/>
                </a:cubicBezTo>
                <a:close/>
                <a:moveTo>
                  <a:pt x="122873" y="238"/>
                </a:moveTo>
                <a:cubicBezTo>
                  <a:pt x="153353" y="238"/>
                  <a:pt x="182880" y="12621"/>
                  <a:pt x="203836" y="33576"/>
                </a:cubicBezTo>
                <a:cubicBezTo>
                  <a:pt x="224791" y="54531"/>
                  <a:pt x="237173" y="85011"/>
                  <a:pt x="237173" y="114539"/>
                </a:cubicBezTo>
                <a:cubicBezTo>
                  <a:pt x="237173" y="145019"/>
                  <a:pt x="224791" y="174547"/>
                  <a:pt x="203836" y="195502"/>
                </a:cubicBezTo>
                <a:cubicBezTo>
                  <a:pt x="182880" y="216457"/>
                  <a:pt x="153353" y="228839"/>
                  <a:pt x="122873" y="228839"/>
                </a:cubicBezTo>
                <a:cubicBezTo>
                  <a:pt x="92393" y="228839"/>
                  <a:pt x="63818" y="216457"/>
                  <a:pt x="41911" y="195502"/>
                </a:cubicBezTo>
                <a:cubicBezTo>
                  <a:pt x="20956" y="174547"/>
                  <a:pt x="8573" y="145019"/>
                  <a:pt x="8573" y="114539"/>
                </a:cubicBezTo>
                <a:cubicBezTo>
                  <a:pt x="8573" y="84058"/>
                  <a:pt x="20956" y="54531"/>
                  <a:pt x="41911" y="33576"/>
                </a:cubicBezTo>
                <a:cubicBezTo>
                  <a:pt x="62866" y="12621"/>
                  <a:pt x="92393" y="238"/>
                  <a:pt x="122873" y="238"/>
                </a:cubicBezTo>
                <a:close/>
                <a:moveTo>
                  <a:pt x="2000250" y="238"/>
                </a:moveTo>
                <a:cubicBezTo>
                  <a:pt x="2030730" y="238"/>
                  <a:pt x="2060258" y="12621"/>
                  <a:pt x="2081213" y="33576"/>
                </a:cubicBezTo>
                <a:cubicBezTo>
                  <a:pt x="2102167" y="54531"/>
                  <a:pt x="2114550" y="84058"/>
                  <a:pt x="2114550" y="114539"/>
                </a:cubicBezTo>
                <a:cubicBezTo>
                  <a:pt x="2114550" y="145019"/>
                  <a:pt x="2102167" y="174547"/>
                  <a:pt x="2081213" y="195502"/>
                </a:cubicBezTo>
                <a:cubicBezTo>
                  <a:pt x="2060258" y="216457"/>
                  <a:pt x="2030730" y="228839"/>
                  <a:pt x="2000250" y="228839"/>
                </a:cubicBezTo>
                <a:cubicBezTo>
                  <a:pt x="1969770" y="228839"/>
                  <a:pt x="1940242" y="216457"/>
                  <a:pt x="1919288" y="195502"/>
                </a:cubicBezTo>
                <a:cubicBezTo>
                  <a:pt x="1898333" y="174547"/>
                  <a:pt x="1885950" y="145019"/>
                  <a:pt x="1885950" y="114539"/>
                </a:cubicBezTo>
                <a:cubicBezTo>
                  <a:pt x="1885950" y="84058"/>
                  <a:pt x="1898333" y="54531"/>
                  <a:pt x="1919288" y="33576"/>
                </a:cubicBezTo>
                <a:cubicBezTo>
                  <a:pt x="1940242" y="12621"/>
                  <a:pt x="1970723" y="238"/>
                  <a:pt x="2000250" y="238"/>
                </a:cubicBezTo>
                <a:close/>
                <a:moveTo>
                  <a:pt x="592455" y="238"/>
                </a:moveTo>
                <a:cubicBezTo>
                  <a:pt x="655320" y="238"/>
                  <a:pt x="706755" y="51673"/>
                  <a:pt x="706755" y="114538"/>
                </a:cubicBezTo>
                <a:cubicBezTo>
                  <a:pt x="706755" y="177403"/>
                  <a:pt x="655320" y="228838"/>
                  <a:pt x="592455" y="228838"/>
                </a:cubicBezTo>
                <a:cubicBezTo>
                  <a:pt x="529590" y="228838"/>
                  <a:pt x="478155" y="177403"/>
                  <a:pt x="478155" y="114538"/>
                </a:cubicBezTo>
                <a:cubicBezTo>
                  <a:pt x="478155" y="51673"/>
                  <a:pt x="529590" y="238"/>
                  <a:pt x="592455" y="238"/>
                </a:cubicBezTo>
                <a:close/>
                <a:moveTo>
                  <a:pt x="2973705" y="0"/>
                </a:moveTo>
                <a:cubicBezTo>
                  <a:pt x="3002995" y="0"/>
                  <a:pt x="3032284" y="11192"/>
                  <a:pt x="3054668" y="33576"/>
                </a:cubicBezTo>
                <a:cubicBezTo>
                  <a:pt x="3099435" y="78343"/>
                  <a:pt x="3099435" y="150733"/>
                  <a:pt x="3054668" y="195502"/>
                </a:cubicBezTo>
                <a:lnTo>
                  <a:pt x="2925127" y="325041"/>
                </a:lnTo>
                <a:lnTo>
                  <a:pt x="3450908" y="325041"/>
                </a:lnTo>
                <a:cubicBezTo>
                  <a:pt x="3918585" y="325041"/>
                  <a:pt x="4299585" y="705088"/>
                  <a:pt x="4299585" y="1172766"/>
                </a:cubicBezTo>
                <a:lnTo>
                  <a:pt x="4299585" y="1556623"/>
                </a:lnTo>
                <a:cubicBezTo>
                  <a:pt x="4299585" y="1619488"/>
                  <a:pt x="4248150" y="1670923"/>
                  <a:pt x="4185285" y="1670923"/>
                </a:cubicBezTo>
                <a:cubicBezTo>
                  <a:pt x="4122420" y="1670923"/>
                  <a:pt x="4070985" y="1619488"/>
                  <a:pt x="4070985" y="1556623"/>
                </a:cubicBezTo>
                <a:lnTo>
                  <a:pt x="4070985" y="1172766"/>
                </a:lnTo>
                <a:cubicBezTo>
                  <a:pt x="4070985" y="831771"/>
                  <a:pt x="3793808" y="553642"/>
                  <a:pt x="3451860" y="553642"/>
                </a:cubicBezTo>
                <a:lnTo>
                  <a:pt x="2926080" y="553642"/>
                </a:lnTo>
                <a:lnTo>
                  <a:pt x="3055620" y="683181"/>
                </a:lnTo>
                <a:cubicBezTo>
                  <a:pt x="3100388" y="727948"/>
                  <a:pt x="3100388" y="800339"/>
                  <a:pt x="3055620" y="845106"/>
                </a:cubicBezTo>
                <a:cubicBezTo>
                  <a:pt x="3032760" y="867013"/>
                  <a:pt x="3004185" y="878443"/>
                  <a:pt x="2974658" y="878443"/>
                </a:cubicBezTo>
                <a:cubicBezTo>
                  <a:pt x="2945130" y="878443"/>
                  <a:pt x="2915602" y="867013"/>
                  <a:pt x="2893695" y="845106"/>
                </a:cubicBezTo>
                <a:lnTo>
                  <a:pt x="2568893" y="520303"/>
                </a:lnTo>
                <a:cubicBezTo>
                  <a:pt x="2547938" y="498397"/>
                  <a:pt x="2535555" y="469822"/>
                  <a:pt x="2535555" y="439341"/>
                </a:cubicBezTo>
                <a:cubicBezTo>
                  <a:pt x="2535555" y="408861"/>
                  <a:pt x="2546985" y="380286"/>
                  <a:pt x="2568893" y="358379"/>
                </a:cubicBezTo>
                <a:lnTo>
                  <a:pt x="2892743" y="33576"/>
                </a:lnTo>
                <a:cubicBezTo>
                  <a:pt x="2915127" y="11192"/>
                  <a:pt x="2944416" y="0"/>
                  <a:pt x="2973705" y="0"/>
                </a:cubicBezTo>
                <a:close/>
              </a:path>
            </a:pathLst>
          </a:custGeom>
          <a:solidFill>
            <a:schemeClr val="tx2"/>
          </a:solidFill>
          <a:ln w="9525" cap="flat">
            <a:noFill/>
            <a:prstDash val="solid"/>
            <a:miter/>
          </a:ln>
        </p:spPr>
        <p:txBody>
          <a:bodyPr rtlCol="0" anchor="ctr"/>
          <a:lstStyle/>
          <a:p>
            <a:endParaRPr lang="en-US"/>
          </a:p>
        </p:txBody>
      </p:sp>
      <p:sp>
        <p:nvSpPr>
          <p:cNvPr id="10" name="Rectangle 12">
            <a:extLst>
              <a:ext uri="{FF2B5EF4-FFF2-40B4-BE49-F238E27FC236}">
                <a16:creationId xmlns:a16="http://schemas.microsoft.com/office/drawing/2014/main" id="{48827EE8-F9CF-BF47-872D-3261A20FF9D2}"/>
              </a:ext>
            </a:extLst>
          </p:cNvPr>
          <p:cNvSpPr/>
          <p:nvPr userDrawn="1"/>
        </p:nvSpPr>
        <p:spPr>
          <a:xfrm>
            <a:off x="9457764" y="6579030"/>
            <a:ext cx="2734235" cy="278969"/>
          </a:xfrm>
          <a:prstGeom prst="rect">
            <a:avLst/>
          </a:prstGeom>
          <a:solidFill>
            <a:schemeClr val="tx1">
              <a:lumMod val="75000"/>
            </a:schemeClr>
          </a:solidFill>
        </p:spPr>
        <p:txBody>
          <a:bodyPr wrap="square" lIns="0" tIns="0" rIns="0" bIns="0" rtlCol="0" anchor="ctr" anchorCtr="0">
            <a:noAutofit/>
          </a:bodyPr>
          <a:lstStyle/>
          <a:p>
            <a:pPr algn="ctr"/>
            <a:r>
              <a:rPr lang="en-US" sz="800" b="1">
                <a:solidFill>
                  <a:schemeClr val="bg1"/>
                </a:solidFill>
                <a:cs typeface="Arial" panose="020B0604020202020204" pitchFamily="34" charset="0"/>
              </a:rPr>
              <a:t>GESTIÓN DEL CAMBIO</a:t>
            </a:r>
          </a:p>
        </p:txBody>
      </p:sp>
    </p:spTree>
    <p:extLst>
      <p:ext uri="{BB962C8B-B14F-4D97-AF65-F5344CB8AC3E}">
        <p14:creationId xmlns:p14="http://schemas.microsoft.com/office/powerpoint/2010/main" val="262120692"/>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34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423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mplate Propuesta 2022 - Soporte y Mantenimiento">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50040F2E-A856-F74D-B747-8F63180F396D}"/>
              </a:ext>
            </a:extLst>
          </p:cNvPr>
          <p:cNvSpPr>
            <a:spLocks noGrp="1"/>
          </p:cNvSpPr>
          <p:nvPr>
            <p:ph type="title"/>
          </p:nvPr>
        </p:nvSpPr>
        <p:spPr>
          <a:xfrm>
            <a:off x="1138892" y="36122"/>
            <a:ext cx="10610449" cy="276999"/>
          </a:xfrm>
        </p:spPr>
        <p:txBody>
          <a:bodyPr wrap="square" lIns="0" anchor="t">
            <a:noAutofit/>
          </a:bodyPr>
          <a:lstStyle>
            <a:lvl1pPr>
              <a:defRPr lang="es-ES_tradnl" cap="all" baseline="0" noProof="0" dirty="0"/>
            </a:lvl1pPr>
          </a:lstStyle>
          <a:p>
            <a:pPr lvl="0"/>
            <a:r>
              <a:rPr lang="es-ES_tradnl" noProof="0"/>
              <a:t>Haga clic para modificar el estilo de título del patrón</a:t>
            </a:r>
          </a:p>
        </p:txBody>
      </p:sp>
      <p:sp>
        <p:nvSpPr>
          <p:cNvPr id="7" name="Marcador de texto 5">
            <a:extLst>
              <a:ext uri="{FF2B5EF4-FFF2-40B4-BE49-F238E27FC236}">
                <a16:creationId xmlns:a16="http://schemas.microsoft.com/office/drawing/2014/main" id="{CC6303D6-D0FC-984A-8419-A50470327A59}"/>
              </a:ext>
            </a:extLst>
          </p:cNvPr>
          <p:cNvSpPr>
            <a:spLocks noGrp="1"/>
          </p:cNvSpPr>
          <p:nvPr>
            <p:ph type="body" sz="quarter" idx="10"/>
          </p:nvPr>
        </p:nvSpPr>
        <p:spPr>
          <a:xfrm>
            <a:off x="442659" y="671500"/>
            <a:ext cx="11306682" cy="5741999"/>
          </a:xfrm>
        </p:spPr>
        <p:txBody>
          <a:bodyPr/>
          <a:lstStyle/>
          <a:p>
            <a:pPr lvl="0"/>
            <a:r>
              <a:rPr lang="es-ES_tradnl" noProof="0"/>
              <a:t>Haga clic para modificar los estilos de texto del patrón</a:t>
            </a:r>
          </a:p>
          <a:p>
            <a:pPr lvl="1"/>
            <a:r>
              <a:rPr lang="es-ES_tradnl" noProof="0"/>
              <a:t>Segundo nivel</a:t>
            </a:r>
          </a:p>
          <a:p>
            <a:pPr lvl="2"/>
            <a:r>
              <a:rPr lang="es-ES_tradnl" noProof="0"/>
              <a:t>Tercer nivel</a:t>
            </a:r>
          </a:p>
          <a:p>
            <a:pPr lvl="3"/>
            <a:r>
              <a:rPr lang="es-ES_tradnl" noProof="0"/>
              <a:t>Cuarto nivel</a:t>
            </a:r>
          </a:p>
          <a:p>
            <a:pPr lvl="4"/>
            <a:r>
              <a:rPr lang="es-ES_tradnl" noProof="0"/>
              <a:t>Quinto nivel</a:t>
            </a:r>
          </a:p>
        </p:txBody>
      </p:sp>
      <p:sp>
        <p:nvSpPr>
          <p:cNvPr id="4" name="Marcador de texto 4">
            <a:extLst>
              <a:ext uri="{FF2B5EF4-FFF2-40B4-BE49-F238E27FC236}">
                <a16:creationId xmlns:a16="http://schemas.microsoft.com/office/drawing/2014/main" id="{DED7AFAC-0516-FB48-9E02-44CC62A80883}"/>
              </a:ext>
            </a:extLst>
          </p:cNvPr>
          <p:cNvSpPr>
            <a:spLocks noGrp="1"/>
          </p:cNvSpPr>
          <p:nvPr>
            <p:ph type="body" sz="quarter" idx="11"/>
          </p:nvPr>
        </p:nvSpPr>
        <p:spPr>
          <a:xfrm>
            <a:off x="1138639" y="290195"/>
            <a:ext cx="10610449" cy="217488"/>
          </a:xfrm>
        </p:spPr>
        <p:txBody>
          <a:bodyPr/>
          <a:lstStyle>
            <a:lvl1pPr>
              <a:defRPr sz="1200">
                <a:solidFill>
                  <a:schemeClr val="tx2"/>
                </a:solidFill>
              </a:defRPr>
            </a:lvl1pPr>
          </a:lstStyle>
          <a:p>
            <a:pPr lvl="0"/>
            <a:r>
              <a:rPr lang="es-ES_tradnl" noProof="0"/>
              <a:t>Haga clic para modificar los estilos de texto del patrón</a:t>
            </a:r>
          </a:p>
        </p:txBody>
      </p:sp>
      <p:sp>
        <p:nvSpPr>
          <p:cNvPr id="9" name="Rectángulo 8">
            <a:extLst>
              <a:ext uri="{FF2B5EF4-FFF2-40B4-BE49-F238E27FC236}">
                <a16:creationId xmlns:a16="http://schemas.microsoft.com/office/drawing/2014/main" id="{9D31E6A8-7FC5-D346-B913-27F3CB84C0BF}"/>
              </a:ext>
            </a:extLst>
          </p:cNvPr>
          <p:cNvSpPr/>
          <p:nvPr userDrawn="1"/>
        </p:nvSpPr>
        <p:spPr bwMode="auto">
          <a:xfrm>
            <a:off x="596159" y="67814"/>
            <a:ext cx="405613" cy="405613"/>
          </a:xfrm>
          <a:prstGeom prst="rect">
            <a:avLst/>
          </a:prstGeom>
          <a:solidFill>
            <a:schemeClr val="bg1"/>
          </a:solidFill>
          <a:ln w="25400" cap="flat">
            <a:solidFill>
              <a:schemeClr val="accent1"/>
            </a:solidFill>
            <a:miter lim="800000"/>
          </a:ln>
        </p:spPr>
        <p:txBody>
          <a:bodyPr lIns="0" tIns="0" rIns="0" bIns="0" rtlCol="0" anchor="ctr">
            <a:noAutofit/>
          </a:bodyPr>
          <a:lstStyle/>
          <a:p>
            <a:pPr algn="ctr"/>
            <a:endParaRPr lang="es-ES_tradnl" sz="1400" noProof="0"/>
          </a:p>
        </p:txBody>
      </p:sp>
      <p:sp>
        <p:nvSpPr>
          <p:cNvPr id="10" name="Freeform 6">
            <a:extLst>
              <a:ext uri="{FF2B5EF4-FFF2-40B4-BE49-F238E27FC236}">
                <a16:creationId xmlns:a16="http://schemas.microsoft.com/office/drawing/2014/main" id="{7E7560EB-BA7B-B74B-8DBE-127A6286F043}"/>
              </a:ext>
            </a:extLst>
          </p:cNvPr>
          <p:cNvSpPr>
            <a:spLocks noEditPoints="1"/>
          </p:cNvSpPr>
          <p:nvPr userDrawn="1"/>
        </p:nvSpPr>
        <p:spPr bwMode="auto">
          <a:xfrm>
            <a:off x="657650" y="118442"/>
            <a:ext cx="282630" cy="293154"/>
          </a:xfrm>
          <a:custGeom>
            <a:avLst/>
            <a:gdLst/>
            <a:ahLst/>
            <a:cxnLst>
              <a:cxn ang="0">
                <a:pos x="2121" y="4731"/>
              </a:cxn>
              <a:cxn ang="0">
                <a:pos x="2745" y="4673"/>
              </a:cxn>
              <a:cxn ang="0">
                <a:pos x="2607" y="4501"/>
              </a:cxn>
              <a:cxn ang="0">
                <a:pos x="3037" y="1332"/>
              </a:cxn>
              <a:cxn ang="0">
                <a:pos x="3387" y="1437"/>
              </a:cxn>
              <a:cxn ang="0">
                <a:pos x="3282" y="1087"/>
              </a:cxn>
              <a:cxn ang="0">
                <a:pos x="1863" y="1175"/>
              </a:cxn>
              <a:cxn ang="0">
                <a:pos x="1084" y="1762"/>
              </a:cxn>
              <a:cxn ang="0">
                <a:pos x="718" y="3281"/>
              </a:cxn>
              <a:cxn ang="0">
                <a:pos x="147" y="3330"/>
              </a:cxn>
              <a:cxn ang="0">
                <a:pos x="55" y="2326"/>
              </a:cxn>
              <a:cxn ang="0">
                <a:pos x="394" y="2251"/>
              </a:cxn>
              <a:cxn ang="0">
                <a:pos x="231" y="2516"/>
              </a:cxn>
              <a:cxn ang="0">
                <a:pos x="502" y="2580"/>
              </a:cxn>
              <a:cxn ang="0">
                <a:pos x="1081" y="1417"/>
              </a:cxn>
              <a:cxn ang="0">
                <a:pos x="3367" y="870"/>
              </a:cxn>
              <a:cxn ang="0">
                <a:pos x="3660" y="1417"/>
              </a:cxn>
              <a:cxn ang="0">
                <a:pos x="3114" y="1712"/>
              </a:cxn>
              <a:cxn ang="0">
                <a:pos x="2820" y="1164"/>
              </a:cxn>
              <a:cxn ang="0">
                <a:pos x="3193" y="233"/>
              </a:cxn>
              <a:cxn ang="0">
                <a:pos x="2861" y="633"/>
              </a:cxn>
              <a:cxn ang="0">
                <a:pos x="2348" y="721"/>
              </a:cxn>
              <a:cxn ang="0">
                <a:pos x="2495" y="1140"/>
              </a:cxn>
              <a:cxn ang="0">
                <a:pos x="2276" y="1712"/>
              </a:cxn>
              <a:cxn ang="0">
                <a:pos x="2691" y="1835"/>
              </a:cxn>
              <a:cxn ang="0">
                <a:pos x="3076" y="2108"/>
              </a:cxn>
              <a:cxn ang="0">
                <a:pos x="3410" y="2082"/>
              </a:cxn>
              <a:cxn ang="0">
                <a:pos x="3815" y="1830"/>
              </a:cxn>
              <a:cxn ang="0">
                <a:pos x="4212" y="1687"/>
              </a:cxn>
              <a:cxn ang="0">
                <a:pos x="3983" y="1113"/>
              </a:cxn>
              <a:cxn ang="0">
                <a:pos x="4109" y="689"/>
              </a:cxn>
              <a:cxn ang="0">
                <a:pos x="3553" y="599"/>
              </a:cxn>
              <a:cxn ang="0">
                <a:pos x="3241" y="232"/>
              </a:cxn>
              <a:cxn ang="0">
                <a:pos x="3608" y="195"/>
              </a:cxn>
              <a:cxn ang="0">
                <a:pos x="4152" y="427"/>
              </a:cxn>
              <a:cxn ang="0">
                <a:pos x="4443" y="899"/>
              </a:cxn>
              <a:cxn ang="0">
                <a:pos x="4373" y="1520"/>
              </a:cxn>
              <a:cxn ang="0">
                <a:pos x="4326" y="1984"/>
              </a:cxn>
              <a:cxn ang="0">
                <a:pos x="4352" y="2935"/>
              </a:cxn>
              <a:cxn ang="0">
                <a:pos x="4600" y="2516"/>
              </a:cxn>
              <a:cxn ang="0">
                <a:pos x="4437" y="2277"/>
              </a:cxn>
              <a:cxn ang="0">
                <a:pos x="4750" y="2286"/>
              </a:cxn>
              <a:cxn ang="0">
                <a:pos x="4730" y="3294"/>
              </a:cxn>
              <a:cxn ang="0">
                <a:pos x="4009" y="3925"/>
              </a:cxn>
              <a:cxn ang="0">
                <a:pos x="2979" y="4673"/>
              </a:cxn>
              <a:cxn ang="0">
                <a:pos x="2232" y="5013"/>
              </a:cxn>
              <a:cxn ang="0">
                <a:pos x="1858" y="4642"/>
              </a:cxn>
              <a:cxn ang="0">
                <a:pos x="2232" y="4271"/>
              </a:cxn>
              <a:cxn ang="0">
                <a:pos x="3245" y="4313"/>
              </a:cxn>
              <a:cxn ang="0">
                <a:pos x="4029" y="3385"/>
              </a:cxn>
              <a:cxn ang="0">
                <a:pos x="3989" y="2147"/>
              </a:cxn>
              <a:cxn ang="0">
                <a:pos x="3463" y="2545"/>
              </a:cxn>
              <a:cxn ang="0">
                <a:pos x="2913" y="2480"/>
              </a:cxn>
              <a:cxn ang="0">
                <a:pos x="2374" y="2167"/>
              </a:cxn>
              <a:cxn ang="0">
                <a:pos x="2043" y="1731"/>
              </a:cxn>
              <a:cxn ang="0">
                <a:pos x="2252" y="1350"/>
              </a:cxn>
              <a:cxn ang="0">
                <a:pos x="2052" y="808"/>
              </a:cxn>
              <a:cxn ang="0">
                <a:pos x="2409" y="408"/>
              </a:cxn>
              <a:cxn ang="0">
                <a:pos x="2940" y="75"/>
              </a:cxn>
            </a:cxnLst>
            <a:rect l="0" t="0" r="r" b="b"/>
            <a:pathLst>
              <a:path w="4832" h="5013">
                <a:moveTo>
                  <a:pt x="2232" y="4501"/>
                </a:moveTo>
                <a:lnTo>
                  <a:pt x="2198" y="4505"/>
                </a:lnTo>
                <a:lnTo>
                  <a:pt x="2169" y="4516"/>
                </a:lnTo>
                <a:lnTo>
                  <a:pt x="2143" y="4531"/>
                </a:lnTo>
                <a:lnTo>
                  <a:pt x="2121" y="4554"/>
                </a:lnTo>
                <a:lnTo>
                  <a:pt x="2104" y="4580"/>
                </a:lnTo>
                <a:lnTo>
                  <a:pt x="2093" y="4609"/>
                </a:lnTo>
                <a:lnTo>
                  <a:pt x="2090" y="4642"/>
                </a:lnTo>
                <a:lnTo>
                  <a:pt x="2093" y="4674"/>
                </a:lnTo>
                <a:lnTo>
                  <a:pt x="2104" y="4703"/>
                </a:lnTo>
                <a:lnTo>
                  <a:pt x="2121" y="4731"/>
                </a:lnTo>
                <a:lnTo>
                  <a:pt x="2143" y="4752"/>
                </a:lnTo>
                <a:lnTo>
                  <a:pt x="2169" y="4769"/>
                </a:lnTo>
                <a:lnTo>
                  <a:pt x="2198" y="4780"/>
                </a:lnTo>
                <a:lnTo>
                  <a:pt x="2232" y="4783"/>
                </a:lnTo>
                <a:lnTo>
                  <a:pt x="2607" y="4783"/>
                </a:lnTo>
                <a:lnTo>
                  <a:pt x="2640" y="4780"/>
                </a:lnTo>
                <a:lnTo>
                  <a:pt x="2669" y="4769"/>
                </a:lnTo>
                <a:lnTo>
                  <a:pt x="2695" y="4751"/>
                </a:lnTo>
                <a:lnTo>
                  <a:pt x="2718" y="4729"/>
                </a:lnTo>
                <a:lnTo>
                  <a:pt x="2735" y="4702"/>
                </a:lnTo>
                <a:lnTo>
                  <a:pt x="2745" y="4673"/>
                </a:lnTo>
                <a:lnTo>
                  <a:pt x="2748" y="4641"/>
                </a:lnTo>
                <a:lnTo>
                  <a:pt x="2748" y="4626"/>
                </a:lnTo>
                <a:lnTo>
                  <a:pt x="2747" y="4612"/>
                </a:lnTo>
                <a:lnTo>
                  <a:pt x="2745" y="4610"/>
                </a:lnTo>
                <a:lnTo>
                  <a:pt x="2745" y="4609"/>
                </a:lnTo>
                <a:lnTo>
                  <a:pt x="2735" y="4578"/>
                </a:lnTo>
                <a:lnTo>
                  <a:pt x="2718" y="4552"/>
                </a:lnTo>
                <a:lnTo>
                  <a:pt x="2697" y="4531"/>
                </a:lnTo>
                <a:lnTo>
                  <a:pt x="2669" y="4514"/>
                </a:lnTo>
                <a:lnTo>
                  <a:pt x="2640" y="4505"/>
                </a:lnTo>
                <a:lnTo>
                  <a:pt x="2607" y="4501"/>
                </a:lnTo>
                <a:lnTo>
                  <a:pt x="2232" y="4501"/>
                </a:lnTo>
                <a:close/>
                <a:moveTo>
                  <a:pt x="3241" y="1082"/>
                </a:moveTo>
                <a:lnTo>
                  <a:pt x="3198" y="1087"/>
                </a:lnTo>
                <a:lnTo>
                  <a:pt x="3160" y="1099"/>
                </a:lnTo>
                <a:lnTo>
                  <a:pt x="3123" y="1119"/>
                </a:lnTo>
                <a:lnTo>
                  <a:pt x="3093" y="1143"/>
                </a:lnTo>
                <a:lnTo>
                  <a:pt x="3067" y="1175"/>
                </a:lnTo>
                <a:lnTo>
                  <a:pt x="3049" y="1210"/>
                </a:lnTo>
                <a:lnTo>
                  <a:pt x="3037" y="1248"/>
                </a:lnTo>
                <a:lnTo>
                  <a:pt x="3032" y="1291"/>
                </a:lnTo>
                <a:lnTo>
                  <a:pt x="3037" y="1332"/>
                </a:lnTo>
                <a:lnTo>
                  <a:pt x="3049" y="1372"/>
                </a:lnTo>
                <a:lnTo>
                  <a:pt x="3067" y="1407"/>
                </a:lnTo>
                <a:lnTo>
                  <a:pt x="3093" y="1437"/>
                </a:lnTo>
                <a:lnTo>
                  <a:pt x="3123" y="1463"/>
                </a:lnTo>
                <a:lnTo>
                  <a:pt x="3160" y="1483"/>
                </a:lnTo>
                <a:lnTo>
                  <a:pt x="3198" y="1495"/>
                </a:lnTo>
                <a:lnTo>
                  <a:pt x="3241" y="1500"/>
                </a:lnTo>
                <a:lnTo>
                  <a:pt x="3282" y="1495"/>
                </a:lnTo>
                <a:lnTo>
                  <a:pt x="3322" y="1483"/>
                </a:lnTo>
                <a:lnTo>
                  <a:pt x="3357" y="1463"/>
                </a:lnTo>
                <a:lnTo>
                  <a:pt x="3387" y="1437"/>
                </a:lnTo>
                <a:lnTo>
                  <a:pt x="3413" y="1407"/>
                </a:lnTo>
                <a:lnTo>
                  <a:pt x="3433" y="1372"/>
                </a:lnTo>
                <a:lnTo>
                  <a:pt x="3445" y="1332"/>
                </a:lnTo>
                <a:lnTo>
                  <a:pt x="3448" y="1291"/>
                </a:lnTo>
                <a:lnTo>
                  <a:pt x="3445" y="1248"/>
                </a:lnTo>
                <a:lnTo>
                  <a:pt x="3433" y="1210"/>
                </a:lnTo>
                <a:lnTo>
                  <a:pt x="3413" y="1175"/>
                </a:lnTo>
                <a:lnTo>
                  <a:pt x="3387" y="1143"/>
                </a:lnTo>
                <a:lnTo>
                  <a:pt x="3357" y="1119"/>
                </a:lnTo>
                <a:lnTo>
                  <a:pt x="3322" y="1099"/>
                </a:lnTo>
                <a:lnTo>
                  <a:pt x="3282" y="1087"/>
                </a:lnTo>
                <a:lnTo>
                  <a:pt x="3241" y="1082"/>
                </a:lnTo>
                <a:close/>
                <a:moveTo>
                  <a:pt x="1771" y="1003"/>
                </a:moveTo>
                <a:lnTo>
                  <a:pt x="1796" y="1007"/>
                </a:lnTo>
                <a:lnTo>
                  <a:pt x="1819" y="1018"/>
                </a:lnTo>
                <a:lnTo>
                  <a:pt x="1840" y="1033"/>
                </a:lnTo>
                <a:lnTo>
                  <a:pt x="1857" y="1053"/>
                </a:lnTo>
                <a:lnTo>
                  <a:pt x="1869" y="1076"/>
                </a:lnTo>
                <a:lnTo>
                  <a:pt x="1875" y="1102"/>
                </a:lnTo>
                <a:lnTo>
                  <a:pt x="1877" y="1128"/>
                </a:lnTo>
                <a:lnTo>
                  <a:pt x="1872" y="1152"/>
                </a:lnTo>
                <a:lnTo>
                  <a:pt x="1863" y="1175"/>
                </a:lnTo>
                <a:lnTo>
                  <a:pt x="1848" y="1196"/>
                </a:lnTo>
                <a:lnTo>
                  <a:pt x="1829" y="1213"/>
                </a:lnTo>
                <a:lnTo>
                  <a:pt x="1805" y="1225"/>
                </a:lnTo>
                <a:lnTo>
                  <a:pt x="1698" y="1271"/>
                </a:lnTo>
                <a:lnTo>
                  <a:pt x="1596" y="1323"/>
                </a:lnTo>
                <a:lnTo>
                  <a:pt x="1499" y="1382"/>
                </a:lnTo>
                <a:lnTo>
                  <a:pt x="1406" y="1448"/>
                </a:lnTo>
                <a:lnTo>
                  <a:pt x="1317" y="1518"/>
                </a:lnTo>
                <a:lnTo>
                  <a:pt x="1233" y="1594"/>
                </a:lnTo>
                <a:lnTo>
                  <a:pt x="1156" y="1677"/>
                </a:lnTo>
                <a:lnTo>
                  <a:pt x="1084" y="1762"/>
                </a:lnTo>
                <a:lnTo>
                  <a:pt x="1017" y="1853"/>
                </a:lnTo>
                <a:lnTo>
                  <a:pt x="958" y="1948"/>
                </a:lnTo>
                <a:lnTo>
                  <a:pt x="903" y="2047"/>
                </a:lnTo>
                <a:lnTo>
                  <a:pt x="856" y="2149"/>
                </a:lnTo>
                <a:lnTo>
                  <a:pt x="814" y="2254"/>
                </a:lnTo>
                <a:lnTo>
                  <a:pt x="781" y="2362"/>
                </a:lnTo>
                <a:lnTo>
                  <a:pt x="753" y="2474"/>
                </a:lnTo>
                <a:lnTo>
                  <a:pt x="734" y="2586"/>
                </a:lnTo>
                <a:lnTo>
                  <a:pt x="723" y="2701"/>
                </a:lnTo>
                <a:lnTo>
                  <a:pt x="718" y="2817"/>
                </a:lnTo>
                <a:lnTo>
                  <a:pt x="718" y="3281"/>
                </a:lnTo>
                <a:lnTo>
                  <a:pt x="714" y="3313"/>
                </a:lnTo>
                <a:lnTo>
                  <a:pt x="702" y="3341"/>
                </a:lnTo>
                <a:lnTo>
                  <a:pt x="682" y="3364"/>
                </a:lnTo>
                <a:lnTo>
                  <a:pt x="657" y="3383"/>
                </a:lnTo>
                <a:lnTo>
                  <a:pt x="628" y="3394"/>
                </a:lnTo>
                <a:lnTo>
                  <a:pt x="598" y="3399"/>
                </a:lnTo>
                <a:lnTo>
                  <a:pt x="357" y="3399"/>
                </a:lnTo>
                <a:lnTo>
                  <a:pt x="299" y="3394"/>
                </a:lnTo>
                <a:lnTo>
                  <a:pt x="244" y="3380"/>
                </a:lnTo>
                <a:lnTo>
                  <a:pt x="194" y="3359"/>
                </a:lnTo>
                <a:lnTo>
                  <a:pt x="147" y="3330"/>
                </a:lnTo>
                <a:lnTo>
                  <a:pt x="106" y="3294"/>
                </a:lnTo>
                <a:lnTo>
                  <a:pt x="69" y="3252"/>
                </a:lnTo>
                <a:lnTo>
                  <a:pt x="40" y="3205"/>
                </a:lnTo>
                <a:lnTo>
                  <a:pt x="19" y="3153"/>
                </a:lnTo>
                <a:lnTo>
                  <a:pt x="5" y="3098"/>
                </a:lnTo>
                <a:lnTo>
                  <a:pt x="0" y="3042"/>
                </a:lnTo>
                <a:lnTo>
                  <a:pt x="0" y="2516"/>
                </a:lnTo>
                <a:lnTo>
                  <a:pt x="4" y="2464"/>
                </a:lnTo>
                <a:lnTo>
                  <a:pt x="14" y="2416"/>
                </a:lnTo>
                <a:lnTo>
                  <a:pt x="32" y="2370"/>
                </a:lnTo>
                <a:lnTo>
                  <a:pt x="55" y="2326"/>
                </a:lnTo>
                <a:lnTo>
                  <a:pt x="84" y="2286"/>
                </a:lnTo>
                <a:lnTo>
                  <a:pt x="118" y="2251"/>
                </a:lnTo>
                <a:lnTo>
                  <a:pt x="157" y="2221"/>
                </a:lnTo>
                <a:lnTo>
                  <a:pt x="200" y="2196"/>
                </a:lnTo>
                <a:lnTo>
                  <a:pt x="249" y="2176"/>
                </a:lnTo>
                <a:lnTo>
                  <a:pt x="279" y="2172"/>
                </a:lnTo>
                <a:lnTo>
                  <a:pt x="308" y="2175"/>
                </a:lnTo>
                <a:lnTo>
                  <a:pt x="336" y="2184"/>
                </a:lnTo>
                <a:lnTo>
                  <a:pt x="360" y="2201"/>
                </a:lnTo>
                <a:lnTo>
                  <a:pt x="380" y="2224"/>
                </a:lnTo>
                <a:lnTo>
                  <a:pt x="394" y="2251"/>
                </a:lnTo>
                <a:lnTo>
                  <a:pt x="400" y="2282"/>
                </a:lnTo>
                <a:lnTo>
                  <a:pt x="397" y="2312"/>
                </a:lnTo>
                <a:lnTo>
                  <a:pt x="386" y="2339"/>
                </a:lnTo>
                <a:lnTo>
                  <a:pt x="369" y="2364"/>
                </a:lnTo>
                <a:lnTo>
                  <a:pt x="346" y="2384"/>
                </a:lnTo>
                <a:lnTo>
                  <a:pt x="319" y="2396"/>
                </a:lnTo>
                <a:lnTo>
                  <a:pt x="290" y="2410"/>
                </a:lnTo>
                <a:lnTo>
                  <a:pt x="266" y="2431"/>
                </a:lnTo>
                <a:lnTo>
                  <a:pt x="247" y="2455"/>
                </a:lnTo>
                <a:lnTo>
                  <a:pt x="235" y="2484"/>
                </a:lnTo>
                <a:lnTo>
                  <a:pt x="231" y="2516"/>
                </a:lnTo>
                <a:lnTo>
                  <a:pt x="231" y="3042"/>
                </a:lnTo>
                <a:lnTo>
                  <a:pt x="235" y="3076"/>
                </a:lnTo>
                <a:lnTo>
                  <a:pt x="249" y="3105"/>
                </a:lnTo>
                <a:lnTo>
                  <a:pt x="269" y="3130"/>
                </a:lnTo>
                <a:lnTo>
                  <a:pt x="295" y="3150"/>
                </a:lnTo>
                <a:lnTo>
                  <a:pt x="324" y="3164"/>
                </a:lnTo>
                <a:lnTo>
                  <a:pt x="357" y="3169"/>
                </a:lnTo>
                <a:lnTo>
                  <a:pt x="488" y="3169"/>
                </a:lnTo>
                <a:lnTo>
                  <a:pt x="488" y="2817"/>
                </a:lnTo>
                <a:lnTo>
                  <a:pt x="491" y="2698"/>
                </a:lnTo>
                <a:lnTo>
                  <a:pt x="502" y="2580"/>
                </a:lnTo>
                <a:lnTo>
                  <a:pt x="519" y="2463"/>
                </a:lnTo>
                <a:lnTo>
                  <a:pt x="543" y="2349"/>
                </a:lnTo>
                <a:lnTo>
                  <a:pt x="575" y="2236"/>
                </a:lnTo>
                <a:lnTo>
                  <a:pt x="613" y="2125"/>
                </a:lnTo>
                <a:lnTo>
                  <a:pt x="657" y="2018"/>
                </a:lnTo>
                <a:lnTo>
                  <a:pt x="709" y="1911"/>
                </a:lnTo>
                <a:lnTo>
                  <a:pt x="767" y="1809"/>
                </a:lnTo>
                <a:lnTo>
                  <a:pt x="833" y="1710"/>
                </a:lnTo>
                <a:lnTo>
                  <a:pt x="909" y="1606"/>
                </a:lnTo>
                <a:lnTo>
                  <a:pt x="993" y="1509"/>
                </a:lnTo>
                <a:lnTo>
                  <a:pt x="1081" y="1417"/>
                </a:lnTo>
                <a:lnTo>
                  <a:pt x="1176" y="1334"/>
                </a:lnTo>
                <a:lnTo>
                  <a:pt x="1275" y="1254"/>
                </a:lnTo>
                <a:lnTo>
                  <a:pt x="1378" y="1183"/>
                </a:lnTo>
                <a:lnTo>
                  <a:pt x="1488" y="1119"/>
                </a:lnTo>
                <a:lnTo>
                  <a:pt x="1601" y="1061"/>
                </a:lnTo>
                <a:lnTo>
                  <a:pt x="1720" y="1010"/>
                </a:lnTo>
                <a:lnTo>
                  <a:pt x="1746" y="1003"/>
                </a:lnTo>
                <a:lnTo>
                  <a:pt x="1771" y="1003"/>
                </a:lnTo>
                <a:close/>
                <a:moveTo>
                  <a:pt x="3241" y="852"/>
                </a:moveTo>
                <a:lnTo>
                  <a:pt x="3305" y="857"/>
                </a:lnTo>
                <a:lnTo>
                  <a:pt x="3367" y="870"/>
                </a:lnTo>
                <a:lnTo>
                  <a:pt x="3425" y="893"/>
                </a:lnTo>
                <a:lnTo>
                  <a:pt x="3478" y="924"/>
                </a:lnTo>
                <a:lnTo>
                  <a:pt x="3527" y="960"/>
                </a:lnTo>
                <a:lnTo>
                  <a:pt x="3571" y="1003"/>
                </a:lnTo>
                <a:lnTo>
                  <a:pt x="3608" y="1052"/>
                </a:lnTo>
                <a:lnTo>
                  <a:pt x="3639" y="1106"/>
                </a:lnTo>
                <a:lnTo>
                  <a:pt x="3660" y="1164"/>
                </a:lnTo>
                <a:lnTo>
                  <a:pt x="3674" y="1225"/>
                </a:lnTo>
                <a:lnTo>
                  <a:pt x="3680" y="1291"/>
                </a:lnTo>
                <a:lnTo>
                  <a:pt x="3674" y="1355"/>
                </a:lnTo>
                <a:lnTo>
                  <a:pt x="3660" y="1417"/>
                </a:lnTo>
                <a:lnTo>
                  <a:pt x="3639" y="1475"/>
                </a:lnTo>
                <a:lnTo>
                  <a:pt x="3608" y="1530"/>
                </a:lnTo>
                <a:lnTo>
                  <a:pt x="3571" y="1579"/>
                </a:lnTo>
                <a:lnTo>
                  <a:pt x="3527" y="1622"/>
                </a:lnTo>
                <a:lnTo>
                  <a:pt x="3478" y="1658"/>
                </a:lnTo>
                <a:lnTo>
                  <a:pt x="3425" y="1689"/>
                </a:lnTo>
                <a:lnTo>
                  <a:pt x="3367" y="1712"/>
                </a:lnTo>
                <a:lnTo>
                  <a:pt x="3305" y="1725"/>
                </a:lnTo>
                <a:lnTo>
                  <a:pt x="3241" y="1730"/>
                </a:lnTo>
                <a:lnTo>
                  <a:pt x="3175" y="1725"/>
                </a:lnTo>
                <a:lnTo>
                  <a:pt x="3114" y="1712"/>
                </a:lnTo>
                <a:lnTo>
                  <a:pt x="3055" y="1689"/>
                </a:lnTo>
                <a:lnTo>
                  <a:pt x="3001" y="1658"/>
                </a:lnTo>
                <a:lnTo>
                  <a:pt x="2953" y="1622"/>
                </a:lnTo>
                <a:lnTo>
                  <a:pt x="2908" y="1579"/>
                </a:lnTo>
                <a:lnTo>
                  <a:pt x="2872" y="1530"/>
                </a:lnTo>
                <a:lnTo>
                  <a:pt x="2843" y="1475"/>
                </a:lnTo>
                <a:lnTo>
                  <a:pt x="2820" y="1417"/>
                </a:lnTo>
                <a:lnTo>
                  <a:pt x="2806" y="1355"/>
                </a:lnTo>
                <a:lnTo>
                  <a:pt x="2802" y="1291"/>
                </a:lnTo>
                <a:lnTo>
                  <a:pt x="2806" y="1225"/>
                </a:lnTo>
                <a:lnTo>
                  <a:pt x="2820" y="1164"/>
                </a:lnTo>
                <a:lnTo>
                  <a:pt x="2843" y="1106"/>
                </a:lnTo>
                <a:lnTo>
                  <a:pt x="2872" y="1052"/>
                </a:lnTo>
                <a:lnTo>
                  <a:pt x="2908" y="1003"/>
                </a:lnTo>
                <a:lnTo>
                  <a:pt x="2953" y="960"/>
                </a:lnTo>
                <a:lnTo>
                  <a:pt x="3001" y="924"/>
                </a:lnTo>
                <a:lnTo>
                  <a:pt x="3055" y="893"/>
                </a:lnTo>
                <a:lnTo>
                  <a:pt x="3114" y="870"/>
                </a:lnTo>
                <a:lnTo>
                  <a:pt x="3175" y="857"/>
                </a:lnTo>
                <a:lnTo>
                  <a:pt x="3241" y="852"/>
                </a:lnTo>
                <a:close/>
                <a:moveTo>
                  <a:pt x="3241" y="232"/>
                </a:moveTo>
                <a:lnTo>
                  <a:pt x="3193" y="233"/>
                </a:lnTo>
                <a:lnTo>
                  <a:pt x="3154" y="238"/>
                </a:lnTo>
                <a:lnTo>
                  <a:pt x="3123" y="244"/>
                </a:lnTo>
                <a:lnTo>
                  <a:pt x="3099" y="250"/>
                </a:lnTo>
                <a:lnTo>
                  <a:pt x="3076" y="474"/>
                </a:lnTo>
                <a:lnTo>
                  <a:pt x="3070" y="500"/>
                </a:lnTo>
                <a:lnTo>
                  <a:pt x="3059" y="523"/>
                </a:lnTo>
                <a:lnTo>
                  <a:pt x="3043" y="543"/>
                </a:lnTo>
                <a:lnTo>
                  <a:pt x="3023" y="559"/>
                </a:lnTo>
                <a:lnTo>
                  <a:pt x="2998" y="570"/>
                </a:lnTo>
                <a:lnTo>
                  <a:pt x="2928" y="599"/>
                </a:lnTo>
                <a:lnTo>
                  <a:pt x="2861" y="633"/>
                </a:lnTo>
                <a:lnTo>
                  <a:pt x="2797" y="674"/>
                </a:lnTo>
                <a:lnTo>
                  <a:pt x="2739" y="721"/>
                </a:lnTo>
                <a:lnTo>
                  <a:pt x="2716" y="736"/>
                </a:lnTo>
                <a:lnTo>
                  <a:pt x="2692" y="745"/>
                </a:lnTo>
                <a:lnTo>
                  <a:pt x="2666" y="750"/>
                </a:lnTo>
                <a:lnTo>
                  <a:pt x="2640" y="747"/>
                </a:lnTo>
                <a:lnTo>
                  <a:pt x="2616" y="739"/>
                </a:lnTo>
                <a:lnTo>
                  <a:pt x="2410" y="648"/>
                </a:lnTo>
                <a:lnTo>
                  <a:pt x="2393" y="665"/>
                </a:lnTo>
                <a:lnTo>
                  <a:pt x="2372" y="689"/>
                </a:lnTo>
                <a:lnTo>
                  <a:pt x="2348" y="721"/>
                </a:lnTo>
                <a:lnTo>
                  <a:pt x="2323" y="761"/>
                </a:lnTo>
                <a:lnTo>
                  <a:pt x="2302" y="802"/>
                </a:lnTo>
                <a:lnTo>
                  <a:pt x="2287" y="838"/>
                </a:lnTo>
                <a:lnTo>
                  <a:pt x="2276" y="869"/>
                </a:lnTo>
                <a:lnTo>
                  <a:pt x="2270" y="892"/>
                </a:lnTo>
                <a:lnTo>
                  <a:pt x="2450" y="1023"/>
                </a:lnTo>
                <a:lnTo>
                  <a:pt x="2470" y="1041"/>
                </a:lnTo>
                <a:lnTo>
                  <a:pt x="2485" y="1062"/>
                </a:lnTo>
                <a:lnTo>
                  <a:pt x="2494" y="1087"/>
                </a:lnTo>
                <a:lnTo>
                  <a:pt x="2498" y="1113"/>
                </a:lnTo>
                <a:lnTo>
                  <a:pt x="2495" y="1140"/>
                </a:lnTo>
                <a:lnTo>
                  <a:pt x="2485" y="1215"/>
                </a:lnTo>
                <a:lnTo>
                  <a:pt x="2480" y="1291"/>
                </a:lnTo>
                <a:lnTo>
                  <a:pt x="2485" y="1366"/>
                </a:lnTo>
                <a:lnTo>
                  <a:pt x="2495" y="1440"/>
                </a:lnTo>
                <a:lnTo>
                  <a:pt x="2498" y="1468"/>
                </a:lnTo>
                <a:lnTo>
                  <a:pt x="2494" y="1492"/>
                </a:lnTo>
                <a:lnTo>
                  <a:pt x="2485" y="1516"/>
                </a:lnTo>
                <a:lnTo>
                  <a:pt x="2470" y="1538"/>
                </a:lnTo>
                <a:lnTo>
                  <a:pt x="2450" y="1556"/>
                </a:lnTo>
                <a:lnTo>
                  <a:pt x="2270" y="1687"/>
                </a:lnTo>
                <a:lnTo>
                  <a:pt x="2276" y="1712"/>
                </a:lnTo>
                <a:lnTo>
                  <a:pt x="2287" y="1742"/>
                </a:lnTo>
                <a:lnTo>
                  <a:pt x="2302" y="1779"/>
                </a:lnTo>
                <a:lnTo>
                  <a:pt x="2323" y="1820"/>
                </a:lnTo>
                <a:lnTo>
                  <a:pt x="2348" y="1858"/>
                </a:lnTo>
                <a:lnTo>
                  <a:pt x="2372" y="1890"/>
                </a:lnTo>
                <a:lnTo>
                  <a:pt x="2393" y="1914"/>
                </a:lnTo>
                <a:lnTo>
                  <a:pt x="2410" y="1931"/>
                </a:lnTo>
                <a:lnTo>
                  <a:pt x="2614" y="1841"/>
                </a:lnTo>
                <a:lnTo>
                  <a:pt x="2639" y="1833"/>
                </a:lnTo>
                <a:lnTo>
                  <a:pt x="2665" y="1830"/>
                </a:lnTo>
                <a:lnTo>
                  <a:pt x="2691" y="1835"/>
                </a:lnTo>
                <a:lnTo>
                  <a:pt x="2715" y="1844"/>
                </a:lnTo>
                <a:lnTo>
                  <a:pt x="2738" y="1859"/>
                </a:lnTo>
                <a:lnTo>
                  <a:pt x="2797" y="1908"/>
                </a:lnTo>
                <a:lnTo>
                  <a:pt x="2860" y="1949"/>
                </a:lnTo>
                <a:lnTo>
                  <a:pt x="2928" y="1983"/>
                </a:lnTo>
                <a:lnTo>
                  <a:pt x="2998" y="2010"/>
                </a:lnTo>
                <a:lnTo>
                  <a:pt x="3023" y="2022"/>
                </a:lnTo>
                <a:lnTo>
                  <a:pt x="3043" y="2038"/>
                </a:lnTo>
                <a:lnTo>
                  <a:pt x="3059" y="2059"/>
                </a:lnTo>
                <a:lnTo>
                  <a:pt x="3070" y="2082"/>
                </a:lnTo>
                <a:lnTo>
                  <a:pt x="3076" y="2108"/>
                </a:lnTo>
                <a:lnTo>
                  <a:pt x="3099" y="2329"/>
                </a:lnTo>
                <a:lnTo>
                  <a:pt x="3123" y="2336"/>
                </a:lnTo>
                <a:lnTo>
                  <a:pt x="3155" y="2343"/>
                </a:lnTo>
                <a:lnTo>
                  <a:pt x="3193" y="2347"/>
                </a:lnTo>
                <a:lnTo>
                  <a:pt x="3241" y="2349"/>
                </a:lnTo>
                <a:lnTo>
                  <a:pt x="3286" y="2347"/>
                </a:lnTo>
                <a:lnTo>
                  <a:pt x="3326" y="2343"/>
                </a:lnTo>
                <a:lnTo>
                  <a:pt x="3358" y="2336"/>
                </a:lnTo>
                <a:lnTo>
                  <a:pt x="3381" y="2329"/>
                </a:lnTo>
                <a:lnTo>
                  <a:pt x="3404" y="2108"/>
                </a:lnTo>
                <a:lnTo>
                  <a:pt x="3410" y="2082"/>
                </a:lnTo>
                <a:lnTo>
                  <a:pt x="3422" y="2059"/>
                </a:lnTo>
                <a:lnTo>
                  <a:pt x="3437" y="2038"/>
                </a:lnTo>
                <a:lnTo>
                  <a:pt x="3459" y="2022"/>
                </a:lnTo>
                <a:lnTo>
                  <a:pt x="3482" y="2010"/>
                </a:lnTo>
                <a:lnTo>
                  <a:pt x="3553" y="1983"/>
                </a:lnTo>
                <a:lnTo>
                  <a:pt x="3620" y="1949"/>
                </a:lnTo>
                <a:lnTo>
                  <a:pt x="3684" y="1908"/>
                </a:lnTo>
                <a:lnTo>
                  <a:pt x="3744" y="1859"/>
                </a:lnTo>
                <a:lnTo>
                  <a:pt x="3765" y="1844"/>
                </a:lnTo>
                <a:lnTo>
                  <a:pt x="3789" y="1835"/>
                </a:lnTo>
                <a:lnTo>
                  <a:pt x="3815" y="1830"/>
                </a:lnTo>
                <a:lnTo>
                  <a:pt x="3841" y="1833"/>
                </a:lnTo>
                <a:lnTo>
                  <a:pt x="3867" y="1841"/>
                </a:lnTo>
                <a:lnTo>
                  <a:pt x="4070" y="1931"/>
                </a:lnTo>
                <a:lnTo>
                  <a:pt x="4088" y="1914"/>
                </a:lnTo>
                <a:lnTo>
                  <a:pt x="4109" y="1890"/>
                </a:lnTo>
                <a:lnTo>
                  <a:pt x="4132" y="1858"/>
                </a:lnTo>
                <a:lnTo>
                  <a:pt x="4157" y="1820"/>
                </a:lnTo>
                <a:lnTo>
                  <a:pt x="4178" y="1779"/>
                </a:lnTo>
                <a:lnTo>
                  <a:pt x="4195" y="1742"/>
                </a:lnTo>
                <a:lnTo>
                  <a:pt x="4205" y="1712"/>
                </a:lnTo>
                <a:lnTo>
                  <a:pt x="4212" y="1687"/>
                </a:lnTo>
                <a:lnTo>
                  <a:pt x="4030" y="1556"/>
                </a:lnTo>
                <a:lnTo>
                  <a:pt x="4010" y="1538"/>
                </a:lnTo>
                <a:lnTo>
                  <a:pt x="3997" y="1516"/>
                </a:lnTo>
                <a:lnTo>
                  <a:pt x="3986" y="1492"/>
                </a:lnTo>
                <a:lnTo>
                  <a:pt x="3983" y="1466"/>
                </a:lnTo>
                <a:lnTo>
                  <a:pt x="3984" y="1440"/>
                </a:lnTo>
                <a:lnTo>
                  <a:pt x="3997" y="1366"/>
                </a:lnTo>
                <a:lnTo>
                  <a:pt x="4000" y="1291"/>
                </a:lnTo>
                <a:lnTo>
                  <a:pt x="3997" y="1215"/>
                </a:lnTo>
                <a:lnTo>
                  <a:pt x="3984" y="1140"/>
                </a:lnTo>
                <a:lnTo>
                  <a:pt x="3983" y="1113"/>
                </a:lnTo>
                <a:lnTo>
                  <a:pt x="3986" y="1087"/>
                </a:lnTo>
                <a:lnTo>
                  <a:pt x="3995" y="1062"/>
                </a:lnTo>
                <a:lnTo>
                  <a:pt x="4010" y="1041"/>
                </a:lnTo>
                <a:lnTo>
                  <a:pt x="4030" y="1023"/>
                </a:lnTo>
                <a:lnTo>
                  <a:pt x="4212" y="892"/>
                </a:lnTo>
                <a:lnTo>
                  <a:pt x="4205" y="869"/>
                </a:lnTo>
                <a:lnTo>
                  <a:pt x="4195" y="838"/>
                </a:lnTo>
                <a:lnTo>
                  <a:pt x="4178" y="802"/>
                </a:lnTo>
                <a:lnTo>
                  <a:pt x="4157" y="761"/>
                </a:lnTo>
                <a:lnTo>
                  <a:pt x="4132" y="721"/>
                </a:lnTo>
                <a:lnTo>
                  <a:pt x="4109" y="689"/>
                </a:lnTo>
                <a:lnTo>
                  <a:pt x="4088" y="665"/>
                </a:lnTo>
                <a:lnTo>
                  <a:pt x="4070" y="648"/>
                </a:lnTo>
                <a:lnTo>
                  <a:pt x="3866" y="739"/>
                </a:lnTo>
                <a:lnTo>
                  <a:pt x="3840" y="747"/>
                </a:lnTo>
                <a:lnTo>
                  <a:pt x="3814" y="750"/>
                </a:lnTo>
                <a:lnTo>
                  <a:pt x="3788" y="745"/>
                </a:lnTo>
                <a:lnTo>
                  <a:pt x="3764" y="736"/>
                </a:lnTo>
                <a:lnTo>
                  <a:pt x="3742" y="721"/>
                </a:lnTo>
                <a:lnTo>
                  <a:pt x="3683" y="674"/>
                </a:lnTo>
                <a:lnTo>
                  <a:pt x="3619" y="633"/>
                </a:lnTo>
                <a:lnTo>
                  <a:pt x="3553" y="599"/>
                </a:lnTo>
                <a:lnTo>
                  <a:pt x="3483" y="570"/>
                </a:lnTo>
                <a:lnTo>
                  <a:pt x="3459" y="559"/>
                </a:lnTo>
                <a:lnTo>
                  <a:pt x="3437" y="543"/>
                </a:lnTo>
                <a:lnTo>
                  <a:pt x="3422" y="523"/>
                </a:lnTo>
                <a:lnTo>
                  <a:pt x="3410" y="500"/>
                </a:lnTo>
                <a:lnTo>
                  <a:pt x="3404" y="474"/>
                </a:lnTo>
                <a:lnTo>
                  <a:pt x="3381" y="250"/>
                </a:lnTo>
                <a:lnTo>
                  <a:pt x="3358" y="244"/>
                </a:lnTo>
                <a:lnTo>
                  <a:pt x="3326" y="238"/>
                </a:lnTo>
                <a:lnTo>
                  <a:pt x="3286" y="233"/>
                </a:lnTo>
                <a:lnTo>
                  <a:pt x="3241" y="232"/>
                </a:lnTo>
                <a:close/>
                <a:moveTo>
                  <a:pt x="3241" y="0"/>
                </a:moveTo>
                <a:lnTo>
                  <a:pt x="3305" y="3"/>
                </a:lnTo>
                <a:lnTo>
                  <a:pt x="3363" y="9"/>
                </a:lnTo>
                <a:lnTo>
                  <a:pt x="3416" y="20"/>
                </a:lnTo>
                <a:lnTo>
                  <a:pt x="3463" y="34"/>
                </a:lnTo>
                <a:lnTo>
                  <a:pt x="3504" y="52"/>
                </a:lnTo>
                <a:lnTo>
                  <a:pt x="3539" y="75"/>
                </a:lnTo>
                <a:lnTo>
                  <a:pt x="3567" y="99"/>
                </a:lnTo>
                <a:lnTo>
                  <a:pt x="3588" y="128"/>
                </a:lnTo>
                <a:lnTo>
                  <a:pt x="3602" y="160"/>
                </a:lnTo>
                <a:lnTo>
                  <a:pt x="3608" y="195"/>
                </a:lnTo>
                <a:lnTo>
                  <a:pt x="3626" y="380"/>
                </a:lnTo>
                <a:lnTo>
                  <a:pt x="3699" y="413"/>
                </a:lnTo>
                <a:lnTo>
                  <a:pt x="3770" y="454"/>
                </a:lnTo>
                <a:lnTo>
                  <a:pt x="3835" y="500"/>
                </a:lnTo>
                <a:lnTo>
                  <a:pt x="4004" y="424"/>
                </a:lnTo>
                <a:lnTo>
                  <a:pt x="4023" y="418"/>
                </a:lnTo>
                <a:lnTo>
                  <a:pt x="4042" y="412"/>
                </a:lnTo>
                <a:lnTo>
                  <a:pt x="4065" y="408"/>
                </a:lnTo>
                <a:lnTo>
                  <a:pt x="4091" y="408"/>
                </a:lnTo>
                <a:lnTo>
                  <a:pt x="4120" y="415"/>
                </a:lnTo>
                <a:lnTo>
                  <a:pt x="4152" y="427"/>
                </a:lnTo>
                <a:lnTo>
                  <a:pt x="4186" y="447"/>
                </a:lnTo>
                <a:lnTo>
                  <a:pt x="4221" y="474"/>
                </a:lnTo>
                <a:lnTo>
                  <a:pt x="4257" y="509"/>
                </a:lnTo>
                <a:lnTo>
                  <a:pt x="4292" y="549"/>
                </a:lnTo>
                <a:lnTo>
                  <a:pt x="4326" y="594"/>
                </a:lnTo>
                <a:lnTo>
                  <a:pt x="4356" y="645"/>
                </a:lnTo>
                <a:lnTo>
                  <a:pt x="4387" y="701"/>
                </a:lnTo>
                <a:lnTo>
                  <a:pt x="4411" y="756"/>
                </a:lnTo>
                <a:lnTo>
                  <a:pt x="4428" y="806"/>
                </a:lnTo>
                <a:lnTo>
                  <a:pt x="4439" y="855"/>
                </a:lnTo>
                <a:lnTo>
                  <a:pt x="4443" y="899"/>
                </a:lnTo>
                <a:lnTo>
                  <a:pt x="4442" y="940"/>
                </a:lnTo>
                <a:lnTo>
                  <a:pt x="4434" y="978"/>
                </a:lnTo>
                <a:lnTo>
                  <a:pt x="4420" y="1010"/>
                </a:lnTo>
                <a:lnTo>
                  <a:pt x="4399" y="1038"/>
                </a:lnTo>
                <a:lnTo>
                  <a:pt x="4372" y="1061"/>
                </a:lnTo>
                <a:lnTo>
                  <a:pt x="4222" y="1169"/>
                </a:lnTo>
                <a:lnTo>
                  <a:pt x="4228" y="1230"/>
                </a:lnTo>
                <a:lnTo>
                  <a:pt x="4230" y="1291"/>
                </a:lnTo>
                <a:lnTo>
                  <a:pt x="4228" y="1352"/>
                </a:lnTo>
                <a:lnTo>
                  <a:pt x="4224" y="1411"/>
                </a:lnTo>
                <a:lnTo>
                  <a:pt x="4373" y="1520"/>
                </a:lnTo>
                <a:lnTo>
                  <a:pt x="4399" y="1542"/>
                </a:lnTo>
                <a:lnTo>
                  <a:pt x="4420" y="1570"/>
                </a:lnTo>
                <a:lnTo>
                  <a:pt x="4434" y="1602"/>
                </a:lnTo>
                <a:lnTo>
                  <a:pt x="4442" y="1638"/>
                </a:lnTo>
                <a:lnTo>
                  <a:pt x="4443" y="1680"/>
                </a:lnTo>
                <a:lnTo>
                  <a:pt x="4439" y="1725"/>
                </a:lnTo>
                <a:lnTo>
                  <a:pt x="4428" y="1773"/>
                </a:lnTo>
                <a:lnTo>
                  <a:pt x="4411" y="1824"/>
                </a:lnTo>
                <a:lnTo>
                  <a:pt x="4387" y="1878"/>
                </a:lnTo>
                <a:lnTo>
                  <a:pt x="4356" y="1934"/>
                </a:lnTo>
                <a:lnTo>
                  <a:pt x="4326" y="1984"/>
                </a:lnTo>
                <a:lnTo>
                  <a:pt x="4292" y="2030"/>
                </a:lnTo>
                <a:lnTo>
                  <a:pt x="4257" y="2071"/>
                </a:lnTo>
                <a:lnTo>
                  <a:pt x="4221" y="2106"/>
                </a:lnTo>
                <a:lnTo>
                  <a:pt x="4221" y="2106"/>
                </a:lnTo>
                <a:lnTo>
                  <a:pt x="4262" y="2221"/>
                </a:lnTo>
                <a:lnTo>
                  <a:pt x="4295" y="2336"/>
                </a:lnTo>
                <a:lnTo>
                  <a:pt x="4321" y="2454"/>
                </a:lnTo>
                <a:lnTo>
                  <a:pt x="4341" y="2574"/>
                </a:lnTo>
                <a:lnTo>
                  <a:pt x="4352" y="2695"/>
                </a:lnTo>
                <a:lnTo>
                  <a:pt x="4356" y="2817"/>
                </a:lnTo>
                <a:lnTo>
                  <a:pt x="4352" y="2935"/>
                </a:lnTo>
                <a:lnTo>
                  <a:pt x="4343" y="3053"/>
                </a:lnTo>
                <a:lnTo>
                  <a:pt x="4324" y="3169"/>
                </a:lnTo>
                <a:lnTo>
                  <a:pt x="4481" y="3169"/>
                </a:lnTo>
                <a:lnTo>
                  <a:pt x="4509" y="3166"/>
                </a:lnTo>
                <a:lnTo>
                  <a:pt x="4535" y="3155"/>
                </a:lnTo>
                <a:lnTo>
                  <a:pt x="4558" y="3140"/>
                </a:lnTo>
                <a:lnTo>
                  <a:pt x="4576" y="3120"/>
                </a:lnTo>
                <a:lnTo>
                  <a:pt x="4590" y="3097"/>
                </a:lnTo>
                <a:lnTo>
                  <a:pt x="4597" y="3071"/>
                </a:lnTo>
                <a:lnTo>
                  <a:pt x="4600" y="3042"/>
                </a:lnTo>
                <a:lnTo>
                  <a:pt x="4600" y="2516"/>
                </a:lnTo>
                <a:lnTo>
                  <a:pt x="4597" y="2484"/>
                </a:lnTo>
                <a:lnTo>
                  <a:pt x="4585" y="2455"/>
                </a:lnTo>
                <a:lnTo>
                  <a:pt x="4568" y="2431"/>
                </a:lnTo>
                <a:lnTo>
                  <a:pt x="4544" y="2410"/>
                </a:lnTo>
                <a:lnTo>
                  <a:pt x="4515" y="2396"/>
                </a:lnTo>
                <a:lnTo>
                  <a:pt x="4492" y="2385"/>
                </a:lnTo>
                <a:lnTo>
                  <a:pt x="4471" y="2370"/>
                </a:lnTo>
                <a:lnTo>
                  <a:pt x="4455" y="2350"/>
                </a:lnTo>
                <a:lnTo>
                  <a:pt x="4445" y="2327"/>
                </a:lnTo>
                <a:lnTo>
                  <a:pt x="4439" y="2303"/>
                </a:lnTo>
                <a:lnTo>
                  <a:pt x="4437" y="2277"/>
                </a:lnTo>
                <a:lnTo>
                  <a:pt x="4443" y="2251"/>
                </a:lnTo>
                <a:lnTo>
                  <a:pt x="4457" y="2224"/>
                </a:lnTo>
                <a:lnTo>
                  <a:pt x="4475" y="2201"/>
                </a:lnTo>
                <a:lnTo>
                  <a:pt x="4500" y="2184"/>
                </a:lnTo>
                <a:lnTo>
                  <a:pt x="4527" y="2173"/>
                </a:lnTo>
                <a:lnTo>
                  <a:pt x="4556" y="2172"/>
                </a:lnTo>
                <a:lnTo>
                  <a:pt x="4587" y="2176"/>
                </a:lnTo>
                <a:lnTo>
                  <a:pt x="4634" y="2196"/>
                </a:lnTo>
                <a:lnTo>
                  <a:pt x="4678" y="2221"/>
                </a:lnTo>
                <a:lnTo>
                  <a:pt x="4716" y="2251"/>
                </a:lnTo>
                <a:lnTo>
                  <a:pt x="4750" y="2286"/>
                </a:lnTo>
                <a:lnTo>
                  <a:pt x="4779" y="2326"/>
                </a:lnTo>
                <a:lnTo>
                  <a:pt x="4801" y="2370"/>
                </a:lnTo>
                <a:lnTo>
                  <a:pt x="4818" y="2416"/>
                </a:lnTo>
                <a:lnTo>
                  <a:pt x="4827" y="2464"/>
                </a:lnTo>
                <a:lnTo>
                  <a:pt x="4832" y="2516"/>
                </a:lnTo>
                <a:lnTo>
                  <a:pt x="4832" y="3042"/>
                </a:lnTo>
                <a:lnTo>
                  <a:pt x="4827" y="3098"/>
                </a:lnTo>
                <a:lnTo>
                  <a:pt x="4814" y="3153"/>
                </a:lnTo>
                <a:lnTo>
                  <a:pt x="4792" y="3205"/>
                </a:lnTo>
                <a:lnTo>
                  <a:pt x="4765" y="3252"/>
                </a:lnTo>
                <a:lnTo>
                  <a:pt x="4730" y="3294"/>
                </a:lnTo>
                <a:lnTo>
                  <a:pt x="4689" y="3330"/>
                </a:lnTo>
                <a:lnTo>
                  <a:pt x="4643" y="3359"/>
                </a:lnTo>
                <a:lnTo>
                  <a:pt x="4593" y="3380"/>
                </a:lnTo>
                <a:lnTo>
                  <a:pt x="4538" y="3394"/>
                </a:lnTo>
                <a:lnTo>
                  <a:pt x="4481" y="3399"/>
                </a:lnTo>
                <a:lnTo>
                  <a:pt x="4268" y="3399"/>
                </a:lnTo>
                <a:lnTo>
                  <a:pt x="4230" y="3507"/>
                </a:lnTo>
                <a:lnTo>
                  <a:pt x="4184" y="3615"/>
                </a:lnTo>
                <a:lnTo>
                  <a:pt x="4132" y="3720"/>
                </a:lnTo>
                <a:lnTo>
                  <a:pt x="4074" y="3824"/>
                </a:lnTo>
                <a:lnTo>
                  <a:pt x="4009" y="3925"/>
                </a:lnTo>
                <a:lnTo>
                  <a:pt x="3937" y="4021"/>
                </a:lnTo>
                <a:lnTo>
                  <a:pt x="3861" y="4110"/>
                </a:lnTo>
                <a:lnTo>
                  <a:pt x="3780" y="4196"/>
                </a:lnTo>
                <a:lnTo>
                  <a:pt x="3693" y="4277"/>
                </a:lnTo>
                <a:lnTo>
                  <a:pt x="3602" y="4351"/>
                </a:lnTo>
                <a:lnTo>
                  <a:pt x="3506" y="4420"/>
                </a:lnTo>
                <a:lnTo>
                  <a:pt x="3407" y="4484"/>
                </a:lnTo>
                <a:lnTo>
                  <a:pt x="3305" y="4540"/>
                </a:lnTo>
                <a:lnTo>
                  <a:pt x="3198" y="4591"/>
                </a:lnTo>
                <a:lnTo>
                  <a:pt x="3090" y="4635"/>
                </a:lnTo>
                <a:lnTo>
                  <a:pt x="2979" y="4673"/>
                </a:lnTo>
                <a:lnTo>
                  <a:pt x="2969" y="4728"/>
                </a:lnTo>
                <a:lnTo>
                  <a:pt x="2951" y="4781"/>
                </a:lnTo>
                <a:lnTo>
                  <a:pt x="2927" y="4830"/>
                </a:lnTo>
                <a:lnTo>
                  <a:pt x="2896" y="4874"/>
                </a:lnTo>
                <a:lnTo>
                  <a:pt x="2860" y="4914"/>
                </a:lnTo>
                <a:lnTo>
                  <a:pt x="2817" y="4949"/>
                </a:lnTo>
                <a:lnTo>
                  <a:pt x="2770" y="4976"/>
                </a:lnTo>
                <a:lnTo>
                  <a:pt x="2718" y="4996"/>
                </a:lnTo>
                <a:lnTo>
                  <a:pt x="2665" y="5010"/>
                </a:lnTo>
                <a:lnTo>
                  <a:pt x="2607" y="5013"/>
                </a:lnTo>
                <a:lnTo>
                  <a:pt x="2232" y="5013"/>
                </a:lnTo>
                <a:lnTo>
                  <a:pt x="2177" y="5010"/>
                </a:lnTo>
                <a:lnTo>
                  <a:pt x="2124" y="4998"/>
                </a:lnTo>
                <a:lnTo>
                  <a:pt x="2075" y="4979"/>
                </a:lnTo>
                <a:lnTo>
                  <a:pt x="2029" y="4953"/>
                </a:lnTo>
                <a:lnTo>
                  <a:pt x="1986" y="4923"/>
                </a:lnTo>
                <a:lnTo>
                  <a:pt x="1950" y="4886"/>
                </a:lnTo>
                <a:lnTo>
                  <a:pt x="1919" y="4844"/>
                </a:lnTo>
                <a:lnTo>
                  <a:pt x="1893" y="4798"/>
                </a:lnTo>
                <a:lnTo>
                  <a:pt x="1875" y="4749"/>
                </a:lnTo>
                <a:lnTo>
                  <a:pt x="1863" y="4697"/>
                </a:lnTo>
                <a:lnTo>
                  <a:pt x="1858" y="4642"/>
                </a:lnTo>
                <a:lnTo>
                  <a:pt x="1863" y="4588"/>
                </a:lnTo>
                <a:lnTo>
                  <a:pt x="1875" y="4534"/>
                </a:lnTo>
                <a:lnTo>
                  <a:pt x="1893" y="4485"/>
                </a:lnTo>
                <a:lnTo>
                  <a:pt x="1919" y="4440"/>
                </a:lnTo>
                <a:lnTo>
                  <a:pt x="1950" y="4399"/>
                </a:lnTo>
                <a:lnTo>
                  <a:pt x="1986" y="4362"/>
                </a:lnTo>
                <a:lnTo>
                  <a:pt x="2029" y="4330"/>
                </a:lnTo>
                <a:lnTo>
                  <a:pt x="2075" y="4306"/>
                </a:lnTo>
                <a:lnTo>
                  <a:pt x="2124" y="4286"/>
                </a:lnTo>
                <a:lnTo>
                  <a:pt x="2177" y="4275"/>
                </a:lnTo>
                <a:lnTo>
                  <a:pt x="2232" y="4271"/>
                </a:lnTo>
                <a:lnTo>
                  <a:pt x="2607" y="4271"/>
                </a:lnTo>
                <a:lnTo>
                  <a:pt x="2665" y="4275"/>
                </a:lnTo>
                <a:lnTo>
                  <a:pt x="2718" y="4287"/>
                </a:lnTo>
                <a:lnTo>
                  <a:pt x="2768" y="4306"/>
                </a:lnTo>
                <a:lnTo>
                  <a:pt x="2816" y="4333"/>
                </a:lnTo>
                <a:lnTo>
                  <a:pt x="2858" y="4365"/>
                </a:lnTo>
                <a:lnTo>
                  <a:pt x="2895" y="4405"/>
                </a:lnTo>
                <a:lnTo>
                  <a:pt x="2927" y="4449"/>
                </a:lnTo>
                <a:lnTo>
                  <a:pt x="3037" y="4409"/>
                </a:lnTo>
                <a:lnTo>
                  <a:pt x="3143" y="4365"/>
                </a:lnTo>
                <a:lnTo>
                  <a:pt x="3245" y="4313"/>
                </a:lnTo>
                <a:lnTo>
                  <a:pt x="3343" y="4254"/>
                </a:lnTo>
                <a:lnTo>
                  <a:pt x="3436" y="4190"/>
                </a:lnTo>
                <a:lnTo>
                  <a:pt x="3524" y="4120"/>
                </a:lnTo>
                <a:lnTo>
                  <a:pt x="3608" y="4043"/>
                </a:lnTo>
                <a:lnTo>
                  <a:pt x="3686" y="3963"/>
                </a:lnTo>
                <a:lnTo>
                  <a:pt x="3759" y="3877"/>
                </a:lnTo>
                <a:lnTo>
                  <a:pt x="3824" y="3786"/>
                </a:lnTo>
                <a:lnTo>
                  <a:pt x="3885" y="3691"/>
                </a:lnTo>
                <a:lnTo>
                  <a:pt x="3940" y="3594"/>
                </a:lnTo>
                <a:lnTo>
                  <a:pt x="3988" y="3490"/>
                </a:lnTo>
                <a:lnTo>
                  <a:pt x="4029" y="3385"/>
                </a:lnTo>
                <a:lnTo>
                  <a:pt x="4062" y="3277"/>
                </a:lnTo>
                <a:lnTo>
                  <a:pt x="4090" y="3164"/>
                </a:lnTo>
                <a:lnTo>
                  <a:pt x="4109" y="3051"/>
                </a:lnTo>
                <a:lnTo>
                  <a:pt x="4122" y="2934"/>
                </a:lnTo>
                <a:lnTo>
                  <a:pt x="4125" y="2817"/>
                </a:lnTo>
                <a:lnTo>
                  <a:pt x="4122" y="2701"/>
                </a:lnTo>
                <a:lnTo>
                  <a:pt x="4109" y="2586"/>
                </a:lnTo>
                <a:lnTo>
                  <a:pt x="4091" y="2475"/>
                </a:lnTo>
                <a:lnTo>
                  <a:pt x="4065" y="2364"/>
                </a:lnTo>
                <a:lnTo>
                  <a:pt x="4030" y="2256"/>
                </a:lnTo>
                <a:lnTo>
                  <a:pt x="3989" y="2147"/>
                </a:lnTo>
                <a:lnTo>
                  <a:pt x="3838" y="2080"/>
                </a:lnTo>
                <a:lnTo>
                  <a:pt x="3771" y="2128"/>
                </a:lnTo>
                <a:lnTo>
                  <a:pt x="3699" y="2167"/>
                </a:lnTo>
                <a:lnTo>
                  <a:pt x="3626" y="2202"/>
                </a:lnTo>
                <a:lnTo>
                  <a:pt x="3608" y="2385"/>
                </a:lnTo>
                <a:lnTo>
                  <a:pt x="3602" y="2419"/>
                </a:lnTo>
                <a:lnTo>
                  <a:pt x="3588" y="2451"/>
                </a:lnTo>
                <a:lnTo>
                  <a:pt x="3567" y="2480"/>
                </a:lnTo>
                <a:lnTo>
                  <a:pt x="3539" y="2506"/>
                </a:lnTo>
                <a:lnTo>
                  <a:pt x="3504" y="2527"/>
                </a:lnTo>
                <a:lnTo>
                  <a:pt x="3463" y="2545"/>
                </a:lnTo>
                <a:lnTo>
                  <a:pt x="3416" y="2560"/>
                </a:lnTo>
                <a:lnTo>
                  <a:pt x="3363" y="2571"/>
                </a:lnTo>
                <a:lnTo>
                  <a:pt x="3305" y="2577"/>
                </a:lnTo>
                <a:lnTo>
                  <a:pt x="3241" y="2579"/>
                </a:lnTo>
                <a:lnTo>
                  <a:pt x="3177" y="2577"/>
                </a:lnTo>
                <a:lnTo>
                  <a:pt x="3117" y="2570"/>
                </a:lnTo>
                <a:lnTo>
                  <a:pt x="3064" y="2560"/>
                </a:lnTo>
                <a:lnTo>
                  <a:pt x="3017" y="2545"/>
                </a:lnTo>
                <a:lnTo>
                  <a:pt x="2976" y="2527"/>
                </a:lnTo>
                <a:lnTo>
                  <a:pt x="2940" y="2506"/>
                </a:lnTo>
                <a:lnTo>
                  <a:pt x="2913" y="2480"/>
                </a:lnTo>
                <a:lnTo>
                  <a:pt x="2892" y="2451"/>
                </a:lnTo>
                <a:lnTo>
                  <a:pt x="2878" y="2419"/>
                </a:lnTo>
                <a:lnTo>
                  <a:pt x="2873" y="2384"/>
                </a:lnTo>
                <a:lnTo>
                  <a:pt x="2854" y="2202"/>
                </a:lnTo>
                <a:lnTo>
                  <a:pt x="2780" y="2167"/>
                </a:lnTo>
                <a:lnTo>
                  <a:pt x="2710" y="2128"/>
                </a:lnTo>
                <a:lnTo>
                  <a:pt x="2643" y="2080"/>
                </a:lnTo>
                <a:lnTo>
                  <a:pt x="2476" y="2155"/>
                </a:lnTo>
                <a:lnTo>
                  <a:pt x="2442" y="2167"/>
                </a:lnTo>
                <a:lnTo>
                  <a:pt x="2409" y="2172"/>
                </a:lnTo>
                <a:lnTo>
                  <a:pt x="2374" y="2167"/>
                </a:lnTo>
                <a:lnTo>
                  <a:pt x="2337" y="2157"/>
                </a:lnTo>
                <a:lnTo>
                  <a:pt x="2300" y="2137"/>
                </a:lnTo>
                <a:lnTo>
                  <a:pt x="2264" y="2111"/>
                </a:lnTo>
                <a:lnTo>
                  <a:pt x="2229" y="2077"/>
                </a:lnTo>
                <a:lnTo>
                  <a:pt x="2192" y="2036"/>
                </a:lnTo>
                <a:lnTo>
                  <a:pt x="2157" y="1989"/>
                </a:lnTo>
                <a:lnTo>
                  <a:pt x="2124" y="1934"/>
                </a:lnTo>
                <a:lnTo>
                  <a:pt x="2096" y="1882"/>
                </a:lnTo>
                <a:lnTo>
                  <a:pt x="2073" y="1830"/>
                </a:lnTo>
                <a:lnTo>
                  <a:pt x="2055" y="1780"/>
                </a:lnTo>
                <a:lnTo>
                  <a:pt x="2043" y="1731"/>
                </a:lnTo>
                <a:lnTo>
                  <a:pt x="2038" y="1692"/>
                </a:lnTo>
                <a:lnTo>
                  <a:pt x="2037" y="1655"/>
                </a:lnTo>
                <a:lnTo>
                  <a:pt x="2041" y="1625"/>
                </a:lnTo>
                <a:lnTo>
                  <a:pt x="2047" y="1599"/>
                </a:lnTo>
                <a:lnTo>
                  <a:pt x="2058" y="1576"/>
                </a:lnTo>
                <a:lnTo>
                  <a:pt x="2069" y="1556"/>
                </a:lnTo>
                <a:lnTo>
                  <a:pt x="2082" y="1541"/>
                </a:lnTo>
                <a:lnTo>
                  <a:pt x="2095" y="1529"/>
                </a:lnTo>
                <a:lnTo>
                  <a:pt x="2108" y="1520"/>
                </a:lnTo>
                <a:lnTo>
                  <a:pt x="2258" y="1411"/>
                </a:lnTo>
                <a:lnTo>
                  <a:pt x="2252" y="1350"/>
                </a:lnTo>
                <a:lnTo>
                  <a:pt x="2250" y="1291"/>
                </a:lnTo>
                <a:lnTo>
                  <a:pt x="2252" y="1230"/>
                </a:lnTo>
                <a:lnTo>
                  <a:pt x="2258" y="1169"/>
                </a:lnTo>
                <a:lnTo>
                  <a:pt x="2108" y="1061"/>
                </a:lnTo>
                <a:lnTo>
                  <a:pt x="2081" y="1038"/>
                </a:lnTo>
                <a:lnTo>
                  <a:pt x="2061" y="1010"/>
                </a:lnTo>
                <a:lnTo>
                  <a:pt x="2046" y="978"/>
                </a:lnTo>
                <a:lnTo>
                  <a:pt x="2038" y="942"/>
                </a:lnTo>
                <a:lnTo>
                  <a:pt x="2037" y="901"/>
                </a:lnTo>
                <a:lnTo>
                  <a:pt x="2041" y="855"/>
                </a:lnTo>
                <a:lnTo>
                  <a:pt x="2052" y="808"/>
                </a:lnTo>
                <a:lnTo>
                  <a:pt x="2070" y="756"/>
                </a:lnTo>
                <a:lnTo>
                  <a:pt x="2093" y="701"/>
                </a:lnTo>
                <a:lnTo>
                  <a:pt x="2124" y="645"/>
                </a:lnTo>
                <a:lnTo>
                  <a:pt x="2157" y="591"/>
                </a:lnTo>
                <a:lnTo>
                  <a:pt x="2192" y="543"/>
                </a:lnTo>
                <a:lnTo>
                  <a:pt x="2229" y="503"/>
                </a:lnTo>
                <a:lnTo>
                  <a:pt x="2264" y="469"/>
                </a:lnTo>
                <a:lnTo>
                  <a:pt x="2300" y="442"/>
                </a:lnTo>
                <a:lnTo>
                  <a:pt x="2337" y="424"/>
                </a:lnTo>
                <a:lnTo>
                  <a:pt x="2374" y="412"/>
                </a:lnTo>
                <a:lnTo>
                  <a:pt x="2409" y="408"/>
                </a:lnTo>
                <a:lnTo>
                  <a:pt x="2442" y="412"/>
                </a:lnTo>
                <a:lnTo>
                  <a:pt x="2476" y="424"/>
                </a:lnTo>
                <a:lnTo>
                  <a:pt x="2645" y="500"/>
                </a:lnTo>
                <a:lnTo>
                  <a:pt x="2712" y="454"/>
                </a:lnTo>
                <a:lnTo>
                  <a:pt x="2780" y="413"/>
                </a:lnTo>
                <a:lnTo>
                  <a:pt x="2854" y="380"/>
                </a:lnTo>
                <a:lnTo>
                  <a:pt x="2873" y="195"/>
                </a:lnTo>
                <a:lnTo>
                  <a:pt x="2878" y="160"/>
                </a:lnTo>
                <a:lnTo>
                  <a:pt x="2892" y="128"/>
                </a:lnTo>
                <a:lnTo>
                  <a:pt x="2913" y="101"/>
                </a:lnTo>
                <a:lnTo>
                  <a:pt x="2940" y="75"/>
                </a:lnTo>
                <a:lnTo>
                  <a:pt x="2976" y="52"/>
                </a:lnTo>
                <a:lnTo>
                  <a:pt x="3017" y="34"/>
                </a:lnTo>
                <a:lnTo>
                  <a:pt x="3064" y="20"/>
                </a:lnTo>
                <a:lnTo>
                  <a:pt x="3117" y="9"/>
                </a:lnTo>
                <a:lnTo>
                  <a:pt x="3177" y="3"/>
                </a:lnTo>
                <a:lnTo>
                  <a:pt x="3241"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ES"/>
          </a:p>
        </p:txBody>
      </p:sp>
      <p:sp>
        <p:nvSpPr>
          <p:cNvPr id="8" name="Rectangle 12">
            <a:extLst>
              <a:ext uri="{FF2B5EF4-FFF2-40B4-BE49-F238E27FC236}">
                <a16:creationId xmlns:a16="http://schemas.microsoft.com/office/drawing/2014/main" id="{B5AB4E13-30C0-7D44-870D-50F385112713}"/>
              </a:ext>
            </a:extLst>
          </p:cNvPr>
          <p:cNvSpPr/>
          <p:nvPr userDrawn="1"/>
        </p:nvSpPr>
        <p:spPr>
          <a:xfrm>
            <a:off x="9457764" y="6579030"/>
            <a:ext cx="2734235" cy="278969"/>
          </a:xfrm>
          <a:prstGeom prst="rect">
            <a:avLst/>
          </a:prstGeom>
          <a:solidFill>
            <a:schemeClr val="accent1"/>
          </a:solidFill>
        </p:spPr>
        <p:txBody>
          <a:bodyPr wrap="square" lIns="0" tIns="0" rIns="0" bIns="0" rtlCol="0" anchor="ctr" anchorCtr="0">
            <a:noAutofit/>
          </a:bodyPr>
          <a:lstStyle/>
          <a:p>
            <a:pPr algn="ctr"/>
            <a:r>
              <a:rPr lang="en-US" sz="800" b="1">
                <a:solidFill>
                  <a:schemeClr val="tx2"/>
                </a:solidFill>
                <a:cs typeface="Arial" panose="020B0604020202020204" pitchFamily="34" charset="0"/>
              </a:rPr>
              <a:t>SOPORTE Y MANTENIMIENTO</a:t>
            </a:r>
          </a:p>
        </p:txBody>
      </p:sp>
    </p:spTree>
    <p:extLst>
      <p:ext uri="{BB962C8B-B14F-4D97-AF65-F5344CB8AC3E}">
        <p14:creationId xmlns:p14="http://schemas.microsoft.com/office/powerpoint/2010/main" val="66096268"/>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mplate Propuesta 2022 - Plan de Trabajo">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50040F2E-A856-F74D-B747-8F63180F396D}"/>
              </a:ext>
            </a:extLst>
          </p:cNvPr>
          <p:cNvSpPr>
            <a:spLocks noGrp="1"/>
          </p:cNvSpPr>
          <p:nvPr>
            <p:ph type="title"/>
          </p:nvPr>
        </p:nvSpPr>
        <p:spPr>
          <a:xfrm>
            <a:off x="1138892" y="36122"/>
            <a:ext cx="10610449" cy="276999"/>
          </a:xfrm>
        </p:spPr>
        <p:txBody>
          <a:bodyPr wrap="square" lIns="0" anchor="t">
            <a:noAutofit/>
          </a:bodyPr>
          <a:lstStyle>
            <a:lvl1pPr>
              <a:defRPr lang="es-ES_tradnl" cap="all" baseline="0" noProof="0" dirty="0"/>
            </a:lvl1pPr>
          </a:lstStyle>
          <a:p>
            <a:pPr lvl="0"/>
            <a:r>
              <a:rPr lang="es-ES_tradnl" noProof="0"/>
              <a:t>Haga clic para modificar el estilo de título del patrón</a:t>
            </a:r>
          </a:p>
        </p:txBody>
      </p:sp>
      <p:sp>
        <p:nvSpPr>
          <p:cNvPr id="7" name="Marcador de texto 5">
            <a:extLst>
              <a:ext uri="{FF2B5EF4-FFF2-40B4-BE49-F238E27FC236}">
                <a16:creationId xmlns:a16="http://schemas.microsoft.com/office/drawing/2014/main" id="{CC6303D6-D0FC-984A-8419-A50470327A59}"/>
              </a:ext>
            </a:extLst>
          </p:cNvPr>
          <p:cNvSpPr>
            <a:spLocks noGrp="1"/>
          </p:cNvSpPr>
          <p:nvPr>
            <p:ph type="body" sz="quarter" idx="10"/>
          </p:nvPr>
        </p:nvSpPr>
        <p:spPr>
          <a:xfrm>
            <a:off x="442659" y="671500"/>
            <a:ext cx="11306682" cy="5741999"/>
          </a:xfrm>
        </p:spPr>
        <p:txBody>
          <a:bodyPr/>
          <a:lstStyle/>
          <a:p>
            <a:pPr lvl="0"/>
            <a:r>
              <a:rPr lang="es-ES_tradnl" noProof="0"/>
              <a:t>Haga clic para modificar los estilos de texto del patrón</a:t>
            </a:r>
          </a:p>
          <a:p>
            <a:pPr lvl="1"/>
            <a:r>
              <a:rPr lang="es-ES_tradnl" noProof="0"/>
              <a:t>Segundo nivel</a:t>
            </a:r>
          </a:p>
          <a:p>
            <a:pPr lvl="2"/>
            <a:r>
              <a:rPr lang="es-ES_tradnl" noProof="0"/>
              <a:t>Tercer nivel</a:t>
            </a:r>
          </a:p>
          <a:p>
            <a:pPr lvl="3"/>
            <a:r>
              <a:rPr lang="es-ES_tradnl" noProof="0"/>
              <a:t>Cuarto nivel</a:t>
            </a:r>
          </a:p>
          <a:p>
            <a:pPr lvl="4"/>
            <a:r>
              <a:rPr lang="es-ES_tradnl" noProof="0"/>
              <a:t>Quinto nivel</a:t>
            </a:r>
          </a:p>
        </p:txBody>
      </p:sp>
      <p:sp>
        <p:nvSpPr>
          <p:cNvPr id="4" name="Marcador de texto 4">
            <a:extLst>
              <a:ext uri="{FF2B5EF4-FFF2-40B4-BE49-F238E27FC236}">
                <a16:creationId xmlns:a16="http://schemas.microsoft.com/office/drawing/2014/main" id="{DED7AFAC-0516-FB48-9E02-44CC62A80883}"/>
              </a:ext>
            </a:extLst>
          </p:cNvPr>
          <p:cNvSpPr>
            <a:spLocks noGrp="1"/>
          </p:cNvSpPr>
          <p:nvPr>
            <p:ph type="body" sz="quarter" idx="11"/>
          </p:nvPr>
        </p:nvSpPr>
        <p:spPr>
          <a:xfrm>
            <a:off x="1138639" y="290195"/>
            <a:ext cx="10610449" cy="217488"/>
          </a:xfrm>
        </p:spPr>
        <p:txBody>
          <a:bodyPr/>
          <a:lstStyle>
            <a:lvl1pPr>
              <a:defRPr sz="1200">
                <a:solidFill>
                  <a:schemeClr val="tx2"/>
                </a:solidFill>
              </a:defRPr>
            </a:lvl1pPr>
          </a:lstStyle>
          <a:p>
            <a:pPr lvl="0"/>
            <a:r>
              <a:rPr lang="es-ES_tradnl" noProof="0"/>
              <a:t>Haga clic para modificar los estilos de texto del patrón</a:t>
            </a:r>
          </a:p>
        </p:txBody>
      </p:sp>
      <p:sp>
        <p:nvSpPr>
          <p:cNvPr id="9" name="Rectángulo 8">
            <a:extLst>
              <a:ext uri="{FF2B5EF4-FFF2-40B4-BE49-F238E27FC236}">
                <a16:creationId xmlns:a16="http://schemas.microsoft.com/office/drawing/2014/main" id="{9D31E6A8-7FC5-D346-B913-27F3CB84C0BF}"/>
              </a:ext>
            </a:extLst>
          </p:cNvPr>
          <p:cNvSpPr/>
          <p:nvPr userDrawn="1"/>
        </p:nvSpPr>
        <p:spPr bwMode="auto">
          <a:xfrm>
            <a:off x="596159" y="67814"/>
            <a:ext cx="405613" cy="405613"/>
          </a:xfrm>
          <a:prstGeom prst="rect">
            <a:avLst/>
          </a:prstGeom>
          <a:solidFill>
            <a:schemeClr val="bg1"/>
          </a:solidFill>
          <a:ln w="25400" cap="flat">
            <a:solidFill>
              <a:schemeClr val="accent2"/>
            </a:solidFill>
            <a:miter lim="800000"/>
          </a:ln>
        </p:spPr>
        <p:txBody>
          <a:bodyPr lIns="0" tIns="0" rIns="0" bIns="0" rtlCol="0" anchor="ctr">
            <a:noAutofit/>
          </a:bodyPr>
          <a:lstStyle/>
          <a:p>
            <a:pPr algn="ctr"/>
            <a:endParaRPr lang="es-ES_tradnl" sz="1400" noProof="0"/>
          </a:p>
        </p:txBody>
      </p:sp>
      <p:sp>
        <p:nvSpPr>
          <p:cNvPr id="8" name="Forma libre 7">
            <a:extLst>
              <a:ext uri="{FF2B5EF4-FFF2-40B4-BE49-F238E27FC236}">
                <a16:creationId xmlns:a16="http://schemas.microsoft.com/office/drawing/2014/main" id="{25E9E268-1CE1-3140-959E-B7BF8EE87A20}"/>
              </a:ext>
            </a:extLst>
          </p:cNvPr>
          <p:cNvSpPr/>
          <p:nvPr userDrawn="1"/>
        </p:nvSpPr>
        <p:spPr>
          <a:xfrm>
            <a:off x="673227" y="136187"/>
            <a:ext cx="251476" cy="268866"/>
          </a:xfrm>
          <a:custGeom>
            <a:avLst/>
            <a:gdLst>
              <a:gd name="connsiteX0" fmla="*/ 3306442 w 4561361"/>
              <a:gd name="connsiteY0" fmla="*/ 3535518 h 4876799"/>
              <a:gd name="connsiteX1" fmla="*/ 3220088 w 4561361"/>
              <a:gd name="connsiteY1" fmla="*/ 3621881 h 4876799"/>
              <a:gd name="connsiteX2" fmla="*/ 3306442 w 4561361"/>
              <a:gd name="connsiteY2" fmla="*/ 3708244 h 4876799"/>
              <a:gd name="connsiteX3" fmla="*/ 3392796 w 4561361"/>
              <a:gd name="connsiteY3" fmla="*/ 3621881 h 4876799"/>
              <a:gd name="connsiteX4" fmla="*/ 3306442 w 4561361"/>
              <a:gd name="connsiteY4" fmla="*/ 3535518 h 4876799"/>
              <a:gd name="connsiteX5" fmla="*/ 1725721 w 4561361"/>
              <a:gd name="connsiteY5" fmla="*/ 3141030 h 4876799"/>
              <a:gd name="connsiteX6" fmla="*/ 1720958 w 4561361"/>
              <a:gd name="connsiteY6" fmla="*/ 3145793 h 4876799"/>
              <a:gd name="connsiteX7" fmla="*/ 1720958 w 4561361"/>
              <a:gd name="connsiteY7" fmla="*/ 3308984 h 4876799"/>
              <a:gd name="connsiteX8" fmla="*/ 1725721 w 4561361"/>
              <a:gd name="connsiteY8" fmla="*/ 3313747 h 4876799"/>
              <a:gd name="connsiteX9" fmla="*/ 1888912 w 4561361"/>
              <a:gd name="connsiteY9" fmla="*/ 3313747 h 4876799"/>
              <a:gd name="connsiteX10" fmla="*/ 1893675 w 4561361"/>
              <a:gd name="connsiteY10" fmla="*/ 3308984 h 4876799"/>
              <a:gd name="connsiteX11" fmla="*/ 1893675 w 4561361"/>
              <a:gd name="connsiteY11" fmla="*/ 3145793 h 4876799"/>
              <a:gd name="connsiteX12" fmla="*/ 1888912 w 4561361"/>
              <a:gd name="connsiteY12" fmla="*/ 3141030 h 4876799"/>
              <a:gd name="connsiteX13" fmla="*/ 1094538 w 4561361"/>
              <a:gd name="connsiteY13" fmla="*/ 3141030 h 4876799"/>
              <a:gd name="connsiteX14" fmla="*/ 1089775 w 4561361"/>
              <a:gd name="connsiteY14" fmla="*/ 3145793 h 4876799"/>
              <a:gd name="connsiteX15" fmla="*/ 1089775 w 4561361"/>
              <a:gd name="connsiteY15" fmla="*/ 3308984 h 4876799"/>
              <a:gd name="connsiteX16" fmla="*/ 1094538 w 4561361"/>
              <a:gd name="connsiteY16" fmla="*/ 3313747 h 4876799"/>
              <a:gd name="connsiteX17" fmla="*/ 1257729 w 4561361"/>
              <a:gd name="connsiteY17" fmla="*/ 3313747 h 4876799"/>
              <a:gd name="connsiteX18" fmla="*/ 1262492 w 4561361"/>
              <a:gd name="connsiteY18" fmla="*/ 3308984 h 4876799"/>
              <a:gd name="connsiteX19" fmla="*/ 1262492 w 4561361"/>
              <a:gd name="connsiteY19" fmla="*/ 3145793 h 4876799"/>
              <a:gd name="connsiteX20" fmla="*/ 1257729 w 4561361"/>
              <a:gd name="connsiteY20" fmla="*/ 3141030 h 4876799"/>
              <a:gd name="connsiteX21" fmla="*/ 463335 w 4561361"/>
              <a:gd name="connsiteY21" fmla="*/ 3141030 h 4876799"/>
              <a:gd name="connsiteX22" fmla="*/ 458572 w 4561361"/>
              <a:gd name="connsiteY22" fmla="*/ 3145793 h 4876799"/>
              <a:gd name="connsiteX23" fmla="*/ 458572 w 4561361"/>
              <a:gd name="connsiteY23" fmla="*/ 3308984 h 4876799"/>
              <a:gd name="connsiteX24" fmla="*/ 463335 w 4561361"/>
              <a:gd name="connsiteY24" fmla="*/ 3313747 h 4876799"/>
              <a:gd name="connsiteX25" fmla="*/ 626536 w 4561361"/>
              <a:gd name="connsiteY25" fmla="*/ 3313747 h 4876799"/>
              <a:gd name="connsiteX26" fmla="*/ 631298 w 4561361"/>
              <a:gd name="connsiteY26" fmla="*/ 3308984 h 4876799"/>
              <a:gd name="connsiteX27" fmla="*/ 631298 w 4561361"/>
              <a:gd name="connsiteY27" fmla="*/ 3145793 h 4876799"/>
              <a:gd name="connsiteX28" fmla="*/ 626536 w 4561361"/>
              <a:gd name="connsiteY28" fmla="*/ 3141030 h 4876799"/>
              <a:gd name="connsiteX29" fmla="*/ 3306451 w 4561361"/>
              <a:gd name="connsiteY29" fmla="*/ 2998155 h 4876799"/>
              <a:gd name="connsiteX30" fmla="*/ 3377889 w 4561361"/>
              <a:gd name="connsiteY30" fmla="*/ 3069593 h 4876799"/>
              <a:gd name="connsiteX31" fmla="*/ 3377889 w 4561361"/>
              <a:gd name="connsiteY31" fmla="*/ 3404101 h 4876799"/>
              <a:gd name="connsiteX32" fmla="*/ 3524222 w 4561361"/>
              <a:gd name="connsiteY32" fmla="*/ 3550443 h 4876799"/>
              <a:gd name="connsiteX33" fmla="*/ 3700939 w 4561361"/>
              <a:gd name="connsiteY33" fmla="*/ 3550443 h 4876799"/>
              <a:gd name="connsiteX34" fmla="*/ 3772377 w 4561361"/>
              <a:gd name="connsiteY34" fmla="*/ 3621881 h 4876799"/>
              <a:gd name="connsiteX35" fmla="*/ 3700939 w 4561361"/>
              <a:gd name="connsiteY35" fmla="*/ 3693318 h 4876799"/>
              <a:gd name="connsiteX36" fmla="*/ 3524222 w 4561361"/>
              <a:gd name="connsiteY36" fmla="*/ 3693318 h 4876799"/>
              <a:gd name="connsiteX37" fmla="*/ 3306451 w 4561361"/>
              <a:gd name="connsiteY37" fmla="*/ 3851119 h 4876799"/>
              <a:gd name="connsiteX38" fmla="*/ 3077223 w 4561361"/>
              <a:gd name="connsiteY38" fmla="*/ 3621881 h 4876799"/>
              <a:gd name="connsiteX39" fmla="*/ 3235014 w 4561361"/>
              <a:gd name="connsiteY39" fmla="*/ 3404101 h 4876799"/>
              <a:gd name="connsiteX40" fmla="*/ 3235014 w 4561361"/>
              <a:gd name="connsiteY40" fmla="*/ 3069593 h 4876799"/>
              <a:gd name="connsiteX41" fmla="*/ 3306451 w 4561361"/>
              <a:gd name="connsiteY41" fmla="*/ 2998155 h 4876799"/>
              <a:gd name="connsiteX42" fmla="*/ 1725721 w 4561361"/>
              <a:gd name="connsiteY42" fmla="*/ 2998155 h 4876799"/>
              <a:gd name="connsiteX43" fmla="*/ 1888912 w 4561361"/>
              <a:gd name="connsiteY43" fmla="*/ 2998155 h 4876799"/>
              <a:gd name="connsiteX44" fmla="*/ 2036550 w 4561361"/>
              <a:gd name="connsiteY44" fmla="*/ 3145793 h 4876799"/>
              <a:gd name="connsiteX45" fmla="*/ 2036550 w 4561361"/>
              <a:gd name="connsiteY45" fmla="*/ 3308984 h 4876799"/>
              <a:gd name="connsiteX46" fmla="*/ 1888912 w 4561361"/>
              <a:gd name="connsiteY46" fmla="*/ 3456622 h 4876799"/>
              <a:gd name="connsiteX47" fmla="*/ 1725721 w 4561361"/>
              <a:gd name="connsiteY47" fmla="*/ 3456622 h 4876799"/>
              <a:gd name="connsiteX48" fmla="*/ 1578083 w 4561361"/>
              <a:gd name="connsiteY48" fmla="*/ 3308984 h 4876799"/>
              <a:gd name="connsiteX49" fmla="*/ 1578083 w 4561361"/>
              <a:gd name="connsiteY49" fmla="*/ 3145793 h 4876799"/>
              <a:gd name="connsiteX50" fmla="*/ 1725721 w 4561361"/>
              <a:gd name="connsiteY50" fmla="*/ 2998155 h 4876799"/>
              <a:gd name="connsiteX51" fmla="*/ 1094538 w 4561361"/>
              <a:gd name="connsiteY51" fmla="*/ 2998155 h 4876799"/>
              <a:gd name="connsiteX52" fmla="*/ 1257729 w 4561361"/>
              <a:gd name="connsiteY52" fmla="*/ 2998155 h 4876799"/>
              <a:gd name="connsiteX53" fmla="*/ 1405367 w 4561361"/>
              <a:gd name="connsiteY53" fmla="*/ 3145793 h 4876799"/>
              <a:gd name="connsiteX54" fmla="*/ 1405367 w 4561361"/>
              <a:gd name="connsiteY54" fmla="*/ 3308984 h 4876799"/>
              <a:gd name="connsiteX55" fmla="*/ 1257729 w 4561361"/>
              <a:gd name="connsiteY55" fmla="*/ 3456622 h 4876799"/>
              <a:gd name="connsiteX56" fmla="*/ 1094538 w 4561361"/>
              <a:gd name="connsiteY56" fmla="*/ 3456622 h 4876799"/>
              <a:gd name="connsiteX57" fmla="*/ 946900 w 4561361"/>
              <a:gd name="connsiteY57" fmla="*/ 3308984 h 4876799"/>
              <a:gd name="connsiteX58" fmla="*/ 946900 w 4561361"/>
              <a:gd name="connsiteY58" fmla="*/ 3145793 h 4876799"/>
              <a:gd name="connsiteX59" fmla="*/ 1094538 w 4561361"/>
              <a:gd name="connsiteY59" fmla="*/ 2998155 h 4876799"/>
              <a:gd name="connsiteX60" fmla="*/ 463335 w 4561361"/>
              <a:gd name="connsiteY60" fmla="*/ 2998155 h 4876799"/>
              <a:gd name="connsiteX61" fmla="*/ 626536 w 4561361"/>
              <a:gd name="connsiteY61" fmla="*/ 2998155 h 4876799"/>
              <a:gd name="connsiteX62" fmla="*/ 774173 w 4561361"/>
              <a:gd name="connsiteY62" fmla="*/ 3145793 h 4876799"/>
              <a:gd name="connsiteX63" fmla="*/ 774173 w 4561361"/>
              <a:gd name="connsiteY63" fmla="*/ 3308984 h 4876799"/>
              <a:gd name="connsiteX64" fmla="*/ 626536 w 4561361"/>
              <a:gd name="connsiteY64" fmla="*/ 3456622 h 4876799"/>
              <a:gd name="connsiteX65" fmla="*/ 463335 w 4561361"/>
              <a:gd name="connsiteY65" fmla="*/ 3456622 h 4876799"/>
              <a:gd name="connsiteX66" fmla="*/ 315697 w 4561361"/>
              <a:gd name="connsiteY66" fmla="*/ 3308984 h 4876799"/>
              <a:gd name="connsiteX67" fmla="*/ 315697 w 4561361"/>
              <a:gd name="connsiteY67" fmla="*/ 3145793 h 4876799"/>
              <a:gd name="connsiteX68" fmla="*/ 463335 w 4561361"/>
              <a:gd name="connsiteY68" fmla="*/ 2998155 h 4876799"/>
              <a:gd name="connsiteX69" fmla="*/ 3306442 w 4561361"/>
              <a:gd name="connsiteY69" fmla="*/ 2825429 h 4876799"/>
              <a:gd name="connsiteX70" fmla="*/ 2510000 w 4561361"/>
              <a:gd name="connsiteY70" fmla="*/ 3621881 h 4876799"/>
              <a:gd name="connsiteX71" fmla="*/ 3306442 w 4561361"/>
              <a:gd name="connsiteY71" fmla="*/ 4418333 h 4876799"/>
              <a:gd name="connsiteX72" fmla="*/ 4102894 w 4561361"/>
              <a:gd name="connsiteY72" fmla="*/ 3621881 h 4876799"/>
              <a:gd name="connsiteX73" fmla="*/ 3306442 w 4561361"/>
              <a:gd name="connsiteY73" fmla="*/ 2825429 h 4876799"/>
              <a:gd name="connsiteX74" fmla="*/ 3306442 w 4561361"/>
              <a:gd name="connsiteY74" fmla="*/ 2682554 h 4876799"/>
              <a:gd name="connsiteX75" fmla="*/ 4245769 w 4561361"/>
              <a:gd name="connsiteY75" fmla="*/ 3621881 h 4876799"/>
              <a:gd name="connsiteX76" fmla="*/ 3306442 w 4561361"/>
              <a:gd name="connsiteY76" fmla="*/ 4561208 h 4876799"/>
              <a:gd name="connsiteX77" fmla="*/ 2367125 w 4561361"/>
              <a:gd name="connsiteY77" fmla="*/ 3621881 h 4876799"/>
              <a:gd name="connsiteX78" fmla="*/ 3306442 w 4561361"/>
              <a:gd name="connsiteY78" fmla="*/ 2682554 h 4876799"/>
              <a:gd name="connsiteX79" fmla="*/ 3306442 w 4561361"/>
              <a:gd name="connsiteY79" fmla="*/ 2509837 h 4876799"/>
              <a:gd name="connsiteX80" fmla="*/ 2194398 w 4561361"/>
              <a:gd name="connsiteY80" fmla="*/ 3621880 h 4876799"/>
              <a:gd name="connsiteX81" fmla="*/ 3306442 w 4561361"/>
              <a:gd name="connsiteY81" fmla="*/ 4733924 h 4876799"/>
              <a:gd name="connsiteX82" fmla="*/ 4418486 w 4561361"/>
              <a:gd name="connsiteY82" fmla="*/ 3621880 h 4876799"/>
              <a:gd name="connsiteX83" fmla="*/ 3306442 w 4561361"/>
              <a:gd name="connsiteY83" fmla="*/ 2509837 h 4876799"/>
              <a:gd name="connsiteX84" fmla="*/ 2359609 w 4561361"/>
              <a:gd name="connsiteY84" fmla="*/ 2509837 h 4876799"/>
              <a:gd name="connsiteX85" fmla="*/ 2352151 w 4561361"/>
              <a:gd name="connsiteY85" fmla="*/ 2517295 h 4876799"/>
              <a:gd name="connsiteX86" fmla="*/ 2352142 w 4561361"/>
              <a:gd name="connsiteY86" fmla="*/ 2517295 h 4876799"/>
              <a:gd name="connsiteX87" fmla="*/ 2352142 w 4561361"/>
              <a:gd name="connsiteY87" fmla="*/ 2675095 h 4876799"/>
              <a:gd name="connsiteX88" fmla="*/ 2359600 w 4561361"/>
              <a:gd name="connsiteY88" fmla="*/ 2682553 h 4876799"/>
              <a:gd name="connsiteX89" fmla="*/ 2475262 w 4561361"/>
              <a:gd name="connsiteY89" fmla="*/ 2682553 h 4876799"/>
              <a:gd name="connsiteX90" fmla="*/ 2524859 w 4561361"/>
              <a:gd name="connsiteY90" fmla="*/ 2640825 h 4876799"/>
              <a:gd name="connsiteX91" fmla="*/ 2524859 w 4561361"/>
              <a:gd name="connsiteY91" fmla="*/ 2517295 h 4876799"/>
              <a:gd name="connsiteX92" fmla="*/ 2517400 w 4561361"/>
              <a:gd name="connsiteY92" fmla="*/ 2509837 h 4876799"/>
              <a:gd name="connsiteX93" fmla="*/ 1725721 w 4561361"/>
              <a:gd name="connsiteY93" fmla="*/ 2509837 h 4876799"/>
              <a:gd name="connsiteX94" fmla="*/ 1720958 w 4561361"/>
              <a:gd name="connsiteY94" fmla="*/ 2514600 h 4876799"/>
              <a:gd name="connsiteX95" fmla="*/ 1720958 w 4561361"/>
              <a:gd name="connsiteY95" fmla="*/ 2677791 h 4876799"/>
              <a:gd name="connsiteX96" fmla="*/ 1725721 w 4561361"/>
              <a:gd name="connsiteY96" fmla="*/ 2682554 h 4876799"/>
              <a:gd name="connsiteX97" fmla="*/ 1888912 w 4561361"/>
              <a:gd name="connsiteY97" fmla="*/ 2682554 h 4876799"/>
              <a:gd name="connsiteX98" fmla="*/ 1893675 w 4561361"/>
              <a:gd name="connsiteY98" fmla="*/ 2677791 h 4876799"/>
              <a:gd name="connsiteX99" fmla="*/ 1893675 w 4561361"/>
              <a:gd name="connsiteY99" fmla="*/ 2514600 h 4876799"/>
              <a:gd name="connsiteX100" fmla="*/ 1888912 w 4561361"/>
              <a:gd name="connsiteY100" fmla="*/ 2509837 h 4876799"/>
              <a:gd name="connsiteX101" fmla="*/ 1094538 w 4561361"/>
              <a:gd name="connsiteY101" fmla="*/ 2509837 h 4876799"/>
              <a:gd name="connsiteX102" fmla="*/ 1089775 w 4561361"/>
              <a:gd name="connsiteY102" fmla="*/ 2514600 h 4876799"/>
              <a:gd name="connsiteX103" fmla="*/ 1089775 w 4561361"/>
              <a:gd name="connsiteY103" fmla="*/ 2677791 h 4876799"/>
              <a:gd name="connsiteX104" fmla="*/ 1094538 w 4561361"/>
              <a:gd name="connsiteY104" fmla="*/ 2682554 h 4876799"/>
              <a:gd name="connsiteX105" fmla="*/ 1257729 w 4561361"/>
              <a:gd name="connsiteY105" fmla="*/ 2682554 h 4876799"/>
              <a:gd name="connsiteX106" fmla="*/ 1262492 w 4561361"/>
              <a:gd name="connsiteY106" fmla="*/ 2677791 h 4876799"/>
              <a:gd name="connsiteX107" fmla="*/ 1262492 w 4561361"/>
              <a:gd name="connsiteY107" fmla="*/ 2514600 h 4876799"/>
              <a:gd name="connsiteX108" fmla="*/ 1257729 w 4561361"/>
              <a:gd name="connsiteY108" fmla="*/ 2509837 h 4876799"/>
              <a:gd name="connsiteX109" fmla="*/ 463335 w 4561361"/>
              <a:gd name="connsiteY109" fmla="*/ 2509837 h 4876799"/>
              <a:gd name="connsiteX110" fmla="*/ 458572 w 4561361"/>
              <a:gd name="connsiteY110" fmla="*/ 2514600 h 4876799"/>
              <a:gd name="connsiteX111" fmla="*/ 458572 w 4561361"/>
              <a:gd name="connsiteY111" fmla="*/ 2677791 h 4876799"/>
              <a:gd name="connsiteX112" fmla="*/ 463335 w 4561361"/>
              <a:gd name="connsiteY112" fmla="*/ 2682554 h 4876799"/>
              <a:gd name="connsiteX113" fmla="*/ 626536 w 4561361"/>
              <a:gd name="connsiteY113" fmla="*/ 2682554 h 4876799"/>
              <a:gd name="connsiteX114" fmla="*/ 631298 w 4561361"/>
              <a:gd name="connsiteY114" fmla="*/ 2677791 h 4876799"/>
              <a:gd name="connsiteX115" fmla="*/ 631298 w 4561361"/>
              <a:gd name="connsiteY115" fmla="*/ 2514600 h 4876799"/>
              <a:gd name="connsiteX116" fmla="*/ 626536 w 4561361"/>
              <a:gd name="connsiteY116" fmla="*/ 2509837 h 4876799"/>
              <a:gd name="connsiteX117" fmla="*/ 1725721 w 4561361"/>
              <a:gd name="connsiteY117" fmla="*/ 2366962 h 4876799"/>
              <a:gd name="connsiteX118" fmla="*/ 1888912 w 4561361"/>
              <a:gd name="connsiteY118" fmla="*/ 2366962 h 4876799"/>
              <a:gd name="connsiteX119" fmla="*/ 2036550 w 4561361"/>
              <a:gd name="connsiteY119" fmla="*/ 2514600 h 4876799"/>
              <a:gd name="connsiteX120" fmla="*/ 2036550 w 4561361"/>
              <a:gd name="connsiteY120" fmla="*/ 2677791 h 4876799"/>
              <a:gd name="connsiteX121" fmla="*/ 1888912 w 4561361"/>
              <a:gd name="connsiteY121" fmla="*/ 2825429 h 4876799"/>
              <a:gd name="connsiteX122" fmla="*/ 1725721 w 4561361"/>
              <a:gd name="connsiteY122" fmla="*/ 2825429 h 4876799"/>
              <a:gd name="connsiteX123" fmla="*/ 1578083 w 4561361"/>
              <a:gd name="connsiteY123" fmla="*/ 2677791 h 4876799"/>
              <a:gd name="connsiteX124" fmla="*/ 1578083 w 4561361"/>
              <a:gd name="connsiteY124" fmla="*/ 2514600 h 4876799"/>
              <a:gd name="connsiteX125" fmla="*/ 1725721 w 4561361"/>
              <a:gd name="connsiteY125" fmla="*/ 2366962 h 4876799"/>
              <a:gd name="connsiteX126" fmla="*/ 1094538 w 4561361"/>
              <a:gd name="connsiteY126" fmla="*/ 2366962 h 4876799"/>
              <a:gd name="connsiteX127" fmla="*/ 1257729 w 4561361"/>
              <a:gd name="connsiteY127" fmla="*/ 2366962 h 4876799"/>
              <a:gd name="connsiteX128" fmla="*/ 1405367 w 4561361"/>
              <a:gd name="connsiteY128" fmla="*/ 2514600 h 4876799"/>
              <a:gd name="connsiteX129" fmla="*/ 1405367 w 4561361"/>
              <a:gd name="connsiteY129" fmla="*/ 2677791 h 4876799"/>
              <a:gd name="connsiteX130" fmla="*/ 1257729 w 4561361"/>
              <a:gd name="connsiteY130" fmla="*/ 2825429 h 4876799"/>
              <a:gd name="connsiteX131" fmla="*/ 1094538 w 4561361"/>
              <a:gd name="connsiteY131" fmla="*/ 2825429 h 4876799"/>
              <a:gd name="connsiteX132" fmla="*/ 946900 w 4561361"/>
              <a:gd name="connsiteY132" fmla="*/ 2677791 h 4876799"/>
              <a:gd name="connsiteX133" fmla="*/ 946900 w 4561361"/>
              <a:gd name="connsiteY133" fmla="*/ 2514600 h 4876799"/>
              <a:gd name="connsiteX134" fmla="*/ 1094538 w 4561361"/>
              <a:gd name="connsiteY134" fmla="*/ 2366962 h 4876799"/>
              <a:gd name="connsiteX135" fmla="*/ 463335 w 4561361"/>
              <a:gd name="connsiteY135" fmla="*/ 2366962 h 4876799"/>
              <a:gd name="connsiteX136" fmla="*/ 626536 w 4561361"/>
              <a:gd name="connsiteY136" fmla="*/ 2366962 h 4876799"/>
              <a:gd name="connsiteX137" fmla="*/ 774173 w 4561361"/>
              <a:gd name="connsiteY137" fmla="*/ 2514600 h 4876799"/>
              <a:gd name="connsiteX138" fmla="*/ 774173 w 4561361"/>
              <a:gd name="connsiteY138" fmla="*/ 2677791 h 4876799"/>
              <a:gd name="connsiteX139" fmla="*/ 626536 w 4561361"/>
              <a:gd name="connsiteY139" fmla="*/ 2825429 h 4876799"/>
              <a:gd name="connsiteX140" fmla="*/ 463335 w 4561361"/>
              <a:gd name="connsiteY140" fmla="*/ 2825429 h 4876799"/>
              <a:gd name="connsiteX141" fmla="*/ 315697 w 4561361"/>
              <a:gd name="connsiteY141" fmla="*/ 2677791 h 4876799"/>
              <a:gd name="connsiteX142" fmla="*/ 315697 w 4561361"/>
              <a:gd name="connsiteY142" fmla="*/ 2514600 h 4876799"/>
              <a:gd name="connsiteX143" fmla="*/ 463335 w 4561361"/>
              <a:gd name="connsiteY143" fmla="*/ 2366962 h 4876799"/>
              <a:gd name="connsiteX144" fmla="*/ 3619187 w 4561361"/>
              <a:gd name="connsiteY144" fmla="*/ 1878653 h 4876799"/>
              <a:gd name="connsiteX145" fmla="*/ 3614424 w 4561361"/>
              <a:gd name="connsiteY145" fmla="*/ 1883416 h 4876799"/>
              <a:gd name="connsiteX146" fmla="*/ 3614424 w 4561361"/>
              <a:gd name="connsiteY146" fmla="*/ 2046607 h 4876799"/>
              <a:gd name="connsiteX147" fmla="*/ 3619187 w 4561361"/>
              <a:gd name="connsiteY147" fmla="*/ 2051370 h 4876799"/>
              <a:gd name="connsiteX148" fmla="*/ 3782378 w 4561361"/>
              <a:gd name="connsiteY148" fmla="*/ 2051370 h 4876799"/>
              <a:gd name="connsiteX149" fmla="*/ 3787141 w 4561361"/>
              <a:gd name="connsiteY149" fmla="*/ 2046607 h 4876799"/>
              <a:gd name="connsiteX150" fmla="*/ 3787141 w 4561361"/>
              <a:gd name="connsiteY150" fmla="*/ 1883416 h 4876799"/>
              <a:gd name="connsiteX151" fmla="*/ 3782378 w 4561361"/>
              <a:gd name="connsiteY151" fmla="*/ 1878653 h 4876799"/>
              <a:gd name="connsiteX152" fmla="*/ 2988003 w 4561361"/>
              <a:gd name="connsiteY152" fmla="*/ 1878653 h 4876799"/>
              <a:gd name="connsiteX153" fmla="*/ 2983240 w 4561361"/>
              <a:gd name="connsiteY153" fmla="*/ 1883416 h 4876799"/>
              <a:gd name="connsiteX154" fmla="*/ 2983240 w 4561361"/>
              <a:gd name="connsiteY154" fmla="*/ 2046607 h 4876799"/>
              <a:gd name="connsiteX155" fmla="*/ 2988003 w 4561361"/>
              <a:gd name="connsiteY155" fmla="*/ 2051370 h 4876799"/>
              <a:gd name="connsiteX156" fmla="*/ 3151194 w 4561361"/>
              <a:gd name="connsiteY156" fmla="*/ 2051370 h 4876799"/>
              <a:gd name="connsiteX157" fmla="*/ 3155957 w 4561361"/>
              <a:gd name="connsiteY157" fmla="*/ 2046607 h 4876799"/>
              <a:gd name="connsiteX158" fmla="*/ 3155957 w 4561361"/>
              <a:gd name="connsiteY158" fmla="*/ 1883416 h 4876799"/>
              <a:gd name="connsiteX159" fmla="*/ 3151194 w 4561361"/>
              <a:gd name="connsiteY159" fmla="*/ 1878653 h 4876799"/>
              <a:gd name="connsiteX160" fmla="*/ 2356914 w 4561361"/>
              <a:gd name="connsiteY160" fmla="*/ 1878653 h 4876799"/>
              <a:gd name="connsiteX161" fmla="*/ 2352152 w 4561361"/>
              <a:gd name="connsiteY161" fmla="*/ 1883416 h 4876799"/>
              <a:gd name="connsiteX162" fmla="*/ 2352152 w 4561361"/>
              <a:gd name="connsiteY162" fmla="*/ 2046607 h 4876799"/>
              <a:gd name="connsiteX163" fmla="*/ 2356914 w 4561361"/>
              <a:gd name="connsiteY163" fmla="*/ 2051370 h 4876799"/>
              <a:gd name="connsiteX164" fmla="*/ 2520106 w 4561361"/>
              <a:gd name="connsiteY164" fmla="*/ 2051370 h 4876799"/>
              <a:gd name="connsiteX165" fmla="*/ 2524869 w 4561361"/>
              <a:gd name="connsiteY165" fmla="*/ 2046607 h 4876799"/>
              <a:gd name="connsiteX166" fmla="*/ 2524869 w 4561361"/>
              <a:gd name="connsiteY166" fmla="*/ 1883416 h 4876799"/>
              <a:gd name="connsiteX167" fmla="*/ 2520106 w 4561361"/>
              <a:gd name="connsiteY167" fmla="*/ 1878653 h 4876799"/>
              <a:gd name="connsiteX168" fmla="*/ 1725721 w 4561361"/>
              <a:gd name="connsiteY168" fmla="*/ 1878644 h 4876799"/>
              <a:gd name="connsiteX169" fmla="*/ 1720958 w 4561361"/>
              <a:gd name="connsiteY169" fmla="*/ 1883406 h 4876799"/>
              <a:gd name="connsiteX170" fmla="*/ 1720958 w 4561361"/>
              <a:gd name="connsiteY170" fmla="*/ 2046598 h 4876799"/>
              <a:gd name="connsiteX171" fmla="*/ 1725721 w 4561361"/>
              <a:gd name="connsiteY171" fmla="*/ 2051360 h 4876799"/>
              <a:gd name="connsiteX172" fmla="*/ 1888912 w 4561361"/>
              <a:gd name="connsiteY172" fmla="*/ 2051360 h 4876799"/>
              <a:gd name="connsiteX173" fmla="*/ 1893675 w 4561361"/>
              <a:gd name="connsiteY173" fmla="*/ 2046598 h 4876799"/>
              <a:gd name="connsiteX174" fmla="*/ 1893675 w 4561361"/>
              <a:gd name="connsiteY174" fmla="*/ 1883406 h 4876799"/>
              <a:gd name="connsiteX175" fmla="*/ 1888912 w 4561361"/>
              <a:gd name="connsiteY175" fmla="*/ 1878644 h 4876799"/>
              <a:gd name="connsiteX176" fmla="*/ 1094538 w 4561361"/>
              <a:gd name="connsiteY176" fmla="*/ 1878644 h 4876799"/>
              <a:gd name="connsiteX177" fmla="*/ 1089775 w 4561361"/>
              <a:gd name="connsiteY177" fmla="*/ 1883406 h 4876799"/>
              <a:gd name="connsiteX178" fmla="*/ 1089775 w 4561361"/>
              <a:gd name="connsiteY178" fmla="*/ 2046598 h 4876799"/>
              <a:gd name="connsiteX179" fmla="*/ 1094538 w 4561361"/>
              <a:gd name="connsiteY179" fmla="*/ 2051360 h 4876799"/>
              <a:gd name="connsiteX180" fmla="*/ 1257729 w 4561361"/>
              <a:gd name="connsiteY180" fmla="*/ 2051360 h 4876799"/>
              <a:gd name="connsiteX181" fmla="*/ 1262492 w 4561361"/>
              <a:gd name="connsiteY181" fmla="*/ 2046598 h 4876799"/>
              <a:gd name="connsiteX182" fmla="*/ 1262492 w 4561361"/>
              <a:gd name="connsiteY182" fmla="*/ 1883406 h 4876799"/>
              <a:gd name="connsiteX183" fmla="*/ 1257729 w 4561361"/>
              <a:gd name="connsiteY183" fmla="*/ 1878644 h 4876799"/>
              <a:gd name="connsiteX184" fmla="*/ 463335 w 4561361"/>
              <a:gd name="connsiteY184" fmla="*/ 1878644 h 4876799"/>
              <a:gd name="connsiteX185" fmla="*/ 458572 w 4561361"/>
              <a:gd name="connsiteY185" fmla="*/ 1883406 h 4876799"/>
              <a:gd name="connsiteX186" fmla="*/ 458572 w 4561361"/>
              <a:gd name="connsiteY186" fmla="*/ 2046598 h 4876799"/>
              <a:gd name="connsiteX187" fmla="*/ 463335 w 4561361"/>
              <a:gd name="connsiteY187" fmla="*/ 2051360 h 4876799"/>
              <a:gd name="connsiteX188" fmla="*/ 626536 w 4561361"/>
              <a:gd name="connsiteY188" fmla="*/ 2051360 h 4876799"/>
              <a:gd name="connsiteX189" fmla="*/ 631298 w 4561361"/>
              <a:gd name="connsiteY189" fmla="*/ 2046598 h 4876799"/>
              <a:gd name="connsiteX190" fmla="*/ 631298 w 4561361"/>
              <a:gd name="connsiteY190" fmla="*/ 1883406 h 4876799"/>
              <a:gd name="connsiteX191" fmla="*/ 626536 w 4561361"/>
              <a:gd name="connsiteY191" fmla="*/ 1878644 h 4876799"/>
              <a:gd name="connsiteX192" fmla="*/ 3619187 w 4561361"/>
              <a:gd name="connsiteY192" fmla="*/ 1735778 h 4876799"/>
              <a:gd name="connsiteX193" fmla="*/ 3782378 w 4561361"/>
              <a:gd name="connsiteY193" fmla="*/ 1735778 h 4876799"/>
              <a:gd name="connsiteX194" fmla="*/ 3930016 w 4561361"/>
              <a:gd name="connsiteY194" fmla="*/ 1883416 h 4876799"/>
              <a:gd name="connsiteX195" fmla="*/ 3930016 w 4561361"/>
              <a:gd name="connsiteY195" fmla="*/ 2046607 h 4876799"/>
              <a:gd name="connsiteX196" fmla="*/ 3782378 w 4561361"/>
              <a:gd name="connsiteY196" fmla="*/ 2194245 h 4876799"/>
              <a:gd name="connsiteX197" fmla="*/ 3619187 w 4561361"/>
              <a:gd name="connsiteY197" fmla="*/ 2194245 h 4876799"/>
              <a:gd name="connsiteX198" fmla="*/ 3471549 w 4561361"/>
              <a:gd name="connsiteY198" fmla="*/ 2046607 h 4876799"/>
              <a:gd name="connsiteX199" fmla="*/ 3471549 w 4561361"/>
              <a:gd name="connsiteY199" fmla="*/ 1883416 h 4876799"/>
              <a:gd name="connsiteX200" fmla="*/ 3619187 w 4561361"/>
              <a:gd name="connsiteY200" fmla="*/ 1735778 h 4876799"/>
              <a:gd name="connsiteX201" fmla="*/ 2988003 w 4561361"/>
              <a:gd name="connsiteY201" fmla="*/ 1735778 h 4876799"/>
              <a:gd name="connsiteX202" fmla="*/ 3151194 w 4561361"/>
              <a:gd name="connsiteY202" fmla="*/ 1735778 h 4876799"/>
              <a:gd name="connsiteX203" fmla="*/ 3298832 w 4561361"/>
              <a:gd name="connsiteY203" fmla="*/ 1883416 h 4876799"/>
              <a:gd name="connsiteX204" fmla="*/ 3298832 w 4561361"/>
              <a:gd name="connsiteY204" fmla="*/ 2046607 h 4876799"/>
              <a:gd name="connsiteX205" fmla="*/ 3151194 w 4561361"/>
              <a:gd name="connsiteY205" fmla="*/ 2194245 h 4876799"/>
              <a:gd name="connsiteX206" fmla="*/ 2988003 w 4561361"/>
              <a:gd name="connsiteY206" fmla="*/ 2194245 h 4876799"/>
              <a:gd name="connsiteX207" fmla="*/ 2840365 w 4561361"/>
              <a:gd name="connsiteY207" fmla="*/ 2046607 h 4876799"/>
              <a:gd name="connsiteX208" fmla="*/ 2840365 w 4561361"/>
              <a:gd name="connsiteY208" fmla="*/ 1883416 h 4876799"/>
              <a:gd name="connsiteX209" fmla="*/ 2988003 w 4561361"/>
              <a:gd name="connsiteY209" fmla="*/ 1735778 h 4876799"/>
              <a:gd name="connsiteX210" fmla="*/ 2356914 w 4561361"/>
              <a:gd name="connsiteY210" fmla="*/ 1735778 h 4876799"/>
              <a:gd name="connsiteX211" fmla="*/ 2520106 w 4561361"/>
              <a:gd name="connsiteY211" fmla="*/ 1735778 h 4876799"/>
              <a:gd name="connsiteX212" fmla="*/ 2667744 w 4561361"/>
              <a:gd name="connsiteY212" fmla="*/ 1883416 h 4876799"/>
              <a:gd name="connsiteX213" fmla="*/ 2667744 w 4561361"/>
              <a:gd name="connsiteY213" fmla="*/ 2046607 h 4876799"/>
              <a:gd name="connsiteX214" fmla="*/ 2520106 w 4561361"/>
              <a:gd name="connsiteY214" fmla="*/ 2194245 h 4876799"/>
              <a:gd name="connsiteX215" fmla="*/ 2356914 w 4561361"/>
              <a:gd name="connsiteY215" fmla="*/ 2194245 h 4876799"/>
              <a:gd name="connsiteX216" fmla="*/ 2209277 w 4561361"/>
              <a:gd name="connsiteY216" fmla="*/ 2046607 h 4876799"/>
              <a:gd name="connsiteX217" fmla="*/ 2209277 w 4561361"/>
              <a:gd name="connsiteY217" fmla="*/ 1883416 h 4876799"/>
              <a:gd name="connsiteX218" fmla="*/ 2356914 w 4561361"/>
              <a:gd name="connsiteY218" fmla="*/ 1735778 h 4876799"/>
              <a:gd name="connsiteX219" fmla="*/ 1725721 w 4561361"/>
              <a:gd name="connsiteY219" fmla="*/ 1735778 h 4876799"/>
              <a:gd name="connsiteX220" fmla="*/ 1888912 w 4561361"/>
              <a:gd name="connsiteY220" fmla="*/ 1735778 h 4876799"/>
              <a:gd name="connsiteX221" fmla="*/ 2036550 w 4561361"/>
              <a:gd name="connsiteY221" fmla="*/ 1883416 h 4876799"/>
              <a:gd name="connsiteX222" fmla="*/ 2036550 w 4561361"/>
              <a:gd name="connsiteY222" fmla="*/ 2046607 h 4876799"/>
              <a:gd name="connsiteX223" fmla="*/ 1888912 w 4561361"/>
              <a:gd name="connsiteY223" fmla="*/ 2194245 h 4876799"/>
              <a:gd name="connsiteX224" fmla="*/ 1725721 w 4561361"/>
              <a:gd name="connsiteY224" fmla="*/ 2194245 h 4876799"/>
              <a:gd name="connsiteX225" fmla="*/ 1578083 w 4561361"/>
              <a:gd name="connsiteY225" fmla="*/ 2046607 h 4876799"/>
              <a:gd name="connsiteX226" fmla="*/ 1578083 w 4561361"/>
              <a:gd name="connsiteY226" fmla="*/ 1883416 h 4876799"/>
              <a:gd name="connsiteX227" fmla="*/ 1725721 w 4561361"/>
              <a:gd name="connsiteY227" fmla="*/ 1735778 h 4876799"/>
              <a:gd name="connsiteX228" fmla="*/ 1094538 w 4561361"/>
              <a:gd name="connsiteY228" fmla="*/ 1735778 h 4876799"/>
              <a:gd name="connsiteX229" fmla="*/ 1257729 w 4561361"/>
              <a:gd name="connsiteY229" fmla="*/ 1735778 h 4876799"/>
              <a:gd name="connsiteX230" fmla="*/ 1405367 w 4561361"/>
              <a:gd name="connsiteY230" fmla="*/ 1883416 h 4876799"/>
              <a:gd name="connsiteX231" fmla="*/ 1405367 w 4561361"/>
              <a:gd name="connsiteY231" fmla="*/ 2046607 h 4876799"/>
              <a:gd name="connsiteX232" fmla="*/ 1257729 w 4561361"/>
              <a:gd name="connsiteY232" fmla="*/ 2194245 h 4876799"/>
              <a:gd name="connsiteX233" fmla="*/ 1094538 w 4561361"/>
              <a:gd name="connsiteY233" fmla="*/ 2194245 h 4876799"/>
              <a:gd name="connsiteX234" fmla="*/ 946900 w 4561361"/>
              <a:gd name="connsiteY234" fmla="*/ 2046607 h 4876799"/>
              <a:gd name="connsiteX235" fmla="*/ 946900 w 4561361"/>
              <a:gd name="connsiteY235" fmla="*/ 1883416 h 4876799"/>
              <a:gd name="connsiteX236" fmla="*/ 1094538 w 4561361"/>
              <a:gd name="connsiteY236" fmla="*/ 1735778 h 4876799"/>
              <a:gd name="connsiteX237" fmla="*/ 463335 w 4561361"/>
              <a:gd name="connsiteY237" fmla="*/ 1735778 h 4876799"/>
              <a:gd name="connsiteX238" fmla="*/ 626536 w 4561361"/>
              <a:gd name="connsiteY238" fmla="*/ 1735778 h 4876799"/>
              <a:gd name="connsiteX239" fmla="*/ 774173 w 4561361"/>
              <a:gd name="connsiteY239" fmla="*/ 1883416 h 4876799"/>
              <a:gd name="connsiteX240" fmla="*/ 774173 w 4561361"/>
              <a:gd name="connsiteY240" fmla="*/ 2046607 h 4876799"/>
              <a:gd name="connsiteX241" fmla="*/ 626536 w 4561361"/>
              <a:gd name="connsiteY241" fmla="*/ 2194245 h 4876799"/>
              <a:gd name="connsiteX242" fmla="*/ 463335 w 4561361"/>
              <a:gd name="connsiteY242" fmla="*/ 2194245 h 4876799"/>
              <a:gd name="connsiteX243" fmla="*/ 315697 w 4561361"/>
              <a:gd name="connsiteY243" fmla="*/ 2046607 h 4876799"/>
              <a:gd name="connsiteX244" fmla="*/ 315697 w 4561361"/>
              <a:gd name="connsiteY244" fmla="*/ 1883416 h 4876799"/>
              <a:gd name="connsiteX245" fmla="*/ 463335 w 4561361"/>
              <a:gd name="connsiteY245" fmla="*/ 1735778 h 4876799"/>
              <a:gd name="connsiteX246" fmla="*/ 142885 w 4561361"/>
              <a:gd name="connsiteY246" fmla="*/ 1247460 h 4876799"/>
              <a:gd name="connsiteX247" fmla="*/ 142885 w 4561361"/>
              <a:gd name="connsiteY247" fmla="*/ 1420177 h 4876799"/>
              <a:gd name="connsiteX248" fmla="*/ 4103056 w 4561361"/>
              <a:gd name="connsiteY248" fmla="*/ 1420177 h 4876799"/>
              <a:gd name="connsiteX249" fmla="*/ 4103056 w 4561361"/>
              <a:gd name="connsiteY249" fmla="*/ 1247460 h 4876799"/>
              <a:gd name="connsiteX250" fmla="*/ 387029 w 4561361"/>
              <a:gd name="connsiteY250" fmla="*/ 458467 h 4876799"/>
              <a:gd name="connsiteX251" fmla="*/ 142885 w 4561361"/>
              <a:gd name="connsiteY251" fmla="*/ 702621 h 4876799"/>
              <a:gd name="connsiteX252" fmla="*/ 142885 w 4561361"/>
              <a:gd name="connsiteY252" fmla="*/ 1104576 h 4876799"/>
              <a:gd name="connsiteX253" fmla="*/ 4103046 w 4561361"/>
              <a:gd name="connsiteY253" fmla="*/ 1104576 h 4876799"/>
              <a:gd name="connsiteX254" fmla="*/ 4103046 w 4561361"/>
              <a:gd name="connsiteY254" fmla="*/ 702612 h 4876799"/>
              <a:gd name="connsiteX255" fmla="*/ 3858892 w 4561361"/>
              <a:gd name="connsiteY255" fmla="*/ 458467 h 4876799"/>
              <a:gd name="connsiteX256" fmla="*/ 3298927 w 4561361"/>
              <a:gd name="connsiteY256" fmla="*/ 458467 h 4876799"/>
              <a:gd name="connsiteX257" fmla="*/ 3298927 w 4561361"/>
              <a:gd name="connsiteY257" fmla="*/ 631184 h 4876799"/>
              <a:gd name="connsiteX258" fmla="*/ 3385290 w 4561361"/>
              <a:gd name="connsiteY258" fmla="*/ 631184 h 4876799"/>
              <a:gd name="connsiteX259" fmla="*/ 3456727 w 4561361"/>
              <a:gd name="connsiteY259" fmla="*/ 702621 h 4876799"/>
              <a:gd name="connsiteX260" fmla="*/ 3385290 w 4561361"/>
              <a:gd name="connsiteY260" fmla="*/ 774059 h 4876799"/>
              <a:gd name="connsiteX261" fmla="*/ 3274876 w 4561361"/>
              <a:gd name="connsiteY261" fmla="*/ 774059 h 4876799"/>
              <a:gd name="connsiteX262" fmla="*/ 3030246 w 4561361"/>
              <a:gd name="connsiteY262" fmla="*/ 931859 h 4876799"/>
              <a:gd name="connsiteX263" fmla="*/ 2785615 w 4561361"/>
              <a:gd name="connsiteY263" fmla="*/ 774059 h 4876799"/>
              <a:gd name="connsiteX264" fmla="*/ 2675201 w 4561361"/>
              <a:gd name="connsiteY264" fmla="*/ 774059 h 4876799"/>
              <a:gd name="connsiteX265" fmla="*/ 2603764 w 4561361"/>
              <a:gd name="connsiteY265" fmla="*/ 702621 h 4876799"/>
              <a:gd name="connsiteX266" fmla="*/ 2675201 w 4561361"/>
              <a:gd name="connsiteY266" fmla="*/ 631184 h 4876799"/>
              <a:gd name="connsiteX267" fmla="*/ 2761564 w 4561361"/>
              <a:gd name="connsiteY267" fmla="*/ 631184 h 4876799"/>
              <a:gd name="connsiteX268" fmla="*/ 2761564 w 4561361"/>
              <a:gd name="connsiteY268" fmla="*/ 458467 h 4876799"/>
              <a:gd name="connsiteX269" fmla="*/ 1484157 w 4561361"/>
              <a:gd name="connsiteY269" fmla="*/ 458467 h 4876799"/>
              <a:gd name="connsiteX270" fmla="*/ 1484157 w 4561361"/>
              <a:gd name="connsiteY270" fmla="*/ 631184 h 4876799"/>
              <a:gd name="connsiteX271" fmla="*/ 1570511 w 4561361"/>
              <a:gd name="connsiteY271" fmla="*/ 631184 h 4876799"/>
              <a:gd name="connsiteX272" fmla="*/ 1641948 w 4561361"/>
              <a:gd name="connsiteY272" fmla="*/ 702621 h 4876799"/>
              <a:gd name="connsiteX273" fmla="*/ 1570511 w 4561361"/>
              <a:gd name="connsiteY273" fmla="*/ 774059 h 4876799"/>
              <a:gd name="connsiteX274" fmla="*/ 1460106 w 4561361"/>
              <a:gd name="connsiteY274" fmla="*/ 774059 h 4876799"/>
              <a:gd name="connsiteX275" fmla="*/ 1215476 w 4561361"/>
              <a:gd name="connsiteY275" fmla="*/ 931859 h 4876799"/>
              <a:gd name="connsiteX276" fmla="*/ 970836 w 4561361"/>
              <a:gd name="connsiteY276" fmla="*/ 774059 h 4876799"/>
              <a:gd name="connsiteX277" fmla="*/ 860431 w 4561361"/>
              <a:gd name="connsiteY277" fmla="*/ 774059 h 4876799"/>
              <a:gd name="connsiteX278" fmla="*/ 788994 w 4561361"/>
              <a:gd name="connsiteY278" fmla="*/ 702621 h 4876799"/>
              <a:gd name="connsiteX279" fmla="*/ 860431 w 4561361"/>
              <a:gd name="connsiteY279" fmla="*/ 631184 h 4876799"/>
              <a:gd name="connsiteX280" fmla="*/ 946785 w 4561361"/>
              <a:gd name="connsiteY280" fmla="*/ 631184 h 4876799"/>
              <a:gd name="connsiteX281" fmla="*/ 946785 w 4561361"/>
              <a:gd name="connsiteY281" fmla="*/ 458467 h 4876799"/>
              <a:gd name="connsiteX282" fmla="*/ 3030246 w 4561361"/>
              <a:gd name="connsiteY282" fmla="*/ 142875 h 4876799"/>
              <a:gd name="connsiteX283" fmla="*/ 2904439 w 4561361"/>
              <a:gd name="connsiteY283" fmla="*/ 268681 h 4876799"/>
              <a:gd name="connsiteX284" fmla="*/ 2904439 w 4561361"/>
              <a:gd name="connsiteY284" fmla="*/ 663178 h 4876799"/>
              <a:gd name="connsiteX285" fmla="*/ 3030246 w 4561361"/>
              <a:gd name="connsiteY285" fmla="*/ 788994 h 4876799"/>
              <a:gd name="connsiteX286" fmla="*/ 3156052 w 4561361"/>
              <a:gd name="connsiteY286" fmla="*/ 663178 h 4876799"/>
              <a:gd name="connsiteX287" fmla="*/ 3156052 w 4561361"/>
              <a:gd name="connsiteY287" fmla="*/ 268681 h 4876799"/>
              <a:gd name="connsiteX288" fmla="*/ 3030246 w 4561361"/>
              <a:gd name="connsiteY288" fmla="*/ 142875 h 4876799"/>
              <a:gd name="connsiteX289" fmla="*/ 1215476 w 4561361"/>
              <a:gd name="connsiteY289" fmla="*/ 142875 h 4876799"/>
              <a:gd name="connsiteX290" fmla="*/ 1089660 w 4561361"/>
              <a:gd name="connsiteY290" fmla="*/ 268681 h 4876799"/>
              <a:gd name="connsiteX291" fmla="*/ 1089660 w 4561361"/>
              <a:gd name="connsiteY291" fmla="*/ 663178 h 4876799"/>
              <a:gd name="connsiteX292" fmla="*/ 1215476 w 4561361"/>
              <a:gd name="connsiteY292" fmla="*/ 788994 h 4876799"/>
              <a:gd name="connsiteX293" fmla="*/ 1341282 w 4561361"/>
              <a:gd name="connsiteY293" fmla="*/ 663178 h 4876799"/>
              <a:gd name="connsiteX294" fmla="*/ 1341282 w 4561361"/>
              <a:gd name="connsiteY294" fmla="*/ 268681 h 4876799"/>
              <a:gd name="connsiteX295" fmla="*/ 1215476 w 4561361"/>
              <a:gd name="connsiteY295" fmla="*/ 142875 h 4876799"/>
              <a:gd name="connsiteX296" fmla="*/ 1215476 w 4561361"/>
              <a:gd name="connsiteY296" fmla="*/ 0 h 4876799"/>
              <a:gd name="connsiteX297" fmla="*/ 1484157 w 4561361"/>
              <a:gd name="connsiteY297" fmla="*/ 268681 h 4876799"/>
              <a:gd name="connsiteX298" fmla="*/ 1484157 w 4561361"/>
              <a:gd name="connsiteY298" fmla="*/ 315592 h 4876799"/>
              <a:gd name="connsiteX299" fmla="*/ 2761564 w 4561361"/>
              <a:gd name="connsiteY299" fmla="*/ 315592 h 4876799"/>
              <a:gd name="connsiteX300" fmla="*/ 2761564 w 4561361"/>
              <a:gd name="connsiteY300" fmla="*/ 268681 h 4876799"/>
              <a:gd name="connsiteX301" fmla="*/ 3030246 w 4561361"/>
              <a:gd name="connsiteY301" fmla="*/ 0 h 4876799"/>
              <a:gd name="connsiteX302" fmla="*/ 3298927 w 4561361"/>
              <a:gd name="connsiteY302" fmla="*/ 268692 h 4876799"/>
              <a:gd name="connsiteX303" fmla="*/ 3298927 w 4561361"/>
              <a:gd name="connsiteY303" fmla="*/ 315601 h 4876799"/>
              <a:gd name="connsiteX304" fmla="*/ 3858892 w 4561361"/>
              <a:gd name="connsiteY304" fmla="*/ 315601 h 4876799"/>
              <a:gd name="connsiteX305" fmla="*/ 4245921 w 4561361"/>
              <a:gd name="connsiteY305" fmla="*/ 702621 h 4876799"/>
              <a:gd name="connsiteX306" fmla="*/ 4245921 w 4561361"/>
              <a:gd name="connsiteY306" fmla="*/ 2790881 h 4876799"/>
              <a:gd name="connsiteX307" fmla="*/ 4561361 w 4561361"/>
              <a:gd name="connsiteY307" fmla="*/ 3621880 h 4876799"/>
              <a:gd name="connsiteX308" fmla="*/ 3306442 w 4561361"/>
              <a:gd name="connsiteY308" fmla="*/ 4876799 h 4876799"/>
              <a:gd name="connsiteX309" fmla="*/ 2141258 w 4561361"/>
              <a:gd name="connsiteY309" fmla="*/ 4087815 h 4876799"/>
              <a:gd name="connsiteX310" fmla="*/ 845601 w 4561361"/>
              <a:gd name="connsiteY310" fmla="*/ 4087815 h 4876799"/>
              <a:gd name="connsiteX311" fmla="*/ 774163 w 4561361"/>
              <a:gd name="connsiteY311" fmla="*/ 4016377 h 4876799"/>
              <a:gd name="connsiteX312" fmla="*/ 845601 w 4561361"/>
              <a:gd name="connsiteY312" fmla="*/ 3944940 h 4876799"/>
              <a:gd name="connsiteX313" fmla="*/ 2093757 w 4561361"/>
              <a:gd name="connsiteY313" fmla="*/ 3944940 h 4876799"/>
              <a:gd name="connsiteX314" fmla="*/ 2060562 w 4561361"/>
              <a:gd name="connsiteY314" fmla="*/ 3772213 h 4876799"/>
              <a:gd name="connsiteX315" fmla="*/ 387029 w 4561361"/>
              <a:gd name="connsiteY315" fmla="*/ 3772213 h 4876799"/>
              <a:gd name="connsiteX316" fmla="*/ 142875 w 4561361"/>
              <a:gd name="connsiteY316" fmla="*/ 3685212 h 4876799"/>
              <a:gd name="connsiteX317" fmla="*/ 142875 w 4561361"/>
              <a:gd name="connsiteY317" fmla="*/ 3700785 h 4876799"/>
              <a:gd name="connsiteX318" fmla="*/ 387029 w 4561361"/>
              <a:gd name="connsiteY318" fmla="*/ 3944930 h 4876799"/>
              <a:gd name="connsiteX319" fmla="*/ 559860 w 4561361"/>
              <a:gd name="connsiteY319" fmla="*/ 3944930 h 4876799"/>
              <a:gd name="connsiteX320" fmla="*/ 631298 w 4561361"/>
              <a:gd name="connsiteY320" fmla="*/ 4016368 h 4876799"/>
              <a:gd name="connsiteX321" fmla="*/ 559860 w 4561361"/>
              <a:gd name="connsiteY321" fmla="*/ 4087805 h 4876799"/>
              <a:gd name="connsiteX322" fmla="*/ 387029 w 4561361"/>
              <a:gd name="connsiteY322" fmla="*/ 4087805 h 4876799"/>
              <a:gd name="connsiteX323" fmla="*/ 0 w 4561361"/>
              <a:gd name="connsiteY323" fmla="*/ 3700785 h 4876799"/>
              <a:gd name="connsiteX324" fmla="*/ 0 w 4561361"/>
              <a:gd name="connsiteY324" fmla="*/ 2107882 h 4876799"/>
              <a:gd name="connsiteX325" fmla="*/ 71438 w 4561361"/>
              <a:gd name="connsiteY325" fmla="*/ 2036444 h 4876799"/>
              <a:gd name="connsiteX326" fmla="*/ 142875 w 4561361"/>
              <a:gd name="connsiteY326" fmla="*/ 2107882 h 4876799"/>
              <a:gd name="connsiteX327" fmla="*/ 142875 w 4561361"/>
              <a:gd name="connsiteY327" fmla="*/ 3385194 h 4876799"/>
              <a:gd name="connsiteX328" fmla="*/ 387029 w 4561361"/>
              <a:gd name="connsiteY328" fmla="*/ 3629338 h 4876799"/>
              <a:gd name="connsiteX329" fmla="*/ 2051618 w 4561361"/>
              <a:gd name="connsiteY329" fmla="*/ 3629338 h 4876799"/>
              <a:gd name="connsiteX330" fmla="*/ 2051523 w 4561361"/>
              <a:gd name="connsiteY330" fmla="*/ 3621880 h 4876799"/>
              <a:gd name="connsiteX331" fmla="*/ 2338692 w 4561361"/>
              <a:gd name="connsiteY331" fmla="*/ 2823800 h 4876799"/>
              <a:gd name="connsiteX332" fmla="*/ 2209276 w 4561361"/>
              <a:gd name="connsiteY332" fmla="*/ 2675095 h 4876799"/>
              <a:gd name="connsiteX333" fmla="*/ 2209276 w 4561361"/>
              <a:gd name="connsiteY333" fmla="*/ 2517295 h 4876799"/>
              <a:gd name="connsiteX334" fmla="*/ 2359609 w 4561361"/>
              <a:gd name="connsiteY334" fmla="*/ 2366962 h 4876799"/>
              <a:gd name="connsiteX335" fmla="*/ 2517400 w 4561361"/>
              <a:gd name="connsiteY335" fmla="*/ 2366962 h 4876799"/>
              <a:gd name="connsiteX336" fmla="*/ 2667734 w 4561361"/>
              <a:gd name="connsiteY336" fmla="*/ 2517295 h 4876799"/>
              <a:gd name="connsiteX337" fmla="*/ 2667734 w 4561361"/>
              <a:gd name="connsiteY337" fmla="*/ 2542079 h 4876799"/>
              <a:gd name="connsiteX338" fmla="*/ 3306442 w 4561361"/>
              <a:gd name="connsiteY338" fmla="*/ 2366962 h 4876799"/>
              <a:gd name="connsiteX339" fmla="*/ 4103046 w 4561361"/>
              <a:gd name="connsiteY339" fmla="*/ 2652931 h 4876799"/>
              <a:gd name="connsiteX340" fmla="*/ 4103046 w 4561361"/>
              <a:gd name="connsiteY340" fmla="*/ 1563052 h 4876799"/>
              <a:gd name="connsiteX341" fmla="*/ 142875 w 4561361"/>
              <a:gd name="connsiteY341" fmla="*/ 1563052 h 4876799"/>
              <a:gd name="connsiteX342" fmla="*/ 142875 w 4561361"/>
              <a:gd name="connsiteY342" fmla="*/ 1822132 h 4876799"/>
              <a:gd name="connsiteX343" fmla="*/ 71438 w 4561361"/>
              <a:gd name="connsiteY343" fmla="*/ 1893569 h 4876799"/>
              <a:gd name="connsiteX344" fmla="*/ 0 w 4561361"/>
              <a:gd name="connsiteY344" fmla="*/ 1822132 h 4876799"/>
              <a:gd name="connsiteX345" fmla="*/ 0 w 4561361"/>
              <a:gd name="connsiteY345" fmla="*/ 702612 h 4876799"/>
              <a:gd name="connsiteX346" fmla="*/ 387029 w 4561361"/>
              <a:gd name="connsiteY346" fmla="*/ 315592 h 4876799"/>
              <a:gd name="connsiteX347" fmla="*/ 946785 w 4561361"/>
              <a:gd name="connsiteY347" fmla="*/ 315592 h 4876799"/>
              <a:gd name="connsiteX348" fmla="*/ 946785 w 4561361"/>
              <a:gd name="connsiteY348" fmla="*/ 268681 h 4876799"/>
              <a:gd name="connsiteX349" fmla="*/ 1215476 w 4561361"/>
              <a:gd name="connsiteY349" fmla="*/ 0 h 487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4561361" h="4876799">
                <a:moveTo>
                  <a:pt x="3306442" y="3535518"/>
                </a:moveTo>
                <a:cubicBezTo>
                  <a:pt x="3258826" y="3535518"/>
                  <a:pt x="3220088" y="3574256"/>
                  <a:pt x="3220088" y="3621881"/>
                </a:cubicBezTo>
                <a:cubicBezTo>
                  <a:pt x="3220088" y="3669506"/>
                  <a:pt x="3258826" y="3708244"/>
                  <a:pt x="3306442" y="3708244"/>
                </a:cubicBezTo>
                <a:cubicBezTo>
                  <a:pt x="3354058" y="3708244"/>
                  <a:pt x="3392796" y="3669506"/>
                  <a:pt x="3392796" y="3621881"/>
                </a:cubicBezTo>
                <a:cubicBezTo>
                  <a:pt x="3392796" y="3574256"/>
                  <a:pt x="3354058" y="3535518"/>
                  <a:pt x="3306442" y="3535518"/>
                </a:cubicBezTo>
                <a:close/>
                <a:moveTo>
                  <a:pt x="1725721" y="3141030"/>
                </a:moveTo>
                <a:cubicBezTo>
                  <a:pt x="1723101" y="3141030"/>
                  <a:pt x="1720958" y="3143164"/>
                  <a:pt x="1720958" y="3145793"/>
                </a:cubicBezTo>
                <a:lnTo>
                  <a:pt x="1720958" y="3308984"/>
                </a:lnTo>
                <a:cubicBezTo>
                  <a:pt x="1720958" y="3311613"/>
                  <a:pt x="1723101" y="3313747"/>
                  <a:pt x="1725721" y="3313747"/>
                </a:cubicBezTo>
                <a:lnTo>
                  <a:pt x="1888912" y="3313747"/>
                </a:lnTo>
                <a:cubicBezTo>
                  <a:pt x="1891532" y="3313747"/>
                  <a:pt x="1893675" y="3311613"/>
                  <a:pt x="1893675" y="3308984"/>
                </a:cubicBezTo>
                <a:lnTo>
                  <a:pt x="1893675" y="3145793"/>
                </a:lnTo>
                <a:cubicBezTo>
                  <a:pt x="1893675" y="3143164"/>
                  <a:pt x="1891532" y="3141030"/>
                  <a:pt x="1888912" y="3141030"/>
                </a:cubicBezTo>
                <a:close/>
                <a:moveTo>
                  <a:pt x="1094538" y="3141030"/>
                </a:moveTo>
                <a:cubicBezTo>
                  <a:pt x="1091918" y="3141030"/>
                  <a:pt x="1089775" y="3143164"/>
                  <a:pt x="1089775" y="3145793"/>
                </a:cubicBezTo>
                <a:lnTo>
                  <a:pt x="1089775" y="3308984"/>
                </a:lnTo>
                <a:cubicBezTo>
                  <a:pt x="1089775" y="3311613"/>
                  <a:pt x="1091918" y="3313747"/>
                  <a:pt x="1094538" y="3313747"/>
                </a:cubicBezTo>
                <a:lnTo>
                  <a:pt x="1257729" y="3313747"/>
                </a:lnTo>
                <a:cubicBezTo>
                  <a:pt x="1260349" y="3313747"/>
                  <a:pt x="1262492" y="3311613"/>
                  <a:pt x="1262492" y="3308984"/>
                </a:cubicBezTo>
                <a:lnTo>
                  <a:pt x="1262492" y="3145793"/>
                </a:lnTo>
                <a:cubicBezTo>
                  <a:pt x="1262492" y="3143164"/>
                  <a:pt x="1260349" y="3141030"/>
                  <a:pt x="1257729" y="3141030"/>
                </a:cubicBezTo>
                <a:close/>
                <a:moveTo>
                  <a:pt x="463335" y="3141030"/>
                </a:moveTo>
                <a:cubicBezTo>
                  <a:pt x="460715" y="3141030"/>
                  <a:pt x="458572" y="3143164"/>
                  <a:pt x="458572" y="3145793"/>
                </a:cubicBezTo>
                <a:lnTo>
                  <a:pt x="458572" y="3308984"/>
                </a:lnTo>
                <a:cubicBezTo>
                  <a:pt x="458572" y="3311613"/>
                  <a:pt x="460715" y="3313747"/>
                  <a:pt x="463335" y="3313747"/>
                </a:cubicBezTo>
                <a:lnTo>
                  <a:pt x="626536" y="3313747"/>
                </a:lnTo>
                <a:cubicBezTo>
                  <a:pt x="629155" y="3313747"/>
                  <a:pt x="631298" y="3311613"/>
                  <a:pt x="631298" y="3308984"/>
                </a:cubicBezTo>
                <a:lnTo>
                  <a:pt x="631298" y="3145793"/>
                </a:lnTo>
                <a:cubicBezTo>
                  <a:pt x="631298" y="3143164"/>
                  <a:pt x="629155" y="3141030"/>
                  <a:pt x="626536" y="3141030"/>
                </a:cubicBezTo>
                <a:close/>
                <a:moveTo>
                  <a:pt x="3306451" y="2998155"/>
                </a:moveTo>
                <a:cubicBezTo>
                  <a:pt x="3345914" y="2998155"/>
                  <a:pt x="3377889" y="3030140"/>
                  <a:pt x="3377889" y="3069593"/>
                </a:cubicBezTo>
                <a:lnTo>
                  <a:pt x="3377889" y="3404101"/>
                </a:lnTo>
                <a:cubicBezTo>
                  <a:pt x="3446907" y="3426799"/>
                  <a:pt x="3501524" y="3481425"/>
                  <a:pt x="3524222" y="3550443"/>
                </a:cubicBezTo>
                <a:lnTo>
                  <a:pt x="3700939" y="3550443"/>
                </a:lnTo>
                <a:cubicBezTo>
                  <a:pt x="3740401" y="3550443"/>
                  <a:pt x="3772377" y="3582428"/>
                  <a:pt x="3772377" y="3621881"/>
                </a:cubicBezTo>
                <a:cubicBezTo>
                  <a:pt x="3772377" y="3661333"/>
                  <a:pt x="3740401" y="3693318"/>
                  <a:pt x="3700939" y="3693318"/>
                </a:cubicBezTo>
                <a:lnTo>
                  <a:pt x="3524222" y="3693318"/>
                </a:lnTo>
                <a:cubicBezTo>
                  <a:pt x="3494132" y="3784834"/>
                  <a:pt x="3407912" y="3851119"/>
                  <a:pt x="3306451" y="3851119"/>
                </a:cubicBezTo>
                <a:cubicBezTo>
                  <a:pt x="3180055" y="3851119"/>
                  <a:pt x="3077223" y="3748287"/>
                  <a:pt x="3077223" y="3621881"/>
                </a:cubicBezTo>
                <a:cubicBezTo>
                  <a:pt x="3077223" y="3520420"/>
                  <a:pt x="3143498" y="3434200"/>
                  <a:pt x="3235014" y="3404101"/>
                </a:cubicBezTo>
                <a:lnTo>
                  <a:pt x="3235014" y="3069593"/>
                </a:lnTo>
                <a:cubicBezTo>
                  <a:pt x="3235014" y="3030140"/>
                  <a:pt x="3266990" y="2998155"/>
                  <a:pt x="3306451" y="2998155"/>
                </a:cubicBezTo>
                <a:close/>
                <a:moveTo>
                  <a:pt x="1725721" y="2998155"/>
                </a:moveTo>
                <a:lnTo>
                  <a:pt x="1888912" y="2998155"/>
                </a:lnTo>
                <a:cubicBezTo>
                  <a:pt x="1970323" y="2998155"/>
                  <a:pt x="2036550" y="3064382"/>
                  <a:pt x="2036550" y="3145793"/>
                </a:cubicBezTo>
                <a:lnTo>
                  <a:pt x="2036550" y="3308984"/>
                </a:lnTo>
                <a:cubicBezTo>
                  <a:pt x="2036550" y="3390394"/>
                  <a:pt x="1970323" y="3456622"/>
                  <a:pt x="1888912" y="3456622"/>
                </a:cubicBezTo>
                <a:lnTo>
                  <a:pt x="1725721" y="3456622"/>
                </a:lnTo>
                <a:cubicBezTo>
                  <a:pt x="1644310" y="3456622"/>
                  <a:pt x="1578083" y="3390394"/>
                  <a:pt x="1578083" y="3308984"/>
                </a:cubicBezTo>
                <a:lnTo>
                  <a:pt x="1578083" y="3145793"/>
                </a:lnTo>
                <a:cubicBezTo>
                  <a:pt x="1578083" y="3064382"/>
                  <a:pt x="1644310" y="2998155"/>
                  <a:pt x="1725721" y="2998155"/>
                </a:cubicBezTo>
                <a:close/>
                <a:moveTo>
                  <a:pt x="1094538" y="2998155"/>
                </a:moveTo>
                <a:lnTo>
                  <a:pt x="1257729" y="2998155"/>
                </a:lnTo>
                <a:cubicBezTo>
                  <a:pt x="1339139" y="2998155"/>
                  <a:pt x="1405367" y="3064382"/>
                  <a:pt x="1405367" y="3145793"/>
                </a:cubicBezTo>
                <a:lnTo>
                  <a:pt x="1405367" y="3308984"/>
                </a:lnTo>
                <a:cubicBezTo>
                  <a:pt x="1405367" y="3390394"/>
                  <a:pt x="1339139" y="3456622"/>
                  <a:pt x="1257729" y="3456622"/>
                </a:cubicBezTo>
                <a:lnTo>
                  <a:pt x="1094538" y="3456622"/>
                </a:lnTo>
                <a:cubicBezTo>
                  <a:pt x="1013127" y="3456622"/>
                  <a:pt x="946900" y="3390394"/>
                  <a:pt x="946900" y="3308984"/>
                </a:cubicBezTo>
                <a:lnTo>
                  <a:pt x="946900" y="3145793"/>
                </a:lnTo>
                <a:cubicBezTo>
                  <a:pt x="946900" y="3064382"/>
                  <a:pt x="1013127" y="2998155"/>
                  <a:pt x="1094538" y="2998155"/>
                </a:cubicBezTo>
                <a:close/>
                <a:moveTo>
                  <a:pt x="463335" y="2998155"/>
                </a:moveTo>
                <a:lnTo>
                  <a:pt x="626536" y="2998155"/>
                </a:lnTo>
                <a:cubicBezTo>
                  <a:pt x="707946" y="2998155"/>
                  <a:pt x="774173" y="3064382"/>
                  <a:pt x="774173" y="3145793"/>
                </a:cubicBezTo>
                <a:lnTo>
                  <a:pt x="774173" y="3308984"/>
                </a:lnTo>
                <a:cubicBezTo>
                  <a:pt x="774173" y="3390394"/>
                  <a:pt x="707946" y="3456622"/>
                  <a:pt x="626536" y="3456622"/>
                </a:cubicBezTo>
                <a:lnTo>
                  <a:pt x="463335" y="3456622"/>
                </a:lnTo>
                <a:cubicBezTo>
                  <a:pt x="381924" y="3456622"/>
                  <a:pt x="315697" y="3390394"/>
                  <a:pt x="315697" y="3308984"/>
                </a:cubicBezTo>
                <a:lnTo>
                  <a:pt x="315697" y="3145793"/>
                </a:lnTo>
                <a:cubicBezTo>
                  <a:pt x="315697" y="3064382"/>
                  <a:pt x="381924" y="2998155"/>
                  <a:pt x="463335" y="2998155"/>
                </a:cubicBezTo>
                <a:close/>
                <a:moveTo>
                  <a:pt x="3306442" y="2825429"/>
                </a:moveTo>
                <a:cubicBezTo>
                  <a:pt x="2867283" y="2825429"/>
                  <a:pt x="2510000" y="3182712"/>
                  <a:pt x="2510000" y="3621881"/>
                </a:cubicBezTo>
                <a:cubicBezTo>
                  <a:pt x="2510000" y="4061050"/>
                  <a:pt x="2867273" y="4418333"/>
                  <a:pt x="3306442" y="4418333"/>
                </a:cubicBezTo>
                <a:cubicBezTo>
                  <a:pt x="3745612" y="4418333"/>
                  <a:pt x="4102894" y="4061050"/>
                  <a:pt x="4102894" y="3621881"/>
                </a:cubicBezTo>
                <a:cubicBezTo>
                  <a:pt x="4102894" y="3182712"/>
                  <a:pt x="3745602" y="2825429"/>
                  <a:pt x="3306442" y="2825429"/>
                </a:cubicBezTo>
                <a:close/>
                <a:moveTo>
                  <a:pt x="3306442" y="2682554"/>
                </a:moveTo>
                <a:cubicBezTo>
                  <a:pt x="3824393" y="2682554"/>
                  <a:pt x="4245769" y="3103931"/>
                  <a:pt x="4245769" y="3621881"/>
                </a:cubicBezTo>
                <a:cubicBezTo>
                  <a:pt x="4245769" y="4139831"/>
                  <a:pt x="3824393" y="4561208"/>
                  <a:pt x="3306442" y="4561208"/>
                </a:cubicBezTo>
                <a:cubicBezTo>
                  <a:pt x="2788501" y="4561208"/>
                  <a:pt x="2367125" y="4139831"/>
                  <a:pt x="2367125" y="3621881"/>
                </a:cubicBezTo>
                <a:cubicBezTo>
                  <a:pt x="2367125" y="3103931"/>
                  <a:pt x="2788501" y="2682554"/>
                  <a:pt x="3306442" y="2682554"/>
                </a:cubicBezTo>
                <a:close/>
                <a:moveTo>
                  <a:pt x="3306442" y="2509837"/>
                </a:moveTo>
                <a:cubicBezTo>
                  <a:pt x="2693261" y="2509837"/>
                  <a:pt x="2194398" y="3008699"/>
                  <a:pt x="2194398" y="3621880"/>
                </a:cubicBezTo>
                <a:cubicBezTo>
                  <a:pt x="2194398" y="4235062"/>
                  <a:pt x="2693261" y="4733924"/>
                  <a:pt x="3306442" y="4733924"/>
                </a:cubicBezTo>
                <a:cubicBezTo>
                  <a:pt x="3919623" y="4733924"/>
                  <a:pt x="4418486" y="4235062"/>
                  <a:pt x="4418486" y="3621880"/>
                </a:cubicBezTo>
                <a:cubicBezTo>
                  <a:pt x="4418486" y="3008699"/>
                  <a:pt x="3919623" y="2509837"/>
                  <a:pt x="3306442" y="2509837"/>
                </a:cubicBezTo>
                <a:close/>
                <a:moveTo>
                  <a:pt x="2359609" y="2509837"/>
                </a:moveTo>
                <a:cubicBezTo>
                  <a:pt x="2355504" y="2509837"/>
                  <a:pt x="2352151" y="2513180"/>
                  <a:pt x="2352151" y="2517295"/>
                </a:cubicBezTo>
                <a:lnTo>
                  <a:pt x="2352142" y="2517295"/>
                </a:lnTo>
                <a:lnTo>
                  <a:pt x="2352142" y="2675095"/>
                </a:lnTo>
                <a:cubicBezTo>
                  <a:pt x="2352142" y="2679201"/>
                  <a:pt x="2355485" y="2682553"/>
                  <a:pt x="2359600" y="2682553"/>
                </a:cubicBezTo>
                <a:lnTo>
                  <a:pt x="2475262" y="2682553"/>
                </a:lnTo>
                <a:cubicBezTo>
                  <a:pt x="2491435" y="2668228"/>
                  <a:pt x="2507961" y="2654312"/>
                  <a:pt x="2524859" y="2640825"/>
                </a:cubicBezTo>
                <a:lnTo>
                  <a:pt x="2524859" y="2517295"/>
                </a:lnTo>
                <a:cubicBezTo>
                  <a:pt x="2524859" y="2513189"/>
                  <a:pt x="2521515" y="2509837"/>
                  <a:pt x="2517400" y="2509837"/>
                </a:cubicBezTo>
                <a:close/>
                <a:moveTo>
                  <a:pt x="1725721" y="2509837"/>
                </a:moveTo>
                <a:cubicBezTo>
                  <a:pt x="1723101" y="2509837"/>
                  <a:pt x="1720958" y="2511971"/>
                  <a:pt x="1720958" y="2514600"/>
                </a:cubicBezTo>
                <a:lnTo>
                  <a:pt x="1720958" y="2677791"/>
                </a:lnTo>
                <a:cubicBezTo>
                  <a:pt x="1720958" y="2680420"/>
                  <a:pt x="1723101" y="2682554"/>
                  <a:pt x="1725721" y="2682554"/>
                </a:cubicBezTo>
                <a:lnTo>
                  <a:pt x="1888912" y="2682554"/>
                </a:lnTo>
                <a:cubicBezTo>
                  <a:pt x="1891532" y="2682554"/>
                  <a:pt x="1893675" y="2680420"/>
                  <a:pt x="1893675" y="2677791"/>
                </a:cubicBezTo>
                <a:lnTo>
                  <a:pt x="1893675" y="2514600"/>
                </a:lnTo>
                <a:cubicBezTo>
                  <a:pt x="1893675" y="2511971"/>
                  <a:pt x="1891532" y="2509837"/>
                  <a:pt x="1888912" y="2509837"/>
                </a:cubicBezTo>
                <a:close/>
                <a:moveTo>
                  <a:pt x="1094538" y="2509837"/>
                </a:moveTo>
                <a:cubicBezTo>
                  <a:pt x="1091918" y="2509837"/>
                  <a:pt x="1089775" y="2511971"/>
                  <a:pt x="1089775" y="2514600"/>
                </a:cubicBezTo>
                <a:lnTo>
                  <a:pt x="1089775" y="2677791"/>
                </a:lnTo>
                <a:cubicBezTo>
                  <a:pt x="1089775" y="2680420"/>
                  <a:pt x="1091918" y="2682554"/>
                  <a:pt x="1094538" y="2682554"/>
                </a:cubicBezTo>
                <a:lnTo>
                  <a:pt x="1257729" y="2682554"/>
                </a:lnTo>
                <a:cubicBezTo>
                  <a:pt x="1260349" y="2682554"/>
                  <a:pt x="1262492" y="2680420"/>
                  <a:pt x="1262492" y="2677791"/>
                </a:cubicBezTo>
                <a:lnTo>
                  <a:pt x="1262492" y="2514600"/>
                </a:lnTo>
                <a:cubicBezTo>
                  <a:pt x="1262492" y="2511971"/>
                  <a:pt x="1260349" y="2509837"/>
                  <a:pt x="1257729" y="2509837"/>
                </a:cubicBezTo>
                <a:close/>
                <a:moveTo>
                  <a:pt x="463335" y="2509837"/>
                </a:moveTo>
                <a:cubicBezTo>
                  <a:pt x="460715" y="2509837"/>
                  <a:pt x="458572" y="2511971"/>
                  <a:pt x="458572" y="2514600"/>
                </a:cubicBezTo>
                <a:lnTo>
                  <a:pt x="458572" y="2677791"/>
                </a:lnTo>
                <a:cubicBezTo>
                  <a:pt x="458572" y="2680420"/>
                  <a:pt x="460715" y="2682554"/>
                  <a:pt x="463335" y="2682554"/>
                </a:cubicBezTo>
                <a:lnTo>
                  <a:pt x="626536" y="2682554"/>
                </a:lnTo>
                <a:cubicBezTo>
                  <a:pt x="629155" y="2682554"/>
                  <a:pt x="631298" y="2680420"/>
                  <a:pt x="631298" y="2677791"/>
                </a:cubicBezTo>
                <a:lnTo>
                  <a:pt x="631298" y="2514600"/>
                </a:lnTo>
                <a:cubicBezTo>
                  <a:pt x="631298" y="2511971"/>
                  <a:pt x="629155" y="2509837"/>
                  <a:pt x="626536" y="2509837"/>
                </a:cubicBezTo>
                <a:close/>
                <a:moveTo>
                  <a:pt x="1725721" y="2366962"/>
                </a:moveTo>
                <a:lnTo>
                  <a:pt x="1888912" y="2366962"/>
                </a:lnTo>
                <a:cubicBezTo>
                  <a:pt x="1970323" y="2366962"/>
                  <a:pt x="2036550" y="2433189"/>
                  <a:pt x="2036550" y="2514600"/>
                </a:cubicBezTo>
                <a:lnTo>
                  <a:pt x="2036550" y="2677791"/>
                </a:lnTo>
                <a:cubicBezTo>
                  <a:pt x="2036550" y="2759201"/>
                  <a:pt x="1970323" y="2825429"/>
                  <a:pt x="1888912" y="2825429"/>
                </a:cubicBezTo>
                <a:lnTo>
                  <a:pt x="1725721" y="2825429"/>
                </a:lnTo>
                <a:cubicBezTo>
                  <a:pt x="1644310" y="2825429"/>
                  <a:pt x="1578083" y="2759201"/>
                  <a:pt x="1578083" y="2677791"/>
                </a:cubicBezTo>
                <a:lnTo>
                  <a:pt x="1578083" y="2514600"/>
                </a:lnTo>
                <a:cubicBezTo>
                  <a:pt x="1578083" y="2433189"/>
                  <a:pt x="1644310" y="2366962"/>
                  <a:pt x="1725721" y="2366962"/>
                </a:cubicBezTo>
                <a:close/>
                <a:moveTo>
                  <a:pt x="1094538" y="2366962"/>
                </a:moveTo>
                <a:lnTo>
                  <a:pt x="1257729" y="2366962"/>
                </a:lnTo>
                <a:cubicBezTo>
                  <a:pt x="1339139" y="2366962"/>
                  <a:pt x="1405367" y="2433189"/>
                  <a:pt x="1405367" y="2514600"/>
                </a:cubicBezTo>
                <a:lnTo>
                  <a:pt x="1405367" y="2677791"/>
                </a:lnTo>
                <a:cubicBezTo>
                  <a:pt x="1405367" y="2759201"/>
                  <a:pt x="1339139" y="2825429"/>
                  <a:pt x="1257729" y="2825429"/>
                </a:cubicBezTo>
                <a:lnTo>
                  <a:pt x="1094538" y="2825429"/>
                </a:lnTo>
                <a:cubicBezTo>
                  <a:pt x="1013127" y="2825429"/>
                  <a:pt x="946900" y="2759201"/>
                  <a:pt x="946900" y="2677791"/>
                </a:cubicBezTo>
                <a:lnTo>
                  <a:pt x="946900" y="2514600"/>
                </a:lnTo>
                <a:cubicBezTo>
                  <a:pt x="946900" y="2433189"/>
                  <a:pt x="1013127" y="2366962"/>
                  <a:pt x="1094538" y="2366962"/>
                </a:cubicBezTo>
                <a:close/>
                <a:moveTo>
                  <a:pt x="463335" y="2366962"/>
                </a:moveTo>
                <a:lnTo>
                  <a:pt x="626536" y="2366962"/>
                </a:lnTo>
                <a:cubicBezTo>
                  <a:pt x="707946" y="2366962"/>
                  <a:pt x="774173" y="2433189"/>
                  <a:pt x="774173" y="2514600"/>
                </a:cubicBezTo>
                <a:lnTo>
                  <a:pt x="774173" y="2677791"/>
                </a:lnTo>
                <a:cubicBezTo>
                  <a:pt x="774173" y="2759201"/>
                  <a:pt x="707946" y="2825429"/>
                  <a:pt x="626536" y="2825429"/>
                </a:cubicBezTo>
                <a:lnTo>
                  <a:pt x="463335" y="2825429"/>
                </a:lnTo>
                <a:cubicBezTo>
                  <a:pt x="381924" y="2825429"/>
                  <a:pt x="315697" y="2759201"/>
                  <a:pt x="315697" y="2677791"/>
                </a:cubicBezTo>
                <a:lnTo>
                  <a:pt x="315697" y="2514600"/>
                </a:lnTo>
                <a:cubicBezTo>
                  <a:pt x="315697" y="2433189"/>
                  <a:pt x="381924" y="2366962"/>
                  <a:pt x="463335" y="2366962"/>
                </a:cubicBezTo>
                <a:close/>
                <a:moveTo>
                  <a:pt x="3619187" y="1878653"/>
                </a:moveTo>
                <a:cubicBezTo>
                  <a:pt x="3616567" y="1878653"/>
                  <a:pt x="3614424" y="1880787"/>
                  <a:pt x="3614424" y="1883416"/>
                </a:cubicBezTo>
                <a:lnTo>
                  <a:pt x="3614424" y="2046607"/>
                </a:lnTo>
                <a:cubicBezTo>
                  <a:pt x="3614424" y="2049236"/>
                  <a:pt x="3616567" y="2051370"/>
                  <a:pt x="3619187" y="2051370"/>
                </a:cubicBezTo>
                <a:lnTo>
                  <a:pt x="3782378" y="2051370"/>
                </a:lnTo>
                <a:cubicBezTo>
                  <a:pt x="3784998" y="2051370"/>
                  <a:pt x="3787141" y="2049236"/>
                  <a:pt x="3787141" y="2046607"/>
                </a:cubicBezTo>
                <a:lnTo>
                  <a:pt x="3787141" y="1883416"/>
                </a:lnTo>
                <a:cubicBezTo>
                  <a:pt x="3787141" y="1880787"/>
                  <a:pt x="3784998" y="1878653"/>
                  <a:pt x="3782378" y="1878653"/>
                </a:cubicBezTo>
                <a:close/>
                <a:moveTo>
                  <a:pt x="2988003" y="1878653"/>
                </a:moveTo>
                <a:cubicBezTo>
                  <a:pt x="2985383" y="1878653"/>
                  <a:pt x="2983240" y="1880787"/>
                  <a:pt x="2983240" y="1883416"/>
                </a:cubicBezTo>
                <a:lnTo>
                  <a:pt x="2983240" y="2046607"/>
                </a:lnTo>
                <a:cubicBezTo>
                  <a:pt x="2983240" y="2049236"/>
                  <a:pt x="2985374" y="2051370"/>
                  <a:pt x="2988003" y="2051370"/>
                </a:cubicBezTo>
                <a:lnTo>
                  <a:pt x="3151194" y="2051370"/>
                </a:lnTo>
                <a:cubicBezTo>
                  <a:pt x="3153814" y="2051370"/>
                  <a:pt x="3155957" y="2049236"/>
                  <a:pt x="3155957" y="2046607"/>
                </a:cubicBezTo>
                <a:lnTo>
                  <a:pt x="3155957" y="1883416"/>
                </a:lnTo>
                <a:cubicBezTo>
                  <a:pt x="3155957" y="1880787"/>
                  <a:pt x="3153814" y="1878653"/>
                  <a:pt x="3151194" y="1878653"/>
                </a:cubicBezTo>
                <a:close/>
                <a:moveTo>
                  <a:pt x="2356914" y="1878653"/>
                </a:moveTo>
                <a:cubicBezTo>
                  <a:pt x="2354295" y="1878653"/>
                  <a:pt x="2352152" y="1880787"/>
                  <a:pt x="2352152" y="1883416"/>
                </a:cubicBezTo>
                <a:lnTo>
                  <a:pt x="2352152" y="2046607"/>
                </a:lnTo>
                <a:cubicBezTo>
                  <a:pt x="2352152" y="2049236"/>
                  <a:pt x="2354295" y="2051370"/>
                  <a:pt x="2356914" y="2051370"/>
                </a:cubicBezTo>
                <a:lnTo>
                  <a:pt x="2520106" y="2051370"/>
                </a:lnTo>
                <a:cubicBezTo>
                  <a:pt x="2522726" y="2051370"/>
                  <a:pt x="2524869" y="2049236"/>
                  <a:pt x="2524869" y="2046607"/>
                </a:cubicBezTo>
                <a:lnTo>
                  <a:pt x="2524869" y="1883416"/>
                </a:lnTo>
                <a:cubicBezTo>
                  <a:pt x="2524869" y="1880787"/>
                  <a:pt x="2522726" y="1878653"/>
                  <a:pt x="2520106" y="1878653"/>
                </a:cubicBezTo>
                <a:close/>
                <a:moveTo>
                  <a:pt x="1725721" y="1878644"/>
                </a:moveTo>
                <a:cubicBezTo>
                  <a:pt x="1723101" y="1878644"/>
                  <a:pt x="1720958" y="1880777"/>
                  <a:pt x="1720958" y="1883406"/>
                </a:cubicBezTo>
                <a:lnTo>
                  <a:pt x="1720958" y="2046598"/>
                </a:lnTo>
                <a:cubicBezTo>
                  <a:pt x="1720958" y="2049227"/>
                  <a:pt x="1723101" y="2051360"/>
                  <a:pt x="1725721" y="2051360"/>
                </a:cubicBezTo>
                <a:lnTo>
                  <a:pt x="1888912" y="2051360"/>
                </a:lnTo>
                <a:cubicBezTo>
                  <a:pt x="1891532" y="2051360"/>
                  <a:pt x="1893675" y="2049227"/>
                  <a:pt x="1893675" y="2046598"/>
                </a:cubicBezTo>
                <a:lnTo>
                  <a:pt x="1893675" y="1883406"/>
                </a:lnTo>
                <a:cubicBezTo>
                  <a:pt x="1893675" y="1880777"/>
                  <a:pt x="1891532" y="1878644"/>
                  <a:pt x="1888912" y="1878644"/>
                </a:cubicBezTo>
                <a:close/>
                <a:moveTo>
                  <a:pt x="1094538" y="1878644"/>
                </a:moveTo>
                <a:cubicBezTo>
                  <a:pt x="1091918" y="1878644"/>
                  <a:pt x="1089775" y="1880777"/>
                  <a:pt x="1089775" y="1883406"/>
                </a:cubicBezTo>
                <a:lnTo>
                  <a:pt x="1089775" y="2046598"/>
                </a:lnTo>
                <a:cubicBezTo>
                  <a:pt x="1089775" y="2049227"/>
                  <a:pt x="1091918" y="2051360"/>
                  <a:pt x="1094538" y="2051360"/>
                </a:cubicBezTo>
                <a:lnTo>
                  <a:pt x="1257729" y="2051360"/>
                </a:lnTo>
                <a:cubicBezTo>
                  <a:pt x="1260349" y="2051360"/>
                  <a:pt x="1262492" y="2049227"/>
                  <a:pt x="1262492" y="2046598"/>
                </a:cubicBezTo>
                <a:lnTo>
                  <a:pt x="1262492" y="1883406"/>
                </a:lnTo>
                <a:cubicBezTo>
                  <a:pt x="1262492" y="1880777"/>
                  <a:pt x="1260349" y="1878644"/>
                  <a:pt x="1257729" y="1878644"/>
                </a:cubicBezTo>
                <a:close/>
                <a:moveTo>
                  <a:pt x="463335" y="1878644"/>
                </a:moveTo>
                <a:cubicBezTo>
                  <a:pt x="460715" y="1878644"/>
                  <a:pt x="458572" y="1880777"/>
                  <a:pt x="458572" y="1883406"/>
                </a:cubicBezTo>
                <a:lnTo>
                  <a:pt x="458572" y="2046598"/>
                </a:lnTo>
                <a:cubicBezTo>
                  <a:pt x="458572" y="2049227"/>
                  <a:pt x="460715" y="2051360"/>
                  <a:pt x="463335" y="2051360"/>
                </a:cubicBezTo>
                <a:lnTo>
                  <a:pt x="626536" y="2051360"/>
                </a:lnTo>
                <a:cubicBezTo>
                  <a:pt x="629155" y="2051360"/>
                  <a:pt x="631298" y="2049227"/>
                  <a:pt x="631298" y="2046598"/>
                </a:cubicBezTo>
                <a:lnTo>
                  <a:pt x="631298" y="1883406"/>
                </a:lnTo>
                <a:cubicBezTo>
                  <a:pt x="631298" y="1880777"/>
                  <a:pt x="629155" y="1878644"/>
                  <a:pt x="626536" y="1878644"/>
                </a:cubicBezTo>
                <a:close/>
                <a:moveTo>
                  <a:pt x="3619187" y="1735778"/>
                </a:moveTo>
                <a:lnTo>
                  <a:pt x="3782378" y="1735778"/>
                </a:lnTo>
                <a:cubicBezTo>
                  <a:pt x="3863788" y="1735778"/>
                  <a:pt x="3930016" y="1802005"/>
                  <a:pt x="3930016" y="1883416"/>
                </a:cubicBezTo>
                <a:lnTo>
                  <a:pt x="3930016" y="2046607"/>
                </a:lnTo>
                <a:cubicBezTo>
                  <a:pt x="3930016" y="2128018"/>
                  <a:pt x="3863788" y="2194245"/>
                  <a:pt x="3782378" y="2194245"/>
                </a:cubicBezTo>
                <a:lnTo>
                  <a:pt x="3619187" y="2194245"/>
                </a:lnTo>
                <a:cubicBezTo>
                  <a:pt x="3537776" y="2194245"/>
                  <a:pt x="3471549" y="2128018"/>
                  <a:pt x="3471549" y="2046607"/>
                </a:cubicBezTo>
                <a:lnTo>
                  <a:pt x="3471549" y="1883416"/>
                </a:lnTo>
                <a:cubicBezTo>
                  <a:pt x="3471549" y="1802005"/>
                  <a:pt x="3537776" y="1735778"/>
                  <a:pt x="3619187" y="1735778"/>
                </a:cubicBezTo>
                <a:close/>
                <a:moveTo>
                  <a:pt x="2988003" y="1735778"/>
                </a:moveTo>
                <a:lnTo>
                  <a:pt x="3151194" y="1735778"/>
                </a:lnTo>
                <a:cubicBezTo>
                  <a:pt x="3232604" y="1735778"/>
                  <a:pt x="3298832" y="1802005"/>
                  <a:pt x="3298832" y="1883416"/>
                </a:cubicBezTo>
                <a:lnTo>
                  <a:pt x="3298832" y="2046607"/>
                </a:lnTo>
                <a:cubicBezTo>
                  <a:pt x="3298832" y="2128018"/>
                  <a:pt x="3232604" y="2194245"/>
                  <a:pt x="3151194" y="2194245"/>
                </a:cubicBezTo>
                <a:lnTo>
                  <a:pt x="2988003" y="2194245"/>
                </a:lnTo>
                <a:cubicBezTo>
                  <a:pt x="2906592" y="2194245"/>
                  <a:pt x="2840365" y="2128018"/>
                  <a:pt x="2840365" y="2046607"/>
                </a:cubicBezTo>
                <a:lnTo>
                  <a:pt x="2840365" y="1883416"/>
                </a:lnTo>
                <a:cubicBezTo>
                  <a:pt x="2840365" y="1802005"/>
                  <a:pt x="2906592" y="1735778"/>
                  <a:pt x="2988003" y="1735778"/>
                </a:cubicBezTo>
                <a:close/>
                <a:moveTo>
                  <a:pt x="2356914" y="1735778"/>
                </a:moveTo>
                <a:lnTo>
                  <a:pt x="2520106" y="1735778"/>
                </a:lnTo>
                <a:cubicBezTo>
                  <a:pt x="2601517" y="1735778"/>
                  <a:pt x="2667744" y="1802005"/>
                  <a:pt x="2667744" y="1883416"/>
                </a:cubicBezTo>
                <a:lnTo>
                  <a:pt x="2667744" y="2046607"/>
                </a:lnTo>
                <a:cubicBezTo>
                  <a:pt x="2667744" y="2128018"/>
                  <a:pt x="2601517" y="2194245"/>
                  <a:pt x="2520106" y="2194245"/>
                </a:cubicBezTo>
                <a:lnTo>
                  <a:pt x="2356914" y="2194245"/>
                </a:lnTo>
                <a:cubicBezTo>
                  <a:pt x="2275504" y="2194245"/>
                  <a:pt x="2209277" y="2128018"/>
                  <a:pt x="2209277" y="2046607"/>
                </a:cubicBezTo>
                <a:lnTo>
                  <a:pt x="2209277" y="1883416"/>
                </a:lnTo>
                <a:cubicBezTo>
                  <a:pt x="2209277" y="1802005"/>
                  <a:pt x="2275504" y="1735778"/>
                  <a:pt x="2356914" y="1735778"/>
                </a:cubicBezTo>
                <a:close/>
                <a:moveTo>
                  <a:pt x="1725721" y="1735778"/>
                </a:moveTo>
                <a:lnTo>
                  <a:pt x="1888912" y="1735778"/>
                </a:lnTo>
                <a:cubicBezTo>
                  <a:pt x="1970323" y="1735778"/>
                  <a:pt x="2036550" y="1802005"/>
                  <a:pt x="2036550" y="1883416"/>
                </a:cubicBezTo>
                <a:lnTo>
                  <a:pt x="2036550" y="2046607"/>
                </a:lnTo>
                <a:cubicBezTo>
                  <a:pt x="2036550" y="2128018"/>
                  <a:pt x="1970323" y="2194245"/>
                  <a:pt x="1888912" y="2194245"/>
                </a:cubicBezTo>
                <a:lnTo>
                  <a:pt x="1725721" y="2194245"/>
                </a:lnTo>
                <a:cubicBezTo>
                  <a:pt x="1644310" y="2194245"/>
                  <a:pt x="1578083" y="2128018"/>
                  <a:pt x="1578083" y="2046607"/>
                </a:cubicBezTo>
                <a:lnTo>
                  <a:pt x="1578083" y="1883416"/>
                </a:lnTo>
                <a:cubicBezTo>
                  <a:pt x="1578083" y="1802005"/>
                  <a:pt x="1644310" y="1735778"/>
                  <a:pt x="1725721" y="1735778"/>
                </a:cubicBezTo>
                <a:close/>
                <a:moveTo>
                  <a:pt x="1094538" y="1735778"/>
                </a:moveTo>
                <a:lnTo>
                  <a:pt x="1257729" y="1735778"/>
                </a:lnTo>
                <a:cubicBezTo>
                  <a:pt x="1339139" y="1735778"/>
                  <a:pt x="1405367" y="1802005"/>
                  <a:pt x="1405367" y="1883416"/>
                </a:cubicBezTo>
                <a:lnTo>
                  <a:pt x="1405367" y="2046607"/>
                </a:lnTo>
                <a:cubicBezTo>
                  <a:pt x="1405367" y="2128018"/>
                  <a:pt x="1339139" y="2194245"/>
                  <a:pt x="1257729" y="2194245"/>
                </a:cubicBezTo>
                <a:lnTo>
                  <a:pt x="1094538" y="2194245"/>
                </a:lnTo>
                <a:cubicBezTo>
                  <a:pt x="1013127" y="2194245"/>
                  <a:pt x="946900" y="2128018"/>
                  <a:pt x="946900" y="2046607"/>
                </a:cubicBezTo>
                <a:lnTo>
                  <a:pt x="946900" y="1883416"/>
                </a:lnTo>
                <a:cubicBezTo>
                  <a:pt x="946900" y="1802005"/>
                  <a:pt x="1013127" y="1735778"/>
                  <a:pt x="1094538" y="1735778"/>
                </a:cubicBezTo>
                <a:close/>
                <a:moveTo>
                  <a:pt x="463335" y="1735778"/>
                </a:moveTo>
                <a:lnTo>
                  <a:pt x="626536" y="1735778"/>
                </a:lnTo>
                <a:cubicBezTo>
                  <a:pt x="707946" y="1735778"/>
                  <a:pt x="774173" y="1802005"/>
                  <a:pt x="774173" y="1883416"/>
                </a:cubicBezTo>
                <a:lnTo>
                  <a:pt x="774173" y="2046607"/>
                </a:lnTo>
                <a:cubicBezTo>
                  <a:pt x="774173" y="2128018"/>
                  <a:pt x="707946" y="2194245"/>
                  <a:pt x="626536" y="2194245"/>
                </a:cubicBezTo>
                <a:lnTo>
                  <a:pt x="463335" y="2194245"/>
                </a:lnTo>
                <a:cubicBezTo>
                  <a:pt x="381924" y="2194245"/>
                  <a:pt x="315697" y="2128018"/>
                  <a:pt x="315697" y="2046607"/>
                </a:cubicBezTo>
                <a:lnTo>
                  <a:pt x="315697" y="1883416"/>
                </a:lnTo>
                <a:cubicBezTo>
                  <a:pt x="315697" y="1802005"/>
                  <a:pt x="381924" y="1735778"/>
                  <a:pt x="463335" y="1735778"/>
                </a:cubicBezTo>
                <a:close/>
                <a:moveTo>
                  <a:pt x="142885" y="1247460"/>
                </a:moveTo>
                <a:lnTo>
                  <a:pt x="142885" y="1420177"/>
                </a:lnTo>
                <a:lnTo>
                  <a:pt x="4103056" y="1420177"/>
                </a:lnTo>
                <a:lnTo>
                  <a:pt x="4103056" y="1247460"/>
                </a:lnTo>
                <a:close/>
                <a:moveTo>
                  <a:pt x="387029" y="458467"/>
                </a:moveTo>
                <a:cubicBezTo>
                  <a:pt x="252412" y="458467"/>
                  <a:pt x="142885" y="567995"/>
                  <a:pt x="142885" y="702621"/>
                </a:cubicBezTo>
                <a:lnTo>
                  <a:pt x="142885" y="1104576"/>
                </a:lnTo>
                <a:lnTo>
                  <a:pt x="4103046" y="1104576"/>
                </a:lnTo>
                <a:lnTo>
                  <a:pt x="4103046" y="702612"/>
                </a:lnTo>
                <a:cubicBezTo>
                  <a:pt x="4103046" y="567995"/>
                  <a:pt x="3993518" y="458467"/>
                  <a:pt x="3858892" y="458467"/>
                </a:cubicBezTo>
                <a:lnTo>
                  <a:pt x="3298927" y="458467"/>
                </a:lnTo>
                <a:lnTo>
                  <a:pt x="3298927" y="631184"/>
                </a:lnTo>
                <a:lnTo>
                  <a:pt x="3385290" y="631184"/>
                </a:lnTo>
                <a:cubicBezTo>
                  <a:pt x="3424752" y="631184"/>
                  <a:pt x="3456727" y="663169"/>
                  <a:pt x="3456727" y="702621"/>
                </a:cubicBezTo>
                <a:cubicBezTo>
                  <a:pt x="3456727" y="742074"/>
                  <a:pt x="3424752" y="774059"/>
                  <a:pt x="3385290" y="774059"/>
                </a:cubicBezTo>
                <a:lnTo>
                  <a:pt x="3274876" y="774059"/>
                </a:lnTo>
                <a:cubicBezTo>
                  <a:pt x="3232576" y="867032"/>
                  <a:pt x="3138859" y="931859"/>
                  <a:pt x="3030246" y="931859"/>
                </a:cubicBezTo>
                <a:cubicBezTo>
                  <a:pt x="2921632" y="931859"/>
                  <a:pt x="2827925" y="867023"/>
                  <a:pt x="2785615" y="774059"/>
                </a:cubicBezTo>
                <a:lnTo>
                  <a:pt x="2675201" y="774059"/>
                </a:lnTo>
                <a:cubicBezTo>
                  <a:pt x="2635739" y="774059"/>
                  <a:pt x="2603764" y="742074"/>
                  <a:pt x="2603764" y="702621"/>
                </a:cubicBezTo>
                <a:cubicBezTo>
                  <a:pt x="2603764" y="663169"/>
                  <a:pt x="2635739" y="631184"/>
                  <a:pt x="2675201" y="631184"/>
                </a:cubicBezTo>
                <a:lnTo>
                  <a:pt x="2761564" y="631184"/>
                </a:lnTo>
                <a:lnTo>
                  <a:pt x="2761564" y="458467"/>
                </a:lnTo>
                <a:lnTo>
                  <a:pt x="1484157" y="458467"/>
                </a:lnTo>
                <a:lnTo>
                  <a:pt x="1484157" y="631184"/>
                </a:lnTo>
                <a:lnTo>
                  <a:pt x="1570511" y="631184"/>
                </a:lnTo>
                <a:cubicBezTo>
                  <a:pt x="1609973" y="631184"/>
                  <a:pt x="1641948" y="663169"/>
                  <a:pt x="1641948" y="702621"/>
                </a:cubicBezTo>
                <a:cubicBezTo>
                  <a:pt x="1641948" y="742074"/>
                  <a:pt x="1609973" y="774059"/>
                  <a:pt x="1570511" y="774059"/>
                </a:cubicBezTo>
                <a:lnTo>
                  <a:pt x="1460106" y="774059"/>
                </a:lnTo>
                <a:cubicBezTo>
                  <a:pt x="1417806" y="867032"/>
                  <a:pt x="1324099" y="931859"/>
                  <a:pt x="1215476" y="931859"/>
                </a:cubicBezTo>
                <a:cubicBezTo>
                  <a:pt x="1106853" y="931859"/>
                  <a:pt x="1013146" y="867023"/>
                  <a:pt x="970836" y="774059"/>
                </a:cubicBezTo>
                <a:lnTo>
                  <a:pt x="860431" y="774059"/>
                </a:lnTo>
                <a:cubicBezTo>
                  <a:pt x="820969" y="774059"/>
                  <a:pt x="788994" y="742074"/>
                  <a:pt x="788994" y="702621"/>
                </a:cubicBezTo>
                <a:cubicBezTo>
                  <a:pt x="788994" y="663169"/>
                  <a:pt x="820969" y="631184"/>
                  <a:pt x="860431" y="631184"/>
                </a:cubicBezTo>
                <a:lnTo>
                  <a:pt x="946785" y="631184"/>
                </a:lnTo>
                <a:lnTo>
                  <a:pt x="946785" y="458467"/>
                </a:lnTo>
                <a:close/>
                <a:moveTo>
                  <a:pt x="3030246" y="142875"/>
                </a:moveTo>
                <a:cubicBezTo>
                  <a:pt x="2960875" y="142875"/>
                  <a:pt x="2904439" y="199311"/>
                  <a:pt x="2904439" y="268681"/>
                </a:cubicBezTo>
                <a:lnTo>
                  <a:pt x="2904439" y="663178"/>
                </a:lnTo>
                <a:cubicBezTo>
                  <a:pt x="2904439" y="732558"/>
                  <a:pt x="2960875" y="788994"/>
                  <a:pt x="3030246" y="788994"/>
                </a:cubicBezTo>
                <a:cubicBezTo>
                  <a:pt x="3099616" y="788994"/>
                  <a:pt x="3156052" y="732549"/>
                  <a:pt x="3156052" y="663178"/>
                </a:cubicBezTo>
                <a:lnTo>
                  <a:pt x="3156052" y="268681"/>
                </a:lnTo>
                <a:cubicBezTo>
                  <a:pt x="3156052" y="199311"/>
                  <a:pt x="3099616" y="142875"/>
                  <a:pt x="3030246" y="142875"/>
                </a:cubicBezTo>
                <a:close/>
                <a:moveTo>
                  <a:pt x="1215476" y="142875"/>
                </a:moveTo>
                <a:cubicBezTo>
                  <a:pt x="1146105" y="142875"/>
                  <a:pt x="1089660" y="199311"/>
                  <a:pt x="1089660" y="268681"/>
                </a:cubicBezTo>
                <a:lnTo>
                  <a:pt x="1089660" y="663178"/>
                </a:lnTo>
                <a:cubicBezTo>
                  <a:pt x="1089660" y="732558"/>
                  <a:pt x="1146105" y="788994"/>
                  <a:pt x="1215476" y="788994"/>
                </a:cubicBezTo>
                <a:cubicBezTo>
                  <a:pt x="1284846" y="788994"/>
                  <a:pt x="1341282" y="732549"/>
                  <a:pt x="1341282" y="663178"/>
                </a:cubicBezTo>
                <a:lnTo>
                  <a:pt x="1341282" y="268681"/>
                </a:lnTo>
                <a:cubicBezTo>
                  <a:pt x="1341282" y="199311"/>
                  <a:pt x="1284846" y="142875"/>
                  <a:pt x="1215476" y="142875"/>
                </a:cubicBezTo>
                <a:close/>
                <a:moveTo>
                  <a:pt x="1215476" y="0"/>
                </a:moveTo>
                <a:cubicBezTo>
                  <a:pt x="1363628" y="0"/>
                  <a:pt x="1484157" y="120529"/>
                  <a:pt x="1484157" y="268681"/>
                </a:cubicBezTo>
                <a:lnTo>
                  <a:pt x="1484157" y="315592"/>
                </a:lnTo>
                <a:lnTo>
                  <a:pt x="2761564" y="315592"/>
                </a:lnTo>
                <a:lnTo>
                  <a:pt x="2761564" y="268681"/>
                </a:lnTo>
                <a:cubicBezTo>
                  <a:pt x="2761564" y="120529"/>
                  <a:pt x="2882094" y="0"/>
                  <a:pt x="3030246" y="0"/>
                </a:cubicBezTo>
                <a:cubicBezTo>
                  <a:pt x="3178397" y="0"/>
                  <a:pt x="3298927" y="120529"/>
                  <a:pt x="3298927" y="268692"/>
                </a:cubicBezTo>
                <a:lnTo>
                  <a:pt x="3298927" y="315601"/>
                </a:lnTo>
                <a:lnTo>
                  <a:pt x="3858892" y="315601"/>
                </a:lnTo>
                <a:cubicBezTo>
                  <a:pt x="4072309" y="315601"/>
                  <a:pt x="4245921" y="489214"/>
                  <a:pt x="4245921" y="702621"/>
                </a:cubicBezTo>
                <a:lnTo>
                  <a:pt x="4245921" y="2790881"/>
                </a:lnTo>
                <a:cubicBezTo>
                  <a:pt x="4442079" y="3012385"/>
                  <a:pt x="4561361" y="3303441"/>
                  <a:pt x="4561361" y="3621880"/>
                </a:cubicBezTo>
                <a:cubicBezTo>
                  <a:pt x="4561361" y="4313843"/>
                  <a:pt x="3998405" y="4876799"/>
                  <a:pt x="3306442" y="4876799"/>
                </a:cubicBezTo>
                <a:cubicBezTo>
                  <a:pt x="2779043" y="4876799"/>
                  <a:pt x="2326643" y="4549739"/>
                  <a:pt x="2141258" y="4087815"/>
                </a:cubicBezTo>
                <a:lnTo>
                  <a:pt x="845601" y="4087815"/>
                </a:lnTo>
                <a:cubicBezTo>
                  <a:pt x="806139" y="4087815"/>
                  <a:pt x="774163" y="4055830"/>
                  <a:pt x="774163" y="4016377"/>
                </a:cubicBezTo>
                <a:cubicBezTo>
                  <a:pt x="774163" y="3976925"/>
                  <a:pt x="806139" y="3944940"/>
                  <a:pt x="845601" y="3944940"/>
                </a:cubicBezTo>
                <a:lnTo>
                  <a:pt x="2093757" y="3944940"/>
                </a:lnTo>
                <a:cubicBezTo>
                  <a:pt x="2078793" y="3888800"/>
                  <a:pt x="2067630" y="3831135"/>
                  <a:pt x="2060562" y="3772213"/>
                </a:cubicBezTo>
                <a:lnTo>
                  <a:pt x="387029" y="3772213"/>
                </a:lnTo>
                <a:cubicBezTo>
                  <a:pt x="294523" y="3772213"/>
                  <a:pt x="209521" y="3739552"/>
                  <a:pt x="142875" y="3685212"/>
                </a:cubicBezTo>
                <a:lnTo>
                  <a:pt x="142875" y="3700785"/>
                </a:lnTo>
                <a:cubicBezTo>
                  <a:pt x="142875" y="3835402"/>
                  <a:pt x="252403" y="3944930"/>
                  <a:pt x="387029" y="3944930"/>
                </a:cubicBezTo>
                <a:lnTo>
                  <a:pt x="559860" y="3944930"/>
                </a:lnTo>
                <a:cubicBezTo>
                  <a:pt x="599323" y="3944930"/>
                  <a:pt x="631298" y="3976915"/>
                  <a:pt x="631298" y="4016368"/>
                </a:cubicBezTo>
                <a:cubicBezTo>
                  <a:pt x="631298" y="4055820"/>
                  <a:pt x="599323" y="4087805"/>
                  <a:pt x="559860" y="4087805"/>
                </a:cubicBezTo>
                <a:lnTo>
                  <a:pt x="387029" y="4087805"/>
                </a:lnTo>
                <a:cubicBezTo>
                  <a:pt x="173612" y="4087805"/>
                  <a:pt x="0" y="3914193"/>
                  <a:pt x="0" y="3700785"/>
                </a:cubicBezTo>
                <a:lnTo>
                  <a:pt x="0" y="2107882"/>
                </a:lnTo>
                <a:cubicBezTo>
                  <a:pt x="0" y="2068429"/>
                  <a:pt x="31975" y="2036444"/>
                  <a:pt x="71438" y="2036444"/>
                </a:cubicBezTo>
                <a:cubicBezTo>
                  <a:pt x="110900" y="2036444"/>
                  <a:pt x="142875" y="2068429"/>
                  <a:pt x="142875" y="2107882"/>
                </a:cubicBezTo>
                <a:lnTo>
                  <a:pt x="142875" y="3385194"/>
                </a:lnTo>
                <a:cubicBezTo>
                  <a:pt x="142875" y="3519810"/>
                  <a:pt x="252403" y="3629338"/>
                  <a:pt x="387029" y="3629338"/>
                </a:cubicBezTo>
                <a:lnTo>
                  <a:pt x="2051618" y="3629338"/>
                </a:lnTo>
                <a:cubicBezTo>
                  <a:pt x="2051599" y="3626843"/>
                  <a:pt x="2051523" y="3624376"/>
                  <a:pt x="2051523" y="3621880"/>
                </a:cubicBezTo>
                <a:cubicBezTo>
                  <a:pt x="2051523" y="3319004"/>
                  <a:pt x="2159375" y="3040855"/>
                  <a:pt x="2338692" y="2823800"/>
                </a:cubicBezTo>
                <a:cubicBezTo>
                  <a:pt x="2265693" y="2813570"/>
                  <a:pt x="2209276" y="2750876"/>
                  <a:pt x="2209276" y="2675095"/>
                </a:cubicBezTo>
                <a:lnTo>
                  <a:pt x="2209276" y="2517295"/>
                </a:lnTo>
                <a:cubicBezTo>
                  <a:pt x="2209276" y="2434399"/>
                  <a:pt x="2276713" y="2366962"/>
                  <a:pt x="2359609" y="2366962"/>
                </a:cubicBezTo>
                <a:lnTo>
                  <a:pt x="2517400" y="2366962"/>
                </a:lnTo>
                <a:cubicBezTo>
                  <a:pt x="2600296" y="2366962"/>
                  <a:pt x="2667734" y="2434399"/>
                  <a:pt x="2667734" y="2517295"/>
                </a:cubicBezTo>
                <a:lnTo>
                  <a:pt x="2667734" y="2542079"/>
                </a:lnTo>
                <a:cubicBezTo>
                  <a:pt x="2854957" y="2430913"/>
                  <a:pt x="3073356" y="2366962"/>
                  <a:pt x="3306442" y="2366962"/>
                </a:cubicBezTo>
                <a:cubicBezTo>
                  <a:pt x="3608632" y="2366962"/>
                  <a:pt x="3886210" y="2474346"/>
                  <a:pt x="4103046" y="2652931"/>
                </a:cubicBezTo>
                <a:lnTo>
                  <a:pt x="4103046" y="1563052"/>
                </a:lnTo>
                <a:lnTo>
                  <a:pt x="142875" y="1563052"/>
                </a:lnTo>
                <a:lnTo>
                  <a:pt x="142875" y="1822132"/>
                </a:lnTo>
                <a:cubicBezTo>
                  <a:pt x="142875" y="1861584"/>
                  <a:pt x="110900" y="1893569"/>
                  <a:pt x="71438" y="1893569"/>
                </a:cubicBezTo>
                <a:cubicBezTo>
                  <a:pt x="31975" y="1893569"/>
                  <a:pt x="0" y="1861584"/>
                  <a:pt x="0" y="1822132"/>
                </a:cubicBezTo>
                <a:lnTo>
                  <a:pt x="0" y="702612"/>
                </a:lnTo>
                <a:cubicBezTo>
                  <a:pt x="0" y="489214"/>
                  <a:pt x="173622" y="315592"/>
                  <a:pt x="387029" y="315592"/>
                </a:cubicBezTo>
                <a:lnTo>
                  <a:pt x="946785" y="315592"/>
                </a:lnTo>
                <a:lnTo>
                  <a:pt x="946785" y="268681"/>
                </a:lnTo>
                <a:cubicBezTo>
                  <a:pt x="946785" y="120529"/>
                  <a:pt x="1067314" y="0"/>
                  <a:pt x="1215476" y="0"/>
                </a:cubicBezTo>
                <a:close/>
              </a:path>
            </a:pathLst>
          </a:custGeom>
          <a:solidFill>
            <a:schemeClr val="tx2"/>
          </a:solidFill>
          <a:ln w="9525" cap="flat">
            <a:noFill/>
            <a:prstDash val="solid"/>
            <a:miter/>
          </a:ln>
        </p:spPr>
        <p:txBody>
          <a:bodyPr rtlCol="0" anchor="ctr"/>
          <a:lstStyle/>
          <a:p>
            <a:endParaRPr lang="en-US"/>
          </a:p>
        </p:txBody>
      </p:sp>
      <p:sp>
        <p:nvSpPr>
          <p:cNvPr id="10" name="Rectangle 12">
            <a:extLst>
              <a:ext uri="{FF2B5EF4-FFF2-40B4-BE49-F238E27FC236}">
                <a16:creationId xmlns:a16="http://schemas.microsoft.com/office/drawing/2014/main" id="{BAD34CB5-195A-1D40-8518-97C9986FDA3D}"/>
              </a:ext>
            </a:extLst>
          </p:cNvPr>
          <p:cNvSpPr/>
          <p:nvPr userDrawn="1"/>
        </p:nvSpPr>
        <p:spPr>
          <a:xfrm>
            <a:off x="9457764" y="6579030"/>
            <a:ext cx="2734235" cy="278969"/>
          </a:xfrm>
          <a:prstGeom prst="rect">
            <a:avLst/>
          </a:prstGeom>
          <a:solidFill>
            <a:schemeClr val="accent2"/>
          </a:solidFill>
        </p:spPr>
        <p:txBody>
          <a:bodyPr wrap="square" lIns="0" tIns="0" rIns="0" bIns="0" rtlCol="0" anchor="ctr" anchorCtr="0">
            <a:noAutofit/>
          </a:bodyPr>
          <a:lstStyle/>
          <a:p>
            <a:pPr algn="ctr"/>
            <a:r>
              <a:rPr lang="en-US" sz="800" b="1">
                <a:solidFill>
                  <a:schemeClr val="tx2"/>
                </a:solidFill>
                <a:cs typeface="Arial" panose="020B0604020202020204" pitchFamily="34" charset="0"/>
              </a:rPr>
              <a:t>PLAN DE TRABAJO</a:t>
            </a:r>
          </a:p>
        </p:txBody>
      </p:sp>
    </p:spTree>
    <p:extLst>
      <p:ext uri="{BB962C8B-B14F-4D97-AF65-F5344CB8AC3E}">
        <p14:creationId xmlns:p14="http://schemas.microsoft.com/office/powerpoint/2010/main" val="125276144"/>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mplate Propuesta 2022 - Organización y Equipo">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50040F2E-A856-F74D-B747-8F63180F396D}"/>
              </a:ext>
            </a:extLst>
          </p:cNvPr>
          <p:cNvSpPr>
            <a:spLocks noGrp="1"/>
          </p:cNvSpPr>
          <p:nvPr>
            <p:ph type="title"/>
          </p:nvPr>
        </p:nvSpPr>
        <p:spPr>
          <a:xfrm>
            <a:off x="1138892" y="36122"/>
            <a:ext cx="10610449" cy="276999"/>
          </a:xfrm>
        </p:spPr>
        <p:txBody>
          <a:bodyPr wrap="square" lIns="0" anchor="t">
            <a:noAutofit/>
          </a:bodyPr>
          <a:lstStyle>
            <a:lvl1pPr>
              <a:defRPr lang="es-ES_tradnl" cap="all" baseline="0" noProof="0" dirty="0"/>
            </a:lvl1pPr>
          </a:lstStyle>
          <a:p>
            <a:pPr lvl="0"/>
            <a:r>
              <a:rPr lang="es-ES_tradnl" noProof="0"/>
              <a:t>Haga clic para modificar el estilo de título del patrón</a:t>
            </a:r>
          </a:p>
        </p:txBody>
      </p:sp>
      <p:sp>
        <p:nvSpPr>
          <p:cNvPr id="7" name="Marcador de texto 5">
            <a:extLst>
              <a:ext uri="{FF2B5EF4-FFF2-40B4-BE49-F238E27FC236}">
                <a16:creationId xmlns:a16="http://schemas.microsoft.com/office/drawing/2014/main" id="{CC6303D6-D0FC-984A-8419-A50470327A59}"/>
              </a:ext>
            </a:extLst>
          </p:cNvPr>
          <p:cNvSpPr>
            <a:spLocks noGrp="1"/>
          </p:cNvSpPr>
          <p:nvPr>
            <p:ph type="body" sz="quarter" idx="10"/>
          </p:nvPr>
        </p:nvSpPr>
        <p:spPr>
          <a:xfrm>
            <a:off x="442659" y="671500"/>
            <a:ext cx="11306682" cy="5741999"/>
          </a:xfrm>
        </p:spPr>
        <p:txBody>
          <a:bodyPr/>
          <a:lstStyle/>
          <a:p>
            <a:pPr lvl="0"/>
            <a:r>
              <a:rPr lang="es-ES_tradnl" noProof="0"/>
              <a:t>Haga clic para modificar los estilos de texto del patrón</a:t>
            </a:r>
          </a:p>
          <a:p>
            <a:pPr lvl="1"/>
            <a:r>
              <a:rPr lang="es-ES_tradnl" noProof="0"/>
              <a:t>Segundo nivel</a:t>
            </a:r>
          </a:p>
          <a:p>
            <a:pPr lvl="2"/>
            <a:r>
              <a:rPr lang="es-ES_tradnl" noProof="0"/>
              <a:t>Tercer nivel</a:t>
            </a:r>
          </a:p>
          <a:p>
            <a:pPr lvl="3"/>
            <a:r>
              <a:rPr lang="es-ES_tradnl" noProof="0"/>
              <a:t>Cuarto nivel</a:t>
            </a:r>
          </a:p>
          <a:p>
            <a:pPr lvl="4"/>
            <a:r>
              <a:rPr lang="es-ES_tradnl" noProof="0"/>
              <a:t>Quinto nivel</a:t>
            </a:r>
          </a:p>
        </p:txBody>
      </p:sp>
      <p:sp>
        <p:nvSpPr>
          <p:cNvPr id="4" name="Marcador de texto 4">
            <a:extLst>
              <a:ext uri="{FF2B5EF4-FFF2-40B4-BE49-F238E27FC236}">
                <a16:creationId xmlns:a16="http://schemas.microsoft.com/office/drawing/2014/main" id="{DED7AFAC-0516-FB48-9E02-44CC62A80883}"/>
              </a:ext>
            </a:extLst>
          </p:cNvPr>
          <p:cNvSpPr>
            <a:spLocks noGrp="1"/>
          </p:cNvSpPr>
          <p:nvPr>
            <p:ph type="body" sz="quarter" idx="11"/>
          </p:nvPr>
        </p:nvSpPr>
        <p:spPr>
          <a:xfrm>
            <a:off x="1138639" y="290195"/>
            <a:ext cx="10610449" cy="217488"/>
          </a:xfrm>
        </p:spPr>
        <p:txBody>
          <a:bodyPr/>
          <a:lstStyle>
            <a:lvl1pPr>
              <a:defRPr sz="1200">
                <a:solidFill>
                  <a:schemeClr val="tx2"/>
                </a:solidFill>
              </a:defRPr>
            </a:lvl1pPr>
          </a:lstStyle>
          <a:p>
            <a:pPr lvl="0"/>
            <a:r>
              <a:rPr lang="es-ES_tradnl" noProof="0"/>
              <a:t>Haga clic para modificar los estilos de texto del patrón</a:t>
            </a:r>
          </a:p>
        </p:txBody>
      </p:sp>
      <p:sp>
        <p:nvSpPr>
          <p:cNvPr id="9" name="Rectángulo 8">
            <a:extLst>
              <a:ext uri="{FF2B5EF4-FFF2-40B4-BE49-F238E27FC236}">
                <a16:creationId xmlns:a16="http://schemas.microsoft.com/office/drawing/2014/main" id="{9D31E6A8-7FC5-D346-B913-27F3CB84C0BF}"/>
              </a:ext>
            </a:extLst>
          </p:cNvPr>
          <p:cNvSpPr/>
          <p:nvPr userDrawn="1"/>
        </p:nvSpPr>
        <p:spPr bwMode="auto">
          <a:xfrm>
            <a:off x="596159" y="67814"/>
            <a:ext cx="405613" cy="405613"/>
          </a:xfrm>
          <a:prstGeom prst="rect">
            <a:avLst/>
          </a:prstGeom>
          <a:solidFill>
            <a:schemeClr val="bg1"/>
          </a:solidFill>
          <a:ln w="25400" cap="flat">
            <a:solidFill>
              <a:schemeClr val="accent3"/>
            </a:solidFill>
            <a:miter lim="800000"/>
          </a:ln>
        </p:spPr>
        <p:txBody>
          <a:bodyPr lIns="0" tIns="0" rIns="0" bIns="0" rtlCol="0" anchor="ctr">
            <a:noAutofit/>
          </a:bodyPr>
          <a:lstStyle/>
          <a:p>
            <a:pPr algn="ctr"/>
            <a:endParaRPr lang="es-ES_tradnl" sz="1400" noProof="0"/>
          </a:p>
        </p:txBody>
      </p:sp>
      <p:sp>
        <p:nvSpPr>
          <p:cNvPr id="10" name="Forma libre 9">
            <a:extLst>
              <a:ext uri="{FF2B5EF4-FFF2-40B4-BE49-F238E27FC236}">
                <a16:creationId xmlns:a16="http://schemas.microsoft.com/office/drawing/2014/main" id="{98D58498-DC71-3745-8EDE-0D568E99719F}"/>
              </a:ext>
            </a:extLst>
          </p:cNvPr>
          <p:cNvSpPr/>
          <p:nvPr userDrawn="1"/>
        </p:nvSpPr>
        <p:spPr>
          <a:xfrm>
            <a:off x="660833" y="159273"/>
            <a:ext cx="269182" cy="216075"/>
          </a:xfrm>
          <a:custGeom>
            <a:avLst/>
            <a:gdLst>
              <a:gd name="connsiteX0" fmla="*/ 2939529 w 3428447"/>
              <a:gd name="connsiteY0" fmla="*/ 1526219 h 2752048"/>
              <a:gd name="connsiteX1" fmla="*/ 2901496 w 3428447"/>
              <a:gd name="connsiteY1" fmla="*/ 1515999 h 2752048"/>
              <a:gd name="connsiteX2" fmla="*/ 2858110 w 3428447"/>
              <a:gd name="connsiteY2" fmla="*/ 1462164 h 2752048"/>
              <a:gd name="connsiteX3" fmla="*/ 3196762 w 3428447"/>
              <a:gd name="connsiteY3" fmla="*/ 909028 h 2752048"/>
              <a:gd name="connsiteX4" fmla="*/ 3196762 w 3428447"/>
              <a:gd name="connsiteY4" fmla="*/ 730272 h 2752048"/>
              <a:gd name="connsiteX5" fmla="*/ 2993146 w 3428447"/>
              <a:gd name="connsiteY5" fmla="*/ 189386 h 2752048"/>
              <a:gd name="connsiteX6" fmla="*/ 2541927 w 3428447"/>
              <a:gd name="connsiteY6" fmla="*/ 0 h 2752048"/>
              <a:gd name="connsiteX7" fmla="*/ 2539556 w 3428447"/>
              <a:gd name="connsiteY7" fmla="*/ 0 h 2752048"/>
              <a:gd name="connsiteX8" fmla="*/ 1913801 w 3428447"/>
              <a:gd name="connsiteY8" fmla="*/ 499958 h 2752048"/>
              <a:gd name="connsiteX9" fmla="*/ 1715405 w 3428447"/>
              <a:gd name="connsiteY9" fmla="*/ 466325 h 2752048"/>
              <a:gd name="connsiteX10" fmla="*/ 1713024 w 3428447"/>
              <a:gd name="connsiteY10" fmla="*/ 466325 h 2752048"/>
              <a:gd name="connsiteX11" fmla="*/ 1514570 w 3428447"/>
              <a:gd name="connsiteY11" fmla="*/ 499977 h 2752048"/>
              <a:gd name="connsiteX12" fmla="*/ 888606 w 3428447"/>
              <a:gd name="connsiteY12" fmla="*/ 0 h 2752048"/>
              <a:gd name="connsiteX13" fmla="*/ 886235 w 3428447"/>
              <a:gd name="connsiteY13" fmla="*/ 0 h 2752048"/>
              <a:gd name="connsiteX14" fmla="*/ 435140 w 3428447"/>
              <a:gd name="connsiteY14" fmla="*/ 189405 h 2752048"/>
              <a:gd name="connsiteX15" fmla="*/ 231686 w 3428447"/>
              <a:gd name="connsiteY15" fmla="*/ 730272 h 2752048"/>
              <a:gd name="connsiteX16" fmla="*/ 231686 w 3428447"/>
              <a:gd name="connsiteY16" fmla="*/ 909028 h 2752048"/>
              <a:gd name="connsiteX17" fmla="*/ 570138 w 3428447"/>
              <a:gd name="connsiteY17" fmla="*/ 1462202 h 2752048"/>
              <a:gd name="connsiteX18" fmla="*/ 526780 w 3428447"/>
              <a:gd name="connsiteY18" fmla="*/ 1515961 h 2752048"/>
              <a:gd name="connsiteX19" fmla="*/ 488528 w 3428447"/>
              <a:gd name="connsiteY19" fmla="*/ 1526257 h 2752048"/>
              <a:gd name="connsiteX20" fmla="*/ 0 w 3428447"/>
              <a:gd name="connsiteY20" fmla="*/ 2013128 h 2752048"/>
              <a:gd name="connsiteX21" fmla="*/ 0 w 3428447"/>
              <a:gd name="connsiteY21" fmla="*/ 2167309 h 2752048"/>
              <a:gd name="connsiteX22" fmla="*/ 118491 w 3428447"/>
              <a:gd name="connsiteY22" fmla="*/ 2285733 h 2752048"/>
              <a:gd name="connsiteX23" fmla="*/ 665817 w 3428447"/>
              <a:gd name="connsiteY23" fmla="*/ 2285191 h 2752048"/>
              <a:gd name="connsiteX24" fmla="*/ 737178 w 3428447"/>
              <a:gd name="connsiteY24" fmla="*/ 2213686 h 2752048"/>
              <a:gd name="connsiteX25" fmla="*/ 665740 w 3428447"/>
              <a:gd name="connsiteY25" fmla="*/ 2142316 h 2752048"/>
              <a:gd name="connsiteX26" fmla="*/ 665664 w 3428447"/>
              <a:gd name="connsiteY26" fmla="*/ 2142316 h 2752048"/>
              <a:gd name="connsiteX27" fmla="*/ 142865 w 3428447"/>
              <a:gd name="connsiteY27" fmla="*/ 2142830 h 2752048"/>
              <a:gd name="connsiteX28" fmla="*/ 142865 w 3428447"/>
              <a:gd name="connsiteY28" fmla="*/ 2013128 h 2752048"/>
              <a:gd name="connsiteX29" fmla="*/ 435902 w 3428447"/>
              <a:gd name="connsiteY29" fmla="*/ 1689535 h 2752048"/>
              <a:gd name="connsiteX30" fmla="*/ 770858 w 3428447"/>
              <a:gd name="connsiteY30" fmla="*/ 1885778 h 2752048"/>
              <a:gd name="connsiteX31" fmla="*/ 1004230 w 3428447"/>
              <a:gd name="connsiteY31" fmla="*/ 1885788 h 2752048"/>
              <a:gd name="connsiteX32" fmla="*/ 1215695 w 3428447"/>
              <a:gd name="connsiteY32" fmla="*/ 1761677 h 2752048"/>
              <a:gd name="connsiteX33" fmla="*/ 1396860 w 3428447"/>
              <a:gd name="connsiteY33" fmla="*/ 1928441 h 2752048"/>
              <a:gd name="connsiteX34" fmla="*/ 1353588 w 3428447"/>
              <a:gd name="connsiteY34" fmla="*/ 1982267 h 2752048"/>
              <a:gd name="connsiteX35" fmla="*/ 1315412 w 3428447"/>
              <a:gd name="connsiteY35" fmla="*/ 1992535 h 2752048"/>
              <a:gd name="connsiteX36" fmla="*/ 826522 w 3428447"/>
              <a:gd name="connsiteY36" fmla="*/ 2479443 h 2752048"/>
              <a:gd name="connsiteX37" fmla="*/ 826522 w 3428447"/>
              <a:gd name="connsiteY37" fmla="*/ 2633624 h 2752048"/>
              <a:gd name="connsiteX38" fmla="*/ 945213 w 3428447"/>
              <a:gd name="connsiteY38" fmla="*/ 2752049 h 2752048"/>
              <a:gd name="connsiteX39" fmla="*/ 1544917 w 3428447"/>
              <a:gd name="connsiteY39" fmla="*/ 2752049 h 2752048"/>
              <a:gd name="connsiteX40" fmla="*/ 1616355 w 3428447"/>
              <a:gd name="connsiteY40" fmla="*/ 2680611 h 2752048"/>
              <a:gd name="connsiteX41" fmla="*/ 1544917 w 3428447"/>
              <a:gd name="connsiteY41" fmla="*/ 2609174 h 2752048"/>
              <a:gd name="connsiteX42" fmla="*/ 969397 w 3428447"/>
              <a:gd name="connsiteY42" fmla="*/ 2609174 h 2752048"/>
              <a:gd name="connsiteX43" fmla="*/ 969397 w 3428447"/>
              <a:gd name="connsiteY43" fmla="*/ 2479453 h 2752048"/>
              <a:gd name="connsiteX44" fmla="*/ 1262672 w 3428447"/>
              <a:gd name="connsiteY44" fmla="*/ 2155860 h 2752048"/>
              <a:gd name="connsiteX45" fmla="*/ 1597362 w 3428447"/>
              <a:gd name="connsiteY45" fmla="*/ 2352094 h 2752048"/>
              <a:gd name="connsiteX46" fmla="*/ 1714081 w 3428447"/>
              <a:gd name="connsiteY46" fmla="*/ 2392566 h 2752048"/>
              <a:gd name="connsiteX47" fmla="*/ 1830791 w 3428447"/>
              <a:gd name="connsiteY47" fmla="*/ 2352094 h 2752048"/>
              <a:gd name="connsiteX48" fmla="*/ 2165661 w 3428447"/>
              <a:gd name="connsiteY48" fmla="*/ 2155908 h 2752048"/>
              <a:gd name="connsiteX49" fmla="*/ 2458765 w 3428447"/>
              <a:gd name="connsiteY49" fmla="*/ 2479453 h 2752048"/>
              <a:gd name="connsiteX50" fmla="*/ 2458765 w 3428447"/>
              <a:gd name="connsiteY50" fmla="*/ 2609174 h 2752048"/>
              <a:gd name="connsiteX51" fmla="*/ 1887836 w 3428447"/>
              <a:gd name="connsiteY51" fmla="*/ 2609174 h 2752048"/>
              <a:gd name="connsiteX52" fmla="*/ 1816398 w 3428447"/>
              <a:gd name="connsiteY52" fmla="*/ 2680611 h 2752048"/>
              <a:gd name="connsiteX53" fmla="*/ 1887836 w 3428447"/>
              <a:gd name="connsiteY53" fmla="*/ 2752049 h 2752048"/>
              <a:gd name="connsiteX54" fmla="*/ 2483225 w 3428447"/>
              <a:gd name="connsiteY54" fmla="*/ 2752049 h 2752048"/>
              <a:gd name="connsiteX55" fmla="*/ 2601649 w 3428447"/>
              <a:gd name="connsiteY55" fmla="*/ 2633624 h 2752048"/>
              <a:gd name="connsiteX56" fmla="*/ 2601649 w 3428447"/>
              <a:gd name="connsiteY56" fmla="*/ 2479443 h 2752048"/>
              <a:gd name="connsiteX57" fmla="*/ 2112759 w 3428447"/>
              <a:gd name="connsiteY57" fmla="*/ 1992535 h 2752048"/>
              <a:gd name="connsiteX58" fmla="*/ 2074716 w 3428447"/>
              <a:gd name="connsiteY58" fmla="*/ 1982305 h 2752048"/>
              <a:gd name="connsiteX59" fmla="*/ 2031502 w 3428447"/>
              <a:gd name="connsiteY59" fmla="*/ 1928460 h 2752048"/>
              <a:gd name="connsiteX60" fmla="*/ 2212639 w 3428447"/>
              <a:gd name="connsiteY60" fmla="*/ 1761744 h 2752048"/>
              <a:gd name="connsiteX61" fmla="*/ 2424170 w 3428447"/>
              <a:gd name="connsiteY61" fmla="*/ 1885760 h 2752048"/>
              <a:gd name="connsiteX62" fmla="*/ 2540880 w 3428447"/>
              <a:gd name="connsiteY62" fmla="*/ 1926231 h 2752048"/>
              <a:gd name="connsiteX63" fmla="*/ 2657580 w 3428447"/>
              <a:gd name="connsiteY63" fmla="*/ 1885778 h 2752048"/>
              <a:gd name="connsiteX64" fmla="*/ 2992631 w 3428447"/>
              <a:gd name="connsiteY64" fmla="*/ 1689630 h 2752048"/>
              <a:gd name="connsiteX65" fmla="*/ 3285573 w 3428447"/>
              <a:gd name="connsiteY65" fmla="*/ 2013118 h 2752048"/>
              <a:gd name="connsiteX66" fmla="*/ 3285573 w 3428447"/>
              <a:gd name="connsiteY66" fmla="*/ 2142849 h 2752048"/>
              <a:gd name="connsiteX67" fmla="*/ 2762983 w 3428447"/>
              <a:gd name="connsiteY67" fmla="*/ 2142849 h 2752048"/>
              <a:gd name="connsiteX68" fmla="*/ 2691546 w 3428447"/>
              <a:gd name="connsiteY68" fmla="*/ 2214286 h 2752048"/>
              <a:gd name="connsiteX69" fmla="*/ 2762983 w 3428447"/>
              <a:gd name="connsiteY69" fmla="*/ 2285724 h 2752048"/>
              <a:gd name="connsiteX70" fmla="*/ 3309757 w 3428447"/>
              <a:gd name="connsiteY70" fmla="*/ 2285724 h 2752048"/>
              <a:gd name="connsiteX71" fmla="*/ 3428448 w 3428447"/>
              <a:gd name="connsiteY71" fmla="*/ 2167299 h 2752048"/>
              <a:gd name="connsiteX72" fmla="*/ 3428448 w 3428447"/>
              <a:gd name="connsiteY72" fmla="*/ 2013118 h 2752048"/>
              <a:gd name="connsiteX73" fmla="*/ 2939529 w 3428447"/>
              <a:gd name="connsiteY73" fmla="*/ 1526219 h 2752048"/>
              <a:gd name="connsiteX74" fmla="*/ 3053887 w 3428447"/>
              <a:gd name="connsiteY74" fmla="*/ 909028 h 2752048"/>
              <a:gd name="connsiteX75" fmla="*/ 2662314 w 3428447"/>
              <a:gd name="connsiteY75" fmla="*/ 1404204 h 2752048"/>
              <a:gd name="connsiteX76" fmla="*/ 2419360 w 3428447"/>
              <a:gd name="connsiteY76" fmla="*/ 1404271 h 2752048"/>
              <a:gd name="connsiteX77" fmla="*/ 2369773 w 3428447"/>
              <a:gd name="connsiteY77" fmla="*/ 1382573 h 2752048"/>
              <a:gd name="connsiteX78" fmla="*/ 2369973 w 3428447"/>
              <a:gd name="connsiteY78" fmla="*/ 1375343 h 2752048"/>
              <a:gd name="connsiteX79" fmla="*/ 2369973 w 3428447"/>
              <a:gd name="connsiteY79" fmla="*/ 1196588 h 2752048"/>
              <a:gd name="connsiteX80" fmla="*/ 2202542 w 3428447"/>
              <a:gd name="connsiteY80" fmla="*/ 695420 h 2752048"/>
              <a:gd name="connsiteX81" fmla="*/ 2219439 w 3428447"/>
              <a:gd name="connsiteY81" fmla="*/ 678418 h 2752048"/>
              <a:gd name="connsiteX82" fmla="*/ 2303212 w 3428447"/>
              <a:gd name="connsiteY82" fmla="*/ 644481 h 2752048"/>
              <a:gd name="connsiteX83" fmla="*/ 2379355 w 3428447"/>
              <a:gd name="connsiteY83" fmla="*/ 664435 h 2752048"/>
              <a:gd name="connsiteX84" fmla="*/ 2540737 w 3428447"/>
              <a:gd name="connsiteY84" fmla="*/ 695325 h 2752048"/>
              <a:gd name="connsiteX85" fmla="*/ 2702643 w 3428447"/>
              <a:gd name="connsiteY85" fmla="*/ 664369 h 2752048"/>
              <a:gd name="connsiteX86" fmla="*/ 2778652 w 3428447"/>
              <a:gd name="connsiteY86" fmla="*/ 644452 h 2752048"/>
              <a:gd name="connsiteX87" fmla="*/ 2862196 w 3428447"/>
              <a:gd name="connsiteY87" fmla="*/ 678466 h 2752048"/>
              <a:gd name="connsiteX88" fmla="*/ 3053877 w 3428447"/>
              <a:gd name="connsiteY88" fmla="*/ 791994 h 2752048"/>
              <a:gd name="connsiteX89" fmla="*/ 3053877 w 3428447"/>
              <a:gd name="connsiteY89" fmla="*/ 909028 h 2752048"/>
              <a:gd name="connsiteX90" fmla="*/ 2540737 w 3428447"/>
              <a:gd name="connsiteY90" fmla="*/ 142885 h 2752048"/>
              <a:gd name="connsiteX91" fmla="*/ 3049267 w 3428447"/>
              <a:gd name="connsiteY91" fmla="*/ 642090 h 2752048"/>
              <a:gd name="connsiteX92" fmla="*/ 2964209 w 3428447"/>
              <a:gd name="connsiteY92" fmla="*/ 578434 h 2752048"/>
              <a:gd name="connsiteX93" fmla="*/ 2743057 w 3428447"/>
              <a:gd name="connsiteY93" fmla="*/ 506092 h 2752048"/>
              <a:gd name="connsiteX94" fmla="*/ 2665971 w 3428447"/>
              <a:gd name="connsiteY94" fmla="*/ 526294 h 2752048"/>
              <a:gd name="connsiteX95" fmla="*/ 2540737 w 3428447"/>
              <a:gd name="connsiteY95" fmla="*/ 552460 h 2752048"/>
              <a:gd name="connsiteX96" fmla="*/ 2416026 w 3428447"/>
              <a:gd name="connsiteY96" fmla="*/ 526361 h 2752048"/>
              <a:gd name="connsiteX97" fmla="*/ 2338788 w 3428447"/>
              <a:gd name="connsiteY97" fmla="*/ 506120 h 2752048"/>
              <a:gd name="connsiteX98" fmla="*/ 2117398 w 3428447"/>
              <a:gd name="connsiteY98" fmla="*/ 578425 h 2752048"/>
              <a:gd name="connsiteX99" fmla="*/ 2098777 w 3428447"/>
              <a:gd name="connsiteY99" fmla="*/ 596903 h 2752048"/>
              <a:gd name="connsiteX100" fmla="*/ 2045989 w 3428447"/>
              <a:gd name="connsiteY100" fmla="*/ 560984 h 2752048"/>
              <a:gd name="connsiteX101" fmla="*/ 2540737 w 3428447"/>
              <a:gd name="connsiteY101" fmla="*/ 142885 h 2752048"/>
              <a:gd name="connsiteX102" fmla="*/ 1714224 w 3428447"/>
              <a:gd name="connsiteY102" fmla="*/ 609209 h 2752048"/>
              <a:gd name="connsiteX103" fmla="*/ 2222487 w 3428447"/>
              <a:gd name="connsiteY103" fmla="*/ 1108415 h 2752048"/>
              <a:gd name="connsiteX104" fmla="*/ 2137420 w 3428447"/>
              <a:gd name="connsiteY104" fmla="*/ 1044759 h 2752048"/>
              <a:gd name="connsiteX105" fmla="*/ 1979009 w 3428447"/>
              <a:gd name="connsiteY105" fmla="*/ 963854 h 2752048"/>
              <a:gd name="connsiteX106" fmla="*/ 1916259 w 3428447"/>
              <a:gd name="connsiteY106" fmla="*/ 972407 h 2752048"/>
              <a:gd name="connsiteX107" fmla="*/ 1839001 w 3428447"/>
              <a:gd name="connsiteY107" fmla="*/ 992657 h 2752048"/>
              <a:gd name="connsiteX108" fmla="*/ 1714214 w 3428447"/>
              <a:gd name="connsiteY108" fmla="*/ 1018775 h 2752048"/>
              <a:gd name="connsiteX109" fmla="*/ 1588694 w 3428447"/>
              <a:gd name="connsiteY109" fmla="*/ 992505 h 2752048"/>
              <a:gd name="connsiteX110" fmla="*/ 1512265 w 3428447"/>
              <a:gd name="connsiteY110" fmla="*/ 972436 h 2752048"/>
              <a:gd name="connsiteX111" fmla="*/ 1290857 w 3428447"/>
              <a:gd name="connsiteY111" fmla="*/ 1044816 h 2752048"/>
              <a:gd name="connsiteX112" fmla="*/ 1205960 w 3428447"/>
              <a:gd name="connsiteY112" fmla="*/ 1108405 h 2752048"/>
              <a:gd name="connsiteX113" fmla="*/ 1714224 w 3428447"/>
              <a:gd name="connsiteY113" fmla="*/ 609209 h 2752048"/>
              <a:gd name="connsiteX114" fmla="*/ 887435 w 3428447"/>
              <a:gd name="connsiteY114" fmla="*/ 142885 h 2752048"/>
              <a:gd name="connsiteX115" fmla="*/ 1382411 w 3428447"/>
              <a:gd name="connsiteY115" fmla="*/ 561013 h 2752048"/>
              <a:gd name="connsiteX116" fmla="*/ 1329576 w 3428447"/>
              <a:gd name="connsiteY116" fmla="*/ 596970 h 2752048"/>
              <a:gd name="connsiteX117" fmla="*/ 1310726 w 3428447"/>
              <a:gd name="connsiteY117" fmla="*/ 578301 h 2752048"/>
              <a:gd name="connsiteX118" fmla="*/ 1089450 w 3428447"/>
              <a:gd name="connsiteY118" fmla="*/ 506101 h 2752048"/>
              <a:gd name="connsiteX119" fmla="*/ 1012870 w 3428447"/>
              <a:gd name="connsiteY119" fmla="*/ 526199 h 2752048"/>
              <a:gd name="connsiteX120" fmla="*/ 887425 w 3428447"/>
              <a:gd name="connsiteY120" fmla="*/ 552450 h 2752048"/>
              <a:gd name="connsiteX121" fmla="*/ 763200 w 3428447"/>
              <a:gd name="connsiteY121" fmla="*/ 526485 h 2752048"/>
              <a:gd name="connsiteX122" fmla="*/ 685476 w 3428447"/>
              <a:gd name="connsiteY122" fmla="*/ 506111 h 2752048"/>
              <a:gd name="connsiteX123" fmla="*/ 464077 w 3428447"/>
              <a:gd name="connsiteY123" fmla="*/ 578482 h 2752048"/>
              <a:gd name="connsiteX124" fmla="*/ 379181 w 3428447"/>
              <a:gd name="connsiteY124" fmla="*/ 642071 h 2752048"/>
              <a:gd name="connsiteX125" fmla="*/ 887435 w 3428447"/>
              <a:gd name="connsiteY125" fmla="*/ 142885 h 2752048"/>
              <a:gd name="connsiteX126" fmla="*/ 374552 w 3428447"/>
              <a:gd name="connsiteY126" fmla="*/ 909028 h 2752048"/>
              <a:gd name="connsiteX127" fmla="*/ 374552 w 3428447"/>
              <a:gd name="connsiteY127" fmla="*/ 792156 h 2752048"/>
              <a:gd name="connsiteX128" fmla="*/ 566118 w 3428447"/>
              <a:gd name="connsiteY128" fmla="*/ 678475 h 2752048"/>
              <a:gd name="connsiteX129" fmla="*/ 649891 w 3428447"/>
              <a:gd name="connsiteY129" fmla="*/ 644490 h 2752048"/>
              <a:gd name="connsiteX130" fmla="*/ 726491 w 3428447"/>
              <a:gd name="connsiteY130" fmla="*/ 664569 h 2752048"/>
              <a:gd name="connsiteX131" fmla="*/ 887425 w 3428447"/>
              <a:gd name="connsiteY131" fmla="*/ 695325 h 2752048"/>
              <a:gd name="connsiteX132" fmla="*/ 1049588 w 3428447"/>
              <a:gd name="connsiteY132" fmla="*/ 664274 h 2752048"/>
              <a:gd name="connsiteX133" fmla="*/ 1125064 w 3428447"/>
              <a:gd name="connsiteY133" fmla="*/ 644461 h 2752048"/>
              <a:gd name="connsiteX134" fmla="*/ 1208780 w 3428447"/>
              <a:gd name="connsiteY134" fmla="*/ 678399 h 2752048"/>
              <a:gd name="connsiteX135" fmla="*/ 1225830 w 3428447"/>
              <a:gd name="connsiteY135" fmla="*/ 695506 h 2752048"/>
              <a:gd name="connsiteX136" fmla="*/ 1058466 w 3428447"/>
              <a:gd name="connsiteY136" fmla="*/ 1196588 h 2752048"/>
              <a:gd name="connsiteX137" fmla="*/ 1058466 w 3428447"/>
              <a:gd name="connsiteY137" fmla="*/ 1375343 h 2752048"/>
              <a:gd name="connsiteX138" fmla="*/ 1058666 w 3428447"/>
              <a:gd name="connsiteY138" fmla="*/ 1382554 h 2752048"/>
              <a:gd name="connsiteX139" fmla="*/ 1008993 w 3428447"/>
              <a:gd name="connsiteY139" fmla="*/ 1404204 h 2752048"/>
              <a:gd name="connsiteX140" fmla="*/ 765924 w 3428447"/>
              <a:gd name="connsiteY140" fmla="*/ 1404233 h 2752048"/>
              <a:gd name="connsiteX141" fmla="*/ 696678 w 3428447"/>
              <a:gd name="connsiteY141" fmla="*/ 1372514 h 2752048"/>
              <a:gd name="connsiteX142" fmla="*/ 689734 w 3428447"/>
              <a:gd name="connsiteY142" fmla="*/ 1368647 h 2752048"/>
              <a:gd name="connsiteX143" fmla="*/ 689524 w 3428447"/>
              <a:gd name="connsiteY143" fmla="*/ 1368543 h 2752048"/>
              <a:gd name="connsiteX144" fmla="*/ 374552 w 3428447"/>
              <a:gd name="connsiteY144" fmla="*/ 909028 h 2752048"/>
              <a:gd name="connsiteX145" fmla="*/ 930659 w 3428447"/>
              <a:gd name="connsiteY145" fmla="*/ 1763316 h 2752048"/>
              <a:gd name="connsiteX146" fmla="*/ 928049 w 3428447"/>
              <a:gd name="connsiteY146" fmla="*/ 1764925 h 2752048"/>
              <a:gd name="connsiteX147" fmla="*/ 847211 w 3428447"/>
              <a:gd name="connsiteY147" fmla="*/ 1765002 h 2752048"/>
              <a:gd name="connsiteX148" fmla="*/ 844429 w 3428447"/>
              <a:gd name="connsiteY148" fmla="*/ 1763287 h 2752048"/>
              <a:gd name="connsiteX149" fmla="*/ 616601 w 3428447"/>
              <a:gd name="connsiteY149" fmla="*/ 1629804 h 2752048"/>
              <a:gd name="connsiteX150" fmla="*/ 696068 w 3428447"/>
              <a:gd name="connsiteY150" fmla="*/ 1530287 h 2752048"/>
              <a:gd name="connsiteX151" fmla="*/ 716309 w 3428447"/>
              <a:gd name="connsiteY151" fmla="*/ 1538202 h 2752048"/>
              <a:gd name="connsiteX152" fmla="*/ 1058589 w 3428447"/>
              <a:gd name="connsiteY152" fmla="*/ 1538202 h 2752048"/>
              <a:gd name="connsiteX153" fmla="*/ 1084707 w 3428447"/>
              <a:gd name="connsiteY153" fmla="*/ 1527810 h 2752048"/>
              <a:gd name="connsiteX154" fmla="*/ 1135485 w 3428447"/>
              <a:gd name="connsiteY154" fmla="*/ 1643110 h 2752048"/>
              <a:gd name="connsiteX155" fmla="*/ 1757220 w 3428447"/>
              <a:gd name="connsiteY155" fmla="*/ 2229603 h 2752048"/>
              <a:gd name="connsiteX156" fmla="*/ 1754429 w 3428447"/>
              <a:gd name="connsiteY156" fmla="*/ 2231327 h 2752048"/>
              <a:gd name="connsiteX157" fmla="*/ 1673714 w 3428447"/>
              <a:gd name="connsiteY157" fmla="*/ 2231327 h 2752048"/>
              <a:gd name="connsiteX158" fmla="*/ 1670952 w 3428447"/>
              <a:gd name="connsiteY158" fmla="*/ 2229622 h 2752048"/>
              <a:gd name="connsiteX159" fmla="*/ 1443142 w 3428447"/>
              <a:gd name="connsiteY159" fmla="*/ 2096053 h 2752048"/>
              <a:gd name="connsiteX160" fmla="*/ 1522743 w 3428447"/>
              <a:gd name="connsiteY160" fmla="*/ 1996488 h 2752048"/>
              <a:gd name="connsiteX161" fmla="*/ 1543079 w 3428447"/>
              <a:gd name="connsiteY161" fmla="*/ 2004517 h 2752048"/>
              <a:gd name="connsiteX162" fmla="*/ 1714195 w 3428447"/>
              <a:gd name="connsiteY162" fmla="*/ 2038236 h 2752048"/>
              <a:gd name="connsiteX163" fmla="*/ 1885417 w 3428447"/>
              <a:gd name="connsiteY163" fmla="*/ 2004498 h 2752048"/>
              <a:gd name="connsiteX164" fmla="*/ 1905591 w 3428447"/>
              <a:gd name="connsiteY164" fmla="*/ 1996516 h 2752048"/>
              <a:gd name="connsiteX165" fmla="*/ 1985124 w 3428447"/>
              <a:gd name="connsiteY165" fmla="*/ 2096081 h 2752048"/>
              <a:gd name="connsiteX166" fmla="*/ 2227098 w 3428447"/>
              <a:gd name="connsiteY166" fmla="*/ 1375353 h 2752048"/>
              <a:gd name="connsiteX167" fmla="*/ 1835772 w 3428447"/>
              <a:gd name="connsiteY167" fmla="*/ 1870520 h 2752048"/>
              <a:gd name="connsiteX168" fmla="*/ 1592685 w 3428447"/>
              <a:gd name="connsiteY168" fmla="*/ 1870539 h 2752048"/>
              <a:gd name="connsiteX169" fmla="*/ 1201331 w 3428447"/>
              <a:gd name="connsiteY169" fmla="*/ 1375353 h 2752048"/>
              <a:gd name="connsiteX170" fmla="*/ 1201331 w 3428447"/>
              <a:gd name="connsiteY170" fmla="*/ 1258319 h 2752048"/>
              <a:gd name="connsiteX171" fmla="*/ 1392898 w 3428447"/>
              <a:gd name="connsiteY171" fmla="*/ 1144810 h 2752048"/>
              <a:gd name="connsiteX172" fmla="*/ 1476642 w 3428447"/>
              <a:gd name="connsiteY172" fmla="*/ 1110806 h 2752048"/>
              <a:gd name="connsiteX173" fmla="*/ 1551956 w 3428447"/>
              <a:gd name="connsiteY173" fmla="*/ 1130579 h 2752048"/>
              <a:gd name="connsiteX174" fmla="*/ 1714205 w 3428447"/>
              <a:gd name="connsiteY174" fmla="*/ 1161650 h 2752048"/>
              <a:gd name="connsiteX175" fmla="*/ 1875663 w 3428447"/>
              <a:gd name="connsiteY175" fmla="*/ 1130741 h 2752048"/>
              <a:gd name="connsiteX176" fmla="*/ 1951863 w 3428447"/>
              <a:gd name="connsiteY176" fmla="*/ 1110777 h 2752048"/>
              <a:gd name="connsiteX177" fmla="*/ 2035397 w 3428447"/>
              <a:gd name="connsiteY177" fmla="*/ 1144791 h 2752048"/>
              <a:gd name="connsiteX178" fmla="*/ 2227088 w 3428447"/>
              <a:gd name="connsiteY178" fmla="*/ 1258319 h 2752048"/>
              <a:gd name="connsiteX179" fmla="*/ 2227088 w 3428447"/>
              <a:gd name="connsiteY179" fmla="*/ 1375353 h 2752048"/>
              <a:gd name="connsiteX180" fmla="*/ 2584028 w 3428447"/>
              <a:gd name="connsiteY180" fmla="*/ 1763278 h 2752048"/>
              <a:gd name="connsiteX181" fmla="*/ 2581218 w 3428447"/>
              <a:gd name="connsiteY181" fmla="*/ 1765011 h 2752048"/>
              <a:gd name="connsiteX182" fmla="*/ 2500522 w 3428447"/>
              <a:gd name="connsiteY182" fmla="*/ 1765011 h 2752048"/>
              <a:gd name="connsiteX183" fmla="*/ 2497750 w 3428447"/>
              <a:gd name="connsiteY183" fmla="*/ 1763306 h 2752048"/>
              <a:gd name="connsiteX184" fmla="*/ 2292887 w 3428447"/>
              <a:gd name="connsiteY184" fmla="*/ 1643196 h 2752048"/>
              <a:gd name="connsiteX185" fmla="*/ 2343712 w 3428447"/>
              <a:gd name="connsiteY185" fmla="*/ 1527848 h 2752048"/>
              <a:gd name="connsiteX186" fmla="*/ 2369611 w 3428447"/>
              <a:gd name="connsiteY186" fmla="*/ 1538211 h 2752048"/>
              <a:gd name="connsiteX187" fmla="*/ 2540727 w 3428447"/>
              <a:gd name="connsiteY187" fmla="*/ 1571930 h 2752048"/>
              <a:gd name="connsiteX188" fmla="*/ 2711920 w 3428447"/>
              <a:gd name="connsiteY188" fmla="*/ 1538192 h 2752048"/>
              <a:gd name="connsiteX189" fmla="*/ 2732208 w 3428447"/>
              <a:gd name="connsiteY189" fmla="*/ 1530182 h 2752048"/>
              <a:gd name="connsiteX190" fmla="*/ 2811980 w 3428447"/>
              <a:gd name="connsiteY190" fmla="*/ 1629832 h 2752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3428447" h="2752048">
                <a:moveTo>
                  <a:pt x="2939529" y="1526219"/>
                </a:moveTo>
                <a:cubicBezTo>
                  <a:pt x="2926709" y="1522800"/>
                  <a:pt x="2913974" y="1519399"/>
                  <a:pt x="2901496" y="1515999"/>
                </a:cubicBezTo>
                <a:cubicBezTo>
                  <a:pt x="2882627" y="1510817"/>
                  <a:pt x="2868654" y="1486614"/>
                  <a:pt x="2858110" y="1462164"/>
                </a:cubicBezTo>
                <a:cubicBezTo>
                  <a:pt x="3052086" y="1331224"/>
                  <a:pt x="3196762" y="1105662"/>
                  <a:pt x="3196762" y="909028"/>
                </a:cubicBezTo>
                <a:lnTo>
                  <a:pt x="3196762" y="730272"/>
                </a:lnTo>
                <a:cubicBezTo>
                  <a:pt x="3196762" y="509873"/>
                  <a:pt x="3126353" y="322840"/>
                  <a:pt x="2993146" y="189386"/>
                </a:cubicBezTo>
                <a:cubicBezTo>
                  <a:pt x="2874102" y="70123"/>
                  <a:pt x="2713854" y="2857"/>
                  <a:pt x="2541927" y="0"/>
                </a:cubicBezTo>
                <a:cubicBezTo>
                  <a:pt x="2541127" y="0"/>
                  <a:pt x="2540337" y="0"/>
                  <a:pt x="2539556" y="0"/>
                </a:cubicBezTo>
                <a:cubicBezTo>
                  <a:pt x="2283905" y="4239"/>
                  <a:pt x="2003117" y="161220"/>
                  <a:pt x="1913801" y="499958"/>
                </a:cubicBezTo>
                <a:cubicBezTo>
                  <a:pt x="1850765" y="479050"/>
                  <a:pt x="1784052" y="467468"/>
                  <a:pt x="1715405" y="466325"/>
                </a:cubicBezTo>
                <a:cubicBezTo>
                  <a:pt x="1714605" y="466315"/>
                  <a:pt x="1713824" y="466315"/>
                  <a:pt x="1713024" y="466325"/>
                </a:cubicBezTo>
                <a:cubicBezTo>
                  <a:pt x="1644358" y="467468"/>
                  <a:pt x="1577626" y="479060"/>
                  <a:pt x="1514570" y="499977"/>
                </a:cubicBezTo>
                <a:cubicBezTo>
                  <a:pt x="1425045" y="161220"/>
                  <a:pt x="1144200" y="4229"/>
                  <a:pt x="888606" y="0"/>
                </a:cubicBezTo>
                <a:cubicBezTo>
                  <a:pt x="887825" y="0"/>
                  <a:pt x="887035" y="0"/>
                  <a:pt x="886235" y="0"/>
                </a:cubicBezTo>
                <a:cubicBezTo>
                  <a:pt x="714318" y="2857"/>
                  <a:pt x="554126" y="70123"/>
                  <a:pt x="435140" y="189405"/>
                </a:cubicBezTo>
                <a:cubicBezTo>
                  <a:pt x="302038" y="322831"/>
                  <a:pt x="231686" y="509864"/>
                  <a:pt x="231686" y="730272"/>
                </a:cubicBezTo>
                <a:lnTo>
                  <a:pt x="231686" y="909028"/>
                </a:lnTo>
                <a:cubicBezTo>
                  <a:pt x="231686" y="1105624"/>
                  <a:pt x="376238" y="1331224"/>
                  <a:pt x="570138" y="1462202"/>
                </a:cubicBezTo>
                <a:cubicBezTo>
                  <a:pt x="559632" y="1486614"/>
                  <a:pt x="545687" y="1510789"/>
                  <a:pt x="526780" y="1515961"/>
                </a:cubicBezTo>
                <a:cubicBezTo>
                  <a:pt x="514141" y="1519409"/>
                  <a:pt x="501367" y="1522819"/>
                  <a:pt x="488528" y="1526257"/>
                </a:cubicBezTo>
                <a:cubicBezTo>
                  <a:pt x="282350" y="1581360"/>
                  <a:pt x="0" y="1656807"/>
                  <a:pt x="0" y="2013128"/>
                </a:cubicBezTo>
                <a:lnTo>
                  <a:pt x="0" y="2167309"/>
                </a:lnTo>
                <a:cubicBezTo>
                  <a:pt x="0" y="2232603"/>
                  <a:pt x="53121" y="2285733"/>
                  <a:pt x="118491" y="2285733"/>
                </a:cubicBezTo>
                <a:lnTo>
                  <a:pt x="665817" y="2285191"/>
                </a:lnTo>
                <a:cubicBezTo>
                  <a:pt x="705269" y="2285152"/>
                  <a:pt x="737216" y="2253139"/>
                  <a:pt x="737178" y="2213686"/>
                </a:cubicBezTo>
                <a:cubicBezTo>
                  <a:pt x="737140" y="2174253"/>
                  <a:pt x="705174" y="2142316"/>
                  <a:pt x="665740" y="2142316"/>
                </a:cubicBezTo>
                <a:cubicBezTo>
                  <a:pt x="665721" y="2142316"/>
                  <a:pt x="665693" y="2142316"/>
                  <a:pt x="665664" y="2142316"/>
                </a:cubicBezTo>
                <a:lnTo>
                  <a:pt x="142865" y="2142830"/>
                </a:lnTo>
                <a:lnTo>
                  <a:pt x="142865" y="2013128"/>
                </a:lnTo>
                <a:cubicBezTo>
                  <a:pt x="142865" y="1813570"/>
                  <a:pt x="251650" y="1745590"/>
                  <a:pt x="435902" y="1689535"/>
                </a:cubicBezTo>
                <a:lnTo>
                  <a:pt x="770858" y="1885778"/>
                </a:lnTo>
                <a:cubicBezTo>
                  <a:pt x="854535" y="1939614"/>
                  <a:pt x="920239" y="1939633"/>
                  <a:pt x="1004230" y="1885788"/>
                </a:cubicBezTo>
                <a:lnTo>
                  <a:pt x="1215695" y="1761677"/>
                </a:lnTo>
                <a:cubicBezTo>
                  <a:pt x="1267349" y="1825323"/>
                  <a:pt x="1329071" y="1882654"/>
                  <a:pt x="1396860" y="1928441"/>
                </a:cubicBezTo>
                <a:cubicBezTo>
                  <a:pt x="1386316" y="1952901"/>
                  <a:pt x="1372362" y="1977104"/>
                  <a:pt x="1353588" y="1982267"/>
                </a:cubicBezTo>
                <a:cubicBezTo>
                  <a:pt x="1340977" y="1985705"/>
                  <a:pt x="1328233" y="1989106"/>
                  <a:pt x="1315412" y="1992535"/>
                </a:cubicBezTo>
                <a:cubicBezTo>
                  <a:pt x="1109091" y="2047608"/>
                  <a:pt x="826522" y="2123046"/>
                  <a:pt x="826522" y="2479443"/>
                </a:cubicBezTo>
                <a:lnTo>
                  <a:pt x="826522" y="2633624"/>
                </a:lnTo>
                <a:cubicBezTo>
                  <a:pt x="826522" y="2698918"/>
                  <a:pt x="879767" y="2752049"/>
                  <a:pt x="945213" y="2752049"/>
                </a:cubicBezTo>
                <a:lnTo>
                  <a:pt x="1544917" y="2752049"/>
                </a:lnTo>
                <a:cubicBezTo>
                  <a:pt x="1584379" y="2752049"/>
                  <a:pt x="1616355" y="2720064"/>
                  <a:pt x="1616355" y="2680611"/>
                </a:cubicBezTo>
                <a:cubicBezTo>
                  <a:pt x="1616355" y="2641159"/>
                  <a:pt x="1584379" y="2609174"/>
                  <a:pt x="1544917" y="2609174"/>
                </a:cubicBezTo>
                <a:lnTo>
                  <a:pt x="969397" y="2609174"/>
                </a:lnTo>
                <a:lnTo>
                  <a:pt x="969397" y="2479453"/>
                </a:lnTo>
                <a:cubicBezTo>
                  <a:pt x="969397" y="2279875"/>
                  <a:pt x="1078306" y="2211896"/>
                  <a:pt x="1262672" y="2155860"/>
                </a:cubicBezTo>
                <a:lnTo>
                  <a:pt x="1597362" y="2352094"/>
                </a:lnTo>
                <a:cubicBezTo>
                  <a:pt x="1639291" y="2379078"/>
                  <a:pt x="1676686" y="2392566"/>
                  <a:pt x="1714081" y="2392566"/>
                </a:cubicBezTo>
                <a:cubicBezTo>
                  <a:pt x="1751476" y="2392566"/>
                  <a:pt x="1788871" y="2379069"/>
                  <a:pt x="1830791" y="2352094"/>
                </a:cubicBezTo>
                <a:lnTo>
                  <a:pt x="2165661" y="2155908"/>
                </a:lnTo>
                <a:cubicBezTo>
                  <a:pt x="2349922" y="2211934"/>
                  <a:pt x="2458765" y="2279933"/>
                  <a:pt x="2458765" y="2479453"/>
                </a:cubicBezTo>
                <a:lnTo>
                  <a:pt x="2458765" y="2609174"/>
                </a:lnTo>
                <a:lnTo>
                  <a:pt x="1887836" y="2609174"/>
                </a:lnTo>
                <a:cubicBezTo>
                  <a:pt x="1848374" y="2609174"/>
                  <a:pt x="1816398" y="2641159"/>
                  <a:pt x="1816398" y="2680611"/>
                </a:cubicBezTo>
                <a:cubicBezTo>
                  <a:pt x="1816398" y="2720064"/>
                  <a:pt x="1848374" y="2752049"/>
                  <a:pt x="1887836" y="2752049"/>
                </a:cubicBezTo>
                <a:lnTo>
                  <a:pt x="2483225" y="2752049"/>
                </a:lnTo>
                <a:cubicBezTo>
                  <a:pt x="2548519" y="2752049"/>
                  <a:pt x="2601649" y="2698928"/>
                  <a:pt x="2601649" y="2633624"/>
                </a:cubicBezTo>
                <a:lnTo>
                  <a:pt x="2601649" y="2479443"/>
                </a:lnTo>
                <a:cubicBezTo>
                  <a:pt x="2601649" y="2123046"/>
                  <a:pt x="2319081" y="2047618"/>
                  <a:pt x="2112759" y="1992535"/>
                </a:cubicBezTo>
                <a:cubicBezTo>
                  <a:pt x="2099939" y="1989115"/>
                  <a:pt x="2087194" y="1985705"/>
                  <a:pt x="2074716" y="1982305"/>
                </a:cubicBezTo>
                <a:cubicBezTo>
                  <a:pt x="2055905" y="1977142"/>
                  <a:pt x="2041989" y="1952911"/>
                  <a:pt x="2031502" y="1928460"/>
                </a:cubicBezTo>
                <a:cubicBezTo>
                  <a:pt x="2099272" y="1882683"/>
                  <a:pt x="2160984" y="1825371"/>
                  <a:pt x="2212639" y="1761744"/>
                </a:cubicBezTo>
                <a:lnTo>
                  <a:pt x="2424170" y="1885760"/>
                </a:lnTo>
                <a:cubicBezTo>
                  <a:pt x="2466089" y="1912744"/>
                  <a:pt x="2503494" y="1926231"/>
                  <a:pt x="2540880" y="1926231"/>
                </a:cubicBezTo>
                <a:cubicBezTo>
                  <a:pt x="2578275" y="1926231"/>
                  <a:pt x="2615660" y="1912744"/>
                  <a:pt x="2657580" y="1885778"/>
                </a:cubicBezTo>
                <a:lnTo>
                  <a:pt x="2992631" y="1689630"/>
                </a:lnTo>
                <a:cubicBezTo>
                  <a:pt x="3176788" y="1745647"/>
                  <a:pt x="3285573" y="1813665"/>
                  <a:pt x="3285573" y="2013118"/>
                </a:cubicBezTo>
                <a:lnTo>
                  <a:pt x="3285573" y="2142849"/>
                </a:lnTo>
                <a:lnTo>
                  <a:pt x="2762983" y="2142849"/>
                </a:lnTo>
                <a:cubicBezTo>
                  <a:pt x="2723522" y="2142849"/>
                  <a:pt x="2691546" y="2174834"/>
                  <a:pt x="2691546" y="2214286"/>
                </a:cubicBezTo>
                <a:cubicBezTo>
                  <a:pt x="2691546" y="2253739"/>
                  <a:pt x="2723522" y="2285724"/>
                  <a:pt x="2762983" y="2285724"/>
                </a:cubicBezTo>
                <a:lnTo>
                  <a:pt x="3309757" y="2285724"/>
                </a:lnTo>
                <a:cubicBezTo>
                  <a:pt x="3375203" y="2285724"/>
                  <a:pt x="3428448" y="2232603"/>
                  <a:pt x="3428448" y="2167299"/>
                </a:cubicBezTo>
                <a:lnTo>
                  <a:pt x="3428448" y="2013118"/>
                </a:lnTo>
                <a:cubicBezTo>
                  <a:pt x="3428429" y="1656731"/>
                  <a:pt x="3145850" y="1581293"/>
                  <a:pt x="2939529" y="1526219"/>
                </a:cubicBezTo>
                <a:close/>
                <a:moveTo>
                  <a:pt x="3053887" y="909028"/>
                </a:moveTo>
                <a:cubicBezTo>
                  <a:pt x="3053887" y="1095489"/>
                  <a:pt x="2870883" y="1326890"/>
                  <a:pt x="2662314" y="1404204"/>
                </a:cubicBezTo>
                <a:cubicBezTo>
                  <a:pt x="2572569" y="1437399"/>
                  <a:pt x="2508952" y="1437408"/>
                  <a:pt x="2419360" y="1404271"/>
                </a:cubicBezTo>
                <a:cubicBezTo>
                  <a:pt x="2402881" y="1398127"/>
                  <a:pt x="2386308" y="1390793"/>
                  <a:pt x="2369773" y="1382573"/>
                </a:cubicBezTo>
                <a:cubicBezTo>
                  <a:pt x="2369811" y="1380172"/>
                  <a:pt x="2369973" y="1377744"/>
                  <a:pt x="2369973" y="1375343"/>
                </a:cubicBezTo>
                <a:lnTo>
                  <a:pt x="2369973" y="1196588"/>
                </a:lnTo>
                <a:cubicBezTo>
                  <a:pt x="2369973" y="997201"/>
                  <a:pt x="2312165" y="825256"/>
                  <a:pt x="2202542" y="695420"/>
                </a:cubicBezTo>
                <a:cubicBezTo>
                  <a:pt x="2208562" y="689515"/>
                  <a:pt x="2214163" y="683800"/>
                  <a:pt x="2219439" y="678418"/>
                </a:cubicBezTo>
                <a:cubicBezTo>
                  <a:pt x="2256263" y="640842"/>
                  <a:pt x="2262912" y="634070"/>
                  <a:pt x="2303212" y="644481"/>
                </a:cubicBezTo>
                <a:cubicBezTo>
                  <a:pt x="2332596" y="652015"/>
                  <a:pt x="2357638" y="658663"/>
                  <a:pt x="2379355" y="664435"/>
                </a:cubicBezTo>
                <a:cubicBezTo>
                  <a:pt x="2454345" y="684352"/>
                  <a:pt x="2495645" y="695325"/>
                  <a:pt x="2540737" y="695325"/>
                </a:cubicBezTo>
                <a:cubicBezTo>
                  <a:pt x="2586076" y="695325"/>
                  <a:pt x="2627471" y="684333"/>
                  <a:pt x="2702643" y="664369"/>
                </a:cubicBezTo>
                <a:cubicBezTo>
                  <a:pt x="2724303" y="658616"/>
                  <a:pt x="2749277" y="651986"/>
                  <a:pt x="2778652" y="644452"/>
                </a:cubicBezTo>
                <a:cubicBezTo>
                  <a:pt x="2818743" y="634117"/>
                  <a:pt x="2825344" y="640880"/>
                  <a:pt x="2862196" y="678466"/>
                </a:cubicBezTo>
                <a:cubicBezTo>
                  <a:pt x="2898972" y="715975"/>
                  <a:pt x="2951645" y="769372"/>
                  <a:pt x="3053877" y="791994"/>
                </a:cubicBezTo>
                <a:lnTo>
                  <a:pt x="3053877" y="909028"/>
                </a:lnTo>
                <a:close/>
                <a:moveTo>
                  <a:pt x="2540737" y="142885"/>
                </a:moveTo>
                <a:cubicBezTo>
                  <a:pt x="2769022" y="147218"/>
                  <a:pt x="3012958" y="305629"/>
                  <a:pt x="3049267" y="642090"/>
                </a:cubicBezTo>
                <a:cubicBezTo>
                  <a:pt x="3011796" y="626964"/>
                  <a:pt x="2989098" y="603799"/>
                  <a:pt x="2964209" y="578434"/>
                </a:cubicBezTo>
                <a:cubicBezTo>
                  <a:pt x="2921460" y="534838"/>
                  <a:pt x="2862891" y="475136"/>
                  <a:pt x="2743057" y="506092"/>
                </a:cubicBezTo>
                <a:cubicBezTo>
                  <a:pt x="2713330" y="513712"/>
                  <a:pt x="2687974" y="520446"/>
                  <a:pt x="2665971" y="526294"/>
                </a:cubicBezTo>
                <a:cubicBezTo>
                  <a:pt x="2600354" y="543716"/>
                  <a:pt x="2567426" y="552460"/>
                  <a:pt x="2540737" y="552460"/>
                </a:cubicBezTo>
                <a:cubicBezTo>
                  <a:pt x="2514295" y="552460"/>
                  <a:pt x="2481453" y="543735"/>
                  <a:pt x="2416026" y="526361"/>
                </a:cubicBezTo>
                <a:cubicBezTo>
                  <a:pt x="2393966" y="520503"/>
                  <a:pt x="2368534" y="513750"/>
                  <a:pt x="2338788" y="506120"/>
                </a:cubicBezTo>
                <a:cubicBezTo>
                  <a:pt x="2218658" y="475117"/>
                  <a:pt x="2160127" y="534838"/>
                  <a:pt x="2117398" y="578425"/>
                </a:cubicBezTo>
                <a:cubicBezTo>
                  <a:pt x="2111178" y="584768"/>
                  <a:pt x="2105025" y="590902"/>
                  <a:pt x="2098777" y="596903"/>
                </a:cubicBezTo>
                <a:cubicBezTo>
                  <a:pt x="2081746" y="584035"/>
                  <a:pt x="2064144" y="572033"/>
                  <a:pt x="2045989" y="560984"/>
                </a:cubicBezTo>
                <a:cubicBezTo>
                  <a:pt x="2109997" y="277873"/>
                  <a:pt x="2335654" y="146780"/>
                  <a:pt x="2540737" y="142885"/>
                </a:cubicBezTo>
                <a:close/>
                <a:moveTo>
                  <a:pt x="1714224" y="609209"/>
                </a:moveTo>
                <a:cubicBezTo>
                  <a:pt x="1942386" y="613534"/>
                  <a:pt x="2186197" y="771954"/>
                  <a:pt x="2222487" y="1108415"/>
                </a:cubicBezTo>
                <a:cubicBezTo>
                  <a:pt x="2185007" y="1093289"/>
                  <a:pt x="2162299" y="1070124"/>
                  <a:pt x="2137420" y="1044759"/>
                </a:cubicBezTo>
                <a:cubicBezTo>
                  <a:pt x="2102901" y="1009555"/>
                  <a:pt x="2058095" y="963854"/>
                  <a:pt x="1979009" y="963854"/>
                </a:cubicBezTo>
                <a:cubicBezTo>
                  <a:pt x="1960159" y="963854"/>
                  <a:pt x="1939338" y="966454"/>
                  <a:pt x="1916259" y="972407"/>
                </a:cubicBezTo>
                <a:cubicBezTo>
                  <a:pt x="1886455" y="980056"/>
                  <a:pt x="1861042" y="986800"/>
                  <a:pt x="1839001" y="992657"/>
                </a:cubicBezTo>
                <a:cubicBezTo>
                  <a:pt x="1773536" y="1010040"/>
                  <a:pt x="1740675" y="1018775"/>
                  <a:pt x="1714214" y="1018775"/>
                </a:cubicBezTo>
                <a:cubicBezTo>
                  <a:pt x="1687459" y="1018775"/>
                  <a:pt x="1654464" y="1009993"/>
                  <a:pt x="1588694" y="992505"/>
                </a:cubicBezTo>
                <a:cubicBezTo>
                  <a:pt x="1566824" y="986685"/>
                  <a:pt x="1541659" y="979999"/>
                  <a:pt x="1512265" y="972436"/>
                </a:cubicBezTo>
                <a:cubicBezTo>
                  <a:pt x="1392136" y="941461"/>
                  <a:pt x="1333586" y="1001192"/>
                  <a:pt x="1290857" y="1044816"/>
                </a:cubicBezTo>
                <a:cubicBezTo>
                  <a:pt x="1266034" y="1070153"/>
                  <a:pt x="1243365" y="1093289"/>
                  <a:pt x="1205960" y="1108405"/>
                </a:cubicBezTo>
                <a:cubicBezTo>
                  <a:pt x="1242251" y="771935"/>
                  <a:pt x="1486062" y="613534"/>
                  <a:pt x="1714224" y="609209"/>
                </a:cubicBezTo>
                <a:close/>
                <a:moveTo>
                  <a:pt x="887435" y="142885"/>
                </a:moveTo>
                <a:cubicBezTo>
                  <a:pt x="1092470" y="146771"/>
                  <a:pt x="1318174" y="277873"/>
                  <a:pt x="1382411" y="561013"/>
                </a:cubicBezTo>
                <a:cubicBezTo>
                  <a:pt x="1364247" y="572081"/>
                  <a:pt x="1346625" y="584092"/>
                  <a:pt x="1329576" y="596970"/>
                </a:cubicBezTo>
                <a:cubicBezTo>
                  <a:pt x="1323251" y="590912"/>
                  <a:pt x="1317012" y="584711"/>
                  <a:pt x="1310726" y="578301"/>
                </a:cubicBezTo>
                <a:cubicBezTo>
                  <a:pt x="1267968" y="534772"/>
                  <a:pt x="1209408" y="475136"/>
                  <a:pt x="1089450" y="506101"/>
                </a:cubicBezTo>
                <a:cubicBezTo>
                  <a:pt x="1059942" y="513683"/>
                  <a:pt x="1034758" y="520389"/>
                  <a:pt x="1012870" y="526199"/>
                </a:cubicBezTo>
                <a:cubicBezTo>
                  <a:pt x="947157" y="543678"/>
                  <a:pt x="914162" y="552450"/>
                  <a:pt x="887425" y="552450"/>
                </a:cubicBezTo>
                <a:cubicBezTo>
                  <a:pt x="860870" y="552450"/>
                  <a:pt x="828227" y="543773"/>
                  <a:pt x="763200" y="526485"/>
                </a:cubicBezTo>
                <a:cubicBezTo>
                  <a:pt x="741045" y="520589"/>
                  <a:pt x="715451" y="513788"/>
                  <a:pt x="685476" y="506111"/>
                </a:cubicBezTo>
                <a:cubicBezTo>
                  <a:pt x="565337" y="475126"/>
                  <a:pt x="506806" y="534867"/>
                  <a:pt x="464077" y="578482"/>
                </a:cubicBezTo>
                <a:cubicBezTo>
                  <a:pt x="439255" y="603818"/>
                  <a:pt x="416585" y="626955"/>
                  <a:pt x="379181" y="642071"/>
                </a:cubicBezTo>
                <a:cubicBezTo>
                  <a:pt x="415462" y="305619"/>
                  <a:pt x="659273" y="147209"/>
                  <a:pt x="887435" y="142885"/>
                </a:cubicBezTo>
                <a:close/>
                <a:moveTo>
                  <a:pt x="374552" y="909028"/>
                </a:moveTo>
                <a:lnTo>
                  <a:pt x="374552" y="792156"/>
                </a:lnTo>
                <a:cubicBezTo>
                  <a:pt x="476869" y="769563"/>
                  <a:pt x="529352" y="716004"/>
                  <a:pt x="566118" y="678475"/>
                </a:cubicBezTo>
                <a:cubicBezTo>
                  <a:pt x="602971" y="640880"/>
                  <a:pt x="609629" y="634108"/>
                  <a:pt x="649891" y="644490"/>
                </a:cubicBezTo>
                <a:cubicBezTo>
                  <a:pt x="679495" y="652082"/>
                  <a:pt x="704679" y="658778"/>
                  <a:pt x="726491" y="664569"/>
                </a:cubicBezTo>
                <a:cubicBezTo>
                  <a:pt x="801100" y="684400"/>
                  <a:pt x="842191" y="695325"/>
                  <a:pt x="887425" y="695325"/>
                </a:cubicBezTo>
                <a:cubicBezTo>
                  <a:pt x="932840" y="695325"/>
                  <a:pt x="974303" y="684295"/>
                  <a:pt x="1049588" y="664274"/>
                </a:cubicBezTo>
                <a:cubicBezTo>
                  <a:pt x="1071143" y="658539"/>
                  <a:pt x="1095947" y="651948"/>
                  <a:pt x="1125064" y="644461"/>
                </a:cubicBezTo>
                <a:cubicBezTo>
                  <a:pt x="1165317" y="634098"/>
                  <a:pt x="1171927" y="640871"/>
                  <a:pt x="1208780" y="678399"/>
                </a:cubicBezTo>
                <a:cubicBezTo>
                  <a:pt x="1214104" y="683819"/>
                  <a:pt x="1219753" y="689562"/>
                  <a:pt x="1225830" y="695506"/>
                </a:cubicBezTo>
                <a:cubicBezTo>
                  <a:pt x="1116254" y="825332"/>
                  <a:pt x="1058466" y="997249"/>
                  <a:pt x="1058466" y="1196588"/>
                </a:cubicBezTo>
                <a:lnTo>
                  <a:pt x="1058466" y="1375343"/>
                </a:lnTo>
                <a:cubicBezTo>
                  <a:pt x="1058466" y="1377734"/>
                  <a:pt x="1058628" y="1380154"/>
                  <a:pt x="1058666" y="1382554"/>
                </a:cubicBezTo>
                <a:cubicBezTo>
                  <a:pt x="1042083" y="1390783"/>
                  <a:pt x="1025481" y="1398099"/>
                  <a:pt x="1008993" y="1404204"/>
                </a:cubicBezTo>
                <a:cubicBezTo>
                  <a:pt x="919229" y="1437399"/>
                  <a:pt x="855612" y="1437399"/>
                  <a:pt x="765924" y="1404233"/>
                </a:cubicBezTo>
                <a:cubicBezTo>
                  <a:pt x="742445" y="1395517"/>
                  <a:pt x="719290" y="1384849"/>
                  <a:pt x="696678" y="1372514"/>
                </a:cubicBezTo>
                <a:cubicBezTo>
                  <a:pt x="694458" y="1371114"/>
                  <a:pt x="692134" y="1369819"/>
                  <a:pt x="689734" y="1368647"/>
                </a:cubicBezTo>
                <a:cubicBezTo>
                  <a:pt x="689658" y="1368609"/>
                  <a:pt x="689581" y="1368581"/>
                  <a:pt x="689524" y="1368543"/>
                </a:cubicBezTo>
                <a:cubicBezTo>
                  <a:pt x="514731" y="1269911"/>
                  <a:pt x="374552" y="1072239"/>
                  <a:pt x="374552" y="909028"/>
                </a:cubicBezTo>
                <a:close/>
                <a:moveTo>
                  <a:pt x="930659" y="1763316"/>
                </a:moveTo>
                <a:cubicBezTo>
                  <a:pt x="929773" y="1763830"/>
                  <a:pt x="928897" y="1764373"/>
                  <a:pt x="928049" y="1764925"/>
                </a:cubicBezTo>
                <a:cubicBezTo>
                  <a:pt x="889778" y="1789671"/>
                  <a:pt x="885253" y="1789690"/>
                  <a:pt x="847211" y="1765002"/>
                </a:cubicBezTo>
                <a:cubicBezTo>
                  <a:pt x="846296" y="1764402"/>
                  <a:pt x="845372" y="1763830"/>
                  <a:pt x="844429" y="1763287"/>
                </a:cubicBezTo>
                <a:lnTo>
                  <a:pt x="616601" y="1629804"/>
                </a:lnTo>
                <a:cubicBezTo>
                  <a:pt x="655434" y="1603477"/>
                  <a:pt x="679904" y="1564567"/>
                  <a:pt x="696068" y="1530287"/>
                </a:cubicBezTo>
                <a:cubicBezTo>
                  <a:pt x="702774" y="1533049"/>
                  <a:pt x="709536" y="1535687"/>
                  <a:pt x="716309" y="1538202"/>
                </a:cubicBezTo>
                <a:cubicBezTo>
                  <a:pt x="837848" y="1583169"/>
                  <a:pt x="937012" y="1583160"/>
                  <a:pt x="1058589" y="1538202"/>
                </a:cubicBezTo>
                <a:cubicBezTo>
                  <a:pt x="1067295" y="1534982"/>
                  <a:pt x="1076001" y="1531487"/>
                  <a:pt x="1084707" y="1527810"/>
                </a:cubicBezTo>
                <a:cubicBezTo>
                  <a:pt x="1097471" y="1566624"/>
                  <a:pt x="1114606" y="1605324"/>
                  <a:pt x="1135485" y="1643110"/>
                </a:cubicBezTo>
                <a:close/>
                <a:moveTo>
                  <a:pt x="1757220" y="2229603"/>
                </a:moveTo>
                <a:cubicBezTo>
                  <a:pt x="1756267" y="2230155"/>
                  <a:pt x="1755353" y="2230727"/>
                  <a:pt x="1754429" y="2231327"/>
                </a:cubicBezTo>
                <a:cubicBezTo>
                  <a:pt x="1716367" y="2256034"/>
                  <a:pt x="1711833" y="2256063"/>
                  <a:pt x="1673714" y="2231327"/>
                </a:cubicBezTo>
                <a:cubicBezTo>
                  <a:pt x="1672809" y="2230736"/>
                  <a:pt x="1671895" y="2230165"/>
                  <a:pt x="1670952" y="2229622"/>
                </a:cubicBezTo>
                <a:lnTo>
                  <a:pt x="1443142" y="2096053"/>
                </a:lnTo>
                <a:cubicBezTo>
                  <a:pt x="1482004" y="2069687"/>
                  <a:pt x="1506550" y="2030825"/>
                  <a:pt x="1522743" y="1996488"/>
                </a:cubicBezTo>
                <a:cubicBezTo>
                  <a:pt x="1529496" y="1999269"/>
                  <a:pt x="1536259" y="2001993"/>
                  <a:pt x="1543079" y="2004517"/>
                </a:cubicBezTo>
                <a:cubicBezTo>
                  <a:pt x="1603848" y="2026996"/>
                  <a:pt x="1659017" y="2038236"/>
                  <a:pt x="1714195" y="2038236"/>
                </a:cubicBezTo>
                <a:cubicBezTo>
                  <a:pt x="1769393" y="2038236"/>
                  <a:pt x="1824600" y="2026987"/>
                  <a:pt x="1885417" y="2004498"/>
                </a:cubicBezTo>
                <a:cubicBezTo>
                  <a:pt x="1892180" y="2001993"/>
                  <a:pt x="1898885" y="1999279"/>
                  <a:pt x="1905591" y="1996516"/>
                </a:cubicBezTo>
                <a:cubicBezTo>
                  <a:pt x="1921745" y="2030844"/>
                  <a:pt x="1946243" y="2069706"/>
                  <a:pt x="1985124" y="2096081"/>
                </a:cubicBezTo>
                <a:close/>
                <a:moveTo>
                  <a:pt x="2227098" y="1375353"/>
                </a:moveTo>
                <a:cubicBezTo>
                  <a:pt x="2227098" y="1561786"/>
                  <a:pt x="2044208" y="1793186"/>
                  <a:pt x="1835772" y="1870520"/>
                </a:cubicBezTo>
                <a:cubicBezTo>
                  <a:pt x="1746037" y="1903724"/>
                  <a:pt x="1682401" y="1903724"/>
                  <a:pt x="1592685" y="1870539"/>
                </a:cubicBezTo>
                <a:cubicBezTo>
                  <a:pt x="1384202" y="1793262"/>
                  <a:pt x="1201331" y="1561862"/>
                  <a:pt x="1201331" y="1375353"/>
                </a:cubicBezTo>
                <a:lnTo>
                  <a:pt x="1201331" y="1258319"/>
                </a:lnTo>
                <a:cubicBezTo>
                  <a:pt x="1303525" y="1235697"/>
                  <a:pt x="1356150" y="1182310"/>
                  <a:pt x="1392898" y="1144810"/>
                </a:cubicBezTo>
                <a:cubicBezTo>
                  <a:pt x="1429741" y="1107196"/>
                  <a:pt x="1436380" y="1100433"/>
                  <a:pt x="1476642" y="1110806"/>
                </a:cubicBezTo>
                <a:cubicBezTo>
                  <a:pt x="1505655" y="1118264"/>
                  <a:pt x="1530429" y="1124855"/>
                  <a:pt x="1551956" y="1130579"/>
                </a:cubicBezTo>
                <a:cubicBezTo>
                  <a:pt x="1627280" y="1150620"/>
                  <a:pt x="1668780" y="1161650"/>
                  <a:pt x="1714205" y="1161650"/>
                </a:cubicBezTo>
                <a:cubicBezTo>
                  <a:pt x="1759306" y="1161650"/>
                  <a:pt x="1800635" y="1150677"/>
                  <a:pt x="1875663" y="1130741"/>
                </a:cubicBezTo>
                <a:cubicBezTo>
                  <a:pt x="1897361" y="1124979"/>
                  <a:pt x="1922383" y="1118330"/>
                  <a:pt x="1951863" y="1110777"/>
                </a:cubicBezTo>
                <a:cubicBezTo>
                  <a:pt x="1991887" y="1100452"/>
                  <a:pt x="1998545" y="1107205"/>
                  <a:pt x="2035397" y="1144791"/>
                </a:cubicBezTo>
                <a:cubicBezTo>
                  <a:pt x="2072183" y="1182300"/>
                  <a:pt x="2124866" y="1235697"/>
                  <a:pt x="2227088" y="1258319"/>
                </a:cubicBezTo>
                <a:lnTo>
                  <a:pt x="2227088" y="1375353"/>
                </a:lnTo>
                <a:close/>
                <a:moveTo>
                  <a:pt x="2584028" y="1763278"/>
                </a:moveTo>
                <a:cubicBezTo>
                  <a:pt x="2583075" y="1763839"/>
                  <a:pt x="2582142" y="1764411"/>
                  <a:pt x="2581218" y="1765011"/>
                </a:cubicBezTo>
                <a:cubicBezTo>
                  <a:pt x="2543147" y="1789719"/>
                  <a:pt x="2538613" y="1789747"/>
                  <a:pt x="2500522" y="1765011"/>
                </a:cubicBezTo>
                <a:cubicBezTo>
                  <a:pt x="2499608" y="1764420"/>
                  <a:pt x="2498693" y="1763849"/>
                  <a:pt x="2497750" y="1763306"/>
                </a:cubicBezTo>
                <a:lnTo>
                  <a:pt x="2292887" y="1643196"/>
                </a:lnTo>
                <a:cubicBezTo>
                  <a:pt x="2313785" y="1605391"/>
                  <a:pt x="2330939" y="1566672"/>
                  <a:pt x="2343712" y="1527848"/>
                </a:cubicBezTo>
                <a:cubicBezTo>
                  <a:pt x="2352332" y="1531496"/>
                  <a:pt x="2360971" y="1534982"/>
                  <a:pt x="2369611" y="1538211"/>
                </a:cubicBezTo>
                <a:cubicBezTo>
                  <a:pt x="2430380" y="1560690"/>
                  <a:pt x="2485539" y="1571930"/>
                  <a:pt x="2540727" y="1571930"/>
                </a:cubicBezTo>
                <a:cubicBezTo>
                  <a:pt x="2595915" y="1571930"/>
                  <a:pt x="2651122" y="1560681"/>
                  <a:pt x="2711920" y="1538192"/>
                </a:cubicBezTo>
                <a:cubicBezTo>
                  <a:pt x="2718721" y="1535678"/>
                  <a:pt x="2725465" y="1532944"/>
                  <a:pt x="2732208" y="1530182"/>
                </a:cubicBezTo>
                <a:cubicBezTo>
                  <a:pt x="2748429" y="1564548"/>
                  <a:pt x="2773013" y="1603458"/>
                  <a:pt x="2811980" y="1629832"/>
                </a:cubicBezTo>
                <a:close/>
              </a:path>
            </a:pathLst>
          </a:custGeom>
          <a:solidFill>
            <a:schemeClr val="tx2"/>
          </a:solidFill>
          <a:ln w="9525" cap="flat">
            <a:noFill/>
            <a:prstDash val="solid"/>
            <a:miter/>
          </a:ln>
        </p:spPr>
        <p:txBody>
          <a:bodyPr rtlCol="0" anchor="ctr"/>
          <a:lstStyle/>
          <a:p>
            <a:endParaRPr lang="en-US"/>
          </a:p>
        </p:txBody>
      </p:sp>
      <p:sp>
        <p:nvSpPr>
          <p:cNvPr id="8" name="Rectangle 12">
            <a:extLst>
              <a:ext uri="{FF2B5EF4-FFF2-40B4-BE49-F238E27FC236}">
                <a16:creationId xmlns:a16="http://schemas.microsoft.com/office/drawing/2014/main" id="{9406322E-9A17-5C4D-9008-8F991E58BCE8}"/>
              </a:ext>
            </a:extLst>
          </p:cNvPr>
          <p:cNvSpPr/>
          <p:nvPr userDrawn="1"/>
        </p:nvSpPr>
        <p:spPr>
          <a:xfrm>
            <a:off x="9457764" y="6579030"/>
            <a:ext cx="2734235" cy="278969"/>
          </a:xfrm>
          <a:prstGeom prst="rect">
            <a:avLst/>
          </a:prstGeom>
          <a:solidFill>
            <a:schemeClr val="accent3"/>
          </a:solidFill>
        </p:spPr>
        <p:txBody>
          <a:bodyPr wrap="square" lIns="0" tIns="0" rIns="0" bIns="0" rtlCol="0" anchor="ctr" anchorCtr="0">
            <a:noAutofit/>
          </a:bodyPr>
          <a:lstStyle/>
          <a:p>
            <a:pPr algn="ctr"/>
            <a:r>
              <a:rPr lang="en-US" sz="800" b="1">
                <a:solidFill>
                  <a:schemeClr val="bg1"/>
                </a:solidFill>
                <a:cs typeface="Arial" panose="020B0604020202020204" pitchFamily="34" charset="0"/>
              </a:rPr>
              <a:t>ORGANIZACIÓN Y EQUIPO</a:t>
            </a:r>
          </a:p>
        </p:txBody>
      </p:sp>
    </p:spTree>
    <p:extLst>
      <p:ext uri="{BB962C8B-B14F-4D97-AF65-F5344CB8AC3E}">
        <p14:creationId xmlns:p14="http://schemas.microsoft.com/office/powerpoint/2010/main" val="523972345"/>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emplate Propuesta 2022 - Plan de Trabajo">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50040F2E-A856-F74D-B747-8F63180F396D}"/>
              </a:ext>
            </a:extLst>
          </p:cNvPr>
          <p:cNvSpPr>
            <a:spLocks noGrp="1"/>
          </p:cNvSpPr>
          <p:nvPr>
            <p:ph type="title"/>
          </p:nvPr>
        </p:nvSpPr>
        <p:spPr>
          <a:xfrm>
            <a:off x="1138892" y="36122"/>
            <a:ext cx="10610449" cy="276999"/>
          </a:xfrm>
        </p:spPr>
        <p:txBody>
          <a:bodyPr wrap="square" lIns="0" anchor="t">
            <a:noAutofit/>
          </a:bodyPr>
          <a:lstStyle>
            <a:lvl1pPr>
              <a:defRPr lang="es-ES_tradnl" cap="all" baseline="0" noProof="0" dirty="0"/>
            </a:lvl1pPr>
          </a:lstStyle>
          <a:p>
            <a:pPr lvl="0"/>
            <a:r>
              <a:rPr lang="es-ES_tradnl" noProof="0"/>
              <a:t>Haga clic para modificar el estilo de título del patrón</a:t>
            </a:r>
          </a:p>
        </p:txBody>
      </p:sp>
      <p:sp>
        <p:nvSpPr>
          <p:cNvPr id="7" name="Marcador de texto 5">
            <a:extLst>
              <a:ext uri="{FF2B5EF4-FFF2-40B4-BE49-F238E27FC236}">
                <a16:creationId xmlns:a16="http://schemas.microsoft.com/office/drawing/2014/main" id="{CC6303D6-D0FC-984A-8419-A50470327A59}"/>
              </a:ext>
            </a:extLst>
          </p:cNvPr>
          <p:cNvSpPr>
            <a:spLocks noGrp="1"/>
          </p:cNvSpPr>
          <p:nvPr>
            <p:ph type="body" sz="quarter" idx="10"/>
          </p:nvPr>
        </p:nvSpPr>
        <p:spPr>
          <a:xfrm>
            <a:off x="442659" y="671500"/>
            <a:ext cx="11306682" cy="5741999"/>
          </a:xfrm>
        </p:spPr>
        <p:txBody>
          <a:bodyPr/>
          <a:lstStyle/>
          <a:p>
            <a:pPr lvl="0"/>
            <a:r>
              <a:rPr lang="es-ES_tradnl" noProof="0"/>
              <a:t>Haga clic para modificar los estilos de texto del patrón</a:t>
            </a:r>
          </a:p>
          <a:p>
            <a:pPr lvl="1"/>
            <a:r>
              <a:rPr lang="es-ES_tradnl" noProof="0"/>
              <a:t>Segundo nivel</a:t>
            </a:r>
          </a:p>
          <a:p>
            <a:pPr lvl="2"/>
            <a:r>
              <a:rPr lang="es-ES_tradnl" noProof="0"/>
              <a:t>Tercer nivel</a:t>
            </a:r>
          </a:p>
          <a:p>
            <a:pPr lvl="3"/>
            <a:r>
              <a:rPr lang="es-ES_tradnl" noProof="0"/>
              <a:t>Cuarto nivel</a:t>
            </a:r>
          </a:p>
          <a:p>
            <a:pPr lvl="4"/>
            <a:r>
              <a:rPr lang="es-ES_tradnl" noProof="0"/>
              <a:t>Quinto nivel</a:t>
            </a:r>
          </a:p>
        </p:txBody>
      </p:sp>
      <p:sp>
        <p:nvSpPr>
          <p:cNvPr id="4" name="Marcador de texto 4">
            <a:extLst>
              <a:ext uri="{FF2B5EF4-FFF2-40B4-BE49-F238E27FC236}">
                <a16:creationId xmlns:a16="http://schemas.microsoft.com/office/drawing/2014/main" id="{DED7AFAC-0516-FB48-9E02-44CC62A80883}"/>
              </a:ext>
            </a:extLst>
          </p:cNvPr>
          <p:cNvSpPr>
            <a:spLocks noGrp="1"/>
          </p:cNvSpPr>
          <p:nvPr>
            <p:ph type="body" sz="quarter" idx="11"/>
          </p:nvPr>
        </p:nvSpPr>
        <p:spPr>
          <a:xfrm>
            <a:off x="1138639" y="290195"/>
            <a:ext cx="10610449" cy="217488"/>
          </a:xfrm>
        </p:spPr>
        <p:txBody>
          <a:bodyPr/>
          <a:lstStyle>
            <a:lvl1pPr>
              <a:defRPr sz="1200">
                <a:solidFill>
                  <a:schemeClr val="tx2"/>
                </a:solidFill>
              </a:defRPr>
            </a:lvl1pPr>
          </a:lstStyle>
          <a:p>
            <a:pPr lvl="0"/>
            <a:r>
              <a:rPr lang="es-ES_tradnl" noProof="0"/>
              <a:t>Haga clic para modificar los estilos de texto del patrón</a:t>
            </a:r>
          </a:p>
        </p:txBody>
      </p:sp>
      <p:sp>
        <p:nvSpPr>
          <p:cNvPr id="9" name="Rectángulo 8">
            <a:extLst>
              <a:ext uri="{FF2B5EF4-FFF2-40B4-BE49-F238E27FC236}">
                <a16:creationId xmlns:a16="http://schemas.microsoft.com/office/drawing/2014/main" id="{9D31E6A8-7FC5-D346-B913-27F3CB84C0BF}"/>
              </a:ext>
            </a:extLst>
          </p:cNvPr>
          <p:cNvSpPr/>
          <p:nvPr userDrawn="1"/>
        </p:nvSpPr>
        <p:spPr bwMode="auto">
          <a:xfrm>
            <a:off x="596159" y="67814"/>
            <a:ext cx="405613" cy="405613"/>
          </a:xfrm>
          <a:prstGeom prst="rect">
            <a:avLst/>
          </a:prstGeom>
          <a:solidFill>
            <a:schemeClr val="bg1"/>
          </a:solidFill>
          <a:ln w="25400" cap="flat">
            <a:solidFill>
              <a:schemeClr val="accent2"/>
            </a:solidFill>
            <a:miter lim="800000"/>
          </a:ln>
        </p:spPr>
        <p:txBody>
          <a:bodyPr lIns="0" tIns="0" rIns="0" bIns="0" rtlCol="0" anchor="ctr">
            <a:noAutofit/>
          </a:bodyPr>
          <a:lstStyle/>
          <a:p>
            <a:pPr algn="ctr"/>
            <a:endParaRPr lang="es-ES_tradnl" sz="1400" noProof="0"/>
          </a:p>
        </p:txBody>
      </p:sp>
      <p:sp>
        <p:nvSpPr>
          <p:cNvPr id="8" name="Forma libre 7">
            <a:extLst>
              <a:ext uri="{FF2B5EF4-FFF2-40B4-BE49-F238E27FC236}">
                <a16:creationId xmlns:a16="http://schemas.microsoft.com/office/drawing/2014/main" id="{25E9E268-1CE1-3140-959E-B7BF8EE87A20}"/>
              </a:ext>
            </a:extLst>
          </p:cNvPr>
          <p:cNvSpPr/>
          <p:nvPr userDrawn="1"/>
        </p:nvSpPr>
        <p:spPr>
          <a:xfrm>
            <a:off x="673227" y="136187"/>
            <a:ext cx="251476" cy="268866"/>
          </a:xfrm>
          <a:custGeom>
            <a:avLst/>
            <a:gdLst>
              <a:gd name="connsiteX0" fmla="*/ 3306442 w 4561361"/>
              <a:gd name="connsiteY0" fmla="*/ 3535518 h 4876799"/>
              <a:gd name="connsiteX1" fmla="*/ 3220088 w 4561361"/>
              <a:gd name="connsiteY1" fmla="*/ 3621881 h 4876799"/>
              <a:gd name="connsiteX2" fmla="*/ 3306442 w 4561361"/>
              <a:gd name="connsiteY2" fmla="*/ 3708244 h 4876799"/>
              <a:gd name="connsiteX3" fmla="*/ 3392796 w 4561361"/>
              <a:gd name="connsiteY3" fmla="*/ 3621881 h 4876799"/>
              <a:gd name="connsiteX4" fmla="*/ 3306442 w 4561361"/>
              <a:gd name="connsiteY4" fmla="*/ 3535518 h 4876799"/>
              <a:gd name="connsiteX5" fmla="*/ 1725721 w 4561361"/>
              <a:gd name="connsiteY5" fmla="*/ 3141030 h 4876799"/>
              <a:gd name="connsiteX6" fmla="*/ 1720958 w 4561361"/>
              <a:gd name="connsiteY6" fmla="*/ 3145793 h 4876799"/>
              <a:gd name="connsiteX7" fmla="*/ 1720958 w 4561361"/>
              <a:gd name="connsiteY7" fmla="*/ 3308984 h 4876799"/>
              <a:gd name="connsiteX8" fmla="*/ 1725721 w 4561361"/>
              <a:gd name="connsiteY8" fmla="*/ 3313747 h 4876799"/>
              <a:gd name="connsiteX9" fmla="*/ 1888912 w 4561361"/>
              <a:gd name="connsiteY9" fmla="*/ 3313747 h 4876799"/>
              <a:gd name="connsiteX10" fmla="*/ 1893675 w 4561361"/>
              <a:gd name="connsiteY10" fmla="*/ 3308984 h 4876799"/>
              <a:gd name="connsiteX11" fmla="*/ 1893675 w 4561361"/>
              <a:gd name="connsiteY11" fmla="*/ 3145793 h 4876799"/>
              <a:gd name="connsiteX12" fmla="*/ 1888912 w 4561361"/>
              <a:gd name="connsiteY12" fmla="*/ 3141030 h 4876799"/>
              <a:gd name="connsiteX13" fmla="*/ 1094538 w 4561361"/>
              <a:gd name="connsiteY13" fmla="*/ 3141030 h 4876799"/>
              <a:gd name="connsiteX14" fmla="*/ 1089775 w 4561361"/>
              <a:gd name="connsiteY14" fmla="*/ 3145793 h 4876799"/>
              <a:gd name="connsiteX15" fmla="*/ 1089775 w 4561361"/>
              <a:gd name="connsiteY15" fmla="*/ 3308984 h 4876799"/>
              <a:gd name="connsiteX16" fmla="*/ 1094538 w 4561361"/>
              <a:gd name="connsiteY16" fmla="*/ 3313747 h 4876799"/>
              <a:gd name="connsiteX17" fmla="*/ 1257729 w 4561361"/>
              <a:gd name="connsiteY17" fmla="*/ 3313747 h 4876799"/>
              <a:gd name="connsiteX18" fmla="*/ 1262492 w 4561361"/>
              <a:gd name="connsiteY18" fmla="*/ 3308984 h 4876799"/>
              <a:gd name="connsiteX19" fmla="*/ 1262492 w 4561361"/>
              <a:gd name="connsiteY19" fmla="*/ 3145793 h 4876799"/>
              <a:gd name="connsiteX20" fmla="*/ 1257729 w 4561361"/>
              <a:gd name="connsiteY20" fmla="*/ 3141030 h 4876799"/>
              <a:gd name="connsiteX21" fmla="*/ 463335 w 4561361"/>
              <a:gd name="connsiteY21" fmla="*/ 3141030 h 4876799"/>
              <a:gd name="connsiteX22" fmla="*/ 458572 w 4561361"/>
              <a:gd name="connsiteY22" fmla="*/ 3145793 h 4876799"/>
              <a:gd name="connsiteX23" fmla="*/ 458572 w 4561361"/>
              <a:gd name="connsiteY23" fmla="*/ 3308984 h 4876799"/>
              <a:gd name="connsiteX24" fmla="*/ 463335 w 4561361"/>
              <a:gd name="connsiteY24" fmla="*/ 3313747 h 4876799"/>
              <a:gd name="connsiteX25" fmla="*/ 626536 w 4561361"/>
              <a:gd name="connsiteY25" fmla="*/ 3313747 h 4876799"/>
              <a:gd name="connsiteX26" fmla="*/ 631298 w 4561361"/>
              <a:gd name="connsiteY26" fmla="*/ 3308984 h 4876799"/>
              <a:gd name="connsiteX27" fmla="*/ 631298 w 4561361"/>
              <a:gd name="connsiteY27" fmla="*/ 3145793 h 4876799"/>
              <a:gd name="connsiteX28" fmla="*/ 626536 w 4561361"/>
              <a:gd name="connsiteY28" fmla="*/ 3141030 h 4876799"/>
              <a:gd name="connsiteX29" fmla="*/ 3306451 w 4561361"/>
              <a:gd name="connsiteY29" fmla="*/ 2998155 h 4876799"/>
              <a:gd name="connsiteX30" fmla="*/ 3377889 w 4561361"/>
              <a:gd name="connsiteY30" fmla="*/ 3069593 h 4876799"/>
              <a:gd name="connsiteX31" fmla="*/ 3377889 w 4561361"/>
              <a:gd name="connsiteY31" fmla="*/ 3404101 h 4876799"/>
              <a:gd name="connsiteX32" fmla="*/ 3524222 w 4561361"/>
              <a:gd name="connsiteY32" fmla="*/ 3550443 h 4876799"/>
              <a:gd name="connsiteX33" fmla="*/ 3700939 w 4561361"/>
              <a:gd name="connsiteY33" fmla="*/ 3550443 h 4876799"/>
              <a:gd name="connsiteX34" fmla="*/ 3772377 w 4561361"/>
              <a:gd name="connsiteY34" fmla="*/ 3621881 h 4876799"/>
              <a:gd name="connsiteX35" fmla="*/ 3700939 w 4561361"/>
              <a:gd name="connsiteY35" fmla="*/ 3693318 h 4876799"/>
              <a:gd name="connsiteX36" fmla="*/ 3524222 w 4561361"/>
              <a:gd name="connsiteY36" fmla="*/ 3693318 h 4876799"/>
              <a:gd name="connsiteX37" fmla="*/ 3306451 w 4561361"/>
              <a:gd name="connsiteY37" fmla="*/ 3851119 h 4876799"/>
              <a:gd name="connsiteX38" fmla="*/ 3077223 w 4561361"/>
              <a:gd name="connsiteY38" fmla="*/ 3621881 h 4876799"/>
              <a:gd name="connsiteX39" fmla="*/ 3235014 w 4561361"/>
              <a:gd name="connsiteY39" fmla="*/ 3404101 h 4876799"/>
              <a:gd name="connsiteX40" fmla="*/ 3235014 w 4561361"/>
              <a:gd name="connsiteY40" fmla="*/ 3069593 h 4876799"/>
              <a:gd name="connsiteX41" fmla="*/ 3306451 w 4561361"/>
              <a:gd name="connsiteY41" fmla="*/ 2998155 h 4876799"/>
              <a:gd name="connsiteX42" fmla="*/ 1725721 w 4561361"/>
              <a:gd name="connsiteY42" fmla="*/ 2998155 h 4876799"/>
              <a:gd name="connsiteX43" fmla="*/ 1888912 w 4561361"/>
              <a:gd name="connsiteY43" fmla="*/ 2998155 h 4876799"/>
              <a:gd name="connsiteX44" fmla="*/ 2036550 w 4561361"/>
              <a:gd name="connsiteY44" fmla="*/ 3145793 h 4876799"/>
              <a:gd name="connsiteX45" fmla="*/ 2036550 w 4561361"/>
              <a:gd name="connsiteY45" fmla="*/ 3308984 h 4876799"/>
              <a:gd name="connsiteX46" fmla="*/ 1888912 w 4561361"/>
              <a:gd name="connsiteY46" fmla="*/ 3456622 h 4876799"/>
              <a:gd name="connsiteX47" fmla="*/ 1725721 w 4561361"/>
              <a:gd name="connsiteY47" fmla="*/ 3456622 h 4876799"/>
              <a:gd name="connsiteX48" fmla="*/ 1578083 w 4561361"/>
              <a:gd name="connsiteY48" fmla="*/ 3308984 h 4876799"/>
              <a:gd name="connsiteX49" fmla="*/ 1578083 w 4561361"/>
              <a:gd name="connsiteY49" fmla="*/ 3145793 h 4876799"/>
              <a:gd name="connsiteX50" fmla="*/ 1725721 w 4561361"/>
              <a:gd name="connsiteY50" fmla="*/ 2998155 h 4876799"/>
              <a:gd name="connsiteX51" fmla="*/ 1094538 w 4561361"/>
              <a:gd name="connsiteY51" fmla="*/ 2998155 h 4876799"/>
              <a:gd name="connsiteX52" fmla="*/ 1257729 w 4561361"/>
              <a:gd name="connsiteY52" fmla="*/ 2998155 h 4876799"/>
              <a:gd name="connsiteX53" fmla="*/ 1405367 w 4561361"/>
              <a:gd name="connsiteY53" fmla="*/ 3145793 h 4876799"/>
              <a:gd name="connsiteX54" fmla="*/ 1405367 w 4561361"/>
              <a:gd name="connsiteY54" fmla="*/ 3308984 h 4876799"/>
              <a:gd name="connsiteX55" fmla="*/ 1257729 w 4561361"/>
              <a:gd name="connsiteY55" fmla="*/ 3456622 h 4876799"/>
              <a:gd name="connsiteX56" fmla="*/ 1094538 w 4561361"/>
              <a:gd name="connsiteY56" fmla="*/ 3456622 h 4876799"/>
              <a:gd name="connsiteX57" fmla="*/ 946900 w 4561361"/>
              <a:gd name="connsiteY57" fmla="*/ 3308984 h 4876799"/>
              <a:gd name="connsiteX58" fmla="*/ 946900 w 4561361"/>
              <a:gd name="connsiteY58" fmla="*/ 3145793 h 4876799"/>
              <a:gd name="connsiteX59" fmla="*/ 1094538 w 4561361"/>
              <a:gd name="connsiteY59" fmla="*/ 2998155 h 4876799"/>
              <a:gd name="connsiteX60" fmla="*/ 463335 w 4561361"/>
              <a:gd name="connsiteY60" fmla="*/ 2998155 h 4876799"/>
              <a:gd name="connsiteX61" fmla="*/ 626536 w 4561361"/>
              <a:gd name="connsiteY61" fmla="*/ 2998155 h 4876799"/>
              <a:gd name="connsiteX62" fmla="*/ 774173 w 4561361"/>
              <a:gd name="connsiteY62" fmla="*/ 3145793 h 4876799"/>
              <a:gd name="connsiteX63" fmla="*/ 774173 w 4561361"/>
              <a:gd name="connsiteY63" fmla="*/ 3308984 h 4876799"/>
              <a:gd name="connsiteX64" fmla="*/ 626536 w 4561361"/>
              <a:gd name="connsiteY64" fmla="*/ 3456622 h 4876799"/>
              <a:gd name="connsiteX65" fmla="*/ 463335 w 4561361"/>
              <a:gd name="connsiteY65" fmla="*/ 3456622 h 4876799"/>
              <a:gd name="connsiteX66" fmla="*/ 315697 w 4561361"/>
              <a:gd name="connsiteY66" fmla="*/ 3308984 h 4876799"/>
              <a:gd name="connsiteX67" fmla="*/ 315697 w 4561361"/>
              <a:gd name="connsiteY67" fmla="*/ 3145793 h 4876799"/>
              <a:gd name="connsiteX68" fmla="*/ 463335 w 4561361"/>
              <a:gd name="connsiteY68" fmla="*/ 2998155 h 4876799"/>
              <a:gd name="connsiteX69" fmla="*/ 3306442 w 4561361"/>
              <a:gd name="connsiteY69" fmla="*/ 2825429 h 4876799"/>
              <a:gd name="connsiteX70" fmla="*/ 2510000 w 4561361"/>
              <a:gd name="connsiteY70" fmla="*/ 3621881 h 4876799"/>
              <a:gd name="connsiteX71" fmla="*/ 3306442 w 4561361"/>
              <a:gd name="connsiteY71" fmla="*/ 4418333 h 4876799"/>
              <a:gd name="connsiteX72" fmla="*/ 4102894 w 4561361"/>
              <a:gd name="connsiteY72" fmla="*/ 3621881 h 4876799"/>
              <a:gd name="connsiteX73" fmla="*/ 3306442 w 4561361"/>
              <a:gd name="connsiteY73" fmla="*/ 2825429 h 4876799"/>
              <a:gd name="connsiteX74" fmla="*/ 3306442 w 4561361"/>
              <a:gd name="connsiteY74" fmla="*/ 2682554 h 4876799"/>
              <a:gd name="connsiteX75" fmla="*/ 4245769 w 4561361"/>
              <a:gd name="connsiteY75" fmla="*/ 3621881 h 4876799"/>
              <a:gd name="connsiteX76" fmla="*/ 3306442 w 4561361"/>
              <a:gd name="connsiteY76" fmla="*/ 4561208 h 4876799"/>
              <a:gd name="connsiteX77" fmla="*/ 2367125 w 4561361"/>
              <a:gd name="connsiteY77" fmla="*/ 3621881 h 4876799"/>
              <a:gd name="connsiteX78" fmla="*/ 3306442 w 4561361"/>
              <a:gd name="connsiteY78" fmla="*/ 2682554 h 4876799"/>
              <a:gd name="connsiteX79" fmla="*/ 3306442 w 4561361"/>
              <a:gd name="connsiteY79" fmla="*/ 2509837 h 4876799"/>
              <a:gd name="connsiteX80" fmla="*/ 2194398 w 4561361"/>
              <a:gd name="connsiteY80" fmla="*/ 3621880 h 4876799"/>
              <a:gd name="connsiteX81" fmla="*/ 3306442 w 4561361"/>
              <a:gd name="connsiteY81" fmla="*/ 4733924 h 4876799"/>
              <a:gd name="connsiteX82" fmla="*/ 4418486 w 4561361"/>
              <a:gd name="connsiteY82" fmla="*/ 3621880 h 4876799"/>
              <a:gd name="connsiteX83" fmla="*/ 3306442 w 4561361"/>
              <a:gd name="connsiteY83" fmla="*/ 2509837 h 4876799"/>
              <a:gd name="connsiteX84" fmla="*/ 2359609 w 4561361"/>
              <a:gd name="connsiteY84" fmla="*/ 2509837 h 4876799"/>
              <a:gd name="connsiteX85" fmla="*/ 2352151 w 4561361"/>
              <a:gd name="connsiteY85" fmla="*/ 2517295 h 4876799"/>
              <a:gd name="connsiteX86" fmla="*/ 2352142 w 4561361"/>
              <a:gd name="connsiteY86" fmla="*/ 2517295 h 4876799"/>
              <a:gd name="connsiteX87" fmla="*/ 2352142 w 4561361"/>
              <a:gd name="connsiteY87" fmla="*/ 2675095 h 4876799"/>
              <a:gd name="connsiteX88" fmla="*/ 2359600 w 4561361"/>
              <a:gd name="connsiteY88" fmla="*/ 2682553 h 4876799"/>
              <a:gd name="connsiteX89" fmla="*/ 2475262 w 4561361"/>
              <a:gd name="connsiteY89" fmla="*/ 2682553 h 4876799"/>
              <a:gd name="connsiteX90" fmla="*/ 2524859 w 4561361"/>
              <a:gd name="connsiteY90" fmla="*/ 2640825 h 4876799"/>
              <a:gd name="connsiteX91" fmla="*/ 2524859 w 4561361"/>
              <a:gd name="connsiteY91" fmla="*/ 2517295 h 4876799"/>
              <a:gd name="connsiteX92" fmla="*/ 2517400 w 4561361"/>
              <a:gd name="connsiteY92" fmla="*/ 2509837 h 4876799"/>
              <a:gd name="connsiteX93" fmla="*/ 1725721 w 4561361"/>
              <a:gd name="connsiteY93" fmla="*/ 2509837 h 4876799"/>
              <a:gd name="connsiteX94" fmla="*/ 1720958 w 4561361"/>
              <a:gd name="connsiteY94" fmla="*/ 2514600 h 4876799"/>
              <a:gd name="connsiteX95" fmla="*/ 1720958 w 4561361"/>
              <a:gd name="connsiteY95" fmla="*/ 2677791 h 4876799"/>
              <a:gd name="connsiteX96" fmla="*/ 1725721 w 4561361"/>
              <a:gd name="connsiteY96" fmla="*/ 2682554 h 4876799"/>
              <a:gd name="connsiteX97" fmla="*/ 1888912 w 4561361"/>
              <a:gd name="connsiteY97" fmla="*/ 2682554 h 4876799"/>
              <a:gd name="connsiteX98" fmla="*/ 1893675 w 4561361"/>
              <a:gd name="connsiteY98" fmla="*/ 2677791 h 4876799"/>
              <a:gd name="connsiteX99" fmla="*/ 1893675 w 4561361"/>
              <a:gd name="connsiteY99" fmla="*/ 2514600 h 4876799"/>
              <a:gd name="connsiteX100" fmla="*/ 1888912 w 4561361"/>
              <a:gd name="connsiteY100" fmla="*/ 2509837 h 4876799"/>
              <a:gd name="connsiteX101" fmla="*/ 1094538 w 4561361"/>
              <a:gd name="connsiteY101" fmla="*/ 2509837 h 4876799"/>
              <a:gd name="connsiteX102" fmla="*/ 1089775 w 4561361"/>
              <a:gd name="connsiteY102" fmla="*/ 2514600 h 4876799"/>
              <a:gd name="connsiteX103" fmla="*/ 1089775 w 4561361"/>
              <a:gd name="connsiteY103" fmla="*/ 2677791 h 4876799"/>
              <a:gd name="connsiteX104" fmla="*/ 1094538 w 4561361"/>
              <a:gd name="connsiteY104" fmla="*/ 2682554 h 4876799"/>
              <a:gd name="connsiteX105" fmla="*/ 1257729 w 4561361"/>
              <a:gd name="connsiteY105" fmla="*/ 2682554 h 4876799"/>
              <a:gd name="connsiteX106" fmla="*/ 1262492 w 4561361"/>
              <a:gd name="connsiteY106" fmla="*/ 2677791 h 4876799"/>
              <a:gd name="connsiteX107" fmla="*/ 1262492 w 4561361"/>
              <a:gd name="connsiteY107" fmla="*/ 2514600 h 4876799"/>
              <a:gd name="connsiteX108" fmla="*/ 1257729 w 4561361"/>
              <a:gd name="connsiteY108" fmla="*/ 2509837 h 4876799"/>
              <a:gd name="connsiteX109" fmla="*/ 463335 w 4561361"/>
              <a:gd name="connsiteY109" fmla="*/ 2509837 h 4876799"/>
              <a:gd name="connsiteX110" fmla="*/ 458572 w 4561361"/>
              <a:gd name="connsiteY110" fmla="*/ 2514600 h 4876799"/>
              <a:gd name="connsiteX111" fmla="*/ 458572 w 4561361"/>
              <a:gd name="connsiteY111" fmla="*/ 2677791 h 4876799"/>
              <a:gd name="connsiteX112" fmla="*/ 463335 w 4561361"/>
              <a:gd name="connsiteY112" fmla="*/ 2682554 h 4876799"/>
              <a:gd name="connsiteX113" fmla="*/ 626536 w 4561361"/>
              <a:gd name="connsiteY113" fmla="*/ 2682554 h 4876799"/>
              <a:gd name="connsiteX114" fmla="*/ 631298 w 4561361"/>
              <a:gd name="connsiteY114" fmla="*/ 2677791 h 4876799"/>
              <a:gd name="connsiteX115" fmla="*/ 631298 w 4561361"/>
              <a:gd name="connsiteY115" fmla="*/ 2514600 h 4876799"/>
              <a:gd name="connsiteX116" fmla="*/ 626536 w 4561361"/>
              <a:gd name="connsiteY116" fmla="*/ 2509837 h 4876799"/>
              <a:gd name="connsiteX117" fmla="*/ 1725721 w 4561361"/>
              <a:gd name="connsiteY117" fmla="*/ 2366962 h 4876799"/>
              <a:gd name="connsiteX118" fmla="*/ 1888912 w 4561361"/>
              <a:gd name="connsiteY118" fmla="*/ 2366962 h 4876799"/>
              <a:gd name="connsiteX119" fmla="*/ 2036550 w 4561361"/>
              <a:gd name="connsiteY119" fmla="*/ 2514600 h 4876799"/>
              <a:gd name="connsiteX120" fmla="*/ 2036550 w 4561361"/>
              <a:gd name="connsiteY120" fmla="*/ 2677791 h 4876799"/>
              <a:gd name="connsiteX121" fmla="*/ 1888912 w 4561361"/>
              <a:gd name="connsiteY121" fmla="*/ 2825429 h 4876799"/>
              <a:gd name="connsiteX122" fmla="*/ 1725721 w 4561361"/>
              <a:gd name="connsiteY122" fmla="*/ 2825429 h 4876799"/>
              <a:gd name="connsiteX123" fmla="*/ 1578083 w 4561361"/>
              <a:gd name="connsiteY123" fmla="*/ 2677791 h 4876799"/>
              <a:gd name="connsiteX124" fmla="*/ 1578083 w 4561361"/>
              <a:gd name="connsiteY124" fmla="*/ 2514600 h 4876799"/>
              <a:gd name="connsiteX125" fmla="*/ 1725721 w 4561361"/>
              <a:gd name="connsiteY125" fmla="*/ 2366962 h 4876799"/>
              <a:gd name="connsiteX126" fmla="*/ 1094538 w 4561361"/>
              <a:gd name="connsiteY126" fmla="*/ 2366962 h 4876799"/>
              <a:gd name="connsiteX127" fmla="*/ 1257729 w 4561361"/>
              <a:gd name="connsiteY127" fmla="*/ 2366962 h 4876799"/>
              <a:gd name="connsiteX128" fmla="*/ 1405367 w 4561361"/>
              <a:gd name="connsiteY128" fmla="*/ 2514600 h 4876799"/>
              <a:gd name="connsiteX129" fmla="*/ 1405367 w 4561361"/>
              <a:gd name="connsiteY129" fmla="*/ 2677791 h 4876799"/>
              <a:gd name="connsiteX130" fmla="*/ 1257729 w 4561361"/>
              <a:gd name="connsiteY130" fmla="*/ 2825429 h 4876799"/>
              <a:gd name="connsiteX131" fmla="*/ 1094538 w 4561361"/>
              <a:gd name="connsiteY131" fmla="*/ 2825429 h 4876799"/>
              <a:gd name="connsiteX132" fmla="*/ 946900 w 4561361"/>
              <a:gd name="connsiteY132" fmla="*/ 2677791 h 4876799"/>
              <a:gd name="connsiteX133" fmla="*/ 946900 w 4561361"/>
              <a:gd name="connsiteY133" fmla="*/ 2514600 h 4876799"/>
              <a:gd name="connsiteX134" fmla="*/ 1094538 w 4561361"/>
              <a:gd name="connsiteY134" fmla="*/ 2366962 h 4876799"/>
              <a:gd name="connsiteX135" fmla="*/ 463335 w 4561361"/>
              <a:gd name="connsiteY135" fmla="*/ 2366962 h 4876799"/>
              <a:gd name="connsiteX136" fmla="*/ 626536 w 4561361"/>
              <a:gd name="connsiteY136" fmla="*/ 2366962 h 4876799"/>
              <a:gd name="connsiteX137" fmla="*/ 774173 w 4561361"/>
              <a:gd name="connsiteY137" fmla="*/ 2514600 h 4876799"/>
              <a:gd name="connsiteX138" fmla="*/ 774173 w 4561361"/>
              <a:gd name="connsiteY138" fmla="*/ 2677791 h 4876799"/>
              <a:gd name="connsiteX139" fmla="*/ 626536 w 4561361"/>
              <a:gd name="connsiteY139" fmla="*/ 2825429 h 4876799"/>
              <a:gd name="connsiteX140" fmla="*/ 463335 w 4561361"/>
              <a:gd name="connsiteY140" fmla="*/ 2825429 h 4876799"/>
              <a:gd name="connsiteX141" fmla="*/ 315697 w 4561361"/>
              <a:gd name="connsiteY141" fmla="*/ 2677791 h 4876799"/>
              <a:gd name="connsiteX142" fmla="*/ 315697 w 4561361"/>
              <a:gd name="connsiteY142" fmla="*/ 2514600 h 4876799"/>
              <a:gd name="connsiteX143" fmla="*/ 463335 w 4561361"/>
              <a:gd name="connsiteY143" fmla="*/ 2366962 h 4876799"/>
              <a:gd name="connsiteX144" fmla="*/ 3619187 w 4561361"/>
              <a:gd name="connsiteY144" fmla="*/ 1878653 h 4876799"/>
              <a:gd name="connsiteX145" fmla="*/ 3614424 w 4561361"/>
              <a:gd name="connsiteY145" fmla="*/ 1883416 h 4876799"/>
              <a:gd name="connsiteX146" fmla="*/ 3614424 w 4561361"/>
              <a:gd name="connsiteY146" fmla="*/ 2046607 h 4876799"/>
              <a:gd name="connsiteX147" fmla="*/ 3619187 w 4561361"/>
              <a:gd name="connsiteY147" fmla="*/ 2051370 h 4876799"/>
              <a:gd name="connsiteX148" fmla="*/ 3782378 w 4561361"/>
              <a:gd name="connsiteY148" fmla="*/ 2051370 h 4876799"/>
              <a:gd name="connsiteX149" fmla="*/ 3787141 w 4561361"/>
              <a:gd name="connsiteY149" fmla="*/ 2046607 h 4876799"/>
              <a:gd name="connsiteX150" fmla="*/ 3787141 w 4561361"/>
              <a:gd name="connsiteY150" fmla="*/ 1883416 h 4876799"/>
              <a:gd name="connsiteX151" fmla="*/ 3782378 w 4561361"/>
              <a:gd name="connsiteY151" fmla="*/ 1878653 h 4876799"/>
              <a:gd name="connsiteX152" fmla="*/ 2988003 w 4561361"/>
              <a:gd name="connsiteY152" fmla="*/ 1878653 h 4876799"/>
              <a:gd name="connsiteX153" fmla="*/ 2983240 w 4561361"/>
              <a:gd name="connsiteY153" fmla="*/ 1883416 h 4876799"/>
              <a:gd name="connsiteX154" fmla="*/ 2983240 w 4561361"/>
              <a:gd name="connsiteY154" fmla="*/ 2046607 h 4876799"/>
              <a:gd name="connsiteX155" fmla="*/ 2988003 w 4561361"/>
              <a:gd name="connsiteY155" fmla="*/ 2051370 h 4876799"/>
              <a:gd name="connsiteX156" fmla="*/ 3151194 w 4561361"/>
              <a:gd name="connsiteY156" fmla="*/ 2051370 h 4876799"/>
              <a:gd name="connsiteX157" fmla="*/ 3155957 w 4561361"/>
              <a:gd name="connsiteY157" fmla="*/ 2046607 h 4876799"/>
              <a:gd name="connsiteX158" fmla="*/ 3155957 w 4561361"/>
              <a:gd name="connsiteY158" fmla="*/ 1883416 h 4876799"/>
              <a:gd name="connsiteX159" fmla="*/ 3151194 w 4561361"/>
              <a:gd name="connsiteY159" fmla="*/ 1878653 h 4876799"/>
              <a:gd name="connsiteX160" fmla="*/ 2356914 w 4561361"/>
              <a:gd name="connsiteY160" fmla="*/ 1878653 h 4876799"/>
              <a:gd name="connsiteX161" fmla="*/ 2352152 w 4561361"/>
              <a:gd name="connsiteY161" fmla="*/ 1883416 h 4876799"/>
              <a:gd name="connsiteX162" fmla="*/ 2352152 w 4561361"/>
              <a:gd name="connsiteY162" fmla="*/ 2046607 h 4876799"/>
              <a:gd name="connsiteX163" fmla="*/ 2356914 w 4561361"/>
              <a:gd name="connsiteY163" fmla="*/ 2051370 h 4876799"/>
              <a:gd name="connsiteX164" fmla="*/ 2520106 w 4561361"/>
              <a:gd name="connsiteY164" fmla="*/ 2051370 h 4876799"/>
              <a:gd name="connsiteX165" fmla="*/ 2524869 w 4561361"/>
              <a:gd name="connsiteY165" fmla="*/ 2046607 h 4876799"/>
              <a:gd name="connsiteX166" fmla="*/ 2524869 w 4561361"/>
              <a:gd name="connsiteY166" fmla="*/ 1883416 h 4876799"/>
              <a:gd name="connsiteX167" fmla="*/ 2520106 w 4561361"/>
              <a:gd name="connsiteY167" fmla="*/ 1878653 h 4876799"/>
              <a:gd name="connsiteX168" fmla="*/ 1725721 w 4561361"/>
              <a:gd name="connsiteY168" fmla="*/ 1878644 h 4876799"/>
              <a:gd name="connsiteX169" fmla="*/ 1720958 w 4561361"/>
              <a:gd name="connsiteY169" fmla="*/ 1883406 h 4876799"/>
              <a:gd name="connsiteX170" fmla="*/ 1720958 w 4561361"/>
              <a:gd name="connsiteY170" fmla="*/ 2046598 h 4876799"/>
              <a:gd name="connsiteX171" fmla="*/ 1725721 w 4561361"/>
              <a:gd name="connsiteY171" fmla="*/ 2051360 h 4876799"/>
              <a:gd name="connsiteX172" fmla="*/ 1888912 w 4561361"/>
              <a:gd name="connsiteY172" fmla="*/ 2051360 h 4876799"/>
              <a:gd name="connsiteX173" fmla="*/ 1893675 w 4561361"/>
              <a:gd name="connsiteY173" fmla="*/ 2046598 h 4876799"/>
              <a:gd name="connsiteX174" fmla="*/ 1893675 w 4561361"/>
              <a:gd name="connsiteY174" fmla="*/ 1883406 h 4876799"/>
              <a:gd name="connsiteX175" fmla="*/ 1888912 w 4561361"/>
              <a:gd name="connsiteY175" fmla="*/ 1878644 h 4876799"/>
              <a:gd name="connsiteX176" fmla="*/ 1094538 w 4561361"/>
              <a:gd name="connsiteY176" fmla="*/ 1878644 h 4876799"/>
              <a:gd name="connsiteX177" fmla="*/ 1089775 w 4561361"/>
              <a:gd name="connsiteY177" fmla="*/ 1883406 h 4876799"/>
              <a:gd name="connsiteX178" fmla="*/ 1089775 w 4561361"/>
              <a:gd name="connsiteY178" fmla="*/ 2046598 h 4876799"/>
              <a:gd name="connsiteX179" fmla="*/ 1094538 w 4561361"/>
              <a:gd name="connsiteY179" fmla="*/ 2051360 h 4876799"/>
              <a:gd name="connsiteX180" fmla="*/ 1257729 w 4561361"/>
              <a:gd name="connsiteY180" fmla="*/ 2051360 h 4876799"/>
              <a:gd name="connsiteX181" fmla="*/ 1262492 w 4561361"/>
              <a:gd name="connsiteY181" fmla="*/ 2046598 h 4876799"/>
              <a:gd name="connsiteX182" fmla="*/ 1262492 w 4561361"/>
              <a:gd name="connsiteY182" fmla="*/ 1883406 h 4876799"/>
              <a:gd name="connsiteX183" fmla="*/ 1257729 w 4561361"/>
              <a:gd name="connsiteY183" fmla="*/ 1878644 h 4876799"/>
              <a:gd name="connsiteX184" fmla="*/ 463335 w 4561361"/>
              <a:gd name="connsiteY184" fmla="*/ 1878644 h 4876799"/>
              <a:gd name="connsiteX185" fmla="*/ 458572 w 4561361"/>
              <a:gd name="connsiteY185" fmla="*/ 1883406 h 4876799"/>
              <a:gd name="connsiteX186" fmla="*/ 458572 w 4561361"/>
              <a:gd name="connsiteY186" fmla="*/ 2046598 h 4876799"/>
              <a:gd name="connsiteX187" fmla="*/ 463335 w 4561361"/>
              <a:gd name="connsiteY187" fmla="*/ 2051360 h 4876799"/>
              <a:gd name="connsiteX188" fmla="*/ 626536 w 4561361"/>
              <a:gd name="connsiteY188" fmla="*/ 2051360 h 4876799"/>
              <a:gd name="connsiteX189" fmla="*/ 631298 w 4561361"/>
              <a:gd name="connsiteY189" fmla="*/ 2046598 h 4876799"/>
              <a:gd name="connsiteX190" fmla="*/ 631298 w 4561361"/>
              <a:gd name="connsiteY190" fmla="*/ 1883406 h 4876799"/>
              <a:gd name="connsiteX191" fmla="*/ 626536 w 4561361"/>
              <a:gd name="connsiteY191" fmla="*/ 1878644 h 4876799"/>
              <a:gd name="connsiteX192" fmla="*/ 3619187 w 4561361"/>
              <a:gd name="connsiteY192" fmla="*/ 1735778 h 4876799"/>
              <a:gd name="connsiteX193" fmla="*/ 3782378 w 4561361"/>
              <a:gd name="connsiteY193" fmla="*/ 1735778 h 4876799"/>
              <a:gd name="connsiteX194" fmla="*/ 3930016 w 4561361"/>
              <a:gd name="connsiteY194" fmla="*/ 1883416 h 4876799"/>
              <a:gd name="connsiteX195" fmla="*/ 3930016 w 4561361"/>
              <a:gd name="connsiteY195" fmla="*/ 2046607 h 4876799"/>
              <a:gd name="connsiteX196" fmla="*/ 3782378 w 4561361"/>
              <a:gd name="connsiteY196" fmla="*/ 2194245 h 4876799"/>
              <a:gd name="connsiteX197" fmla="*/ 3619187 w 4561361"/>
              <a:gd name="connsiteY197" fmla="*/ 2194245 h 4876799"/>
              <a:gd name="connsiteX198" fmla="*/ 3471549 w 4561361"/>
              <a:gd name="connsiteY198" fmla="*/ 2046607 h 4876799"/>
              <a:gd name="connsiteX199" fmla="*/ 3471549 w 4561361"/>
              <a:gd name="connsiteY199" fmla="*/ 1883416 h 4876799"/>
              <a:gd name="connsiteX200" fmla="*/ 3619187 w 4561361"/>
              <a:gd name="connsiteY200" fmla="*/ 1735778 h 4876799"/>
              <a:gd name="connsiteX201" fmla="*/ 2988003 w 4561361"/>
              <a:gd name="connsiteY201" fmla="*/ 1735778 h 4876799"/>
              <a:gd name="connsiteX202" fmla="*/ 3151194 w 4561361"/>
              <a:gd name="connsiteY202" fmla="*/ 1735778 h 4876799"/>
              <a:gd name="connsiteX203" fmla="*/ 3298832 w 4561361"/>
              <a:gd name="connsiteY203" fmla="*/ 1883416 h 4876799"/>
              <a:gd name="connsiteX204" fmla="*/ 3298832 w 4561361"/>
              <a:gd name="connsiteY204" fmla="*/ 2046607 h 4876799"/>
              <a:gd name="connsiteX205" fmla="*/ 3151194 w 4561361"/>
              <a:gd name="connsiteY205" fmla="*/ 2194245 h 4876799"/>
              <a:gd name="connsiteX206" fmla="*/ 2988003 w 4561361"/>
              <a:gd name="connsiteY206" fmla="*/ 2194245 h 4876799"/>
              <a:gd name="connsiteX207" fmla="*/ 2840365 w 4561361"/>
              <a:gd name="connsiteY207" fmla="*/ 2046607 h 4876799"/>
              <a:gd name="connsiteX208" fmla="*/ 2840365 w 4561361"/>
              <a:gd name="connsiteY208" fmla="*/ 1883416 h 4876799"/>
              <a:gd name="connsiteX209" fmla="*/ 2988003 w 4561361"/>
              <a:gd name="connsiteY209" fmla="*/ 1735778 h 4876799"/>
              <a:gd name="connsiteX210" fmla="*/ 2356914 w 4561361"/>
              <a:gd name="connsiteY210" fmla="*/ 1735778 h 4876799"/>
              <a:gd name="connsiteX211" fmla="*/ 2520106 w 4561361"/>
              <a:gd name="connsiteY211" fmla="*/ 1735778 h 4876799"/>
              <a:gd name="connsiteX212" fmla="*/ 2667744 w 4561361"/>
              <a:gd name="connsiteY212" fmla="*/ 1883416 h 4876799"/>
              <a:gd name="connsiteX213" fmla="*/ 2667744 w 4561361"/>
              <a:gd name="connsiteY213" fmla="*/ 2046607 h 4876799"/>
              <a:gd name="connsiteX214" fmla="*/ 2520106 w 4561361"/>
              <a:gd name="connsiteY214" fmla="*/ 2194245 h 4876799"/>
              <a:gd name="connsiteX215" fmla="*/ 2356914 w 4561361"/>
              <a:gd name="connsiteY215" fmla="*/ 2194245 h 4876799"/>
              <a:gd name="connsiteX216" fmla="*/ 2209277 w 4561361"/>
              <a:gd name="connsiteY216" fmla="*/ 2046607 h 4876799"/>
              <a:gd name="connsiteX217" fmla="*/ 2209277 w 4561361"/>
              <a:gd name="connsiteY217" fmla="*/ 1883416 h 4876799"/>
              <a:gd name="connsiteX218" fmla="*/ 2356914 w 4561361"/>
              <a:gd name="connsiteY218" fmla="*/ 1735778 h 4876799"/>
              <a:gd name="connsiteX219" fmla="*/ 1725721 w 4561361"/>
              <a:gd name="connsiteY219" fmla="*/ 1735778 h 4876799"/>
              <a:gd name="connsiteX220" fmla="*/ 1888912 w 4561361"/>
              <a:gd name="connsiteY220" fmla="*/ 1735778 h 4876799"/>
              <a:gd name="connsiteX221" fmla="*/ 2036550 w 4561361"/>
              <a:gd name="connsiteY221" fmla="*/ 1883416 h 4876799"/>
              <a:gd name="connsiteX222" fmla="*/ 2036550 w 4561361"/>
              <a:gd name="connsiteY222" fmla="*/ 2046607 h 4876799"/>
              <a:gd name="connsiteX223" fmla="*/ 1888912 w 4561361"/>
              <a:gd name="connsiteY223" fmla="*/ 2194245 h 4876799"/>
              <a:gd name="connsiteX224" fmla="*/ 1725721 w 4561361"/>
              <a:gd name="connsiteY224" fmla="*/ 2194245 h 4876799"/>
              <a:gd name="connsiteX225" fmla="*/ 1578083 w 4561361"/>
              <a:gd name="connsiteY225" fmla="*/ 2046607 h 4876799"/>
              <a:gd name="connsiteX226" fmla="*/ 1578083 w 4561361"/>
              <a:gd name="connsiteY226" fmla="*/ 1883416 h 4876799"/>
              <a:gd name="connsiteX227" fmla="*/ 1725721 w 4561361"/>
              <a:gd name="connsiteY227" fmla="*/ 1735778 h 4876799"/>
              <a:gd name="connsiteX228" fmla="*/ 1094538 w 4561361"/>
              <a:gd name="connsiteY228" fmla="*/ 1735778 h 4876799"/>
              <a:gd name="connsiteX229" fmla="*/ 1257729 w 4561361"/>
              <a:gd name="connsiteY229" fmla="*/ 1735778 h 4876799"/>
              <a:gd name="connsiteX230" fmla="*/ 1405367 w 4561361"/>
              <a:gd name="connsiteY230" fmla="*/ 1883416 h 4876799"/>
              <a:gd name="connsiteX231" fmla="*/ 1405367 w 4561361"/>
              <a:gd name="connsiteY231" fmla="*/ 2046607 h 4876799"/>
              <a:gd name="connsiteX232" fmla="*/ 1257729 w 4561361"/>
              <a:gd name="connsiteY232" fmla="*/ 2194245 h 4876799"/>
              <a:gd name="connsiteX233" fmla="*/ 1094538 w 4561361"/>
              <a:gd name="connsiteY233" fmla="*/ 2194245 h 4876799"/>
              <a:gd name="connsiteX234" fmla="*/ 946900 w 4561361"/>
              <a:gd name="connsiteY234" fmla="*/ 2046607 h 4876799"/>
              <a:gd name="connsiteX235" fmla="*/ 946900 w 4561361"/>
              <a:gd name="connsiteY235" fmla="*/ 1883416 h 4876799"/>
              <a:gd name="connsiteX236" fmla="*/ 1094538 w 4561361"/>
              <a:gd name="connsiteY236" fmla="*/ 1735778 h 4876799"/>
              <a:gd name="connsiteX237" fmla="*/ 463335 w 4561361"/>
              <a:gd name="connsiteY237" fmla="*/ 1735778 h 4876799"/>
              <a:gd name="connsiteX238" fmla="*/ 626536 w 4561361"/>
              <a:gd name="connsiteY238" fmla="*/ 1735778 h 4876799"/>
              <a:gd name="connsiteX239" fmla="*/ 774173 w 4561361"/>
              <a:gd name="connsiteY239" fmla="*/ 1883416 h 4876799"/>
              <a:gd name="connsiteX240" fmla="*/ 774173 w 4561361"/>
              <a:gd name="connsiteY240" fmla="*/ 2046607 h 4876799"/>
              <a:gd name="connsiteX241" fmla="*/ 626536 w 4561361"/>
              <a:gd name="connsiteY241" fmla="*/ 2194245 h 4876799"/>
              <a:gd name="connsiteX242" fmla="*/ 463335 w 4561361"/>
              <a:gd name="connsiteY242" fmla="*/ 2194245 h 4876799"/>
              <a:gd name="connsiteX243" fmla="*/ 315697 w 4561361"/>
              <a:gd name="connsiteY243" fmla="*/ 2046607 h 4876799"/>
              <a:gd name="connsiteX244" fmla="*/ 315697 w 4561361"/>
              <a:gd name="connsiteY244" fmla="*/ 1883416 h 4876799"/>
              <a:gd name="connsiteX245" fmla="*/ 463335 w 4561361"/>
              <a:gd name="connsiteY245" fmla="*/ 1735778 h 4876799"/>
              <a:gd name="connsiteX246" fmla="*/ 142885 w 4561361"/>
              <a:gd name="connsiteY246" fmla="*/ 1247460 h 4876799"/>
              <a:gd name="connsiteX247" fmla="*/ 142885 w 4561361"/>
              <a:gd name="connsiteY247" fmla="*/ 1420177 h 4876799"/>
              <a:gd name="connsiteX248" fmla="*/ 4103056 w 4561361"/>
              <a:gd name="connsiteY248" fmla="*/ 1420177 h 4876799"/>
              <a:gd name="connsiteX249" fmla="*/ 4103056 w 4561361"/>
              <a:gd name="connsiteY249" fmla="*/ 1247460 h 4876799"/>
              <a:gd name="connsiteX250" fmla="*/ 387029 w 4561361"/>
              <a:gd name="connsiteY250" fmla="*/ 458467 h 4876799"/>
              <a:gd name="connsiteX251" fmla="*/ 142885 w 4561361"/>
              <a:gd name="connsiteY251" fmla="*/ 702621 h 4876799"/>
              <a:gd name="connsiteX252" fmla="*/ 142885 w 4561361"/>
              <a:gd name="connsiteY252" fmla="*/ 1104576 h 4876799"/>
              <a:gd name="connsiteX253" fmla="*/ 4103046 w 4561361"/>
              <a:gd name="connsiteY253" fmla="*/ 1104576 h 4876799"/>
              <a:gd name="connsiteX254" fmla="*/ 4103046 w 4561361"/>
              <a:gd name="connsiteY254" fmla="*/ 702612 h 4876799"/>
              <a:gd name="connsiteX255" fmla="*/ 3858892 w 4561361"/>
              <a:gd name="connsiteY255" fmla="*/ 458467 h 4876799"/>
              <a:gd name="connsiteX256" fmla="*/ 3298927 w 4561361"/>
              <a:gd name="connsiteY256" fmla="*/ 458467 h 4876799"/>
              <a:gd name="connsiteX257" fmla="*/ 3298927 w 4561361"/>
              <a:gd name="connsiteY257" fmla="*/ 631184 h 4876799"/>
              <a:gd name="connsiteX258" fmla="*/ 3385290 w 4561361"/>
              <a:gd name="connsiteY258" fmla="*/ 631184 h 4876799"/>
              <a:gd name="connsiteX259" fmla="*/ 3456727 w 4561361"/>
              <a:gd name="connsiteY259" fmla="*/ 702621 h 4876799"/>
              <a:gd name="connsiteX260" fmla="*/ 3385290 w 4561361"/>
              <a:gd name="connsiteY260" fmla="*/ 774059 h 4876799"/>
              <a:gd name="connsiteX261" fmla="*/ 3274876 w 4561361"/>
              <a:gd name="connsiteY261" fmla="*/ 774059 h 4876799"/>
              <a:gd name="connsiteX262" fmla="*/ 3030246 w 4561361"/>
              <a:gd name="connsiteY262" fmla="*/ 931859 h 4876799"/>
              <a:gd name="connsiteX263" fmla="*/ 2785615 w 4561361"/>
              <a:gd name="connsiteY263" fmla="*/ 774059 h 4876799"/>
              <a:gd name="connsiteX264" fmla="*/ 2675201 w 4561361"/>
              <a:gd name="connsiteY264" fmla="*/ 774059 h 4876799"/>
              <a:gd name="connsiteX265" fmla="*/ 2603764 w 4561361"/>
              <a:gd name="connsiteY265" fmla="*/ 702621 h 4876799"/>
              <a:gd name="connsiteX266" fmla="*/ 2675201 w 4561361"/>
              <a:gd name="connsiteY266" fmla="*/ 631184 h 4876799"/>
              <a:gd name="connsiteX267" fmla="*/ 2761564 w 4561361"/>
              <a:gd name="connsiteY267" fmla="*/ 631184 h 4876799"/>
              <a:gd name="connsiteX268" fmla="*/ 2761564 w 4561361"/>
              <a:gd name="connsiteY268" fmla="*/ 458467 h 4876799"/>
              <a:gd name="connsiteX269" fmla="*/ 1484157 w 4561361"/>
              <a:gd name="connsiteY269" fmla="*/ 458467 h 4876799"/>
              <a:gd name="connsiteX270" fmla="*/ 1484157 w 4561361"/>
              <a:gd name="connsiteY270" fmla="*/ 631184 h 4876799"/>
              <a:gd name="connsiteX271" fmla="*/ 1570511 w 4561361"/>
              <a:gd name="connsiteY271" fmla="*/ 631184 h 4876799"/>
              <a:gd name="connsiteX272" fmla="*/ 1641948 w 4561361"/>
              <a:gd name="connsiteY272" fmla="*/ 702621 h 4876799"/>
              <a:gd name="connsiteX273" fmla="*/ 1570511 w 4561361"/>
              <a:gd name="connsiteY273" fmla="*/ 774059 h 4876799"/>
              <a:gd name="connsiteX274" fmla="*/ 1460106 w 4561361"/>
              <a:gd name="connsiteY274" fmla="*/ 774059 h 4876799"/>
              <a:gd name="connsiteX275" fmla="*/ 1215476 w 4561361"/>
              <a:gd name="connsiteY275" fmla="*/ 931859 h 4876799"/>
              <a:gd name="connsiteX276" fmla="*/ 970836 w 4561361"/>
              <a:gd name="connsiteY276" fmla="*/ 774059 h 4876799"/>
              <a:gd name="connsiteX277" fmla="*/ 860431 w 4561361"/>
              <a:gd name="connsiteY277" fmla="*/ 774059 h 4876799"/>
              <a:gd name="connsiteX278" fmla="*/ 788994 w 4561361"/>
              <a:gd name="connsiteY278" fmla="*/ 702621 h 4876799"/>
              <a:gd name="connsiteX279" fmla="*/ 860431 w 4561361"/>
              <a:gd name="connsiteY279" fmla="*/ 631184 h 4876799"/>
              <a:gd name="connsiteX280" fmla="*/ 946785 w 4561361"/>
              <a:gd name="connsiteY280" fmla="*/ 631184 h 4876799"/>
              <a:gd name="connsiteX281" fmla="*/ 946785 w 4561361"/>
              <a:gd name="connsiteY281" fmla="*/ 458467 h 4876799"/>
              <a:gd name="connsiteX282" fmla="*/ 3030246 w 4561361"/>
              <a:gd name="connsiteY282" fmla="*/ 142875 h 4876799"/>
              <a:gd name="connsiteX283" fmla="*/ 2904439 w 4561361"/>
              <a:gd name="connsiteY283" fmla="*/ 268681 h 4876799"/>
              <a:gd name="connsiteX284" fmla="*/ 2904439 w 4561361"/>
              <a:gd name="connsiteY284" fmla="*/ 663178 h 4876799"/>
              <a:gd name="connsiteX285" fmla="*/ 3030246 w 4561361"/>
              <a:gd name="connsiteY285" fmla="*/ 788994 h 4876799"/>
              <a:gd name="connsiteX286" fmla="*/ 3156052 w 4561361"/>
              <a:gd name="connsiteY286" fmla="*/ 663178 h 4876799"/>
              <a:gd name="connsiteX287" fmla="*/ 3156052 w 4561361"/>
              <a:gd name="connsiteY287" fmla="*/ 268681 h 4876799"/>
              <a:gd name="connsiteX288" fmla="*/ 3030246 w 4561361"/>
              <a:gd name="connsiteY288" fmla="*/ 142875 h 4876799"/>
              <a:gd name="connsiteX289" fmla="*/ 1215476 w 4561361"/>
              <a:gd name="connsiteY289" fmla="*/ 142875 h 4876799"/>
              <a:gd name="connsiteX290" fmla="*/ 1089660 w 4561361"/>
              <a:gd name="connsiteY290" fmla="*/ 268681 h 4876799"/>
              <a:gd name="connsiteX291" fmla="*/ 1089660 w 4561361"/>
              <a:gd name="connsiteY291" fmla="*/ 663178 h 4876799"/>
              <a:gd name="connsiteX292" fmla="*/ 1215476 w 4561361"/>
              <a:gd name="connsiteY292" fmla="*/ 788994 h 4876799"/>
              <a:gd name="connsiteX293" fmla="*/ 1341282 w 4561361"/>
              <a:gd name="connsiteY293" fmla="*/ 663178 h 4876799"/>
              <a:gd name="connsiteX294" fmla="*/ 1341282 w 4561361"/>
              <a:gd name="connsiteY294" fmla="*/ 268681 h 4876799"/>
              <a:gd name="connsiteX295" fmla="*/ 1215476 w 4561361"/>
              <a:gd name="connsiteY295" fmla="*/ 142875 h 4876799"/>
              <a:gd name="connsiteX296" fmla="*/ 1215476 w 4561361"/>
              <a:gd name="connsiteY296" fmla="*/ 0 h 4876799"/>
              <a:gd name="connsiteX297" fmla="*/ 1484157 w 4561361"/>
              <a:gd name="connsiteY297" fmla="*/ 268681 h 4876799"/>
              <a:gd name="connsiteX298" fmla="*/ 1484157 w 4561361"/>
              <a:gd name="connsiteY298" fmla="*/ 315592 h 4876799"/>
              <a:gd name="connsiteX299" fmla="*/ 2761564 w 4561361"/>
              <a:gd name="connsiteY299" fmla="*/ 315592 h 4876799"/>
              <a:gd name="connsiteX300" fmla="*/ 2761564 w 4561361"/>
              <a:gd name="connsiteY300" fmla="*/ 268681 h 4876799"/>
              <a:gd name="connsiteX301" fmla="*/ 3030246 w 4561361"/>
              <a:gd name="connsiteY301" fmla="*/ 0 h 4876799"/>
              <a:gd name="connsiteX302" fmla="*/ 3298927 w 4561361"/>
              <a:gd name="connsiteY302" fmla="*/ 268692 h 4876799"/>
              <a:gd name="connsiteX303" fmla="*/ 3298927 w 4561361"/>
              <a:gd name="connsiteY303" fmla="*/ 315601 h 4876799"/>
              <a:gd name="connsiteX304" fmla="*/ 3858892 w 4561361"/>
              <a:gd name="connsiteY304" fmla="*/ 315601 h 4876799"/>
              <a:gd name="connsiteX305" fmla="*/ 4245921 w 4561361"/>
              <a:gd name="connsiteY305" fmla="*/ 702621 h 4876799"/>
              <a:gd name="connsiteX306" fmla="*/ 4245921 w 4561361"/>
              <a:gd name="connsiteY306" fmla="*/ 2790881 h 4876799"/>
              <a:gd name="connsiteX307" fmla="*/ 4561361 w 4561361"/>
              <a:gd name="connsiteY307" fmla="*/ 3621880 h 4876799"/>
              <a:gd name="connsiteX308" fmla="*/ 3306442 w 4561361"/>
              <a:gd name="connsiteY308" fmla="*/ 4876799 h 4876799"/>
              <a:gd name="connsiteX309" fmla="*/ 2141258 w 4561361"/>
              <a:gd name="connsiteY309" fmla="*/ 4087815 h 4876799"/>
              <a:gd name="connsiteX310" fmla="*/ 845601 w 4561361"/>
              <a:gd name="connsiteY310" fmla="*/ 4087815 h 4876799"/>
              <a:gd name="connsiteX311" fmla="*/ 774163 w 4561361"/>
              <a:gd name="connsiteY311" fmla="*/ 4016377 h 4876799"/>
              <a:gd name="connsiteX312" fmla="*/ 845601 w 4561361"/>
              <a:gd name="connsiteY312" fmla="*/ 3944940 h 4876799"/>
              <a:gd name="connsiteX313" fmla="*/ 2093757 w 4561361"/>
              <a:gd name="connsiteY313" fmla="*/ 3944940 h 4876799"/>
              <a:gd name="connsiteX314" fmla="*/ 2060562 w 4561361"/>
              <a:gd name="connsiteY314" fmla="*/ 3772213 h 4876799"/>
              <a:gd name="connsiteX315" fmla="*/ 387029 w 4561361"/>
              <a:gd name="connsiteY315" fmla="*/ 3772213 h 4876799"/>
              <a:gd name="connsiteX316" fmla="*/ 142875 w 4561361"/>
              <a:gd name="connsiteY316" fmla="*/ 3685212 h 4876799"/>
              <a:gd name="connsiteX317" fmla="*/ 142875 w 4561361"/>
              <a:gd name="connsiteY317" fmla="*/ 3700785 h 4876799"/>
              <a:gd name="connsiteX318" fmla="*/ 387029 w 4561361"/>
              <a:gd name="connsiteY318" fmla="*/ 3944930 h 4876799"/>
              <a:gd name="connsiteX319" fmla="*/ 559860 w 4561361"/>
              <a:gd name="connsiteY319" fmla="*/ 3944930 h 4876799"/>
              <a:gd name="connsiteX320" fmla="*/ 631298 w 4561361"/>
              <a:gd name="connsiteY320" fmla="*/ 4016368 h 4876799"/>
              <a:gd name="connsiteX321" fmla="*/ 559860 w 4561361"/>
              <a:gd name="connsiteY321" fmla="*/ 4087805 h 4876799"/>
              <a:gd name="connsiteX322" fmla="*/ 387029 w 4561361"/>
              <a:gd name="connsiteY322" fmla="*/ 4087805 h 4876799"/>
              <a:gd name="connsiteX323" fmla="*/ 0 w 4561361"/>
              <a:gd name="connsiteY323" fmla="*/ 3700785 h 4876799"/>
              <a:gd name="connsiteX324" fmla="*/ 0 w 4561361"/>
              <a:gd name="connsiteY324" fmla="*/ 2107882 h 4876799"/>
              <a:gd name="connsiteX325" fmla="*/ 71438 w 4561361"/>
              <a:gd name="connsiteY325" fmla="*/ 2036444 h 4876799"/>
              <a:gd name="connsiteX326" fmla="*/ 142875 w 4561361"/>
              <a:gd name="connsiteY326" fmla="*/ 2107882 h 4876799"/>
              <a:gd name="connsiteX327" fmla="*/ 142875 w 4561361"/>
              <a:gd name="connsiteY327" fmla="*/ 3385194 h 4876799"/>
              <a:gd name="connsiteX328" fmla="*/ 387029 w 4561361"/>
              <a:gd name="connsiteY328" fmla="*/ 3629338 h 4876799"/>
              <a:gd name="connsiteX329" fmla="*/ 2051618 w 4561361"/>
              <a:gd name="connsiteY329" fmla="*/ 3629338 h 4876799"/>
              <a:gd name="connsiteX330" fmla="*/ 2051523 w 4561361"/>
              <a:gd name="connsiteY330" fmla="*/ 3621880 h 4876799"/>
              <a:gd name="connsiteX331" fmla="*/ 2338692 w 4561361"/>
              <a:gd name="connsiteY331" fmla="*/ 2823800 h 4876799"/>
              <a:gd name="connsiteX332" fmla="*/ 2209276 w 4561361"/>
              <a:gd name="connsiteY332" fmla="*/ 2675095 h 4876799"/>
              <a:gd name="connsiteX333" fmla="*/ 2209276 w 4561361"/>
              <a:gd name="connsiteY333" fmla="*/ 2517295 h 4876799"/>
              <a:gd name="connsiteX334" fmla="*/ 2359609 w 4561361"/>
              <a:gd name="connsiteY334" fmla="*/ 2366962 h 4876799"/>
              <a:gd name="connsiteX335" fmla="*/ 2517400 w 4561361"/>
              <a:gd name="connsiteY335" fmla="*/ 2366962 h 4876799"/>
              <a:gd name="connsiteX336" fmla="*/ 2667734 w 4561361"/>
              <a:gd name="connsiteY336" fmla="*/ 2517295 h 4876799"/>
              <a:gd name="connsiteX337" fmla="*/ 2667734 w 4561361"/>
              <a:gd name="connsiteY337" fmla="*/ 2542079 h 4876799"/>
              <a:gd name="connsiteX338" fmla="*/ 3306442 w 4561361"/>
              <a:gd name="connsiteY338" fmla="*/ 2366962 h 4876799"/>
              <a:gd name="connsiteX339" fmla="*/ 4103046 w 4561361"/>
              <a:gd name="connsiteY339" fmla="*/ 2652931 h 4876799"/>
              <a:gd name="connsiteX340" fmla="*/ 4103046 w 4561361"/>
              <a:gd name="connsiteY340" fmla="*/ 1563052 h 4876799"/>
              <a:gd name="connsiteX341" fmla="*/ 142875 w 4561361"/>
              <a:gd name="connsiteY341" fmla="*/ 1563052 h 4876799"/>
              <a:gd name="connsiteX342" fmla="*/ 142875 w 4561361"/>
              <a:gd name="connsiteY342" fmla="*/ 1822132 h 4876799"/>
              <a:gd name="connsiteX343" fmla="*/ 71438 w 4561361"/>
              <a:gd name="connsiteY343" fmla="*/ 1893569 h 4876799"/>
              <a:gd name="connsiteX344" fmla="*/ 0 w 4561361"/>
              <a:gd name="connsiteY344" fmla="*/ 1822132 h 4876799"/>
              <a:gd name="connsiteX345" fmla="*/ 0 w 4561361"/>
              <a:gd name="connsiteY345" fmla="*/ 702612 h 4876799"/>
              <a:gd name="connsiteX346" fmla="*/ 387029 w 4561361"/>
              <a:gd name="connsiteY346" fmla="*/ 315592 h 4876799"/>
              <a:gd name="connsiteX347" fmla="*/ 946785 w 4561361"/>
              <a:gd name="connsiteY347" fmla="*/ 315592 h 4876799"/>
              <a:gd name="connsiteX348" fmla="*/ 946785 w 4561361"/>
              <a:gd name="connsiteY348" fmla="*/ 268681 h 4876799"/>
              <a:gd name="connsiteX349" fmla="*/ 1215476 w 4561361"/>
              <a:gd name="connsiteY349" fmla="*/ 0 h 487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4561361" h="4876799">
                <a:moveTo>
                  <a:pt x="3306442" y="3535518"/>
                </a:moveTo>
                <a:cubicBezTo>
                  <a:pt x="3258826" y="3535518"/>
                  <a:pt x="3220088" y="3574256"/>
                  <a:pt x="3220088" y="3621881"/>
                </a:cubicBezTo>
                <a:cubicBezTo>
                  <a:pt x="3220088" y="3669506"/>
                  <a:pt x="3258826" y="3708244"/>
                  <a:pt x="3306442" y="3708244"/>
                </a:cubicBezTo>
                <a:cubicBezTo>
                  <a:pt x="3354058" y="3708244"/>
                  <a:pt x="3392796" y="3669506"/>
                  <a:pt x="3392796" y="3621881"/>
                </a:cubicBezTo>
                <a:cubicBezTo>
                  <a:pt x="3392796" y="3574256"/>
                  <a:pt x="3354058" y="3535518"/>
                  <a:pt x="3306442" y="3535518"/>
                </a:cubicBezTo>
                <a:close/>
                <a:moveTo>
                  <a:pt x="1725721" y="3141030"/>
                </a:moveTo>
                <a:cubicBezTo>
                  <a:pt x="1723101" y="3141030"/>
                  <a:pt x="1720958" y="3143164"/>
                  <a:pt x="1720958" y="3145793"/>
                </a:cubicBezTo>
                <a:lnTo>
                  <a:pt x="1720958" y="3308984"/>
                </a:lnTo>
                <a:cubicBezTo>
                  <a:pt x="1720958" y="3311613"/>
                  <a:pt x="1723101" y="3313747"/>
                  <a:pt x="1725721" y="3313747"/>
                </a:cubicBezTo>
                <a:lnTo>
                  <a:pt x="1888912" y="3313747"/>
                </a:lnTo>
                <a:cubicBezTo>
                  <a:pt x="1891532" y="3313747"/>
                  <a:pt x="1893675" y="3311613"/>
                  <a:pt x="1893675" y="3308984"/>
                </a:cubicBezTo>
                <a:lnTo>
                  <a:pt x="1893675" y="3145793"/>
                </a:lnTo>
                <a:cubicBezTo>
                  <a:pt x="1893675" y="3143164"/>
                  <a:pt x="1891532" y="3141030"/>
                  <a:pt x="1888912" y="3141030"/>
                </a:cubicBezTo>
                <a:close/>
                <a:moveTo>
                  <a:pt x="1094538" y="3141030"/>
                </a:moveTo>
                <a:cubicBezTo>
                  <a:pt x="1091918" y="3141030"/>
                  <a:pt x="1089775" y="3143164"/>
                  <a:pt x="1089775" y="3145793"/>
                </a:cubicBezTo>
                <a:lnTo>
                  <a:pt x="1089775" y="3308984"/>
                </a:lnTo>
                <a:cubicBezTo>
                  <a:pt x="1089775" y="3311613"/>
                  <a:pt x="1091918" y="3313747"/>
                  <a:pt x="1094538" y="3313747"/>
                </a:cubicBezTo>
                <a:lnTo>
                  <a:pt x="1257729" y="3313747"/>
                </a:lnTo>
                <a:cubicBezTo>
                  <a:pt x="1260349" y="3313747"/>
                  <a:pt x="1262492" y="3311613"/>
                  <a:pt x="1262492" y="3308984"/>
                </a:cubicBezTo>
                <a:lnTo>
                  <a:pt x="1262492" y="3145793"/>
                </a:lnTo>
                <a:cubicBezTo>
                  <a:pt x="1262492" y="3143164"/>
                  <a:pt x="1260349" y="3141030"/>
                  <a:pt x="1257729" y="3141030"/>
                </a:cubicBezTo>
                <a:close/>
                <a:moveTo>
                  <a:pt x="463335" y="3141030"/>
                </a:moveTo>
                <a:cubicBezTo>
                  <a:pt x="460715" y="3141030"/>
                  <a:pt x="458572" y="3143164"/>
                  <a:pt x="458572" y="3145793"/>
                </a:cubicBezTo>
                <a:lnTo>
                  <a:pt x="458572" y="3308984"/>
                </a:lnTo>
                <a:cubicBezTo>
                  <a:pt x="458572" y="3311613"/>
                  <a:pt x="460715" y="3313747"/>
                  <a:pt x="463335" y="3313747"/>
                </a:cubicBezTo>
                <a:lnTo>
                  <a:pt x="626536" y="3313747"/>
                </a:lnTo>
                <a:cubicBezTo>
                  <a:pt x="629155" y="3313747"/>
                  <a:pt x="631298" y="3311613"/>
                  <a:pt x="631298" y="3308984"/>
                </a:cubicBezTo>
                <a:lnTo>
                  <a:pt x="631298" y="3145793"/>
                </a:lnTo>
                <a:cubicBezTo>
                  <a:pt x="631298" y="3143164"/>
                  <a:pt x="629155" y="3141030"/>
                  <a:pt x="626536" y="3141030"/>
                </a:cubicBezTo>
                <a:close/>
                <a:moveTo>
                  <a:pt x="3306451" y="2998155"/>
                </a:moveTo>
                <a:cubicBezTo>
                  <a:pt x="3345914" y="2998155"/>
                  <a:pt x="3377889" y="3030140"/>
                  <a:pt x="3377889" y="3069593"/>
                </a:cubicBezTo>
                <a:lnTo>
                  <a:pt x="3377889" y="3404101"/>
                </a:lnTo>
                <a:cubicBezTo>
                  <a:pt x="3446907" y="3426799"/>
                  <a:pt x="3501524" y="3481425"/>
                  <a:pt x="3524222" y="3550443"/>
                </a:cubicBezTo>
                <a:lnTo>
                  <a:pt x="3700939" y="3550443"/>
                </a:lnTo>
                <a:cubicBezTo>
                  <a:pt x="3740401" y="3550443"/>
                  <a:pt x="3772377" y="3582428"/>
                  <a:pt x="3772377" y="3621881"/>
                </a:cubicBezTo>
                <a:cubicBezTo>
                  <a:pt x="3772377" y="3661333"/>
                  <a:pt x="3740401" y="3693318"/>
                  <a:pt x="3700939" y="3693318"/>
                </a:cubicBezTo>
                <a:lnTo>
                  <a:pt x="3524222" y="3693318"/>
                </a:lnTo>
                <a:cubicBezTo>
                  <a:pt x="3494132" y="3784834"/>
                  <a:pt x="3407912" y="3851119"/>
                  <a:pt x="3306451" y="3851119"/>
                </a:cubicBezTo>
                <a:cubicBezTo>
                  <a:pt x="3180055" y="3851119"/>
                  <a:pt x="3077223" y="3748287"/>
                  <a:pt x="3077223" y="3621881"/>
                </a:cubicBezTo>
                <a:cubicBezTo>
                  <a:pt x="3077223" y="3520420"/>
                  <a:pt x="3143498" y="3434200"/>
                  <a:pt x="3235014" y="3404101"/>
                </a:cubicBezTo>
                <a:lnTo>
                  <a:pt x="3235014" y="3069593"/>
                </a:lnTo>
                <a:cubicBezTo>
                  <a:pt x="3235014" y="3030140"/>
                  <a:pt x="3266990" y="2998155"/>
                  <a:pt x="3306451" y="2998155"/>
                </a:cubicBezTo>
                <a:close/>
                <a:moveTo>
                  <a:pt x="1725721" y="2998155"/>
                </a:moveTo>
                <a:lnTo>
                  <a:pt x="1888912" y="2998155"/>
                </a:lnTo>
                <a:cubicBezTo>
                  <a:pt x="1970323" y="2998155"/>
                  <a:pt x="2036550" y="3064382"/>
                  <a:pt x="2036550" y="3145793"/>
                </a:cubicBezTo>
                <a:lnTo>
                  <a:pt x="2036550" y="3308984"/>
                </a:lnTo>
                <a:cubicBezTo>
                  <a:pt x="2036550" y="3390394"/>
                  <a:pt x="1970323" y="3456622"/>
                  <a:pt x="1888912" y="3456622"/>
                </a:cubicBezTo>
                <a:lnTo>
                  <a:pt x="1725721" y="3456622"/>
                </a:lnTo>
                <a:cubicBezTo>
                  <a:pt x="1644310" y="3456622"/>
                  <a:pt x="1578083" y="3390394"/>
                  <a:pt x="1578083" y="3308984"/>
                </a:cubicBezTo>
                <a:lnTo>
                  <a:pt x="1578083" y="3145793"/>
                </a:lnTo>
                <a:cubicBezTo>
                  <a:pt x="1578083" y="3064382"/>
                  <a:pt x="1644310" y="2998155"/>
                  <a:pt x="1725721" y="2998155"/>
                </a:cubicBezTo>
                <a:close/>
                <a:moveTo>
                  <a:pt x="1094538" y="2998155"/>
                </a:moveTo>
                <a:lnTo>
                  <a:pt x="1257729" y="2998155"/>
                </a:lnTo>
                <a:cubicBezTo>
                  <a:pt x="1339139" y="2998155"/>
                  <a:pt x="1405367" y="3064382"/>
                  <a:pt x="1405367" y="3145793"/>
                </a:cubicBezTo>
                <a:lnTo>
                  <a:pt x="1405367" y="3308984"/>
                </a:lnTo>
                <a:cubicBezTo>
                  <a:pt x="1405367" y="3390394"/>
                  <a:pt x="1339139" y="3456622"/>
                  <a:pt x="1257729" y="3456622"/>
                </a:cubicBezTo>
                <a:lnTo>
                  <a:pt x="1094538" y="3456622"/>
                </a:lnTo>
                <a:cubicBezTo>
                  <a:pt x="1013127" y="3456622"/>
                  <a:pt x="946900" y="3390394"/>
                  <a:pt x="946900" y="3308984"/>
                </a:cubicBezTo>
                <a:lnTo>
                  <a:pt x="946900" y="3145793"/>
                </a:lnTo>
                <a:cubicBezTo>
                  <a:pt x="946900" y="3064382"/>
                  <a:pt x="1013127" y="2998155"/>
                  <a:pt x="1094538" y="2998155"/>
                </a:cubicBezTo>
                <a:close/>
                <a:moveTo>
                  <a:pt x="463335" y="2998155"/>
                </a:moveTo>
                <a:lnTo>
                  <a:pt x="626536" y="2998155"/>
                </a:lnTo>
                <a:cubicBezTo>
                  <a:pt x="707946" y="2998155"/>
                  <a:pt x="774173" y="3064382"/>
                  <a:pt x="774173" y="3145793"/>
                </a:cubicBezTo>
                <a:lnTo>
                  <a:pt x="774173" y="3308984"/>
                </a:lnTo>
                <a:cubicBezTo>
                  <a:pt x="774173" y="3390394"/>
                  <a:pt x="707946" y="3456622"/>
                  <a:pt x="626536" y="3456622"/>
                </a:cubicBezTo>
                <a:lnTo>
                  <a:pt x="463335" y="3456622"/>
                </a:lnTo>
                <a:cubicBezTo>
                  <a:pt x="381924" y="3456622"/>
                  <a:pt x="315697" y="3390394"/>
                  <a:pt x="315697" y="3308984"/>
                </a:cubicBezTo>
                <a:lnTo>
                  <a:pt x="315697" y="3145793"/>
                </a:lnTo>
                <a:cubicBezTo>
                  <a:pt x="315697" y="3064382"/>
                  <a:pt x="381924" y="2998155"/>
                  <a:pt x="463335" y="2998155"/>
                </a:cubicBezTo>
                <a:close/>
                <a:moveTo>
                  <a:pt x="3306442" y="2825429"/>
                </a:moveTo>
                <a:cubicBezTo>
                  <a:pt x="2867283" y="2825429"/>
                  <a:pt x="2510000" y="3182712"/>
                  <a:pt x="2510000" y="3621881"/>
                </a:cubicBezTo>
                <a:cubicBezTo>
                  <a:pt x="2510000" y="4061050"/>
                  <a:pt x="2867273" y="4418333"/>
                  <a:pt x="3306442" y="4418333"/>
                </a:cubicBezTo>
                <a:cubicBezTo>
                  <a:pt x="3745612" y="4418333"/>
                  <a:pt x="4102894" y="4061050"/>
                  <a:pt x="4102894" y="3621881"/>
                </a:cubicBezTo>
                <a:cubicBezTo>
                  <a:pt x="4102894" y="3182712"/>
                  <a:pt x="3745602" y="2825429"/>
                  <a:pt x="3306442" y="2825429"/>
                </a:cubicBezTo>
                <a:close/>
                <a:moveTo>
                  <a:pt x="3306442" y="2682554"/>
                </a:moveTo>
                <a:cubicBezTo>
                  <a:pt x="3824393" y="2682554"/>
                  <a:pt x="4245769" y="3103931"/>
                  <a:pt x="4245769" y="3621881"/>
                </a:cubicBezTo>
                <a:cubicBezTo>
                  <a:pt x="4245769" y="4139831"/>
                  <a:pt x="3824393" y="4561208"/>
                  <a:pt x="3306442" y="4561208"/>
                </a:cubicBezTo>
                <a:cubicBezTo>
                  <a:pt x="2788501" y="4561208"/>
                  <a:pt x="2367125" y="4139831"/>
                  <a:pt x="2367125" y="3621881"/>
                </a:cubicBezTo>
                <a:cubicBezTo>
                  <a:pt x="2367125" y="3103931"/>
                  <a:pt x="2788501" y="2682554"/>
                  <a:pt x="3306442" y="2682554"/>
                </a:cubicBezTo>
                <a:close/>
                <a:moveTo>
                  <a:pt x="3306442" y="2509837"/>
                </a:moveTo>
                <a:cubicBezTo>
                  <a:pt x="2693261" y="2509837"/>
                  <a:pt x="2194398" y="3008699"/>
                  <a:pt x="2194398" y="3621880"/>
                </a:cubicBezTo>
                <a:cubicBezTo>
                  <a:pt x="2194398" y="4235062"/>
                  <a:pt x="2693261" y="4733924"/>
                  <a:pt x="3306442" y="4733924"/>
                </a:cubicBezTo>
                <a:cubicBezTo>
                  <a:pt x="3919623" y="4733924"/>
                  <a:pt x="4418486" y="4235062"/>
                  <a:pt x="4418486" y="3621880"/>
                </a:cubicBezTo>
                <a:cubicBezTo>
                  <a:pt x="4418486" y="3008699"/>
                  <a:pt x="3919623" y="2509837"/>
                  <a:pt x="3306442" y="2509837"/>
                </a:cubicBezTo>
                <a:close/>
                <a:moveTo>
                  <a:pt x="2359609" y="2509837"/>
                </a:moveTo>
                <a:cubicBezTo>
                  <a:pt x="2355504" y="2509837"/>
                  <a:pt x="2352151" y="2513180"/>
                  <a:pt x="2352151" y="2517295"/>
                </a:cubicBezTo>
                <a:lnTo>
                  <a:pt x="2352142" y="2517295"/>
                </a:lnTo>
                <a:lnTo>
                  <a:pt x="2352142" y="2675095"/>
                </a:lnTo>
                <a:cubicBezTo>
                  <a:pt x="2352142" y="2679201"/>
                  <a:pt x="2355485" y="2682553"/>
                  <a:pt x="2359600" y="2682553"/>
                </a:cubicBezTo>
                <a:lnTo>
                  <a:pt x="2475262" y="2682553"/>
                </a:lnTo>
                <a:cubicBezTo>
                  <a:pt x="2491435" y="2668228"/>
                  <a:pt x="2507961" y="2654312"/>
                  <a:pt x="2524859" y="2640825"/>
                </a:cubicBezTo>
                <a:lnTo>
                  <a:pt x="2524859" y="2517295"/>
                </a:lnTo>
                <a:cubicBezTo>
                  <a:pt x="2524859" y="2513189"/>
                  <a:pt x="2521515" y="2509837"/>
                  <a:pt x="2517400" y="2509837"/>
                </a:cubicBezTo>
                <a:close/>
                <a:moveTo>
                  <a:pt x="1725721" y="2509837"/>
                </a:moveTo>
                <a:cubicBezTo>
                  <a:pt x="1723101" y="2509837"/>
                  <a:pt x="1720958" y="2511971"/>
                  <a:pt x="1720958" y="2514600"/>
                </a:cubicBezTo>
                <a:lnTo>
                  <a:pt x="1720958" y="2677791"/>
                </a:lnTo>
                <a:cubicBezTo>
                  <a:pt x="1720958" y="2680420"/>
                  <a:pt x="1723101" y="2682554"/>
                  <a:pt x="1725721" y="2682554"/>
                </a:cubicBezTo>
                <a:lnTo>
                  <a:pt x="1888912" y="2682554"/>
                </a:lnTo>
                <a:cubicBezTo>
                  <a:pt x="1891532" y="2682554"/>
                  <a:pt x="1893675" y="2680420"/>
                  <a:pt x="1893675" y="2677791"/>
                </a:cubicBezTo>
                <a:lnTo>
                  <a:pt x="1893675" y="2514600"/>
                </a:lnTo>
                <a:cubicBezTo>
                  <a:pt x="1893675" y="2511971"/>
                  <a:pt x="1891532" y="2509837"/>
                  <a:pt x="1888912" y="2509837"/>
                </a:cubicBezTo>
                <a:close/>
                <a:moveTo>
                  <a:pt x="1094538" y="2509837"/>
                </a:moveTo>
                <a:cubicBezTo>
                  <a:pt x="1091918" y="2509837"/>
                  <a:pt x="1089775" y="2511971"/>
                  <a:pt x="1089775" y="2514600"/>
                </a:cubicBezTo>
                <a:lnTo>
                  <a:pt x="1089775" y="2677791"/>
                </a:lnTo>
                <a:cubicBezTo>
                  <a:pt x="1089775" y="2680420"/>
                  <a:pt x="1091918" y="2682554"/>
                  <a:pt x="1094538" y="2682554"/>
                </a:cubicBezTo>
                <a:lnTo>
                  <a:pt x="1257729" y="2682554"/>
                </a:lnTo>
                <a:cubicBezTo>
                  <a:pt x="1260349" y="2682554"/>
                  <a:pt x="1262492" y="2680420"/>
                  <a:pt x="1262492" y="2677791"/>
                </a:cubicBezTo>
                <a:lnTo>
                  <a:pt x="1262492" y="2514600"/>
                </a:lnTo>
                <a:cubicBezTo>
                  <a:pt x="1262492" y="2511971"/>
                  <a:pt x="1260349" y="2509837"/>
                  <a:pt x="1257729" y="2509837"/>
                </a:cubicBezTo>
                <a:close/>
                <a:moveTo>
                  <a:pt x="463335" y="2509837"/>
                </a:moveTo>
                <a:cubicBezTo>
                  <a:pt x="460715" y="2509837"/>
                  <a:pt x="458572" y="2511971"/>
                  <a:pt x="458572" y="2514600"/>
                </a:cubicBezTo>
                <a:lnTo>
                  <a:pt x="458572" y="2677791"/>
                </a:lnTo>
                <a:cubicBezTo>
                  <a:pt x="458572" y="2680420"/>
                  <a:pt x="460715" y="2682554"/>
                  <a:pt x="463335" y="2682554"/>
                </a:cubicBezTo>
                <a:lnTo>
                  <a:pt x="626536" y="2682554"/>
                </a:lnTo>
                <a:cubicBezTo>
                  <a:pt x="629155" y="2682554"/>
                  <a:pt x="631298" y="2680420"/>
                  <a:pt x="631298" y="2677791"/>
                </a:cubicBezTo>
                <a:lnTo>
                  <a:pt x="631298" y="2514600"/>
                </a:lnTo>
                <a:cubicBezTo>
                  <a:pt x="631298" y="2511971"/>
                  <a:pt x="629155" y="2509837"/>
                  <a:pt x="626536" y="2509837"/>
                </a:cubicBezTo>
                <a:close/>
                <a:moveTo>
                  <a:pt x="1725721" y="2366962"/>
                </a:moveTo>
                <a:lnTo>
                  <a:pt x="1888912" y="2366962"/>
                </a:lnTo>
                <a:cubicBezTo>
                  <a:pt x="1970323" y="2366962"/>
                  <a:pt x="2036550" y="2433189"/>
                  <a:pt x="2036550" y="2514600"/>
                </a:cubicBezTo>
                <a:lnTo>
                  <a:pt x="2036550" y="2677791"/>
                </a:lnTo>
                <a:cubicBezTo>
                  <a:pt x="2036550" y="2759201"/>
                  <a:pt x="1970323" y="2825429"/>
                  <a:pt x="1888912" y="2825429"/>
                </a:cubicBezTo>
                <a:lnTo>
                  <a:pt x="1725721" y="2825429"/>
                </a:lnTo>
                <a:cubicBezTo>
                  <a:pt x="1644310" y="2825429"/>
                  <a:pt x="1578083" y="2759201"/>
                  <a:pt x="1578083" y="2677791"/>
                </a:cubicBezTo>
                <a:lnTo>
                  <a:pt x="1578083" y="2514600"/>
                </a:lnTo>
                <a:cubicBezTo>
                  <a:pt x="1578083" y="2433189"/>
                  <a:pt x="1644310" y="2366962"/>
                  <a:pt x="1725721" y="2366962"/>
                </a:cubicBezTo>
                <a:close/>
                <a:moveTo>
                  <a:pt x="1094538" y="2366962"/>
                </a:moveTo>
                <a:lnTo>
                  <a:pt x="1257729" y="2366962"/>
                </a:lnTo>
                <a:cubicBezTo>
                  <a:pt x="1339139" y="2366962"/>
                  <a:pt x="1405367" y="2433189"/>
                  <a:pt x="1405367" y="2514600"/>
                </a:cubicBezTo>
                <a:lnTo>
                  <a:pt x="1405367" y="2677791"/>
                </a:lnTo>
                <a:cubicBezTo>
                  <a:pt x="1405367" y="2759201"/>
                  <a:pt x="1339139" y="2825429"/>
                  <a:pt x="1257729" y="2825429"/>
                </a:cubicBezTo>
                <a:lnTo>
                  <a:pt x="1094538" y="2825429"/>
                </a:lnTo>
                <a:cubicBezTo>
                  <a:pt x="1013127" y="2825429"/>
                  <a:pt x="946900" y="2759201"/>
                  <a:pt x="946900" y="2677791"/>
                </a:cubicBezTo>
                <a:lnTo>
                  <a:pt x="946900" y="2514600"/>
                </a:lnTo>
                <a:cubicBezTo>
                  <a:pt x="946900" y="2433189"/>
                  <a:pt x="1013127" y="2366962"/>
                  <a:pt x="1094538" y="2366962"/>
                </a:cubicBezTo>
                <a:close/>
                <a:moveTo>
                  <a:pt x="463335" y="2366962"/>
                </a:moveTo>
                <a:lnTo>
                  <a:pt x="626536" y="2366962"/>
                </a:lnTo>
                <a:cubicBezTo>
                  <a:pt x="707946" y="2366962"/>
                  <a:pt x="774173" y="2433189"/>
                  <a:pt x="774173" y="2514600"/>
                </a:cubicBezTo>
                <a:lnTo>
                  <a:pt x="774173" y="2677791"/>
                </a:lnTo>
                <a:cubicBezTo>
                  <a:pt x="774173" y="2759201"/>
                  <a:pt x="707946" y="2825429"/>
                  <a:pt x="626536" y="2825429"/>
                </a:cubicBezTo>
                <a:lnTo>
                  <a:pt x="463335" y="2825429"/>
                </a:lnTo>
                <a:cubicBezTo>
                  <a:pt x="381924" y="2825429"/>
                  <a:pt x="315697" y="2759201"/>
                  <a:pt x="315697" y="2677791"/>
                </a:cubicBezTo>
                <a:lnTo>
                  <a:pt x="315697" y="2514600"/>
                </a:lnTo>
                <a:cubicBezTo>
                  <a:pt x="315697" y="2433189"/>
                  <a:pt x="381924" y="2366962"/>
                  <a:pt x="463335" y="2366962"/>
                </a:cubicBezTo>
                <a:close/>
                <a:moveTo>
                  <a:pt x="3619187" y="1878653"/>
                </a:moveTo>
                <a:cubicBezTo>
                  <a:pt x="3616567" y="1878653"/>
                  <a:pt x="3614424" y="1880787"/>
                  <a:pt x="3614424" y="1883416"/>
                </a:cubicBezTo>
                <a:lnTo>
                  <a:pt x="3614424" y="2046607"/>
                </a:lnTo>
                <a:cubicBezTo>
                  <a:pt x="3614424" y="2049236"/>
                  <a:pt x="3616567" y="2051370"/>
                  <a:pt x="3619187" y="2051370"/>
                </a:cubicBezTo>
                <a:lnTo>
                  <a:pt x="3782378" y="2051370"/>
                </a:lnTo>
                <a:cubicBezTo>
                  <a:pt x="3784998" y="2051370"/>
                  <a:pt x="3787141" y="2049236"/>
                  <a:pt x="3787141" y="2046607"/>
                </a:cubicBezTo>
                <a:lnTo>
                  <a:pt x="3787141" y="1883416"/>
                </a:lnTo>
                <a:cubicBezTo>
                  <a:pt x="3787141" y="1880787"/>
                  <a:pt x="3784998" y="1878653"/>
                  <a:pt x="3782378" y="1878653"/>
                </a:cubicBezTo>
                <a:close/>
                <a:moveTo>
                  <a:pt x="2988003" y="1878653"/>
                </a:moveTo>
                <a:cubicBezTo>
                  <a:pt x="2985383" y="1878653"/>
                  <a:pt x="2983240" y="1880787"/>
                  <a:pt x="2983240" y="1883416"/>
                </a:cubicBezTo>
                <a:lnTo>
                  <a:pt x="2983240" y="2046607"/>
                </a:lnTo>
                <a:cubicBezTo>
                  <a:pt x="2983240" y="2049236"/>
                  <a:pt x="2985374" y="2051370"/>
                  <a:pt x="2988003" y="2051370"/>
                </a:cubicBezTo>
                <a:lnTo>
                  <a:pt x="3151194" y="2051370"/>
                </a:lnTo>
                <a:cubicBezTo>
                  <a:pt x="3153814" y="2051370"/>
                  <a:pt x="3155957" y="2049236"/>
                  <a:pt x="3155957" y="2046607"/>
                </a:cubicBezTo>
                <a:lnTo>
                  <a:pt x="3155957" y="1883416"/>
                </a:lnTo>
                <a:cubicBezTo>
                  <a:pt x="3155957" y="1880787"/>
                  <a:pt x="3153814" y="1878653"/>
                  <a:pt x="3151194" y="1878653"/>
                </a:cubicBezTo>
                <a:close/>
                <a:moveTo>
                  <a:pt x="2356914" y="1878653"/>
                </a:moveTo>
                <a:cubicBezTo>
                  <a:pt x="2354295" y="1878653"/>
                  <a:pt x="2352152" y="1880787"/>
                  <a:pt x="2352152" y="1883416"/>
                </a:cubicBezTo>
                <a:lnTo>
                  <a:pt x="2352152" y="2046607"/>
                </a:lnTo>
                <a:cubicBezTo>
                  <a:pt x="2352152" y="2049236"/>
                  <a:pt x="2354295" y="2051370"/>
                  <a:pt x="2356914" y="2051370"/>
                </a:cubicBezTo>
                <a:lnTo>
                  <a:pt x="2520106" y="2051370"/>
                </a:lnTo>
                <a:cubicBezTo>
                  <a:pt x="2522726" y="2051370"/>
                  <a:pt x="2524869" y="2049236"/>
                  <a:pt x="2524869" y="2046607"/>
                </a:cubicBezTo>
                <a:lnTo>
                  <a:pt x="2524869" y="1883416"/>
                </a:lnTo>
                <a:cubicBezTo>
                  <a:pt x="2524869" y="1880787"/>
                  <a:pt x="2522726" y="1878653"/>
                  <a:pt x="2520106" y="1878653"/>
                </a:cubicBezTo>
                <a:close/>
                <a:moveTo>
                  <a:pt x="1725721" y="1878644"/>
                </a:moveTo>
                <a:cubicBezTo>
                  <a:pt x="1723101" y="1878644"/>
                  <a:pt x="1720958" y="1880777"/>
                  <a:pt x="1720958" y="1883406"/>
                </a:cubicBezTo>
                <a:lnTo>
                  <a:pt x="1720958" y="2046598"/>
                </a:lnTo>
                <a:cubicBezTo>
                  <a:pt x="1720958" y="2049227"/>
                  <a:pt x="1723101" y="2051360"/>
                  <a:pt x="1725721" y="2051360"/>
                </a:cubicBezTo>
                <a:lnTo>
                  <a:pt x="1888912" y="2051360"/>
                </a:lnTo>
                <a:cubicBezTo>
                  <a:pt x="1891532" y="2051360"/>
                  <a:pt x="1893675" y="2049227"/>
                  <a:pt x="1893675" y="2046598"/>
                </a:cubicBezTo>
                <a:lnTo>
                  <a:pt x="1893675" y="1883406"/>
                </a:lnTo>
                <a:cubicBezTo>
                  <a:pt x="1893675" y="1880777"/>
                  <a:pt x="1891532" y="1878644"/>
                  <a:pt x="1888912" y="1878644"/>
                </a:cubicBezTo>
                <a:close/>
                <a:moveTo>
                  <a:pt x="1094538" y="1878644"/>
                </a:moveTo>
                <a:cubicBezTo>
                  <a:pt x="1091918" y="1878644"/>
                  <a:pt x="1089775" y="1880777"/>
                  <a:pt x="1089775" y="1883406"/>
                </a:cubicBezTo>
                <a:lnTo>
                  <a:pt x="1089775" y="2046598"/>
                </a:lnTo>
                <a:cubicBezTo>
                  <a:pt x="1089775" y="2049227"/>
                  <a:pt x="1091918" y="2051360"/>
                  <a:pt x="1094538" y="2051360"/>
                </a:cubicBezTo>
                <a:lnTo>
                  <a:pt x="1257729" y="2051360"/>
                </a:lnTo>
                <a:cubicBezTo>
                  <a:pt x="1260349" y="2051360"/>
                  <a:pt x="1262492" y="2049227"/>
                  <a:pt x="1262492" y="2046598"/>
                </a:cubicBezTo>
                <a:lnTo>
                  <a:pt x="1262492" y="1883406"/>
                </a:lnTo>
                <a:cubicBezTo>
                  <a:pt x="1262492" y="1880777"/>
                  <a:pt x="1260349" y="1878644"/>
                  <a:pt x="1257729" y="1878644"/>
                </a:cubicBezTo>
                <a:close/>
                <a:moveTo>
                  <a:pt x="463335" y="1878644"/>
                </a:moveTo>
                <a:cubicBezTo>
                  <a:pt x="460715" y="1878644"/>
                  <a:pt x="458572" y="1880777"/>
                  <a:pt x="458572" y="1883406"/>
                </a:cubicBezTo>
                <a:lnTo>
                  <a:pt x="458572" y="2046598"/>
                </a:lnTo>
                <a:cubicBezTo>
                  <a:pt x="458572" y="2049227"/>
                  <a:pt x="460715" y="2051360"/>
                  <a:pt x="463335" y="2051360"/>
                </a:cubicBezTo>
                <a:lnTo>
                  <a:pt x="626536" y="2051360"/>
                </a:lnTo>
                <a:cubicBezTo>
                  <a:pt x="629155" y="2051360"/>
                  <a:pt x="631298" y="2049227"/>
                  <a:pt x="631298" y="2046598"/>
                </a:cubicBezTo>
                <a:lnTo>
                  <a:pt x="631298" y="1883406"/>
                </a:lnTo>
                <a:cubicBezTo>
                  <a:pt x="631298" y="1880777"/>
                  <a:pt x="629155" y="1878644"/>
                  <a:pt x="626536" y="1878644"/>
                </a:cubicBezTo>
                <a:close/>
                <a:moveTo>
                  <a:pt x="3619187" y="1735778"/>
                </a:moveTo>
                <a:lnTo>
                  <a:pt x="3782378" y="1735778"/>
                </a:lnTo>
                <a:cubicBezTo>
                  <a:pt x="3863788" y="1735778"/>
                  <a:pt x="3930016" y="1802005"/>
                  <a:pt x="3930016" y="1883416"/>
                </a:cubicBezTo>
                <a:lnTo>
                  <a:pt x="3930016" y="2046607"/>
                </a:lnTo>
                <a:cubicBezTo>
                  <a:pt x="3930016" y="2128018"/>
                  <a:pt x="3863788" y="2194245"/>
                  <a:pt x="3782378" y="2194245"/>
                </a:cubicBezTo>
                <a:lnTo>
                  <a:pt x="3619187" y="2194245"/>
                </a:lnTo>
                <a:cubicBezTo>
                  <a:pt x="3537776" y="2194245"/>
                  <a:pt x="3471549" y="2128018"/>
                  <a:pt x="3471549" y="2046607"/>
                </a:cubicBezTo>
                <a:lnTo>
                  <a:pt x="3471549" y="1883416"/>
                </a:lnTo>
                <a:cubicBezTo>
                  <a:pt x="3471549" y="1802005"/>
                  <a:pt x="3537776" y="1735778"/>
                  <a:pt x="3619187" y="1735778"/>
                </a:cubicBezTo>
                <a:close/>
                <a:moveTo>
                  <a:pt x="2988003" y="1735778"/>
                </a:moveTo>
                <a:lnTo>
                  <a:pt x="3151194" y="1735778"/>
                </a:lnTo>
                <a:cubicBezTo>
                  <a:pt x="3232604" y="1735778"/>
                  <a:pt x="3298832" y="1802005"/>
                  <a:pt x="3298832" y="1883416"/>
                </a:cubicBezTo>
                <a:lnTo>
                  <a:pt x="3298832" y="2046607"/>
                </a:lnTo>
                <a:cubicBezTo>
                  <a:pt x="3298832" y="2128018"/>
                  <a:pt x="3232604" y="2194245"/>
                  <a:pt x="3151194" y="2194245"/>
                </a:cubicBezTo>
                <a:lnTo>
                  <a:pt x="2988003" y="2194245"/>
                </a:lnTo>
                <a:cubicBezTo>
                  <a:pt x="2906592" y="2194245"/>
                  <a:pt x="2840365" y="2128018"/>
                  <a:pt x="2840365" y="2046607"/>
                </a:cubicBezTo>
                <a:lnTo>
                  <a:pt x="2840365" y="1883416"/>
                </a:lnTo>
                <a:cubicBezTo>
                  <a:pt x="2840365" y="1802005"/>
                  <a:pt x="2906592" y="1735778"/>
                  <a:pt x="2988003" y="1735778"/>
                </a:cubicBezTo>
                <a:close/>
                <a:moveTo>
                  <a:pt x="2356914" y="1735778"/>
                </a:moveTo>
                <a:lnTo>
                  <a:pt x="2520106" y="1735778"/>
                </a:lnTo>
                <a:cubicBezTo>
                  <a:pt x="2601517" y="1735778"/>
                  <a:pt x="2667744" y="1802005"/>
                  <a:pt x="2667744" y="1883416"/>
                </a:cubicBezTo>
                <a:lnTo>
                  <a:pt x="2667744" y="2046607"/>
                </a:lnTo>
                <a:cubicBezTo>
                  <a:pt x="2667744" y="2128018"/>
                  <a:pt x="2601517" y="2194245"/>
                  <a:pt x="2520106" y="2194245"/>
                </a:cubicBezTo>
                <a:lnTo>
                  <a:pt x="2356914" y="2194245"/>
                </a:lnTo>
                <a:cubicBezTo>
                  <a:pt x="2275504" y="2194245"/>
                  <a:pt x="2209277" y="2128018"/>
                  <a:pt x="2209277" y="2046607"/>
                </a:cubicBezTo>
                <a:lnTo>
                  <a:pt x="2209277" y="1883416"/>
                </a:lnTo>
                <a:cubicBezTo>
                  <a:pt x="2209277" y="1802005"/>
                  <a:pt x="2275504" y="1735778"/>
                  <a:pt x="2356914" y="1735778"/>
                </a:cubicBezTo>
                <a:close/>
                <a:moveTo>
                  <a:pt x="1725721" y="1735778"/>
                </a:moveTo>
                <a:lnTo>
                  <a:pt x="1888912" y="1735778"/>
                </a:lnTo>
                <a:cubicBezTo>
                  <a:pt x="1970323" y="1735778"/>
                  <a:pt x="2036550" y="1802005"/>
                  <a:pt x="2036550" y="1883416"/>
                </a:cubicBezTo>
                <a:lnTo>
                  <a:pt x="2036550" y="2046607"/>
                </a:lnTo>
                <a:cubicBezTo>
                  <a:pt x="2036550" y="2128018"/>
                  <a:pt x="1970323" y="2194245"/>
                  <a:pt x="1888912" y="2194245"/>
                </a:cubicBezTo>
                <a:lnTo>
                  <a:pt x="1725721" y="2194245"/>
                </a:lnTo>
                <a:cubicBezTo>
                  <a:pt x="1644310" y="2194245"/>
                  <a:pt x="1578083" y="2128018"/>
                  <a:pt x="1578083" y="2046607"/>
                </a:cubicBezTo>
                <a:lnTo>
                  <a:pt x="1578083" y="1883416"/>
                </a:lnTo>
                <a:cubicBezTo>
                  <a:pt x="1578083" y="1802005"/>
                  <a:pt x="1644310" y="1735778"/>
                  <a:pt x="1725721" y="1735778"/>
                </a:cubicBezTo>
                <a:close/>
                <a:moveTo>
                  <a:pt x="1094538" y="1735778"/>
                </a:moveTo>
                <a:lnTo>
                  <a:pt x="1257729" y="1735778"/>
                </a:lnTo>
                <a:cubicBezTo>
                  <a:pt x="1339139" y="1735778"/>
                  <a:pt x="1405367" y="1802005"/>
                  <a:pt x="1405367" y="1883416"/>
                </a:cubicBezTo>
                <a:lnTo>
                  <a:pt x="1405367" y="2046607"/>
                </a:lnTo>
                <a:cubicBezTo>
                  <a:pt x="1405367" y="2128018"/>
                  <a:pt x="1339139" y="2194245"/>
                  <a:pt x="1257729" y="2194245"/>
                </a:cubicBezTo>
                <a:lnTo>
                  <a:pt x="1094538" y="2194245"/>
                </a:lnTo>
                <a:cubicBezTo>
                  <a:pt x="1013127" y="2194245"/>
                  <a:pt x="946900" y="2128018"/>
                  <a:pt x="946900" y="2046607"/>
                </a:cubicBezTo>
                <a:lnTo>
                  <a:pt x="946900" y="1883416"/>
                </a:lnTo>
                <a:cubicBezTo>
                  <a:pt x="946900" y="1802005"/>
                  <a:pt x="1013127" y="1735778"/>
                  <a:pt x="1094538" y="1735778"/>
                </a:cubicBezTo>
                <a:close/>
                <a:moveTo>
                  <a:pt x="463335" y="1735778"/>
                </a:moveTo>
                <a:lnTo>
                  <a:pt x="626536" y="1735778"/>
                </a:lnTo>
                <a:cubicBezTo>
                  <a:pt x="707946" y="1735778"/>
                  <a:pt x="774173" y="1802005"/>
                  <a:pt x="774173" y="1883416"/>
                </a:cubicBezTo>
                <a:lnTo>
                  <a:pt x="774173" y="2046607"/>
                </a:lnTo>
                <a:cubicBezTo>
                  <a:pt x="774173" y="2128018"/>
                  <a:pt x="707946" y="2194245"/>
                  <a:pt x="626536" y="2194245"/>
                </a:cubicBezTo>
                <a:lnTo>
                  <a:pt x="463335" y="2194245"/>
                </a:lnTo>
                <a:cubicBezTo>
                  <a:pt x="381924" y="2194245"/>
                  <a:pt x="315697" y="2128018"/>
                  <a:pt x="315697" y="2046607"/>
                </a:cubicBezTo>
                <a:lnTo>
                  <a:pt x="315697" y="1883416"/>
                </a:lnTo>
                <a:cubicBezTo>
                  <a:pt x="315697" y="1802005"/>
                  <a:pt x="381924" y="1735778"/>
                  <a:pt x="463335" y="1735778"/>
                </a:cubicBezTo>
                <a:close/>
                <a:moveTo>
                  <a:pt x="142885" y="1247460"/>
                </a:moveTo>
                <a:lnTo>
                  <a:pt x="142885" y="1420177"/>
                </a:lnTo>
                <a:lnTo>
                  <a:pt x="4103056" y="1420177"/>
                </a:lnTo>
                <a:lnTo>
                  <a:pt x="4103056" y="1247460"/>
                </a:lnTo>
                <a:close/>
                <a:moveTo>
                  <a:pt x="387029" y="458467"/>
                </a:moveTo>
                <a:cubicBezTo>
                  <a:pt x="252412" y="458467"/>
                  <a:pt x="142885" y="567995"/>
                  <a:pt x="142885" y="702621"/>
                </a:cubicBezTo>
                <a:lnTo>
                  <a:pt x="142885" y="1104576"/>
                </a:lnTo>
                <a:lnTo>
                  <a:pt x="4103046" y="1104576"/>
                </a:lnTo>
                <a:lnTo>
                  <a:pt x="4103046" y="702612"/>
                </a:lnTo>
                <a:cubicBezTo>
                  <a:pt x="4103046" y="567995"/>
                  <a:pt x="3993518" y="458467"/>
                  <a:pt x="3858892" y="458467"/>
                </a:cubicBezTo>
                <a:lnTo>
                  <a:pt x="3298927" y="458467"/>
                </a:lnTo>
                <a:lnTo>
                  <a:pt x="3298927" y="631184"/>
                </a:lnTo>
                <a:lnTo>
                  <a:pt x="3385290" y="631184"/>
                </a:lnTo>
                <a:cubicBezTo>
                  <a:pt x="3424752" y="631184"/>
                  <a:pt x="3456727" y="663169"/>
                  <a:pt x="3456727" y="702621"/>
                </a:cubicBezTo>
                <a:cubicBezTo>
                  <a:pt x="3456727" y="742074"/>
                  <a:pt x="3424752" y="774059"/>
                  <a:pt x="3385290" y="774059"/>
                </a:cubicBezTo>
                <a:lnTo>
                  <a:pt x="3274876" y="774059"/>
                </a:lnTo>
                <a:cubicBezTo>
                  <a:pt x="3232576" y="867032"/>
                  <a:pt x="3138859" y="931859"/>
                  <a:pt x="3030246" y="931859"/>
                </a:cubicBezTo>
                <a:cubicBezTo>
                  <a:pt x="2921632" y="931859"/>
                  <a:pt x="2827925" y="867023"/>
                  <a:pt x="2785615" y="774059"/>
                </a:cubicBezTo>
                <a:lnTo>
                  <a:pt x="2675201" y="774059"/>
                </a:lnTo>
                <a:cubicBezTo>
                  <a:pt x="2635739" y="774059"/>
                  <a:pt x="2603764" y="742074"/>
                  <a:pt x="2603764" y="702621"/>
                </a:cubicBezTo>
                <a:cubicBezTo>
                  <a:pt x="2603764" y="663169"/>
                  <a:pt x="2635739" y="631184"/>
                  <a:pt x="2675201" y="631184"/>
                </a:cubicBezTo>
                <a:lnTo>
                  <a:pt x="2761564" y="631184"/>
                </a:lnTo>
                <a:lnTo>
                  <a:pt x="2761564" y="458467"/>
                </a:lnTo>
                <a:lnTo>
                  <a:pt x="1484157" y="458467"/>
                </a:lnTo>
                <a:lnTo>
                  <a:pt x="1484157" y="631184"/>
                </a:lnTo>
                <a:lnTo>
                  <a:pt x="1570511" y="631184"/>
                </a:lnTo>
                <a:cubicBezTo>
                  <a:pt x="1609973" y="631184"/>
                  <a:pt x="1641948" y="663169"/>
                  <a:pt x="1641948" y="702621"/>
                </a:cubicBezTo>
                <a:cubicBezTo>
                  <a:pt x="1641948" y="742074"/>
                  <a:pt x="1609973" y="774059"/>
                  <a:pt x="1570511" y="774059"/>
                </a:cubicBezTo>
                <a:lnTo>
                  <a:pt x="1460106" y="774059"/>
                </a:lnTo>
                <a:cubicBezTo>
                  <a:pt x="1417806" y="867032"/>
                  <a:pt x="1324099" y="931859"/>
                  <a:pt x="1215476" y="931859"/>
                </a:cubicBezTo>
                <a:cubicBezTo>
                  <a:pt x="1106853" y="931859"/>
                  <a:pt x="1013146" y="867023"/>
                  <a:pt x="970836" y="774059"/>
                </a:cubicBezTo>
                <a:lnTo>
                  <a:pt x="860431" y="774059"/>
                </a:lnTo>
                <a:cubicBezTo>
                  <a:pt x="820969" y="774059"/>
                  <a:pt x="788994" y="742074"/>
                  <a:pt x="788994" y="702621"/>
                </a:cubicBezTo>
                <a:cubicBezTo>
                  <a:pt x="788994" y="663169"/>
                  <a:pt x="820969" y="631184"/>
                  <a:pt x="860431" y="631184"/>
                </a:cubicBezTo>
                <a:lnTo>
                  <a:pt x="946785" y="631184"/>
                </a:lnTo>
                <a:lnTo>
                  <a:pt x="946785" y="458467"/>
                </a:lnTo>
                <a:close/>
                <a:moveTo>
                  <a:pt x="3030246" y="142875"/>
                </a:moveTo>
                <a:cubicBezTo>
                  <a:pt x="2960875" y="142875"/>
                  <a:pt x="2904439" y="199311"/>
                  <a:pt x="2904439" y="268681"/>
                </a:cubicBezTo>
                <a:lnTo>
                  <a:pt x="2904439" y="663178"/>
                </a:lnTo>
                <a:cubicBezTo>
                  <a:pt x="2904439" y="732558"/>
                  <a:pt x="2960875" y="788994"/>
                  <a:pt x="3030246" y="788994"/>
                </a:cubicBezTo>
                <a:cubicBezTo>
                  <a:pt x="3099616" y="788994"/>
                  <a:pt x="3156052" y="732549"/>
                  <a:pt x="3156052" y="663178"/>
                </a:cubicBezTo>
                <a:lnTo>
                  <a:pt x="3156052" y="268681"/>
                </a:lnTo>
                <a:cubicBezTo>
                  <a:pt x="3156052" y="199311"/>
                  <a:pt x="3099616" y="142875"/>
                  <a:pt x="3030246" y="142875"/>
                </a:cubicBezTo>
                <a:close/>
                <a:moveTo>
                  <a:pt x="1215476" y="142875"/>
                </a:moveTo>
                <a:cubicBezTo>
                  <a:pt x="1146105" y="142875"/>
                  <a:pt x="1089660" y="199311"/>
                  <a:pt x="1089660" y="268681"/>
                </a:cubicBezTo>
                <a:lnTo>
                  <a:pt x="1089660" y="663178"/>
                </a:lnTo>
                <a:cubicBezTo>
                  <a:pt x="1089660" y="732558"/>
                  <a:pt x="1146105" y="788994"/>
                  <a:pt x="1215476" y="788994"/>
                </a:cubicBezTo>
                <a:cubicBezTo>
                  <a:pt x="1284846" y="788994"/>
                  <a:pt x="1341282" y="732549"/>
                  <a:pt x="1341282" y="663178"/>
                </a:cubicBezTo>
                <a:lnTo>
                  <a:pt x="1341282" y="268681"/>
                </a:lnTo>
                <a:cubicBezTo>
                  <a:pt x="1341282" y="199311"/>
                  <a:pt x="1284846" y="142875"/>
                  <a:pt x="1215476" y="142875"/>
                </a:cubicBezTo>
                <a:close/>
                <a:moveTo>
                  <a:pt x="1215476" y="0"/>
                </a:moveTo>
                <a:cubicBezTo>
                  <a:pt x="1363628" y="0"/>
                  <a:pt x="1484157" y="120529"/>
                  <a:pt x="1484157" y="268681"/>
                </a:cubicBezTo>
                <a:lnTo>
                  <a:pt x="1484157" y="315592"/>
                </a:lnTo>
                <a:lnTo>
                  <a:pt x="2761564" y="315592"/>
                </a:lnTo>
                <a:lnTo>
                  <a:pt x="2761564" y="268681"/>
                </a:lnTo>
                <a:cubicBezTo>
                  <a:pt x="2761564" y="120529"/>
                  <a:pt x="2882094" y="0"/>
                  <a:pt x="3030246" y="0"/>
                </a:cubicBezTo>
                <a:cubicBezTo>
                  <a:pt x="3178397" y="0"/>
                  <a:pt x="3298927" y="120529"/>
                  <a:pt x="3298927" y="268692"/>
                </a:cubicBezTo>
                <a:lnTo>
                  <a:pt x="3298927" y="315601"/>
                </a:lnTo>
                <a:lnTo>
                  <a:pt x="3858892" y="315601"/>
                </a:lnTo>
                <a:cubicBezTo>
                  <a:pt x="4072309" y="315601"/>
                  <a:pt x="4245921" y="489214"/>
                  <a:pt x="4245921" y="702621"/>
                </a:cubicBezTo>
                <a:lnTo>
                  <a:pt x="4245921" y="2790881"/>
                </a:lnTo>
                <a:cubicBezTo>
                  <a:pt x="4442079" y="3012385"/>
                  <a:pt x="4561361" y="3303441"/>
                  <a:pt x="4561361" y="3621880"/>
                </a:cubicBezTo>
                <a:cubicBezTo>
                  <a:pt x="4561361" y="4313843"/>
                  <a:pt x="3998405" y="4876799"/>
                  <a:pt x="3306442" y="4876799"/>
                </a:cubicBezTo>
                <a:cubicBezTo>
                  <a:pt x="2779043" y="4876799"/>
                  <a:pt x="2326643" y="4549739"/>
                  <a:pt x="2141258" y="4087815"/>
                </a:cubicBezTo>
                <a:lnTo>
                  <a:pt x="845601" y="4087815"/>
                </a:lnTo>
                <a:cubicBezTo>
                  <a:pt x="806139" y="4087815"/>
                  <a:pt x="774163" y="4055830"/>
                  <a:pt x="774163" y="4016377"/>
                </a:cubicBezTo>
                <a:cubicBezTo>
                  <a:pt x="774163" y="3976925"/>
                  <a:pt x="806139" y="3944940"/>
                  <a:pt x="845601" y="3944940"/>
                </a:cubicBezTo>
                <a:lnTo>
                  <a:pt x="2093757" y="3944940"/>
                </a:lnTo>
                <a:cubicBezTo>
                  <a:pt x="2078793" y="3888800"/>
                  <a:pt x="2067630" y="3831135"/>
                  <a:pt x="2060562" y="3772213"/>
                </a:cubicBezTo>
                <a:lnTo>
                  <a:pt x="387029" y="3772213"/>
                </a:lnTo>
                <a:cubicBezTo>
                  <a:pt x="294523" y="3772213"/>
                  <a:pt x="209521" y="3739552"/>
                  <a:pt x="142875" y="3685212"/>
                </a:cubicBezTo>
                <a:lnTo>
                  <a:pt x="142875" y="3700785"/>
                </a:lnTo>
                <a:cubicBezTo>
                  <a:pt x="142875" y="3835402"/>
                  <a:pt x="252403" y="3944930"/>
                  <a:pt x="387029" y="3944930"/>
                </a:cubicBezTo>
                <a:lnTo>
                  <a:pt x="559860" y="3944930"/>
                </a:lnTo>
                <a:cubicBezTo>
                  <a:pt x="599323" y="3944930"/>
                  <a:pt x="631298" y="3976915"/>
                  <a:pt x="631298" y="4016368"/>
                </a:cubicBezTo>
                <a:cubicBezTo>
                  <a:pt x="631298" y="4055820"/>
                  <a:pt x="599323" y="4087805"/>
                  <a:pt x="559860" y="4087805"/>
                </a:cubicBezTo>
                <a:lnTo>
                  <a:pt x="387029" y="4087805"/>
                </a:lnTo>
                <a:cubicBezTo>
                  <a:pt x="173612" y="4087805"/>
                  <a:pt x="0" y="3914193"/>
                  <a:pt x="0" y="3700785"/>
                </a:cubicBezTo>
                <a:lnTo>
                  <a:pt x="0" y="2107882"/>
                </a:lnTo>
                <a:cubicBezTo>
                  <a:pt x="0" y="2068429"/>
                  <a:pt x="31975" y="2036444"/>
                  <a:pt x="71438" y="2036444"/>
                </a:cubicBezTo>
                <a:cubicBezTo>
                  <a:pt x="110900" y="2036444"/>
                  <a:pt x="142875" y="2068429"/>
                  <a:pt x="142875" y="2107882"/>
                </a:cubicBezTo>
                <a:lnTo>
                  <a:pt x="142875" y="3385194"/>
                </a:lnTo>
                <a:cubicBezTo>
                  <a:pt x="142875" y="3519810"/>
                  <a:pt x="252403" y="3629338"/>
                  <a:pt x="387029" y="3629338"/>
                </a:cubicBezTo>
                <a:lnTo>
                  <a:pt x="2051618" y="3629338"/>
                </a:lnTo>
                <a:cubicBezTo>
                  <a:pt x="2051599" y="3626843"/>
                  <a:pt x="2051523" y="3624376"/>
                  <a:pt x="2051523" y="3621880"/>
                </a:cubicBezTo>
                <a:cubicBezTo>
                  <a:pt x="2051523" y="3319004"/>
                  <a:pt x="2159375" y="3040855"/>
                  <a:pt x="2338692" y="2823800"/>
                </a:cubicBezTo>
                <a:cubicBezTo>
                  <a:pt x="2265693" y="2813570"/>
                  <a:pt x="2209276" y="2750876"/>
                  <a:pt x="2209276" y="2675095"/>
                </a:cubicBezTo>
                <a:lnTo>
                  <a:pt x="2209276" y="2517295"/>
                </a:lnTo>
                <a:cubicBezTo>
                  <a:pt x="2209276" y="2434399"/>
                  <a:pt x="2276713" y="2366962"/>
                  <a:pt x="2359609" y="2366962"/>
                </a:cubicBezTo>
                <a:lnTo>
                  <a:pt x="2517400" y="2366962"/>
                </a:lnTo>
                <a:cubicBezTo>
                  <a:pt x="2600296" y="2366962"/>
                  <a:pt x="2667734" y="2434399"/>
                  <a:pt x="2667734" y="2517295"/>
                </a:cubicBezTo>
                <a:lnTo>
                  <a:pt x="2667734" y="2542079"/>
                </a:lnTo>
                <a:cubicBezTo>
                  <a:pt x="2854957" y="2430913"/>
                  <a:pt x="3073356" y="2366962"/>
                  <a:pt x="3306442" y="2366962"/>
                </a:cubicBezTo>
                <a:cubicBezTo>
                  <a:pt x="3608632" y="2366962"/>
                  <a:pt x="3886210" y="2474346"/>
                  <a:pt x="4103046" y="2652931"/>
                </a:cubicBezTo>
                <a:lnTo>
                  <a:pt x="4103046" y="1563052"/>
                </a:lnTo>
                <a:lnTo>
                  <a:pt x="142875" y="1563052"/>
                </a:lnTo>
                <a:lnTo>
                  <a:pt x="142875" y="1822132"/>
                </a:lnTo>
                <a:cubicBezTo>
                  <a:pt x="142875" y="1861584"/>
                  <a:pt x="110900" y="1893569"/>
                  <a:pt x="71438" y="1893569"/>
                </a:cubicBezTo>
                <a:cubicBezTo>
                  <a:pt x="31975" y="1893569"/>
                  <a:pt x="0" y="1861584"/>
                  <a:pt x="0" y="1822132"/>
                </a:cubicBezTo>
                <a:lnTo>
                  <a:pt x="0" y="702612"/>
                </a:lnTo>
                <a:cubicBezTo>
                  <a:pt x="0" y="489214"/>
                  <a:pt x="173622" y="315592"/>
                  <a:pt x="387029" y="315592"/>
                </a:cubicBezTo>
                <a:lnTo>
                  <a:pt x="946785" y="315592"/>
                </a:lnTo>
                <a:lnTo>
                  <a:pt x="946785" y="268681"/>
                </a:lnTo>
                <a:cubicBezTo>
                  <a:pt x="946785" y="120529"/>
                  <a:pt x="1067314" y="0"/>
                  <a:pt x="1215476" y="0"/>
                </a:cubicBezTo>
                <a:close/>
              </a:path>
            </a:pathLst>
          </a:custGeom>
          <a:solidFill>
            <a:schemeClr val="tx2"/>
          </a:solidFill>
          <a:ln w="9525" cap="flat">
            <a:noFill/>
            <a:prstDash val="solid"/>
            <a:miter/>
          </a:ln>
        </p:spPr>
        <p:txBody>
          <a:bodyPr rtlCol="0" anchor="ctr"/>
          <a:lstStyle/>
          <a:p>
            <a:endParaRPr lang="en-US"/>
          </a:p>
        </p:txBody>
      </p:sp>
      <p:sp>
        <p:nvSpPr>
          <p:cNvPr id="10" name="Rectangle 12">
            <a:extLst>
              <a:ext uri="{FF2B5EF4-FFF2-40B4-BE49-F238E27FC236}">
                <a16:creationId xmlns:a16="http://schemas.microsoft.com/office/drawing/2014/main" id="{BAD34CB5-195A-1D40-8518-97C9986FDA3D}"/>
              </a:ext>
            </a:extLst>
          </p:cNvPr>
          <p:cNvSpPr/>
          <p:nvPr userDrawn="1"/>
        </p:nvSpPr>
        <p:spPr>
          <a:xfrm>
            <a:off x="9457764" y="6579030"/>
            <a:ext cx="2734235" cy="278969"/>
          </a:xfrm>
          <a:prstGeom prst="rect">
            <a:avLst/>
          </a:prstGeom>
          <a:solidFill>
            <a:schemeClr val="accent2"/>
          </a:solidFill>
        </p:spPr>
        <p:txBody>
          <a:bodyPr wrap="square" lIns="0" tIns="0" rIns="0" bIns="0" rtlCol="0" anchor="ctr" anchorCtr="0">
            <a:noAutofit/>
          </a:bodyPr>
          <a:lstStyle/>
          <a:p>
            <a:pPr algn="ctr"/>
            <a:r>
              <a:rPr lang="en-US" sz="800" b="1">
                <a:solidFill>
                  <a:schemeClr val="tx2"/>
                </a:solidFill>
                <a:cs typeface="Arial" panose="020B0604020202020204" pitchFamily="34" charset="0"/>
              </a:rPr>
              <a:t>PLANTEAMIENTO GLOBAL DE LA SOLUCIÓN</a:t>
            </a:r>
          </a:p>
        </p:txBody>
      </p:sp>
    </p:spTree>
    <p:extLst>
      <p:ext uri="{BB962C8B-B14F-4D97-AF65-F5344CB8AC3E}">
        <p14:creationId xmlns:p14="http://schemas.microsoft.com/office/powerpoint/2010/main" val="2188774465"/>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emplate Propuesta 2022 - Organización y Equipo">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50040F2E-A856-F74D-B747-8F63180F396D}"/>
              </a:ext>
            </a:extLst>
          </p:cNvPr>
          <p:cNvSpPr>
            <a:spLocks noGrp="1"/>
          </p:cNvSpPr>
          <p:nvPr>
            <p:ph type="title"/>
          </p:nvPr>
        </p:nvSpPr>
        <p:spPr>
          <a:xfrm>
            <a:off x="1138892" y="36122"/>
            <a:ext cx="10610449" cy="276999"/>
          </a:xfrm>
        </p:spPr>
        <p:txBody>
          <a:bodyPr wrap="square" lIns="0" anchor="t">
            <a:noAutofit/>
          </a:bodyPr>
          <a:lstStyle>
            <a:lvl1pPr>
              <a:defRPr lang="es-ES_tradnl" cap="all" baseline="0" noProof="0" dirty="0"/>
            </a:lvl1pPr>
          </a:lstStyle>
          <a:p>
            <a:pPr lvl="0"/>
            <a:r>
              <a:rPr lang="es-ES_tradnl" noProof="0"/>
              <a:t>Haga clic para modificar el estilo de título del patrón</a:t>
            </a:r>
          </a:p>
        </p:txBody>
      </p:sp>
      <p:sp>
        <p:nvSpPr>
          <p:cNvPr id="7" name="Marcador de texto 5">
            <a:extLst>
              <a:ext uri="{FF2B5EF4-FFF2-40B4-BE49-F238E27FC236}">
                <a16:creationId xmlns:a16="http://schemas.microsoft.com/office/drawing/2014/main" id="{CC6303D6-D0FC-984A-8419-A50470327A59}"/>
              </a:ext>
            </a:extLst>
          </p:cNvPr>
          <p:cNvSpPr>
            <a:spLocks noGrp="1"/>
          </p:cNvSpPr>
          <p:nvPr>
            <p:ph type="body" sz="quarter" idx="10"/>
          </p:nvPr>
        </p:nvSpPr>
        <p:spPr>
          <a:xfrm>
            <a:off x="442659" y="671500"/>
            <a:ext cx="11306682" cy="5741999"/>
          </a:xfrm>
        </p:spPr>
        <p:txBody>
          <a:bodyPr/>
          <a:lstStyle/>
          <a:p>
            <a:pPr lvl="0"/>
            <a:r>
              <a:rPr lang="es-ES_tradnl" noProof="0"/>
              <a:t>Haga clic para modificar los estilos de texto del patrón</a:t>
            </a:r>
          </a:p>
          <a:p>
            <a:pPr lvl="1"/>
            <a:r>
              <a:rPr lang="es-ES_tradnl" noProof="0"/>
              <a:t>Segundo nivel</a:t>
            </a:r>
          </a:p>
          <a:p>
            <a:pPr lvl="2"/>
            <a:r>
              <a:rPr lang="es-ES_tradnl" noProof="0"/>
              <a:t>Tercer nivel</a:t>
            </a:r>
          </a:p>
          <a:p>
            <a:pPr lvl="3"/>
            <a:r>
              <a:rPr lang="es-ES_tradnl" noProof="0"/>
              <a:t>Cuarto nivel</a:t>
            </a:r>
          </a:p>
          <a:p>
            <a:pPr lvl="4"/>
            <a:r>
              <a:rPr lang="es-ES_tradnl" noProof="0"/>
              <a:t>Quinto nivel</a:t>
            </a:r>
          </a:p>
        </p:txBody>
      </p:sp>
      <p:sp>
        <p:nvSpPr>
          <p:cNvPr id="4" name="Marcador de texto 4">
            <a:extLst>
              <a:ext uri="{FF2B5EF4-FFF2-40B4-BE49-F238E27FC236}">
                <a16:creationId xmlns:a16="http://schemas.microsoft.com/office/drawing/2014/main" id="{DED7AFAC-0516-FB48-9E02-44CC62A80883}"/>
              </a:ext>
            </a:extLst>
          </p:cNvPr>
          <p:cNvSpPr>
            <a:spLocks noGrp="1"/>
          </p:cNvSpPr>
          <p:nvPr>
            <p:ph type="body" sz="quarter" idx="11"/>
          </p:nvPr>
        </p:nvSpPr>
        <p:spPr>
          <a:xfrm>
            <a:off x="1138639" y="290195"/>
            <a:ext cx="10610449" cy="217488"/>
          </a:xfrm>
        </p:spPr>
        <p:txBody>
          <a:bodyPr/>
          <a:lstStyle>
            <a:lvl1pPr>
              <a:defRPr sz="1200">
                <a:solidFill>
                  <a:schemeClr val="tx2"/>
                </a:solidFill>
              </a:defRPr>
            </a:lvl1pPr>
          </a:lstStyle>
          <a:p>
            <a:pPr lvl="0"/>
            <a:r>
              <a:rPr lang="es-ES_tradnl" noProof="0"/>
              <a:t>Haga clic para modificar los estilos de texto del patrón</a:t>
            </a:r>
          </a:p>
        </p:txBody>
      </p:sp>
      <p:sp>
        <p:nvSpPr>
          <p:cNvPr id="9" name="Rectángulo 8">
            <a:extLst>
              <a:ext uri="{FF2B5EF4-FFF2-40B4-BE49-F238E27FC236}">
                <a16:creationId xmlns:a16="http://schemas.microsoft.com/office/drawing/2014/main" id="{9D31E6A8-7FC5-D346-B913-27F3CB84C0BF}"/>
              </a:ext>
            </a:extLst>
          </p:cNvPr>
          <p:cNvSpPr/>
          <p:nvPr userDrawn="1"/>
        </p:nvSpPr>
        <p:spPr bwMode="auto">
          <a:xfrm>
            <a:off x="596159" y="67814"/>
            <a:ext cx="405613" cy="405613"/>
          </a:xfrm>
          <a:prstGeom prst="rect">
            <a:avLst/>
          </a:prstGeom>
          <a:solidFill>
            <a:schemeClr val="bg1"/>
          </a:solidFill>
          <a:ln w="25400" cap="flat">
            <a:solidFill>
              <a:schemeClr val="accent3"/>
            </a:solidFill>
            <a:miter lim="800000"/>
          </a:ln>
        </p:spPr>
        <p:txBody>
          <a:bodyPr lIns="0" tIns="0" rIns="0" bIns="0" rtlCol="0" anchor="ctr">
            <a:noAutofit/>
          </a:bodyPr>
          <a:lstStyle/>
          <a:p>
            <a:pPr algn="ctr"/>
            <a:endParaRPr lang="es-ES_tradnl" sz="1400" noProof="0"/>
          </a:p>
        </p:txBody>
      </p:sp>
      <p:sp>
        <p:nvSpPr>
          <p:cNvPr id="10" name="Forma libre 9">
            <a:extLst>
              <a:ext uri="{FF2B5EF4-FFF2-40B4-BE49-F238E27FC236}">
                <a16:creationId xmlns:a16="http://schemas.microsoft.com/office/drawing/2014/main" id="{98D58498-DC71-3745-8EDE-0D568E99719F}"/>
              </a:ext>
            </a:extLst>
          </p:cNvPr>
          <p:cNvSpPr/>
          <p:nvPr userDrawn="1"/>
        </p:nvSpPr>
        <p:spPr>
          <a:xfrm>
            <a:off x="660833" y="159273"/>
            <a:ext cx="269182" cy="216075"/>
          </a:xfrm>
          <a:custGeom>
            <a:avLst/>
            <a:gdLst>
              <a:gd name="connsiteX0" fmla="*/ 2939529 w 3428447"/>
              <a:gd name="connsiteY0" fmla="*/ 1526219 h 2752048"/>
              <a:gd name="connsiteX1" fmla="*/ 2901496 w 3428447"/>
              <a:gd name="connsiteY1" fmla="*/ 1515999 h 2752048"/>
              <a:gd name="connsiteX2" fmla="*/ 2858110 w 3428447"/>
              <a:gd name="connsiteY2" fmla="*/ 1462164 h 2752048"/>
              <a:gd name="connsiteX3" fmla="*/ 3196762 w 3428447"/>
              <a:gd name="connsiteY3" fmla="*/ 909028 h 2752048"/>
              <a:gd name="connsiteX4" fmla="*/ 3196762 w 3428447"/>
              <a:gd name="connsiteY4" fmla="*/ 730272 h 2752048"/>
              <a:gd name="connsiteX5" fmla="*/ 2993146 w 3428447"/>
              <a:gd name="connsiteY5" fmla="*/ 189386 h 2752048"/>
              <a:gd name="connsiteX6" fmla="*/ 2541927 w 3428447"/>
              <a:gd name="connsiteY6" fmla="*/ 0 h 2752048"/>
              <a:gd name="connsiteX7" fmla="*/ 2539556 w 3428447"/>
              <a:gd name="connsiteY7" fmla="*/ 0 h 2752048"/>
              <a:gd name="connsiteX8" fmla="*/ 1913801 w 3428447"/>
              <a:gd name="connsiteY8" fmla="*/ 499958 h 2752048"/>
              <a:gd name="connsiteX9" fmla="*/ 1715405 w 3428447"/>
              <a:gd name="connsiteY9" fmla="*/ 466325 h 2752048"/>
              <a:gd name="connsiteX10" fmla="*/ 1713024 w 3428447"/>
              <a:gd name="connsiteY10" fmla="*/ 466325 h 2752048"/>
              <a:gd name="connsiteX11" fmla="*/ 1514570 w 3428447"/>
              <a:gd name="connsiteY11" fmla="*/ 499977 h 2752048"/>
              <a:gd name="connsiteX12" fmla="*/ 888606 w 3428447"/>
              <a:gd name="connsiteY12" fmla="*/ 0 h 2752048"/>
              <a:gd name="connsiteX13" fmla="*/ 886235 w 3428447"/>
              <a:gd name="connsiteY13" fmla="*/ 0 h 2752048"/>
              <a:gd name="connsiteX14" fmla="*/ 435140 w 3428447"/>
              <a:gd name="connsiteY14" fmla="*/ 189405 h 2752048"/>
              <a:gd name="connsiteX15" fmla="*/ 231686 w 3428447"/>
              <a:gd name="connsiteY15" fmla="*/ 730272 h 2752048"/>
              <a:gd name="connsiteX16" fmla="*/ 231686 w 3428447"/>
              <a:gd name="connsiteY16" fmla="*/ 909028 h 2752048"/>
              <a:gd name="connsiteX17" fmla="*/ 570138 w 3428447"/>
              <a:gd name="connsiteY17" fmla="*/ 1462202 h 2752048"/>
              <a:gd name="connsiteX18" fmla="*/ 526780 w 3428447"/>
              <a:gd name="connsiteY18" fmla="*/ 1515961 h 2752048"/>
              <a:gd name="connsiteX19" fmla="*/ 488528 w 3428447"/>
              <a:gd name="connsiteY19" fmla="*/ 1526257 h 2752048"/>
              <a:gd name="connsiteX20" fmla="*/ 0 w 3428447"/>
              <a:gd name="connsiteY20" fmla="*/ 2013128 h 2752048"/>
              <a:gd name="connsiteX21" fmla="*/ 0 w 3428447"/>
              <a:gd name="connsiteY21" fmla="*/ 2167309 h 2752048"/>
              <a:gd name="connsiteX22" fmla="*/ 118491 w 3428447"/>
              <a:gd name="connsiteY22" fmla="*/ 2285733 h 2752048"/>
              <a:gd name="connsiteX23" fmla="*/ 665817 w 3428447"/>
              <a:gd name="connsiteY23" fmla="*/ 2285191 h 2752048"/>
              <a:gd name="connsiteX24" fmla="*/ 737178 w 3428447"/>
              <a:gd name="connsiteY24" fmla="*/ 2213686 h 2752048"/>
              <a:gd name="connsiteX25" fmla="*/ 665740 w 3428447"/>
              <a:gd name="connsiteY25" fmla="*/ 2142316 h 2752048"/>
              <a:gd name="connsiteX26" fmla="*/ 665664 w 3428447"/>
              <a:gd name="connsiteY26" fmla="*/ 2142316 h 2752048"/>
              <a:gd name="connsiteX27" fmla="*/ 142865 w 3428447"/>
              <a:gd name="connsiteY27" fmla="*/ 2142830 h 2752048"/>
              <a:gd name="connsiteX28" fmla="*/ 142865 w 3428447"/>
              <a:gd name="connsiteY28" fmla="*/ 2013128 h 2752048"/>
              <a:gd name="connsiteX29" fmla="*/ 435902 w 3428447"/>
              <a:gd name="connsiteY29" fmla="*/ 1689535 h 2752048"/>
              <a:gd name="connsiteX30" fmla="*/ 770858 w 3428447"/>
              <a:gd name="connsiteY30" fmla="*/ 1885778 h 2752048"/>
              <a:gd name="connsiteX31" fmla="*/ 1004230 w 3428447"/>
              <a:gd name="connsiteY31" fmla="*/ 1885788 h 2752048"/>
              <a:gd name="connsiteX32" fmla="*/ 1215695 w 3428447"/>
              <a:gd name="connsiteY32" fmla="*/ 1761677 h 2752048"/>
              <a:gd name="connsiteX33" fmla="*/ 1396860 w 3428447"/>
              <a:gd name="connsiteY33" fmla="*/ 1928441 h 2752048"/>
              <a:gd name="connsiteX34" fmla="*/ 1353588 w 3428447"/>
              <a:gd name="connsiteY34" fmla="*/ 1982267 h 2752048"/>
              <a:gd name="connsiteX35" fmla="*/ 1315412 w 3428447"/>
              <a:gd name="connsiteY35" fmla="*/ 1992535 h 2752048"/>
              <a:gd name="connsiteX36" fmla="*/ 826522 w 3428447"/>
              <a:gd name="connsiteY36" fmla="*/ 2479443 h 2752048"/>
              <a:gd name="connsiteX37" fmla="*/ 826522 w 3428447"/>
              <a:gd name="connsiteY37" fmla="*/ 2633624 h 2752048"/>
              <a:gd name="connsiteX38" fmla="*/ 945213 w 3428447"/>
              <a:gd name="connsiteY38" fmla="*/ 2752049 h 2752048"/>
              <a:gd name="connsiteX39" fmla="*/ 1544917 w 3428447"/>
              <a:gd name="connsiteY39" fmla="*/ 2752049 h 2752048"/>
              <a:gd name="connsiteX40" fmla="*/ 1616355 w 3428447"/>
              <a:gd name="connsiteY40" fmla="*/ 2680611 h 2752048"/>
              <a:gd name="connsiteX41" fmla="*/ 1544917 w 3428447"/>
              <a:gd name="connsiteY41" fmla="*/ 2609174 h 2752048"/>
              <a:gd name="connsiteX42" fmla="*/ 969397 w 3428447"/>
              <a:gd name="connsiteY42" fmla="*/ 2609174 h 2752048"/>
              <a:gd name="connsiteX43" fmla="*/ 969397 w 3428447"/>
              <a:gd name="connsiteY43" fmla="*/ 2479453 h 2752048"/>
              <a:gd name="connsiteX44" fmla="*/ 1262672 w 3428447"/>
              <a:gd name="connsiteY44" fmla="*/ 2155860 h 2752048"/>
              <a:gd name="connsiteX45" fmla="*/ 1597362 w 3428447"/>
              <a:gd name="connsiteY45" fmla="*/ 2352094 h 2752048"/>
              <a:gd name="connsiteX46" fmla="*/ 1714081 w 3428447"/>
              <a:gd name="connsiteY46" fmla="*/ 2392566 h 2752048"/>
              <a:gd name="connsiteX47" fmla="*/ 1830791 w 3428447"/>
              <a:gd name="connsiteY47" fmla="*/ 2352094 h 2752048"/>
              <a:gd name="connsiteX48" fmla="*/ 2165661 w 3428447"/>
              <a:gd name="connsiteY48" fmla="*/ 2155908 h 2752048"/>
              <a:gd name="connsiteX49" fmla="*/ 2458765 w 3428447"/>
              <a:gd name="connsiteY49" fmla="*/ 2479453 h 2752048"/>
              <a:gd name="connsiteX50" fmla="*/ 2458765 w 3428447"/>
              <a:gd name="connsiteY50" fmla="*/ 2609174 h 2752048"/>
              <a:gd name="connsiteX51" fmla="*/ 1887836 w 3428447"/>
              <a:gd name="connsiteY51" fmla="*/ 2609174 h 2752048"/>
              <a:gd name="connsiteX52" fmla="*/ 1816398 w 3428447"/>
              <a:gd name="connsiteY52" fmla="*/ 2680611 h 2752048"/>
              <a:gd name="connsiteX53" fmla="*/ 1887836 w 3428447"/>
              <a:gd name="connsiteY53" fmla="*/ 2752049 h 2752048"/>
              <a:gd name="connsiteX54" fmla="*/ 2483225 w 3428447"/>
              <a:gd name="connsiteY54" fmla="*/ 2752049 h 2752048"/>
              <a:gd name="connsiteX55" fmla="*/ 2601649 w 3428447"/>
              <a:gd name="connsiteY55" fmla="*/ 2633624 h 2752048"/>
              <a:gd name="connsiteX56" fmla="*/ 2601649 w 3428447"/>
              <a:gd name="connsiteY56" fmla="*/ 2479443 h 2752048"/>
              <a:gd name="connsiteX57" fmla="*/ 2112759 w 3428447"/>
              <a:gd name="connsiteY57" fmla="*/ 1992535 h 2752048"/>
              <a:gd name="connsiteX58" fmla="*/ 2074716 w 3428447"/>
              <a:gd name="connsiteY58" fmla="*/ 1982305 h 2752048"/>
              <a:gd name="connsiteX59" fmla="*/ 2031502 w 3428447"/>
              <a:gd name="connsiteY59" fmla="*/ 1928460 h 2752048"/>
              <a:gd name="connsiteX60" fmla="*/ 2212639 w 3428447"/>
              <a:gd name="connsiteY60" fmla="*/ 1761744 h 2752048"/>
              <a:gd name="connsiteX61" fmla="*/ 2424170 w 3428447"/>
              <a:gd name="connsiteY61" fmla="*/ 1885760 h 2752048"/>
              <a:gd name="connsiteX62" fmla="*/ 2540880 w 3428447"/>
              <a:gd name="connsiteY62" fmla="*/ 1926231 h 2752048"/>
              <a:gd name="connsiteX63" fmla="*/ 2657580 w 3428447"/>
              <a:gd name="connsiteY63" fmla="*/ 1885778 h 2752048"/>
              <a:gd name="connsiteX64" fmla="*/ 2992631 w 3428447"/>
              <a:gd name="connsiteY64" fmla="*/ 1689630 h 2752048"/>
              <a:gd name="connsiteX65" fmla="*/ 3285573 w 3428447"/>
              <a:gd name="connsiteY65" fmla="*/ 2013118 h 2752048"/>
              <a:gd name="connsiteX66" fmla="*/ 3285573 w 3428447"/>
              <a:gd name="connsiteY66" fmla="*/ 2142849 h 2752048"/>
              <a:gd name="connsiteX67" fmla="*/ 2762983 w 3428447"/>
              <a:gd name="connsiteY67" fmla="*/ 2142849 h 2752048"/>
              <a:gd name="connsiteX68" fmla="*/ 2691546 w 3428447"/>
              <a:gd name="connsiteY68" fmla="*/ 2214286 h 2752048"/>
              <a:gd name="connsiteX69" fmla="*/ 2762983 w 3428447"/>
              <a:gd name="connsiteY69" fmla="*/ 2285724 h 2752048"/>
              <a:gd name="connsiteX70" fmla="*/ 3309757 w 3428447"/>
              <a:gd name="connsiteY70" fmla="*/ 2285724 h 2752048"/>
              <a:gd name="connsiteX71" fmla="*/ 3428448 w 3428447"/>
              <a:gd name="connsiteY71" fmla="*/ 2167299 h 2752048"/>
              <a:gd name="connsiteX72" fmla="*/ 3428448 w 3428447"/>
              <a:gd name="connsiteY72" fmla="*/ 2013118 h 2752048"/>
              <a:gd name="connsiteX73" fmla="*/ 2939529 w 3428447"/>
              <a:gd name="connsiteY73" fmla="*/ 1526219 h 2752048"/>
              <a:gd name="connsiteX74" fmla="*/ 3053887 w 3428447"/>
              <a:gd name="connsiteY74" fmla="*/ 909028 h 2752048"/>
              <a:gd name="connsiteX75" fmla="*/ 2662314 w 3428447"/>
              <a:gd name="connsiteY75" fmla="*/ 1404204 h 2752048"/>
              <a:gd name="connsiteX76" fmla="*/ 2419360 w 3428447"/>
              <a:gd name="connsiteY76" fmla="*/ 1404271 h 2752048"/>
              <a:gd name="connsiteX77" fmla="*/ 2369773 w 3428447"/>
              <a:gd name="connsiteY77" fmla="*/ 1382573 h 2752048"/>
              <a:gd name="connsiteX78" fmla="*/ 2369973 w 3428447"/>
              <a:gd name="connsiteY78" fmla="*/ 1375343 h 2752048"/>
              <a:gd name="connsiteX79" fmla="*/ 2369973 w 3428447"/>
              <a:gd name="connsiteY79" fmla="*/ 1196588 h 2752048"/>
              <a:gd name="connsiteX80" fmla="*/ 2202542 w 3428447"/>
              <a:gd name="connsiteY80" fmla="*/ 695420 h 2752048"/>
              <a:gd name="connsiteX81" fmla="*/ 2219439 w 3428447"/>
              <a:gd name="connsiteY81" fmla="*/ 678418 h 2752048"/>
              <a:gd name="connsiteX82" fmla="*/ 2303212 w 3428447"/>
              <a:gd name="connsiteY82" fmla="*/ 644481 h 2752048"/>
              <a:gd name="connsiteX83" fmla="*/ 2379355 w 3428447"/>
              <a:gd name="connsiteY83" fmla="*/ 664435 h 2752048"/>
              <a:gd name="connsiteX84" fmla="*/ 2540737 w 3428447"/>
              <a:gd name="connsiteY84" fmla="*/ 695325 h 2752048"/>
              <a:gd name="connsiteX85" fmla="*/ 2702643 w 3428447"/>
              <a:gd name="connsiteY85" fmla="*/ 664369 h 2752048"/>
              <a:gd name="connsiteX86" fmla="*/ 2778652 w 3428447"/>
              <a:gd name="connsiteY86" fmla="*/ 644452 h 2752048"/>
              <a:gd name="connsiteX87" fmla="*/ 2862196 w 3428447"/>
              <a:gd name="connsiteY87" fmla="*/ 678466 h 2752048"/>
              <a:gd name="connsiteX88" fmla="*/ 3053877 w 3428447"/>
              <a:gd name="connsiteY88" fmla="*/ 791994 h 2752048"/>
              <a:gd name="connsiteX89" fmla="*/ 3053877 w 3428447"/>
              <a:gd name="connsiteY89" fmla="*/ 909028 h 2752048"/>
              <a:gd name="connsiteX90" fmla="*/ 2540737 w 3428447"/>
              <a:gd name="connsiteY90" fmla="*/ 142885 h 2752048"/>
              <a:gd name="connsiteX91" fmla="*/ 3049267 w 3428447"/>
              <a:gd name="connsiteY91" fmla="*/ 642090 h 2752048"/>
              <a:gd name="connsiteX92" fmla="*/ 2964209 w 3428447"/>
              <a:gd name="connsiteY92" fmla="*/ 578434 h 2752048"/>
              <a:gd name="connsiteX93" fmla="*/ 2743057 w 3428447"/>
              <a:gd name="connsiteY93" fmla="*/ 506092 h 2752048"/>
              <a:gd name="connsiteX94" fmla="*/ 2665971 w 3428447"/>
              <a:gd name="connsiteY94" fmla="*/ 526294 h 2752048"/>
              <a:gd name="connsiteX95" fmla="*/ 2540737 w 3428447"/>
              <a:gd name="connsiteY95" fmla="*/ 552460 h 2752048"/>
              <a:gd name="connsiteX96" fmla="*/ 2416026 w 3428447"/>
              <a:gd name="connsiteY96" fmla="*/ 526361 h 2752048"/>
              <a:gd name="connsiteX97" fmla="*/ 2338788 w 3428447"/>
              <a:gd name="connsiteY97" fmla="*/ 506120 h 2752048"/>
              <a:gd name="connsiteX98" fmla="*/ 2117398 w 3428447"/>
              <a:gd name="connsiteY98" fmla="*/ 578425 h 2752048"/>
              <a:gd name="connsiteX99" fmla="*/ 2098777 w 3428447"/>
              <a:gd name="connsiteY99" fmla="*/ 596903 h 2752048"/>
              <a:gd name="connsiteX100" fmla="*/ 2045989 w 3428447"/>
              <a:gd name="connsiteY100" fmla="*/ 560984 h 2752048"/>
              <a:gd name="connsiteX101" fmla="*/ 2540737 w 3428447"/>
              <a:gd name="connsiteY101" fmla="*/ 142885 h 2752048"/>
              <a:gd name="connsiteX102" fmla="*/ 1714224 w 3428447"/>
              <a:gd name="connsiteY102" fmla="*/ 609209 h 2752048"/>
              <a:gd name="connsiteX103" fmla="*/ 2222487 w 3428447"/>
              <a:gd name="connsiteY103" fmla="*/ 1108415 h 2752048"/>
              <a:gd name="connsiteX104" fmla="*/ 2137420 w 3428447"/>
              <a:gd name="connsiteY104" fmla="*/ 1044759 h 2752048"/>
              <a:gd name="connsiteX105" fmla="*/ 1979009 w 3428447"/>
              <a:gd name="connsiteY105" fmla="*/ 963854 h 2752048"/>
              <a:gd name="connsiteX106" fmla="*/ 1916259 w 3428447"/>
              <a:gd name="connsiteY106" fmla="*/ 972407 h 2752048"/>
              <a:gd name="connsiteX107" fmla="*/ 1839001 w 3428447"/>
              <a:gd name="connsiteY107" fmla="*/ 992657 h 2752048"/>
              <a:gd name="connsiteX108" fmla="*/ 1714214 w 3428447"/>
              <a:gd name="connsiteY108" fmla="*/ 1018775 h 2752048"/>
              <a:gd name="connsiteX109" fmla="*/ 1588694 w 3428447"/>
              <a:gd name="connsiteY109" fmla="*/ 992505 h 2752048"/>
              <a:gd name="connsiteX110" fmla="*/ 1512265 w 3428447"/>
              <a:gd name="connsiteY110" fmla="*/ 972436 h 2752048"/>
              <a:gd name="connsiteX111" fmla="*/ 1290857 w 3428447"/>
              <a:gd name="connsiteY111" fmla="*/ 1044816 h 2752048"/>
              <a:gd name="connsiteX112" fmla="*/ 1205960 w 3428447"/>
              <a:gd name="connsiteY112" fmla="*/ 1108405 h 2752048"/>
              <a:gd name="connsiteX113" fmla="*/ 1714224 w 3428447"/>
              <a:gd name="connsiteY113" fmla="*/ 609209 h 2752048"/>
              <a:gd name="connsiteX114" fmla="*/ 887435 w 3428447"/>
              <a:gd name="connsiteY114" fmla="*/ 142885 h 2752048"/>
              <a:gd name="connsiteX115" fmla="*/ 1382411 w 3428447"/>
              <a:gd name="connsiteY115" fmla="*/ 561013 h 2752048"/>
              <a:gd name="connsiteX116" fmla="*/ 1329576 w 3428447"/>
              <a:gd name="connsiteY116" fmla="*/ 596970 h 2752048"/>
              <a:gd name="connsiteX117" fmla="*/ 1310726 w 3428447"/>
              <a:gd name="connsiteY117" fmla="*/ 578301 h 2752048"/>
              <a:gd name="connsiteX118" fmla="*/ 1089450 w 3428447"/>
              <a:gd name="connsiteY118" fmla="*/ 506101 h 2752048"/>
              <a:gd name="connsiteX119" fmla="*/ 1012870 w 3428447"/>
              <a:gd name="connsiteY119" fmla="*/ 526199 h 2752048"/>
              <a:gd name="connsiteX120" fmla="*/ 887425 w 3428447"/>
              <a:gd name="connsiteY120" fmla="*/ 552450 h 2752048"/>
              <a:gd name="connsiteX121" fmla="*/ 763200 w 3428447"/>
              <a:gd name="connsiteY121" fmla="*/ 526485 h 2752048"/>
              <a:gd name="connsiteX122" fmla="*/ 685476 w 3428447"/>
              <a:gd name="connsiteY122" fmla="*/ 506111 h 2752048"/>
              <a:gd name="connsiteX123" fmla="*/ 464077 w 3428447"/>
              <a:gd name="connsiteY123" fmla="*/ 578482 h 2752048"/>
              <a:gd name="connsiteX124" fmla="*/ 379181 w 3428447"/>
              <a:gd name="connsiteY124" fmla="*/ 642071 h 2752048"/>
              <a:gd name="connsiteX125" fmla="*/ 887435 w 3428447"/>
              <a:gd name="connsiteY125" fmla="*/ 142885 h 2752048"/>
              <a:gd name="connsiteX126" fmla="*/ 374552 w 3428447"/>
              <a:gd name="connsiteY126" fmla="*/ 909028 h 2752048"/>
              <a:gd name="connsiteX127" fmla="*/ 374552 w 3428447"/>
              <a:gd name="connsiteY127" fmla="*/ 792156 h 2752048"/>
              <a:gd name="connsiteX128" fmla="*/ 566118 w 3428447"/>
              <a:gd name="connsiteY128" fmla="*/ 678475 h 2752048"/>
              <a:gd name="connsiteX129" fmla="*/ 649891 w 3428447"/>
              <a:gd name="connsiteY129" fmla="*/ 644490 h 2752048"/>
              <a:gd name="connsiteX130" fmla="*/ 726491 w 3428447"/>
              <a:gd name="connsiteY130" fmla="*/ 664569 h 2752048"/>
              <a:gd name="connsiteX131" fmla="*/ 887425 w 3428447"/>
              <a:gd name="connsiteY131" fmla="*/ 695325 h 2752048"/>
              <a:gd name="connsiteX132" fmla="*/ 1049588 w 3428447"/>
              <a:gd name="connsiteY132" fmla="*/ 664274 h 2752048"/>
              <a:gd name="connsiteX133" fmla="*/ 1125064 w 3428447"/>
              <a:gd name="connsiteY133" fmla="*/ 644461 h 2752048"/>
              <a:gd name="connsiteX134" fmla="*/ 1208780 w 3428447"/>
              <a:gd name="connsiteY134" fmla="*/ 678399 h 2752048"/>
              <a:gd name="connsiteX135" fmla="*/ 1225830 w 3428447"/>
              <a:gd name="connsiteY135" fmla="*/ 695506 h 2752048"/>
              <a:gd name="connsiteX136" fmla="*/ 1058466 w 3428447"/>
              <a:gd name="connsiteY136" fmla="*/ 1196588 h 2752048"/>
              <a:gd name="connsiteX137" fmla="*/ 1058466 w 3428447"/>
              <a:gd name="connsiteY137" fmla="*/ 1375343 h 2752048"/>
              <a:gd name="connsiteX138" fmla="*/ 1058666 w 3428447"/>
              <a:gd name="connsiteY138" fmla="*/ 1382554 h 2752048"/>
              <a:gd name="connsiteX139" fmla="*/ 1008993 w 3428447"/>
              <a:gd name="connsiteY139" fmla="*/ 1404204 h 2752048"/>
              <a:gd name="connsiteX140" fmla="*/ 765924 w 3428447"/>
              <a:gd name="connsiteY140" fmla="*/ 1404233 h 2752048"/>
              <a:gd name="connsiteX141" fmla="*/ 696678 w 3428447"/>
              <a:gd name="connsiteY141" fmla="*/ 1372514 h 2752048"/>
              <a:gd name="connsiteX142" fmla="*/ 689734 w 3428447"/>
              <a:gd name="connsiteY142" fmla="*/ 1368647 h 2752048"/>
              <a:gd name="connsiteX143" fmla="*/ 689524 w 3428447"/>
              <a:gd name="connsiteY143" fmla="*/ 1368543 h 2752048"/>
              <a:gd name="connsiteX144" fmla="*/ 374552 w 3428447"/>
              <a:gd name="connsiteY144" fmla="*/ 909028 h 2752048"/>
              <a:gd name="connsiteX145" fmla="*/ 930659 w 3428447"/>
              <a:gd name="connsiteY145" fmla="*/ 1763316 h 2752048"/>
              <a:gd name="connsiteX146" fmla="*/ 928049 w 3428447"/>
              <a:gd name="connsiteY146" fmla="*/ 1764925 h 2752048"/>
              <a:gd name="connsiteX147" fmla="*/ 847211 w 3428447"/>
              <a:gd name="connsiteY147" fmla="*/ 1765002 h 2752048"/>
              <a:gd name="connsiteX148" fmla="*/ 844429 w 3428447"/>
              <a:gd name="connsiteY148" fmla="*/ 1763287 h 2752048"/>
              <a:gd name="connsiteX149" fmla="*/ 616601 w 3428447"/>
              <a:gd name="connsiteY149" fmla="*/ 1629804 h 2752048"/>
              <a:gd name="connsiteX150" fmla="*/ 696068 w 3428447"/>
              <a:gd name="connsiteY150" fmla="*/ 1530287 h 2752048"/>
              <a:gd name="connsiteX151" fmla="*/ 716309 w 3428447"/>
              <a:gd name="connsiteY151" fmla="*/ 1538202 h 2752048"/>
              <a:gd name="connsiteX152" fmla="*/ 1058589 w 3428447"/>
              <a:gd name="connsiteY152" fmla="*/ 1538202 h 2752048"/>
              <a:gd name="connsiteX153" fmla="*/ 1084707 w 3428447"/>
              <a:gd name="connsiteY153" fmla="*/ 1527810 h 2752048"/>
              <a:gd name="connsiteX154" fmla="*/ 1135485 w 3428447"/>
              <a:gd name="connsiteY154" fmla="*/ 1643110 h 2752048"/>
              <a:gd name="connsiteX155" fmla="*/ 1757220 w 3428447"/>
              <a:gd name="connsiteY155" fmla="*/ 2229603 h 2752048"/>
              <a:gd name="connsiteX156" fmla="*/ 1754429 w 3428447"/>
              <a:gd name="connsiteY156" fmla="*/ 2231327 h 2752048"/>
              <a:gd name="connsiteX157" fmla="*/ 1673714 w 3428447"/>
              <a:gd name="connsiteY157" fmla="*/ 2231327 h 2752048"/>
              <a:gd name="connsiteX158" fmla="*/ 1670952 w 3428447"/>
              <a:gd name="connsiteY158" fmla="*/ 2229622 h 2752048"/>
              <a:gd name="connsiteX159" fmla="*/ 1443142 w 3428447"/>
              <a:gd name="connsiteY159" fmla="*/ 2096053 h 2752048"/>
              <a:gd name="connsiteX160" fmla="*/ 1522743 w 3428447"/>
              <a:gd name="connsiteY160" fmla="*/ 1996488 h 2752048"/>
              <a:gd name="connsiteX161" fmla="*/ 1543079 w 3428447"/>
              <a:gd name="connsiteY161" fmla="*/ 2004517 h 2752048"/>
              <a:gd name="connsiteX162" fmla="*/ 1714195 w 3428447"/>
              <a:gd name="connsiteY162" fmla="*/ 2038236 h 2752048"/>
              <a:gd name="connsiteX163" fmla="*/ 1885417 w 3428447"/>
              <a:gd name="connsiteY163" fmla="*/ 2004498 h 2752048"/>
              <a:gd name="connsiteX164" fmla="*/ 1905591 w 3428447"/>
              <a:gd name="connsiteY164" fmla="*/ 1996516 h 2752048"/>
              <a:gd name="connsiteX165" fmla="*/ 1985124 w 3428447"/>
              <a:gd name="connsiteY165" fmla="*/ 2096081 h 2752048"/>
              <a:gd name="connsiteX166" fmla="*/ 2227098 w 3428447"/>
              <a:gd name="connsiteY166" fmla="*/ 1375353 h 2752048"/>
              <a:gd name="connsiteX167" fmla="*/ 1835772 w 3428447"/>
              <a:gd name="connsiteY167" fmla="*/ 1870520 h 2752048"/>
              <a:gd name="connsiteX168" fmla="*/ 1592685 w 3428447"/>
              <a:gd name="connsiteY168" fmla="*/ 1870539 h 2752048"/>
              <a:gd name="connsiteX169" fmla="*/ 1201331 w 3428447"/>
              <a:gd name="connsiteY169" fmla="*/ 1375353 h 2752048"/>
              <a:gd name="connsiteX170" fmla="*/ 1201331 w 3428447"/>
              <a:gd name="connsiteY170" fmla="*/ 1258319 h 2752048"/>
              <a:gd name="connsiteX171" fmla="*/ 1392898 w 3428447"/>
              <a:gd name="connsiteY171" fmla="*/ 1144810 h 2752048"/>
              <a:gd name="connsiteX172" fmla="*/ 1476642 w 3428447"/>
              <a:gd name="connsiteY172" fmla="*/ 1110806 h 2752048"/>
              <a:gd name="connsiteX173" fmla="*/ 1551956 w 3428447"/>
              <a:gd name="connsiteY173" fmla="*/ 1130579 h 2752048"/>
              <a:gd name="connsiteX174" fmla="*/ 1714205 w 3428447"/>
              <a:gd name="connsiteY174" fmla="*/ 1161650 h 2752048"/>
              <a:gd name="connsiteX175" fmla="*/ 1875663 w 3428447"/>
              <a:gd name="connsiteY175" fmla="*/ 1130741 h 2752048"/>
              <a:gd name="connsiteX176" fmla="*/ 1951863 w 3428447"/>
              <a:gd name="connsiteY176" fmla="*/ 1110777 h 2752048"/>
              <a:gd name="connsiteX177" fmla="*/ 2035397 w 3428447"/>
              <a:gd name="connsiteY177" fmla="*/ 1144791 h 2752048"/>
              <a:gd name="connsiteX178" fmla="*/ 2227088 w 3428447"/>
              <a:gd name="connsiteY178" fmla="*/ 1258319 h 2752048"/>
              <a:gd name="connsiteX179" fmla="*/ 2227088 w 3428447"/>
              <a:gd name="connsiteY179" fmla="*/ 1375353 h 2752048"/>
              <a:gd name="connsiteX180" fmla="*/ 2584028 w 3428447"/>
              <a:gd name="connsiteY180" fmla="*/ 1763278 h 2752048"/>
              <a:gd name="connsiteX181" fmla="*/ 2581218 w 3428447"/>
              <a:gd name="connsiteY181" fmla="*/ 1765011 h 2752048"/>
              <a:gd name="connsiteX182" fmla="*/ 2500522 w 3428447"/>
              <a:gd name="connsiteY182" fmla="*/ 1765011 h 2752048"/>
              <a:gd name="connsiteX183" fmla="*/ 2497750 w 3428447"/>
              <a:gd name="connsiteY183" fmla="*/ 1763306 h 2752048"/>
              <a:gd name="connsiteX184" fmla="*/ 2292887 w 3428447"/>
              <a:gd name="connsiteY184" fmla="*/ 1643196 h 2752048"/>
              <a:gd name="connsiteX185" fmla="*/ 2343712 w 3428447"/>
              <a:gd name="connsiteY185" fmla="*/ 1527848 h 2752048"/>
              <a:gd name="connsiteX186" fmla="*/ 2369611 w 3428447"/>
              <a:gd name="connsiteY186" fmla="*/ 1538211 h 2752048"/>
              <a:gd name="connsiteX187" fmla="*/ 2540727 w 3428447"/>
              <a:gd name="connsiteY187" fmla="*/ 1571930 h 2752048"/>
              <a:gd name="connsiteX188" fmla="*/ 2711920 w 3428447"/>
              <a:gd name="connsiteY188" fmla="*/ 1538192 h 2752048"/>
              <a:gd name="connsiteX189" fmla="*/ 2732208 w 3428447"/>
              <a:gd name="connsiteY189" fmla="*/ 1530182 h 2752048"/>
              <a:gd name="connsiteX190" fmla="*/ 2811980 w 3428447"/>
              <a:gd name="connsiteY190" fmla="*/ 1629832 h 2752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3428447" h="2752048">
                <a:moveTo>
                  <a:pt x="2939529" y="1526219"/>
                </a:moveTo>
                <a:cubicBezTo>
                  <a:pt x="2926709" y="1522800"/>
                  <a:pt x="2913974" y="1519399"/>
                  <a:pt x="2901496" y="1515999"/>
                </a:cubicBezTo>
                <a:cubicBezTo>
                  <a:pt x="2882627" y="1510817"/>
                  <a:pt x="2868654" y="1486614"/>
                  <a:pt x="2858110" y="1462164"/>
                </a:cubicBezTo>
                <a:cubicBezTo>
                  <a:pt x="3052086" y="1331224"/>
                  <a:pt x="3196762" y="1105662"/>
                  <a:pt x="3196762" y="909028"/>
                </a:cubicBezTo>
                <a:lnTo>
                  <a:pt x="3196762" y="730272"/>
                </a:lnTo>
                <a:cubicBezTo>
                  <a:pt x="3196762" y="509873"/>
                  <a:pt x="3126353" y="322840"/>
                  <a:pt x="2993146" y="189386"/>
                </a:cubicBezTo>
                <a:cubicBezTo>
                  <a:pt x="2874102" y="70123"/>
                  <a:pt x="2713854" y="2857"/>
                  <a:pt x="2541927" y="0"/>
                </a:cubicBezTo>
                <a:cubicBezTo>
                  <a:pt x="2541127" y="0"/>
                  <a:pt x="2540337" y="0"/>
                  <a:pt x="2539556" y="0"/>
                </a:cubicBezTo>
                <a:cubicBezTo>
                  <a:pt x="2283905" y="4239"/>
                  <a:pt x="2003117" y="161220"/>
                  <a:pt x="1913801" y="499958"/>
                </a:cubicBezTo>
                <a:cubicBezTo>
                  <a:pt x="1850765" y="479050"/>
                  <a:pt x="1784052" y="467468"/>
                  <a:pt x="1715405" y="466325"/>
                </a:cubicBezTo>
                <a:cubicBezTo>
                  <a:pt x="1714605" y="466315"/>
                  <a:pt x="1713824" y="466315"/>
                  <a:pt x="1713024" y="466325"/>
                </a:cubicBezTo>
                <a:cubicBezTo>
                  <a:pt x="1644358" y="467468"/>
                  <a:pt x="1577626" y="479060"/>
                  <a:pt x="1514570" y="499977"/>
                </a:cubicBezTo>
                <a:cubicBezTo>
                  <a:pt x="1425045" y="161220"/>
                  <a:pt x="1144200" y="4229"/>
                  <a:pt x="888606" y="0"/>
                </a:cubicBezTo>
                <a:cubicBezTo>
                  <a:pt x="887825" y="0"/>
                  <a:pt x="887035" y="0"/>
                  <a:pt x="886235" y="0"/>
                </a:cubicBezTo>
                <a:cubicBezTo>
                  <a:pt x="714318" y="2857"/>
                  <a:pt x="554126" y="70123"/>
                  <a:pt x="435140" y="189405"/>
                </a:cubicBezTo>
                <a:cubicBezTo>
                  <a:pt x="302038" y="322831"/>
                  <a:pt x="231686" y="509864"/>
                  <a:pt x="231686" y="730272"/>
                </a:cubicBezTo>
                <a:lnTo>
                  <a:pt x="231686" y="909028"/>
                </a:lnTo>
                <a:cubicBezTo>
                  <a:pt x="231686" y="1105624"/>
                  <a:pt x="376238" y="1331224"/>
                  <a:pt x="570138" y="1462202"/>
                </a:cubicBezTo>
                <a:cubicBezTo>
                  <a:pt x="559632" y="1486614"/>
                  <a:pt x="545687" y="1510789"/>
                  <a:pt x="526780" y="1515961"/>
                </a:cubicBezTo>
                <a:cubicBezTo>
                  <a:pt x="514141" y="1519409"/>
                  <a:pt x="501367" y="1522819"/>
                  <a:pt x="488528" y="1526257"/>
                </a:cubicBezTo>
                <a:cubicBezTo>
                  <a:pt x="282350" y="1581360"/>
                  <a:pt x="0" y="1656807"/>
                  <a:pt x="0" y="2013128"/>
                </a:cubicBezTo>
                <a:lnTo>
                  <a:pt x="0" y="2167309"/>
                </a:lnTo>
                <a:cubicBezTo>
                  <a:pt x="0" y="2232603"/>
                  <a:pt x="53121" y="2285733"/>
                  <a:pt x="118491" y="2285733"/>
                </a:cubicBezTo>
                <a:lnTo>
                  <a:pt x="665817" y="2285191"/>
                </a:lnTo>
                <a:cubicBezTo>
                  <a:pt x="705269" y="2285152"/>
                  <a:pt x="737216" y="2253139"/>
                  <a:pt x="737178" y="2213686"/>
                </a:cubicBezTo>
                <a:cubicBezTo>
                  <a:pt x="737140" y="2174253"/>
                  <a:pt x="705174" y="2142316"/>
                  <a:pt x="665740" y="2142316"/>
                </a:cubicBezTo>
                <a:cubicBezTo>
                  <a:pt x="665721" y="2142316"/>
                  <a:pt x="665693" y="2142316"/>
                  <a:pt x="665664" y="2142316"/>
                </a:cubicBezTo>
                <a:lnTo>
                  <a:pt x="142865" y="2142830"/>
                </a:lnTo>
                <a:lnTo>
                  <a:pt x="142865" y="2013128"/>
                </a:lnTo>
                <a:cubicBezTo>
                  <a:pt x="142865" y="1813570"/>
                  <a:pt x="251650" y="1745590"/>
                  <a:pt x="435902" y="1689535"/>
                </a:cubicBezTo>
                <a:lnTo>
                  <a:pt x="770858" y="1885778"/>
                </a:lnTo>
                <a:cubicBezTo>
                  <a:pt x="854535" y="1939614"/>
                  <a:pt x="920239" y="1939633"/>
                  <a:pt x="1004230" y="1885788"/>
                </a:cubicBezTo>
                <a:lnTo>
                  <a:pt x="1215695" y="1761677"/>
                </a:lnTo>
                <a:cubicBezTo>
                  <a:pt x="1267349" y="1825323"/>
                  <a:pt x="1329071" y="1882654"/>
                  <a:pt x="1396860" y="1928441"/>
                </a:cubicBezTo>
                <a:cubicBezTo>
                  <a:pt x="1386316" y="1952901"/>
                  <a:pt x="1372362" y="1977104"/>
                  <a:pt x="1353588" y="1982267"/>
                </a:cubicBezTo>
                <a:cubicBezTo>
                  <a:pt x="1340977" y="1985705"/>
                  <a:pt x="1328233" y="1989106"/>
                  <a:pt x="1315412" y="1992535"/>
                </a:cubicBezTo>
                <a:cubicBezTo>
                  <a:pt x="1109091" y="2047608"/>
                  <a:pt x="826522" y="2123046"/>
                  <a:pt x="826522" y="2479443"/>
                </a:cubicBezTo>
                <a:lnTo>
                  <a:pt x="826522" y="2633624"/>
                </a:lnTo>
                <a:cubicBezTo>
                  <a:pt x="826522" y="2698918"/>
                  <a:pt x="879767" y="2752049"/>
                  <a:pt x="945213" y="2752049"/>
                </a:cubicBezTo>
                <a:lnTo>
                  <a:pt x="1544917" y="2752049"/>
                </a:lnTo>
                <a:cubicBezTo>
                  <a:pt x="1584379" y="2752049"/>
                  <a:pt x="1616355" y="2720064"/>
                  <a:pt x="1616355" y="2680611"/>
                </a:cubicBezTo>
                <a:cubicBezTo>
                  <a:pt x="1616355" y="2641159"/>
                  <a:pt x="1584379" y="2609174"/>
                  <a:pt x="1544917" y="2609174"/>
                </a:cubicBezTo>
                <a:lnTo>
                  <a:pt x="969397" y="2609174"/>
                </a:lnTo>
                <a:lnTo>
                  <a:pt x="969397" y="2479453"/>
                </a:lnTo>
                <a:cubicBezTo>
                  <a:pt x="969397" y="2279875"/>
                  <a:pt x="1078306" y="2211896"/>
                  <a:pt x="1262672" y="2155860"/>
                </a:cubicBezTo>
                <a:lnTo>
                  <a:pt x="1597362" y="2352094"/>
                </a:lnTo>
                <a:cubicBezTo>
                  <a:pt x="1639291" y="2379078"/>
                  <a:pt x="1676686" y="2392566"/>
                  <a:pt x="1714081" y="2392566"/>
                </a:cubicBezTo>
                <a:cubicBezTo>
                  <a:pt x="1751476" y="2392566"/>
                  <a:pt x="1788871" y="2379069"/>
                  <a:pt x="1830791" y="2352094"/>
                </a:cubicBezTo>
                <a:lnTo>
                  <a:pt x="2165661" y="2155908"/>
                </a:lnTo>
                <a:cubicBezTo>
                  <a:pt x="2349922" y="2211934"/>
                  <a:pt x="2458765" y="2279933"/>
                  <a:pt x="2458765" y="2479453"/>
                </a:cubicBezTo>
                <a:lnTo>
                  <a:pt x="2458765" y="2609174"/>
                </a:lnTo>
                <a:lnTo>
                  <a:pt x="1887836" y="2609174"/>
                </a:lnTo>
                <a:cubicBezTo>
                  <a:pt x="1848374" y="2609174"/>
                  <a:pt x="1816398" y="2641159"/>
                  <a:pt x="1816398" y="2680611"/>
                </a:cubicBezTo>
                <a:cubicBezTo>
                  <a:pt x="1816398" y="2720064"/>
                  <a:pt x="1848374" y="2752049"/>
                  <a:pt x="1887836" y="2752049"/>
                </a:cubicBezTo>
                <a:lnTo>
                  <a:pt x="2483225" y="2752049"/>
                </a:lnTo>
                <a:cubicBezTo>
                  <a:pt x="2548519" y="2752049"/>
                  <a:pt x="2601649" y="2698928"/>
                  <a:pt x="2601649" y="2633624"/>
                </a:cubicBezTo>
                <a:lnTo>
                  <a:pt x="2601649" y="2479443"/>
                </a:lnTo>
                <a:cubicBezTo>
                  <a:pt x="2601649" y="2123046"/>
                  <a:pt x="2319081" y="2047618"/>
                  <a:pt x="2112759" y="1992535"/>
                </a:cubicBezTo>
                <a:cubicBezTo>
                  <a:pt x="2099939" y="1989115"/>
                  <a:pt x="2087194" y="1985705"/>
                  <a:pt x="2074716" y="1982305"/>
                </a:cubicBezTo>
                <a:cubicBezTo>
                  <a:pt x="2055905" y="1977142"/>
                  <a:pt x="2041989" y="1952911"/>
                  <a:pt x="2031502" y="1928460"/>
                </a:cubicBezTo>
                <a:cubicBezTo>
                  <a:pt x="2099272" y="1882683"/>
                  <a:pt x="2160984" y="1825371"/>
                  <a:pt x="2212639" y="1761744"/>
                </a:cubicBezTo>
                <a:lnTo>
                  <a:pt x="2424170" y="1885760"/>
                </a:lnTo>
                <a:cubicBezTo>
                  <a:pt x="2466089" y="1912744"/>
                  <a:pt x="2503494" y="1926231"/>
                  <a:pt x="2540880" y="1926231"/>
                </a:cubicBezTo>
                <a:cubicBezTo>
                  <a:pt x="2578275" y="1926231"/>
                  <a:pt x="2615660" y="1912744"/>
                  <a:pt x="2657580" y="1885778"/>
                </a:cubicBezTo>
                <a:lnTo>
                  <a:pt x="2992631" y="1689630"/>
                </a:lnTo>
                <a:cubicBezTo>
                  <a:pt x="3176788" y="1745647"/>
                  <a:pt x="3285573" y="1813665"/>
                  <a:pt x="3285573" y="2013118"/>
                </a:cubicBezTo>
                <a:lnTo>
                  <a:pt x="3285573" y="2142849"/>
                </a:lnTo>
                <a:lnTo>
                  <a:pt x="2762983" y="2142849"/>
                </a:lnTo>
                <a:cubicBezTo>
                  <a:pt x="2723522" y="2142849"/>
                  <a:pt x="2691546" y="2174834"/>
                  <a:pt x="2691546" y="2214286"/>
                </a:cubicBezTo>
                <a:cubicBezTo>
                  <a:pt x="2691546" y="2253739"/>
                  <a:pt x="2723522" y="2285724"/>
                  <a:pt x="2762983" y="2285724"/>
                </a:cubicBezTo>
                <a:lnTo>
                  <a:pt x="3309757" y="2285724"/>
                </a:lnTo>
                <a:cubicBezTo>
                  <a:pt x="3375203" y="2285724"/>
                  <a:pt x="3428448" y="2232603"/>
                  <a:pt x="3428448" y="2167299"/>
                </a:cubicBezTo>
                <a:lnTo>
                  <a:pt x="3428448" y="2013118"/>
                </a:lnTo>
                <a:cubicBezTo>
                  <a:pt x="3428429" y="1656731"/>
                  <a:pt x="3145850" y="1581293"/>
                  <a:pt x="2939529" y="1526219"/>
                </a:cubicBezTo>
                <a:close/>
                <a:moveTo>
                  <a:pt x="3053887" y="909028"/>
                </a:moveTo>
                <a:cubicBezTo>
                  <a:pt x="3053887" y="1095489"/>
                  <a:pt x="2870883" y="1326890"/>
                  <a:pt x="2662314" y="1404204"/>
                </a:cubicBezTo>
                <a:cubicBezTo>
                  <a:pt x="2572569" y="1437399"/>
                  <a:pt x="2508952" y="1437408"/>
                  <a:pt x="2419360" y="1404271"/>
                </a:cubicBezTo>
                <a:cubicBezTo>
                  <a:pt x="2402881" y="1398127"/>
                  <a:pt x="2386308" y="1390793"/>
                  <a:pt x="2369773" y="1382573"/>
                </a:cubicBezTo>
                <a:cubicBezTo>
                  <a:pt x="2369811" y="1380172"/>
                  <a:pt x="2369973" y="1377744"/>
                  <a:pt x="2369973" y="1375343"/>
                </a:cubicBezTo>
                <a:lnTo>
                  <a:pt x="2369973" y="1196588"/>
                </a:lnTo>
                <a:cubicBezTo>
                  <a:pt x="2369973" y="997201"/>
                  <a:pt x="2312165" y="825256"/>
                  <a:pt x="2202542" y="695420"/>
                </a:cubicBezTo>
                <a:cubicBezTo>
                  <a:pt x="2208562" y="689515"/>
                  <a:pt x="2214163" y="683800"/>
                  <a:pt x="2219439" y="678418"/>
                </a:cubicBezTo>
                <a:cubicBezTo>
                  <a:pt x="2256263" y="640842"/>
                  <a:pt x="2262912" y="634070"/>
                  <a:pt x="2303212" y="644481"/>
                </a:cubicBezTo>
                <a:cubicBezTo>
                  <a:pt x="2332596" y="652015"/>
                  <a:pt x="2357638" y="658663"/>
                  <a:pt x="2379355" y="664435"/>
                </a:cubicBezTo>
                <a:cubicBezTo>
                  <a:pt x="2454345" y="684352"/>
                  <a:pt x="2495645" y="695325"/>
                  <a:pt x="2540737" y="695325"/>
                </a:cubicBezTo>
                <a:cubicBezTo>
                  <a:pt x="2586076" y="695325"/>
                  <a:pt x="2627471" y="684333"/>
                  <a:pt x="2702643" y="664369"/>
                </a:cubicBezTo>
                <a:cubicBezTo>
                  <a:pt x="2724303" y="658616"/>
                  <a:pt x="2749277" y="651986"/>
                  <a:pt x="2778652" y="644452"/>
                </a:cubicBezTo>
                <a:cubicBezTo>
                  <a:pt x="2818743" y="634117"/>
                  <a:pt x="2825344" y="640880"/>
                  <a:pt x="2862196" y="678466"/>
                </a:cubicBezTo>
                <a:cubicBezTo>
                  <a:pt x="2898972" y="715975"/>
                  <a:pt x="2951645" y="769372"/>
                  <a:pt x="3053877" y="791994"/>
                </a:cubicBezTo>
                <a:lnTo>
                  <a:pt x="3053877" y="909028"/>
                </a:lnTo>
                <a:close/>
                <a:moveTo>
                  <a:pt x="2540737" y="142885"/>
                </a:moveTo>
                <a:cubicBezTo>
                  <a:pt x="2769022" y="147218"/>
                  <a:pt x="3012958" y="305629"/>
                  <a:pt x="3049267" y="642090"/>
                </a:cubicBezTo>
                <a:cubicBezTo>
                  <a:pt x="3011796" y="626964"/>
                  <a:pt x="2989098" y="603799"/>
                  <a:pt x="2964209" y="578434"/>
                </a:cubicBezTo>
                <a:cubicBezTo>
                  <a:pt x="2921460" y="534838"/>
                  <a:pt x="2862891" y="475136"/>
                  <a:pt x="2743057" y="506092"/>
                </a:cubicBezTo>
                <a:cubicBezTo>
                  <a:pt x="2713330" y="513712"/>
                  <a:pt x="2687974" y="520446"/>
                  <a:pt x="2665971" y="526294"/>
                </a:cubicBezTo>
                <a:cubicBezTo>
                  <a:pt x="2600354" y="543716"/>
                  <a:pt x="2567426" y="552460"/>
                  <a:pt x="2540737" y="552460"/>
                </a:cubicBezTo>
                <a:cubicBezTo>
                  <a:pt x="2514295" y="552460"/>
                  <a:pt x="2481453" y="543735"/>
                  <a:pt x="2416026" y="526361"/>
                </a:cubicBezTo>
                <a:cubicBezTo>
                  <a:pt x="2393966" y="520503"/>
                  <a:pt x="2368534" y="513750"/>
                  <a:pt x="2338788" y="506120"/>
                </a:cubicBezTo>
                <a:cubicBezTo>
                  <a:pt x="2218658" y="475117"/>
                  <a:pt x="2160127" y="534838"/>
                  <a:pt x="2117398" y="578425"/>
                </a:cubicBezTo>
                <a:cubicBezTo>
                  <a:pt x="2111178" y="584768"/>
                  <a:pt x="2105025" y="590902"/>
                  <a:pt x="2098777" y="596903"/>
                </a:cubicBezTo>
                <a:cubicBezTo>
                  <a:pt x="2081746" y="584035"/>
                  <a:pt x="2064144" y="572033"/>
                  <a:pt x="2045989" y="560984"/>
                </a:cubicBezTo>
                <a:cubicBezTo>
                  <a:pt x="2109997" y="277873"/>
                  <a:pt x="2335654" y="146780"/>
                  <a:pt x="2540737" y="142885"/>
                </a:cubicBezTo>
                <a:close/>
                <a:moveTo>
                  <a:pt x="1714224" y="609209"/>
                </a:moveTo>
                <a:cubicBezTo>
                  <a:pt x="1942386" y="613534"/>
                  <a:pt x="2186197" y="771954"/>
                  <a:pt x="2222487" y="1108415"/>
                </a:cubicBezTo>
                <a:cubicBezTo>
                  <a:pt x="2185007" y="1093289"/>
                  <a:pt x="2162299" y="1070124"/>
                  <a:pt x="2137420" y="1044759"/>
                </a:cubicBezTo>
                <a:cubicBezTo>
                  <a:pt x="2102901" y="1009555"/>
                  <a:pt x="2058095" y="963854"/>
                  <a:pt x="1979009" y="963854"/>
                </a:cubicBezTo>
                <a:cubicBezTo>
                  <a:pt x="1960159" y="963854"/>
                  <a:pt x="1939338" y="966454"/>
                  <a:pt x="1916259" y="972407"/>
                </a:cubicBezTo>
                <a:cubicBezTo>
                  <a:pt x="1886455" y="980056"/>
                  <a:pt x="1861042" y="986800"/>
                  <a:pt x="1839001" y="992657"/>
                </a:cubicBezTo>
                <a:cubicBezTo>
                  <a:pt x="1773536" y="1010040"/>
                  <a:pt x="1740675" y="1018775"/>
                  <a:pt x="1714214" y="1018775"/>
                </a:cubicBezTo>
                <a:cubicBezTo>
                  <a:pt x="1687459" y="1018775"/>
                  <a:pt x="1654464" y="1009993"/>
                  <a:pt x="1588694" y="992505"/>
                </a:cubicBezTo>
                <a:cubicBezTo>
                  <a:pt x="1566824" y="986685"/>
                  <a:pt x="1541659" y="979999"/>
                  <a:pt x="1512265" y="972436"/>
                </a:cubicBezTo>
                <a:cubicBezTo>
                  <a:pt x="1392136" y="941461"/>
                  <a:pt x="1333586" y="1001192"/>
                  <a:pt x="1290857" y="1044816"/>
                </a:cubicBezTo>
                <a:cubicBezTo>
                  <a:pt x="1266034" y="1070153"/>
                  <a:pt x="1243365" y="1093289"/>
                  <a:pt x="1205960" y="1108405"/>
                </a:cubicBezTo>
                <a:cubicBezTo>
                  <a:pt x="1242251" y="771935"/>
                  <a:pt x="1486062" y="613534"/>
                  <a:pt x="1714224" y="609209"/>
                </a:cubicBezTo>
                <a:close/>
                <a:moveTo>
                  <a:pt x="887435" y="142885"/>
                </a:moveTo>
                <a:cubicBezTo>
                  <a:pt x="1092470" y="146771"/>
                  <a:pt x="1318174" y="277873"/>
                  <a:pt x="1382411" y="561013"/>
                </a:cubicBezTo>
                <a:cubicBezTo>
                  <a:pt x="1364247" y="572081"/>
                  <a:pt x="1346625" y="584092"/>
                  <a:pt x="1329576" y="596970"/>
                </a:cubicBezTo>
                <a:cubicBezTo>
                  <a:pt x="1323251" y="590912"/>
                  <a:pt x="1317012" y="584711"/>
                  <a:pt x="1310726" y="578301"/>
                </a:cubicBezTo>
                <a:cubicBezTo>
                  <a:pt x="1267968" y="534772"/>
                  <a:pt x="1209408" y="475136"/>
                  <a:pt x="1089450" y="506101"/>
                </a:cubicBezTo>
                <a:cubicBezTo>
                  <a:pt x="1059942" y="513683"/>
                  <a:pt x="1034758" y="520389"/>
                  <a:pt x="1012870" y="526199"/>
                </a:cubicBezTo>
                <a:cubicBezTo>
                  <a:pt x="947157" y="543678"/>
                  <a:pt x="914162" y="552450"/>
                  <a:pt x="887425" y="552450"/>
                </a:cubicBezTo>
                <a:cubicBezTo>
                  <a:pt x="860870" y="552450"/>
                  <a:pt x="828227" y="543773"/>
                  <a:pt x="763200" y="526485"/>
                </a:cubicBezTo>
                <a:cubicBezTo>
                  <a:pt x="741045" y="520589"/>
                  <a:pt x="715451" y="513788"/>
                  <a:pt x="685476" y="506111"/>
                </a:cubicBezTo>
                <a:cubicBezTo>
                  <a:pt x="565337" y="475126"/>
                  <a:pt x="506806" y="534867"/>
                  <a:pt x="464077" y="578482"/>
                </a:cubicBezTo>
                <a:cubicBezTo>
                  <a:pt x="439255" y="603818"/>
                  <a:pt x="416585" y="626955"/>
                  <a:pt x="379181" y="642071"/>
                </a:cubicBezTo>
                <a:cubicBezTo>
                  <a:pt x="415462" y="305619"/>
                  <a:pt x="659273" y="147209"/>
                  <a:pt x="887435" y="142885"/>
                </a:cubicBezTo>
                <a:close/>
                <a:moveTo>
                  <a:pt x="374552" y="909028"/>
                </a:moveTo>
                <a:lnTo>
                  <a:pt x="374552" y="792156"/>
                </a:lnTo>
                <a:cubicBezTo>
                  <a:pt x="476869" y="769563"/>
                  <a:pt x="529352" y="716004"/>
                  <a:pt x="566118" y="678475"/>
                </a:cubicBezTo>
                <a:cubicBezTo>
                  <a:pt x="602971" y="640880"/>
                  <a:pt x="609629" y="634108"/>
                  <a:pt x="649891" y="644490"/>
                </a:cubicBezTo>
                <a:cubicBezTo>
                  <a:pt x="679495" y="652082"/>
                  <a:pt x="704679" y="658778"/>
                  <a:pt x="726491" y="664569"/>
                </a:cubicBezTo>
                <a:cubicBezTo>
                  <a:pt x="801100" y="684400"/>
                  <a:pt x="842191" y="695325"/>
                  <a:pt x="887425" y="695325"/>
                </a:cubicBezTo>
                <a:cubicBezTo>
                  <a:pt x="932840" y="695325"/>
                  <a:pt x="974303" y="684295"/>
                  <a:pt x="1049588" y="664274"/>
                </a:cubicBezTo>
                <a:cubicBezTo>
                  <a:pt x="1071143" y="658539"/>
                  <a:pt x="1095947" y="651948"/>
                  <a:pt x="1125064" y="644461"/>
                </a:cubicBezTo>
                <a:cubicBezTo>
                  <a:pt x="1165317" y="634098"/>
                  <a:pt x="1171927" y="640871"/>
                  <a:pt x="1208780" y="678399"/>
                </a:cubicBezTo>
                <a:cubicBezTo>
                  <a:pt x="1214104" y="683819"/>
                  <a:pt x="1219753" y="689562"/>
                  <a:pt x="1225830" y="695506"/>
                </a:cubicBezTo>
                <a:cubicBezTo>
                  <a:pt x="1116254" y="825332"/>
                  <a:pt x="1058466" y="997249"/>
                  <a:pt x="1058466" y="1196588"/>
                </a:cubicBezTo>
                <a:lnTo>
                  <a:pt x="1058466" y="1375343"/>
                </a:lnTo>
                <a:cubicBezTo>
                  <a:pt x="1058466" y="1377734"/>
                  <a:pt x="1058628" y="1380154"/>
                  <a:pt x="1058666" y="1382554"/>
                </a:cubicBezTo>
                <a:cubicBezTo>
                  <a:pt x="1042083" y="1390783"/>
                  <a:pt x="1025481" y="1398099"/>
                  <a:pt x="1008993" y="1404204"/>
                </a:cubicBezTo>
                <a:cubicBezTo>
                  <a:pt x="919229" y="1437399"/>
                  <a:pt x="855612" y="1437399"/>
                  <a:pt x="765924" y="1404233"/>
                </a:cubicBezTo>
                <a:cubicBezTo>
                  <a:pt x="742445" y="1395517"/>
                  <a:pt x="719290" y="1384849"/>
                  <a:pt x="696678" y="1372514"/>
                </a:cubicBezTo>
                <a:cubicBezTo>
                  <a:pt x="694458" y="1371114"/>
                  <a:pt x="692134" y="1369819"/>
                  <a:pt x="689734" y="1368647"/>
                </a:cubicBezTo>
                <a:cubicBezTo>
                  <a:pt x="689658" y="1368609"/>
                  <a:pt x="689581" y="1368581"/>
                  <a:pt x="689524" y="1368543"/>
                </a:cubicBezTo>
                <a:cubicBezTo>
                  <a:pt x="514731" y="1269911"/>
                  <a:pt x="374552" y="1072239"/>
                  <a:pt x="374552" y="909028"/>
                </a:cubicBezTo>
                <a:close/>
                <a:moveTo>
                  <a:pt x="930659" y="1763316"/>
                </a:moveTo>
                <a:cubicBezTo>
                  <a:pt x="929773" y="1763830"/>
                  <a:pt x="928897" y="1764373"/>
                  <a:pt x="928049" y="1764925"/>
                </a:cubicBezTo>
                <a:cubicBezTo>
                  <a:pt x="889778" y="1789671"/>
                  <a:pt x="885253" y="1789690"/>
                  <a:pt x="847211" y="1765002"/>
                </a:cubicBezTo>
                <a:cubicBezTo>
                  <a:pt x="846296" y="1764402"/>
                  <a:pt x="845372" y="1763830"/>
                  <a:pt x="844429" y="1763287"/>
                </a:cubicBezTo>
                <a:lnTo>
                  <a:pt x="616601" y="1629804"/>
                </a:lnTo>
                <a:cubicBezTo>
                  <a:pt x="655434" y="1603477"/>
                  <a:pt x="679904" y="1564567"/>
                  <a:pt x="696068" y="1530287"/>
                </a:cubicBezTo>
                <a:cubicBezTo>
                  <a:pt x="702774" y="1533049"/>
                  <a:pt x="709536" y="1535687"/>
                  <a:pt x="716309" y="1538202"/>
                </a:cubicBezTo>
                <a:cubicBezTo>
                  <a:pt x="837848" y="1583169"/>
                  <a:pt x="937012" y="1583160"/>
                  <a:pt x="1058589" y="1538202"/>
                </a:cubicBezTo>
                <a:cubicBezTo>
                  <a:pt x="1067295" y="1534982"/>
                  <a:pt x="1076001" y="1531487"/>
                  <a:pt x="1084707" y="1527810"/>
                </a:cubicBezTo>
                <a:cubicBezTo>
                  <a:pt x="1097471" y="1566624"/>
                  <a:pt x="1114606" y="1605324"/>
                  <a:pt x="1135485" y="1643110"/>
                </a:cubicBezTo>
                <a:close/>
                <a:moveTo>
                  <a:pt x="1757220" y="2229603"/>
                </a:moveTo>
                <a:cubicBezTo>
                  <a:pt x="1756267" y="2230155"/>
                  <a:pt x="1755353" y="2230727"/>
                  <a:pt x="1754429" y="2231327"/>
                </a:cubicBezTo>
                <a:cubicBezTo>
                  <a:pt x="1716367" y="2256034"/>
                  <a:pt x="1711833" y="2256063"/>
                  <a:pt x="1673714" y="2231327"/>
                </a:cubicBezTo>
                <a:cubicBezTo>
                  <a:pt x="1672809" y="2230736"/>
                  <a:pt x="1671895" y="2230165"/>
                  <a:pt x="1670952" y="2229622"/>
                </a:cubicBezTo>
                <a:lnTo>
                  <a:pt x="1443142" y="2096053"/>
                </a:lnTo>
                <a:cubicBezTo>
                  <a:pt x="1482004" y="2069687"/>
                  <a:pt x="1506550" y="2030825"/>
                  <a:pt x="1522743" y="1996488"/>
                </a:cubicBezTo>
                <a:cubicBezTo>
                  <a:pt x="1529496" y="1999269"/>
                  <a:pt x="1536259" y="2001993"/>
                  <a:pt x="1543079" y="2004517"/>
                </a:cubicBezTo>
                <a:cubicBezTo>
                  <a:pt x="1603848" y="2026996"/>
                  <a:pt x="1659017" y="2038236"/>
                  <a:pt x="1714195" y="2038236"/>
                </a:cubicBezTo>
                <a:cubicBezTo>
                  <a:pt x="1769393" y="2038236"/>
                  <a:pt x="1824600" y="2026987"/>
                  <a:pt x="1885417" y="2004498"/>
                </a:cubicBezTo>
                <a:cubicBezTo>
                  <a:pt x="1892180" y="2001993"/>
                  <a:pt x="1898885" y="1999279"/>
                  <a:pt x="1905591" y="1996516"/>
                </a:cubicBezTo>
                <a:cubicBezTo>
                  <a:pt x="1921745" y="2030844"/>
                  <a:pt x="1946243" y="2069706"/>
                  <a:pt x="1985124" y="2096081"/>
                </a:cubicBezTo>
                <a:close/>
                <a:moveTo>
                  <a:pt x="2227098" y="1375353"/>
                </a:moveTo>
                <a:cubicBezTo>
                  <a:pt x="2227098" y="1561786"/>
                  <a:pt x="2044208" y="1793186"/>
                  <a:pt x="1835772" y="1870520"/>
                </a:cubicBezTo>
                <a:cubicBezTo>
                  <a:pt x="1746037" y="1903724"/>
                  <a:pt x="1682401" y="1903724"/>
                  <a:pt x="1592685" y="1870539"/>
                </a:cubicBezTo>
                <a:cubicBezTo>
                  <a:pt x="1384202" y="1793262"/>
                  <a:pt x="1201331" y="1561862"/>
                  <a:pt x="1201331" y="1375353"/>
                </a:cubicBezTo>
                <a:lnTo>
                  <a:pt x="1201331" y="1258319"/>
                </a:lnTo>
                <a:cubicBezTo>
                  <a:pt x="1303525" y="1235697"/>
                  <a:pt x="1356150" y="1182310"/>
                  <a:pt x="1392898" y="1144810"/>
                </a:cubicBezTo>
                <a:cubicBezTo>
                  <a:pt x="1429741" y="1107196"/>
                  <a:pt x="1436380" y="1100433"/>
                  <a:pt x="1476642" y="1110806"/>
                </a:cubicBezTo>
                <a:cubicBezTo>
                  <a:pt x="1505655" y="1118264"/>
                  <a:pt x="1530429" y="1124855"/>
                  <a:pt x="1551956" y="1130579"/>
                </a:cubicBezTo>
                <a:cubicBezTo>
                  <a:pt x="1627280" y="1150620"/>
                  <a:pt x="1668780" y="1161650"/>
                  <a:pt x="1714205" y="1161650"/>
                </a:cubicBezTo>
                <a:cubicBezTo>
                  <a:pt x="1759306" y="1161650"/>
                  <a:pt x="1800635" y="1150677"/>
                  <a:pt x="1875663" y="1130741"/>
                </a:cubicBezTo>
                <a:cubicBezTo>
                  <a:pt x="1897361" y="1124979"/>
                  <a:pt x="1922383" y="1118330"/>
                  <a:pt x="1951863" y="1110777"/>
                </a:cubicBezTo>
                <a:cubicBezTo>
                  <a:pt x="1991887" y="1100452"/>
                  <a:pt x="1998545" y="1107205"/>
                  <a:pt x="2035397" y="1144791"/>
                </a:cubicBezTo>
                <a:cubicBezTo>
                  <a:pt x="2072183" y="1182300"/>
                  <a:pt x="2124866" y="1235697"/>
                  <a:pt x="2227088" y="1258319"/>
                </a:cubicBezTo>
                <a:lnTo>
                  <a:pt x="2227088" y="1375353"/>
                </a:lnTo>
                <a:close/>
                <a:moveTo>
                  <a:pt x="2584028" y="1763278"/>
                </a:moveTo>
                <a:cubicBezTo>
                  <a:pt x="2583075" y="1763839"/>
                  <a:pt x="2582142" y="1764411"/>
                  <a:pt x="2581218" y="1765011"/>
                </a:cubicBezTo>
                <a:cubicBezTo>
                  <a:pt x="2543147" y="1789719"/>
                  <a:pt x="2538613" y="1789747"/>
                  <a:pt x="2500522" y="1765011"/>
                </a:cubicBezTo>
                <a:cubicBezTo>
                  <a:pt x="2499608" y="1764420"/>
                  <a:pt x="2498693" y="1763849"/>
                  <a:pt x="2497750" y="1763306"/>
                </a:cubicBezTo>
                <a:lnTo>
                  <a:pt x="2292887" y="1643196"/>
                </a:lnTo>
                <a:cubicBezTo>
                  <a:pt x="2313785" y="1605391"/>
                  <a:pt x="2330939" y="1566672"/>
                  <a:pt x="2343712" y="1527848"/>
                </a:cubicBezTo>
                <a:cubicBezTo>
                  <a:pt x="2352332" y="1531496"/>
                  <a:pt x="2360971" y="1534982"/>
                  <a:pt x="2369611" y="1538211"/>
                </a:cubicBezTo>
                <a:cubicBezTo>
                  <a:pt x="2430380" y="1560690"/>
                  <a:pt x="2485539" y="1571930"/>
                  <a:pt x="2540727" y="1571930"/>
                </a:cubicBezTo>
                <a:cubicBezTo>
                  <a:pt x="2595915" y="1571930"/>
                  <a:pt x="2651122" y="1560681"/>
                  <a:pt x="2711920" y="1538192"/>
                </a:cubicBezTo>
                <a:cubicBezTo>
                  <a:pt x="2718721" y="1535678"/>
                  <a:pt x="2725465" y="1532944"/>
                  <a:pt x="2732208" y="1530182"/>
                </a:cubicBezTo>
                <a:cubicBezTo>
                  <a:pt x="2748429" y="1564548"/>
                  <a:pt x="2773013" y="1603458"/>
                  <a:pt x="2811980" y="1629832"/>
                </a:cubicBezTo>
                <a:close/>
              </a:path>
            </a:pathLst>
          </a:custGeom>
          <a:solidFill>
            <a:schemeClr val="tx2"/>
          </a:solidFill>
          <a:ln w="9525" cap="flat">
            <a:noFill/>
            <a:prstDash val="solid"/>
            <a:miter/>
          </a:ln>
        </p:spPr>
        <p:txBody>
          <a:bodyPr rtlCol="0" anchor="ctr"/>
          <a:lstStyle/>
          <a:p>
            <a:endParaRPr lang="en-US"/>
          </a:p>
        </p:txBody>
      </p:sp>
      <p:sp>
        <p:nvSpPr>
          <p:cNvPr id="8" name="Rectangle 12">
            <a:extLst>
              <a:ext uri="{FF2B5EF4-FFF2-40B4-BE49-F238E27FC236}">
                <a16:creationId xmlns:a16="http://schemas.microsoft.com/office/drawing/2014/main" id="{9406322E-9A17-5C4D-9008-8F991E58BCE8}"/>
              </a:ext>
            </a:extLst>
          </p:cNvPr>
          <p:cNvSpPr/>
          <p:nvPr userDrawn="1"/>
        </p:nvSpPr>
        <p:spPr>
          <a:xfrm>
            <a:off x="9457764" y="6579030"/>
            <a:ext cx="2734235" cy="278969"/>
          </a:xfrm>
          <a:prstGeom prst="rect">
            <a:avLst/>
          </a:prstGeom>
          <a:solidFill>
            <a:schemeClr val="accent3"/>
          </a:solidFill>
        </p:spPr>
        <p:txBody>
          <a:bodyPr wrap="square" lIns="0" tIns="0" rIns="0" bIns="0" rtlCol="0" anchor="ctr" anchorCtr="0">
            <a:noAutofit/>
          </a:bodyPr>
          <a:lstStyle/>
          <a:p>
            <a:pPr algn="ctr"/>
            <a:r>
              <a:rPr lang="en-US" sz="800" b="1">
                <a:solidFill>
                  <a:schemeClr val="bg1"/>
                </a:solidFill>
                <a:cs typeface="Arial" panose="020B0604020202020204" pitchFamily="34" charset="0"/>
              </a:rPr>
              <a:t>ORGANIZACIÓN DEL PROYECTO</a:t>
            </a:r>
          </a:p>
        </p:txBody>
      </p:sp>
    </p:spTree>
    <p:extLst>
      <p:ext uri="{BB962C8B-B14F-4D97-AF65-F5344CB8AC3E}">
        <p14:creationId xmlns:p14="http://schemas.microsoft.com/office/powerpoint/2010/main" val="3143908164"/>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mplate Propuesta 2022 - Oferta Económica">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50040F2E-A856-F74D-B747-8F63180F396D}"/>
              </a:ext>
            </a:extLst>
          </p:cNvPr>
          <p:cNvSpPr>
            <a:spLocks noGrp="1"/>
          </p:cNvSpPr>
          <p:nvPr>
            <p:ph type="title"/>
          </p:nvPr>
        </p:nvSpPr>
        <p:spPr>
          <a:xfrm>
            <a:off x="1138892" y="36122"/>
            <a:ext cx="10610449" cy="276999"/>
          </a:xfrm>
        </p:spPr>
        <p:txBody>
          <a:bodyPr/>
          <a:lstStyle>
            <a:lvl1pPr>
              <a:defRPr cap="all" baseline="0"/>
            </a:lvl1pPr>
          </a:lstStyle>
          <a:p>
            <a:r>
              <a:rPr lang="es-ES_tradnl" noProof="0"/>
              <a:t>Haga clic para modificar el estilo de título del patrón</a:t>
            </a:r>
          </a:p>
        </p:txBody>
      </p:sp>
      <p:sp>
        <p:nvSpPr>
          <p:cNvPr id="7" name="Marcador de texto 5">
            <a:extLst>
              <a:ext uri="{FF2B5EF4-FFF2-40B4-BE49-F238E27FC236}">
                <a16:creationId xmlns:a16="http://schemas.microsoft.com/office/drawing/2014/main" id="{CC6303D6-D0FC-984A-8419-A50470327A59}"/>
              </a:ext>
            </a:extLst>
          </p:cNvPr>
          <p:cNvSpPr>
            <a:spLocks noGrp="1"/>
          </p:cNvSpPr>
          <p:nvPr>
            <p:ph type="body" sz="quarter" idx="10"/>
          </p:nvPr>
        </p:nvSpPr>
        <p:spPr>
          <a:xfrm>
            <a:off x="442659" y="671500"/>
            <a:ext cx="11306682" cy="5741999"/>
          </a:xfrm>
        </p:spPr>
        <p:txBody>
          <a:bodyPr/>
          <a:lstStyle/>
          <a:p>
            <a:pPr lvl="0"/>
            <a:r>
              <a:rPr lang="es-ES_tradnl" noProof="0"/>
              <a:t>Haga clic para modificar los estilos de texto del patrón</a:t>
            </a:r>
          </a:p>
          <a:p>
            <a:pPr lvl="1"/>
            <a:r>
              <a:rPr lang="es-ES_tradnl" noProof="0"/>
              <a:t>Segundo nivel</a:t>
            </a:r>
          </a:p>
          <a:p>
            <a:pPr lvl="2"/>
            <a:r>
              <a:rPr lang="es-ES_tradnl" noProof="0"/>
              <a:t>Tercer nivel</a:t>
            </a:r>
          </a:p>
          <a:p>
            <a:pPr lvl="3"/>
            <a:r>
              <a:rPr lang="es-ES_tradnl" noProof="0"/>
              <a:t>Cuarto nivel</a:t>
            </a:r>
          </a:p>
          <a:p>
            <a:pPr lvl="4"/>
            <a:r>
              <a:rPr lang="es-ES_tradnl" noProof="0"/>
              <a:t>Quinto nivel</a:t>
            </a:r>
          </a:p>
        </p:txBody>
      </p:sp>
      <p:sp>
        <p:nvSpPr>
          <p:cNvPr id="4" name="Marcador de texto 4">
            <a:extLst>
              <a:ext uri="{FF2B5EF4-FFF2-40B4-BE49-F238E27FC236}">
                <a16:creationId xmlns:a16="http://schemas.microsoft.com/office/drawing/2014/main" id="{DED7AFAC-0516-FB48-9E02-44CC62A80883}"/>
              </a:ext>
            </a:extLst>
          </p:cNvPr>
          <p:cNvSpPr>
            <a:spLocks noGrp="1"/>
          </p:cNvSpPr>
          <p:nvPr>
            <p:ph type="body" sz="quarter" idx="11"/>
          </p:nvPr>
        </p:nvSpPr>
        <p:spPr>
          <a:xfrm>
            <a:off x="1138639" y="290195"/>
            <a:ext cx="10610449" cy="217488"/>
          </a:xfrm>
        </p:spPr>
        <p:txBody>
          <a:bodyPr/>
          <a:lstStyle>
            <a:lvl1pPr>
              <a:defRPr sz="1200">
                <a:solidFill>
                  <a:schemeClr val="tx2"/>
                </a:solidFill>
              </a:defRPr>
            </a:lvl1pPr>
          </a:lstStyle>
          <a:p>
            <a:pPr lvl="0"/>
            <a:r>
              <a:rPr lang="es-ES_tradnl" noProof="0"/>
              <a:t>Haga clic para modificar los estilos de texto del patrón</a:t>
            </a:r>
          </a:p>
        </p:txBody>
      </p:sp>
      <p:sp>
        <p:nvSpPr>
          <p:cNvPr id="9" name="Rectángulo 8">
            <a:extLst>
              <a:ext uri="{FF2B5EF4-FFF2-40B4-BE49-F238E27FC236}">
                <a16:creationId xmlns:a16="http://schemas.microsoft.com/office/drawing/2014/main" id="{9D31E6A8-7FC5-D346-B913-27F3CB84C0BF}"/>
              </a:ext>
            </a:extLst>
          </p:cNvPr>
          <p:cNvSpPr/>
          <p:nvPr userDrawn="1"/>
        </p:nvSpPr>
        <p:spPr bwMode="auto">
          <a:xfrm>
            <a:off x="596159" y="67814"/>
            <a:ext cx="405613" cy="405613"/>
          </a:xfrm>
          <a:prstGeom prst="rect">
            <a:avLst/>
          </a:prstGeom>
          <a:solidFill>
            <a:schemeClr val="bg1"/>
          </a:solidFill>
          <a:ln w="25400" cap="flat">
            <a:solidFill>
              <a:schemeClr val="accent4"/>
            </a:solidFill>
            <a:miter lim="800000"/>
          </a:ln>
        </p:spPr>
        <p:txBody>
          <a:bodyPr lIns="0" tIns="0" rIns="0" bIns="0" rtlCol="0" anchor="ctr">
            <a:noAutofit/>
          </a:bodyPr>
          <a:lstStyle/>
          <a:p>
            <a:pPr algn="ctr"/>
            <a:endParaRPr lang="es-ES_tradnl" sz="1400" noProof="0"/>
          </a:p>
        </p:txBody>
      </p:sp>
      <p:sp>
        <p:nvSpPr>
          <p:cNvPr id="10" name="Rectangle 12">
            <a:extLst>
              <a:ext uri="{FF2B5EF4-FFF2-40B4-BE49-F238E27FC236}">
                <a16:creationId xmlns:a16="http://schemas.microsoft.com/office/drawing/2014/main" id="{6F78DFC5-000B-8C46-AE81-AA51C58404F2}"/>
              </a:ext>
            </a:extLst>
          </p:cNvPr>
          <p:cNvSpPr/>
          <p:nvPr userDrawn="1"/>
        </p:nvSpPr>
        <p:spPr>
          <a:xfrm>
            <a:off x="9457764" y="6579030"/>
            <a:ext cx="2734235" cy="278969"/>
          </a:xfrm>
          <a:prstGeom prst="rect">
            <a:avLst/>
          </a:prstGeom>
          <a:solidFill>
            <a:schemeClr val="accent4"/>
          </a:solidFill>
        </p:spPr>
        <p:txBody>
          <a:bodyPr wrap="square" lIns="0" tIns="0" rIns="0" bIns="0" rtlCol="0" anchor="ctr" anchorCtr="0">
            <a:noAutofit/>
          </a:bodyPr>
          <a:lstStyle/>
          <a:p>
            <a:pPr algn="ctr"/>
            <a:r>
              <a:rPr lang="en-US" sz="800" b="1">
                <a:solidFill>
                  <a:schemeClr val="bg1"/>
                </a:solidFill>
                <a:cs typeface="Arial" panose="020B0604020202020204" pitchFamily="34" charset="0"/>
              </a:rPr>
              <a:t>EQUIPO DE TRABAJO</a:t>
            </a:r>
          </a:p>
        </p:txBody>
      </p:sp>
      <p:pic>
        <p:nvPicPr>
          <p:cNvPr id="11" name="Gráfico 10" descr="Red social">
            <a:extLst>
              <a:ext uri="{FF2B5EF4-FFF2-40B4-BE49-F238E27FC236}">
                <a16:creationId xmlns:a16="http://schemas.microsoft.com/office/drawing/2014/main" id="{68566EF6-307B-48D2-AE3A-41D018E2699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00806" y="79133"/>
            <a:ext cx="404446" cy="404446"/>
          </a:xfrm>
          <a:prstGeom prst="rect">
            <a:avLst/>
          </a:prstGeom>
        </p:spPr>
      </p:pic>
    </p:spTree>
    <p:extLst>
      <p:ext uri="{BB962C8B-B14F-4D97-AF65-F5344CB8AC3E}">
        <p14:creationId xmlns:p14="http://schemas.microsoft.com/office/powerpoint/2010/main" val="1425246463"/>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mplate Propuesta 2022 - Propuesta de Valor">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50040F2E-A856-F74D-B747-8F63180F396D}"/>
              </a:ext>
            </a:extLst>
          </p:cNvPr>
          <p:cNvSpPr>
            <a:spLocks noGrp="1"/>
          </p:cNvSpPr>
          <p:nvPr>
            <p:ph type="title"/>
          </p:nvPr>
        </p:nvSpPr>
        <p:spPr>
          <a:xfrm>
            <a:off x="1138892" y="36122"/>
            <a:ext cx="10610449" cy="276999"/>
          </a:xfrm>
        </p:spPr>
        <p:txBody>
          <a:bodyPr/>
          <a:lstStyle>
            <a:lvl1pPr>
              <a:defRPr cap="all" baseline="0"/>
            </a:lvl1pPr>
          </a:lstStyle>
          <a:p>
            <a:r>
              <a:rPr lang="es-ES_tradnl" noProof="0"/>
              <a:t>Haga clic para modificar el estilo de título del patrón</a:t>
            </a:r>
          </a:p>
        </p:txBody>
      </p:sp>
      <p:sp>
        <p:nvSpPr>
          <p:cNvPr id="4" name="Marcador de texto 4">
            <a:extLst>
              <a:ext uri="{FF2B5EF4-FFF2-40B4-BE49-F238E27FC236}">
                <a16:creationId xmlns:a16="http://schemas.microsoft.com/office/drawing/2014/main" id="{DED7AFAC-0516-FB48-9E02-44CC62A80883}"/>
              </a:ext>
            </a:extLst>
          </p:cNvPr>
          <p:cNvSpPr>
            <a:spLocks noGrp="1"/>
          </p:cNvSpPr>
          <p:nvPr>
            <p:ph type="body" sz="quarter" idx="11"/>
          </p:nvPr>
        </p:nvSpPr>
        <p:spPr>
          <a:xfrm>
            <a:off x="1138639" y="290195"/>
            <a:ext cx="10610449" cy="217488"/>
          </a:xfrm>
        </p:spPr>
        <p:txBody>
          <a:bodyPr/>
          <a:lstStyle>
            <a:lvl1pPr>
              <a:defRPr sz="1200">
                <a:solidFill>
                  <a:schemeClr val="tx2"/>
                </a:solidFill>
              </a:defRPr>
            </a:lvl1pPr>
          </a:lstStyle>
          <a:p>
            <a:pPr lvl="0"/>
            <a:r>
              <a:rPr lang="es-ES_tradnl" noProof="0"/>
              <a:t>Haga clic para modificar los estilos de texto del patrón</a:t>
            </a:r>
          </a:p>
        </p:txBody>
      </p:sp>
      <p:sp>
        <p:nvSpPr>
          <p:cNvPr id="9" name="Rectángulo 8">
            <a:extLst>
              <a:ext uri="{FF2B5EF4-FFF2-40B4-BE49-F238E27FC236}">
                <a16:creationId xmlns:a16="http://schemas.microsoft.com/office/drawing/2014/main" id="{9D31E6A8-7FC5-D346-B913-27F3CB84C0BF}"/>
              </a:ext>
            </a:extLst>
          </p:cNvPr>
          <p:cNvSpPr/>
          <p:nvPr userDrawn="1"/>
        </p:nvSpPr>
        <p:spPr bwMode="auto">
          <a:xfrm>
            <a:off x="596159" y="67814"/>
            <a:ext cx="405613" cy="405613"/>
          </a:xfrm>
          <a:prstGeom prst="rect">
            <a:avLst/>
          </a:prstGeom>
          <a:solidFill>
            <a:schemeClr val="bg1"/>
          </a:solidFill>
          <a:ln w="25400" cap="flat">
            <a:solidFill>
              <a:schemeClr val="accent6"/>
            </a:solidFill>
            <a:miter lim="800000"/>
          </a:ln>
        </p:spPr>
        <p:txBody>
          <a:bodyPr lIns="0" tIns="0" rIns="0" bIns="0" rtlCol="0" anchor="ctr">
            <a:noAutofit/>
          </a:bodyPr>
          <a:lstStyle/>
          <a:p>
            <a:pPr algn="ctr"/>
            <a:endParaRPr lang="es-ES_tradnl" sz="1400" noProof="0"/>
          </a:p>
        </p:txBody>
      </p:sp>
      <p:sp>
        <p:nvSpPr>
          <p:cNvPr id="11" name="Rectangle 12">
            <a:extLst>
              <a:ext uri="{FF2B5EF4-FFF2-40B4-BE49-F238E27FC236}">
                <a16:creationId xmlns:a16="http://schemas.microsoft.com/office/drawing/2014/main" id="{76E17A97-AF6C-4C45-A2C7-7F159E8CF989}"/>
              </a:ext>
            </a:extLst>
          </p:cNvPr>
          <p:cNvSpPr/>
          <p:nvPr userDrawn="1"/>
        </p:nvSpPr>
        <p:spPr>
          <a:xfrm>
            <a:off x="9457765" y="6579030"/>
            <a:ext cx="2734235" cy="278969"/>
          </a:xfrm>
          <a:prstGeom prst="rect">
            <a:avLst/>
          </a:prstGeom>
          <a:solidFill>
            <a:schemeClr val="accent6"/>
          </a:solidFill>
        </p:spPr>
        <p:txBody>
          <a:bodyPr wrap="square" lIns="0" tIns="0" rIns="0" bIns="0" rtlCol="0" anchor="ctr" anchorCtr="0">
            <a:noAutofit/>
          </a:bodyPr>
          <a:lstStyle/>
          <a:p>
            <a:pPr algn="ctr"/>
            <a:r>
              <a:rPr lang="en-US" sz="800" b="1">
                <a:solidFill>
                  <a:schemeClr val="bg1"/>
                </a:solidFill>
                <a:cs typeface="Arial" panose="020B0604020202020204" pitchFamily="34" charset="0"/>
              </a:rPr>
              <a:t>NUESTRA PROPUESTA DE VALOR</a:t>
            </a:r>
          </a:p>
        </p:txBody>
      </p:sp>
      <p:sp>
        <p:nvSpPr>
          <p:cNvPr id="12" name="Gráfico 5">
            <a:extLst>
              <a:ext uri="{FF2B5EF4-FFF2-40B4-BE49-F238E27FC236}">
                <a16:creationId xmlns:a16="http://schemas.microsoft.com/office/drawing/2014/main" id="{1DD10BD7-906F-894A-9324-871E53291A86}"/>
              </a:ext>
            </a:extLst>
          </p:cNvPr>
          <p:cNvSpPr/>
          <p:nvPr userDrawn="1"/>
        </p:nvSpPr>
        <p:spPr>
          <a:xfrm>
            <a:off x="664737" y="130484"/>
            <a:ext cx="268456" cy="268455"/>
          </a:xfrm>
          <a:custGeom>
            <a:avLst/>
            <a:gdLst>
              <a:gd name="connsiteX0" fmla="*/ 241811 w 4876786"/>
              <a:gd name="connsiteY0" fmla="*/ 4308967 h 4876779"/>
              <a:gd name="connsiteX1" fmla="*/ 810768 w 4876786"/>
              <a:gd name="connsiteY1" fmla="*/ 4311492 h 4876779"/>
              <a:gd name="connsiteX2" fmla="*/ 821007 w 4876786"/>
              <a:gd name="connsiteY2" fmla="*/ 4311492 h 4876779"/>
              <a:gd name="connsiteX3" fmla="*/ 944794 w 4876786"/>
              <a:gd name="connsiteY3" fmla="*/ 4331084 h 4876779"/>
              <a:gd name="connsiteX4" fmla="*/ 2577465 w 4876786"/>
              <a:gd name="connsiteY4" fmla="*/ 4857293 h 4876779"/>
              <a:gd name="connsiteX5" fmla="*/ 2947530 w 4876786"/>
              <a:gd name="connsiteY5" fmla="*/ 4794057 h 4876779"/>
              <a:gd name="connsiteX6" fmla="*/ 4772682 w 4876786"/>
              <a:gd name="connsiteY6" fmla="*/ 3407655 h 4876779"/>
              <a:gd name="connsiteX7" fmla="*/ 4820317 w 4876786"/>
              <a:gd name="connsiteY7" fmla="*/ 3030293 h 4876779"/>
              <a:gd name="connsiteX8" fmla="*/ 4809258 w 4876786"/>
              <a:gd name="connsiteY8" fmla="*/ 3016949 h 4876779"/>
              <a:gd name="connsiteX9" fmla="*/ 4806496 w 4876786"/>
              <a:gd name="connsiteY9" fmla="*/ 3013777 h 4876779"/>
              <a:gd name="connsiteX10" fmla="*/ 4462844 w 4876786"/>
              <a:gd name="connsiteY10" fmla="*/ 2968914 h 4876779"/>
              <a:gd name="connsiteX11" fmla="*/ 4145280 w 4876786"/>
              <a:gd name="connsiteY11" fmla="*/ 3169910 h 4876779"/>
              <a:gd name="connsiteX12" fmla="*/ 4145280 w 4876786"/>
              <a:gd name="connsiteY12" fmla="*/ 2298992 h 4876779"/>
              <a:gd name="connsiteX13" fmla="*/ 4218432 w 4876786"/>
              <a:gd name="connsiteY13" fmla="*/ 2275827 h 4876779"/>
              <a:gd name="connsiteX14" fmla="*/ 4375709 w 4876786"/>
              <a:gd name="connsiteY14" fmla="*/ 1962493 h 4876779"/>
              <a:gd name="connsiteX15" fmla="*/ 4361565 w 4876786"/>
              <a:gd name="connsiteY15" fmla="*/ 1928517 h 4876779"/>
              <a:gd name="connsiteX16" fmla="*/ 4135279 w 4876786"/>
              <a:gd name="connsiteY16" fmla="*/ 1506512 h 4876779"/>
              <a:gd name="connsiteX17" fmla="*/ 4086511 w 4876786"/>
              <a:gd name="connsiteY17" fmla="*/ 1465869 h 4876779"/>
              <a:gd name="connsiteX18" fmla="*/ 3157966 w 4876786"/>
              <a:gd name="connsiteY18" fmla="*/ 1201303 h 4876779"/>
              <a:gd name="connsiteX19" fmla="*/ 3542338 w 4876786"/>
              <a:gd name="connsiteY19" fmla="*/ 693144 h 4876779"/>
              <a:gd name="connsiteX20" fmla="*/ 3544453 w 4876786"/>
              <a:gd name="connsiteY20" fmla="*/ 690058 h 4876779"/>
              <a:gd name="connsiteX21" fmla="*/ 3542014 w 4876786"/>
              <a:gd name="connsiteY21" fmla="*/ 481822 h 4876779"/>
              <a:gd name="connsiteX22" fmla="*/ 3306394 w 4876786"/>
              <a:gd name="connsiteY22" fmla="*/ 80705 h 4876779"/>
              <a:gd name="connsiteX23" fmla="*/ 3300546 w 4876786"/>
              <a:gd name="connsiteY23" fmla="*/ 72581 h 4876779"/>
              <a:gd name="connsiteX24" fmla="*/ 3152613 w 4876786"/>
              <a:gd name="connsiteY24" fmla="*/ 0 h 4876779"/>
              <a:gd name="connsiteX25" fmla="*/ 2211877 w 4876786"/>
              <a:gd name="connsiteY25" fmla="*/ 0 h 4876779"/>
              <a:gd name="connsiteX26" fmla="*/ 2063944 w 4876786"/>
              <a:gd name="connsiteY26" fmla="*/ 72257 h 4876779"/>
              <a:gd name="connsiteX27" fmla="*/ 2058095 w 4876786"/>
              <a:gd name="connsiteY27" fmla="*/ 80381 h 4876779"/>
              <a:gd name="connsiteX28" fmla="*/ 1822380 w 4876786"/>
              <a:gd name="connsiteY28" fmla="*/ 481498 h 4876779"/>
              <a:gd name="connsiteX29" fmla="*/ 1822380 w 4876786"/>
              <a:gd name="connsiteY29" fmla="*/ 692829 h 4876779"/>
              <a:gd name="connsiteX30" fmla="*/ 2206838 w 4876786"/>
              <a:gd name="connsiteY30" fmla="*/ 1200988 h 4876779"/>
              <a:gd name="connsiteX31" fmla="*/ 1278217 w 4876786"/>
              <a:gd name="connsiteY31" fmla="*/ 1466126 h 4876779"/>
              <a:gd name="connsiteX32" fmla="*/ 1228801 w 4876786"/>
              <a:gd name="connsiteY32" fmla="*/ 1506769 h 4876779"/>
              <a:gd name="connsiteX33" fmla="*/ 1002602 w 4876786"/>
              <a:gd name="connsiteY33" fmla="*/ 1930317 h 4876779"/>
              <a:gd name="connsiteX34" fmla="*/ 1113711 w 4876786"/>
              <a:gd name="connsiteY34" fmla="*/ 2262473 h 4876779"/>
              <a:gd name="connsiteX35" fmla="*/ 1146058 w 4876786"/>
              <a:gd name="connsiteY35" fmla="*/ 2275837 h 4876779"/>
              <a:gd name="connsiteX36" fmla="*/ 1219210 w 4876786"/>
              <a:gd name="connsiteY36" fmla="*/ 2298754 h 4876779"/>
              <a:gd name="connsiteX37" fmla="*/ 1219210 w 4876786"/>
              <a:gd name="connsiteY37" fmla="*/ 2980858 h 4876779"/>
              <a:gd name="connsiteX38" fmla="*/ 964311 w 4876786"/>
              <a:gd name="connsiteY38" fmla="*/ 3120009 h 4876779"/>
              <a:gd name="connsiteX39" fmla="*/ 769725 w 4876786"/>
              <a:gd name="connsiteY39" fmla="*/ 3169910 h 4876779"/>
              <a:gd name="connsiteX40" fmla="*/ 243840 w 4876786"/>
              <a:gd name="connsiteY40" fmla="*/ 3169910 h 4876779"/>
              <a:gd name="connsiteX41" fmla="*/ 0 w 4876786"/>
              <a:gd name="connsiteY41" fmla="*/ 3413751 h 4876779"/>
              <a:gd name="connsiteX42" fmla="*/ 0 w 4876786"/>
              <a:gd name="connsiteY42" fmla="*/ 4065127 h 4876779"/>
              <a:gd name="connsiteX43" fmla="*/ 241811 w 4876786"/>
              <a:gd name="connsiteY43" fmla="*/ 4308967 h 4876779"/>
              <a:gd name="connsiteX44" fmla="*/ 3982717 w 4876786"/>
              <a:gd name="connsiteY44" fmla="*/ 3272981 h 4876779"/>
              <a:gd name="connsiteX45" fmla="*/ 3762451 w 4876786"/>
              <a:gd name="connsiteY45" fmla="*/ 3412379 h 4876779"/>
              <a:gd name="connsiteX46" fmla="*/ 3509591 w 4876786"/>
              <a:gd name="connsiteY46" fmla="*/ 3142450 h 4876779"/>
              <a:gd name="connsiteX47" fmla="*/ 2763517 w 4876786"/>
              <a:gd name="connsiteY47" fmla="*/ 3024178 h 4876779"/>
              <a:gd name="connsiteX48" fmla="*/ 2763517 w 4876786"/>
              <a:gd name="connsiteY48" fmla="*/ 2220478 h 4876779"/>
              <a:gd name="connsiteX49" fmla="*/ 2942825 w 4876786"/>
              <a:gd name="connsiteY49" fmla="*/ 2490569 h 4876779"/>
              <a:gd name="connsiteX50" fmla="*/ 3219831 w 4876786"/>
              <a:gd name="connsiteY50" fmla="*/ 2590295 h 4876779"/>
              <a:gd name="connsiteX51" fmla="*/ 3982727 w 4876786"/>
              <a:gd name="connsiteY51" fmla="*/ 2350113 h 4876779"/>
              <a:gd name="connsiteX52" fmla="*/ 3982727 w 4876786"/>
              <a:gd name="connsiteY52" fmla="*/ 3272981 h 4876779"/>
              <a:gd name="connsiteX53" fmla="*/ 4220061 w 4876786"/>
              <a:gd name="connsiteY53" fmla="*/ 2074421 h 4876779"/>
              <a:gd name="connsiteX54" fmla="*/ 4169340 w 4876786"/>
              <a:gd name="connsiteY54" fmla="*/ 2120998 h 4876779"/>
              <a:gd name="connsiteX55" fmla="*/ 3171139 w 4876786"/>
              <a:gd name="connsiteY55" fmla="*/ 2435228 h 4876779"/>
              <a:gd name="connsiteX56" fmla="*/ 3078642 w 4876786"/>
              <a:gd name="connsiteY56" fmla="*/ 2401253 h 4876779"/>
              <a:gd name="connsiteX57" fmla="*/ 2811066 w 4876786"/>
              <a:gd name="connsiteY57" fmla="*/ 1998269 h 4876779"/>
              <a:gd name="connsiteX58" fmla="*/ 4023360 w 4876786"/>
              <a:gd name="connsiteY58" fmla="*/ 1641034 h 4876779"/>
              <a:gd name="connsiteX59" fmla="*/ 4217299 w 4876786"/>
              <a:gd name="connsiteY59" fmla="*/ 2004193 h 4876779"/>
              <a:gd name="connsiteX60" fmla="*/ 4220061 w 4876786"/>
              <a:gd name="connsiteY60" fmla="*/ 2074421 h 4876779"/>
              <a:gd name="connsiteX61" fmla="*/ 2600963 w 4876786"/>
              <a:gd name="connsiteY61" fmla="*/ 1453115 h 4876779"/>
              <a:gd name="connsiteX62" fmla="*/ 1993392 w 4876786"/>
              <a:gd name="connsiteY62" fmla="*/ 650234 h 4876779"/>
              <a:gd name="connsiteX63" fmla="*/ 2600963 w 4876786"/>
              <a:gd name="connsiteY63" fmla="*/ 650234 h 4876779"/>
              <a:gd name="connsiteX64" fmla="*/ 2763517 w 4876786"/>
              <a:gd name="connsiteY64" fmla="*/ 650234 h 4876779"/>
              <a:gd name="connsiteX65" fmla="*/ 3370926 w 4876786"/>
              <a:gd name="connsiteY65" fmla="*/ 650234 h 4876779"/>
              <a:gd name="connsiteX66" fmla="*/ 2763517 w 4876786"/>
              <a:gd name="connsiteY66" fmla="*/ 1453277 h 4876779"/>
              <a:gd name="connsiteX67" fmla="*/ 3169920 w 4876786"/>
              <a:gd name="connsiteY67" fmla="*/ 169221 h 4876779"/>
              <a:gd name="connsiteX68" fmla="*/ 3356867 w 4876786"/>
              <a:gd name="connsiteY68" fmla="*/ 487670 h 4876779"/>
              <a:gd name="connsiteX69" fmla="*/ 2855862 w 4876786"/>
              <a:gd name="connsiteY69" fmla="*/ 487670 h 4876779"/>
              <a:gd name="connsiteX70" fmla="*/ 3126772 w 4876786"/>
              <a:gd name="connsiteY70" fmla="*/ 162554 h 4876779"/>
              <a:gd name="connsiteX71" fmla="*/ 3152623 w 4876786"/>
              <a:gd name="connsiteY71" fmla="*/ 162554 h 4876779"/>
              <a:gd name="connsiteX72" fmla="*/ 3169920 w 4876786"/>
              <a:gd name="connsiteY72" fmla="*/ 169221 h 4876779"/>
              <a:gd name="connsiteX73" fmla="*/ 2682240 w 4876786"/>
              <a:gd name="connsiteY73" fmla="*/ 441998 h 4876779"/>
              <a:gd name="connsiteX74" fmla="*/ 2449459 w 4876786"/>
              <a:gd name="connsiteY74" fmla="*/ 162554 h 4876779"/>
              <a:gd name="connsiteX75" fmla="*/ 2915031 w 4876786"/>
              <a:gd name="connsiteY75" fmla="*/ 162554 h 4876779"/>
              <a:gd name="connsiteX76" fmla="*/ 2194560 w 4876786"/>
              <a:gd name="connsiteY76" fmla="*/ 169221 h 4876779"/>
              <a:gd name="connsiteX77" fmla="*/ 2211877 w 4876786"/>
              <a:gd name="connsiteY77" fmla="*/ 162554 h 4876779"/>
              <a:gd name="connsiteX78" fmla="*/ 2237727 w 4876786"/>
              <a:gd name="connsiteY78" fmla="*/ 162554 h 4876779"/>
              <a:gd name="connsiteX79" fmla="*/ 2508628 w 4876786"/>
              <a:gd name="connsiteY79" fmla="*/ 487670 h 4876779"/>
              <a:gd name="connsiteX80" fmla="*/ 2007622 w 4876786"/>
              <a:gd name="connsiteY80" fmla="*/ 487670 h 4876779"/>
              <a:gd name="connsiteX81" fmla="*/ 2311689 w 4876786"/>
              <a:gd name="connsiteY81" fmla="*/ 1340387 h 4876779"/>
              <a:gd name="connsiteX82" fmla="*/ 2528059 w 4876786"/>
              <a:gd name="connsiteY82" fmla="*/ 1626413 h 4876779"/>
              <a:gd name="connsiteX83" fmla="*/ 2682250 w 4876786"/>
              <a:gd name="connsiteY83" fmla="*/ 1706880 h 4876779"/>
              <a:gd name="connsiteX84" fmla="*/ 2834078 w 4876786"/>
              <a:gd name="connsiteY84" fmla="*/ 1629423 h 4876779"/>
              <a:gd name="connsiteX85" fmla="*/ 3052725 w 4876786"/>
              <a:gd name="connsiteY85" fmla="*/ 1340387 h 4876779"/>
              <a:gd name="connsiteX86" fmla="*/ 3772138 w 4876786"/>
              <a:gd name="connsiteY86" fmla="*/ 1545622 h 4876779"/>
              <a:gd name="connsiteX87" fmla="*/ 2682240 w 4876786"/>
              <a:gd name="connsiteY87" fmla="*/ 1866748 h 4876779"/>
              <a:gd name="connsiteX88" fmla="*/ 1592361 w 4876786"/>
              <a:gd name="connsiteY88" fmla="*/ 1545612 h 4876779"/>
              <a:gd name="connsiteX89" fmla="*/ 1144581 w 4876786"/>
              <a:gd name="connsiteY89" fmla="*/ 2074345 h 4876779"/>
              <a:gd name="connsiteX90" fmla="*/ 1146372 w 4876786"/>
              <a:gd name="connsiteY90" fmla="*/ 2005336 h 4876779"/>
              <a:gd name="connsiteX91" fmla="*/ 1341120 w 4876786"/>
              <a:gd name="connsiteY91" fmla="*/ 1641043 h 4876779"/>
              <a:gd name="connsiteX92" fmla="*/ 2553415 w 4876786"/>
              <a:gd name="connsiteY92" fmla="*/ 1998269 h 4876779"/>
              <a:gd name="connsiteX93" fmla="*/ 2285190 w 4876786"/>
              <a:gd name="connsiteY93" fmla="*/ 2401824 h 4876779"/>
              <a:gd name="connsiteX94" fmla="*/ 2193103 w 4876786"/>
              <a:gd name="connsiteY94" fmla="*/ 2435228 h 4876779"/>
              <a:gd name="connsiteX95" fmla="*/ 1194816 w 4876786"/>
              <a:gd name="connsiteY95" fmla="*/ 2121399 h 4876779"/>
              <a:gd name="connsiteX96" fmla="*/ 1144743 w 4876786"/>
              <a:gd name="connsiteY96" fmla="*/ 2074336 h 4876779"/>
              <a:gd name="connsiteX97" fmla="*/ 1144581 w 4876786"/>
              <a:gd name="connsiteY97" fmla="*/ 2074336 h 4876779"/>
              <a:gd name="connsiteX98" fmla="*/ 2144325 w 4876786"/>
              <a:gd name="connsiteY98" fmla="*/ 2590305 h 4876779"/>
              <a:gd name="connsiteX99" fmla="*/ 2216582 w 4876786"/>
              <a:gd name="connsiteY99" fmla="*/ 2601440 h 4876779"/>
              <a:gd name="connsiteX100" fmla="*/ 2420922 w 4876786"/>
              <a:gd name="connsiteY100" fmla="*/ 2491064 h 4876779"/>
              <a:gd name="connsiteX101" fmla="*/ 2600954 w 4876786"/>
              <a:gd name="connsiteY101" fmla="*/ 2220487 h 4876779"/>
              <a:gd name="connsiteX102" fmla="*/ 2600954 w 4876786"/>
              <a:gd name="connsiteY102" fmla="*/ 2998422 h 4876779"/>
              <a:gd name="connsiteX103" fmla="*/ 1667132 w 4876786"/>
              <a:gd name="connsiteY103" fmla="*/ 2850413 h 4876779"/>
              <a:gd name="connsiteX104" fmla="*/ 1381754 w 4876786"/>
              <a:gd name="connsiteY104" fmla="*/ 2894305 h 4876779"/>
              <a:gd name="connsiteX105" fmla="*/ 1381754 w 4876786"/>
              <a:gd name="connsiteY105" fmla="*/ 2350132 h 4876779"/>
              <a:gd name="connsiteX106" fmla="*/ 162563 w 4876786"/>
              <a:gd name="connsiteY106" fmla="*/ 3413751 h 4876779"/>
              <a:gd name="connsiteX107" fmla="*/ 243840 w 4876786"/>
              <a:gd name="connsiteY107" fmla="*/ 3332474 h 4876779"/>
              <a:gd name="connsiteX108" fmla="*/ 769725 w 4876786"/>
              <a:gd name="connsiteY108" fmla="*/ 3332474 h 4876779"/>
              <a:gd name="connsiteX109" fmla="*/ 1042254 w 4876786"/>
              <a:gd name="connsiteY109" fmla="*/ 3262980 h 4876779"/>
              <a:gd name="connsiteX110" fmla="*/ 1442314 w 4876786"/>
              <a:gd name="connsiteY110" fmla="*/ 3044581 h 4876779"/>
              <a:gd name="connsiteX111" fmla="*/ 1642101 w 4876786"/>
              <a:gd name="connsiteY111" fmla="*/ 3011015 h 4876779"/>
              <a:gd name="connsiteX112" fmla="*/ 3484560 w 4876786"/>
              <a:gd name="connsiteY112" fmla="*/ 3303051 h 4876779"/>
              <a:gd name="connsiteX113" fmla="*/ 3599307 w 4876786"/>
              <a:gd name="connsiteY113" fmla="*/ 3459947 h 4876779"/>
              <a:gd name="connsiteX114" fmla="*/ 3463671 w 4876786"/>
              <a:gd name="connsiteY114" fmla="*/ 3576314 h 4876779"/>
              <a:gd name="connsiteX115" fmla="*/ 1869443 w 4876786"/>
              <a:gd name="connsiteY115" fmla="*/ 3576314 h 4876779"/>
              <a:gd name="connsiteX116" fmla="*/ 1788166 w 4876786"/>
              <a:gd name="connsiteY116" fmla="*/ 3657591 h 4876779"/>
              <a:gd name="connsiteX117" fmla="*/ 1869443 w 4876786"/>
              <a:gd name="connsiteY117" fmla="*/ 3738867 h 4876779"/>
              <a:gd name="connsiteX118" fmla="*/ 2248529 w 4876786"/>
              <a:gd name="connsiteY118" fmla="*/ 3738867 h 4876779"/>
              <a:gd name="connsiteX119" fmla="*/ 2729218 w 4876786"/>
              <a:gd name="connsiteY119" fmla="*/ 4104056 h 4876779"/>
              <a:gd name="connsiteX120" fmla="*/ 2958513 w 4876786"/>
              <a:gd name="connsiteY120" fmla="*/ 4113724 h 4876779"/>
              <a:gd name="connsiteX121" fmla="*/ 4550702 w 4876786"/>
              <a:gd name="connsiteY121" fmla="*/ 3105855 h 4876779"/>
              <a:gd name="connsiteX122" fmla="*/ 4684567 w 4876786"/>
              <a:gd name="connsiteY122" fmla="*/ 3121457 h 4876779"/>
              <a:gd name="connsiteX123" fmla="*/ 4686596 w 4876786"/>
              <a:gd name="connsiteY123" fmla="*/ 3123810 h 4876779"/>
              <a:gd name="connsiteX124" fmla="*/ 4679280 w 4876786"/>
              <a:gd name="connsiteY124" fmla="*/ 3274209 h 4876779"/>
              <a:gd name="connsiteX125" fmla="*/ 4673756 w 4876786"/>
              <a:gd name="connsiteY125" fmla="*/ 3278886 h 4876779"/>
              <a:gd name="connsiteX126" fmla="*/ 2849270 w 4876786"/>
              <a:gd name="connsiteY126" fmla="*/ 4664650 h 4876779"/>
              <a:gd name="connsiteX127" fmla="*/ 2627290 w 4876786"/>
              <a:gd name="connsiteY127" fmla="*/ 4702445 h 4876779"/>
              <a:gd name="connsiteX128" fmla="*/ 994381 w 4876786"/>
              <a:gd name="connsiteY128" fmla="*/ 4176322 h 4876779"/>
              <a:gd name="connsiteX129" fmla="*/ 821007 w 4876786"/>
              <a:gd name="connsiteY129" fmla="*/ 4148928 h 4876779"/>
              <a:gd name="connsiteX130" fmla="*/ 820112 w 4876786"/>
              <a:gd name="connsiteY130" fmla="*/ 4148928 h 4876779"/>
              <a:gd name="connsiteX131" fmla="*/ 243021 w 4876786"/>
              <a:gd name="connsiteY131" fmla="*/ 4146404 h 4876779"/>
              <a:gd name="connsiteX132" fmla="*/ 162801 w 4876786"/>
              <a:gd name="connsiteY132" fmla="*/ 4065127 h 4876779"/>
              <a:gd name="connsiteX133" fmla="*/ 3246730 w 4876786"/>
              <a:gd name="connsiteY133" fmla="*/ 3738877 h 4876779"/>
              <a:gd name="connsiteX134" fmla="*/ 2871540 w 4876786"/>
              <a:gd name="connsiteY134" fmla="*/ 3976459 h 4876779"/>
              <a:gd name="connsiteX135" fmla="*/ 2827401 w 4876786"/>
              <a:gd name="connsiteY135" fmla="*/ 3974592 h 4876779"/>
              <a:gd name="connsiteX136" fmla="*/ 2517239 w 4876786"/>
              <a:gd name="connsiteY136" fmla="*/ 3738877 h 4876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4876786" h="4876779">
                <a:moveTo>
                  <a:pt x="241811" y="4308967"/>
                </a:moveTo>
                <a:cubicBezTo>
                  <a:pt x="412985" y="4309939"/>
                  <a:pt x="676980" y="4311492"/>
                  <a:pt x="810768" y="4311492"/>
                </a:cubicBezTo>
                <a:cubicBezTo>
                  <a:pt x="814178" y="4311815"/>
                  <a:pt x="817607" y="4311815"/>
                  <a:pt x="821007" y="4311492"/>
                </a:cubicBezTo>
                <a:cubicBezTo>
                  <a:pt x="863041" y="4311549"/>
                  <a:pt x="904799" y="4318159"/>
                  <a:pt x="944794" y="4331084"/>
                </a:cubicBezTo>
                <a:lnTo>
                  <a:pt x="2577465" y="4857293"/>
                </a:lnTo>
                <a:cubicBezTo>
                  <a:pt x="2703748" y="4897870"/>
                  <a:pt x="2841889" y="4874266"/>
                  <a:pt x="2947530" y="4794057"/>
                </a:cubicBezTo>
                <a:lnTo>
                  <a:pt x="4772682" y="3407655"/>
                </a:lnTo>
                <a:cubicBezTo>
                  <a:pt x="4890040" y="3316605"/>
                  <a:pt x="4911376" y="3147651"/>
                  <a:pt x="4820317" y="3030293"/>
                </a:cubicBezTo>
                <a:cubicBezTo>
                  <a:pt x="4816774" y="3025731"/>
                  <a:pt x="4813088" y="3021273"/>
                  <a:pt x="4809258" y="3016949"/>
                </a:cubicBezTo>
                <a:lnTo>
                  <a:pt x="4806496" y="3013777"/>
                </a:lnTo>
                <a:cubicBezTo>
                  <a:pt x="4718647" y="2916184"/>
                  <a:pt x="4572800" y="2897143"/>
                  <a:pt x="4462844" y="2968914"/>
                </a:cubicBezTo>
                <a:lnTo>
                  <a:pt x="4145280" y="3169910"/>
                </a:lnTo>
                <a:lnTo>
                  <a:pt x="4145280" y="2298992"/>
                </a:lnTo>
                <a:lnTo>
                  <a:pt x="4218432" y="2275827"/>
                </a:lnTo>
                <a:cubicBezTo>
                  <a:pt x="4348391" y="2232736"/>
                  <a:pt x="4418800" y="2092452"/>
                  <a:pt x="4375709" y="1962493"/>
                </a:cubicBezTo>
                <a:cubicBezTo>
                  <a:pt x="4371842" y="1950834"/>
                  <a:pt x="4367117" y="1939471"/>
                  <a:pt x="4361565" y="1928517"/>
                </a:cubicBezTo>
                <a:cubicBezTo>
                  <a:pt x="4361565" y="1928517"/>
                  <a:pt x="4136012" y="1505864"/>
                  <a:pt x="4135279" y="1506512"/>
                </a:cubicBezTo>
                <a:cubicBezTo>
                  <a:pt x="4125278" y="1486853"/>
                  <a:pt x="4107647" y="1472165"/>
                  <a:pt x="4086511" y="1465869"/>
                </a:cubicBezTo>
                <a:lnTo>
                  <a:pt x="3157966" y="1201303"/>
                </a:lnTo>
                <a:lnTo>
                  <a:pt x="3542338" y="693144"/>
                </a:lnTo>
                <a:lnTo>
                  <a:pt x="3544453" y="690058"/>
                </a:lnTo>
                <a:cubicBezTo>
                  <a:pt x="3587867" y="627145"/>
                  <a:pt x="3586896" y="543697"/>
                  <a:pt x="3542014" y="481822"/>
                </a:cubicBezTo>
                <a:lnTo>
                  <a:pt x="3306394" y="80705"/>
                </a:lnTo>
                <a:cubicBezTo>
                  <a:pt x="3304632" y="77867"/>
                  <a:pt x="3302670" y="75152"/>
                  <a:pt x="3300546" y="72581"/>
                </a:cubicBezTo>
                <a:cubicBezTo>
                  <a:pt x="3265065" y="26880"/>
                  <a:pt x="3210478" y="95"/>
                  <a:pt x="3152613" y="0"/>
                </a:cubicBezTo>
                <a:lnTo>
                  <a:pt x="2211877" y="0"/>
                </a:lnTo>
                <a:cubicBezTo>
                  <a:pt x="2154069" y="19"/>
                  <a:pt x="2099501" y="26680"/>
                  <a:pt x="2063944" y="72257"/>
                </a:cubicBezTo>
                <a:cubicBezTo>
                  <a:pt x="2061810" y="74828"/>
                  <a:pt x="2059857" y="77543"/>
                  <a:pt x="2058095" y="80381"/>
                </a:cubicBezTo>
                <a:lnTo>
                  <a:pt x="1822380" y="481498"/>
                </a:lnTo>
                <a:cubicBezTo>
                  <a:pt x="1777213" y="544706"/>
                  <a:pt x="1777213" y="629622"/>
                  <a:pt x="1822380" y="692829"/>
                </a:cubicBezTo>
                <a:lnTo>
                  <a:pt x="2206838" y="1200988"/>
                </a:lnTo>
                <a:lnTo>
                  <a:pt x="1278217" y="1466126"/>
                </a:lnTo>
                <a:cubicBezTo>
                  <a:pt x="1257071" y="1472698"/>
                  <a:pt x="1239326" y="1487281"/>
                  <a:pt x="1228801" y="1506769"/>
                </a:cubicBezTo>
                <a:lnTo>
                  <a:pt x="1002602" y="1930317"/>
                </a:lnTo>
                <a:cubicBezTo>
                  <a:pt x="941565" y="2052723"/>
                  <a:pt x="991305" y="2201428"/>
                  <a:pt x="1113711" y="2262473"/>
                </a:cubicBezTo>
                <a:cubicBezTo>
                  <a:pt x="1124169" y="2267684"/>
                  <a:pt x="1134980" y="2272151"/>
                  <a:pt x="1146058" y="2275837"/>
                </a:cubicBezTo>
                <a:lnTo>
                  <a:pt x="1219210" y="2298754"/>
                </a:lnTo>
                <a:lnTo>
                  <a:pt x="1219210" y="2980858"/>
                </a:lnTo>
                <a:lnTo>
                  <a:pt x="964311" y="3120009"/>
                </a:lnTo>
                <a:cubicBezTo>
                  <a:pt x="904637" y="3152642"/>
                  <a:pt x="837743" y="3169796"/>
                  <a:pt x="769725" y="3169910"/>
                </a:cubicBezTo>
                <a:lnTo>
                  <a:pt x="243840" y="3169910"/>
                </a:lnTo>
                <a:cubicBezTo>
                  <a:pt x="109176" y="3169910"/>
                  <a:pt x="0" y="3279086"/>
                  <a:pt x="0" y="3413751"/>
                </a:cubicBezTo>
                <a:lnTo>
                  <a:pt x="0" y="4065127"/>
                </a:lnTo>
                <a:cubicBezTo>
                  <a:pt x="257" y="4198906"/>
                  <a:pt x="108042" y="4307596"/>
                  <a:pt x="241811" y="4308967"/>
                </a:cubicBezTo>
                <a:close/>
                <a:moveTo>
                  <a:pt x="3982717" y="3272981"/>
                </a:moveTo>
                <a:lnTo>
                  <a:pt x="3762451" y="3412379"/>
                </a:lnTo>
                <a:cubicBezTo>
                  <a:pt x="3751021" y="3274619"/>
                  <a:pt x="3646303" y="3162834"/>
                  <a:pt x="3509591" y="3142450"/>
                </a:cubicBezTo>
                <a:lnTo>
                  <a:pt x="2763517" y="3024178"/>
                </a:lnTo>
                <a:lnTo>
                  <a:pt x="2763517" y="2220478"/>
                </a:lnTo>
                <a:lnTo>
                  <a:pt x="2942825" y="2490569"/>
                </a:lnTo>
                <a:cubicBezTo>
                  <a:pt x="3002499" y="2581980"/>
                  <a:pt x="3115580" y="2622690"/>
                  <a:pt x="3219831" y="2590295"/>
                </a:cubicBezTo>
                <a:lnTo>
                  <a:pt x="3982727" y="2350113"/>
                </a:lnTo>
                <a:lnTo>
                  <a:pt x="3982727" y="3272981"/>
                </a:lnTo>
                <a:close/>
                <a:moveTo>
                  <a:pt x="4220061" y="2074421"/>
                </a:moveTo>
                <a:cubicBezTo>
                  <a:pt x="4210965" y="2096748"/>
                  <a:pt x="4192362" y="2113836"/>
                  <a:pt x="4169340" y="2120998"/>
                </a:cubicBezTo>
                <a:lnTo>
                  <a:pt x="3171139" y="2435228"/>
                </a:lnTo>
                <a:cubicBezTo>
                  <a:pt x="3136173" y="2446010"/>
                  <a:pt x="3098311" y="2432104"/>
                  <a:pt x="3078642" y="2401253"/>
                </a:cubicBezTo>
                <a:lnTo>
                  <a:pt x="2811066" y="1998269"/>
                </a:lnTo>
                <a:lnTo>
                  <a:pt x="4023360" y="1641034"/>
                </a:lnTo>
                <a:lnTo>
                  <a:pt x="4217299" y="2004193"/>
                </a:lnTo>
                <a:cubicBezTo>
                  <a:pt x="4228491" y="2026063"/>
                  <a:pt x="4229510" y="2051742"/>
                  <a:pt x="4220061" y="2074421"/>
                </a:cubicBezTo>
                <a:close/>
                <a:moveTo>
                  <a:pt x="2600963" y="1453115"/>
                </a:moveTo>
                <a:lnTo>
                  <a:pt x="1993392" y="650234"/>
                </a:lnTo>
                <a:lnTo>
                  <a:pt x="2600963" y="650234"/>
                </a:lnTo>
                <a:close/>
                <a:moveTo>
                  <a:pt x="2763517" y="650234"/>
                </a:moveTo>
                <a:lnTo>
                  <a:pt x="3370926" y="650234"/>
                </a:lnTo>
                <a:lnTo>
                  <a:pt x="2763517" y="1453277"/>
                </a:lnTo>
                <a:close/>
                <a:moveTo>
                  <a:pt x="3169920" y="169221"/>
                </a:moveTo>
                <a:lnTo>
                  <a:pt x="3356867" y="487670"/>
                </a:lnTo>
                <a:lnTo>
                  <a:pt x="2855862" y="487670"/>
                </a:lnTo>
                <a:lnTo>
                  <a:pt x="3126772" y="162554"/>
                </a:lnTo>
                <a:lnTo>
                  <a:pt x="3152623" y="162554"/>
                </a:lnTo>
                <a:cubicBezTo>
                  <a:pt x="3159033" y="162411"/>
                  <a:pt x="3165253" y="164802"/>
                  <a:pt x="3169920" y="169221"/>
                </a:cubicBezTo>
                <a:close/>
                <a:moveTo>
                  <a:pt x="2682240" y="441998"/>
                </a:moveTo>
                <a:lnTo>
                  <a:pt x="2449459" y="162554"/>
                </a:lnTo>
                <a:lnTo>
                  <a:pt x="2915031" y="162554"/>
                </a:lnTo>
                <a:close/>
                <a:moveTo>
                  <a:pt x="2194560" y="169221"/>
                </a:moveTo>
                <a:cubicBezTo>
                  <a:pt x="2199227" y="164802"/>
                  <a:pt x="2205447" y="162411"/>
                  <a:pt x="2211877" y="162554"/>
                </a:cubicBezTo>
                <a:lnTo>
                  <a:pt x="2237727" y="162554"/>
                </a:lnTo>
                <a:lnTo>
                  <a:pt x="2508628" y="487670"/>
                </a:lnTo>
                <a:lnTo>
                  <a:pt x="2007622" y="487670"/>
                </a:lnTo>
                <a:close/>
                <a:moveTo>
                  <a:pt x="2311689" y="1340387"/>
                </a:moveTo>
                <a:lnTo>
                  <a:pt x="2528059" y="1626413"/>
                </a:lnTo>
                <a:cubicBezTo>
                  <a:pt x="2563035" y="1677029"/>
                  <a:pt x="2620728" y="1707137"/>
                  <a:pt x="2682250" y="1706880"/>
                </a:cubicBezTo>
                <a:cubicBezTo>
                  <a:pt x="2742467" y="1707375"/>
                  <a:pt x="2799131" y="1678457"/>
                  <a:pt x="2834078" y="1629423"/>
                </a:cubicBezTo>
                <a:lnTo>
                  <a:pt x="3052725" y="1340387"/>
                </a:lnTo>
                <a:lnTo>
                  <a:pt x="3772138" y="1545622"/>
                </a:lnTo>
                <a:lnTo>
                  <a:pt x="2682240" y="1866748"/>
                </a:lnTo>
                <a:lnTo>
                  <a:pt x="1592361" y="1545612"/>
                </a:lnTo>
                <a:close/>
                <a:moveTo>
                  <a:pt x="1144581" y="2074345"/>
                </a:moveTo>
                <a:cubicBezTo>
                  <a:pt x="1134961" y="2052209"/>
                  <a:pt x="1135618" y="2026949"/>
                  <a:pt x="1146372" y="2005336"/>
                </a:cubicBezTo>
                <a:lnTo>
                  <a:pt x="1341120" y="1641043"/>
                </a:lnTo>
                <a:lnTo>
                  <a:pt x="2553415" y="1998269"/>
                </a:lnTo>
                <a:lnTo>
                  <a:pt x="2285190" y="2401824"/>
                </a:lnTo>
                <a:cubicBezTo>
                  <a:pt x="2265407" y="2432285"/>
                  <a:pt x="2227812" y="2445925"/>
                  <a:pt x="2193103" y="2435228"/>
                </a:cubicBezTo>
                <a:lnTo>
                  <a:pt x="1194816" y="2121399"/>
                </a:lnTo>
                <a:cubicBezTo>
                  <a:pt x="1172042" y="2113798"/>
                  <a:pt x="1153744" y="2096595"/>
                  <a:pt x="1144743" y="2074336"/>
                </a:cubicBezTo>
                <a:lnTo>
                  <a:pt x="1144581" y="2074336"/>
                </a:lnTo>
                <a:close/>
                <a:moveTo>
                  <a:pt x="2144325" y="2590305"/>
                </a:moveTo>
                <a:cubicBezTo>
                  <a:pt x="2167709" y="2597668"/>
                  <a:pt x="2192074" y="2601420"/>
                  <a:pt x="2216582" y="2601440"/>
                </a:cubicBezTo>
                <a:cubicBezTo>
                  <a:pt x="2298964" y="2601525"/>
                  <a:pt x="2375830" y="2560015"/>
                  <a:pt x="2420922" y="2491064"/>
                </a:cubicBezTo>
                <a:lnTo>
                  <a:pt x="2600954" y="2220487"/>
                </a:lnTo>
                <a:lnTo>
                  <a:pt x="2600954" y="2998422"/>
                </a:lnTo>
                <a:lnTo>
                  <a:pt x="1667132" y="2850413"/>
                </a:lnTo>
                <a:cubicBezTo>
                  <a:pt x="1569758" y="2835774"/>
                  <a:pt x="1470231" y="2851080"/>
                  <a:pt x="1381754" y="2894305"/>
                </a:cubicBezTo>
                <a:lnTo>
                  <a:pt x="1381754" y="2350132"/>
                </a:lnTo>
                <a:close/>
                <a:moveTo>
                  <a:pt x="162563" y="3413751"/>
                </a:moveTo>
                <a:cubicBezTo>
                  <a:pt x="162563" y="3368859"/>
                  <a:pt x="198958" y="3332474"/>
                  <a:pt x="243840" y="3332474"/>
                </a:cubicBezTo>
                <a:lnTo>
                  <a:pt x="769725" y="3332474"/>
                </a:lnTo>
                <a:cubicBezTo>
                  <a:pt x="864946" y="3332398"/>
                  <a:pt x="958625" y="3308509"/>
                  <a:pt x="1042254" y="3262980"/>
                </a:cubicBezTo>
                <a:lnTo>
                  <a:pt x="1442314" y="3044581"/>
                </a:lnTo>
                <a:cubicBezTo>
                  <a:pt x="1503645" y="3012424"/>
                  <a:pt x="1573625" y="3000671"/>
                  <a:pt x="1642101" y="3011015"/>
                </a:cubicBezTo>
                <a:lnTo>
                  <a:pt x="3484560" y="3303051"/>
                </a:lnTo>
                <a:cubicBezTo>
                  <a:pt x="3559569" y="3314691"/>
                  <a:pt x="3610947" y="3384937"/>
                  <a:pt x="3599307" y="3459947"/>
                </a:cubicBezTo>
                <a:cubicBezTo>
                  <a:pt x="3588925" y="3526850"/>
                  <a:pt x="3531375" y="3576219"/>
                  <a:pt x="3463671" y="3576314"/>
                </a:cubicBezTo>
                <a:lnTo>
                  <a:pt x="1869443" y="3576314"/>
                </a:lnTo>
                <a:cubicBezTo>
                  <a:pt x="1824552" y="3576314"/>
                  <a:pt x="1788166" y="3612699"/>
                  <a:pt x="1788166" y="3657591"/>
                </a:cubicBezTo>
                <a:cubicBezTo>
                  <a:pt x="1788166" y="3702482"/>
                  <a:pt x="1824561" y="3738867"/>
                  <a:pt x="1869443" y="3738867"/>
                </a:cubicBezTo>
                <a:lnTo>
                  <a:pt x="2248529" y="3738867"/>
                </a:lnTo>
                <a:lnTo>
                  <a:pt x="2729218" y="4104056"/>
                </a:lnTo>
                <a:cubicBezTo>
                  <a:pt x="2796207" y="4154624"/>
                  <a:pt x="2887494" y="4158482"/>
                  <a:pt x="2958513" y="4113724"/>
                </a:cubicBezTo>
                <a:lnTo>
                  <a:pt x="4550702" y="3105855"/>
                </a:lnTo>
                <a:cubicBezTo>
                  <a:pt x="4593212" y="3077928"/>
                  <a:pt x="4649629" y="3084500"/>
                  <a:pt x="4684567" y="3121457"/>
                </a:cubicBezTo>
                <a:cubicBezTo>
                  <a:pt x="4685205" y="3122276"/>
                  <a:pt x="4685881" y="3123067"/>
                  <a:pt x="4686596" y="3123810"/>
                </a:cubicBezTo>
                <a:cubicBezTo>
                  <a:pt x="4726105" y="3167367"/>
                  <a:pt x="4722829" y="3234700"/>
                  <a:pt x="4679280" y="3274209"/>
                </a:cubicBezTo>
                <a:cubicBezTo>
                  <a:pt x="4677490" y="3275829"/>
                  <a:pt x="4675651" y="3277391"/>
                  <a:pt x="4673756" y="3278886"/>
                </a:cubicBezTo>
                <a:lnTo>
                  <a:pt x="2849270" y="4664650"/>
                </a:lnTo>
                <a:cubicBezTo>
                  <a:pt x="2785872" y="4712704"/>
                  <a:pt x="2703024" y="4726810"/>
                  <a:pt x="2627290" y="4702445"/>
                </a:cubicBezTo>
                <a:lnTo>
                  <a:pt x="994381" y="4176322"/>
                </a:lnTo>
                <a:cubicBezTo>
                  <a:pt x="938374" y="4158225"/>
                  <a:pt x="879872" y="4148976"/>
                  <a:pt x="821007" y="4148928"/>
                </a:cubicBezTo>
                <a:lnTo>
                  <a:pt x="820112" y="4148928"/>
                </a:lnTo>
                <a:cubicBezTo>
                  <a:pt x="692258" y="4148518"/>
                  <a:pt x="418024" y="4147461"/>
                  <a:pt x="243021" y="4146404"/>
                </a:cubicBezTo>
                <a:cubicBezTo>
                  <a:pt x="198549" y="4145823"/>
                  <a:pt x="162792" y="4109609"/>
                  <a:pt x="162801" y="4065127"/>
                </a:cubicBezTo>
                <a:close/>
                <a:moveTo>
                  <a:pt x="3246730" y="3738877"/>
                </a:moveTo>
                <a:lnTo>
                  <a:pt x="2871540" y="3976459"/>
                </a:lnTo>
                <a:cubicBezTo>
                  <a:pt x="2857843" y="3984955"/>
                  <a:pt x="2840336" y="3984212"/>
                  <a:pt x="2827401" y="3974592"/>
                </a:cubicBezTo>
                <a:lnTo>
                  <a:pt x="2517239" y="3738877"/>
                </a:lnTo>
                <a:close/>
              </a:path>
            </a:pathLst>
          </a:custGeom>
          <a:solidFill>
            <a:srgbClr val="000000"/>
          </a:solidFill>
          <a:ln w="9525" cap="flat">
            <a:noFill/>
            <a:prstDash val="solid"/>
            <a:miter/>
          </a:ln>
        </p:spPr>
        <p:txBody>
          <a:bodyPr rtlCol="0" anchor="ctr"/>
          <a:lstStyle/>
          <a:p>
            <a:endParaRPr lang="es-ES"/>
          </a:p>
        </p:txBody>
      </p:sp>
    </p:spTree>
    <p:extLst>
      <p:ext uri="{BB962C8B-B14F-4D97-AF65-F5344CB8AC3E}">
        <p14:creationId xmlns:p14="http://schemas.microsoft.com/office/powerpoint/2010/main" val="911332604"/>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25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1509192"/>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6" name="Picture Placeholder 5"/>
          <p:cNvSpPr>
            <a:spLocks noGrp="1"/>
          </p:cNvSpPr>
          <p:nvPr>
            <p:ph type="pic" sz="quarter" idx="13" hasCustomPrompt="1"/>
          </p:nvPr>
        </p:nvSpPr>
        <p:spPr>
          <a:xfrm>
            <a:off x="0" y="0"/>
            <a:ext cx="12192000" cy="6858000"/>
          </a:xfrm>
          <a:prstGeom prst="rect">
            <a:avLst/>
          </a:prstGeom>
          <a:pattFill prst="pct10">
            <a:fgClr>
              <a:schemeClr val="tx1"/>
            </a:fgClr>
            <a:bgClr>
              <a:schemeClr val="bg1"/>
            </a:bgClr>
          </a:pattFill>
        </p:spPr>
        <p:txBody>
          <a:bodyPr wrap="square" anchor="ctr">
            <a:noAutofit/>
          </a:bodyPr>
          <a:lstStyle>
            <a:lvl1pPr algn="ctr">
              <a:defRPr sz="1600" b="0" i="0">
                <a:latin typeface="Arial Normal" charset="0"/>
                <a:ea typeface="Arial Normal" charset="0"/>
                <a:cs typeface="Arial Normal" charset="0"/>
              </a:defRPr>
            </a:lvl1pPr>
          </a:lstStyle>
          <a:p>
            <a:r>
              <a:rPr lang="en-US"/>
              <a:t>Insert Image</a:t>
            </a:r>
          </a:p>
        </p:txBody>
      </p:sp>
    </p:spTree>
    <p:extLst>
      <p:ext uri="{BB962C8B-B14F-4D97-AF65-F5344CB8AC3E}">
        <p14:creationId xmlns:p14="http://schemas.microsoft.com/office/powerpoint/2010/main" val="2036842275"/>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Plan de Trabajo">
    <p:spTree>
      <p:nvGrpSpPr>
        <p:cNvPr id="1" name=""/>
        <p:cNvGrpSpPr/>
        <p:nvPr/>
      </p:nvGrpSpPr>
      <p:grpSpPr>
        <a:xfrm>
          <a:off x="0" y="0"/>
          <a:ext cx="0" cy="0"/>
          <a:chOff x="0" y="0"/>
          <a:chExt cx="0" cy="0"/>
        </a:xfrm>
      </p:grpSpPr>
      <p:sp>
        <p:nvSpPr>
          <p:cNvPr id="8" name="22 Marcador de texto">
            <a:extLst>
              <a:ext uri="{FF2B5EF4-FFF2-40B4-BE49-F238E27FC236}">
                <a16:creationId xmlns:a16="http://schemas.microsoft.com/office/drawing/2014/main" id="{06726993-2625-4966-B877-3E3B97DEAC3C}"/>
              </a:ext>
            </a:extLst>
          </p:cNvPr>
          <p:cNvSpPr>
            <a:spLocks noGrp="1"/>
          </p:cNvSpPr>
          <p:nvPr>
            <p:ph type="body" sz="quarter" idx="23"/>
          </p:nvPr>
        </p:nvSpPr>
        <p:spPr>
          <a:xfrm>
            <a:off x="423988" y="1175657"/>
            <a:ext cx="11344031" cy="5297084"/>
          </a:xfrm>
        </p:spPr>
        <p:txBody>
          <a:bodyPr>
            <a:noAutofit/>
          </a:bodyPr>
          <a:lstStyle>
            <a:lvl5pPr marL="1193859" indent="0">
              <a:defRPr kumimoji="0" lang="es-ES" sz="1354" b="0" i="0" u="none" strike="noStrike" kern="1200" cap="none" spc="0" normalizeH="0" baseline="0" noProof="0" dirty="0" smtClean="0">
                <a:ln>
                  <a:noFill/>
                </a:ln>
                <a:solidFill>
                  <a:srgbClr val="494949"/>
                </a:solidFill>
                <a:effectLst/>
                <a:uLnTx/>
                <a:uFillTx/>
                <a:latin typeface="+mn-lt"/>
                <a:ea typeface="+mn-ea"/>
                <a:cs typeface="+mn-cs"/>
              </a:defRPr>
            </a:lvl5pPr>
            <a:lvl6pPr marL="1057085" indent="-211027">
              <a:defRPr kumimoji="0" lang="es-ES" sz="1354" b="0" i="0" u="none" strike="noStrike" kern="1200" cap="none" spc="0" normalizeH="0" baseline="0" noProof="0" dirty="0" smtClean="0">
                <a:ln>
                  <a:noFill/>
                </a:ln>
                <a:solidFill>
                  <a:schemeClr val="tx1"/>
                </a:solidFill>
                <a:effectLst/>
                <a:uLnTx/>
                <a:uFillTx/>
                <a:latin typeface="+mn-lt"/>
                <a:ea typeface="+mn-ea"/>
                <a:cs typeface="+mn-cs"/>
              </a:defRPr>
            </a:lvl6pPr>
            <a:lvl7pPr>
              <a:defRPr/>
            </a:lvl7pPr>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a:p>
            <a:pPr marL="1041452" marR="0" lvl="4" indent="-195394" algn="l" defTabSz="1125472" rtl="0" eaLnBrk="1" fontAlgn="auto" latinLnBrk="0" hangingPunct="1">
              <a:lnSpc>
                <a:spcPct val="100000"/>
              </a:lnSpc>
              <a:spcBef>
                <a:spcPts val="0"/>
              </a:spcBef>
              <a:spcAft>
                <a:spcPts val="246"/>
              </a:spcAft>
              <a:buClr>
                <a:schemeClr val="accent1">
                  <a:lumMod val="90000"/>
                </a:schemeClr>
              </a:buClr>
              <a:buSzTx/>
              <a:buFont typeface="Arial" pitchFamily="34" charset="0"/>
              <a:buChar char="•"/>
              <a:tabLst/>
              <a:defRPr/>
            </a:pPr>
            <a:r>
              <a:rPr lang="es-ES" noProof="0"/>
              <a:t>Quinto nivel</a:t>
            </a:r>
          </a:p>
          <a:p>
            <a:pPr marL="1367761" marR="0" lvl="5" indent="-173901" algn="l" defTabSz="1125472" rtl="0" eaLnBrk="1" fontAlgn="auto" latinLnBrk="0" hangingPunct="1">
              <a:lnSpc>
                <a:spcPct val="100000"/>
              </a:lnSpc>
              <a:spcBef>
                <a:spcPct val="20000"/>
              </a:spcBef>
              <a:spcAft>
                <a:spcPts val="246"/>
              </a:spcAft>
              <a:buClr>
                <a:schemeClr val="accent1">
                  <a:lumMod val="90000"/>
                </a:schemeClr>
              </a:buClr>
              <a:buSzTx/>
              <a:buFontTx/>
              <a:buNone/>
              <a:tabLst/>
              <a:defRPr/>
            </a:pPr>
            <a:r>
              <a:rPr lang="es-ES" noProof="0"/>
              <a:t>- </a:t>
            </a:r>
            <a:r>
              <a:rPr lang="es-ES" noProof="0" err="1"/>
              <a:t>bhhh</a:t>
            </a:r>
            <a:endParaRPr lang="es-ES" noProof="0"/>
          </a:p>
        </p:txBody>
      </p:sp>
      <p:sp>
        <p:nvSpPr>
          <p:cNvPr id="10" name="26 Marcador de contenido">
            <a:extLst>
              <a:ext uri="{FF2B5EF4-FFF2-40B4-BE49-F238E27FC236}">
                <a16:creationId xmlns:a16="http://schemas.microsoft.com/office/drawing/2014/main" id="{D0A9BC5D-8B9C-4D56-B635-239DEE3398F1}"/>
              </a:ext>
            </a:extLst>
          </p:cNvPr>
          <p:cNvSpPr>
            <a:spLocks noGrp="1"/>
          </p:cNvSpPr>
          <p:nvPr>
            <p:ph sz="quarter" idx="26" hasCustomPrompt="1"/>
          </p:nvPr>
        </p:nvSpPr>
        <p:spPr>
          <a:xfrm>
            <a:off x="259205" y="644397"/>
            <a:ext cx="8988270" cy="225425"/>
          </a:xfrm>
        </p:spPr>
        <p:txBody>
          <a:bodyPr anchor="ctr">
            <a:noAutofit/>
          </a:bodyPr>
          <a:lstStyle>
            <a:lvl1pPr marL="177239">
              <a:defRPr sz="1000" cap="all" spc="369" baseline="0">
                <a:solidFill>
                  <a:schemeClr val="tx1"/>
                </a:solidFill>
              </a:defRPr>
            </a:lvl1pPr>
            <a:lvl7pPr>
              <a:defRPr>
                <a:solidFill>
                  <a:schemeClr val="tx1">
                    <a:lumMod val="50000"/>
                    <a:lumOff val="50000"/>
                  </a:schemeClr>
                </a:solidFill>
              </a:defRPr>
            </a:lvl7pPr>
          </a:lstStyle>
          <a:p>
            <a:pPr lvl="0"/>
            <a:r>
              <a:rPr lang="es-ES"/>
              <a:t>Subtítulo</a:t>
            </a:r>
            <a:endParaRPr lang="en-US"/>
          </a:p>
        </p:txBody>
      </p:sp>
      <p:sp>
        <p:nvSpPr>
          <p:cNvPr id="3" name="Título 2">
            <a:extLst>
              <a:ext uri="{FF2B5EF4-FFF2-40B4-BE49-F238E27FC236}">
                <a16:creationId xmlns:a16="http://schemas.microsoft.com/office/drawing/2014/main" id="{5AF09BF3-AD22-42F4-9DCC-9849EFA3080D}"/>
              </a:ext>
            </a:extLst>
          </p:cNvPr>
          <p:cNvSpPr>
            <a:spLocks noGrp="1"/>
          </p:cNvSpPr>
          <p:nvPr>
            <p:ph type="title"/>
          </p:nvPr>
        </p:nvSpPr>
        <p:spPr>
          <a:xfrm>
            <a:off x="259205" y="161308"/>
            <a:ext cx="8936800" cy="708514"/>
          </a:xfrm>
        </p:spPr>
        <p:txBody>
          <a:bodyPr anchor="t"/>
          <a:lstStyle/>
          <a:p>
            <a:r>
              <a:rPr lang="es-ES"/>
              <a:t>Haga clic para modificar el estilo de título del patrón</a:t>
            </a:r>
          </a:p>
        </p:txBody>
      </p:sp>
    </p:spTree>
    <p:extLst>
      <p:ext uri="{BB962C8B-B14F-4D97-AF65-F5344CB8AC3E}">
        <p14:creationId xmlns:p14="http://schemas.microsoft.com/office/powerpoint/2010/main" val="425094740"/>
      </p:ext>
    </p:extLst>
  </p:cSld>
  <p:clrMapOvr>
    <a:masterClrMapping/>
  </p:clrMapOvr>
  <p:transition spd="slow"/>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DEFAULT">
    <p:spTree>
      <p:nvGrpSpPr>
        <p:cNvPr id="1" name=""/>
        <p:cNvGrpSpPr/>
        <p:nvPr/>
      </p:nvGrpSpPr>
      <p:grpSpPr>
        <a:xfrm>
          <a:off x="0" y="0"/>
          <a:ext cx="0" cy="0"/>
          <a:chOff x="0" y="0"/>
          <a:chExt cx="0" cy="0"/>
        </a:xfrm>
      </p:grpSpPr>
      <p:sp>
        <p:nvSpPr>
          <p:cNvPr id="11" name="Número de diapositiva"/>
          <p:cNvSpPr txBox="1">
            <a:spLocks noGrp="1"/>
          </p:cNvSpPr>
          <p:nvPr>
            <p:ph type="sldNum" sz="quarter" idx="2"/>
          </p:nvPr>
        </p:nvSpPr>
        <p:spPr>
          <a:prstGeom prst="rect">
            <a:avLst/>
          </a:prstGeom>
        </p:spPr>
        <p:txBody>
          <a:bodyPr/>
          <a:lstStyle/>
          <a:p>
            <a:fld id="{86CB4B4D-7CA3-9044-876B-883B54F8677D}" type="slidenum">
              <a:t>‹Nº›</a:t>
            </a:fld>
            <a:endParaRPr/>
          </a:p>
        </p:txBody>
      </p:sp>
    </p:spTree>
    <p:extLst>
      <p:ext uri="{BB962C8B-B14F-4D97-AF65-F5344CB8AC3E}">
        <p14:creationId xmlns:p14="http://schemas.microsoft.com/office/powerpoint/2010/main" val="481087975"/>
      </p:ext>
    </p:extLst>
  </p:cSld>
  <p:clrMapOvr>
    <a:masterClrMapping/>
  </p:clrMapOvr>
  <p:transition spd="med"/>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str - solo ti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9846023"/>
      </p:ext>
    </p:extLst>
  </p:cSld>
  <p:clrMapOvr>
    <a:masterClrMapping/>
  </p:clrMapOvr>
  <p:extLst>
    <p:ext uri="{DCECCB84-F9BA-43D5-87BE-67443E8EF086}">
      <p15:sldGuideLst xmlns:p15="http://schemas.microsoft.com/office/powerpoint/2012/main">
        <p15:guide id="1" orient="horz" pos="595">
          <p15:clr>
            <a:srgbClr val="FBAE40"/>
          </p15:clr>
        </p15:guide>
        <p15:guide id="2" pos="279">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Title and body" userDrawn="1">
  <p:cSld name="Title and body">
    <p:spTree>
      <p:nvGrpSpPr>
        <p:cNvPr id="1" name="Shape 32"/>
        <p:cNvGrpSpPr/>
        <p:nvPr/>
      </p:nvGrpSpPr>
      <p:grpSpPr>
        <a:xfrm>
          <a:off x="0" y="0"/>
          <a:ext cx="0" cy="0"/>
          <a:chOff x="0" y="0"/>
          <a:chExt cx="0" cy="0"/>
        </a:xfrm>
      </p:grpSpPr>
    </p:spTree>
    <p:extLst>
      <p:ext uri="{BB962C8B-B14F-4D97-AF65-F5344CB8AC3E}">
        <p14:creationId xmlns:p14="http://schemas.microsoft.com/office/powerpoint/2010/main" val="4150064554"/>
      </p:ext>
    </p:extLst>
  </p:cSld>
  <p:clrMapOvr>
    <a:masterClrMapping/>
  </p:clrMapOvr>
  <p:transition spd="slow">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One column text" userDrawn="1">
  <p:cSld name="One column text">
    <p:spTree>
      <p:nvGrpSpPr>
        <p:cNvPr id="1" name="Shape 70"/>
        <p:cNvGrpSpPr/>
        <p:nvPr/>
      </p:nvGrpSpPr>
      <p:grpSpPr>
        <a:xfrm>
          <a:off x="0" y="0"/>
          <a:ext cx="0" cy="0"/>
          <a:chOff x="0" y="0"/>
          <a:chExt cx="0" cy="0"/>
        </a:xfrm>
      </p:grpSpPr>
    </p:spTree>
    <p:extLst>
      <p:ext uri="{BB962C8B-B14F-4D97-AF65-F5344CB8AC3E}">
        <p14:creationId xmlns:p14="http://schemas.microsoft.com/office/powerpoint/2010/main" val="2886289598"/>
      </p:ext>
    </p:extLst>
  </p:cSld>
  <p:clrMapOvr>
    <a:masterClrMapping/>
  </p:clrMapOvr>
  <p:transition spd="slow">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7"/>
            <a:ext cx="10515600" cy="609660"/>
          </a:xfrm>
        </p:spPr>
        <p:txBody>
          <a:bodyPr>
            <a:normAutofit/>
          </a:bodyPr>
          <a:lstStyle>
            <a:lvl1pPr algn="ctr">
              <a:defRPr sz="4000"/>
            </a:lvl1pPr>
          </a:lstStyle>
          <a:p>
            <a:r>
              <a:rPr lang="en-US"/>
              <a:t>Click to edit Master title style</a:t>
            </a:r>
          </a:p>
        </p:txBody>
      </p:sp>
    </p:spTree>
    <p:extLst>
      <p:ext uri="{BB962C8B-B14F-4D97-AF65-F5344CB8AC3E}">
        <p14:creationId xmlns:p14="http://schemas.microsoft.com/office/powerpoint/2010/main" val="3187908278"/>
      </p:ext>
    </p:extLst>
  </p:cSld>
  <p:clrMapOvr>
    <a:masterClrMapping/>
  </p:clrMapOvr>
  <p:transition spd="slow">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36_Title Slide">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D4249C41-3BF6-2A49-83B4-B70F4A533645}"/>
              </a:ext>
            </a:extLst>
          </p:cNvPr>
          <p:cNvSpPr>
            <a:spLocks noGrp="1"/>
          </p:cNvSpPr>
          <p:nvPr>
            <p:ph type="pic" sz="quarter" idx="17" hasCustomPrompt="1"/>
          </p:nvPr>
        </p:nvSpPr>
        <p:spPr>
          <a:xfrm>
            <a:off x="-1" y="0"/>
            <a:ext cx="12192001" cy="6857999"/>
          </a:xfrm>
          <a:prstGeom prst="rect">
            <a:avLst/>
          </a:prstGeom>
          <a:pattFill prst="pct10">
            <a:fgClr>
              <a:schemeClr val="tx1"/>
            </a:fgClr>
            <a:bgClr>
              <a:schemeClr val="bg1"/>
            </a:bgClr>
          </a:pattFill>
        </p:spPr>
        <p:txBody>
          <a:bodyPr wrap="square" anchor="ctr">
            <a:noAutofit/>
          </a:bodyPr>
          <a:lstStyle>
            <a:lvl1pPr algn="ctr">
              <a:defRPr sz="1600" b="0" i="0">
                <a:latin typeface="Arial Normal" charset="0"/>
                <a:ea typeface="Arial Normal" charset="0"/>
                <a:cs typeface="Arial Normal" charset="0"/>
              </a:defRPr>
            </a:lvl1pPr>
          </a:lstStyle>
          <a:p>
            <a:r>
              <a:rPr lang="en-US"/>
              <a:t>Insert Image</a:t>
            </a:r>
          </a:p>
        </p:txBody>
      </p:sp>
    </p:spTree>
    <p:extLst>
      <p:ext uri="{BB962C8B-B14F-4D97-AF65-F5344CB8AC3E}">
        <p14:creationId xmlns:p14="http://schemas.microsoft.com/office/powerpoint/2010/main" val="17635621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cSld name="str - general (título y nume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6DDE8FC-D7A6-4741-B4E6-95DC363B1FF4}"/>
              </a:ext>
            </a:extLst>
          </p:cNvPr>
          <p:cNvSpPr>
            <a:spLocks noGrp="1"/>
          </p:cNvSpPr>
          <p:nvPr>
            <p:ph type="title" hasCustomPrompt="1"/>
          </p:nvPr>
        </p:nvSpPr>
        <p:spPr>
          <a:xfrm>
            <a:off x="347502" y="219070"/>
            <a:ext cx="10515600" cy="365721"/>
          </a:xfrm>
        </p:spPr>
        <p:txBody>
          <a:bodyPr/>
          <a:lstStyle>
            <a:lvl1pPr>
              <a:defRPr sz="1800"/>
            </a:lvl1pPr>
          </a:lstStyle>
          <a:p>
            <a:r>
              <a:rPr lang="es-ES"/>
              <a:t>Haga clic para modificar el estilo de título del patrón </a:t>
            </a:r>
          </a:p>
        </p:txBody>
      </p:sp>
    </p:spTree>
    <p:extLst>
      <p:ext uri="{BB962C8B-B14F-4D97-AF65-F5344CB8AC3E}">
        <p14:creationId xmlns:p14="http://schemas.microsoft.com/office/powerpoint/2010/main" val="1580475743"/>
      </p:ext>
    </p:extLst>
  </p:cSld>
  <p:clrMapOvr>
    <a:masterClrMapping/>
  </p:clrMapOvr>
  <p:extLst>
    <p:ext uri="{DCECCB84-F9BA-43D5-87BE-67443E8EF086}">
      <p15:sldGuideLst xmlns:p15="http://schemas.microsoft.com/office/powerpoint/2012/main">
        <p15:guide id="1" orient="horz" pos="2319">
          <p15:clr>
            <a:srgbClr val="FBAE40"/>
          </p15:clr>
        </p15:guide>
        <p15:guide id="2" pos="279">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5_Title Slide">
    <p:spTree>
      <p:nvGrpSpPr>
        <p:cNvPr id="1" name=""/>
        <p:cNvGrpSpPr/>
        <p:nvPr/>
      </p:nvGrpSpPr>
      <p:grpSpPr>
        <a:xfrm>
          <a:off x="0" y="0"/>
          <a:ext cx="0" cy="0"/>
          <a:chOff x="0" y="0"/>
          <a:chExt cx="0" cy="0"/>
        </a:xfrm>
      </p:grpSpPr>
      <p:sp>
        <p:nvSpPr>
          <p:cNvPr id="4" name="Picture Placeholder 4">
            <a:extLst>
              <a:ext uri="{FF2B5EF4-FFF2-40B4-BE49-F238E27FC236}">
                <a16:creationId xmlns:a16="http://schemas.microsoft.com/office/drawing/2014/main" id="{1F60D634-F482-AC41-AA59-6BFB989D1E70}"/>
              </a:ext>
            </a:extLst>
          </p:cNvPr>
          <p:cNvSpPr>
            <a:spLocks noGrp="1"/>
          </p:cNvSpPr>
          <p:nvPr>
            <p:ph type="pic" sz="quarter" idx="17" hasCustomPrompt="1"/>
          </p:nvPr>
        </p:nvSpPr>
        <p:spPr>
          <a:xfrm>
            <a:off x="-1" y="455149"/>
            <a:ext cx="2623672" cy="6118969"/>
          </a:xfrm>
          <a:prstGeom prst="rect">
            <a:avLst/>
          </a:prstGeom>
          <a:pattFill prst="pct10">
            <a:fgClr>
              <a:schemeClr val="tx1"/>
            </a:fgClr>
            <a:bgClr>
              <a:schemeClr val="bg1"/>
            </a:bgClr>
          </a:pattFill>
        </p:spPr>
        <p:txBody>
          <a:bodyPr wrap="square" anchor="ctr">
            <a:noAutofit/>
          </a:bodyPr>
          <a:lstStyle>
            <a:lvl1pPr algn="ctr">
              <a:defRPr sz="1600" b="0" i="0">
                <a:latin typeface="Arial Normal" charset="0"/>
                <a:ea typeface="Arial Normal" charset="0"/>
                <a:cs typeface="Arial Normal" charset="0"/>
              </a:defRPr>
            </a:lvl1pPr>
          </a:lstStyle>
          <a:p>
            <a:r>
              <a:rPr lang="en-US"/>
              <a:t>Insert Image</a:t>
            </a:r>
          </a:p>
        </p:txBody>
      </p:sp>
    </p:spTree>
    <p:extLst>
      <p:ext uri="{BB962C8B-B14F-4D97-AF65-F5344CB8AC3E}">
        <p14:creationId xmlns:p14="http://schemas.microsoft.com/office/powerpoint/2010/main" val="8107352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36_Title Slide">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D4249C41-3BF6-2A49-83B4-B70F4A533645}"/>
              </a:ext>
            </a:extLst>
          </p:cNvPr>
          <p:cNvSpPr>
            <a:spLocks noGrp="1"/>
          </p:cNvSpPr>
          <p:nvPr>
            <p:ph type="pic" sz="quarter" idx="17" hasCustomPrompt="1"/>
          </p:nvPr>
        </p:nvSpPr>
        <p:spPr>
          <a:xfrm>
            <a:off x="-1" y="0"/>
            <a:ext cx="12192001" cy="6857999"/>
          </a:xfrm>
          <a:prstGeom prst="rect">
            <a:avLst/>
          </a:prstGeom>
          <a:pattFill prst="pct10">
            <a:fgClr>
              <a:schemeClr val="tx1"/>
            </a:fgClr>
            <a:bgClr>
              <a:schemeClr val="bg1"/>
            </a:bgClr>
          </a:pattFill>
        </p:spPr>
        <p:txBody>
          <a:bodyPr wrap="square" anchor="ctr">
            <a:noAutofit/>
          </a:bodyPr>
          <a:lstStyle>
            <a:lvl1pPr algn="ctr">
              <a:defRPr sz="1600" b="0" i="0">
                <a:latin typeface="Arial Normal" charset="0"/>
                <a:ea typeface="Arial Normal" charset="0"/>
                <a:cs typeface="Arial Normal" charset="0"/>
              </a:defRPr>
            </a:lvl1pPr>
          </a:lstStyle>
          <a:p>
            <a:r>
              <a:rPr lang="en-US"/>
              <a:t>Insert Image</a:t>
            </a:r>
          </a:p>
        </p:txBody>
      </p:sp>
    </p:spTree>
    <p:extLst>
      <p:ext uri="{BB962C8B-B14F-4D97-AF65-F5344CB8AC3E}">
        <p14:creationId xmlns:p14="http://schemas.microsoft.com/office/powerpoint/2010/main" val="6358522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67_Title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3DEBDAB1-EC3B-E842-B160-885DDB9F8FEB}"/>
              </a:ext>
            </a:extLst>
          </p:cNvPr>
          <p:cNvSpPr>
            <a:spLocks noGrp="1"/>
          </p:cNvSpPr>
          <p:nvPr>
            <p:ph type="pic" sz="quarter" idx="16" hasCustomPrompt="1"/>
          </p:nvPr>
        </p:nvSpPr>
        <p:spPr>
          <a:xfrm>
            <a:off x="0" y="455151"/>
            <a:ext cx="2575249" cy="6126124"/>
          </a:xfrm>
          <a:prstGeom prst="rect">
            <a:avLst/>
          </a:prstGeom>
          <a:pattFill prst="pct10">
            <a:fgClr>
              <a:schemeClr val="tx1"/>
            </a:fgClr>
            <a:bgClr>
              <a:schemeClr val="bg1"/>
            </a:bgClr>
          </a:pattFill>
        </p:spPr>
        <p:txBody>
          <a:bodyPr wrap="square" anchor="ctr">
            <a:noAutofit/>
          </a:bodyPr>
          <a:lstStyle>
            <a:lvl1pPr algn="ctr">
              <a:defRPr sz="1600" b="0" i="0">
                <a:latin typeface="Arial Normal" charset="0"/>
                <a:ea typeface="Arial Normal" charset="0"/>
                <a:cs typeface="Arial Normal" charset="0"/>
              </a:defRPr>
            </a:lvl1pPr>
          </a:lstStyle>
          <a:p>
            <a:r>
              <a:rPr lang="en-US"/>
              <a:t>Insert Image</a:t>
            </a:r>
          </a:p>
        </p:txBody>
      </p:sp>
    </p:spTree>
    <p:extLst>
      <p:ext uri="{BB962C8B-B14F-4D97-AF65-F5344CB8AC3E}">
        <p14:creationId xmlns:p14="http://schemas.microsoft.com/office/powerpoint/2010/main" val="366122648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71_Title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3DEBDAB1-EC3B-E842-B160-885DDB9F8FEB}"/>
              </a:ext>
            </a:extLst>
          </p:cNvPr>
          <p:cNvSpPr>
            <a:spLocks noGrp="1"/>
          </p:cNvSpPr>
          <p:nvPr>
            <p:ph type="pic" sz="quarter" idx="16" hasCustomPrompt="1"/>
          </p:nvPr>
        </p:nvSpPr>
        <p:spPr>
          <a:xfrm>
            <a:off x="0" y="455151"/>
            <a:ext cx="3251200" cy="6126124"/>
          </a:xfrm>
          <a:prstGeom prst="rect">
            <a:avLst/>
          </a:prstGeom>
          <a:pattFill prst="pct10">
            <a:fgClr>
              <a:schemeClr val="tx1"/>
            </a:fgClr>
            <a:bgClr>
              <a:schemeClr val="bg1"/>
            </a:bgClr>
          </a:pattFill>
        </p:spPr>
        <p:txBody>
          <a:bodyPr wrap="square" anchor="ctr">
            <a:noAutofit/>
          </a:bodyPr>
          <a:lstStyle>
            <a:lvl1pPr algn="ctr">
              <a:defRPr sz="1600" b="0" i="0">
                <a:latin typeface="Arial Normal" charset="0"/>
                <a:ea typeface="Arial Normal" charset="0"/>
                <a:cs typeface="Arial Normal" charset="0"/>
              </a:defRPr>
            </a:lvl1pPr>
          </a:lstStyle>
          <a:p>
            <a:r>
              <a:rPr lang="en-US"/>
              <a:t>Insert Image</a:t>
            </a:r>
          </a:p>
        </p:txBody>
      </p:sp>
    </p:spTree>
    <p:extLst>
      <p:ext uri="{BB962C8B-B14F-4D97-AF65-F5344CB8AC3E}">
        <p14:creationId xmlns:p14="http://schemas.microsoft.com/office/powerpoint/2010/main" val="397455217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sp>
        <p:nvSpPr>
          <p:cNvPr id="6" name="Picture Placeholder 5"/>
          <p:cNvSpPr>
            <a:spLocks noGrp="1"/>
          </p:cNvSpPr>
          <p:nvPr>
            <p:ph type="pic" sz="quarter" idx="13" hasCustomPrompt="1"/>
          </p:nvPr>
        </p:nvSpPr>
        <p:spPr>
          <a:xfrm>
            <a:off x="0" y="0"/>
            <a:ext cx="12192000" cy="6858000"/>
          </a:xfrm>
          <a:prstGeom prst="rect">
            <a:avLst/>
          </a:prstGeom>
          <a:pattFill prst="pct10">
            <a:fgClr>
              <a:schemeClr val="tx1"/>
            </a:fgClr>
            <a:bgClr>
              <a:schemeClr val="bg1"/>
            </a:bgClr>
          </a:pattFill>
        </p:spPr>
        <p:txBody>
          <a:bodyPr wrap="square" anchor="ctr">
            <a:noAutofit/>
          </a:bodyPr>
          <a:lstStyle>
            <a:lvl1pPr algn="ctr">
              <a:defRPr sz="1600" b="0" i="0">
                <a:latin typeface="Arial Normal" charset="0"/>
                <a:ea typeface="Arial Normal" charset="0"/>
                <a:cs typeface="Arial Normal" charset="0"/>
              </a:defRPr>
            </a:lvl1pPr>
          </a:lstStyle>
          <a:p>
            <a:r>
              <a:rPr lang="en-US"/>
              <a:t>Insert Image</a:t>
            </a:r>
          </a:p>
        </p:txBody>
      </p:sp>
    </p:spTree>
    <p:extLst>
      <p:ext uri="{BB962C8B-B14F-4D97-AF65-F5344CB8AC3E}">
        <p14:creationId xmlns:p14="http://schemas.microsoft.com/office/powerpoint/2010/main" val="740404478"/>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69_Title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3DEBDAB1-EC3B-E842-B160-885DDB9F8FEB}"/>
              </a:ext>
            </a:extLst>
          </p:cNvPr>
          <p:cNvSpPr>
            <a:spLocks noGrp="1"/>
          </p:cNvSpPr>
          <p:nvPr>
            <p:ph type="pic" sz="quarter" idx="16" hasCustomPrompt="1"/>
          </p:nvPr>
        </p:nvSpPr>
        <p:spPr>
          <a:xfrm>
            <a:off x="1" y="455151"/>
            <a:ext cx="1379622" cy="6126124"/>
          </a:xfrm>
          <a:prstGeom prst="rect">
            <a:avLst/>
          </a:prstGeom>
          <a:pattFill prst="pct10">
            <a:fgClr>
              <a:schemeClr val="tx1"/>
            </a:fgClr>
            <a:bgClr>
              <a:schemeClr val="bg1"/>
            </a:bgClr>
          </a:pattFill>
        </p:spPr>
        <p:txBody>
          <a:bodyPr wrap="square" anchor="ctr">
            <a:noAutofit/>
          </a:bodyPr>
          <a:lstStyle>
            <a:lvl1pPr algn="ctr">
              <a:defRPr sz="1600" b="0" i="0">
                <a:latin typeface="Arial Normal" charset="0"/>
                <a:ea typeface="Arial Normal" charset="0"/>
                <a:cs typeface="Arial Normal" charset="0"/>
              </a:defRPr>
            </a:lvl1pPr>
          </a:lstStyle>
          <a:p>
            <a:r>
              <a:rPr lang="en-US"/>
              <a:t>Insert Image</a:t>
            </a:r>
          </a:p>
        </p:txBody>
      </p:sp>
    </p:spTree>
    <p:extLst>
      <p:ext uri="{BB962C8B-B14F-4D97-AF65-F5344CB8AC3E}">
        <p14:creationId xmlns:p14="http://schemas.microsoft.com/office/powerpoint/2010/main" val="8053438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70_Title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3DEBDAB1-EC3B-E842-B160-885DDB9F8FEB}"/>
              </a:ext>
            </a:extLst>
          </p:cNvPr>
          <p:cNvSpPr>
            <a:spLocks noGrp="1"/>
          </p:cNvSpPr>
          <p:nvPr>
            <p:ph type="pic" sz="quarter" idx="16" hasCustomPrompt="1"/>
          </p:nvPr>
        </p:nvSpPr>
        <p:spPr>
          <a:xfrm>
            <a:off x="0" y="455151"/>
            <a:ext cx="12191999" cy="1142421"/>
          </a:xfrm>
          <a:prstGeom prst="rect">
            <a:avLst/>
          </a:prstGeom>
          <a:pattFill prst="pct10">
            <a:fgClr>
              <a:schemeClr val="tx1"/>
            </a:fgClr>
            <a:bgClr>
              <a:schemeClr val="bg1"/>
            </a:bgClr>
          </a:pattFill>
        </p:spPr>
        <p:txBody>
          <a:bodyPr wrap="square" anchor="ctr">
            <a:noAutofit/>
          </a:bodyPr>
          <a:lstStyle>
            <a:lvl1pPr algn="ctr">
              <a:defRPr sz="1600" b="0" i="0">
                <a:latin typeface="Arial Normal" charset="0"/>
                <a:ea typeface="Arial Normal" charset="0"/>
                <a:cs typeface="Arial Normal" charset="0"/>
              </a:defRPr>
            </a:lvl1pPr>
          </a:lstStyle>
          <a:p>
            <a:r>
              <a:rPr lang="en-US"/>
              <a:t>Insert Image</a:t>
            </a:r>
          </a:p>
        </p:txBody>
      </p:sp>
    </p:spTree>
    <p:extLst>
      <p:ext uri="{BB962C8B-B14F-4D97-AF65-F5344CB8AC3E}">
        <p14:creationId xmlns:p14="http://schemas.microsoft.com/office/powerpoint/2010/main" val="17802420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68_Title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3DEBDAB1-EC3B-E842-B160-885DDB9F8FEB}"/>
              </a:ext>
            </a:extLst>
          </p:cNvPr>
          <p:cNvSpPr>
            <a:spLocks noGrp="1"/>
          </p:cNvSpPr>
          <p:nvPr>
            <p:ph type="pic" sz="quarter" idx="16" hasCustomPrompt="1"/>
          </p:nvPr>
        </p:nvSpPr>
        <p:spPr>
          <a:xfrm>
            <a:off x="0" y="455151"/>
            <a:ext cx="4733365" cy="6126124"/>
          </a:xfrm>
          <a:prstGeom prst="rect">
            <a:avLst/>
          </a:prstGeom>
          <a:pattFill prst="pct10">
            <a:fgClr>
              <a:schemeClr val="tx1"/>
            </a:fgClr>
            <a:bgClr>
              <a:schemeClr val="bg1"/>
            </a:bgClr>
          </a:pattFill>
        </p:spPr>
        <p:txBody>
          <a:bodyPr wrap="square" anchor="ctr">
            <a:noAutofit/>
          </a:bodyPr>
          <a:lstStyle>
            <a:lvl1pPr algn="ctr">
              <a:defRPr sz="1600" b="0" i="0">
                <a:latin typeface="Arial Normal" charset="0"/>
                <a:ea typeface="Arial Normal" charset="0"/>
                <a:cs typeface="Arial Normal" charset="0"/>
              </a:defRPr>
            </a:lvl1pPr>
          </a:lstStyle>
          <a:p>
            <a:r>
              <a:rPr lang="en-US"/>
              <a:t>Insert Image</a:t>
            </a:r>
          </a:p>
        </p:txBody>
      </p:sp>
    </p:spTree>
    <p:extLst>
      <p:ext uri="{BB962C8B-B14F-4D97-AF65-F5344CB8AC3E}">
        <p14:creationId xmlns:p14="http://schemas.microsoft.com/office/powerpoint/2010/main" val="27048771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25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314744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6_Title Slide">
    <p:spTree>
      <p:nvGrpSpPr>
        <p:cNvPr id="1" name=""/>
        <p:cNvGrpSpPr/>
        <p:nvPr/>
      </p:nvGrpSpPr>
      <p:grpSpPr>
        <a:xfrm>
          <a:off x="0" y="0"/>
          <a:ext cx="0" cy="0"/>
          <a:chOff x="0" y="0"/>
          <a:chExt cx="0" cy="0"/>
        </a:xfrm>
      </p:grpSpPr>
      <p:sp>
        <p:nvSpPr>
          <p:cNvPr id="4" name="Picture Placeholder 3"/>
          <p:cNvSpPr>
            <a:spLocks noGrp="1"/>
          </p:cNvSpPr>
          <p:nvPr>
            <p:ph type="pic" sz="quarter" idx="16" hasCustomPrompt="1"/>
          </p:nvPr>
        </p:nvSpPr>
        <p:spPr>
          <a:xfrm>
            <a:off x="-1" y="0"/>
            <a:ext cx="5034987" cy="6857999"/>
          </a:xfrm>
          <a:prstGeom prst="rect">
            <a:avLst/>
          </a:prstGeom>
          <a:pattFill prst="pct10">
            <a:fgClr>
              <a:schemeClr val="tx1"/>
            </a:fgClr>
            <a:bgClr>
              <a:schemeClr val="bg1"/>
            </a:bgClr>
          </a:pattFill>
        </p:spPr>
        <p:txBody>
          <a:bodyPr wrap="square" anchor="ctr">
            <a:noAutofit/>
          </a:bodyPr>
          <a:lstStyle>
            <a:lvl1pPr algn="ctr">
              <a:defRPr sz="1600" b="0" i="0">
                <a:latin typeface="Arial Normal" charset="0"/>
                <a:ea typeface="Arial Normal" charset="0"/>
                <a:cs typeface="Arial Normal" charset="0"/>
              </a:defRPr>
            </a:lvl1pPr>
          </a:lstStyle>
          <a:p>
            <a:r>
              <a:rPr lang="en-US"/>
              <a:t>Insert Image</a:t>
            </a:r>
          </a:p>
        </p:txBody>
      </p:sp>
    </p:spTree>
    <p:extLst>
      <p:ext uri="{BB962C8B-B14F-4D97-AF65-F5344CB8AC3E}">
        <p14:creationId xmlns:p14="http://schemas.microsoft.com/office/powerpoint/2010/main" val="116750187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6" name="Picture Placeholder 5"/>
          <p:cNvSpPr>
            <a:spLocks noGrp="1"/>
          </p:cNvSpPr>
          <p:nvPr>
            <p:ph type="pic" sz="quarter" idx="13" hasCustomPrompt="1"/>
          </p:nvPr>
        </p:nvSpPr>
        <p:spPr>
          <a:xfrm>
            <a:off x="0" y="0"/>
            <a:ext cx="12192000" cy="6858000"/>
          </a:xfrm>
          <a:prstGeom prst="rect">
            <a:avLst/>
          </a:prstGeom>
          <a:pattFill prst="pct10">
            <a:fgClr>
              <a:schemeClr val="tx1"/>
            </a:fgClr>
            <a:bgClr>
              <a:schemeClr val="bg1"/>
            </a:bgClr>
          </a:pattFill>
        </p:spPr>
        <p:txBody>
          <a:bodyPr wrap="square" anchor="ctr">
            <a:noAutofit/>
          </a:bodyPr>
          <a:lstStyle>
            <a:lvl1pPr algn="ctr">
              <a:defRPr sz="1600" b="0" i="0">
                <a:latin typeface="Arial Normal" charset="0"/>
                <a:ea typeface="Arial Normal" charset="0"/>
                <a:cs typeface="Arial Normal" charset="0"/>
              </a:defRPr>
            </a:lvl1pPr>
          </a:lstStyle>
          <a:p>
            <a:r>
              <a:rPr lang="en-US"/>
              <a:t>Insert Image</a:t>
            </a:r>
          </a:p>
        </p:txBody>
      </p:sp>
    </p:spTree>
    <p:extLst>
      <p:ext uri="{BB962C8B-B14F-4D97-AF65-F5344CB8AC3E}">
        <p14:creationId xmlns:p14="http://schemas.microsoft.com/office/powerpoint/2010/main" val="229996857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5_Blank copy">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AA4328E5-3023-3841-B401-9BBA5C94F481}"/>
              </a:ext>
            </a:extLst>
          </p:cNvPr>
          <p:cNvSpPr>
            <a:spLocks noGrp="1"/>
          </p:cNvSpPr>
          <p:nvPr>
            <p:ph type="pic" sz="quarter" idx="16" hasCustomPrompt="1"/>
          </p:nvPr>
        </p:nvSpPr>
        <p:spPr>
          <a:xfrm>
            <a:off x="-1" y="0"/>
            <a:ext cx="12192001" cy="3962399"/>
          </a:xfrm>
          <a:prstGeom prst="rect">
            <a:avLst/>
          </a:prstGeom>
          <a:pattFill prst="pct10">
            <a:fgClr>
              <a:schemeClr val="tx1"/>
            </a:fgClr>
            <a:bgClr>
              <a:schemeClr val="bg1"/>
            </a:bgClr>
          </a:pattFill>
        </p:spPr>
        <p:txBody>
          <a:bodyPr wrap="square" anchor="ctr">
            <a:noAutofit/>
          </a:bodyPr>
          <a:lstStyle>
            <a:lvl1pPr algn="ctr">
              <a:defRPr sz="1600" b="0" i="0">
                <a:latin typeface="Arial Normal" charset="0"/>
                <a:ea typeface="Arial Normal" charset="0"/>
                <a:cs typeface="Arial Normal" charset="0"/>
              </a:defRPr>
            </a:lvl1pPr>
          </a:lstStyle>
          <a:p>
            <a:r>
              <a:rPr lang="en-US"/>
              <a:t>Insert Image</a:t>
            </a:r>
          </a:p>
        </p:txBody>
      </p:sp>
    </p:spTree>
    <p:extLst>
      <p:ext uri="{BB962C8B-B14F-4D97-AF65-F5344CB8AC3E}">
        <p14:creationId xmlns:p14="http://schemas.microsoft.com/office/powerpoint/2010/main" val="603269677"/>
      </p:ext>
    </p:extLst>
  </p:cSld>
  <p:clrMapOvr>
    <a:masterClrMapping/>
  </p:clrMapOvr>
  <p:transition spd="med"/>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3_Blank copy">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AA4328E5-3023-3841-B401-9BBA5C94F481}"/>
              </a:ext>
            </a:extLst>
          </p:cNvPr>
          <p:cNvSpPr>
            <a:spLocks noGrp="1"/>
          </p:cNvSpPr>
          <p:nvPr>
            <p:ph type="pic" sz="quarter" idx="16" hasCustomPrompt="1"/>
          </p:nvPr>
        </p:nvSpPr>
        <p:spPr>
          <a:xfrm>
            <a:off x="-1" y="455151"/>
            <a:ext cx="12192001" cy="3380869"/>
          </a:xfrm>
          <a:prstGeom prst="rect">
            <a:avLst/>
          </a:prstGeom>
          <a:pattFill prst="pct10">
            <a:fgClr>
              <a:schemeClr val="tx1"/>
            </a:fgClr>
            <a:bgClr>
              <a:schemeClr val="bg1"/>
            </a:bgClr>
          </a:pattFill>
        </p:spPr>
        <p:txBody>
          <a:bodyPr wrap="square" anchor="ctr">
            <a:noAutofit/>
          </a:bodyPr>
          <a:lstStyle>
            <a:lvl1pPr algn="ctr">
              <a:defRPr sz="1600" b="0" i="0">
                <a:latin typeface="Arial Normal" charset="0"/>
                <a:ea typeface="Arial Normal" charset="0"/>
                <a:cs typeface="Arial Normal" charset="0"/>
              </a:defRPr>
            </a:lvl1pPr>
          </a:lstStyle>
          <a:p>
            <a:r>
              <a:rPr lang="en-US"/>
              <a:t>Insert Image</a:t>
            </a:r>
          </a:p>
        </p:txBody>
      </p:sp>
    </p:spTree>
    <p:extLst>
      <p:ext uri="{BB962C8B-B14F-4D97-AF65-F5344CB8AC3E}">
        <p14:creationId xmlns:p14="http://schemas.microsoft.com/office/powerpoint/2010/main" val="4158118265"/>
      </p:ext>
    </p:extLst>
  </p:cSld>
  <p:clrMapOvr>
    <a:masterClrMapping/>
  </p:clrMapOvr>
  <p:transition spd="med"/>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38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196281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type="tx">
  <p:cSld name="DEFAULT">
    <p:spTree>
      <p:nvGrpSpPr>
        <p:cNvPr id="1" name=""/>
        <p:cNvGrpSpPr/>
        <p:nvPr/>
      </p:nvGrpSpPr>
      <p:grpSpPr>
        <a:xfrm>
          <a:off x="0" y="0"/>
          <a:ext cx="0" cy="0"/>
          <a:chOff x="0" y="0"/>
          <a:chExt cx="0" cy="0"/>
        </a:xfrm>
      </p:grpSpPr>
      <p:sp>
        <p:nvSpPr>
          <p:cNvPr id="11" name="Número de diapositiva"/>
          <p:cNvSpPr txBox="1">
            <a:spLocks noGrp="1"/>
          </p:cNvSpPr>
          <p:nvPr>
            <p:ph type="sldNum" sz="quarter" idx="2"/>
          </p:nvPr>
        </p:nvSpPr>
        <p:spPr>
          <a:prstGeom prst="rect">
            <a:avLst/>
          </a:prstGeom>
        </p:spPr>
        <p:txBody>
          <a:bodyPr/>
          <a:lstStyle/>
          <a:p>
            <a:fld id="{86CB4B4D-7CA3-9044-876B-883B54F8677D}" type="slidenum">
              <a:t>‹Nº›</a:t>
            </a:fld>
            <a:endParaRPr/>
          </a:p>
        </p:txBody>
      </p:sp>
    </p:spTree>
    <p:extLst>
      <p:ext uri="{BB962C8B-B14F-4D97-AF65-F5344CB8AC3E}">
        <p14:creationId xmlns:p14="http://schemas.microsoft.com/office/powerpoint/2010/main" val="3079575335"/>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142.xml"/><Relationship Id="rId2" Type="http://schemas.openxmlformats.org/officeDocument/2006/relationships/slideLayout" Target="../slideLayouts/slideLayout141.xml"/><Relationship Id="rId1" Type="http://schemas.openxmlformats.org/officeDocument/2006/relationships/slideLayout" Target="../slideLayouts/slideLayout140.xml"/><Relationship Id="rId5" Type="http://schemas.openxmlformats.org/officeDocument/2006/relationships/theme" Target="../theme/theme10.xml"/><Relationship Id="rId4" Type="http://schemas.openxmlformats.org/officeDocument/2006/relationships/slideLayout" Target="../slideLayouts/slideLayout143.xml"/></Relationships>
</file>

<file path=ppt/slideMasters/_rels/slideMaster11.xml.rels><?xml version="1.0" encoding="UTF-8" standalone="yes"?>
<Relationships xmlns="http://schemas.openxmlformats.org/package/2006/relationships"><Relationship Id="rId8" Type="http://schemas.openxmlformats.org/officeDocument/2006/relationships/theme" Target="../theme/theme11.xml"/><Relationship Id="rId3" Type="http://schemas.openxmlformats.org/officeDocument/2006/relationships/slideLayout" Target="../slideLayouts/slideLayout146.xml"/><Relationship Id="rId7" Type="http://schemas.openxmlformats.org/officeDocument/2006/relationships/slideLayout" Target="../slideLayouts/slideLayout150.xml"/><Relationship Id="rId2" Type="http://schemas.openxmlformats.org/officeDocument/2006/relationships/slideLayout" Target="../slideLayouts/slideLayout145.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5" Type="http://schemas.openxmlformats.org/officeDocument/2006/relationships/slideLayout" Target="../slideLayouts/slideLayout148.xml"/><Relationship Id="rId4" Type="http://schemas.openxmlformats.org/officeDocument/2006/relationships/slideLayout" Target="../slideLayouts/slideLayout147.xml"/></Relationships>
</file>

<file path=ppt/slideMasters/_rels/slideMaster12.xml.rels><?xml version="1.0" encoding="UTF-8" standalone="yes"?>
<Relationships xmlns="http://schemas.openxmlformats.org/package/2006/relationships"><Relationship Id="rId117" Type="http://schemas.openxmlformats.org/officeDocument/2006/relationships/tags" Target="../tags/tag92.xml"/><Relationship Id="rId21" Type="http://schemas.openxmlformats.org/officeDocument/2006/relationships/slideLayout" Target="../slideLayouts/slideLayout171.xml"/><Relationship Id="rId42" Type="http://schemas.openxmlformats.org/officeDocument/2006/relationships/tags" Target="../tags/tag17.xml"/><Relationship Id="rId63" Type="http://schemas.openxmlformats.org/officeDocument/2006/relationships/tags" Target="../tags/tag38.xml"/><Relationship Id="rId84" Type="http://schemas.openxmlformats.org/officeDocument/2006/relationships/tags" Target="../tags/tag59.xml"/><Relationship Id="rId138" Type="http://schemas.openxmlformats.org/officeDocument/2006/relationships/tags" Target="../tags/tag113.xml"/><Relationship Id="rId107" Type="http://schemas.openxmlformats.org/officeDocument/2006/relationships/tags" Target="../tags/tag82.xml"/><Relationship Id="rId11" Type="http://schemas.openxmlformats.org/officeDocument/2006/relationships/slideLayout" Target="../slideLayouts/slideLayout161.xml"/><Relationship Id="rId32" Type="http://schemas.openxmlformats.org/officeDocument/2006/relationships/tags" Target="../tags/tag7.xml"/><Relationship Id="rId53" Type="http://schemas.openxmlformats.org/officeDocument/2006/relationships/tags" Target="../tags/tag28.xml"/><Relationship Id="rId74" Type="http://schemas.openxmlformats.org/officeDocument/2006/relationships/tags" Target="../tags/tag49.xml"/><Relationship Id="rId128" Type="http://schemas.openxmlformats.org/officeDocument/2006/relationships/tags" Target="../tags/tag103.xml"/><Relationship Id="rId5" Type="http://schemas.openxmlformats.org/officeDocument/2006/relationships/slideLayout" Target="../slideLayouts/slideLayout155.xml"/><Relationship Id="rId90" Type="http://schemas.openxmlformats.org/officeDocument/2006/relationships/tags" Target="../tags/tag65.xml"/><Relationship Id="rId95" Type="http://schemas.openxmlformats.org/officeDocument/2006/relationships/tags" Target="../tags/tag70.xml"/><Relationship Id="rId22" Type="http://schemas.openxmlformats.org/officeDocument/2006/relationships/slideLayout" Target="../slideLayouts/slideLayout172.xml"/><Relationship Id="rId27" Type="http://schemas.openxmlformats.org/officeDocument/2006/relationships/tags" Target="../tags/tag2.xml"/><Relationship Id="rId43" Type="http://schemas.openxmlformats.org/officeDocument/2006/relationships/tags" Target="../tags/tag18.xml"/><Relationship Id="rId48" Type="http://schemas.openxmlformats.org/officeDocument/2006/relationships/tags" Target="../tags/tag23.xml"/><Relationship Id="rId64" Type="http://schemas.openxmlformats.org/officeDocument/2006/relationships/tags" Target="../tags/tag39.xml"/><Relationship Id="rId69" Type="http://schemas.openxmlformats.org/officeDocument/2006/relationships/tags" Target="../tags/tag44.xml"/><Relationship Id="rId113" Type="http://schemas.openxmlformats.org/officeDocument/2006/relationships/tags" Target="../tags/tag88.xml"/><Relationship Id="rId118" Type="http://schemas.openxmlformats.org/officeDocument/2006/relationships/tags" Target="../tags/tag93.xml"/><Relationship Id="rId134" Type="http://schemas.openxmlformats.org/officeDocument/2006/relationships/tags" Target="../tags/tag109.xml"/><Relationship Id="rId139" Type="http://schemas.openxmlformats.org/officeDocument/2006/relationships/tags" Target="../tags/tag114.xml"/><Relationship Id="rId80" Type="http://schemas.openxmlformats.org/officeDocument/2006/relationships/tags" Target="../tags/tag55.xml"/><Relationship Id="rId85" Type="http://schemas.openxmlformats.org/officeDocument/2006/relationships/tags" Target="../tags/tag60.xml"/><Relationship Id="rId12" Type="http://schemas.openxmlformats.org/officeDocument/2006/relationships/slideLayout" Target="../slideLayouts/slideLayout162.xml"/><Relationship Id="rId17" Type="http://schemas.openxmlformats.org/officeDocument/2006/relationships/slideLayout" Target="../slideLayouts/slideLayout167.xml"/><Relationship Id="rId33" Type="http://schemas.openxmlformats.org/officeDocument/2006/relationships/tags" Target="../tags/tag8.xml"/><Relationship Id="rId38" Type="http://schemas.openxmlformats.org/officeDocument/2006/relationships/tags" Target="../tags/tag13.xml"/><Relationship Id="rId59" Type="http://schemas.openxmlformats.org/officeDocument/2006/relationships/tags" Target="../tags/tag34.xml"/><Relationship Id="rId103" Type="http://schemas.openxmlformats.org/officeDocument/2006/relationships/tags" Target="../tags/tag78.xml"/><Relationship Id="rId108" Type="http://schemas.openxmlformats.org/officeDocument/2006/relationships/tags" Target="../tags/tag83.xml"/><Relationship Id="rId124" Type="http://schemas.openxmlformats.org/officeDocument/2006/relationships/tags" Target="../tags/tag99.xml"/><Relationship Id="rId129" Type="http://schemas.openxmlformats.org/officeDocument/2006/relationships/tags" Target="../tags/tag104.xml"/><Relationship Id="rId54" Type="http://schemas.openxmlformats.org/officeDocument/2006/relationships/tags" Target="../tags/tag29.xml"/><Relationship Id="rId70" Type="http://schemas.openxmlformats.org/officeDocument/2006/relationships/tags" Target="../tags/tag45.xml"/><Relationship Id="rId75" Type="http://schemas.openxmlformats.org/officeDocument/2006/relationships/tags" Target="../tags/tag50.xml"/><Relationship Id="rId91" Type="http://schemas.openxmlformats.org/officeDocument/2006/relationships/tags" Target="../tags/tag66.xml"/><Relationship Id="rId96" Type="http://schemas.openxmlformats.org/officeDocument/2006/relationships/tags" Target="../tags/tag71.xml"/><Relationship Id="rId140" Type="http://schemas.openxmlformats.org/officeDocument/2006/relationships/tags" Target="../tags/tag115.xml"/><Relationship Id="rId145" Type="http://schemas.openxmlformats.org/officeDocument/2006/relationships/tags" Target="../tags/tag120.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23" Type="http://schemas.openxmlformats.org/officeDocument/2006/relationships/slideLayout" Target="../slideLayouts/slideLayout173.xml"/><Relationship Id="rId28" Type="http://schemas.openxmlformats.org/officeDocument/2006/relationships/tags" Target="../tags/tag3.xml"/><Relationship Id="rId49" Type="http://schemas.openxmlformats.org/officeDocument/2006/relationships/tags" Target="../tags/tag24.xml"/><Relationship Id="rId114" Type="http://schemas.openxmlformats.org/officeDocument/2006/relationships/tags" Target="../tags/tag89.xml"/><Relationship Id="rId119" Type="http://schemas.openxmlformats.org/officeDocument/2006/relationships/tags" Target="../tags/tag94.xml"/><Relationship Id="rId44" Type="http://schemas.openxmlformats.org/officeDocument/2006/relationships/tags" Target="../tags/tag19.xml"/><Relationship Id="rId60" Type="http://schemas.openxmlformats.org/officeDocument/2006/relationships/tags" Target="../tags/tag35.xml"/><Relationship Id="rId65" Type="http://schemas.openxmlformats.org/officeDocument/2006/relationships/tags" Target="../tags/tag40.xml"/><Relationship Id="rId81" Type="http://schemas.openxmlformats.org/officeDocument/2006/relationships/tags" Target="../tags/tag56.xml"/><Relationship Id="rId86" Type="http://schemas.openxmlformats.org/officeDocument/2006/relationships/tags" Target="../tags/tag61.xml"/><Relationship Id="rId130" Type="http://schemas.openxmlformats.org/officeDocument/2006/relationships/tags" Target="../tags/tag105.xml"/><Relationship Id="rId135" Type="http://schemas.openxmlformats.org/officeDocument/2006/relationships/tags" Target="../tags/tag110.xml"/><Relationship Id="rId13" Type="http://schemas.openxmlformats.org/officeDocument/2006/relationships/slideLayout" Target="../slideLayouts/slideLayout163.xml"/><Relationship Id="rId18" Type="http://schemas.openxmlformats.org/officeDocument/2006/relationships/slideLayout" Target="../slideLayouts/slideLayout168.xml"/><Relationship Id="rId39" Type="http://schemas.openxmlformats.org/officeDocument/2006/relationships/tags" Target="../tags/tag14.xml"/><Relationship Id="rId109" Type="http://schemas.openxmlformats.org/officeDocument/2006/relationships/tags" Target="../tags/tag84.xml"/><Relationship Id="rId34" Type="http://schemas.openxmlformats.org/officeDocument/2006/relationships/tags" Target="../tags/tag9.xml"/><Relationship Id="rId50" Type="http://schemas.openxmlformats.org/officeDocument/2006/relationships/tags" Target="../tags/tag25.xml"/><Relationship Id="rId55" Type="http://schemas.openxmlformats.org/officeDocument/2006/relationships/tags" Target="../tags/tag30.xml"/><Relationship Id="rId76" Type="http://schemas.openxmlformats.org/officeDocument/2006/relationships/tags" Target="../tags/tag51.xml"/><Relationship Id="rId97" Type="http://schemas.openxmlformats.org/officeDocument/2006/relationships/tags" Target="../tags/tag72.xml"/><Relationship Id="rId104" Type="http://schemas.openxmlformats.org/officeDocument/2006/relationships/tags" Target="../tags/tag79.xml"/><Relationship Id="rId120" Type="http://schemas.openxmlformats.org/officeDocument/2006/relationships/tags" Target="../tags/tag95.xml"/><Relationship Id="rId125" Type="http://schemas.openxmlformats.org/officeDocument/2006/relationships/tags" Target="../tags/tag100.xml"/><Relationship Id="rId141" Type="http://schemas.openxmlformats.org/officeDocument/2006/relationships/tags" Target="../tags/tag116.xml"/><Relationship Id="rId146" Type="http://schemas.openxmlformats.org/officeDocument/2006/relationships/tags" Target="../tags/tag121.xml"/><Relationship Id="rId7" Type="http://schemas.openxmlformats.org/officeDocument/2006/relationships/slideLayout" Target="../slideLayouts/slideLayout157.xml"/><Relationship Id="rId71" Type="http://schemas.openxmlformats.org/officeDocument/2006/relationships/tags" Target="../tags/tag46.xml"/><Relationship Id="rId92" Type="http://schemas.openxmlformats.org/officeDocument/2006/relationships/tags" Target="../tags/tag67.xml"/><Relationship Id="rId2" Type="http://schemas.openxmlformats.org/officeDocument/2006/relationships/slideLayout" Target="../slideLayouts/slideLayout152.xml"/><Relationship Id="rId29" Type="http://schemas.openxmlformats.org/officeDocument/2006/relationships/tags" Target="../tags/tag4.xml"/><Relationship Id="rId24" Type="http://schemas.openxmlformats.org/officeDocument/2006/relationships/slideLayout" Target="../slideLayouts/slideLayout174.xml"/><Relationship Id="rId40" Type="http://schemas.openxmlformats.org/officeDocument/2006/relationships/tags" Target="../tags/tag15.xml"/><Relationship Id="rId45" Type="http://schemas.openxmlformats.org/officeDocument/2006/relationships/tags" Target="../tags/tag20.xml"/><Relationship Id="rId66" Type="http://schemas.openxmlformats.org/officeDocument/2006/relationships/tags" Target="../tags/tag41.xml"/><Relationship Id="rId87" Type="http://schemas.openxmlformats.org/officeDocument/2006/relationships/tags" Target="../tags/tag62.xml"/><Relationship Id="rId110" Type="http://schemas.openxmlformats.org/officeDocument/2006/relationships/tags" Target="../tags/tag85.xml"/><Relationship Id="rId115" Type="http://schemas.openxmlformats.org/officeDocument/2006/relationships/tags" Target="../tags/tag90.xml"/><Relationship Id="rId131" Type="http://schemas.openxmlformats.org/officeDocument/2006/relationships/tags" Target="../tags/tag106.xml"/><Relationship Id="rId136" Type="http://schemas.openxmlformats.org/officeDocument/2006/relationships/tags" Target="../tags/tag111.xml"/><Relationship Id="rId61" Type="http://schemas.openxmlformats.org/officeDocument/2006/relationships/tags" Target="../tags/tag36.xml"/><Relationship Id="rId82" Type="http://schemas.openxmlformats.org/officeDocument/2006/relationships/tags" Target="../tags/tag57.xml"/><Relationship Id="rId19" Type="http://schemas.openxmlformats.org/officeDocument/2006/relationships/slideLayout" Target="../slideLayouts/slideLayout169.xml"/><Relationship Id="rId14" Type="http://schemas.openxmlformats.org/officeDocument/2006/relationships/slideLayout" Target="../slideLayouts/slideLayout164.xml"/><Relationship Id="rId30" Type="http://schemas.openxmlformats.org/officeDocument/2006/relationships/tags" Target="../tags/tag5.xml"/><Relationship Id="rId35" Type="http://schemas.openxmlformats.org/officeDocument/2006/relationships/tags" Target="../tags/tag10.xml"/><Relationship Id="rId56" Type="http://schemas.openxmlformats.org/officeDocument/2006/relationships/tags" Target="../tags/tag31.xml"/><Relationship Id="rId77" Type="http://schemas.openxmlformats.org/officeDocument/2006/relationships/tags" Target="../tags/tag52.xml"/><Relationship Id="rId100" Type="http://schemas.openxmlformats.org/officeDocument/2006/relationships/tags" Target="../tags/tag75.xml"/><Relationship Id="rId105" Type="http://schemas.openxmlformats.org/officeDocument/2006/relationships/tags" Target="../tags/tag80.xml"/><Relationship Id="rId126" Type="http://schemas.openxmlformats.org/officeDocument/2006/relationships/tags" Target="../tags/tag101.xml"/><Relationship Id="rId147" Type="http://schemas.openxmlformats.org/officeDocument/2006/relationships/tags" Target="../tags/tag122.xml"/><Relationship Id="rId8" Type="http://schemas.openxmlformats.org/officeDocument/2006/relationships/slideLayout" Target="../slideLayouts/slideLayout158.xml"/><Relationship Id="rId51" Type="http://schemas.openxmlformats.org/officeDocument/2006/relationships/tags" Target="../tags/tag26.xml"/><Relationship Id="rId72" Type="http://schemas.openxmlformats.org/officeDocument/2006/relationships/tags" Target="../tags/tag47.xml"/><Relationship Id="rId93" Type="http://schemas.openxmlformats.org/officeDocument/2006/relationships/tags" Target="../tags/tag68.xml"/><Relationship Id="rId98" Type="http://schemas.openxmlformats.org/officeDocument/2006/relationships/tags" Target="../tags/tag73.xml"/><Relationship Id="rId121" Type="http://schemas.openxmlformats.org/officeDocument/2006/relationships/tags" Target="../tags/tag96.xml"/><Relationship Id="rId142" Type="http://schemas.openxmlformats.org/officeDocument/2006/relationships/tags" Target="../tags/tag117.xml"/><Relationship Id="rId3" Type="http://schemas.openxmlformats.org/officeDocument/2006/relationships/slideLayout" Target="../slideLayouts/slideLayout153.xml"/><Relationship Id="rId25" Type="http://schemas.openxmlformats.org/officeDocument/2006/relationships/theme" Target="../theme/theme12.xml"/><Relationship Id="rId46" Type="http://schemas.openxmlformats.org/officeDocument/2006/relationships/tags" Target="../tags/tag21.xml"/><Relationship Id="rId67" Type="http://schemas.openxmlformats.org/officeDocument/2006/relationships/tags" Target="../tags/tag42.xml"/><Relationship Id="rId116" Type="http://schemas.openxmlformats.org/officeDocument/2006/relationships/tags" Target="../tags/tag91.xml"/><Relationship Id="rId137" Type="http://schemas.openxmlformats.org/officeDocument/2006/relationships/tags" Target="../tags/tag112.xml"/><Relationship Id="rId20" Type="http://schemas.openxmlformats.org/officeDocument/2006/relationships/slideLayout" Target="../slideLayouts/slideLayout170.xml"/><Relationship Id="rId41" Type="http://schemas.openxmlformats.org/officeDocument/2006/relationships/tags" Target="../tags/tag16.xml"/><Relationship Id="rId62" Type="http://schemas.openxmlformats.org/officeDocument/2006/relationships/tags" Target="../tags/tag37.xml"/><Relationship Id="rId83" Type="http://schemas.openxmlformats.org/officeDocument/2006/relationships/tags" Target="../tags/tag58.xml"/><Relationship Id="rId88" Type="http://schemas.openxmlformats.org/officeDocument/2006/relationships/tags" Target="../tags/tag63.xml"/><Relationship Id="rId111" Type="http://schemas.openxmlformats.org/officeDocument/2006/relationships/tags" Target="../tags/tag86.xml"/><Relationship Id="rId132" Type="http://schemas.openxmlformats.org/officeDocument/2006/relationships/tags" Target="../tags/tag107.xml"/><Relationship Id="rId15" Type="http://schemas.openxmlformats.org/officeDocument/2006/relationships/slideLayout" Target="../slideLayouts/slideLayout165.xml"/><Relationship Id="rId36" Type="http://schemas.openxmlformats.org/officeDocument/2006/relationships/tags" Target="../tags/tag11.xml"/><Relationship Id="rId57" Type="http://schemas.openxmlformats.org/officeDocument/2006/relationships/tags" Target="../tags/tag32.xml"/><Relationship Id="rId106" Type="http://schemas.openxmlformats.org/officeDocument/2006/relationships/tags" Target="../tags/tag81.xml"/><Relationship Id="rId127" Type="http://schemas.openxmlformats.org/officeDocument/2006/relationships/tags" Target="../tags/tag102.xml"/><Relationship Id="rId10" Type="http://schemas.openxmlformats.org/officeDocument/2006/relationships/slideLayout" Target="../slideLayouts/slideLayout160.xml"/><Relationship Id="rId31" Type="http://schemas.openxmlformats.org/officeDocument/2006/relationships/tags" Target="../tags/tag6.xml"/><Relationship Id="rId52" Type="http://schemas.openxmlformats.org/officeDocument/2006/relationships/tags" Target="../tags/tag27.xml"/><Relationship Id="rId73" Type="http://schemas.openxmlformats.org/officeDocument/2006/relationships/tags" Target="../tags/tag48.xml"/><Relationship Id="rId78" Type="http://schemas.openxmlformats.org/officeDocument/2006/relationships/tags" Target="../tags/tag53.xml"/><Relationship Id="rId94" Type="http://schemas.openxmlformats.org/officeDocument/2006/relationships/tags" Target="../tags/tag69.xml"/><Relationship Id="rId99" Type="http://schemas.openxmlformats.org/officeDocument/2006/relationships/tags" Target="../tags/tag74.xml"/><Relationship Id="rId101" Type="http://schemas.openxmlformats.org/officeDocument/2006/relationships/tags" Target="../tags/tag76.xml"/><Relationship Id="rId122" Type="http://schemas.openxmlformats.org/officeDocument/2006/relationships/tags" Target="../tags/tag97.xml"/><Relationship Id="rId143" Type="http://schemas.openxmlformats.org/officeDocument/2006/relationships/tags" Target="../tags/tag118.xml"/><Relationship Id="rId148" Type="http://schemas.openxmlformats.org/officeDocument/2006/relationships/tags" Target="../tags/tag123.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26" Type="http://schemas.openxmlformats.org/officeDocument/2006/relationships/tags" Target="../tags/tag1.xml"/><Relationship Id="rId47" Type="http://schemas.openxmlformats.org/officeDocument/2006/relationships/tags" Target="../tags/tag22.xml"/><Relationship Id="rId68" Type="http://schemas.openxmlformats.org/officeDocument/2006/relationships/tags" Target="../tags/tag43.xml"/><Relationship Id="rId89" Type="http://schemas.openxmlformats.org/officeDocument/2006/relationships/tags" Target="../tags/tag64.xml"/><Relationship Id="rId112" Type="http://schemas.openxmlformats.org/officeDocument/2006/relationships/tags" Target="../tags/tag87.xml"/><Relationship Id="rId133" Type="http://schemas.openxmlformats.org/officeDocument/2006/relationships/tags" Target="../tags/tag108.xml"/><Relationship Id="rId16" Type="http://schemas.openxmlformats.org/officeDocument/2006/relationships/slideLayout" Target="../slideLayouts/slideLayout166.xml"/><Relationship Id="rId37" Type="http://schemas.openxmlformats.org/officeDocument/2006/relationships/tags" Target="../tags/tag12.xml"/><Relationship Id="rId58" Type="http://schemas.openxmlformats.org/officeDocument/2006/relationships/tags" Target="../tags/tag33.xml"/><Relationship Id="rId79" Type="http://schemas.openxmlformats.org/officeDocument/2006/relationships/tags" Target="../tags/tag54.xml"/><Relationship Id="rId102" Type="http://schemas.openxmlformats.org/officeDocument/2006/relationships/tags" Target="../tags/tag77.xml"/><Relationship Id="rId123" Type="http://schemas.openxmlformats.org/officeDocument/2006/relationships/tags" Target="../tags/tag98.xml"/><Relationship Id="rId144" Type="http://schemas.openxmlformats.org/officeDocument/2006/relationships/tags" Target="../tags/tag1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image" Target="../media/image3.png"/><Relationship Id="rId2" Type="http://schemas.openxmlformats.org/officeDocument/2006/relationships/slideLayout" Target="../slideLayouts/slideLayout11.xml"/><Relationship Id="rId16" Type="http://schemas.openxmlformats.org/officeDocument/2006/relationships/image" Target="../media/image2.emf"/><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theme" Target="../theme/theme2.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theme" Target="../theme/theme3.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theme" Target="../theme/theme4.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29" Type="http://schemas.openxmlformats.org/officeDocument/2006/relationships/slideLayout" Target="../slideLayouts/slideLayout85.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slideLayout" Target="../slideLayouts/slideLayout84.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 Id="rId30"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5" Type="http://schemas.openxmlformats.org/officeDocument/2006/relationships/theme" Target="../theme/theme6.xml"/><Relationship Id="rId10" Type="http://schemas.openxmlformats.org/officeDocument/2006/relationships/slideLayout" Target="../slideLayouts/slideLayout95.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theme" Target="../theme/theme7.xml"/><Relationship Id="rId5" Type="http://schemas.openxmlformats.org/officeDocument/2006/relationships/slideLayout" Target="../slideLayouts/slideLayout104.xml"/><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3" Type="http://schemas.openxmlformats.org/officeDocument/2006/relationships/slideLayout" Target="../slideLayouts/slideLayout112.xml"/><Relationship Id="rId21" Type="http://schemas.openxmlformats.org/officeDocument/2006/relationships/slideLayout" Target="../slideLayouts/slideLayout130.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theme" Target="../theme/theme8.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s>
</file>

<file path=ppt/slideMasters/_rels/slideMaster9.xml.rels><?xml version="1.0" encoding="UTF-8" standalone="yes"?>
<Relationships xmlns="http://schemas.openxmlformats.org/package/2006/relationships"><Relationship Id="rId8" Type="http://schemas.openxmlformats.org/officeDocument/2006/relationships/theme" Target="../theme/theme9.xml"/><Relationship Id="rId3" Type="http://schemas.openxmlformats.org/officeDocument/2006/relationships/slideLayout" Target="../slideLayouts/slideLayout135.xml"/><Relationship Id="rId7" Type="http://schemas.openxmlformats.org/officeDocument/2006/relationships/slideLayout" Target="../slideLayouts/slideLayout139.xml"/><Relationship Id="rId2" Type="http://schemas.openxmlformats.org/officeDocument/2006/relationships/slideLayout" Target="../slideLayouts/slideLayout134.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5" Type="http://schemas.openxmlformats.org/officeDocument/2006/relationships/slideLayout" Target="../slideLayouts/slideLayout137.xml"/><Relationship Id="rId4" Type="http://schemas.openxmlformats.org/officeDocument/2006/relationships/slideLayout" Target="../slideLayouts/slideLayout1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28C374BE-F27C-5648-AE05-F206ABAFF31E}"/>
              </a:ext>
            </a:extLst>
          </p:cNvPr>
          <p:cNvSpPr>
            <a:spLocks noGrp="1"/>
          </p:cNvSpPr>
          <p:nvPr>
            <p:ph type="title"/>
          </p:nvPr>
        </p:nvSpPr>
        <p:spPr>
          <a:xfrm>
            <a:off x="268045" y="325400"/>
            <a:ext cx="10515600" cy="430941"/>
          </a:xfrm>
          <a:prstGeom prst="rect">
            <a:avLst/>
          </a:prstGeom>
        </p:spPr>
        <p:txBody>
          <a:bodyPr vert="horz" lIns="91440" tIns="45720" rIns="91440" bIns="45720" rtlCol="0" anchor="ctr">
            <a:noAutofit/>
          </a:bodyPr>
          <a:lstStyle/>
          <a:p>
            <a:r>
              <a:rPr lang="es-ES"/>
              <a:t>Haga clic para modificar el estilo de título del patrón</a:t>
            </a:r>
          </a:p>
        </p:txBody>
      </p:sp>
      <p:sp>
        <p:nvSpPr>
          <p:cNvPr id="3" name="Marcador de texto 2">
            <a:extLst>
              <a:ext uri="{FF2B5EF4-FFF2-40B4-BE49-F238E27FC236}">
                <a16:creationId xmlns:a16="http://schemas.microsoft.com/office/drawing/2014/main" id="{68326C12-3B81-DF4C-800F-2319277CBDAE}"/>
              </a:ext>
            </a:extLst>
          </p:cNvPr>
          <p:cNvSpPr>
            <a:spLocks noGrp="1"/>
          </p:cNvSpPr>
          <p:nvPr>
            <p:ph type="body" idx="1"/>
          </p:nvPr>
        </p:nvSpPr>
        <p:spPr>
          <a:xfrm>
            <a:off x="268045" y="1253331"/>
            <a:ext cx="11522336"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Rectángulo 3">
            <a:extLst>
              <a:ext uri="{FF2B5EF4-FFF2-40B4-BE49-F238E27FC236}">
                <a16:creationId xmlns:a16="http://schemas.microsoft.com/office/drawing/2014/main" id="{C84E8652-B1F4-514D-A7B6-11981095DEA8}"/>
              </a:ext>
            </a:extLst>
          </p:cNvPr>
          <p:cNvSpPr/>
          <p:nvPr userDrawn="1"/>
        </p:nvSpPr>
        <p:spPr>
          <a:xfrm>
            <a:off x="0" y="6579031"/>
            <a:ext cx="12192000" cy="27896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 name="Page Placeholder Gray">
            <a:extLst>
              <a:ext uri="{FF2B5EF4-FFF2-40B4-BE49-F238E27FC236}">
                <a16:creationId xmlns:a16="http://schemas.microsoft.com/office/drawing/2014/main" id="{9B545EC8-0109-144C-85F5-667525DDFCFE}"/>
              </a:ext>
            </a:extLst>
          </p:cNvPr>
          <p:cNvSpPr txBox="1"/>
          <p:nvPr userDrawn="1"/>
        </p:nvSpPr>
        <p:spPr>
          <a:xfrm>
            <a:off x="11623729" y="6664293"/>
            <a:ext cx="448170" cy="107722"/>
          </a:xfrm>
          <a:prstGeom prst="rect">
            <a:avLst/>
          </a:prstGeom>
          <a:noFill/>
        </p:spPr>
        <p:txBody>
          <a:bodyPr wrap="square" lIns="0" tIns="0" rIns="0" bIns="0" rtlCol="0" anchor="t" anchorCtr="0">
            <a:spAutoFit/>
          </a:bodyPr>
          <a:lstStyle/>
          <a:p>
            <a:pPr algn="ctr"/>
            <a:fld id="{9AE4D82F-B047-469B-AC52-A46321747EAF}" type="slidenum">
              <a:rPr lang="en-GB" sz="700" smtClean="0">
                <a:solidFill>
                  <a:srgbClr val="646464"/>
                </a:solidFill>
                <a:latin typeface="Arial" panose="020B0604020202020204" pitchFamily="34" charset="0"/>
                <a:cs typeface="Arial" panose="020B0604020202020204" pitchFamily="34" charset="0"/>
              </a:rPr>
              <a:pPr algn="ctr"/>
              <a:t>‹Nº›</a:t>
            </a:fld>
            <a:endParaRPr lang="en-GB" sz="800">
              <a:solidFill>
                <a:srgbClr val="646464"/>
              </a:solidFill>
              <a:latin typeface="Arial" panose="020B0604020202020204" pitchFamily="34" charset="0"/>
              <a:cs typeface="Arial" panose="020B0604020202020204" pitchFamily="34" charset="0"/>
            </a:endParaRPr>
          </a:p>
        </p:txBody>
      </p:sp>
      <p:sp>
        <p:nvSpPr>
          <p:cNvPr id="6" name="Rectangle 12">
            <a:extLst>
              <a:ext uri="{FF2B5EF4-FFF2-40B4-BE49-F238E27FC236}">
                <a16:creationId xmlns:a16="http://schemas.microsoft.com/office/drawing/2014/main" id="{D0552E3F-3BEA-B648-8680-A9344881F650}"/>
              </a:ext>
            </a:extLst>
          </p:cNvPr>
          <p:cNvSpPr/>
          <p:nvPr userDrawn="1"/>
        </p:nvSpPr>
        <p:spPr>
          <a:xfrm>
            <a:off x="192152" y="6663354"/>
            <a:ext cx="5834311" cy="107722"/>
          </a:xfrm>
          <a:prstGeom prst="rect">
            <a:avLst/>
          </a:prstGeom>
          <a:noFill/>
        </p:spPr>
        <p:txBody>
          <a:bodyPr wrap="square" lIns="0" tIns="0" rIns="0" bIns="0" rtlCol="0" anchor="t" anchorCtr="0">
            <a:spAutoFit/>
          </a:bodyPr>
          <a:lstStyle/>
          <a:p>
            <a:r>
              <a:rPr lang="en-US" sz="700">
                <a:solidFill>
                  <a:srgbClr val="646464"/>
                </a:solidFill>
                <a:latin typeface="Arial" panose="020B0604020202020204" pitchFamily="34" charset="0"/>
                <a:cs typeface="Arial" panose="020B0604020202020204" pitchFamily="34" charset="0"/>
              </a:rPr>
              <a:t>Stratesys Technology Solutions -  All Rights Reserved - </a:t>
            </a:r>
            <a:r>
              <a:rPr lang="en-US" sz="700" noProof="0">
                <a:solidFill>
                  <a:srgbClr val="646464"/>
                </a:solidFill>
                <a:latin typeface="Arial" panose="020B0604020202020204" pitchFamily="34" charset="0"/>
                <a:cs typeface="Arial" panose="020B0604020202020204" pitchFamily="34" charset="0"/>
              </a:rPr>
              <a:t>Confidential</a:t>
            </a:r>
            <a:endParaRPr lang="en-US" sz="700">
              <a:solidFill>
                <a:srgbClr val="646464"/>
              </a:solidFill>
              <a:latin typeface="EYInterstate Light" panose="02000506000000020004" pitchFamily="2" charset="0"/>
            </a:endParaRPr>
          </a:p>
        </p:txBody>
      </p:sp>
    </p:spTree>
    <p:extLst>
      <p:ext uri="{BB962C8B-B14F-4D97-AF65-F5344CB8AC3E}">
        <p14:creationId xmlns:p14="http://schemas.microsoft.com/office/powerpoint/2010/main" val="4124089968"/>
      </p:ext>
    </p:extLst>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89" r:id="rId4"/>
    <p:sldLayoutId id="2147484114" r:id="rId5"/>
    <p:sldLayoutId id="2147484287" r:id="rId6"/>
    <p:sldLayoutId id="2147484288" r:id="rId7"/>
    <p:sldLayoutId id="2147484289" r:id="rId8"/>
    <p:sldLayoutId id="2147484291" r:id="rId9"/>
  </p:sldLayoutIdLst>
  <p:txStyles>
    <p:titleStyle>
      <a:lvl1pPr algn="l" defTabSz="914400" rtl="0" eaLnBrk="1" latinLnBrk="0" hangingPunct="1">
        <a:lnSpc>
          <a:spcPct val="90000"/>
        </a:lnSpc>
        <a:spcBef>
          <a:spcPct val="0"/>
        </a:spcBef>
        <a:buNone/>
        <a:defRPr sz="2200" kern="1200">
          <a:solidFill>
            <a:schemeClr val="tx1">
              <a:lumMod val="65000"/>
              <a:lumOff val="35000"/>
            </a:schemeClr>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500" kern="1200">
          <a:solidFill>
            <a:schemeClr val="tx1">
              <a:lumMod val="65000"/>
              <a:lumOff val="3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65000"/>
              <a:lumOff val="3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65000"/>
              <a:lumOff val="3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lumMod val="65000"/>
              <a:lumOff val="3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lumMod val="65000"/>
              <a:lumOff val="3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rgbClr val="080E26"/>
        </a:solidFill>
        <a:effectLst/>
      </p:bgPr>
    </p:bg>
    <p:spTree>
      <p:nvGrpSpPr>
        <p:cNvPr id="1" name=""/>
        <p:cNvGrpSpPr/>
        <p:nvPr/>
      </p:nvGrpSpPr>
      <p:grpSpPr>
        <a:xfrm>
          <a:off x="0" y="0"/>
          <a:ext cx="0" cy="0"/>
          <a:chOff x="0" y="0"/>
          <a:chExt cx="0" cy="0"/>
        </a:xfrm>
      </p:grpSpPr>
      <p:sp>
        <p:nvSpPr>
          <p:cNvPr id="3" name="Page Placeholder Gray">
            <a:extLst>
              <a:ext uri="{FF2B5EF4-FFF2-40B4-BE49-F238E27FC236}">
                <a16:creationId xmlns:a16="http://schemas.microsoft.com/office/drawing/2014/main" id="{2C159EB6-4B83-2BE0-61E5-1C6B71F275DD}"/>
              </a:ext>
            </a:extLst>
          </p:cNvPr>
          <p:cNvSpPr txBox="1"/>
          <p:nvPr userDrawn="1"/>
        </p:nvSpPr>
        <p:spPr>
          <a:xfrm>
            <a:off x="11818525" y="6695796"/>
            <a:ext cx="373475" cy="89705"/>
          </a:xfrm>
          <a:prstGeom prst="rect">
            <a:avLst/>
          </a:prstGeom>
          <a:noFill/>
        </p:spPr>
        <p:txBody>
          <a:bodyPr wrap="square" lIns="0" tIns="0" rIns="0" bIns="0" rtlCol="0" anchor="t" anchorCtr="0">
            <a:spAutoFit/>
          </a:bodyPr>
          <a:lstStyle/>
          <a:p>
            <a:pPr algn="ctr"/>
            <a:fld id="{9AE4D82F-B047-469B-AC52-A46321747EAF}" type="slidenum">
              <a:rPr lang="en-GB" sz="583" smtClean="0">
                <a:solidFill>
                  <a:srgbClr val="646464"/>
                </a:solidFill>
                <a:latin typeface="Arial" panose="020B0604020202020204" pitchFamily="34" charset="0"/>
                <a:cs typeface="Arial" panose="020B0604020202020204" pitchFamily="34" charset="0"/>
              </a:rPr>
              <a:pPr algn="ctr"/>
              <a:t>‹Nº›</a:t>
            </a:fld>
            <a:endParaRPr lang="en-GB" sz="667">
              <a:solidFill>
                <a:srgbClr val="646464"/>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2013806"/>
      </p:ext>
    </p:extLst>
  </p:cSld>
  <p:clrMap bg1="lt1" tx1="dk1" bg2="lt2" tx2="dk2" accent1="accent1" accent2="accent2" accent3="accent3" accent4="accent4" accent5="accent5" accent6="accent6" hlink="hlink" folHlink="folHlink"/>
  <p:sldLayoutIdLst>
    <p:sldLayoutId id="2147484249" r:id="rId1"/>
    <p:sldLayoutId id="2147484250" r:id="rId2"/>
    <p:sldLayoutId id="2147484251" r:id="rId3"/>
    <p:sldLayoutId id="2147484252" r:id="rId4"/>
  </p:sldLayoutIdLst>
  <p:hf sldNum="0" hdr="0" ftr="0" dt="0"/>
  <p:txStyles>
    <p:titleStyle>
      <a:lvl1pPr algn="ctr" defTabSz="761970" rtl="0" eaLnBrk="1" latinLnBrk="0" hangingPunct="1">
        <a:spcBef>
          <a:spcPct val="0"/>
        </a:spcBef>
        <a:buNone/>
        <a:defRPr sz="3667" kern="1200">
          <a:solidFill>
            <a:schemeClr val="tx1"/>
          </a:solidFill>
          <a:latin typeface="+mj-lt"/>
          <a:ea typeface="+mj-ea"/>
          <a:cs typeface="+mj-cs"/>
        </a:defRPr>
      </a:lvl1pPr>
    </p:titleStyle>
    <p:bodyStyle>
      <a:lvl1pPr marL="285739" indent="-285739" algn="l" defTabSz="761970" rtl="0" eaLnBrk="1" latinLnBrk="0" hangingPunct="1">
        <a:spcBef>
          <a:spcPct val="20000"/>
        </a:spcBef>
        <a:buFont typeface="Arial" pitchFamily="34" charset="0"/>
        <a:buChar char="•"/>
        <a:defRPr sz="2667" kern="1200">
          <a:solidFill>
            <a:schemeClr val="tx1"/>
          </a:solidFill>
          <a:latin typeface="+mn-lt"/>
          <a:ea typeface="+mn-ea"/>
          <a:cs typeface="+mn-cs"/>
        </a:defRPr>
      </a:lvl1pPr>
      <a:lvl2pPr marL="619100" indent="-238115" algn="l" defTabSz="761970" rtl="0" eaLnBrk="1" latinLnBrk="0" hangingPunct="1">
        <a:spcBef>
          <a:spcPct val="20000"/>
        </a:spcBef>
        <a:buFont typeface="Arial" pitchFamily="34" charset="0"/>
        <a:buChar char="–"/>
        <a:defRPr sz="2333" kern="1200">
          <a:solidFill>
            <a:schemeClr val="tx1"/>
          </a:solidFill>
          <a:latin typeface="+mn-lt"/>
          <a:ea typeface="+mn-ea"/>
          <a:cs typeface="+mn-cs"/>
        </a:defRPr>
      </a:lvl2pPr>
      <a:lvl3pPr marL="952462" indent="-190492" algn="l" defTabSz="76197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333447" indent="-190492" algn="l" defTabSz="761970" rtl="0" eaLnBrk="1" latinLnBrk="0" hangingPunct="1">
        <a:spcBef>
          <a:spcPct val="20000"/>
        </a:spcBef>
        <a:buFont typeface="Arial" pitchFamily="34" charset="0"/>
        <a:buChar char="–"/>
        <a:defRPr sz="1667" kern="1200">
          <a:solidFill>
            <a:schemeClr val="tx1"/>
          </a:solidFill>
          <a:latin typeface="+mn-lt"/>
          <a:ea typeface="+mn-ea"/>
          <a:cs typeface="+mn-cs"/>
        </a:defRPr>
      </a:lvl4pPr>
      <a:lvl5pPr marL="1714431" indent="-190492" algn="l" defTabSz="761970" rtl="0" eaLnBrk="1" latinLnBrk="0" hangingPunct="1">
        <a:spcBef>
          <a:spcPct val="20000"/>
        </a:spcBef>
        <a:buFont typeface="Arial" pitchFamily="34" charset="0"/>
        <a:buChar char="»"/>
        <a:defRPr sz="1667" kern="1200">
          <a:solidFill>
            <a:schemeClr val="tx1"/>
          </a:solidFill>
          <a:latin typeface="+mn-lt"/>
          <a:ea typeface="+mn-ea"/>
          <a:cs typeface="+mn-cs"/>
        </a:defRPr>
      </a:lvl5pPr>
      <a:lvl6pPr marL="2095416" indent="-190492" algn="l" defTabSz="761970" rtl="0" eaLnBrk="1" latinLnBrk="0" hangingPunct="1">
        <a:spcBef>
          <a:spcPct val="20000"/>
        </a:spcBef>
        <a:buFont typeface="Arial" pitchFamily="34" charset="0"/>
        <a:buChar char="•"/>
        <a:defRPr sz="1667" kern="1200">
          <a:solidFill>
            <a:schemeClr val="tx1"/>
          </a:solidFill>
          <a:latin typeface="+mn-lt"/>
          <a:ea typeface="+mn-ea"/>
          <a:cs typeface="+mn-cs"/>
        </a:defRPr>
      </a:lvl6pPr>
      <a:lvl7pPr marL="2476401" indent="-190492" algn="l" defTabSz="761970" rtl="0" eaLnBrk="1" latinLnBrk="0" hangingPunct="1">
        <a:spcBef>
          <a:spcPct val="20000"/>
        </a:spcBef>
        <a:buFont typeface="Arial" pitchFamily="34" charset="0"/>
        <a:buChar char="•"/>
        <a:defRPr sz="1667" kern="1200">
          <a:solidFill>
            <a:schemeClr val="tx1"/>
          </a:solidFill>
          <a:latin typeface="+mn-lt"/>
          <a:ea typeface="+mn-ea"/>
          <a:cs typeface="+mn-cs"/>
        </a:defRPr>
      </a:lvl7pPr>
      <a:lvl8pPr marL="2857386" indent="-190492" algn="l" defTabSz="761970" rtl="0" eaLnBrk="1" latinLnBrk="0" hangingPunct="1">
        <a:spcBef>
          <a:spcPct val="20000"/>
        </a:spcBef>
        <a:buFont typeface="Arial" pitchFamily="34" charset="0"/>
        <a:buChar char="•"/>
        <a:defRPr sz="1667" kern="1200">
          <a:solidFill>
            <a:schemeClr val="tx1"/>
          </a:solidFill>
          <a:latin typeface="+mn-lt"/>
          <a:ea typeface="+mn-ea"/>
          <a:cs typeface="+mn-cs"/>
        </a:defRPr>
      </a:lvl8pPr>
      <a:lvl9pPr marL="3238370" indent="-190492" algn="l" defTabSz="761970" rtl="0" eaLnBrk="1" latinLnBrk="0" hangingPunct="1">
        <a:spcBef>
          <a:spcPct val="20000"/>
        </a:spcBef>
        <a:buFont typeface="Arial" pitchFamily="34" charset="0"/>
        <a:buChar char="•"/>
        <a:defRPr sz="1667" kern="1200">
          <a:solidFill>
            <a:schemeClr val="tx1"/>
          </a:solidFill>
          <a:latin typeface="+mn-lt"/>
          <a:ea typeface="+mn-ea"/>
          <a:cs typeface="+mn-cs"/>
        </a:defRPr>
      </a:lvl9pPr>
    </p:bodyStyle>
    <p:otherStyle>
      <a:defPPr>
        <a:defRPr lang="en-US"/>
      </a:defPPr>
      <a:lvl1pPr marL="0" algn="l" defTabSz="761970" rtl="0" eaLnBrk="1" latinLnBrk="0" hangingPunct="1">
        <a:defRPr sz="1500" kern="1200">
          <a:solidFill>
            <a:schemeClr val="tx1"/>
          </a:solidFill>
          <a:latin typeface="+mn-lt"/>
          <a:ea typeface="+mn-ea"/>
          <a:cs typeface="+mn-cs"/>
        </a:defRPr>
      </a:lvl1pPr>
      <a:lvl2pPr marL="380985" algn="l" defTabSz="761970" rtl="0" eaLnBrk="1" latinLnBrk="0" hangingPunct="1">
        <a:defRPr sz="1500" kern="1200">
          <a:solidFill>
            <a:schemeClr val="tx1"/>
          </a:solidFill>
          <a:latin typeface="+mn-lt"/>
          <a:ea typeface="+mn-ea"/>
          <a:cs typeface="+mn-cs"/>
        </a:defRPr>
      </a:lvl2pPr>
      <a:lvl3pPr marL="761970" algn="l" defTabSz="761970" rtl="0" eaLnBrk="1" latinLnBrk="0" hangingPunct="1">
        <a:defRPr sz="1500" kern="1200">
          <a:solidFill>
            <a:schemeClr val="tx1"/>
          </a:solidFill>
          <a:latin typeface="+mn-lt"/>
          <a:ea typeface="+mn-ea"/>
          <a:cs typeface="+mn-cs"/>
        </a:defRPr>
      </a:lvl3pPr>
      <a:lvl4pPr marL="1142954" algn="l" defTabSz="761970" rtl="0" eaLnBrk="1" latinLnBrk="0" hangingPunct="1">
        <a:defRPr sz="1500" kern="1200">
          <a:solidFill>
            <a:schemeClr val="tx1"/>
          </a:solidFill>
          <a:latin typeface="+mn-lt"/>
          <a:ea typeface="+mn-ea"/>
          <a:cs typeface="+mn-cs"/>
        </a:defRPr>
      </a:lvl4pPr>
      <a:lvl5pPr marL="1523939" algn="l" defTabSz="761970" rtl="0" eaLnBrk="1" latinLnBrk="0" hangingPunct="1">
        <a:defRPr sz="1500" kern="1200">
          <a:solidFill>
            <a:schemeClr val="tx1"/>
          </a:solidFill>
          <a:latin typeface="+mn-lt"/>
          <a:ea typeface="+mn-ea"/>
          <a:cs typeface="+mn-cs"/>
        </a:defRPr>
      </a:lvl5pPr>
      <a:lvl6pPr marL="1904924" algn="l" defTabSz="761970" rtl="0" eaLnBrk="1" latinLnBrk="0" hangingPunct="1">
        <a:defRPr sz="1500" kern="1200">
          <a:solidFill>
            <a:schemeClr val="tx1"/>
          </a:solidFill>
          <a:latin typeface="+mn-lt"/>
          <a:ea typeface="+mn-ea"/>
          <a:cs typeface="+mn-cs"/>
        </a:defRPr>
      </a:lvl6pPr>
      <a:lvl7pPr marL="2285909" algn="l" defTabSz="761970" rtl="0" eaLnBrk="1" latinLnBrk="0" hangingPunct="1">
        <a:defRPr sz="1500" kern="1200">
          <a:solidFill>
            <a:schemeClr val="tx1"/>
          </a:solidFill>
          <a:latin typeface="+mn-lt"/>
          <a:ea typeface="+mn-ea"/>
          <a:cs typeface="+mn-cs"/>
        </a:defRPr>
      </a:lvl7pPr>
      <a:lvl8pPr marL="2666893" algn="l" defTabSz="761970" rtl="0" eaLnBrk="1" latinLnBrk="0" hangingPunct="1">
        <a:defRPr sz="1500" kern="1200">
          <a:solidFill>
            <a:schemeClr val="tx1"/>
          </a:solidFill>
          <a:latin typeface="+mn-lt"/>
          <a:ea typeface="+mn-ea"/>
          <a:cs typeface="+mn-cs"/>
        </a:defRPr>
      </a:lvl8pPr>
      <a:lvl9pPr marL="3047878" algn="l" defTabSz="761970" rtl="0" eaLnBrk="1" latinLnBrk="0" hangingPunct="1">
        <a:defRPr sz="15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5F6F9"/>
        </a:solidFill>
        <a:effectLst/>
      </p:bgPr>
    </p:bg>
    <p:spTree>
      <p:nvGrpSpPr>
        <p:cNvPr id="1" name=""/>
        <p:cNvGrpSpPr/>
        <p:nvPr/>
      </p:nvGrpSpPr>
      <p:grpSpPr>
        <a:xfrm>
          <a:off x="0" y="0"/>
          <a:ext cx="0" cy="0"/>
          <a:chOff x="0" y="0"/>
          <a:chExt cx="0" cy="0"/>
        </a:xfrm>
      </p:grpSpPr>
      <p:sp>
        <p:nvSpPr>
          <p:cNvPr id="11" name="Rectángulo 10">
            <a:extLst>
              <a:ext uri="{FF2B5EF4-FFF2-40B4-BE49-F238E27FC236}">
                <a16:creationId xmlns:a16="http://schemas.microsoft.com/office/drawing/2014/main" id="{D4C7ABBA-5187-FC5D-186D-69E34DFAFABE}"/>
              </a:ext>
            </a:extLst>
          </p:cNvPr>
          <p:cNvSpPr/>
          <p:nvPr userDrawn="1"/>
        </p:nvSpPr>
        <p:spPr bwMode="auto">
          <a:xfrm>
            <a:off x="0" y="4744"/>
            <a:ext cx="12192000" cy="452176"/>
          </a:xfrm>
          <a:prstGeom prst="rect">
            <a:avLst/>
          </a:prstGeom>
          <a:solidFill>
            <a:schemeClr val="bg1"/>
          </a:solidFill>
          <a:ln>
            <a:noFill/>
          </a:ln>
        </p:spPr>
        <p:txBody>
          <a:bodyPr lIns="0" tIns="0" rIns="0" bIns="0" rtlCol="0" anchor="ctr"/>
          <a:lstStyle/>
          <a:p>
            <a:pPr algn="ctr"/>
            <a:endParaRPr lang="es-ES"/>
          </a:p>
        </p:txBody>
      </p:sp>
      <p:sp>
        <p:nvSpPr>
          <p:cNvPr id="12" name="Shape 13">
            <a:extLst>
              <a:ext uri="{FF2B5EF4-FFF2-40B4-BE49-F238E27FC236}">
                <a16:creationId xmlns:a16="http://schemas.microsoft.com/office/drawing/2014/main" id="{A6AF56F6-16C8-7B68-93F4-ACDA76E818D5}"/>
              </a:ext>
            </a:extLst>
          </p:cNvPr>
          <p:cNvSpPr txBox="1">
            <a:spLocks/>
          </p:cNvSpPr>
          <p:nvPr userDrawn="1"/>
        </p:nvSpPr>
        <p:spPr>
          <a:xfrm>
            <a:off x="131193" y="129827"/>
            <a:ext cx="276552" cy="216645"/>
          </a:xfrm>
          <a:prstGeom prst="roundRect">
            <a:avLst/>
          </a:prstGeom>
          <a:noFill/>
          <a:ln w="9525">
            <a:solidFill>
              <a:schemeClr val="bg1"/>
            </a:solidFill>
            <a:miter lim="400000"/>
          </a:ln>
        </p:spPr>
        <p:txBody>
          <a:bodyPr wrap="square" lIns="36000" tIns="36000" rIns="36000" bIns="36000">
            <a:spAutoFit/>
          </a:bodyPr>
          <a:lstStyle>
            <a:defPPr>
              <a:defRPr lang="en-US"/>
            </a:defPPr>
            <a:lvl1pPr marL="0" algn="ctr" defTabSz="914400" rtl="0" eaLnBrk="1" latinLnBrk="0" hangingPunct="1">
              <a:lnSpc>
                <a:spcPct val="100000"/>
              </a:lnSpc>
              <a:defRPr sz="1050" b="1" kern="1200" spc="0">
                <a:solidFill>
                  <a:srgbClr val="FFFFF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es-ES" sz="800" smtClean="0">
                <a:solidFill>
                  <a:schemeClr val="tx1"/>
                </a:solidFill>
                <a:latin typeface="Arial" panose="020B0604020202020204" pitchFamily="34" charset="0"/>
                <a:cs typeface="Arial" panose="020B0604020202020204" pitchFamily="34" charset="0"/>
              </a:rPr>
              <a:pPr/>
              <a:t>‹Nº›</a:t>
            </a:fld>
            <a:endParaRPr lang="es-ES" sz="800">
              <a:solidFill>
                <a:schemeClr val="tx1"/>
              </a:solidFill>
              <a:latin typeface="Arial" panose="020B0604020202020204" pitchFamily="34" charset="0"/>
              <a:cs typeface="Arial" panose="020B0604020202020204" pitchFamily="34" charset="0"/>
            </a:endParaRPr>
          </a:p>
        </p:txBody>
      </p:sp>
      <p:sp>
        <p:nvSpPr>
          <p:cNvPr id="13" name="Rectángulo 12">
            <a:extLst>
              <a:ext uri="{FF2B5EF4-FFF2-40B4-BE49-F238E27FC236}">
                <a16:creationId xmlns:a16="http://schemas.microsoft.com/office/drawing/2014/main" id="{E66167DC-2B51-9FD2-523F-9CECBD69E73D}"/>
              </a:ext>
            </a:extLst>
          </p:cNvPr>
          <p:cNvSpPr/>
          <p:nvPr userDrawn="1"/>
        </p:nvSpPr>
        <p:spPr>
          <a:xfrm>
            <a:off x="0" y="6579031"/>
            <a:ext cx="12192000" cy="27896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4" name="Rectangle 12">
            <a:extLst>
              <a:ext uri="{FF2B5EF4-FFF2-40B4-BE49-F238E27FC236}">
                <a16:creationId xmlns:a16="http://schemas.microsoft.com/office/drawing/2014/main" id="{1AB517C1-4F1B-1D7D-E9C2-CD6495D86042}"/>
              </a:ext>
            </a:extLst>
          </p:cNvPr>
          <p:cNvSpPr/>
          <p:nvPr userDrawn="1"/>
        </p:nvSpPr>
        <p:spPr>
          <a:xfrm>
            <a:off x="975945" y="6663353"/>
            <a:ext cx="3450208" cy="107722"/>
          </a:xfrm>
          <a:prstGeom prst="rect">
            <a:avLst/>
          </a:prstGeom>
          <a:noFill/>
        </p:spPr>
        <p:txBody>
          <a:bodyPr wrap="square" lIns="0" tIns="0" rIns="0" bIns="0" rtlCol="0" anchor="t" anchorCtr="0">
            <a:spAutoFit/>
          </a:bodyPr>
          <a:lstStyle/>
          <a:p>
            <a:r>
              <a:rPr lang="en-US" sz="700">
                <a:solidFill>
                  <a:schemeClr val="bg1"/>
                </a:solidFill>
                <a:latin typeface="Arial" panose="020B0604020202020204" pitchFamily="34" charset="0"/>
                <a:cs typeface="Arial" panose="020B0604020202020204" pitchFamily="34" charset="0"/>
              </a:rPr>
              <a:t>Stratesys Technology Solutions -  All Rights Reserved </a:t>
            </a:r>
            <a:endParaRPr lang="en-US" sz="700" noProof="0">
              <a:solidFill>
                <a:schemeClr val="bg1"/>
              </a:solidFill>
              <a:latin typeface="Arial" panose="020B0604020202020204" pitchFamily="34" charset="0"/>
              <a:cs typeface="Arial" panose="020B0604020202020204" pitchFamily="34" charset="0"/>
            </a:endParaRPr>
          </a:p>
        </p:txBody>
      </p:sp>
      <p:sp>
        <p:nvSpPr>
          <p:cNvPr id="15" name="Forma libre 14">
            <a:extLst>
              <a:ext uri="{FF2B5EF4-FFF2-40B4-BE49-F238E27FC236}">
                <a16:creationId xmlns:a16="http://schemas.microsoft.com/office/drawing/2014/main" id="{A0379B56-113B-7BCC-6317-469BCDADBAB9}"/>
              </a:ext>
            </a:extLst>
          </p:cNvPr>
          <p:cNvSpPr/>
          <p:nvPr userDrawn="1"/>
        </p:nvSpPr>
        <p:spPr>
          <a:xfrm>
            <a:off x="245493" y="6652590"/>
            <a:ext cx="593292" cy="136990"/>
          </a:xfrm>
          <a:custGeom>
            <a:avLst/>
            <a:gdLst>
              <a:gd name="connsiteX0" fmla="*/ 1011174 w 2686908"/>
              <a:gd name="connsiteY0" fmla="*/ 285844 h 620404"/>
              <a:gd name="connsiteX1" fmla="*/ 954024 w 2686908"/>
              <a:gd name="connsiteY1" fmla="*/ 304874 h 620404"/>
              <a:gd name="connsiteX2" fmla="*/ 920591 w 2686908"/>
              <a:gd name="connsiteY2" fmla="*/ 312201 h 620404"/>
              <a:gd name="connsiteX3" fmla="*/ 882491 w 2686908"/>
              <a:gd name="connsiteY3" fmla="*/ 331232 h 620404"/>
              <a:gd name="connsiteX4" fmla="*/ 872299 w 2686908"/>
              <a:gd name="connsiteY4" fmla="*/ 363204 h 620404"/>
              <a:gd name="connsiteX5" fmla="*/ 885444 w 2686908"/>
              <a:gd name="connsiteY5" fmla="*/ 398125 h 620404"/>
              <a:gd name="connsiteX6" fmla="*/ 923544 w 2686908"/>
              <a:gd name="connsiteY6" fmla="*/ 409734 h 620404"/>
              <a:gd name="connsiteX7" fmla="*/ 1010793 w 2686908"/>
              <a:gd name="connsiteY7" fmla="*/ 336913 h 620404"/>
              <a:gd name="connsiteX8" fmla="*/ 1010793 w 2686908"/>
              <a:gd name="connsiteY8" fmla="*/ 322573 h 620404"/>
              <a:gd name="connsiteX9" fmla="*/ 1488471 w 2686908"/>
              <a:gd name="connsiteY9" fmla="*/ 169565 h 620404"/>
              <a:gd name="connsiteX10" fmla="*/ 1436083 w 2686908"/>
              <a:gd name="connsiteY10" fmla="*/ 189928 h 620404"/>
              <a:gd name="connsiteX11" fmla="*/ 1414271 w 2686908"/>
              <a:gd name="connsiteY11" fmla="*/ 248067 h 620404"/>
              <a:gd name="connsiteX12" fmla="*/ 1562671 w 2686908"/>
              <a:gd name="connsiteY12" fmla="*/ 248067 h 620404"/>
              <a:gd name="connsiteX13" fmla="*/ 1542287 w 2686908"/>
              <a:gd name="connsiteY13" fmla="*/ 189928 h 620404"/>
              <a:gd name="connsiteX14" fmla="*/ 1488471 w 2686908"/>
              <a:gd name="connsiteY14" fmla="*/ 169565 h 620404"/>
              <a:gd name="connsiteX15" fmla="*/ 1997106 w 2686908"/>
              <a:gd name="connsiteY15" fmla="*/ 94012 h 620404"/>
              <a:gd name="connsiteX16" fmla="*/ 2109120 w 2686908"/>
              <a:gd name="connsiteY16" fmla="*/ 94012 h 620404"/>
              <a:gd name="connsiteX17" fmla="*/ 2187606 w 2686908"/>
              <a:gd name="connsiteY17" fmla="*/ 367199 h 620404"/>
              <a:gd name="connsiteX18" fmla="*/ 2255995 w 2686908"/>
              <a:gd name="connsiteY18" fmla="*/ 129314 h 620404"/>
              <a:gd name="connsiteX19" fmla="*/ 2302573 w 2686908"/>
              <a:gd name="connsiteY19" fmla="*/ 94393 h 620404"/>
              <a:gd name="connsiteX20" fmla="*/ 2372296 w 2686908"/>
              <a:gd name="connsiteY20" fmla="*/ 94393 h 620404"/>
              <a:gd name="connsiteX21" fmla="*/ 2223992 w 2686908"/>
              <a:gd name="connsiteY21" fmla="*/ 534671 h 620404"/>
              <a:gd name="connsiteX22" fmla="*/ 2180367 w 2686908"/>
              <a:gd name="connsiteY22" fmla="*/ 602991 h 620404"/>
              <a:gd name="connsiteX23" fmla="*/ 2094642 w 2686908"/>
              <a:gd name="connsiteY23" fmla="*/ 620404 h 620404"/>
              <a:gd name="connsiteX24" fmla="*/ 2085117 w 2686908"/>
              <a:gd name="connsiteY24" fmla="*/ 620404 h 620404"/>
              <a:gd name="connsiteX25" fmla="*/ 2051875 w 2686908"/>
              <a:gd name="connsiteY25" fmla="*/ 619643 h 620404"/>
              <a:gd name="connsiteX26" fmla="*/ 2051875 w 2686908"/>
              <a:gd name="connsiteY26" fmla="*/ 537430 h 620404"/>
              <a:gd name="connsiteX27" fmla="*/ 2079497 w 2686908"/>
              <a:gd name="connsiteY27" fmla="*/ 537430 h 620404"/>
              <a:gd name="connsiteX28" fmla="*/ 2125313 w 2686908"/>
              <a:gd name="connsiteY28" fmla="*/ 523728 h 620404"/>
              <a:gd name="connsiteX29" fmla="*/ 2131885 w 2686908"/>
              <a:gd name="connsiteY29" fmla="*/ 479386 h 620404"/>
              <a:gd name="connsiteX30" fmla="*/ 754856 w 2686908"/>
              <a:gd name="connsiteY30" fmla="*/ 93822 h 620404"/>
              <a:gd name="connsiteX31" fmla="*/ 769334 w 2686908"/>
              <a:gd name="connsiteY31" fmla="*/ 93822 h 620404"/>
              <a:gd name="connsiteX32" fmla="*/ 769334 w 2686908"/>
              <a:gd name="connsiteY32" fmla="*/ 196969 h 620404"/>
              <a:gd name="connsiteX33" fmla="*/ 735902 w 2686908"/>
              <a:gd name="connsiteY33" fmla="*/ 196969 h 620404"/>
              <a:gd name="connsiteX34" fmla="*/ 673418 w 2686908"/>
              <a:gd name="connsiteY34" fmla="*/ 217332 h 620404"/>
              <a:gd name="connsiteX35" fmla="*/ 653034 w 2686908"/>
              <a:gd name="connsiteY35" fmla="*/ 281276 h 620404"/>
              <a:gd name="connsiteX36" fmla="*/ 653034 w 2686908"/>
              <a:gd name="connsiteY36" fmla="*/ 480338 h 620404"/>
              <a:gd name="connsiteX37" fmla="*/ 551402 w 2686908"/>
              <a:gd name="connsiteY37" fmla="*/ 480338 h 620404"/>
              <a:gd name="connsiteX38" fmla="*/ 551402 w 2686908"/>
              <a:gd name="connsiteY38" fmla="*/ 292884 h 620404"/>
              <a:gd name="connsiteX39" fmla="*/ 568070 w 2686908"/>
              <a:gd name="connsiteY39" fmla="*/ 197730 h 620404"/>
              <a:gd name="connsiteX40" fmla="*/ 613886 w 2686908"/>
              <a:gd name="connsiteY40" fmla="*/ 135975 h 620404"/>
              <a:gd name="connsiteX41" fmla="*/ 678656 w 2686908"/>
              <a:gd name="connsiteY41" fmla="*/ 104003 h 620404"/>
              <a:gd name="connsiteX42" fmla="*/ 754856 w 2686908"/>
              <a:gd name="connsiteY42" fmla="*/ 93822 h 620404"/>
              <a:gd name="connsiteX43" fmla="*/ 2507646 w 2686908"/>
              <a:gd name="connsiteY43" fmla="*/ 85354 h 620404"/>
              <a:gd name="connsiteX44" fmla="*/ 2628424 w 2686908"/>
              <a:gd name="connsiteY44" fmla="*/ 118753 h 620404"/>
              <a:gd name="connsiteX45" fmla="*/ 2673477 w 2686908"/>
              <a:gd name="connsiteY45" fmla="*/ 213146 h 620404"/>
              <a:gd name="connsiteX46" fmla="*/ 2610898 w 2686908"/>
              <a:gd name="connsiteY46" fmla="*/ 213146 h 620404"/>
              <a:gd name="connsiteX47" fmla="*/ 2568797 w 2686908"/>
              <a:gd name="connsiteY47" fmla="*/ 188501 h 620404"/>
              <a:gd name="connsiteX48" fmla="*/ 2557081 w 2686908"/>
              <a:gd name="connsiteY48" fmla="*/ 176892 h 620404"/>
              <a:gd name="connsiteX49" fmla="*/ 2509456 w 2686908"/>
              <a:gd name="connsiteY49" fmla="*/ 163761 h 620404"/>
              <a:gd name="connsiteX50" fmla="*/ 2465737 w 2686908"/>
              <a:gd name="connsiteY50" fmla="*/ 172515 h 620404"/>
              <a:gd name="connsiteX51" fmla="*/ 2452687 w 2686908"/>
              <a:gd name="connsiteY51" fmla="*/ 198682 h 620404"/>
              <a:gd name="connsiteX52" fmla="*/ 2528316 w 2686908"/>
              <a:gd name="connsiteY52" fmla="*/ 237886 h 620404"/>
              <a:gd name="connsiteX53" fmla="*/ 2543556 w 2686908"/>
              <a:gd name="connsiteY53" fmla="*/ 242263 h 620404"/>
              <a:gd name="connsiteX54" fmla="*/ 2555938 w 2686908"/>
              <a:gd name="connsiteY54" fmla="*/ 243690 h 620404"/>
              <a:gd name="connsiteX55" fmla="*/ 2659189 w 2686908"/>
              <a:gd name="connsiteY55" fmla="*/ 287271 h 620404"/>
              <a:gd name="connsiteX56" fmla="*/ 2686811 w 2686908"/>
              <a:gd name="connsiteY56" fmla="*/ 357019 h 620404"/>
              <a:gd name="connsiteX57" fmla="*/ 2640330 w 2686908"/>
              <a:gd name="connsiteY57" fmla="*/ 455789 h 620404"/>
              <a:gd name="connsiteX58" fmla="*/ 2509456 w 2686908"/>
              <a:gd name="connsiteY58" fmla="*/ 487761 h 620404"/>
              <a:gd name="connsiteX59" fmla="*/ 2385631 w 2686908"/>
              <a:gd name="connsiteY59" fmla="*/ 454361 h 620404"/>
              <a:gd name="connsiteX60" fmla="*/ 2343435 w 2686908"/>
              <a:gd name="connsiteY60" fmla="*/ 357019 h 620404"/>
              <a:gd name="connsiteX61" fmla="*/ 2343340 w 2686908"/>
              <a:gd name="connsiteY61" fmla="*/ 352642 h 620404"/>
              <a:gd name="connsiteX62" fmla="*/ 2442210 w 2686908"/>
              <a:gd name="connsiteY62" fmla="*/ 352642 h 620404"/>
              <a:gd name="connsiteX63" fmla="*/ 2464022 w 2686908"/>
              <a:gd name="connsiteY63" fmla="*/ 396222 h 620404"/>
              <a:gd name="connsiteX64" fmla="*/ 2522220 w 2686908"/>
              <a:gd name="connsiteY64" fmla="*/ 410781 h 620404"/>
              <a:gd name="connsiteX65" fmla="*/ 2567273 w 2686908"/>
              <a:gd name="connsiteY65" fmla="*/ 400599 h 620404"/>
              <a:gd name="connsiteX66" fmla="*/ 2584799 w 2686908"/>
              <a:gd name="connsiteY66" fmla="*/ 373005 h 620404"/>
              <a:gd name="connsiteX67" fmla="*/ 2523649 w 2686908"/>
              <a:gd name="connsiteY67" fmla="*/ 333801 h 620404"/>
              <a:gd name="connsiteX68" fmla="*/ 2484405 w 2686908"/>
              <a:gd name="connsiteY68" fmla="*/ 325047 h 620404"/>
              <a:gd name="connsiteX69" fmla="*/ 2381155 w 2686908"/>
              <a:gd name="connsiteY69" fmla="*/ 280039 h 620404"/>
              <a:gd name="connsiteX70" fmla="*/ 2352008 w 2686908"/>
              <a:gd name="connsiteY70" fmla="*/ 210291 h 620404"/>
              <a:gd name="connsiteX71" fmla="*/ 2394204 w 2686908"/>
              <a:gd name="connsiteY71" fmla="*/ 118753 h 620404"/>
              <a:gd name="connsiteX72" fmla="*/ 2507646 w 2686908"/>
              <a:gd name="connsiteY72" fmla="*/ 85354 h 620404"/>
              <a:gd name="connsiteX73" fmla="*/ 1838991 w 2686908"/>
              <a:gd name="connsiteY73" fmla="*/ 85354 h 620404"/>
              <a:gd name="connsiteX74" fmla="*/ 1959673 w 2686908"/>
              <a:gd name="connsiteY74" fmla="*/ 118753 h 620404"/>
              <a:gd name="connsiteX75" fmla="*/ 2004821 w 2686908"/>
              <a:gd name="connsiteY75" fmla="*/ 213146 h 620404"/>
              <a:gd name="connsiteX76" fmla="*/ 1942242 w 2686908"/>
              <a:gd name="connsiteY76" fmla="*/ 213146 h 620404"/>
              <a:gd name="connsiteX77" fmla="*/ 1900046 w 2686908"/>
              <a:gd name="connsiteY77" fmla="*/ 188501 h 620404"/>
              <a:gd name="connsiteX78" fmla="*/ 1888426 w 2686908"/>
              <a:gd name="connsiteY78" fmla="*/ 176892 h 620404"/>
              <a:gd name="connsiteX79" fmla="*/ 1840801 w 2686908"/>
              <a:gd name="connsiteY79" fmla="*/ 163761 h 620404"/>
              <a:gd name="connsiteX80" fmla="*/ 1797176 w 2686908"/>
              <a:gd name="connsiteY80" fmla="*/ 172515 h 620404"/>
              <a:gd name="connsiteX81" fmla="*/ 1784127 w 2686908"/>
              <a:gd name="connsiteY81" fmla="*/ 198682 h 620404"/>
              <a:gd name="connsiteX82" fmla="*/ 1859756 w 2686908"/>
              <a:gd name="connsiteY82" fmla="*/ 237886 h 620404"/>
              <a:gd name="connsiteX83" fmla="*/ 1874995 w 2686908"/>
              <a:gd name="connsiteY83" fmla="*/ 242263 h 620404"/>
              <a:gd name="connsiteX84" fmla="*/ 1887378 w 2686908"/>
              <a:gd name="connsiteY84" fmla="*/ 243690 h 620404"/>
              <a:gd name="connsiteX85" fmla="*/ 1990629 w 2686908"/>
              <a:gd name="connsiteY85" fmla="*/ 287271 h 620404"/>
              <a:gd name="connsiteX86" fmla="*/ 2018251 w 2686908"/>
              <a:gd name="connsiteY86" fmla="*/ 357019 h 620404"/>
              <a:gd name="connsiteX87" fmla="*/ 1971770 w 2686908"/>
              <a:gd name="connsiteY87" fmla="*/ 455789 h 620404"/>
              <a:gd name="connsiteX88" fmla="*/ 1840801 w 2686908"/>
              <a:gd name="connsiteY88" fmla="*/ 487761 h 620404"/>
              <a:gd name="connsiteX89" fmla="*/ 1716976 w 2686908"/>
              <a:gd name="connsiteY89" fmla="*/ 454361 h 620404"/>
              <a:gd name="connsiteX90" fmla="*/ 1674685 w 2686908"/>
              <a:gd name="connsiteY90" fmla="*/ 356638 h 620404"/>
              <a:gd name="connsiteX91" fmla="*/ 1674685 w 2686908"/>
              <a:gd name="connsiteY91" fmla="*/ 352642 h 620404"/>
              <a:gd name="connsiteX92" fmla="*/ 1773555 w 2686908"/>
              <a:gd name="connsiteY92" fmla="*/ 352642 h 620404"/>
              <a:gd name="connsiteX93" fmla="*/ 1795367 w 2686908"/>
              <a:gd name="connsiteY93" fmla="*/ 396222 h 620404"/>
              <a:gd name="connsiteX94" fmla="*/ 1853564 w 2686908"/>
              <a:gd name="connsiteY94" fmla="*/ 410781 h 620404"/>
              <a:gd name="connsiteX95" fmla="*/ 1898617 w 2686908"/>
              <a:gd name="connsiteY95" fmla="*/ 400599 h 620404"/>
              <a:gd name="connsiteX96" fmla="*/ 1916048 w 2686908"/>
              <a:gd name="connsiteY96" fmla="*/ 373005 h 620404"/>
              <a:gd name="connsiteX97" fmla="*/ 1854993 w 2686908"/>
              <a:gd name="connsiteY97" fmla="*/ 333801 h 620404"/>
              <a:gd name="connsiteX98" fmla="*/ 1815750 w 2686908"/>
              <a:gd name="connsiteY98" fmla="*/ 325047 h 620404"/>
              <a:gd name="connsiteX99" fmla="*/ 1712499 w 2686908"/>
              <a:gd name="connsiteY99" fmla="*/ 280039 h 620404"/>
              <a:gd name="connsiteX100" fmla="*/ 1683352 w 2686908"/>
              <a:gd name="connsiteY100" fmla="*/ 210291 h 620404"/>
              <a:gd name="connsiteX101" fmla="*/ 1725548 w 2686908"/>
              <a:gd name="connsiteY101" fmla="*/ 118753 h 620404"/>
              <a:gd name="connsiteX102" fmla="*/ 1838991 w 2686908"/>
              <a:gd name="connsiteY102" fmla="*/ 85354 h 620404"/>
              <a:gd name="connsiteX103" fmla="*/ 1485804 w 2686908"/>
              <a:gd name="connsiteY103" fmla="*/ 85354 h 620404"/>
              <a:gd name="connsiteX104" fmla="*/ 1621155 w 2686908"/>
              <a:gd name="connsiteY104" fmla="*/ 137593 h 620404"/>
              <a:gd name="connsiteX105" fmla="*/ 1667636 w 2686908"/>
              <a:gd name="connsiteY105" fmla="*/ 287271 h 620404"/>
              <a:gd name="connsiteX106" fmla="*/ 1667636 w 2686908"/>
              <a:gd name="connsiteY106" fmla="*/ 303257 h 620404"/>
              <a:gd name="connsiteX107" fmla="*/ 1666208 w 2686908"/>
              <a:gd name="connsiteY107" fmla="*/ 313438 h 620404"/>
              <a:gd name="connsiteX108" fmla="*/ 1414271 w 2686908"/>
              <a:gd name="connsiteY108" fmla="*/ 313438 h 620404"/>
              <a:gd name="connsiteX109" fmla="*/ 1436083 w 2686908"/>
              <a:gd name="connsiteY109" fmla="*/ 380046 h 620404"/>
              <a:gd name="connsiteX110" fmla="*/ 1493233 w 2686908"/>
              <a:gd name="connsiteY110" fmla="*/ 403359 h 620404"/>
              <a:gd name="connsiteX111" fmla="*/ 1535430 w 2686908"/>
              <a:gd name="connsiteY111" fmla="*/ 393177 h 620404"/>
              <a:gd name="connsiteX112" fmla="*/ 1543430 w 2686908"/>
              <a:gd name="connsiteY112" fmla="*/ 388039 h 620404"/>
              <a:gd name="connsiteX113" fmla="*/ 1551431 w 2686908"/>
              <a:gd name="connsiteY113" fmla="*/ 380046 h 620404"/>
              <a:gd name="connsiteX114" fmla="*/ 1562290 w 2686908"/>
              <a:gd name="connsiteY114" fmla="*/ 368437 h 620404"/>
              <a:gd name="connsiteX115" fmla="*/ 1588865 w 2686908"/>
              <a:gd name="connsiteY115" fmla="*/ 361396 h 620404"/>
              <a:gd name="connsiteX116" fmla="*/ 1661540 w 2686908"/>
              <a:gd name="connsiteY116" fmla="*/ 361396 h 620404"/>
              <a:gd name="connsiteX117" fmla="*/ 1600485 w 2686908"/>
              <a:gd name="connsiteY117" fmla="*/ 454361 h 620404"/>
              <a:gd name="connsiteX118" fmla="*/ 1487042 w 2686908"/>
              <a:gd name="connsiteY118" fmla="*/ 487761 h 620404"/>
              <a:gd name="connsiteX119" fmla="*/ 1357597 w 2686908"/>
              <a:gd name="connsiteY119" fmla="*/ 433999 h 620404"/>
              <a:gd name="connsiteX120" fmla="*/ 1311306 w 2686908"/>
              <a:gd name="connsiteY120" fmla="*/ 284416 h 620404"/>
              <a:gd name="connsiteX121" fmla="*/ 1356454 w 2686908"/>
              <a:gd name="connsiteY121" fmla="*/ 139116 h 620404"/>
              <a:gd name="connsiteX122" fmla="*/ 1485804 w 2686908"/>
              <a:gd name="connsiteY122" fmla="*/ 85354 h 620404"/>
              <a:gd name="connsiteX123" fmla="*/ 941355 w 2686908"/>
              <a:gd name="connsiteY123" fmla="*/ 85354 h 620404"/>
              <a:gd name="connsiteX124" fmla="*/ 1063561 w 2686908"/>
              <a:gd name="connsiteY124" fmla="*/ 112949 h 620404"/>
              <a:gd name="connsiteX125" fmla="*/ 1105662 w 2686908"/>
              <a:gd name="connsiteY125" fmla="*/ 194305 h 620404"/>
              <a:gd name="connsiteX126" fmla="*/ 1105662 w 2686908"/>
              <a:gd name="connsiteY126" fmla="*/ 326474 h 620404"/>
              <a:gd name="connsiteX127" fmla="*/ 1084612 w 2686908"/>
              <a:gd name="connsiteY127" fmla="*/ 417347 h 620404"/>
              <a:gd name="connsiteX128" fmla="*/ 1034415 w 2686908"/>
              <a:gd name="connsiteY128" fmla="*/ 464543 h 620404"/>
              <a:gd name="connsiteX129" fmla="*/ 969740 w 2686908"/>
              <a:gd name="connsiteY129" fmla="*/ 484145 h 620404"/>
              <a:gd name="connsiteX130" fmla="*/ 909351 w 2686908"/>
              <a:gd name="connsiteY130" fmla="*/ 487761 h 620404"/>
              <a:gd name="connsiteX131" fmla="*/ 817721 w 2686908"/>
              <a:gd name="connsiteY131" fmla="*/ 459214 h 620404"/>
              <a:gd name="connsiteX132" fmla="*/ 778478 w 2686908"/>
              <a:gd name="connsiteY132" fmla="*/ 365488 h 620404"/>
              <a:gd name="connsiteX133" fmla="*/ 814101 w 2686908"/>
              <a:gd name="connsiteY133" fmla="*/ 278326 h 620404"/>
              <a:gd name="connsiteX134" fmla="*/ 904970 w 2686908"/>
              <a:gd name="connsiteY134" fmla="*/ 243405 h 620404"/>
              <a:gd name="connsiteX135" fmla="*/ 922496 w 2686908"/>
              <a:gd name="connsiteY135" fmla="*/ 241216 h 620404"/>
              <a:gd name="connsiteX136" fmla="*/ 945737 w 2686908"/>
              <a:gd name="connsiteY136" fmla="*/ 237601 h 620404"/>
              <a:gd name="connsiteX137" fmla="*/ 1009745 w 2686908"/>
              <a:gd name="connsiteY137" fmla="*/ 199539 h 620404"/>
              <a:gd name="connsiteX138" fmla="*/ 987171 w 2686908"/>
              <a:gd name="connsiteY138" fmla="*/ 170993 h 620404"/>
              <a:gd name="connsiteX139" fmla="*/ 945737 w 2686908"/>
              <a:gd name="connsiteY139" fmla="*/ 164427 h 620404"/>
              <a:gd name="connsiteX140" fmla="*/ 909351 w 2686908"/>
              <a:gd name="connsiteY140" fmla="*/ 170327 h 620404"/>
              <a:gd name="connsiteX141" fmla="*/ 886110 w 2686908"/>
              <a:gd name="connsiteY141" fmla="*/ 192117 h 620404"/>
              <a:gd name="connsiteX142" fmla="*/ 788670 w 2686908"/>
              <a:gd name="connsiteY142" fmla="*/ 192117 h 620404"/>
              <a:gd name="connsiteX143" fmla="*/ 829342 w 2686908"/>
              <a:gd name="connsiteY143" fmla="*/ 118753 h 620404"/>
              <a:gd name="connsiteX144" fmla="*/ 941355 w 2686908"/>
              <a:gd name="connsiteY144" fmla="*/ 85354 h 620404"/>
              <a:gd name="connsiteX145" fmla="*/ 164402 w 2686908"/>
              <a:gd name="connsiteY145" fmla="*/ 85354 h 620404"/>
              <a:gd name="connsiteX146" fmla="*/ 285083 w 2686908"/>
              <a:gd name="connsiteY146" fmla="*/ 118753 h 620404"/>
              <a:gd name="connsiteX147" fmla="*/ 330232 w 2686908"/>
              <a:gd name="connsiteY147" fmla="*/ 213146 h 620404"/>
              <a:gd name="connsiteX148" fmla="*/ 267653 w 2686908"/>
              <a:gd name="connsiteY148" fmla="*/ 213146 h 620404"/>
              <a:gd name="connsiteX149" fmla="*/ 225457 w 2686908"/>
              <a:gd name="connsiteY149" fmla="*/ 188501 h 620404"/>
              <a:gd name="connsiteX150" fmla="*/ 213836 w 2686908"/>
              <a:gd name="connsiteY150" fmla="*/ 176892 h 620404"/>
              <a:gd name="connsiteX151" fmla="*/ 166211 w 2686908"/>
              <a:gd name="connsiteY151" fmla="*/ 163761 h 620404"/>
              <a:gd name="connsiteX152" fmla="*/ 122587 w 2686908"/>
              <a:gd name="connsiteY152" fmla="*/ 172515 h 620404"/>
              <a:gd name="connsiteX153" fmla="*/ 109538 w 2686908"/>
              <a:gd name="connsiteY153" fmla="*/ 198682 h 620404"/>
              <a:gd name="connsiteX154" fmla="*/ 185166 w 2686908"/>
              <a:gd name="connsiteY154" fmla="*/ 237886 h 620404"/>
              <a:gd name="connsiteX155" fmla="*/ 200406 w 2686908"/>
              <a:gd name="connsiteY155" fmla="*/ 242263 h 620404"/>
              <a:gd name="connsiteX156" fmla="*/ 212789 w 2686908"/>
              <a:gd name="connsiteY156" fmla="*/ 243690 h 620404"/>
              <a:gd name="connsiteX157" fmla="*/ 316040 w 2686908"/>
              <a:gd name="connsiteY157" fmla="*/ 287271 h 620404"/>
              <a:gd name="connsiteX158" fmla="*/ 343662 w 2686908"/>
              <a:gd name="connsiteY158" fmla="*/ 357019 h 620404"/>
              <a:gd name="connsiteX159" fmla="*/ 297085 w 2686908"/>
              <a:gd name="connsiteY159" fmla="*/ 455789 h 620404"/>
              <a:gd name="connsiteX160" fmla="*/ 166211 w 2686908"/>
              <a:gd name="connsiteY160" fmla="*/ 487761 h 620404"/>
              <a:gd name="connsiteX161" fmla="*/ 42386 w 2686908"/>
              <a:gd name="connsiteY161" fmla="*/ 454361 h 620404"/>
              <a:gd name="connsiteX162" fmla="*/ 0 w 2686908"/>
              <a:gd name="connsiteY162" fmla="*/ 356638 h 620404"/>
              <a:gd name="connsiteX163" fmla="*/ 0 w 2686908"/>
              <a:gd name="connsiteY163" fmla="*/ 352642 h 620404"/>
              <a:gd name="connsiteX164" fmla="*/ 98965 w 2686908"/>
              <a:gd name="connsiteY164" fmla="*/ 352642 h 620404"/>
              <a:gd name="connsiteX165" fmla="*/ 120777 w 2686908"/>
              <a:gd name="connsiteY165" fmla="*/ 396222 h 620404"/>
              <a:gd name="connsiteX166" fmla="*/ 178975 w 2686908"/>
              <a:gd name="connsiteY166" fmla="*/ 410781 h 620404"/>
              <a:gd name="connsiteX167" fmla="*/ 224028 w 2686908"/>
              <a:gd name="connsiteY167" fmla="*/ 400599 h 620404"/>
              <a:gd name="connsiteX168" fmla="*/ 241459 w 2686908"/>
              <a:gd name="connsiteY168" fmla="*/ 373005 h 620404"/>
              <a:gd name="connsiteX169" fmla="*/ 180404 w 2686908"/>
              <a:gd name="connsiteY169" fmla="*/ 333801 h 620404"/>
              <a:gd name="connsiteX170" fmla="*/ 141161 w 2686908"/>
              <a:gd name="connsiteY170" fmla="*/ 325047 h 620404"/>
              <a:gd name="connsiteX171" fmla="*/ 37814 w 2686908"/>
              <a:gd name="connsiteY171" fmla="*/ 280039 h 620404"/>
              <a:gd name="connsiteX172" fmla="*/ 8763 w 2686908"/>
              <a:gd name="connsiteY172" fmla="*/ 210291 h 620404"/>
              <a:gd name="connsiteX173" fmla="*/ 50959 w 2686908"/>
              <a:gd name="connsiteY173" fmla="*/ 118753 h 620404"/>
              <a:gd name="connsiteX174" fmla="*/ 164402 w 2686908"/>
              <a:gd name="connsiteY174" fmla="*/ 85354 h 620404"/>
              <a:gd name="connsiteX175" fmla="*/ 1129760 w 2686908"/>
              <a:gd name="connsiteY175" fmla="*/ 0 h 620404"/>
              <a:gd name="connsiteX176" fmla="*/ 1228058 w 2686908"/>
              <a:gd name="connsiteY176" fmla="*/ 0 h 620404"/>
              <a:gd name="connsiteX177" fmla="*/ 1228058 w 2686908"/>
              <a:gd name="connsiteY177" fmla="*/ 97438 h 620404"/>
              <a:gd name="connsiteX178" fmla="*/ 1297305 w 2686908"/>
              <a:gd name="connsiteY178" fmla="*/ 97438 h 620404"/>
              <a:gd name="connsiteX179" fmla="*/ 1297305 w 2686908"/>
              <a:gd name="connsiteY179" fmla="*/ 184409 h 620404"/>
              <a:gd name="connsiteX180" fmla="*/ 1228058 w 2686908"/>
              <a:gd name="connsiteY180" fmla="*/ 184409 h 620404"/>
              <a:gd name="connsiteX181" fmla="*/ 1228058 w 2686908"/>
              <a:gd name="connsiteY181" fmla="*/ 319813 h 620404"/>
              <a:gd name="connsiteX182" fmla="*/ 1246250 w 2686908"/>
              <a:gd name="connsiteY182" fmla="*/ 376334 h 620404"/>
              <a:gd name="connsiteX183" fmla="*/ 1301781 w 2686908"/>
              <a:gd name="connsiteY183" fmla="*/ 390512 h 620404"/>
              <a:gd name="connsiteX184" fmla="*/ 1301781 w 2686908"/>
              <a:gd name="connsiteY184" fmla="*/ 479767 h 620404"/>
              <a:gd name="connsiteX185" fmla="*/ 1227295 w 2686908"/>
              <a:gd name="connsiteY185" fmla="*/ 474534 h 620404"/>
              <a:gd name="connsiteX186" fmla="*/ 1173670 w 2686908"/>
              <a:gd name="connsiteY186" fmla="*/ 443323 h 620404"/>
              <a:gd name="connsiteX187" fmla="*/ 1140904 w 2686908"/>
              <a:gd name="connsiteY187" fmla="*/ 390132 h 620404"/>
              <a:gd name="connsiteX188" fmla="*/ 1129760 w 2686908"/>
              <a:gd name="connsiteY188" fmla="*/ 319052 h 620404"/>
              <a:gd name="connsiteX189" fmla="*/ 361474 w 2686908"/>
              <a:gd name="connsiteY189" fmla="*/ 0 h 620404"/>
              <a:gd name="connsiteX190" fmla="*/ 459772 w 2686908"/>
              <a:gd name="connsiteY190" fmla="*/ 0 h 620404"/>
              <a:gd name="connsiteX191" fmla="*/ 459772 w 2686908"/>
              <a:gd name="connsiteY191" fmla="*/ 97438 h 620404"/>
              <a:gd name="connsiteX192" fmla="*/ 529019 w 2686908"/>
              <a:gd name="connsiteY192" fmla="*/ 97438 h 620404"/>
              <a:gd name="connsiteX193" fmla="*/ 529019 w 2686908"/>
              <a:gd name="connsiteY193" fmla="*/ 184409 h 620404"/>
              <a:gd name="connsiteX194" fmla="*/ 459772 w 2686908"/>
              <a:gd name="connsiteY194" fmla="*/ 184409 h 620404"/>
              <a:gd name="connsiteX195" fmla="*/ 459772 w 2686908"/>
              <a:gd name="connsiteY195" fmla="*/ 319813 h 620404"/>
              <a:gd name="connsiteX196" fmla="*/ 478060 w 2686908"/>
              <a:gd name="connsiteY196" fmla="*/ 376334 h 620404"/>
              <a:gd name="connsiteX197" fmla="*/ 533496 w 2686908"/>
              <a:gd name="connsiteY197" fmla="*/ 390512 h 620404"/>
              <a:gd name="connsiteX198" fmla="*/ 533496 w 2686908"/>
              <a:gd name="connsiteY198" fmla="*/ 479767 h 620404"/>
              <a:gd name="connsiteX199" fmla="*/ 459010 w 2686908"/>
              <a:gd name="connsiteY199" fmla="*/ 474534 h 620404"/>
              <a:gd name="connsiteX200" fmla="*/ 405479 w 2686908"/>
              <a:gd name="connsiteY200" fmla="*/ 443323 h 620404"/>
              <a:gd name="connsiteX201" fmla="*/ 372713 w 2686908"/>
              <a:gd name="connsiteY201" fmla="*/ 390132 h 620404"/>
              <a:gd name="connsiteX202" fmla="*/ 361474 w 2686908"/>
              <a:gd name="connsiteY202" fmla="*/ 319052 h 620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2686908" h="620404">
                <a:moveTo>
                  <a:pt x="1011174" y="285844"/>
                </a:moveTo>
                <a:cubicBezTo>
                  <a:pt x="992876" y="294246"/>
                  <a:pt x="973712" y="300631"/>
                  <a:pt x="954024" y="304874"/>
                </a:cubicBezTo>
                <a:lnTo>
                  <a:pt x="920591" y="312201"/>
                </a:lnTo>
                <a:cubicBezTo>
                  <a:pt x="906503" y="315284"/>
                  <a:pt x="893406" y="321821"/>
                  <a:pt x="882491" y="331232"/>
                </a:cubicBezTo>
                <a:cubicBezTo>
                  <a:pt x="876090" y="340690"/>
                  <a:pt x="872547" y="351785"/>
                  <a:pt x="872299" y="363204"/>
                </a:cubicBezTo>
                <a:cubicBezTo>
                  <a:pt x="871737" y="376145"/>
                  <a:pt x="876481" y="388762"/>
                  <a:pt x="885444" y="398125"/>
                </a:cubicBezTo>
                <a:cubicBezTo>
                  <a:pt x="896255" y="406594"/>
                  <a:pt x="909837" y="410733"/>
                  <a:pt x="923544" y="409734"/>
                </a:cubicBezTo>
                <a:cubicBezTo>
                  <a:pt x="967768" y="413693"/>
                  <a:pt x="1006830" y="381093"/>
                  <a:pt x="1010793" y="336913"/>
                </a:cubicBezTo>
                <a:cubicBezTo>
                  <a:pt x="1011221" y="332146"/>
                  <a:pt x="1011221" y="327340"/>
                  <a:pt x="1010793" y="322573"/>
                </a:cubicBezTo>
                <a:close/>
                <a:moveTo>
                  <a:pt x="1488471" y="169565"/>
                </a:moveTo>
                <a:cubicBezTo>
                  <a:pt x="1468955" y="168890"/>
                  <a:pt x="1450009" y="176255"/>
                  <a:pt x="1436083" y="189928"/>
                </a:cubicBezTo>
                <a:cubicBezTo>
                  <a:pt x="1421615" y="205790"/>
                  <a:pt x="1413804" y="226610"/>
                  <a:pt x="1414271" y="248067"/>
                </a:cubicBezTo>
                <a:lnTo>
                  <a:pt x="1562671" y="248067"/>
                </a:lnTo>
                <a:cubicBezTo>
                  <a:pt x="1560642" y="221929"/>
                  <a:pt x="1553841" y="202555"/>
                  <a:pt x="1542287" y="189928"/>
                </a:cubicBezTo>
                <a:cubicBezTo>
                  <a:pt x="1528095" y="175750"/>
                  <a:pt x="1508502" y="168338"/>
                  <a:pt x="1488471" y="169565"/>
                </a:cubicBezTo>
                <a:close/>
                <a:moveTo>
                  <a:pt x="1997106" y="94012"/>
                </a:moveTo>
                <a:lnTo>
                  <a:pt x="2109120" y="94012"/>
                </a:lnTo>
                <a:lnTo>
                  <a:pt x="2187606" y="367199"/>
                </a:lnTo>
                <a:lnTo>
                  <a:pt x="2255995" y="129314"/>
                </a:lnTo>
                <a:cubicBezTo>
                  <a:pt x="2261835" y="106030"/>
                  <a:pt x="2277360" y="94393"/>
                  <a:pt x="2302573" y="94393"/>
                </a:cubicBezTo>
                <a:lnTo>
                  <a:pt x="2372296" y="94393"/>
                </a:lnTo>
                <a:lnTo>
                  <a:pt x="2223992" y="534671"/>
                </a:lnTo>
                <a:cubicBezTo>
                  <a:pt x="2212371" y="566385"/>
                  <a:pt x="2197826" y="589165"/>
                  <a:pt x="2180367" y="602991"/>
                </a:cubicBezTo>
                <a:cubicBezTo>
                  <a:pt x="2162936" y="614600"/>
                  <a:pt x="2134266" y="620404"/>
                  <a:pt x="2094642" y="620404"/>
                </a:cubicBezTo>
                <a:lnTo>
                  <a:pt x="2085117" y="620404"/>
                </a:lnTo>
                <a:lnTo>
                  <a:pt x="2051875" y="619643"/>
                </a:lnTo>
                <a:lnTo>
                  <a:pt x="2051875" y="537430"/>
                </a:lnTo>
                <a:lnTo>
                  <a:pt x="2079497" y="537430"/>
                </a:lnTo>
                <a:cubicBezTo>
                  <a:pt x="2095909" y="538372"/>
                  <a:pt x="2112120" y="533519"/>
                  <a:pt x="2125313" y="523728"/>
                </a:cubicBezTo>
                <a:cubicBezTo>
                  <a:pt x="2136428" y="514526"/>
                  <a:pt x="2138619" y="499749"/>
                  <a:pt x="2131885" y="479386"/>
                </a:cubicBezTo>
                <a:close/>
                <a:moveTo>
                  <a:pt x="754856" y="93822"/>
                </a:moveTo>
                <a:lnTo>
                  <a:pt x="769334" y="93822"/>
                </a:lnTo>
                <a:lnTo>
                  <a:pt x="769334" y="196969"/>
                </a:lnTo>
                <a:lnTo>
                  <a:pt x="735902" y="196969"/>
                </a:lnTo>
                <a:cubicBezTo>
                  <a:pt x="707327" y="196969"/>
                  <a:pt x="686943" y="203820"/>
                  <a:pt x="673418" y="217332"/>
                </a:cubicBezTo>
                <a:cubicBezTo>
                  <a:pt x="659892" y="230844"/>
                  <a:pt x="653034" y="252254"/>
                  <a:pt x="653034" y="281276"/>
                </a:cubicBezTo>
                <a:lnTo>
                  <a:pt x="653034" y="480338"/>
                </a:lnTo>
                <a:lnTo>
                  <a:pt x="551402" y="480338"/>
                </a:lnTo>
                <a:lnTo>
                  <a:pt x="551402" y="292884"/>
                </a:lnTo>
                <a:cubicBezTo>
                  <a:pt x="550430" y="260361"/>
                  <a:pt x="556098" y="227989"/>
                  <a:pt x="568070" y="197730"/>
                </a:cubicBezTo>
                <a:cubicBezTo>
                  <a:pt x="578025" y="173694"/>
                  <a:pt x="593760" y="152485"/>
                  <a:pt x="613886" y="135975"/>
                </a:cubicBezTo>
                <a:cubicBezTo>
                  <a:pt x="633107" y="121074"/>
                  <a:pt x="655139" y="110208"/>
                  <a:pt x="678656" y="104003"/>
                </a:cubicBezTo>
                <a:cubicBezTo>
                  <a:pt x="703488" y="97229"/>
                  <a:pt x="729119" y="93803"/>
                  <a:pt x="754856" y="93822"/>
                </a:cubicBezTo>
                <a:close/>
                <a:moveTo>
                  <a:pt x="2507646" y="85354"/>
                </a:moveTo>
                <a:cubicBezTo>
                  <a:pt x="2558005" y="85354"/>
                  <a:pt x="2598258" y="96487"/>
                  <a:pt x="2628424" y="118753"/>
                </a:cubicBezTo>
                <a:cubicBezTo>
                  <a:pt x="2656217" y="142361"/>
                  <a:pt x="2672610" y="176702"/>
                  <a:pt x="2673477" y="213146"/>
                </a:cubicBezTo>
                <a:lnTo>
                  <a:pt x="2610898" y="213146"/>
                </a:lnTo>
                <a:cubicBezTo>
                  <a:pt x="2593305" y="213631"/>
                  <a:pt x="2576969" y="204068"/>
                  <a:pt x="2568797" y="188501"/>
                </a:cubicBezTo>
                <a:lnTo>
                  <a:pt x="2557081" y="176892"/>
                </a:lnTo>
                <a:cubicBezTo>
                  <a:pt x="2543051" y="167472"/>
                  <a:pt x="2526335" y="162866"/>
                  <a:pt x="2509456" y="163761"/>
                </a:cubicBezTo>
                <a:cubicBezTo>
                  <a:pt x="2494369" y="162828"/>
                  <a:pt x="2479300" y="165845"/>
                  <a:pt x="2465737" y="172515"/>
                </a:cubicBezTo>
                <a:cubicBezTo>
                  <a:pt x="2457059" y="178319"/>
                  <a:pt x="2452097" y="188273"/>
                  <a:pt x="2452687" y="198682"/>
                </a:cubicBezTo>
                <a:cubicBezTo>
                  <a:pt x="2452687" y="214164"/>
                  <a:pt x="2477900" y="227229"/>
                  <a:pt x="2528316" y="237886"/>
                </a:cubicBezTo>
                <a:cubicBezTo>
                  <a:pt x="2534126" y="239789"/>
                  <a:pt x="2539269" y="241312"/>
                  <a:pt x="2543556" y="242263"/>
                </a:cubicBezTo>
                <a:cubicBezTo>
                  <a:pt x="2547623" y="243177"/>
                  <a:pt x="2551776" y="243662"/>
                  <a:pt x="2555938" y="243690"/>
                </a:cubicBezTo>
                <a:cubicBezTo>
                  <a:pt x="2605401" y="256374"/>
                  <a:pt x="2639825" y="270904"/>
                  <a:pt x="2659189" y="287271"/>
                </a:cubicBezTo>
                <a:cubicBezTo>
                  <a:pt x="2677972" y="305493"/>
                  <a:pt x="2688021" y="330890"/>
                  <a:pt x="2686811" y="357019"/>
                </a:cubicBezTo>
                <a:cubicBezTo>
                  <a:pt x="2686811" y="399648"/>
                  <a:pt x="2671315" y="432571"/>
                  <a:pt x="2640330" y="455789"/>
                </a:cubicBezTo>
                <a:cubicBezTo>
                  <a:pt x="2611183" y="477199"/>
                  <a:pt x="2567559" y="487761"/>
                  <a:pt x="2509456" y="487761"/>
                </a:cubicBezTo>
                <a:cubicBezTo>
                  <a:pt x="2454144" y="487761"/>
                  <a:pt x="2412873" y="476627"/>
                  <a:pt x="2385631" y="454361"/>
                </a:cubicBezTo>
                <a:cubicBezTo>
                  <a:pt x="2357437" y="432095"/>
                  <a:pt x="2343369" y="399648"/>
                  <a:pt x="2343435" y="357019"/>
                </a:cubicBezTo>
                <a:lnTo>
                  <a:pt x="2343340" y="352642"/>
                </a:lnTo>
                <a:lnTo>
                  <a:pt x="2442210" y="352642"/>
                </a:lnTo>
                <a:cubicBezTo>
                  <a:pt x="2442019" y="369836"/>
                  <a:pt x="2450135" y="386060"/>
                  <a:pt x="2464022" y="396222"/>
                </a:cubicBezTo>
                <a:cubicBezTo>
                  <a:pt x="2481548" y="406718"/>
                  <a:pt x="2501808" y="411789"/>
                  <a:pt x="2522220" y="410781"/>
                </a:cubicBezTo>
                <a:cubicBezTo>
                  <a:pt x="2537860" y="411228"/>
                  <a:pt x="2553357" y="407726"/>
                  <a:pt x="2567273" y="400599"/>
                </a:cubicBezTo>
                <a:cubicBezTo>
                  <a:pt x="2577912" y="395509"/>
                  <a:pt x="2584723" y="384794"/>
                  <a:pt x="2584799" y="373005"/>
                </a:cubicBezTo>
                <a:cubicBezTo>
                  <a:pt x="2584799" y="355592"/>
                  <a:pt x="2564415" y="342460"/>
                  <a:pt x="2523649" y="333801"/>
                </a:cubicBezTo>
                <a:cubicBezTo>
                  <a:pt x="2510371" y="331832"/>
                  <a:pt x="2497254" y="328910"/>
                  <a:pt x="2484405" y="325047"/>
                </a:cubicBezTo>
                <a:cubicBezTo>
                  <a:pt x="2432971" y="312363"/>
                  <a:pt x="2398556" y="297357"/>
                  <a:pt x="2381155" y="280039"/>
                </a:cubicBezTo>
                <a:cubicBezTo>
                  <a:pt x="2361571" y="262255"/>
                  <a:pt x="2350894" y="236706"/>
                  <a:pt x="2352008" y="210291"/>
                </a:cubicBezTo>
                <a:cubicBezTo>
                  <a:pt x="2351332" y="174942"/>
                  <a:pt x="2366876" y="141219"/>
                  <a:pt x="2394204" y="118753"/>
                </a:cubicBezTo>
                <a:cubicBezTo>
                  <a:pt x="2423350" y="96487"/>
                  <a:pt x="2461164" y="85354"/>
                  <a:pt x="2507646" y="85354"/>
                </a:cubicBezTo>
                <a:close/>
                <a:moveTo>
                  <a:pt x="1838991" y="85354"/>
                </a:moveTo>
                <a:cubicBezTo>
                  <a:pt x="1889407" y="85354"/>
                  <a:pt x="1929640" y="96487"/>
                  <a:pt x="1959673" y="118753"/>
                </a:cubicBezTo>
                <a:cubicBezTo>
                  <a:pt x="1987533" y="142323"/>
                  <a:pt x="2003964" y="176683"/>
                  <a:pt x="2004821" y="213146"/>
                </a:cubicBezTo>
                <a:lnTo>
                  <a:pt x="1942242" y="213146"/>
                </a:lnTo>
                <a:cubicBezTo>
                  <a:pt x="1924630" y="213622"/>
                  <a:pt x="1908266" y="204068"/>
                  <a:pt x="1900046" y="188501"/>
                </a:cubicBezTo>
                <a:cubicBezTo>
                  <a:pt x="1896236" y="184600"/>
                  <a:pt x="1892331" y="180698"/>
                  <a:pt x="1888426" y="176892"/>
                </a:cubicBezTo>
                <a:cubicBezTo>
                  <a:pt x="1874395" y="167481"/>
                  <a:pt x="1857679" y="162876"/>
                  <a:pt x="1840801" y="163761"/>
                </a:cubicBezTo>
                <a:cubicBezTo>
                  <a:pt x="1825741" y="162838"/>
                  <a:pt x="1810712" y="165854"/>
                  <a:pt x="1797176" y="172515"/>
                </a:cubicBezTo>
                <a:cubicBezTo>
                  <a:pt x="1788499" y="178319"/>
                  <a:pt x="1783536" y="188273"/>
                  <a:pt x="1784127" y="198682"/>
                </a:cubicBezTo>
                <a:cubicBezTo>
                  <a:pt x="1784127" y="214164"/>
                  <a:pt x="1809340" y="227229"/>
                  <a:pt x="1859756" y="237886"/>
                </a:cubicBezTo>
                <a:cubicBezTo>
                  <a:pt x="1865566" y="239789"/>
                  <a:pt x="1870614" y="241312"/>
                  <a:pt x="1874995" y="242263"/>
                </a:cubicBezTo>
                <a:cubicBezTo>
                  <a:pt x="1879063" y="243177"/>
                  <a:pt x="1883216" y="243662"/>
                  <a:pt x="1887378" y="243690"/>
                </a:cubicBezTo>
                <a:cubicBezTo>
                  <a:pt x="1936784" y="256374"/>
                  <a:pt x="1971198" y="270904"/>
                  <a:pt x="1990629" y="287271"/>
                </a:cubicBezTo>
                <a:cubicBezTo>
                  <a:pt x="2009365" y="305522"/>
                  <a:pt x="2019413" y="330899"/>
                  <a:pt x="2018251" y="357019"/>
                </a:cubicBezTo>
                <a:cubicBezTo>
                  <a:pt x="2018251" y="399648"/>
                  <a:pt x="2002755" y="432571"/>
                  <a:pt x="1971770" y="455789"/>
                </a:cubicBezTo>
                <a:cubicBezTo>
                  <a:pt x="1942623" y="477199"/>
                  <a:pt x="1898999" y="487761"/>
                  <a:pt x="1840801" y="487761"/>
                </a:cubicBezTo>
                <a:cubicBezTo>
                  <a:pt x="1785556" y="487761"/>
                  <a:pt x="1744284" y="476627"/>
                  <a:pt x="1716976" y="454361"/>
                </a:cubicBezTo>
                <a:cubicBezTo>
                  <a:pt x="1689668" y="432095"/>
                  <a:pt x="1675570" y="399524"/>
                  <a:pt x="1674685" y="356638"/>
                </a:cubicBezTo>
                <a:lnTo>
                  <a:pt x="1674685" y="352642"/>
                </a:lnTo>
                <a:lnTo>
                  <a:pt x="1773555" y="352642"/>
                </a:lnTo>
                <a:cubicBezTo>
                  <a:pt x="1773364" y="369836"/>
                  <a:pt x="1781488" y="386060"/>
                  <a:pt x="1795367" y="396222"/>
                </a:cubicBezTo>
                <a:cubicBezTo>
                  <a:pt x="1812892" y="406718"/>
                  <a:pt x="1833152" y="411789"/>
                  <a:pt x="1853564" y="410781"/>
                </a:cubicBezTo>
                <a:cubicBezTo>
                  <a:pt x="1869205" y="411228"/>
                  <a:pt x="1884701" y="407726"/>
                  <a:pt x="1898617" y="400599"/>
                </a:cubicBezTo>
                <a:cubicBezTo>
                  <a:pt x="1909219" y="395480"/>
                  <a:pt x="1915981" y="384775"/>
                  <a:pt x="1916048" y="373005"/>
                </a:cubicBezTo>
                <a:cubicBezTo>
                  <a:pt x="1916048" y="355592"/>
                  <a:pt x="1895760" y="342460"/>
                  <a:pt x="1854993" y="333801"/>
                </a:cubicBezTo>
                <a:cubicBezTo>
                  <a:pt x="1841715" y="331841"/>
                  <a:pt x="1828599" y="328920"/>
                  <a:pt x="1815750" y="325047"/>
                </a:cubicBezTo>
                <a:cubicBezTo>
                  <a:pt x="1764315" y="312363"/>
                  <a:pt x="1729901" y="297357"/>
                  <a:pt x="1712499" y="280039"/>
                </a:cubicBezTo>
                <a:cubicBezTo>
                  <a:pt x="1692916" y="262255"/>
                  <a:pt x="1682238" y="236706"/>
                  <a:pt x="1683352" y="210291"/>
                </a:cubicBezTo>
                <a:cubicBezTo>
                  <a:pt x="1682676" y="174942"/>
                  <a:pt x="1698221" y="141219"/>
                  <a:pt x="1725548" y="118753"/>
                </a:cubicBezTo>
                <a:cubicBezTo>
                  <a:pt x="1754571" y="96487"/>
                  <a:pt x="1792385" y="85354"/>
                  <a:pt x="1838991" y="85354"/>
                </a:cubicBezTo>
                <a:close/>
                <a:moveTo>
                  <a:pt x="1485804" y="85354"/>
                </a:moveTo>
                <a:cubicBezTo>
                  <a:pt x="1543973" y="85354"/>
                  <a:pt x="1589084" y="102767"/>
                  <a:pt x="1621155" y="137593"/>
                </a:cubicBezTo>
                <a:cubicBezTo>
                  <a:pt x="1652139" y="173495"/>
                  <a:pt x="1667636" y="223394"/>
                  <a:pt x="1667636" y="287271"/>
                </a:cubicBezTo>
                <a:lnTo>
                  <a:pt x="1667636" y="303257"/>
                </a:lnTo>
                <a:cubicBezTo>
                  <a:pt x="1667865" y="306711"/>
                  <a:pt x="1667379" y="310175"/>
                  <a:pt x="1666208" y="313438"/>
                </a:cubicBezTo>
                <a:lnTo>
                  <a:pt x="1414271" y="313438"/>
                </a:lnTo>
                <a:cubicBezTo>
                  <a:pt x="1415223" y="343507"/>
                  <a:pt x="1422558" y="365773"/>
                  <a:pt x="1436083" y="380046"/>
                </a:cubicBezTo>
                <a:cubicBezTo>
                  <a:pt x="1450381" y="396403"/>
                  <a:pt x="1471564" y="405043"/>
                  <a:pt x="1493233" y="403359"/>
                </a:cubicBezTo>
                <a:cubicBezTo>
                  <a:pt x="1507959" y="403778"/>
                  <a:pt x="1522523" y="400266"/>
                  <a:pt x="1535430" y="393177"/>
                </a:cubicBezTo>
                <a:cubicBezTo>
                  <a:pt x="1538458" y="392112"/>
                  <a:pt x="1541201" y="390351"/>
                  <a:pt x="1543430" y="388039"/>
                </a:cubicBezTo>
                <a:lnTo>
                  <a:pt x="1551431" y="380046"/>
                </a:lnTo>
                <a:cubicBezTo>
                  <a:pt x="1554013" y="375326"/>
                  <a:pt x="1557746" y="371330"/>
                  <a:pt x="1562290" y="368437"/>
                </a:cubicBezTo>
                <a:cubicBezTo>
                  <a:pt x="1570148" y="363261"/>
                  <a:pt x="1579473" y="360797"/>
                  <a:pt x="1588865" y="361396"/>
                </a:cubicBezTo>
                <a:lnTo>
                  <a:pt x="1661540" y="361396"/>
                </a:lnTo>
                <a:cubicBezTo>
                  <a:pt x="1653063" y="398715"/>
                  <a:pt x="1631384" y="431734"/>
                  <a:pt x="1600485" y="454361"/>
                </a:cubicBezTo>
                <a:cubicBezTo>
                  <a:pt x="1567338" y="477560"/>
                  <a:pt x="1527495" y="489293"/>
                  <a:pt x="1487042" y="487761"/>
                </a:cubicBezTo>
                <a:cubicBezTo>
                  <a:pt x="1431674" y="487761"/>
                  <a:pt x="1388525" y="469843"/>
                  <a:pt x="1357597" y="433999"/>
                </a:cubicBezTo>
                <a:cubicBezTo>
                  <a:pt x="1326736" y="399172"/>
                  <a:pt x="1311306" y="349311"/>
                  <a:pt x="1311306" y="284416"/>
                </a:cubicBezTo>
                <a:cubicBezTo>
                  <a:pt x="1311306" y="222376"/>
                  <a:pt x="1326356" y="173942"/>
                  <a:pt x="1356454" y="139116"/>
                </a:cubicBezTo>
                <a:cubicBezTo>
                  <a:pt x="1387439" y="103271"/>
                  <a:pt x="1430559" y="85354"/>
                  <a:pt x="1485804" y="85354"/>
                </a:cubicBezTo>
                <a:close/>
                <a:moveTo>
                  <a:pt x="941355" y="85354"/>
                </a:moveTo>
                <a:cubicBezTo>
                  <a:pt x="995648" y="85354"/>
                  <a:pt x="1036387" y="94555"/>
                  <a:pt x="1063561" y="112949"/>
                </a:cubicBezTo>
                <a:cubicBezTo>
                  <a:pt x="1090879" y="130838"/>
                  <a:pt x="1106843" y="161696"/>
                  <a:pt x="1105662" y="194305"/>
                </a:cubicBezTo>
                <a:lnTo>
                  <a:pt x="1105662" y="326474"/>
                </a:lnTo>
                <a:cubicBezTo>
                  <a:pt x="1105662" y="365297"/>
                  <a:pt x="1098642" y="395585"/>
                  <a:pt x="1084612" y="417347"/>
                </a:cubicBezTo>
                <a:cubicBezTo>
                  <a:pt x="1072467" y="437329"/>
                  <a:pt x="1055122" y="453648"/>
                  <a:pt x="1034415" y="464543"/>
                </a:cubicBezTo>
                <a:cubicBezTo>
                  <a:pt x="1014307" y="475153"/>
                  <a:pt x="992352" y="481804"/>
                  <a:pt x="969740" y="484145"/>
                </a:cubicBezTo>
                <a:cubicBezTo>
                  <a:pt x="949690" y="486429"/>
                  <a:pt x="929535" y="487627"/>
                  <a:pt x="909351" y="487761"/>
                </a:cubicBezTo>
                <a:cubicBezTo>
                  <a:pt x="876528" y="488351"/>
                  <a:pt x="844391" y="478340"/>
                  <a:pt x="817721" y="459214"/>
                </a:cubicBezTo>
                <a:cubicBezTo>
                  <a:pt x="791556" y="440184"/>
                  <a:pt x="778478" y="408945"/>
                  <a:pt x="778478" y="365488"/>
                </a:cubicBezTo>
                <a:cubicBezTo>
                  <a:pt x="778478" y="324762"/>
                  <a:pt x="790356" y="295711"/>
                  <a:pt x="814101" y="278326"/>
                </a:cubicBezTo>
                <a:cubicBezTo>
                  <a:pt x="841124" y="259533"/>
                  <a:pt x="872299" y="247554"/>
                  <a:pt x="904970" y="243405"/>
                </a:cubicBezTo>
                <a:cubicBezTo>
                  <a:pt x="910866" y="243262"/>
                  <a:pt x="916743" y="242529"/>
                  <a:pt x="922496" y="241216"/>
                </a:cubicBezTo>
                <a:cubicBezTo>
                  <a:pt x="929259" y="239789"/>
                  <a:pt x="936974" y="238552"/>
                  <a:pt x="945737" y="237601"/>
                </a:cubicBezTo>
                <a:cubicBezTo>
                  <a:pt x="988409" y="231768"/>
                  <a:pt x="1009745" y="219074"/>
                  <a:pt x="1009745" y="199539"/>
                </a:cubicBezTo>
                <a:cubicBezTo>
                  <a:pt x="1010450" y="185713"/>
                  <a:pt x="1000801" y="173505"/>
                  <a:pt x="987171" y="170993"/>
                </a:cubicBezTo>
                <a:cubicBezTo>
                  <a:pt x="973741" y="166863"/>
                  <a:pt x="959786" y="164655"/>
                  <a:pt x="945737" y="164427"/>
                </a:cubicBezTo>
                <a:cubicBezTo>
                  <a:pt x="933355" y="164227"/>
                  <a:pt x="921038" y="166225"/>
                  <a:pt x="909351" y="170327"/>
                </a:cubicBezTo>
                <a:cubicBezTo>
                  <a:pt x="898883" y="173999"/>
                  <a:pt x="890444" y="181907"/>
                  <a:pt x="886110" y="192117"/>
                </a:cubicBezTo>
                <a:lnTo>
                  <a:pt x="788670" y="192117"/>
                </a:lnTo>
                <a:cubicBezTo>
                  <a:pt x="792175" y="163314"/>
                  <a:pt x="806758" y="137004"/>
                  <a:pt x="829342" y="118753"/>
                </a:cubicBezTo>
                <a:cubicBezTo>
                  <a:pt x="855564" y="96487"/>
                  <a:pt x="892902" y="85354"/>
                  <a:pt x="941355" y="85354"/>
                </a:cubicBezTo>
                <a:close/>
                <a:moveTo>
                  <a:pt x="164402" y="85354"/>
                </a:moveTo>
                <a:cubicBezTo>
                  <a:pt x="214817" y="85354"/>
                  <a:pt x="255051" y="96487"/>
                  <a:pt x="285083" y="118753"/>
                </a:cubicBezTo>
                <a:cubicBezTo>
                  <a:pt x="312906" y="142351"/>
                  <a:pt x="329327" y="176692"/>
                  <a:pt x="330232" y="213146"/>
                </a:cubicBezTo>
                <a:lnTo>
                  <a:pt x="267653" y="213146"/>
                </a:lnTo>
                <a:cubicBezTo>
                  <a:pt x="250041" y="213622"/>
                  <a:pt x="233677" y="204068"/>
                  <a:pt x="225457" y="188501"/>
                </a:cubicBezTo>
                <a:cubicBezTo>
                  <a:pt x="221552" y="184600"/>
                  <a:pt x="217742" y="180698"/>
                  <a:pt x="213836" y="176892"/>
                </a:cubicBezTo>
                <a:cubicBezTo>
                  <a:pt x="199806" y="167481"/>
                  <a:pt x="183090" y="162876"/>
                  <a:pt x="166211" y="163761"/>
                </a:cubicBezTo>
                <a:cubicBezTo>
                  <a:pt x="151152" y="162828"/>
                  <a:pt x="136112" y="165845"/>
                  <a:pt x="122587" y="172515"/>
                </a:cubicBezTo>
                <a:cubicBezTo>
                  <a:pt x="113872" y="178281"/>
                  <a:pt x="108890" y="188254"/>
                  <a:pt x="109538" y="198682"/>
                </a:cubicBezTo>
                <a:cubicBezTo>
                  <a:pt x="109538" y="214164"/>
                  <a:pt x="134750" y="227229"/>
                  <a:pt x="185166" y="237886"/>
                </a:cubicBezTo>
                <a:cubicBezTo>
                  <a:pt x="190976" y="239789"/>
                  <a:pt x="196025" y="241312"/>
                  <a:pt x="200406" y="242263"/>
                </a:cubicBezTo>
                <a:cubicBezTo>
                  <a:pt x="204473" y="243177"/>
                  <a:pt x="208626" y="243662"/>
                  <a:pt x="212789" y="243690"/>
                </a:cubicBezTo>
                <a:cubicBezTo>
                  <a:pt x="262195" y="256374"/>
                  <a:pt x="296609" y="270904"/>
                  <a:pt x="316040" y="287271"/>
                </a:cubicBezTo>
                <a:cubicBezTo>
                  <a:pt x="334775" y="305522"/>
                  <a:pt x="344824" y="330899"/>
                  <a:pt x="343662" y="357019"/>
                </a:cubicBezTo>
                <a:cubicBezTo>
                  <a:pt x="343662" y="399648"/>
                  <a:pt x="328136" y="432571"/>
                  <a:pt x="297085" y="455789"/>
                </a:cubicBezTo>
                <a:cubicBezTo>
                  <a:pt x="268034" y="477199"/>
                  <a:pt x="224409" y="487761"/>
                  <a:pt x="166211" y="487761"/>
                </a:cubicBezTo>
                <a:cubicBezTo>
                  <a:pt x="110966" y="487761"/>
                  <a:pt x="69695" y="476627"/>
                  <a:pt x="42386" y="454361"/>
                </a:cubicBezTo>
                <a:cubicBezTo>
                  <a:pt x="15078" y="432095"/>
                  <a:pt x="953" y="399524"/>
                  <a:pt x="0" y="356638"/>
                </a:cubicBezTo>
                <a:lnTo>
                  <a:pt x="0" y="352642"/>
                </a:lnTo>
                <a:lnTo>
                  <a:pt x="98965" y="352642"/>
                </a:lnTo>
                <a:cubicBezTo>
                  <a:pt x="98774" y="369836"/>
                  <a:pt x="106899" y="386060"/>
                  <a:pt x="120777" y="396222"/>
                </a:cubicBezTo>
                <a:cubicBezTo>
                  <a:pt x="138303" y="406737"/>
                  <a:pt x="158563" y="411799"/>
                  <a:pt x="178975" y="410781"/>
                </a:cubicBezTo>
                <a:cubicBezTo>
                  <a:pt x="194615" y="411228"/>
                  <a:pt x="210112" y="407726"/>
                  <a:pt x="224028" y="400599"/>
                </a:cubicBezTo>
                <a:cubicBezTo>
                  <a:pt x="234630" y="395480"/>
                  <a:pt x="241392" y="384775"/>
                  <a:pt x="241459" y="373005"/>
                </a:cubicBezTo>
                <a:cubicBezTo>
                  <a:pt x="241459" y="355592"/>
                  <a:pt x="221075" y="342460"/>
                  <a:pt x="180404" y="333801"/>
                </a:cubicBezTo>
                <a:cubicBezTo>
                  <a:pt x="167126" y="331841"/>
                  <a:pt x="154010" y="328920"/>
                  <a:pt x="141161" y="325047"/>
                </a:cubicBezTo>
                <a:cubicBezTo>
                  <a:pt x="89726" y="312363"/>
                  <a:pt x="55274" y="297357"/>
                  <a:pt x="37814" y="280039"/>
                </a:cubicBezTo>
                <a:cubicBezTo>
                  <a:pt x="18298" y="262217"/>
                  <a:pt x="7658" y="236687"/>
                  <a:pt x="8763" y="210291"/>
                </a:cubicBezTo>
                <a:cubicBezTo>
                  <a:pt x="8049" y="174932"/>
                  <a:pt x="23594" y="141200"/>
                  <a:pt x="50959" y="118753"/>
                </a:cubicBezTo>
                <a:cubicBezTo>
                  <a:pt x="79981" y="96487"/>
                  <a:pt x="117796" y="85354"/>
                  <a:pt x="164402" y="85354"/>
                </a:cubicBezTo>
                <a:close/>
                <a:moveTo>
                  <a:pt x="1129760" y="0"/>
                </a:moveTo>
                <a:lnTo>
                  <a:pt x="1228058" y="0"/>
                </a:lnTo>
                <a:lnTo>
                  <a:pt x="1228058" y="97438"/>
                </a:lnTo>
                <a:lnTo>
                  <a:pt x="1297305" y="97438"/>
                </a:lnTo>
                <a:lnTo>
                  <a:pt x="1297305" y="184409"/>
                </a:lnTo>
                <a:lnTo>
                  <a:pt x="1228058" y="184409"/>
                </a:lnTo>
                <a:lnTo>
                  <a:pt x="1228058" y="319813"/>
                </a:lnTo>
                <a:cubicBezTo>
                  <a:pt x="1228058" y="346646"/>
                  <a:pt x="1234058" y="365487"/>
                  <a:pt x="1246250" y="376334"/>
                </a:cubicBezTo>
                <a:cubicBezTo>
                  <a:pt x="1258442" y="387182"/>
                  <a:pt x="1276921" y="392035"/>
                  <a:pt x="1301781" y="390512"/>
                </a:cubicBezTo>
                <a:lnTo>
                  <a:pt x="1301781" y="479767"/>
                </a:lnTo>
                <a:cubicBezTo>
                  <a:pt x="1276854" y="482992"/>
                  <a:pt x="1251527" y="481213"/>
                  <a:pt x="1227295" y="474534"/>
                </a:cubicBezTo>
                <a:cubicBezTo>
                  <a:pt x="1207083" y="468795"/>
                  <a:pt x="1188643" y="458062"/>
                  <a:pt x="1173670" y="443323"/>
                </a:cubicBezTo>
                <a:cubicBezTo>
                  <a:pt x="1158858" y="428298"/>
                  <a:pt x="1147647" y="410114"/>
                  <a:pt x="1140904" y="390132"/>
                </a:cubicBezTo>
                <a:cubicBezTo>
                  <a:pt x="1133179" y="367247"/>
                  <a:pt x="1129407" y="343202"/>
                  <a:pt x="1129760" y="319052"/>
                </a:cubicBezTo>
                <a:close/>
                <a:moveTo>
                  <a:pt x="361474" y="0"/>
                </a:moveTo>
                <a:lnTo>
                  <a:pt x="459772" y="0"/>
                </a:lnTo>
                <a:lnTo>
                  <a:pt x="459772" y="97438"/>
                </a:lnTo>
                <a:lnTo>
                  <a:pt x="529019" y="97438"/>
                </a:lnTo>
                <a:lnTo>
                  <a:pt x="529019" y="184409"/>
                </a:lnTo>
                <a:lnTo>
                  <a:pt x="459772" y="184409"/>
                </a:lnTo>
                <a:lnTo>
                  <a:pt x="459772" y="319813"/>
                </a:lnTo>
                <a:cubicBezTo>
                  <a:pt x="459772" y="346646"/>
                  <a:pt x="465868" y="365487"/>
                  <a:pt x="478060" y="376334"/>
                </a:cubicBezTo>
                <a:cubicBezTo>
                  <a:pt x="490157" y="387277"/>
                  <a:pt x="508730" y="392035"/>
                  <a:pt x="533496" y="390512"/>
                </a:cubicBezTo>
                <a:lnTo>
                  <a:pt x="533496" y="479767"/>
                </a:lnTo>
                <a:cubicBezTo>
                  <a:pt x="508568" y="482992"/>
                  <a:pt x="483241" y="481213"/>
                  <a:pt x="459010" y="474534"/>
                </a:cubicBezTo>
                <a:cubicBezTo>
                  <a:pt x="438826" y="468786"/>
                  <a:pt x="420414" y="458053"/>
                  <a:pt x="405479" y="443323"/>
                </a:cubicBezTo>
                <a:cubicBezTo>
                  <a:pt x="390630" y="428327"/>
                  <a:pt x="379429" y="410133"/>
                  <a:pt x="372713" y="390132"/>
                </a:cubicBezTo>
                <a:cubicBezTo>
                  <a:pt x="364903" y="367257"/>
                  <a:pt x="361102" y="343211"/>
                  <a:pt x="361474" y="319052"/>
                </a:cubicBezTo>
                <a:close/>
              </a:path>
            </a:pathLst>
          </a:custGeom>
          <a:solidFill>
            <a:schemeClr val="bg1"/>
          </a:solidFill>
          <a:ln w="9525" cap="flat">
            <a:noFill/>
            <a:prstDash val="solid"/>
            <a:miter/>
          </a:ln>
        </p:spPr>
        <p:txBody>
          <a:bodyPr rtlCol="0" anchor="ctr"/>
          <a:lstStyle/>
          <a:p>
            <a:endParaRPr lang="es-ES" sz="1900"/>
          </a:p>
        </p:txBody>
      </p:sp>
      <p:sp>
        <p:nvSpPr>
          <p:cNvPr id="16" name="Rectángulo 15">
            <a:extLst>
              <a:ext uri="{FF2B5EF4-FFF2-40B4-BE49-F238E27FC236}">
                <a16:creationId xmlns:a16="http://schemas.microsoft.com/office/drawing/2014/main" id="{84FB10B5-AB86-6F0C-BABB-375BBB46985A}"/>
              </a:ext>
            </a:extLst>
          </p:cNvPr>
          <p:cNvSpPr/>
          <p:nvPr userDrawn="1"/>
        </p:nvSpPr>
        <p:spPr bwMode="auto">
          <a:xfrm>
            <a:off x="458022" y="0"/>
            <a:ext cx="36000" cy="456920"/>
          </a:xfrm>
          <a:prstGeom prst="rect">
            <a:avLst/>
          </a:prstGeom>
          <a:solidFill>
            <a:srgbClr val="F6D285"/>
          </a:solidFill>
          <a:ln>
            <a:noFill/>
          </a:ln>
        </p:spPr>
        <p:txBody>
          <a:bodyPr lIns="0" tIns="0" rIns="0" bIns="0" rtlCol="0" anchor="ctr"/>
          <a:lstStyle/>
          <a:p>
            <a:pPr algn="ctr"/>
            <a:endParaRPr lang="es-ES"/>
          </a:p>
        </p:txBody>
      </p:sp>
      <p:sp>
        <p:nvSpPr>
          <p:cNvPr id="2" name="Marcador de texto 1">
            <a:extLst>
              <a:ext uri="{FF2B5EF4-FFF2-40B4-BE49-F238E27FC236}">
                <a16:creationId xmlns:a16="http://schemas.microsoft.com/office/drawing/2014/main" id="{F3D6FC91-B10B-BA4F-A311-819EF609AD48}"/>
              </a:ext>
            </a:extLst>
          </p:cNvPr>
          <p:cNvSpPr>
            <a:spLocks noGrp="1"/>
          </p:cNvSpPr>
          <p:nvPr>
            <p:ph type="body" idx="1"/>
          </p:nvPr>
        </p:nvSpPr>
        <p:spPr>
          <a:xfrm>
            <a:off x="442659" y="671501"/>
            <a:ext cx="11306682" cy="5729298"/>
          </a:xfrm>
          <a:prstGeom prst="rect">
            <a:avLst/>
          </a:prstGeom>
        </p:spPr>
        <p:txBody>
          <a:bodyPr vert="horz" lIns="0" tIns="0" rIns="0" bIns="0" rtlCol="0">
            <a:no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3" name="Marcador de título 2">
            <a:extLst>
              <a:ext uri="{FF2B5EF4-FFF2-40B4-BE49-F238E27FC236}">
                <a16:creationId xmlns:a16="http://schemas.microsoft.com/office/drawing/2014/main" id="{1E80B981-CC2F-4441-A27A-70FCA3DEC91A}"/>
              </a:ext>
            </a:extLst>
          </p:cNvPr>
          <p:cNvSpPr>
            <a:spLocks noGrp="1"/>
          </p:cNvSpPr>
          <p:nvPr>
            <p:ph type="title"/>
          </p:nvPr>
        </p:nvSpPr>
        <p:spPr>
          <a:xfrm>
            <a:off x="598206" y="96496"/>
            <a:ext cx="11151135" cy="276999"/>
          </a:xfrm>
          <a:prstGeom prst="rect">
            <a:avLst/>
          </a:prstGeom>
        </p:spPr>
        <p:txBody>
          <a:bodyPr wrap="square" lIns="0" anchor="t">
            <a:noAutofit/>
          </a:bodyPr>
          <a:lstStyle/>
          <a:p>
            <a:pPr lvl="0"/>
            <a:r>
              <a:rPr lang="es-ES"/>
              <a:t>HAGA CLIC PARA MODIFICAR EL ESTILO DE TÍTULO DEL PATRÓN</a:t>
            </a:r>
            <a:endParaRPr lang="en-US"/>
          </a:p>
        </p:txBody>
      </p:sp>
    </p:spTree>
    <p:extLst>
      <p:ext uri="{BB962C8B-B14F-4D97-AF65-F5344CB8AC3E}">
        <p14:creationId xmlns:p14="http://schemas.microsoft.com/office/powerpoint/2010/main" val="287113785"/>
      </p:ext>
    </p:extLst>
  </p:cSld>
  <p:clrMap bg1="lt1" tx1="dk1" bg2="lt2" tx2="dk2" accent1="accent1" accent2="accent2" accent3="accent3" accent4="accent4" accent5="accent5" accent6="accent6" hlink="hlink" folHlink="folHlink"/>
  <p:sldLayoutIdLst>
    <p:sldLayoutId id="2147484254" r:id="rId1"/>
    <p:sldLayoutId id="2147484255" r:id="rId2"/>
    <p:sldLayoutId id="2147484256" r:id="rId3"/>
    <p:sldLayoutId id="2147484258" r:id="rId4"/>
    <p:sldLayoutId id="2147484259" r:id="rId5"/>
    <p:sldLayoutId id="2147484260" r:id="rId6"/>
    <p:sldLayoutId id="2147484261"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marL="0" algn="l" defTabSz="914400" rtl="0" eaLnBrk="1" latinLnBrk="0" hangingPunct="1">
        <a:lnSpc>
          <a:spcPct val="100000"/>
        </a:lnSpc>
        <a:spcBef>
          <a:spcPct val="0"/>
        </a:spcBef>
        <a:buNone/>
        <a:defRPr lang="en-US" sz="1200" b="1" kern="1200" cap="all" spc="300" baseline="0" dirty="0" smtClean="0">
          <a:solidFill>
            <a:schemeClr val="tx2"/>
          </a:solidFill>
          <a:latin typeface="+mn-lt"/>
          <a:ea typeface="+mn-ea"/>
          <a:cs typeface="+mn-cs"/>
        </a:defRPr>
      </a:lvl1pPr>
    </p:titleStyle>
    <p:bodyStyle>
      <a:lvl1pPr marL="0" indent="0" algn="l" defTabSz="914400" rtl="0" eaLnBrk="1" latinLnBrk="0" hangingPunct="1">
        <a:lnSpc>
          <a:spcPct val="100000"/>
        </a:lnSpc>
        <a:spcBef>
          <a:spcPts val="0"/>
        </a:spcBef>
        <a:spcAft>
          <a:spcPts val="2400"/>
        </a:spcAft>
        <a:buFont typeface="Arial"/>
        <a:buNone/>
        <a:defRPr sz="1400" kern="1200">
          <a:solidFill>
            <a:schemeClr val="tx2"/>
          </a:solidFill>
          <a:latin typeface="+mn-lt"/>
          <a:ea typeface="+mn-ea"/>
          <a:cs typeface="+mn-cs"/>
        </a:defRPr>
      </a:lvl1pPr>
      <a:lvl2pPr marL="184150" indent="-184150" algn="l" defTabSz="914400" rtl="0" eaLnBrk="1" latinLnBrk="0" hangingPunct="1">
        <a:lnSpc>
          <a:spcPct val="100000"/>
        </a:lnSpc>
        <a:spcBef>
          <a:spcPts val="0"/>
        </a:spcBef>
        <a:spcAft>
          <a:spcPts val="2400"/>
        </a:spcAft>
        <a:buFont typeface="Wingdings" pitchFamily="2" charset="2"/>
        <a:buChar char="§"/>
        <a:tabLst/>
        <a:defRPr sz="1400" kern="1200">
          <a:solidFill>
            <a:schemeClr val="tx2"/>
          </a:solidFill>
          <a:latin typeface="+mn-lt"/>
          <a:ea typeface="+mn-ea"/>
          <a:cs typeface="+mn-cs"/>
        </a:defRPr>
      </a:lvl2pPr>
      <a:lvl3pPr marL="357188" indent="-173038" algn="l" defTabSz="914400" rtl="0" eaLnBrk="1" latinLnBrk="0" hangingPunct="1">
        <a:lnSpc>
          <a:spcPct val="100000"/>
        </a:lnSpc>
        <a:spcBef>
          <a:spcPts val="0"/>
        </a:spcBef>
        <a:spcAft>
          <a:spcPts val="2400"/>
        </a:spcAft>
        <a:buFont typeface="Arial"/>
        <a:buChar char="•"/>
        <a:tabLst/>
        <a:defRPr sz="1400" kern="1200">
          <a:solidFill>
            <a:schemeClr val="tx2"/>
          </a:solidFill>
          <a:latin typeface="+mn-lt"/>
          <a:ea typeface="+mn-ea"/>
          <a:cs typeface="+mn-cs"/>
        </a:defRPr>
      </a:lvl3pPr>
      <a:lvl4pPr marL="492125" indent="-134938" algn="l" defTabSz="914400" rtl="0" eaLnBrk="1" latinLnBrk="0" hangingPunct="1">
        <a:lnSpc>
          <a:spcPct val="100000"/>
        </a:lnSpc>
        <a:spcBef>
          <a:spcPts val="0"/>
        </a:spcBef>
        <a:spcAft>
          <a:spcPts val="2400"/>
        </a:spcAft>
        <a:buFont typeface="Arial"/>
        <a:buChar char="•"/>
        <a:tabLst/>
        <a:defRPr sz="1400" kern="1200">
          <a:solidFill>
            <a:schemeClr val="tx2"/>
          </a:solidFill>
          <a:latin typeface="+mn-lt"/>
          <a:ea typeface="+mn-ea"/>
          <a:cs typeface="+mn-cs"/>
        </a:defRPr>
      </a:lvl4pPr>
      <a:lvl5pPr marL="677863" indent="-136525" algn="l" defTabSz="914400" rtl="0" eaLnBrk="1" latinLnBrk="0" hangingPunct="1">
        <a:lnSpc>
          <a:spcPct val="100000"/>
        </a:lnSpc>
        <a:spcBef>
          <a:spcPts val="0"/>
        </a:spcBef>
        <a:spcAft>
          <a:spcPts val="2400"/>
        </a:spcAft>
        <a:buFont typeface="Arial"/>
        <a:buChar char="•"/>
        <a:tabLst/>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79">
          <p15:clr>
            <a:srgbClr val="F26B43"/>
          </p15:clr>
        </p15:guide>
        <p15:guide id="4" pos="7401">
          <p15:clr>
            <a:srgbClr val="F26B43"/>
          </p15:clr>
        </p15:guide>
        <p15:guide id="5" pos="506">
          <p15:clr>
            <a:srgbClr val="F26B43"/>
          </p15:clr>
        </p15:guide>
        <p15:guide id="6" orient="horz" pos="1049">
          <p15:clr>
            <a:srgbClr val="F26B43"/>
          </p15:clr>
        </p15:guide>
        <p15:guide id="7" orient="horz" pos="4142">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p:cNvSpPr>
            <a:spLocks noGrp="1"/>
          </p:cNvSpPr>
          <p:nvPr userDrawn="1">
            <p:ph type="body" idx="1"/>
          </p:nvPr>
        </p:nvSpPr>
        <p:spPr bwMode="black">
          <a:xfrm>
            <a:off x="503870" y="1620000"/>
            <a:ext cx="11183564"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3870" y="504000"/>
            <a:ext cx="11183564"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26"/>
            </p:custDataLst>
          </p:nvPr>
        </p:nvGrpSpPr>
        <p:grpSpPr>
          <a:xfrm>
            <a:off x="3937773" y="3978000"/>
            <a:ext cx="1024611"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45"/>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46"/>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47"/>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48"/>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27"/>
            </p:custDataLst>
          </p:nvPr>
        </p:nvGrpSpPr>
        <p:grpSpPr>
          <a:xfrm>
            <a:off x="5390102" y="3978000"/>
            <a:ext cx="1024611"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40"/>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41"/>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42"/>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43"/>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44"/>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28"/>
            </p:custDataLst>
          </p:nvPr>
        </p:nvGrpSpPr>
        <p:grpSpPr>
          <a:xfrm>
            <a:off x="6842432" y="3978000"/>
            <a:ext cx="1024611"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31"/>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32"/>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33"/>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34"/>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35"/>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36"/>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37"/>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38"/>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39"/>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29"/>
            </p:custDataLst>
          </p:nvPr>
        </p:nvGrpSpPr>
        <p:grpSpPr>
          <a:xfrm>
            <a:off x="8294762" y="3978000"/>
            <a:ext cx="1024611"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30"/>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31"/>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32"/>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33"/>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34"/>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35"/>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36"/>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37"/>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38"/>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30"/>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sz="1799" b="0" i="0">
                <a:latin typeface="Arial" panose="020B0604020202020204" pitchFamily="34" charset="0"/>
              </a:endParaRPr>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107" y="5984669"/>
            <a:ext cx="10185556"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b="0" i="0" kern="0">
                <a:latin typeface="Arial" panose="020B0604020202020204" pitchFamily="34" charset="0"/>
                <a:ea typeface="Arial Unicode MS" pitchFamily="34" charset="-128"/>
                <a:cs typeface="Arial Unicode MS" pitchFamily="34" charset="-128"/>
              </a:rPr>
              <a:t>(r) Footnote</a:t>
            </a:r>
          </a:p>
        </p:txBody>
      </p:sp>
      <p:sp>
        <p:nvSpPr>
          <p:cNvPr id="132" name="Responsible [Sticker]" hidden="1">
            <a:extLst>
              <a:ext uri="{FF2B5EF4-FFF2-40B4-BE49-F238E27FC236}">
                <a16:creationId xmlns:a16="http://schemas.microsoft.com/office/drawing/2014/main" id="{3CB674C2-91C9-46E6-8AB4-E90ABF1CAFE0}"/>
              </a:ext>
            </a:extLst>
          </p:cNvPr>
          <p:cNvSpPr>
            <a:spLocks/>
          </p:cNvSpPr>
          <p:nvPr userDrawn="1"/>
        </p:nvSpPr>
        <p:spPr>
          <a:xfrm>
            <a:off x="10068483" y="896932"/>
            <a:ext cx="2123517" cy="59540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Responsible:</a:t>
            </a:r>
          </a:p>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Name Lastnam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Roboto Lt"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0875" y="1097679"/>
            <a:ext cx="2478456" cy="1277432"/>
          </a:xfrm>
          <a:prstGeom prst="wedgeRectCallout">
            <a:avLst/>
          </a:prstGeom>
          <a:solidFill>
            <a:srgbClr val="FFFF00"/>
          </a:solidFill>
          <a:ln w="12700" cap="flat" cmpd="sng" algn="ctr">
            <a:solidFill>
              <a:srgbClr val="000000"/>
            </a:solidFill>
            <a:prstDash val="solid"/>
            <a:miter lim="800000"/>
          </a:ln>
          <a:effectLst/>
        </p:spPr>
        <p:txBody>
          <a:bodyPr lIns="143215" tIns="143215" rIns="143215" bIns="143215"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a:p>
            <a:pPr marL="0" marR="0" lvl="0" indent="0" defTabSz="91412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latin typeface="Arial" panose="020B0604020202020204" pitchFamily="34" charset="0"/>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0875" y="1097671"/>
            <a:ext cx="2478456" cy="1277440"/>
          </a:xfrm>
          <a:prstGeom prst="wedgeRectCallout">
            <a:avLst/>
          </a:prstGeom>
          <a:solidFill>
            <a:srgbClr val="FFFF00"/>
          </a:solidFill>
          <a:ln w="12700" cap="flat" cmpd="sng" algn="ctr">
            <a:solidFill>
              <a:srgbClr val="000000"/>
            </a:solidFill>
            <a:prstDash val="solid"/>
            <a:miter lim="800000"/>
          </a:ln>
          <a:effectLst/>
        </p:spPr>
        <p:txBody>
          <a:bodyPr lIns="143215" tIns="143215" rIns="143215" bIns="143215"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5884" y="2819463"/>
            <a:ext cx="6360233" cy="1219077"/>
          </a:xfrm>
          <a:prstGeom prst="rect">
            <a:avLst/>
          </a:prstGeom>
          <a:no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r>
              <a:rPr kumimoji="0" lang="en-US" sz="8797" b="0" i="0" u="none" strike="noStrike" kern="0" cap="none" spc="0" normalizeH="0" baseline="0" noProof="0">
                <a:ln>
                  <a:noFill/>
                </a:ln>
                <a:solidFill>
                  <a:schemeClr val="tx2"/>
                </a:solidFill>
                <a:effectLst/>
                <a:uLnTx/>
                <a:uFillTx/>
                <a:latin typeface="Arial" panose="020B0604020202020204" pitchFamily="34" charset="0"/>
                <a:ea typeface="Arial Unicode MS" pitchFamily="34" charset="-128"/>
                <a:cs typeface="Arial Unicode MS" pitchFamily="34" charset="-128"/>
              </a:rPr>
              <a:t>DRAFT</a:t>
            </a:r>
          </a:p>
        </p:txBody>
      </p:sp>
    </p:spTree>
    <p:extLst>
      <p:ext uri="{BB962C8B-B14F-4D97-AF65-F5344CB8AC3E}">
        <p14:creationId xmlns:p14="http://schemas.microsoft.com/office/powerpoint/2010/main" val="1928320310"/>
      </p:ext>
    </p:extLst>
  </p:cSld>
  <p:clrMap bg1="lt1" tx1="dk1" bg2="lt2" tx2="dk2" accent1="accent1" accent2="accent2" accent3="accent3" accent4="accent4" accent5="accent5" accent6="accent6" hlink="hlink" folHlink="folHlink"/>
  <p:sldLayoutIdLst>
    <p:sldLayoutId id="2147484263" r:id="rId1"/>
    <p:sldLayoutId id="2147484264" r:id="rId2"/>
    <p:sldLayoutId id="2147484265" r:id="rId3"/>
    <p:sldLayoutId id="2147484266" r:id="rId4"/>
    <p:sldLayoutId id="2147484267" r:id="rId5"/>
    <p:sldLayoutId id="2147484268" r:id="rId6"/>
    <p:sldLayoutId id="2147484269" r:id="rId7"/>
    <p:sldLayoutId id="2147484270" r:id="rId8"/>
    <p:sldLayoutId id="2147484271" r:id="rId9"/>
    <p:sldLayoutId id="2147484272" r:id="rId10"/>
    <p:sldLayoutId id="2147484273" r:id="rId11"/>
    <p:sldLayoutId id="2147484274" r:id="rId12"/>
    <p:sldLayoutId id="2147484275" r:id="rId13"/>
    <p:sldLayoutId id="2147484276" r:id="rId14"/>
    <p:sldLayoutId id="2147484277" r:id="rId15"/>
    <p:sldLayoutId id="2147484278" r:id="rId16"/>
    <p:sldLayoutId id="2147484279" r:id="rId17"/>
    <p:sldLayoutId id="2147484280" r:id="rId18"/>
    <p:sldLayoutId id="2147484281" r:id="rId19"/>
    <p:sldLayoutId id="2147484282" r:id="rId20"/>
    <p:sldLayoutId id="2147484283" r:id="rId21"/>
    <p:sldLayoutId id="2147484284" r:id="rId22"/>
    <p:sldLayoutId id="2147484285" r:id="rId23"/>
    <p:sldLayoutId id="2147484286"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88231" rtl="0" eaLnBrk="1" latinLnBrk="0" hangingPunct="1">
        <a:spcBef>
          <a:spcPct val="0"/>
        </a:spcBef>
        <a:buNone/>
        <a:defRPr sz="2399" b="1" i="0" kern="1200" baseline="0">
          <a:solidFill>
            <a:schemeClr val="tx1"/>
          </a:solidFill>
          <a:latin typeface="Arial" panose="020B0604020202020204" pitchFamily="34" charset="0"/>
          <a:ea typeface="+mj-ea"/>
          <a:cs typeface="+mj-cs"/>
        </a:defRPr>
      </a:lvl1pPr>
    </p:titleStyle>
    <p:bodyStyle>
      <a:lvl1pPr marL="0" indent="0" algn="l" defTabSz="1088231" rtl="0" eaLnBrk="1" latinLnBrk="0" hangingPunct="1">
        <a:spcBef>
          <a:spcPts val="1799"/>
        </a:spcBef>
        <a:buClr>
          <a:schemeClr val="accent1"/>
        </a:buClr>
        <a:buSzPct val="80000"/>
        <a:buFontTx/>
        <a:buNone/>
        <a:defRPr sz="1999" b="0" i="0" kern="1200">
          <a:solidFill>
            <a:schemeClr val="tx1"/>
          </a:solidFill>
          <a:latin typeface="Arial" panose="020B0604020202020204" pitchFamily="34" charset="0"/>
          <a:ea typeface="+mn-ea"/>
          <a:cs typeface="+mn-cs"/>
        </a:defRPr>
      </a:lvl1pPr>
      <a:lvl2pPr marL="179910" indent="-179910" algn="l" defTabSz="1088231" rtl="0" eaLnBrk="1" latinLnBrk="0" hangingPunct="1">
        <a:spcBef>
          <a:spcPts val="600"/>
        </a:spcBef>
        <a:buClr>
          <a:schemeClr val="tx1"/>
        </a:buClr>
        <a:buSzPct val="100000"/>
        <a:buFont typeface="Wingdings" pitchFamily="2" charset="2"/>
        <a:buChar char="§"/>
        <a:defRPr sz="1799" b="0" i="0" kern="1200">
          <a:solidFill>
            <a:schemeClr val="tx1"/>
          </a:solidFill>
          <a:latin typeface="Arial" panose="020B0604020202020204" pitchFamily="34" charset="0"/>
          <a:ea typeface="+mn-ea"/>
          <a:cs typeface="+mn-cs"/>
        </a:defRPr>
      </a:lvl2pPr>
      <a:lvl3pPr marL="358667" indent="-179334" algn="l" defTabSz="1088231" rtl="0" eaLnBrk="1" latinLnBrk="0" hangingPunct="1">
        <a:spcBef>
          <a:spcPts val="300"/>
        </a:spcBef>
        <a:buClr>
          <a:schemeClr val="tx1"/>
        </a:buClr>
        <a:buSzPct val="100000"/>
        <a:buFont typeface="Arial" panose="020B0604020202020204" pitchFamily="34" charset="0"/>
        <a:buChar char="–"/>
        <a:defRPr lang="en-US" sz="1799" b="0" i="0" kern="1200" noProof="0" dirty="0" smtClean="0">
          <a:solidFill>
            <a:schemeClr val="tx1"/>
          </a:solidFill>
          <a:latin typeface="Arial" panose="020B0604020202020204" pitchFamily="34" charset="0"/>
          <a:ea typeface="+mn-ea"/>
          <a:cs typeface="+mn-cs"/>
        </a:defRPr>
      </a:lvl3pPr>
      <a:lvl4pPr marL="539730" indent="-179910" algn="l" defTabSz="1088231" rtl="0" eaLnBrk="1" latinLnBrk="0" hangingPunct="1">
        <a:spcBef>
          <a:spcPts val="300"/>
        </a:spcBef>
        <a:buClr>
          <a:schemeClr val="tx1"/>
        </a:buClr>
        <a:buSzPct val="120000"/>
        <a:buFont typeface="Arial" pitchFamily="34" charset="0"/>
        <a:buChar char="▫"/>
        <a:defRPr sz="1600" b="0" i="0" kern="1200">
          <a:solidFill>
            <a:schemeClr val="tx1"/>
          </a:solidFill>
          <a:latin typeface="Arial" panose="020B0604020202020204" pitchFamily="34" charset="0"/>
          <a:ea typeface="+mn-ea"/>
          <a:cs typeface="+mn-cs"/>
        </a:defRPr>
      </a:lvl4pPr>
      <a:lvl5pPr marL="719640" indent="-179910" algn="l" defTabSz="1088231"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Arial" panose="020B0604020202020204" pitchFamily="34" charset="0"/>
          <a:ea typeface="+mn-ea"/>
          <a:cs typeface="+mn-cs"/>
        </a:defRPr>
      </a:lvl5pPr>
      <a:lvl6pPr marL="2992637"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753"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868"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985"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9pPr>
    </p:bodyStyle>
    <p:otherStyle>
      <a:defPPr>
        <a:defRPr lang="de-DE"/>
      </a:defPPr>
      <a:lvl1pPr marL="0" algn="l" defTabSz="1088231" rtl="0" eaLnBrk="1" latinLnBrk="0" hangingPunct="1">
        <a:defRPr sz="2099" kern="1200">
          <a:solidFill>
            <a:schemeClr val="tx1"/>
          </a:solidFill>
          <a:latin typeface="+mn-lt"/>
          <a:ea typeface="+mn-ea"/>
          <a:cs typeface="+mn-cs"/>
        </a:defRPr>
      </a:lvl1pPr>
      <a:lvl2pPr marL="544116" algn="l" defTabSz="1088231" rtl="0" eaLnBrk="1" latinLnBrk="0" hangingPunct="1">
        <a:defRPr sz="2099" kern="1200">
          <a:solidFill>
            <a:schemeClr val="tx1"/>
          </a:solidFill>
          <a:latin typeface="+mn-lt"/>
          <a:ea typeface="+mn-ea"/>
          <a:cs typeface="+mn-cs"/>
        </a:defRPr>
      </a:lvl2pPr>
      <a:lvl3pPr marL="1088231" algn="l" defTabSz="1088231" rtl="0" eaLnBrk="1" latinLnBrk="0" hangingPunct="1">
        <a:defRPr sz="2099" kern="1200">
          <a:solidFill>
            <a:schemeClr val="tx1"/>
          </a:solidFill>
          <a:latin typeface="+mn-lt"/>
          <a:ea typeface="+mn-ea"/>
          <a:cs typeface="+mn-cs"/>
        </a:defRPr>
      </a:lvl3pPr>
      <a:lvl4pPr marL="1632347" algn="l" defTabSz="1088231" rtl="0" eaLnBrk="1" latinLnBrk="0" hangingPunct="1">
        <a:defRPr sz="2099" kern="1200">
          <a:solidFill>
            <a:schemeClr val="tx1"/>
          </a:solidFill>
          <a:latin typeface="+mn-lt"/>
          <a:ea typeface="+mn-ea"/>
          <a:cs typeface="+mn-cs"/>
        </a:defRPr>
      </a:lvl4pPr>
      <a:lvl5pPr marL="2176463" algn="l" defTabSz="1088231" rtl="0" eaLnBrk="1" latinLnBrk="0" hangingPunct="1">
        <a:defRPr sz="2099" kern="1200">
          <a:solidFill>
            <a:schemeClr val="tx1"/>
          </a:solidFill>
          <a:latin typeface="+mn-lt"/>
          <a:ea typeface="+mn-ea"/>
          <a:cs typeface="+mn-cs"/>
        </a:defRPr>
      </a:lvl5pPr>
      <a:lvl6pPr marL="2720580" algn="l" defTabSz="1088231" rtl="0" eaLnBrk="1" latinLnBrk="0" hangingPunct="1">
        <a:defRPr sz="2099" kern="1200">
          <a:solidFill>
            <a:schemeClr val="tx1"/>
          </a:solidFill>
          <a:latin typeface="+mn-lt"/>
          <a:ea typeface="+mn-ea"/>
          <a:cs typeface="+mn-cs"/>
        </a:defRPr>
      </a:lvl6pPr>
      <a:lvl7pPr marL="3264695" algn="l" defTabSz="1088231" rtl="0" eaLnBrk="1" latinLnBrk="0" hangingPunct="1">
        <a:defRPr sz="2099" kern="1200">
          <a:solidFill>
            <a:schemeClr val="tx1"/>
          </a:solidFill>
          <a:latin typeface="+mn-lt"/>
          <a:ea typeface="+mn-ea"/>
          <a:cs typeface="+mn-cs"/>
        </a:defRPr>
      </a:lvl7pPr>
      <a:lvl8pPr marL="3808811" algn="l" defTabSz="1088231" rtl="0" eaLnBrk="1" latinLnBrk="0" hangingPunct="1">
        <a:defRPr sz="2099" kern="1200">
          <a:solidFill>
            <a:schemeClr val="tx1"/>
          </a:solidFill>
          <a:latin typeface="+mn-lt"/>
          <a:ea typeface="+mn-ea"/>
          <a:cs typeface="+mn-cs"/>
        </a:defRPr>
      </a:lvl8pPr>
      <a:lvl9pPr marL="4352927" algn="l" defTabSz="1088231" rtl="0" eaLnBrk="1" latinLnBrk="0" hangingPunct="1">
        <a:defRPr sz="20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1" name="30 Rectángulo"/>
          <p:cNvSpPr/>
          <p:nvPr userDrawn="1"/>
        </p:nvSpPr>
        <p:spPr bwMode="auto">
          <a:xfrm>
            <a:off x="0" y="6574096"/>
            <a:ext cx="12192000" cy="283905"/>
          </a:xfrm>
          <a:prstGeom prst="rect">
            <a:avLst/>
          </a:prstGeom>
          <a:solidFill>
            <a:schemeClr val="accent4"/>
          </a:solidFill>
          <a:ln w="9525">
            <a:noFill/>
            <a:round/>
            <a:headEnd/>
            <a:tailEnd/>
          </a:ln>
        </p:spPr>
        <p:txBody>
          <a:bodyPr vert="horz" wrap="square" lIns="91440" tIns="45720" rIns="91440" bIns="45720" numCol="1" rtlCol="0" anchor="t" anchorCtr="0" compatLnSpc="1">
            <a:prstTxWarp prst="textNoShape">
              <a:avLst/>
            </a:prstTxWarp>
            <a:noAutofit/>
          </a:bodyPr>
          <a:lstStyle/>
          <a:p>
            <a:pPr algn="ctr"/>
            <a:endParaRPr lang="es-ES" sz="1800" noProof="0"/>
          </a:p>
        </p:txBody>
      </p:sp>
      <p:sp>
        <p:nvSpPr>
          <p:cNvPr id="34" name="33 Marcador de número de diapositiva"/>
          <p:cNvSpPr>
            <a:spLocks noGrp="1"/>
          </p:cNvSpPr>
          <p:nvPr>
            <p:ph type="sldNum" sz="quarter" idx="4"/>
          </p:nvPr>
        </p:nvSpPr>
        <p:spPr>
          <a:xfrm>
            <a:off x="11394192" y="6654125"/>
            <a:ext cx="485564" cy="123111"/>
          </a:xfrm>
          <a:prstGeom prst="rect">
            <a:avLst/>
          </a:prstGeom>
          <a:noFill/>
        </p:spPr>
        <p:txBody>
          <a:bodyPr wrap="none" lIns="72000" tIns="0" rIns="72000" bIns="0">
            <a:spAutoFit/>
          </a:bodyPr>
          <a:lstStyle>
            <a:lvl1pPr algn="r">
              <a:defRPr lang="es-ES" sz="800" b="0" spc="300" smtClean="0">
                <a:solidFill>
                  <a:schemeClr val="accent2">
                    <a:lumMod val="75000"/>
                    <a:alpha val="60000"/>
                  </a:schemeClr>
                </a:solidFill>
                <a:latin typeface="Arial Normal" charset="0"/>
                <a:ea typeface="Arial Normal" charset="0"/>
                <a:cs typeface="Arial Normal" charset="0"/>
              </a:defRPr>
            </a:lvl1pPr>
          </a:lstStyle>
          <a:p>
            <a:pPr marL="7938" fontAlgn="base">
              <a:spcAft>
                <a:spcPct val="0"/>
              </a:spcAft>
              <a:buClr>
                <a:srgbClr val="505150"/>
              </a:buClr>
              <a:buSzPct val="88000"/>
            </a:pPr>
            <a:fld id="{B90C96D8-0395-4AF3-8A78-0E88AEC6FB3C}" type="slidenum">
              <a:rPr lang="es-ES" smtClean="0"/>
              <a:pPr marL="7938" fontAlgn="base">
                <a:spcAft>
                  <a:spcPct val="0"/>
                </a:spcAft>
                <a:buClr>
                  <a:srgbClr val="505150"/>
                </a:buClr>
                <a:buSzPct val="88000"/>
              </a:pPr>
              <a:t>‹Nº›</a:t>
            </a:fld>
            <a:endParaRPr lang="es-ES"/>
          </a:p>
        </p:txBody>
      </p:sp>
      <p:sp>
        <p:nvSpPr>
          <p:cNvPr id="6" name="5 Rectángulo"/>
          <p:cNvSpPr/>
          <p:nvPr userDrawn="1"/>
        </p:nvSpPr>
        <p:spPr>
          <a:xfrm>
            <a:off x="141825" y="6654125"/>
            <a:ext cx="3374175" cy="123111"/>
          </a:xfrm>
          <a:prstGeom prst="rect">
            <a:avLst/>
          </a:prstGeom>
          <a:noFill/>
        </p:spPr>
        <p:txBody>
          <a:bodyPr wrap="none" lIns="72000" tIns="0" rIns="72000" bIns="0">
            <a:spAutoFit/>
          </a:bodyPr>
          <a:lstStyle/>
          <a:p>
            <a:pPr marL="7938" lvl="0" indent="0" algn="l" defTabSz="914400" rtl="0" eaLnBrk="1" fontAlgn="base" latinLnBrk="0" hangingPunct="1">
              <a:spcAft>
                <a:spcPct val="0"/>
              </a:spcAft>
              <a:buClr>
                <a:srgbClr val="505150"/>
              </a:buClr>
              <a:buSzPct val="88000"/>
              <a:tabLst/>
              <a:defRPr/>
            </a:pPr>
            <a:r>
              <a:rPr lang="es-ES" sz="800" b="0" kern="1200" spc="300" noProof="0">
                <a:solidFill>
                  <a:schemeClr val="accent2">
                    <a:lumMod val="75000"/>
                    <a:alpha val="60000"/>
                  </a:schemeClr>
                </a:solidFill>
                <a:latin typeface="Arial Normal" charset="0"/>
                <a:ea typeface="Arial Normal" charset="0"/>
                <a:cs typeface="Arial Normal" charset="0"/>
                <a:sym typeface="Droid Sans" charset="0"/>
              </a:rPr>
              <a:t>Propuesta de Colaboración Profesional</a:t>
            </a:r>
          </a:p>
        </p:txBody>
      </p:sp>
      <p:sp>
        <p:nvSpPr>
          <p:cNvPr id="7" name="6 Marcador de título"/>
          <p:cNvSpPr>
            <a:spLocks noGrp="1"/>
          </p:cNvSpPr>
          <p:nvPr>
            <p:ph type="title"/>
          </p:nvPr>
        </p:nvSpPr>
        <p:spPr>
          <a:xfrm>
            <a:off x="1235961" y="254834"/>
            <a:ext cx="8936800" cy="708514"/>
          </a:xfrm>
          <a:prstGeom prst="rect">
            <a:avLst/>
          </a:prstGeom>
        </p:spPr>
        <p:txBody>
          <a:bodyPr anchor="ctr">
            <a:noAutofit/>
          </a:bodyPr>
          <a:lstStyle/>
          <a:p>
            <a:pPr lvl="0"/>
            <a:r>
              <a:rPr lang="es-ES" noProof="0"/>
              <a:t>Haga clic para modificar el estilo de título del patrón</a:t>
            </a:r>
          </a:p>
        </p:txBody>
      </p:sp>
      <p:sp>
        <p:nvSpPr>
          <p:cNvPr id="15" name="14 Marcador de texto"/>
          <p:cNvSpPr>
            <a:spLocks noGrp="1"/>
          </p:cNvSpPr>
          <p:nvPr>
            <p:ph type="body" idx="1"/>
          </p:nvPr>
        </p:nvSpPr>
        <p:spPr>
          <a:xfrm>
            <a:off x="412671" y="1300036"/>
            <a:ext cx="11366658" cy="5193294"/>
          </a:xfrm>
          <a:prstGeom prst="rect">
            <a:avLst/>
          </a:prstGeom>
        </p:spPr>
        <p:txBody>
          <a:bodyPr vert="horz" lIns="0" tIns="0" rIns="0" bIns="0" rtlCol="0">
            <a:noAutofit/>
          </a:bodyPr>
          <a:lstStyle/>
          <a:p>
            <a:pPr lvl="0"/>
            <a:r>
              <a:rPr lang="es-ES" noProof="0" err="1"/>
              <a:t>Txto</a:t>
            </a:r>
            <a:endParaRPr lang="es-ES" noProof="0"/>
          </a:p>
          <a:p>
            <a:pPr lvl="1"/>
            <a:r>
              <a:rPr lang="es-ES" noProof="0" err="1"/>
              <a:t>Bullet</a:t>
            </a:r>
            <a:endParaRPr lang="es-ES" noProof="0"/>
          </a:p>
          <a:p>
            <a:pPr lvl="2"/>
            <a:r>
              <a:rPr lang="es-ES" noProof="0"/>
              <a:t>Punto 1</a:t>
            </a:r>
          </a:p>
          <a:p>
            <a:pPr lvl="3"/>
            <a:r>
              <a:rPr lang="es-ES" noProof="0" err="1"/>
              <a:t>Subpunto</a:t>
            </a:r>
            <a:endParaRPr lang="es-ES" noProof="0"/>
          </a:p>
          <a:p>
            <a:pPr marL="846138" marR="0" lvl="4" indent="-158750" algn="l" defTabSz="914400" rtl="0" eaLnBrk="1" fontAlgn="auto" latinLnBrk="0" hangingPunct="1">
              <a:lnSpc>
                <a:spcPct val="100000"/>
              </a:lnSpc>
              <a:spcBef>
                <a:spcPts val="0"/>
              </a:spcBef>
              <a:spcAft>
                <a:spcPts val="200"/>
              </a:spcAft>
              <a:buClr>
                <a:schemeClr val="accent1">
                  <a:lumMod val="90000"/>
                </a:schemeClr>
              </a:buClr>
              <a:buSzTx/>
              <a:buFont typeface="Arial" pitchFamily="34" charset="0"/>
              <a:buChar char="•"/>
              <a:tabLst/>
              <a:defRPr/>
            </a:pPr>
            <a:r>
              <a:rPr lang="es-ES" noProof="0"/>
              <a:t>- …</a:t>
            </a:r>
          </a:p>
        </p:txBody>
      </p:sp>
      <p:cxnSp>
        <p:nvCxnSpPr>
          <p:cNvPr id="21" name="11 Conector recto"/>
          <p:cNvCxnSpPr/>
          <p:nvPr userDrawn="1"/>
        </p:nvCxnSpPr>
        <p:spPr>
          <a:xfrm>
            <a:off x="0" y="1178910"/>
            <a:ext cx="1219200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7" name="AutoShape 2"/>
          <p:cNvSpPr>
            <a:spLocks/>
          </p:cNvSpPr>
          <p:nvPr userDrawn="1"/>
        </p:nvSpPr>
        <p:spPr bwMode="auto">
          <a:xfrm>
            <a:off x="171329" y="181382"/>
            <a:ext cx="974879" cy="857242"/>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noFill/>
          <a:ln w="15875">
            <a:solidFill>
              <a:schemeClr val="accent1"/>
            </a:solidFill>
          </a:ln>
        </p:spPr>
        <p:txBody>
          <a:bodyPr lIns="0" tIns="0" rIns="0" bIns="0" anchor="ctr"/>
          <a:lstStyle/>
          <a:p>
            <a:pPr algn="ctr"/>
            <a:endParaRPr lang="en-US" sz="1600">
              <a:latin typeface="Titillium" charset="0"/>
              <a:ea typeface="Titillium" charset="0"/>
              <a:cs typeface="Titillium" charset="0"/>
            </a:endParaRPr>
          </a:p>
        </p:txBody>
      </p:sp>
      <p:pic>
        <p:nvPicPr>
          <p:cNvPr id="18" name="Imagen 17"/>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10367925" y="136073"/>
            <a:ext cx="1511577" cy="284543"/>
          </a:xfrm>
          <a:prstGeom prst="rect">
            <a:avLst/>
          </a:prstGeom>
        </p:spPr>
      </p:pic>
      <p:pic>
        <p:nvPicPr>
          <p:cNvPr id="13" name="Picture 2" descr="Resultado de imagen de logo acciona energia">
            <a:extLst>
              <a:ext uri="{FF2B5EF4-FFF2-40B4-BE49-F238E27FC236}">
                <a16:creationId xmlns:a16="http://schemas.microsoft.com/office/drawing/2014/main" id="{97ACD89D-FEE9-45C2-B40E-89F8ED40D4E1}"/>
              </a:ext>
            </a:extLst>
          </p:cNvPr>
          <p:cNvPicPr>
            <a:picLocks noChangeAspect="1" noChangeArrowheads="1"/>
          </p:cNvPicPr>
          <p:nvPr userDrawn="1"/>
        </p:nvPicPr>
        <p:blipFill rotWithShape="1">
          <a:blip r:embed="rId17" cstate="screen">
            <a:extLst>
              <a:ext uri="{28A0092B-C50C-407E-A947-70E740481C1C}">
                <a14:useLocalDpi xmlns:a14="http://schemas.microsoft.com/office/drawing/2010/main"/>
              </a:ext>
            </a:extLst>
          </a:blip>
          <a:srcRect t="18760" b="17864"/>
          <a:stretch/>
        </p:blipFill>
        <p:spPr bwMode="auto">
          <a:xfrm>
            <a:off x="10267350" y="421646"/>
            <a:ext cx="1753322" cy="5417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3486373"/>
      </p:ext>
    </p:extLst>
  </p:cSld>
  <p:clrMap bg1="lt1" tx1="dk1" bg2="lt2" tx2="dk2" accent1="accent1" accent2="accent2" accent3="accent3" accent4="accent4" accent5="accent5" accent6="accent6" hlink="hlink" folHlink="folHlink"/>
  <p:sldLayoutIdLst>
    <p:sldLayoutId id="2147484053" r:id="rId1"/>
    <p:sldLayoutId id="2147484054" r:id="rId2"/>
    <p:sldLayoutId id="2147484055" r:id="rId3"/>
    <p:sldLayoutId id="2147484056" r:id="rId4"/>
    <p:sldLayoutId id="2147484057" r:id="rId5"/>
    <p:sldLayoutId id="2147484058" r:id="rId6"/>
    <p:sldLayoutId id="2147484059" r:id="rId7"/>
    <p:sldLayoutId id="2147484060" r:id="rId8"/>
    <p:sldLayoutId id="2147484061" r:id="rId9"/>
    <p:sldLayoutId id="2147484062" r:id="rId10"/>
    <p:sldLayoutId id="2147484063" r:id="rId11"/>
    <p:sldLayoutId id="2147484064" r:id="rId12"/>
    <p:sldLayoutId id="2147484065" r:id="rId13"/>
    <p:sldLayoutId id="2147484066" r:id="rId14"/>
  </p:sldLayoutIdLst>
  <p:transition spd="slow"/>
  <p:hf hdr="0" ftr="0" dt="0"/>
  <p:txStyles>
    <p:titleStyle>
      <a:lvl1pPr marL="0" algn="l" defTabSz="914400" rtl="0" eaLnBrk="1" fontAlgn="base" latinLnBrk="0" hangingPunct="1">
        <a:spcBef>
          <a:spcPct val="0"/>
        </a:spcBef>
        <a:spcAft>
          <a:spcPct val="0"/>
        </a:spcAft>
        <a:buClr>
          <a:srgbClr val="505150"/>
        </a:buClr>
        <a:buSzPct val="88000"/>
        <a:buNone/>
        <a:defRPr lang="es-ES" sz="2000" kern="1200" noProof="0" dirty="0">
          <a:solidFill>
            <a:schemeClr val="tx1"/>
          </a:solidFill>
          <a:latin typeface="+mj-lt"/>
          <a:ea typeface="+mn-ea"/>
          <a:cs typeface="Droid Sans" charset="0"/>
          <a:sym typeface="Droid Sans" charset="0"/>
        </a:defRPr>
      </a:lvl1pPr>
    </p:titleStyle>
    <p:bodyStyle>
      <a:lvl1pPr marL="0" indent="0" algn="l" defTabSz="914400" rtl="0" eaLnBrk="1" latinLnBrk="0" hangingPunct="1">
        <a:spcBef>
          <a:spcPts val="600"/>
        </a:spcBef>
        <a:spcAft>
          <a:spcPts val="600"/>
        </a:spcAft>
        <a:buFont typeface="Arial" pitchFamily="34" charset="0"/>
        <a:buNone/>
        <a:defRPr kumimoji="0" lang="es-ES" sz="1100" b="0" i="0" u="none" strike="noStrike" kern="1200" cap="none" spc="0" normalizeH="0" baseline="0" noProof="0" dirty="0" smtClean="0">
          <a:ln>
            <a:noFill/>
          </a:ln>
          <a:solidFill>
            <a:schemeClr val="tx1"/>
          </a:solidFill>
          <a:effectLst/>
          <a:uLnTx/>
          <a:uFillTx/>
          <a:latin typeface="+mn-lt"/>
          <a:ea typeface="+mn-ea"/>
          <a:cs typeface="+mn-cs"/>
        </a:defRPr>
      </a:lvl1pPr>
      <a:lvl2pPr marL="223838" indent="-173038" algn="l" defTabSz="914400" rtl="0" eaLnBrk="1" latinLnBrk="0" hangingPunct="1">
        <a:spcBef>
          <a:spcPts val="600"/>
        </a:spcBef>
        <a:spcAft>
          <a:spcPts val="300"/>
        </a:spcAft>
        <a:buClr>
          <a:schemeClr val="accent1"/>
        </a:buClr>
        <a:buSzPct val="100000"/>
        <a:buFont typeface="Wingdings" charset="2"/>
        <a:buChar char="§"/>
        <a:tabLst/>
        <a:defRPr kumimoji="0" lang="es-ES" sz="1100" b="0" i="0" u="none" strike="noStrike" kern="1200" cap="none" spc="0" normalizeH="0" baseline="0" noProof="0" dirty="0" smtClean="0">
          <a:ln>
            <a:noFill/>
          </a:ln>
          <a:solidFill>
            <a:schemeClr val="tx1"/>
          </a:solidFill>
          <a:effectLst/>
          <a:uLnTx/>
          <a:uFillTx/>
          <a:latin typeface="+mn-lt"/>
          <a:ea typeface="+mn-ea"/>
          <a:cs typeface="+mn-cs"/>
        </a:defRPr>
      </a:lvl2pPr>
      <a:lvl3pPr marL="400050" indent="-125413" algn="l" defTabSz="914400" rtl="0" eaLnBrk="1" latinLnBrk="0" hangingPunct="1">
        <a:spcBef>
          <a:spcPts val="600"/>
        </a:spcBef>
        <a:spcAft>
          <a:spcPts val="0"/>
        </a:spcAft>
        <a:buClr>
          <a:schemeClr val="tx1"/>
        </a:buClr>
        <a:buFont typeface="Arial" charset="0"/>
        <a:buChar char="•"/>
        <a:tabLst/>
        <a:defRPr kumimoji="0" lang="es-ES" sz="1100" b="0" i="0" u="none" strike="noStrike" kern="1200" cap="none" spc="0" normalizeH="0" baseline="0" noProof="0" dirty="0" smtClean="0">
          <a:ln>
            <a:noFill/>
          </a:ln>
          <a:solidFill>
            <a:schemeClr val="tx1"/>
          </a:solidFill>
          <a:effectLst/>
          <a:uLnTx/>
          <a:uFillTx/>
          <a:latin typeface="+mn-lt"/>
          <a:ea typeface="+mn-ea"/>
          <a:cs typeface="+mn-cs"/>
        </a:defRPr>
      </a:lvl3pPr>
      <a:lvl4pPr marL="625475" indent="-144463" algn="l" defTabSz="914400" rtl="0" eaLnBrk="1" latinLnBrk="0" hangingPunct="1">
        <a:spcBef>
          <a:spcPts val="0"/>
        </a:spcBef>
        <a:spcAft>
          <a:spcPts val="200"/>
        </a:spcAft>
        <a:buClr>
          <a:schemeClr val="tx1"/>
        </a:buClr>
        <a:buFont typeface="Arial" pitchFamily="34" charset="0"/>
        <a:buChar char="•"/>
        <a:tabLst/>
        <a:defRPr kumimoji="0" lang="es-ES" sz="1100" b="0" i="0" u="none" strike="noStrike" kern="1200" cap="none" spc="0" normalizeH="0" baseline="0" noProof="0" dirty="0" smtClean="0">
          <a:ln>
            <a:noFill/>
          </a:ln>
          <a:solidFill>
            <a:schemeClr val="tx1"/>
          </a:solidFill>
          <a:effectLst/>
          <a:uLnTx/>
          <a:uFillTx/>
          <a:latin typeface="+mn-lt"/>
          <a:ea typeface="+mn-ea"/>
          <a:cs typeface="+mn-cs"/>
        </a:defRPr>
      </a:lvl4pPr>
      <a:lvl5pPr marL="546100" marR="0" indent="-139700" algn="l" defTabSz="914400" rtl="0" eaLnBrk="1" fontAlgn="auto" latinLnBrk="0" hangingPunct="1">
        <a:lnSpc>
          <a:spcPct val="100000"/>
        </a:lnSpc>
        <a:spcBef>
          <a:spcPts val="0"/>
        </a:spcBef>
        <a:spcAft>
          <a:spcPts val="200"/>
        </a:spcAft>
        <a:buClr>
          <a:srgbClr val="FF9900"/>
        </a:buClr>
        <a:buSzTx/>
        <a:buFont typeface="Arial" pitchFamily="34" charset="0"/>
        <a:buChar char="•"/>
        <a:tabLst/>
        <a:defRPr kumimoji="0" lang="es-ES" sz="1100" b="0" i="0" u="none" strike="noStrike" kern="1200" cap="none" spc="0" normalizeH="0" baseline="0" noProof="0" dirty="0" smtClean="0">
          <a:ln>
            <a:noFill/>
          </a:ln>
          <a:solidFill>
            <a:srgbClr val="494949"/>
          </a:solidFill>
          <a:effectLst/>
          <a:uLnTx/>
          <a:uFillTx/>
          <a:latin typeface="+mn-lt"/>
          <a:ea typeface="+mn-ea"/>
          <a:cs typeface="+mn-cs"/>
        </a:defRPr>
      </a:lvl5pPr>
      <a:lvl6pPr marL="858838" indent="-171450" algn="l" defTabSz="914400" rtl="0" eaLnBrk="1" latinLnBrk="0" hangingPunct="1">
        <a:spcBef>
          <a:spcPct val="20000"/>
        </a:spcBef>
        <a:buFontTx/>
        <a:buNone/>
        <a:tabLst/>
        <a:defRPr kumimoji="0" lang="es-ES" sz="1100" b="0" i="0" u="none" strike="noStrike" kern="1200" cap="none" spc="0" normalizeH="0" baseline="0" noProof="0" dirty="0" smtClean="0">
          <a:ln>
            <a:noFill/>
          </a:ln>
          <a:solidFill>
            <a:schemeClr val="tx1"/>
          </a:solidFill>
          <a:effectLst/>
          <a:uLnTx/>
          <a:uFillTx/>
          <a:latin typeface="+mn-lt"/>
          <a:ea typeface="+mn-ea"/>
          <a:cs typeface="+mn-cs"/>
        </a:defRPr>
      </a:lvl6pPr>
      <a:lvl7pPr marL="72000" indent="0" algn="l" defTabSz="914400" rtl="0" eaLnBrk="1" latinLnBrk="0" hangingPunct="1">
        <a:spcBef>
          <a:spcPct val="20000"/>
        </a:spcBef>
        <a:buFontTx/>
        <a:buNone/>
        <a:defRPr kumimoji="0" lang="en-US" sz="1200" b="0" i="0" u="none" strike="noStrike" kern="1200" cap="none" spc="0" normalizeH="0" baseline="0" noProof="0" dirty="0" smtClean="0">
          <a:ln>
            <a:noFill/>
          </a:ln>
          <a:solidFill>
            <a:schemeClr val="tx1">
              <a:lumMod val="65000"/>
              <a:lumOff val="35000"/>
            </a:schemeClr>
          </a:solidFill>
          <a:effectLst/>
          <a:uLnTx/>
          <a:uFillTx/>
          <a:latin typeface="Droid Sans" charset="0"/>
          <a:ea typeface="+mn-ea"/>
          <a:cs typeface="Droid Sans" charset="0"/>
          <a:sym typeface="Droid Sans" charset="0"/>
        </a:defRPr>
      </a:lvl7pPr>
      <a:lvl8pPr marL="72000" indent="0" algn="l" defTabSz="914400" rtl="0" eaLnBrk="1" latinLnBrk="0" hangingPunct="1">
        <a:spcBef>
          <a:spcPct val="20000"/>
        </a:spcBef>
        <a:buFontTx/>
        <a:buNone/>
        <a:defRPr sz="105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6 Marcador de título"/>
          <p:cNvSpPr>
            <a:spLocks noGrp="1"/>
          </p:cNvSpPr>
          <p:nvPr>
            <p:ph type="title"/>
          </p:nvPr>
        </p:nvSpPr>
        <p:spPr>
          <a:xfrm>
            <a:off x="1235961" y="254834"/>
            <a:ext cx="8936800" cy="708514"/>
          </a:xfrm>
          <a:prstGeom prst="rect">
            <a:avLst/>
          </a:prstGeom>
        </p:spPr>
        <p:txBody>
          <a:bodyPr anchor="ctr">
            <a:noAutofit/>
          </a:bodyPr>
          <a:lstStyle/>
          <a:p>
            <a:pPr lvl="0"/>
            <a:r>
              <a:rPr lang="es-ES" noProof="0"/>
              <a:t>Haga clic para modificar el estilo de título del patrón</a:t>
            </a:r>
          </a:p>
        </p:txBody>
      </p:sp>
      <p:sp>
        <p:nvSpPr>
          <p:cNvPr id="15" name="14 Marcador de texto"/>
          <p:cNvSpPr>
            <a:spLocks noGrp="1"/>
          </p:cNvSpPr>
          <p:nvPr>
            <p:ph type="body" idx="1"/>
          </p:nvPr>
        </p:nvSpPr>
        <p:spPr>
          <a:xfrm>
            <a:off x="412671" y="1300036"/>
            <a:ext cx="11366658" cy="5193294"/>
          </a:xfrm>
          <a:prstGeom prst="rect">
            <a:avLst/>
          </a:prstGeom>
        </p:spPr>
        <p:txBody>
          <a:bodyPr vert="horz" lIns="0" tIns="0" rIns="0" bIns="0" rtlCol="0">
            <a:noAutofit/>
          </a:bodyPr>
          <a:lstStyle/>
          <a:p>
            <a:pPr lvl="0"/>
            <a:r>
              <a:rPr lang="es-ES" noProof="0" err="1"/>
              <a:t>Txto</a:t>
            </a:r>
            <a:endParaRPr lang="es-ES" noProof="0"/>
          </a:p>
          <a:p>
            <a:pPr lvl="1"/>
            <a:r>
              <a:rPr lang="es-ES" noProof="0" err="1"/>
              <a:t>Bullet</a:t>
            </a:r>
            <a:endParaRPr lang="es-ES" noProof="0"/>
          </a:p>
          <a:p>
            <a:pPr lvl="2"/>
            <a:r>
              <a:rPr lang="es-ES" noProof="0"/>
              <a:t>Punto 1</a:t>
            </a:r>
          </a:p>
          <a:p>
            <a:pPr lvl="3"/>
            <a:r>
              <a:rPr lang="es-ES" noProof="0" err="1"/>
              <a:t>Subpunto</a:t>
            </a:r>
            <a:endParaRPr lang="es-ES" noProof="0"/>
          </a:p>
          <a:p>
            <a:pPr marL="1041452" marR="0" lvl="4" indent="-195394" algn="l" defTabSz="1125472" rtl="0" eaLnBrk="1" fontAlgn="auto" latinLnBrk="0" hangingPunct="1">
              <a:lnSpc>
                <a:spcPct val="100000"/>
              </a:lnSpc>
              <a:spcBef>
                <a:spcPts val="0"/>
              </a:spcBef>
              <a:spcAft>
                <a:spcPts val="246"/>
              </a:spcAft>
              <a:buClr>
                <a:schemeClr val="accent1">
                  <a:lumMod val="90000"/>
                </a:schemeClr>
              </a:buClr>
              <a:buSzTx/>
              <a:buFont typeface="Arial" pitchFamily="34" charset="0"/>
              <a:buChar char="•"/>
              <a:tabLst/>
              <a:defRPr/>
            </a:pPr>
            <a:r>
              <a:rPr lang="es-ES" noProof="0"/>
              <a:t>- …</a:t>
            </a:r>
          </a:p>
        </p:txBody>
      </p:sp>
    </p:spTree>
    <p:extLst>
      <p:ext uri="{BB962C8B-B14F-4D97-AF65-F5344CB8AC3E}">
        <p14:creationId xmlns:p14="http://schemas.microsoft.com/office/powerpoint/2010/main" val="2991089275"/>
      </p:ext>
    </p:extLst>
  </p:cSld>
  <p:clrMap bg1="lt1" tx1="dk1" bg2="lt2" tx2="dk2" accent1="accent1" accent2="accent2" accent3="accent3" accent4="accent4" accent5="accent5" accent6="accent6" hlink="hlink" folHlink="folHlink"/>
  <p:sldLayoutIdLst>
    <p:sldLayoutId id="2147484070" r:id="rId1"/>
    <p:sldLayoutId id="2147484071" r:id="rId2"/>
    <p:sldLayoutId id="2147484072" r:id="rId3"/>
    <p:sldLayoutId id="2147484073" r:id="rId4"/>
    <p:sldLayoutId id="2147484074" r:id="rId5"/>
    <p:sldLayoutId id="2147484075" r:id="rId6"/>
    <p:sldLayoutId id="2147484076" r:id="rId7"/>
    <p:sldLayoutId id="2147484077" r:id="rId8"/>
    <p:sldLayoutId id="2147484078" r:id="rId9"/>
    <p:sldLayoutId id="2147484079" r:id="rId10"/>
    <p:sldLayoutId id="2147484080" r:id="rId11"/>
    <p:sldLayoutId id="2147484081" r:id="rId12"/>
    <p:sldLayoutId id="2147484082" r:id="rId13"/>
    <p:sldLayoutId id="2147484083" r:id="rId14"/>
    <p:sldLayoutId id="2147484084" r:id="rId15"/>
    <p:sldLayoutId id="2147484085" r:id="rId16"/>
  </p:sldLayoutIdLst>
  <p:transition spd="slow"/>
  <p:hf hdr="0" ftr="0" dt="0"/>
  <p:txStyles>
    <p:titleStyle>
      <a:lvl1pPr marL="0" algn="l" defTabSz="1125472" rtl="0" eaLnBrk="1" fontAlgn="base" latinLnBrk="0" hangingPunct="1">
        <a:spcBef>
          <a:spcPct val="0"/>
        </a:spcBef>
        <a:spcAft>
          <a:spcPct val="0"/>
        </a:spcAft>
        <a:buClr>
          <a:srgbClr val="505150"/>
        </a:buClr>
        <a:buSzPct val="88000"/>
        <a:buNone/>
        <a:defRPr lang="es-ES" sz="2462" kern="1200" noProof="0" dirty="0">
          <a:solidFill>
            <a:schemeClr val="tx1"/>
          </a:solidFill>
          <a:latin typeface="+mj-lt"/>
          <a:ea typeface="+mn-ea"/>
          <a:cs typeface="Droid Sans" charset="0"/>
          <a:sym typeface="Droid Sans" charset="0"/>
        </a:defRPr>
      </a:lvl1pPr>
    </p:titleStyle>
    <p:bodyStyle>
      <a:lvl1pPr marL="0" indent="0" algn="l" defTabSz="1125472" rtl="0" eaLnBrk="1" latinLnBrk="0" hangingPunct="1">
        <a:spcBef>
          <a:spcPts val="738"/>
        </a:spcBef>
        <a:spcAft>
          <a:spcPts val="738"/>
        </a:spcAft>
        <a:buFont typeface="Arial" pitchFamily="34" charset="0"/>
        <a:buNone/>
        <a:defRPr kumimoji="0" lang="es-ES" sz="1354" b="0" i="0" u="none" strike="noStrike" kern="1200" cap="none" spc="0" normalizeH="0" baseline="0" noProof="0" dirty="0" smtClean="0">
          <a:ln>
            <a:noFill/>
          </a:ln>
          <a:solidFill>
            <a:schemeClr val="tx1"/>
          </a:solidFill>
          <a:effectLst/>
          <a:uLnTx/>
          <a:uFillTx/>
          <a:latin typeface="+mn-lt"/>
          <a:ea typeface="+mn-ea"/>
          <a:cs typeface="+mn-cs"/>
        </a:defRPr>
      </a:lvl1pPr>
      <a:lvl2pPr marL="275507" indent="-212980" algn="l" defTabSz="1125472" rtl="0" eaLnBrk="1" latinLnBrk="0" hangingPunct="1">
        <a:spcBef>
          <a:spcPts val="738"/>
        </a:spcBef>
        <a:spcAft>
          <a:spcPts val="369"/>
        </a:spcAft>
        <a:buClr>
          <a:schemeClr val="accent1"/>
        </a:buClr>
        <a:buSzPct val="100000"/>
        <a:buFont typeface="Wingdings" charset="2"/>
        <a:buChar char="§"/>
        <a:tabLst/>
        <a:defRPr kumimoji="0" lang="es-ES" sz="1354" b="0" i="0" u="none" strike="noStrike" kern="1200" cap="none" spc="0" normalizeH="0" baseline="0" noProof="0" dirty="0" smtClean="0">
          <a:ln>
            <a:noFill/>
          </a:ln>
          <a:solidFill>
            <a:schemeClr val="tx1"/>
          </a:solidFill>
          <a:effectLst/>
          <a:uLnTx/>
          <a:uFillTx/>
          <a:latin typeface="+mn-lt"/>
          <a:ea typeface="+mn-ea"/>
          <a:cs typeface="+mn-cs"/>
        </a:defRPr>
      </a:lvl2pPr>
      <a:lvl3pPr marL="492394" indent="-154362" algn="l" defTabSz="1125472" rtl="0" eaLnBrk="1" latinLnBrk="0" hangingPunct="1">
        <a:spcBef>
          <a:spcPts val="738"/>
        </a:spcBef>
        <a:spcAft>
          <a:spcPts val="0"/>
        </a:spcAft>
        <a:buClr>
          <a:schemeClr val="tx1"/>
        </a:buClr>
        <a:buFont typeface="Arial" charset="0"/>
        <a:buChar char="•"/>
        <a:tabLst/>
        <a:defRPr kumimoji="0" lang="es-ES" sz="1354" b="0" i="0" u="none" strike="noStrike" kern="1200" cap="none" spc="0" normalizeH="0" baseline="0" noProof="0" dirty="0" smtClean="0">
          <a:ln>
            <a:noFill/>
          </a:ln>
          <a:solidFill>
            <a:schemeClr val="tx1"/>
          </a:solidFill>
          <a:effectLst/>
          <a:uLnTx/>
          <a:uFillTx/>
          <a:latin typeface="+mn-lt"/>
          <a:ea typeface="+mn-ea"/>
          <a:cs typeface="+mn-cs"/>
        </a:defRPr>
      </a:lvl3pPr>
      <a:lvl4pPr marL="769854" indent="-177810" algn="l" defTabSz="1125472" rtl="0" eaLnBrk="1" latinLnBrk="0" hangingPunct="1">
        <a:spcBef>
          <a:spcPts val="0"/>
        </a:spcBef>
        <a:spcAft>
          <a:spcPts val="246"/>
        </a:spcAft>
        <a:buClr>
          <a:schemeClr val="tx1"/>
        </a:buClr>
        <a:buFont typeface="Arial" pitchFamily="34" charset="0"/>
        <a:buChar char="•"/>
        <a:tabLst/>
        <a:defRPr kumimoji="0" lang="es-ES" sz="1354" b="0" i="0" u="none" strike="noStrike" kern="1200" cap="none" spc="0" normalizeH="0" baseline="0" noProof="0" dirty="0" smtClean="0">
          <a:ln>
            <a:noFill/>
          </a:ln>
          <a:solidFill>
            <a:schemeClr val="tx1"/>
          </a:solidFill>
          <a:effectLst/>
          <a:uLnTx/>
          <a:uFillTx/>
          <a:latin typeface="+mn-lt"/>
          <a:ea typeface="+mn-ea"/>
          <a:cs typeface="+mn-cs"/>
        </a:defRPr>
      </a:lvl4pPr>
      <a:lvl5pPr marL="672157" marR="0" indent="-171948" algn="l" defTabSz="1125472" rtl="0" eaLnBrk="1" fontAlgn="auto" latinLnBrk="0" hangingPunct="1">
        <a:lnSpc>
          <a:spcPct val="100000"/>
        </a:lnSpc>
        <a:spcBef>
          <a:spcPts val="0"/>
        </a:spcBef>
        <a:spcAft>
          <a:spcPts val="246"/>
        </a:spcAft>
        <a:buClr>
          <a:srgbClr val="FF9900"/>
        </a:buClr>
        <a:buSzTx/>
        <a:buFont typeface="Arial" pitchFamily="34" charset="0"/>
        <a:buChar char="•"/>
        <a:tabLst/>
        <a:defRPr kumimoji="0" lang="es-ES" sz="1354" b="0" i="0" u="none" strike="noStrike" kern="1200" cap="none" spc="0" normalizeH="0" baseline="0" noProof="0" dirty="0" smtClean="0">
          <a:ln>
            <a:noFill/>
          </a:ln>
          <a:solidFill>
            <a:srgbClr val="494949"/>
          </a:solidFill>
          <a:effectLst/>
          <a:uLnTx/>
          <a:uFillTx/>
          <a:latin typeface="+mn-lt"/>
          <a:ea typeface="+mn-ea"/>
          <a:cs typeface="+mn-cs"/>
        </a:defRPr>
      </a:lvl5pPr>
      <a:lvl6pPr marL="1057085" indent="-211027" algn="l" defTabSz="1125472" rtl="0" eaLnBrk="1" latinLnBrk="0" hangingPunct="1">
        <a:spcBef>
          <a:spcPct val="20000"/>
        </a:spcBef>
        <a:buFontTx/>
        <a:buNone/>
        <a:tabLst/>
        <a:defRPr kumimoji="0" lang="es-ES" sz="1354" b="0" i="0" u="none" strike="noStrike" kern="1200" cap="none" spc="0" normalizeH="0" baseline="0" noProof="0" dirty="0" smtClean="0">
          <a:ln>
            <a:noFill/>
          </a:ln>
          <a:solidFill>
            <a:schemeClr val="tx1"/>
          </a:solidFill>
          <a:effectLst/>
          <a:uLnTx/>
          <a:uFillTx/>
          <a:latin typeface="+mn-lt"/>
          <a:ea typeface="+mn-ea"/>
          <a:cs typeface="+mn-cs"/>
        </a:defRPr>
      </a:lvl6pPr>
      <a:lvl7pPr marL="88620" indent="0" algn="l" defTabSz="1125472" rtl="0" eaLnBrk="1" latinLnBrk="0" hangingPunct="1">
        <a:spcBef>
          <a:spcPct val="20000"/>
        </a:spcBef>
        <a:buFontTx/>
        <a:buNone/>
        <a:defRPr kumimoji="0" lang="en-US" sz="1477" b="0" i="0" u="none" strike="noStrike" kern="1200" cap="none" spc="0" normalizeH="0" baseline="0" noProof="0" dirty="0" smtClean="0">
          <a:ln>
            <a:noFill/>
          </a:ln>
          <a:solidFill>
            <a:schemeClr val="tx1">
              <a:lumMod val="65000"/>
              <a:lumOff val="35000"/>
            </a:schemeClr>
          </a:solidFill>
          <a:effectLst/>
          <a:uLnTx/>
          <a:uFillTx/>
          <a:latin typeface="Droid Sans" charset="0"/>
          <a:ea typeface="+mn-ea"/>
          <a:cs typeface="Droid Sans" charset="0"/>
          <a:sym typeface="Droid Sans" charset="0"/>
        </a:defRPr>
      </a:lvl7pPr>
      <a:lvl8pPr marL="88620" indent="0" algn="l" defTabSz="1125472" rtl="0" eaLnBrk="1" latinLnBrk="0" hangingPunct="1">
        <a:spcBef>
          <a:spcPct val="20000"/>
        </a:spcBef>
        <a:buFontTx/>
        <a:buNone/>
        <a:defRPr sz="1292" kern="1200">
          <a:solidFill>
            <a:schemeClr val="tx1"/>
          </a:solidFill>
          <a:latin typeface="+mn-lt"/>
          <a:ea typeface="+mn-ea"/>
          <a:cs typeface="+mn-cs"/>
        </a:defRPr>
      </a:lvl8pPr>
      <a:lvl9pPr marL="4783254" indent="-281368" algn="l" defTabSz="1125472" rtl="0" eaLnBrk="1" latinLnBrk="0" hangingPunct="1">
        <a:spcBef>
          <a:spcPct val="20000"/>
        </a:spcBef>
        <a:buFont typeface="Arial" pitchFamily="34" charset="0"/>
        <a:buChar char="•"/>
        <a:defRPr sz="2462" kern="1200">
          <a:solidFill>
            <a:schemeClr val="tx1"/>
          </a:solidFill>
          <a:latin typeface="+mn-lt"/>
          <a:ea typeface="+mn-ea"/>
          <a:cs typeface="+mn-cs"/>
        </a:defRPr>
      </a:lvl9pPr>
    </p:bodyStyle>
    <p:otherStyle>
      <a:defPPr>
        <a:defRPr lang="es-ES"/>
      </a:defPPr>
      <a:lvl1pPr marL="0" algn="l" defTabSz="1125472" rtl="0" eaLnBrk="1" latinLnBrk="0" hangingPunct="1">
        <a:defRPr sz="2215" kern="1200">
          <a:solidFill>
            <a:schemeClr val="tx1"/>
          </a:solidFill>
          <a:latin typeface="+mn-lt"/>
          <a:ea typeface="+mn-ea"/>
          <a:cs typeface="+mn-cs"/>
        </a:defRPr>
      </a:lvl1pPr>
      <a:lvl2pPr marL="562737" algn="l" defTabSz="1125472" rtl="0" eaLnBrk="1" latinLnBrk="0" hangingPunct="1">
        <a:defRPr sz="2215" kern="1200">
          <a:solidFill>
            <a:schemeClr val="tx1"/>
          </a:solidFill>
          <a:latin typeface="+mn-lt"/>
          <a:ea typeface="+mn-ea"/>
          <a:cs typeface="+mn-cs"/>
        </a:defRPr>
      </a:lvl2pPr>
      <a:lvl3pPr marL="1125472" algn="l" defTabSz="1125472" rtl="0" eaLnBrk="1" latinLnBrk="0" hangingPunct="1">
        <a:defRPr sz="2215" kern="1200">
          <a:solidFill>
            <a:schemeClr val="tx1"/>
          </a:solidFill>
          <a:latin typeface="+mn-lt"/>
          <a:ea typeface="+mn-ea"/>
          <a:cs typeface="+mn-cs"/>
        </a:defRPr>
      </a:lvl3pPr>
      <a:lvl4pPr marL="1688207" algn="l" defTabSz="1125472" rtl="0" eaLnBrk="1" latinLnBrk="0" hangingPunct="1">
        <a:defRPr sz="2215" kern="1200">
          <a:solidFill>
            <a:schemeClr val="tx1"/>
          </a:solidFill>
          <a:latin typeface="+mn-lt"/>
          <a:ea typeface="+mn-ea"/>
          <a:cs typeface="+mn-cs"/>
        </a:defRPr>
      </a:lvl4pPr>
      <a:lvl5pPr marL="2250944" algn="l" defTabSz="1125472" rtl="0" eaLnBrk="1" latinLnBrk="0" hangingPunct="1">
        <a:defRPr sz="2215" kern="1200">
          <a:solidFill>
            <a:schemeClr val="tx1"/>
          </a:solidFill>
          <a:latin typeface="+mn-lt"/>
          <a:ea typeface="+mn-ea"/>
          <a:cs typeface="+mn-cs"/>
        </a:defRPr>
      </a:lvl5pPr>
      <a:lvl6pPr marL="2813679" algn="l" defTabSz="1125472" rtl="0" eaLnBrk="1" latinLnBrk="0" hangingPunct="1">
        <a:defRPr sz="2215" kern="1200">
          <a:solidFill>
            <a:schemeClr val="tx1"/>
          </a:solidFill>
          <a:latin typeface="+mn-lt"/>
          <a:ea typeface="+mn-ea"/>
          <a:cs typeface="+mn-cs"/>
        </a:defRPr>
      </a:lvl6pPr>
      <a:lvl7pPr marL="3376415" algn="l" defTabSz="1125472" rtl="0" eaLnBrk="1" latinLnBrk="0" hangingPunct="1">
        <a:defRPr sz="2215" kern="1200">
          <a:solidFill>
            <a:schemeClr val="tx1"/>
          </a:solidFill>
          <a:latin typeface="+mn-lt"/>
          <a:ea typeface="+mn-ea"/>
          <a:cs typeface="+mn-cs"/>
        </a:defRPr>
      </a:lvl7pPr>
      <a:lvl8pPr marL="3939151" algn="l" defTabSz="1125472" rtl="0" eaLnBrk="1" latinLnBrk="0" hangingPunct="1">
        <a:defRPr sz="2215" kern="1200">
          <a:solidFill>
            <a:schemeClr val="tx1"/>
          </a:solidFill>
          <a:latin typeface="+mn-lt"/>
          <a:ea typeface="+mn-ea"/>
          <a:cs typeface="+mn-cs"/>
        </a:defRPr>
      </a:lvl8pPr>
      <a:lvl9pPr marL="4501886" algn="l" defTabSz="1125472" rtl="0" eaLnBrk="1" latinLnBrk="0" hangingPunct="1">
        <a:defRPr sz="221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6 Marcador de título"/>
          <p:cNvSpPr>
            <a:spLocks noGrp="1"/>
          </p:cNvSpPr>
          <p:nvPr>
            <p:ph type="title"/>
          </p:nvPr>
        </p:nvSpPr>
        <p:spPr>
          <a:xfrm>
            <a:off x="1235961" y="254834"/>
            <a:ext cx="8936800" cy="708514"/>
          </a:xfrm>
          <a:prstGeom prst="rect">
            <a:avLst/>
          </a:prstGeom>
        </p:spPr>
        <p:txBody>
          <a:bodyPr anchor="ctr">
            <a:noAutofit/>
          </a:bodyPr>
          <a:lstStyle/>
          <a:p>
            <a:pPr lvl="0"/>
            <a:r>
              <a:rPr lang="es-ES" noProof="0"/>
              <a:t>Haga clic para modificar el estilo de título del patrón</a:t>
            </a:r>
          </a:p>
        </p:txBody>
      </p:sp>
      <p:sp>
        <p:nvSpPr>
          <p:cNvPr id="15" name="14 Marcador de texto"/>
          <p:cNvSpPr>
            <a:spLocks noGrp="1"/>
          </p:cNvSpPr>
          <p:nvPr>
            <p:ph type="body" idx="1"/>
          </p:nvPr>
        </p:nvSpPr>
        <p:spPr>
          <a:xfrm>
            <a:off x="412671" y="1300036"/>
            <a:ext cx="11366658" cy="5193294"/>
          </a:xfrm>
          <a:prstGeom prst="rect">
            <a:avLst/>
          </a:prstGeom>
        </p:spPr>
        <p:txBody>
          <a:bodyPr vert="horz" lIns="0" tIns="0" rIns="0" bIns="0" rtlCol="0">
            <a:noAutofit/>
          </a:bodyPr>
          <a:lstStyle/>
          <a:p>
            <a:pPr lvl="0"/>
            <a:r>
              <a:rPr lang="es-ES" noProof="0" err="1"/>
              <a:t>Txto</a:t>
            </a:r>
            <a:endParaRPr lang="es-ES" noProof="0"/>
          </a:p>
          <a:p>
            <a:pPr lvl="1"/>
            <a:r>
              <a:rPr lang="es-ES" noProof="0" err="1"/>
              <a:t>Bullet</a:t>
            </a:r>
            <a:endParaRPr lang="es-ES" noProof="0"/>
          </a:p>
          <a:p>
            <a:pPr lvl="2"/>
            <a:r>
              <a:rPr lang="es-ES" noProof="0"/>
              <a:t>Punto 1</a:t>
            </a:r>
          </a:p>
          <a:p>
            <a:pPr lvl="3"/>
            <a:r>
              <a:rPr lang="es-ES" noProof="0" err="1"/>
              <a:t>Subpunto</a:t>
            </a:r>
            <a:endParaRPr lang="es-ES" noProof="0"/>
          </a:p>
          <a:p>
            <a:pPr marL="1041452" marR="0" lvl="4" indent="-195394" algn="l" defTabSz="1125472" rtl="0" eaLnBrk="1" fontAlgn="auto" latinLnBrk="0" hangingPunct="1">
              <a:lnSpc>
                <a:spcPct val="100000"/>
              </a:lnSpc>
              <a:spcBef>
                <a:spcPts val="0"/>
              </a:spcBef>
              <a:spcAft>
                <a:spcPts val="246"/>
              </a:spcAft>
              <a:buClr>
                <a:schemeClr val="accent1">
                  <a:lumMod val="90000"/>
                </a:schemeClr>
              </a:buClr>
              <a:buSzTx/>
              <a:buFont typeface="Arial" pitchFamily="34" charset="0"/>
              <a:buChar char="•"/>
              <a:tabLst/>
              <a:defRPr/>
            </a:pPr>
            <a:r>
              <a:rPr lang="es-ES" noProof="0"/>
              <a:t>- …</a:t>
            </a:r>
          </a:p>
        </p:txBody>
      </p:sp>
    </p:spTree>
    <p:extLst>
      <p:ext uri="{BB962C8B-B14F-4D97-AF65-F5344CB8AC3E}">
        <p14:creationId xmlns:p14="http://schemas.microsoft.com/office/powerpoint/2010/main" val="152422965"/>
      </p:ext>
    </p:extLst>
  </p:cSld>
  <p:clrMap bg1="lt1" tx1="dk1" bg2="lt2" tx2="dk2" accent1="accent1" accent2="accent2" accent3="accent3" accent4="accent4" accent5="accent5" accent6="accent6" hlink="hlink" folHlink="folHlink"/>
  <p:sldLayoutIdLst>
    <p:sldLayoutId id="2147484096" r:id="rId1"/>
    <p:sldLayoutId id="2147484097" r:id="rId2"/>
    <p:sldLayoutId id="2147484098" r:id="rId3"/>
    <p:sldLayoutId id="2147484099" r:id="rId4"/>
    <p:sldLayoutId id="2147484100" r:id="rId5"/>
    <p:sldLayoutId id="2147484101" r:id="rId6"/>
    <p:sldLayoutId id="2147484102" r:id="rId7"/>
    <p:sldLayoutId id="2147484103" r:id="rId8"/>
    <p:sldLayoutId id="2147484104" r:id="rId9"/>
    <p:sldLayoutId id="2147484105" r:id="rId10"/>
    <p:sldLayoutId id="2147484106" r:id="rId11"/>
    <p:sldLayoutId id="2147484107" r:id="rId12"/>
    <p:sldLayoutId id="2147484108" r:id="rId13"/>
    <p:sldLayoutId id="2147484109" r:id="rId14"/>
    <p:sldLayoutId id="2147484110" r:id="rId15"/>
    <p:sldLayoutId id="2147484112" r:id="rId16"/>
    <p:sldLayoutId id="2147484113" r:id="rId17"/>
  </p:sldLayoutIdLst>
  <p:transition spd="slow"/>
  <p:hf hdr="0" ftr="0" dt="0"/>
  <p:txStyles>
    <p:titleStyle>
      <a:lvl1pPr marL="0" algn="l" defTabSz="1125472" rtl="0" eaLnBrk="1" fontAlgn="base" latinLnBrk="0" hangingPunct="1">
        <a:spcBef>
          <a:spcPct val="0"/>
        </a:spcBef>
        <a:spcAft>
          <a:spcPct val="0"/>
        </a:spcAft>
        <a:buClr>
          <a:srgbClr val="505150"/>
        </a:buClr>
        <a:buSzPct val="88000"/>
        <a:buNone/>
        <a:defRPr lang="es-ES" sz="2462" kern="1200" noProof="0" dirty="0">
          <a:solidFill>
            <a:schemeClr val="tx1"/>
          </a:solidFill>
          <a:latin typeface="+mj-lt"/>
          <a:ea typeface="+mn-ea"/>
          <a:cs typeface="Droid Sans" charset="0"/>
          <a:sym typeface="Droid Sans" charset="0"/>
        </a:defRPr>
      </a:lvl1pPr>
    </p:titleStyle>
    <p:bodyStyle>
      <a:lvl1pPr marL="0" indent="0" algn="l" defTabSz="1125472" rtl="0" eaLnBrk="1" latinLnBrk="0" hangingPunct="1">
        <a:spcBef>
          <a:spcPts val="738"/>
        </a:spcBef>
        <a:spcAft>
          <a:spcPts val="738"/>
        </a:spcAft>
        <a:buFont typeface="Arial" pitchFamily="34" charset="0"/>
        <a:buNone/>
        <a:defRPr kumimoji="0" lang="es-ES" sz="1354" b="0" i="0" u="none" strike="noStrike" kern="1200" cap="none" spc="0" normalizeH="0" baseline="0" noProof="0" dirty="0" smtClean="0">
          <a:ln>
            <a:noFill/>
          </a:ln>
          <a:solidFill>
            <a:schemeClr val="tx1"/>
          </a:solidFill>
          <a:effectLst/>
          <a:uLnTx/>
          <a:uFillTx/>
          <a:latin typeface="+mn-lt"/>
          <a:ea typeface="+mn-ea"/>
          <a:cs typeface="+mn-cs"/>
        </a:defRPr>
      </a:lvl1pPr>
      <a:lvl2pPr marL="275507" indent="-212980" algn="l" defTabSz="1125472" rtl="0" eaLnBrk="1" latinLnBrk="0" hangingPunct="1">
        <a:spcBef>
          <a:spcPts val="738"/>
        </a:spcBef>
        <a:spcAft>
          <a:spcPts val="369"/>
        </a:spcAft>
        <a:buClr>
          <a:schemeClr val="accent1"/>
        </a:buClr>
        <a:buSzPct val="100000"/>
        <a:buFont typeface="Wingdings" charset="2"/>
        <a:buChar char="§"/>
        <a:tabLst/>
        <a:defRPr kumimoji="0" lang="es-ES" sz="1354" b="0" i="0" u="none" strike="noStrike" kern="1200" cap="none" spc="0" normalizeH="0" baseline="0" noProof="0" dirty="0" smtClean="0">
          <a:ln>
            <a:noFill/>
          </a:ln>
          <a:solidFill>
            <a:schemeClr val="tx1"/>
          </a:solidFill>
          <a:effectLst/>
          <a:uLnTx/>
          <a:uFillTx/>
          <a:latin typeface="+mn-lt"/>
          <a:ea typeface="+mn-ea"/>
          <a:cs typeface="+mn-cs"/>
        </a:defRPr>
      </a:lvl2pPr>
      <a:lvl3pPr marL="492394" indent="-154362" algn="l" defTabSz="1125472" rtl="0" eaLnBrk="1" latinLnBrk="0" hangingPunct="1">
        <a:spcBef>
          <a:spcPts val="738"/>
        </a:spcBef>
        <a:spcAft>
          <a:spcPts val="0"/>
        </a:spcAft>
        <a:buClr>
          <a:schemeClr val="tx1"/>
        </a:buClr>
        <a:buFont typeface="Arial" charset="0"/>
        <a:buChar char="•"/>
        <a:tabLst/>
        <a:defRPr kumimoji="0" lang="es-ES" sz="1354" b="0" i="0" u="none" strike="noStrike" kern="1200" cap="none" spc="0" normalizeH="0" baseline="0" noProof="0" dirty="0" smtClean="0">
          <a:ln>
            <a:noFill/>
          </a:ln>
          <a:solidFill>
            <a:schemeClr val="tx1"/>
          </a:solidFill>
          <a:effectLst/>
          <a:uLnTx/>
          <a:uFillTx/>
          <a:latin typeface="+mn-lt"/>
          <a:ea typeface="+mn-ea"/>
          <a:cs typeface="+mn-cs"/>
        </a:defRPr>
      </a:lvl3pPr>
      <a:lvl4pPr marL="769854" indent="-177810" algn="l" defTabSz="1125472" rtl="0" eaLnBrk="1" latinLnBrk="0" hangingPunct="1">
        <a:spcBef>
          <a:spcPts val="0"/>
        </a:spcBef>
        <a:spcAft>
          <a:spcPts val="246"/>
        </a:spcAft>
        <a:buClr>
          <a:schemeClr val="tx1"/>
        </a:buClr>
        <a:buFont typeface="Arial" pitchFamily="34" charset="0"/>
        <a:buChar char="•"/>
        <a:tabLst/>
        <a:defRPr kumimoji="0" lang="es-ES" sz="1354" b="0" i="0" u="none" strike="noStrike" kern="1200" cap="none" spc="0" normalizeH="0" baseline="0" noProof="0" dirty="0" smtClean="0">
          <a:ln>
            <a:noFill/>
          </a:ln>
          <a:solidFill>
            <a:schemeClr val="tx1"/>
          </a:solidFill>
          <a:effectLst/>
          <a:uLnTx/>
          <a:uFillTx/>
          <a:latin typeface="+mn-lt"/>
          <a:ea typeface="+mn-ea"/>
          <a:cs typeface="+mn-cs"/>
        </a:defRPr>
      </a:lvl4pPr>
      <a:lvl5pPr marL="672157" marR="0" indent="-171948" algn="l" defTabSz="1125472" rtl="0" eaLnBrk="1" fontAlgn="auto" latinLnBrk="0" hangingPunct="1">
        <a:lnSpc>
          <a:spcPct val="100000"/>
        </a:lnSpc>
        <a:spcBef>
          <a:spcPts val="0"/>
        </a:spcBef>
        <a:spcAft>
          <a:spcPts val="246"/>
        </a:spcAft>
        <a:buClr>
          <a:srgbClr val="FF9900"/>
        </a:buClr>
        <a:buSzTx/>
        <a:buFont typeface="Arial" pitchFamily="34" charset="0"/>
        <a:buChar char="•"/>
        <a:tabLst/>
        <a:defRPr kumimoji="0" lang="es-ES" sz="1354" b="0" i="0" u="none" strike="noStrike" kern="1200" cap="none" spc="0" normalizeH="0" baseline="0" noProof="0" dirty="0" smtClean="0">
          <a:ln>
            <a:noFill/>
          </a:ln>
          <a:solidFill>
            <a:srgbClr val="494949"/>
          </a:solidFill>
          <a:effectLst/>
          <a:uLnTx/>
          <a:uFillTx/>
          <a:latin typeface="+mn-lt"/>
          <a:ea typeface="+mn-ea"/>
          <a:cs typeface="+mn-cs"/>
        </a:defRPr>
      </a:lvl5pPr>
      <a:lvl6pPr marL="1057085" indent="-211027" algn="l" defTabSz="1125472" rtl="0" eaLnBrk="1" latinLnBrk="0" hangingPunct="1">
        <a:spcBef>
          <a:spcPct val="20000"/>
        </a:spcBef>
        <a:buFontTx/>
        <a:buNone/>
        <a:tabLst/>
        <a:defRPr kumimoji="0" lang="es-ES" sz="1354" b="0" i="0" u="none" strike="noStrike" kern="1200" cap="none" spc="0" normalizeH="0" baseline="0" noProof="0" dirty="0" smtClean="0">
          <a:ln>
            <a:noFill/>
          </a:ln>
          <a:solidFill>
            <a:schemeClr val="tx1"/>
          </a:solidFill>
          <a:effectLst/>
          <a:uLnTx/>
          <a:uFillTx/>
          <a:latin typeface="+mn-lt"/>
          <a:ea typeface="+mn-ea"/>
          <a:cs typeface="+mn-cs"/>
        </a:defRPr>
      </a:lvl6pPr>
      <a:lvl7pPr marL="88620" indent="0" algn="l" defTabSz="1125472" rtl="0" eaLnBrk="1" latinLnBrk="0" hangingPunct="1">
        <a:spcBef>
          <a:spcPct val="20000"/>
        </a:spcBef>
        <a:buFontTx/>
        <a:buNone/>
        <a:defRPr kumimoji="0" lang="en-US" sz="1477" b="0" i="0" u="none" strike="noStrike" kern="1200" cap="none" spc="0" normalizeH="0" baseline="0" noProof="0" dirty="0" smtClean="0">
          <a:ln>
            <a:noFill/>
          </a:ln>
          <a:solidFill>
            <a:schemeClr val="tx1">
              <a:lumMod val="65000"/>
              <a:lumOff val="35000"/>
            </a:schemeClr>
          </a:solidFill>
          <a:effectLst/>
          <a:uLnTx/>
          <a:uFillTx/>
          <a:latin typeface="Droid Sans" charset="0"/>
          <a:ea typeface="+mn-ea"/>
          <a:cs typeface="Droid Sans" charset="0"/>
          <a:sym typeface="Droid Sans" charset="0"/>
        </a:defRPr>
      </a:lvl7pPr>
      <a:lvl8pPr marL="88620" indent="0" algn="l" defTabSz="1125472" rtl="0" eaLnBrk="1" latinLnBrk="0" hangingPunct="1">
        <a:spcBef>
          <a:spcPct val="20000"/>
        </a:spcBef>
        <a:buFontTx/>
        <a:buNone/>
        <a:defRPr sz="1292" kern="1200">
          <a:solidFill>
            <a:schemeClr val="tx1"/>
          </a:solidFill>
          <a:latin typeface="+mn-lt"/>
          <a:ea typeface="+mn-ea"/>
          <a:cs typeface="+mn-cs"/>
        </a:defRPr>
      </a:lvl8pPr>
      <a:lvl9pPr marL="4783254" indent="-281368" algn="l" defTabSz="1125472" rtl="0" eaLnBrk="1" latinLnBrk="0" hangingPunct="1">
        <a:spcBef>
          <a:spcPct val="20000"/>
        </a:spcBef>
        <a:buFont typeface="Arial" pitchFamily="34" charset="0"/>
        <a:buChar char="•"/>
        <a:defRPr sz="2462" kern="1200">
          <a:solidFill>
            <a:schemeClr val="tx1"/>
          </a:solidFill>
          <a:latin typeface="+mn-lt"/>
          <a:ea typeface="+mn-ea"/>
          <a:cs typeface="+mn-cs"/>
        </a:defRPr>
      </a:lvl9pPr>
    </p:bodyStyle>
    <p:otherStyle>
      <a:defPPr>
        <a:defRPr lang="es-ES"/>
      </a:defPPr>
      <a:lvl1pPr marL="0" algn="l" defTabSz="1125472" rtl="0" eaLnBrk="1" latinLnBrk="0" hangingPunct="1">
        <a:defRPr sz="2215" kern="1200">
          <a:solidFill>
            <a:schemeClr val="tx1"/>
          </a:solidFill>
          <a:latin typeface="+mn-lt"/>
          <a:ea typeface="+mn-ea"/>
          <a:cs typeface="+mn-cs"/>
        </a:defRPr>
      </a:lvl1pPr>
      <a:lvl2pPr marL="562737" algn="l" defTabSz="1125472" rtl="0" eaLnBrk="1" latinLnBrk="0" hangingPunct="1">
        <a:defRPr sz="2215" kern="1200">
          <a:solidFill>
            <a:schemeClr val="tx1"/>
          </a:solidFill>
          <a:latin typeface="+mn-lt"/>
          <a:ea typeface="+mn-ea"/>
          <a:cs typeface="+mn-cs"/>
        </a:defRPr>
      </a:lvl2pPr>
      <a:lvl3pPr marL="1125472" algn="l" defTabSz="1125472" rtl="0" eaLnBrk="1" latinLnBrk="0" hangingPunct="1">
        <a:defRPr sz="2215" kern="1200">
          <a:solidFill>
            <a:schemeClr val="tx1"/>
          </a:solidFill>
          <a:latin typeface="+mn-lt"/>
          <a:ea typeface="+mn-ea"/>
          <a:cs typeface="+mn-cs"/>
        </a:defRPr>
      </a:lvl3pPr>
      <a:lvl4pPr marL="1688207" algn="l" defTabSz="1125472" rtl="0" eaLnBrk="1" latinLnBrk="0" hangingPunct="1">
        <a:defRPr sz="2215" kern="1200">
          <a:solidFill>
            <a:schemeClr val="tx1"/>
          </a:solidFill>
          <a:latin typeface="+mn-lt"/>
          <a:ea typeface="+mn-ea"/>
          <a:cs typeface="+mn-cs"/>
        </a:defRPr>
      </a:lvl4pPr>
      <a:lvl5pPr marL="2250944" algn="l" defTabSz="1125472" rtl="0" eaLnBrk="1" latinLnBrk="0" hangingPunct="1">
        <a:defRPr sz="2215" kern="1200">
          <a:solidFill>
            <a:schemeClr val="tx1"/>
          </a:solidFill>
          <a:latin typeface="+mn-lt"/>
          <a:ea typeface="+mn-ea"/>
          <a:cs typeface="+mn-cs"/>
        </a:defRPr>
      </a:lvl5pPr>
      <a:lvl6pPr marL="2813679" algn="l" defTabSz="1125472" rtl="0" eaLnBrk="1" latinLnBrk="0" hangingPunct="1">
        <a:defRPr sz="2215" kern="1200">
          <a:solidFill>
            <a:schemeClr val="tx1"/>
          </a:solidFill>
          <a:latin typeface="+mn-lt"/>
          <a:ea typeface="+mn-ea"/>
          <a:cs typeface="+mn-cs"/>
        </a:defRPr>
      </a:lvl6pPr>
      <a:lvl7pPr marL="3376415" algn="l" defTabSz="1125472" rtl="0" eaLnBrk="1" latinLnBrk="0" hangingPunct="1">
        <a:defRPr sz="2215" kern="1200">
          <a:solidFill>
            <a:schemeClr val="tx1"/>
          </a:solidFill>
          <a:latin typeface="+mn-lt"/>
          <a:ea typeface="+mn-ea"/>
          <a:cs typeface="+mn-cs"/>
        </a:defRPr>
      </a:lvl7pPr>
      <a:lvl8pPr marL="3939151" algn="l" defTabSz="1125472" rtl="0" eaLnBrk="1" latinLnBrk="0" hangingPunct="1">
        <a:defRPr sz="2215" kern="1200">
          <a:solidFill>
            <a:schemeClr val="tx1"/>
          </a:solidFill>
          <a:latin typeface="+mn-lt"/>
          <a:ea typeface="+mn-ea"/>
          <a:cs typeface="+mn-cs"/>
        </a:defRPr>
      </a:lvl8pPr>
      <a:lvl9pPr marL="4501886" algn="l" defTabSz="1125472" rtl="0" eaLnBrk="1" latinLnBrk="0" hangingPunct="1">
        <a:defRPr sz="221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5F6F9"/>
        </a:solidFill>
        <a:effectLst/>
      </p:bgPr>
    </p:bg>
    <p:spTree>
      <p:nvGrpSpPr>
        <p:cNvPr id="1" name=""/>
        <p:cNvGrpSpPr/>
        <p:nvPr/>
      </p:nvGrpSpPr>
      <p:grpSpPr>
        <a:xfrm>
          <a:off x="0" y="0"/>
          <a:ext cx="0" cy="0"/>
          <a:chOff x="0" y="0"/>
          <a:chExt cx="0" cy="0"/>
        </a:xfrm>
      </p:grpSpPr>
      <p:sp>
        <p:nvSpPr>
          <p:cNvPr id="10" name="Rectángulo 9">
            <a:extLst>
              <a:ext uri="{FF2B5EF4-FFF2-40B4-BE49-F238E27FC236}">
                <a16:creationId xmlns:a16="http://schemas.microsoft.com/office/drawing/2014/main" id="{BC1BABE1-0DCA-C749-9B5F-2832FF75F2B9}"/>
              </a:ext>
            </a:extLst>
          </p:cNvPr>
          <p:cNvSpPr/>
          <p:nvPr userDrawn="1"/>
        </p:nvSpPr>
        <p:spPr bwMode="auto">
          <a:xfrm>
            <a:off x="0" y="0"/>
            <a:ext cx="12192000" cy="541241"/>
          </a:xfrm>
          <a:prstGeom prst="rect">
            <a:avLst/>
          </a:prstGeom>
          <a:solidFill>
            <a:schemeClr val="bg1"/>
          </a:solidFill>
          <a:ln>
            <a:noFill/>
          </a:ln>
        </p:spPr>
        <p:txBody>
          <a:bodyPr lIns="0" tIns="0" rIns="0" bIns="0" rtlCol="0" anchor="ctr">
            <a:noAutofit/>
          </a:bodyPr>
          <a:lstStyle/>
          <a:p>
            <a:pPr algn="ctr"/>
            <a:endParaRPr lang="es-ES"/>
          </a:p>
        </p:txBody>
      </p:sp>
      <p:sp>
        <p:nvSpPr>
          <p:cNvPr id="2" name="Marcador de texto 1">
            <a:extLst>
              <a:ext uri="{FF2B5EF4-FFF2-40B4-BE49-F238E27FC236}">
                <a16:creationId xmlns:a16="http://schemas.microsoft.com/office/drawing/2014/main" id="{F3D6FC91-B10B-BA4F-A311-819EF609AD48}"/>
              </a:ext>
            </a:extLst>
          </p:cNvPr>
          <p:cNvSpPr>
            <a:spLocks noGrp="1"/>
          </p:cNvSpPr>
          <p:nvPr>
            <p:ph type="body" idx="1"/>
          </p:nvPr>
        </p:nvSpPr>
        <p:spPr>
          <a:xfrm>
            <a:off x="442659" y="671501"/>
            <a:ext cx="11306682" cy="5729298"/>
          </a:xfrm>
          <a:prstGeom prst="rect">
            <a:avLst/>
          </a:prstGeom>
        </p:spPr>
        <p:txBody>
          <a:bodyPr vert="horz" lIns="0" tIns="0" rIns="0" bIns="0" rtlCol="0">
            <a:no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23" name="Shape 13">
            <a:extLst>
              <a:ext uri="{FF2B5EF4-FFF2-40B4-BE49-F238E27FC236}">
                <a16:creationId xmlns:a16="http://schemas.microsoft.com/office/drawing/2014/main" id="{A65D0D13-AA88-9F44-BA79-7A94E074FB57}"/>
              </a:ext>
            </a:extLst>
          </p:cNvPr>
          <p:cNvSpPr txBox="1">
            <a:spLocks/>
          </p:cNvSpPr>
          <p:nvPr userDrawn="1"/>
        </p:nvSpPr>
        <p:spPr>
          <a:xfrm>
            <a:off x="131193" y="161678"/>
            <a:ext cx="276552" cy="216645"/>
          </a:xfrm>
          <a:prstGeom prst="roundRect">
            <a:avLst/>
          </a:prstGeom>
          <a:noFill/>
          <a:ln w="9525">
            <a:solidFill>
              <a:srgbClr val="FFFFFF"/>
            </a:solidFill>
            <a:miter lim="400000"/>
          </a:ln>
        </p:spPr>
        <p:txBody>
          <a:bodyPr wrap="square" lIns="36000" tIns="36000" rIns="36000" bIns="36000">
            <a:noAutofit/>
          </a:bodyPr>
          <a:lstStyle>
            <a:defPPr>
              <a:defRPr lang="en-US"/>
            </a:defPPr>
            <a:lvl1pPr marL="0" algn="ctr" defTabSz="914400" rtl="0" eaLnBrk="1" latinLnBrk="0" hangingPunct="1">
              <a:lnSpc>
                <a:spcPct val="100000"/>
              </a:lnSpc>
              <a:defRPr sz="1050" b="1" kern="1200" spc="0">
                <a:solidFill>
                  <a:srgbClr val="FFFFF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s-ES" sz="800" b="1" i="0" u="none" strike="noStrike" kern="1200" cap="none" spc="0" normalizeH="0" baseline="0" noProof="0" smtClean="0">
                <a:ln>
                  <a:noFill/>
                </a:ln>
                <a:solidFill>
                  <a:srgbClr val="494949"/>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Nº›</a:t>
            </a:fld>
            <a:endParaRPr kumimoji="0" lang="es-ES" sz="800" b="1" i="0" u="none" strike="noStrike" kern="1200" cap="none" spc="0" normalizeH="0" baseline="0" noProof="0">
              <a:ln>
                <a:noFill/>
              </a:ln>
              <a:solidFill>
                <a:srgbClr val="494949"/>
              </a:solidFill>
              <a:effectLst/>
              <a:uLnTx/>
              <a:uFillTx/>
              <a:latin typeface="Arial" panose="020B0604020202020204"/>
              <a:ea typeface="+mn-ea"/>
              <a:cs typeface="Arial" panose="020B0604020202020204" pitchFamily="34" charset="0"/>
            </a:endParaRPr>
          </a:p>
        </p:txBody>
      </p:sp>
      <p:sp>
        <p:nvSpPr>
          <p:cNvPr id="27" name="Rectángulo 26">
            <a:extLst>
              <a:ext uri="{FF2B5EF4-FFF2-40B4-BE49-F238E27FC236}">
                <a16:creationId xmlns:a16="http://schemas.microsoft.com/office/drawing/2014/main" id="{0B50C05A-9AE6-E64B-BBBB-93AC2AD07F03}"/>
              </a:ext>
            </a:extLst>
          </p:cNvPr>
          <p:cNvSpPr/>
          <p:nvPr userDrawn="1"/>
        </p:nvSpPr>
        <p:spPr bwMode="auto">
          <a:xfrm>
            <a:off x="458022" y="0"/>
            <a:ext cx="36000" cy="540000"/>
          </a:xfrm>
          <a:prstGeom prst="rect">
            <a:avLst/>
          </a:prstGeom>
          <a:solidFill>
            <a:srgbClr val="F6D285"/>
          </a:solidFill>
          <a:ln>
            <a:noFill/>
          </a:ln>
        </p:spPr>
        <p:txBody>
          <a:bodyPr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494949"/>
              </a:solidFill>
              <a:effectLst/>
              <a:uLnTx/>
              <a:uFillTx/>
            </a:endParaRPr>
          </a:p>
        </p:txBody>
      </p:sp>
      <p:sp>
        <p:nvSpPr>
          <p:cNvPr id="28" name="Rectángulo 27">
            <a:extLst>
              <a:ext uri="{FF2B5EF4-FFF2-40B4-BE49-F238E27FC236}">
                <a16:creationId xmlns:a16="http://schemas.microsoft.com/office/drawing/2014/main" id="{7F0F592E-65C9-3C4C-9732-9F65BF986B13}"/>
              </a:ext>
            </a:extLst>
          </p:cNvPr>
          <p:cNvSpPr/>
          <p:nvPr userDrawn="1"/>
        </p:nvSpPr>
        <p:spPr>
          <a:xfrm>
            <a:off x="0" y="6579031"/>
            <a:ext cx="12192000" cy="278969"/>
          </a:xfrm>
          <a:prstGeom prst="rect">
            <a:avLst/>
          </a:prstGeom>
          <a:solidFill>
            <a:srgbClr val="494949"/>
          </a:solidFill>
          <a:ln w="12700" cap="flat" cmpd="sng" algn="ctr">
            <a:noFill/>
            <a:prstDash val="solid"/>
            <a:miter lim="800000"/>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9" name="Rectangle 12">
            <a:extLst>
              <a:ext uri="{FF2B5EF4-FFF2-40B4-BE49-F238E27FC236}">
                <a16:creationId xmlns:a16="http://schemas.microsoft.com/office/drawing/2014/main" id="{630956BC-41B3-2A4E-B15E-331A616E7D3B}"/>
              </a:ext>
            </a:extLst>
          </p:cNvPr>
          <p:cNvSpPr/>
          <p:nvPr userDrawn="1"/>
        </p:nvSpPr>
        <p:spPr>
          <a:xfrm>
            <a:off x="975945" y="6663353"/>
            <a:ext cx="3450208" cy="107722"/>
          </a:xfrm>
          <a:prstGeom prst="rect">
            <a:avLst/>
          </a:prstGeom>
          <a:noFill/>
        </p:spPr>
        <p:txBody>
          <a:bodyPr wrap="square" lIns="0" tIns="0" rIns="0" bIns="0" rtlCol="0" anchor="t" anchorCtr="0">
            <a:noAutofit/>
          </a:bodyPr>
          <a:lstStyle/>
          <a:p>
            <a:r>
              <a:rPr lang="en-US" sz="700">
                <a:solidFill>
                  <a:srgbClr val="FFFFFF"/>
                </a:solidFill>
                <a:cs typeface="Arial" panose="020B0604020202020204" pitchFamily="34" charset="0"/>
              </a:rPr>
              <a:t>Stratesys Technology Solutions -  All Rights Reserved </a:t>
            </a:r>
          </a:p>
        </p:txBody>
      </p:sp>
      <p:sp>
        <p:nvSpPr>
          <p:cNvPr id="30" name="Forma libre 29">
            <a:extLst>
              <a:ext uri="{FF2B5EF4-FFF2-40B4-BE49-F238E27FC236}">
                <a16:creationId xmlns:a16="http://schemas.microsoft.com/office/drawing/2014/main" id="{0DFB79D1-41AD-EA49-9CA7-797C0EBFB30D}"/>
              </a:ext>
            </a:extLst>
          </p:cNvPr>
          <p:cNvSpPr/>
          <p:nvPr userDrawn="1"/>
        </p:nvSpPr>
        <p:spPr>
          <a:xfrm>
            <a:off x="245493" y="6652590"/>
            <a:ext cx="593292" cy="136990"/>
          </a:xfrm>
          <a:custGeom>
            <a:avLst/>
            <a:gdLst>
              <a:gd name="connsiteX0" fmla="*/ 1011174 w 2686908"/>
              <a:gd name="connsiteY0" fmla="*/ 285844 h 620404"/>
              <a:gd name="connsiteX1" fmla="*/ 954024 w 2686908"/>
              <a:gd name="connsiteY1" fmla="*/ 304874 h 620404"/>
              <a:gd name="connsiteX2" fmla="*/ 920591 w 2686908"/>
              <a:gd name="connsiteY2" fmla="*/ 312201 h 620404"/>
              <a:gd name="connsiteX3" fmla="*/ 882491 w 2686908"/>
              <a:gd name="connsiteY3" fmla="*/ 331232 h 620404"/>
              <a:gd name="connsiteX4" fmla="*/ 872299 w 2686908"/>
              <a:gd name="connsiteY4" fmla="*/ 363204 h 620404"/>
              <a:gd name="connsiteX5" fmla="*/ 885444 w 2686908"/>
              <a:gd name="connsiteY5" fmla="*/ 398125 h 620404"/>
              <a:gd name="connsiteX6" fmla="*/ 923544 w 2686908"/>
              <a:gd name="connsiteY6" fmla="*/ 409734 h 620404"/>
              <a:gd name="connsiteX7" fmla="*/ 1010793 w 2686908"/>
              <a:gd name="connsiteY7" fmla="*/ 336913 h 620404"/>
              <a:gd name="connsiteX8" fmla="*/ 1010793 w 2686908"/>
              <a:gd name="connsiteY8" fmla="*/ 322573 h 620404"/>
              <a:gd name="connsiteX9" fmla="*/ 1488471 w 2686908"/>
              <a:gd name="connsiteY9" fmla="*/ 169565 h 620404"/>
              <a:gd name="connsiteX10" fmla="*/ 1436083 w 2686908"/>
              <a:gd name="connsiteY10" fmla="*/ 189928 h 620404"/>
              <a:gd name="connsiteX11" fmla="*/ 1414271 w 2686908"/>
              <a:gd name="connsiteY11" fmla="*/ 248067 h 620404"/>
              <a:gd name="connsiteX12" fmla="*/ 1562671 w 2686908"/>
              <a:gd name="connsiteY12" fmla="*/ 248067 h 620404"/>
              <a:gd name="connsiteX13" fmla="*/ 1542287 w 2686908"/>
              <a:gd name="connsiteY13" fmla="*/ 189928 h 620404"/>
              <a:gd name="connsiteX14" fmla="*/ 1488471 w 2686908"/>
              <a:gd name="connsiteY14" fmla="*/ 169565 h 620404"/>
              <a:gd name="connsiteX15" fmla="*/ 1997106 w 2686908"/>
              <a:gd name="connsiteY15" fmla="*/ 94012 h 620404"/>
              <a:gd name="connsiteX16" fmla="*/ 2109120 w 2686908"/>
              <a:gd name="connsiteY16" fmla="*/ 94012 h 620404"/>
              <a:gd name="connsiteX17" fmla="*/ 2187606 w 2686908"/>
              <a:gd name="connsiteY17" fmla="*/ 367199 h 620404"/>
              <a:gd name="connsiteX18" fmla="*/ 2255995 w 2686908"/>
              <a:gd name="connsiteY18" fmla="*/ 129314 h 620404"/>
              <a:gd name="connsiteX19" fmla="*/ 2302573 w 2686908"/>
              <a:gd name="connsiteY19" fmla="*/ 94393 h 620404"/>
              <a:gd name="connsiteX20" fmla="*/ 2372296 w 2686908"/>
              <a:gd name="connsiteY20" fmla="*/ 94393 h 620404"/>
              <a:gd name="connsiteX21" fmla="*/ 2223992 w 2686908"/>
              <a:gd name="connsiteY21" fmla="*/ 534671 h 620404"/>
              <a:gd name="connsiteX22" fmla="*/ 2180367 w 2686908"/>
              <a:gd name="connsiteY22" fmla="*/ 602991 h 620404"/>
              <a:gd name="connsiteX23" fmla="*/ 2094642 w 2686908"/>
              <a:gd name="connsiteY23" fmla="*/ 620404 h 620404"/>
              <a:gd name="connsiteX24" fmla="*/ 2085117 w 2686908"/>
              <a:gd name="connsiteY24" fmla="*/ 620404 h 620404"/>
              <a:gd name="connsiteX25" fmla="*/ 2051875 w 2686908"/>
              <a:gd name="connsiteY25" fmla="*/ 619643 h 620404"/>
              <a:gd name="connsiteX26" fmla="*/ 2051875 w 2686908"/>
              <a:gd name="connsiteY26" fmla="*/ 537430 h 620404"/>
              <a:gd name="connsiteX27" fmla="*/ 2079497 w 2686908"/>
              <a:gd name="connsiteY27" fmla="*/ 537430 h 620404"/>
              <a:gd name="connsiteX28" fmla="*/ 2125313 w 2686908"/>
              <a:gd name="connsiteY28" fmla="*/ 523728 h 620404"/>
              <a:gd name="connsiteX29" fmla="*/ 2131885 w 2686908"/>
              <a:gd name="connsiteY29" fmla="*/ 479386 h 620404"/>
              <a:gd name="connsiteX30" fmla="*/ 754856 w 2686908"/>
              <a:gd name="connsiteY30" fmla="*/ 93822 h 620404"/>
              <a:gd name="connsiteX31" fmla="*/ 769334 w 2686908"/>
              <a:gd name="connsiteY31" fmla="*/ 93822 h 620404"/>
              <a:gd name="connsiteX32" fmla="*/ 769334 w 2686908"/>
              <a:gd name="connsiteY32" fmla="*/ 196969 h 620404"/>
              <a:gd name="connsiteX33" fmla="*/ 735902 w 2686908"/>
              <a:gd name="connsiteY33" fmla="*/ 196969 h 620404"/>
              <a:gd name="connsiteX34" fmla="*/ 673418 w 2686908"/>
              <a:gd name="connsiteY34" fmla="*/ 217332 h 620404"/>
              <a:gd name="connsiteX35" fmla="*/ 653034 w 2686908"/>
              <a:gd name="connsiteY35" fmla="*/ 281276 h 620404"/>
              <a:gd name="connsiteX36" fmla="*/ 653034 w 2686908"/>
              <a:gd name="connsiteY36" fmla="*/ 480338 h 620404"/>
              <a:gd name="connsiteX37" fmla="*/ 551402 w 2686908"/>
              <a:gd name="connsiteY37" fmla="*/ 480338 h 620404"/>
              <a:gd name="connsiteX38" fmla="*/ 551402 w 2686908"/>
              <a:gd name="connsiteY38" fmla="*/ 292884 h 620404"/>
              <a:gd name="connsiteX39" fmla="*/ 568070 w 2686908"/>
              <a:gd name="connsiteY39" fmla="*/ 197730 h 620404"/>
              <a:gd name="connsiteX40" fmla="*/ 613886 w 2686908"/>
              <a:gd name="connsiteY40" fmla="*/ 135975 h 620404"/>
              <a:gd name="connsiteX41" fmla="*/ 678656 w 2686908"/>
              <a:gd name="connsiteY41" fmla="*/ 104003 h 620404"/>
              <a:gd name="connsiteX42" fmla="*/ 754856 w 2686908"/>
              <a:gd name="connsiteY42" fmla="*/ 93822 h 620404"/>
              <a:gd name="connsiteX43" fmla="*/ 2507646 w 2686908"/>
              <a:gd name="connsiteY43" fmla="*/ 85354 h 620404"/>
              <a:gd name="connsiteX44" fmla="*/ 2628424 w 2686908"/>
              <a:gd name="connsiteY44" fmla="*/ 118753 h 620404"/>
              <a:gd name="connsiteX45" fmla="*/ 2673477 w 2686908"/>
              <a:gd name="connsiteY45" fmla="*/ 213146 h 620404"/>
              <a:gd name="connsiteX46" fmla="*/ 2610898 w 2686908"/>
              <a:gd name="connsiteY46" fmla="*/ 213146 h 620404"/>
              <a:gd name="connsiteX47" fmla="*/ 2568797 w 2686908"/>
              <a:gd name="connsiteY47" fmla="*/ 188501 h 620404"/>
              <a:gd name="connsiteX48" fmla="*/ 2557081 w 2686908"/>
              <a:gd name="connsiteY48" fmla="*/ 176892 h 620404"/>
              <a:gd name="connsiteX49" fmla="*/ 2509456 w 2686908"/>
              <a:gd name="connsiteY49" fmla="*/ 163761 h 620404"/>
              <a:gd name="connsiteX50" fmla="*/ 2465737 w 2686908"/>
              <a:gd name="connsiteY50" fmla="*/ 172515 h 620404"/>
              <a:gd name="connsiteX51" fmla="*/ 2452687 w 2686908"/>
              <a:gd name="connsiteY51" fmla="*/ 198682 h 620404"/>
              <a:gd name="connsiteX52" fmla="*/ 2528316 w 2686908"/>
              <a:gd name="connsiteY52" fmla="*/ 237886 h 620404"/>
              <a:gd name="connsiteX53" fmla="*/ 2543556 w 2686908"/>
              <a:gd name="connsiteY53" fmla="*/ 242263 h 620404"/>
              <a:gd name="connsiteX54" fmla="*/ 2555938 w 2686908"/>
              <a:gd name="connsiteY54" fmla="*/ 243690 h 620404"/>
              <a:gd name="connsiteX55" fmla="*/ 2659189 w 2686908"/>
              <a:gd name="connsiteY55" fmla="*/ 287271 h 620404"/>
              <a:gd name="connsiteX56" fmla="*/ 2686811 w 2686908"/>
              <a:gd name="connsiteY56" fmla="*/ 357019 h 620404"/>
              <a:gd name="connsiteX57" fmla="*/ 2640330 w 2686908"/>
              <a:gd name="connsiteY57" fmla="*/ 455789 h 620404"/>
              <a:gd name="connsiteX58" fmla="*/ 2509456 w 2686908"/>
              <a:gd name="connsiteY58" fmla="*/ 487761 h 620404"/>
              <a:gd name="connsiteX59" fmla="*/ 2385631 w 2686908"/>
              <a:gd name="connsiteY59" fmla="*/ 454361 h 620404"/>
              <a:gd name="connsiteX60" fmla="*/ 2343435 w 2686908"/>
              <a:gd name="connsiteY60" fmla="*/ 357019 h 620404"/>
              <a:gd name="connsiteX61" fmla="*/ 2343340 w 2686908"/>
              <a:gd name="connsiteY61" fmla="*/ 352642 h 620404"/>
              <a:gd name="connsiteX62" fmla="*/ 2442210 w 2686908"/>
              <a:gd name="connsiteY62" fmla="*/ 352642 h 620404"/>
              <a:gd name="connsiteX63" fmla="*/ 2464022 w 2686908"/>
              <a:gd name="connsiteY63" fmla="*/ 396222 h 620404"/>
              <a:gd name="connsiteX64" fmla="*/ 2522220 w 2686908"/>
              <a:gd name="connsiteY64" fmla="*/ 410781 h 620404"/>
              <a:gd name="connsiteX65" fmla="*/ 2567273 w 2686908"/>
              <a:gd name="connsiteY65" fmla="*/ 400599 h 620404"/>
              <a:gd name="connsiteX66" fmla="*/ 2584799 w 2686908"/>
              <a:gd name="connsiteY66" fmla="*/ 373005 h 620404"/>
              <a:gd name="connsiteX67" fmla="*/ 2523649 w 2686908"/>
              <a:gd name="connsiteY67" fmla="*/ 333801 h 620404"/>
              <a:gd name="connsiteX68" fmla="*/ 2484405 w 2686908"/>
              <a:gd name="connsiteY68" fmla="*/ 325047 h 620404"/>
              <a:gd name="connsiteX69" fmla="*/ 2381155 w 2686908"/>
              <a:gd name="connsiteY69" fmla="*/ 280039 h 620404"/>
              <a:gd name="connsiteX70" fmla="*/ 2352008 w 2686908"/>
              <a:gd name="connsiteY70" fmla="*/ 210291 h 620404"/>
              <a:gd name="connsiteX71" fmla="*/ 2394204 w 2686908"/>
              <a:gd name="connsiteY71" fmla="*/ 118753 h 620404"/>
              <a:gd name="connsiteX72" fmla="*/ 2507646 w 2686908"/>
              <a:gd name="connsiteY72" fmla="*/ 85354 h 620404"/>
              <a:gd name="connsiteX73" fmla="*/ 1838991 w 2686908"/>
              <a:gd name="connsiteY73" fmla="*/ 85354 h 620404"/>
              <a:gd name="connsiteX74" fmla="*/ 1959673 w 2686908"/>
              <a:gd name="connsiteY74" fmla="*/ 118753 h 620404"/>
              <a:gd name="connsiteX75" fmla="*/ 2004821 w 2686908"/>
              <a:gd name="connsiteY75" fmla="*/ 213146 h 620404"/>
              <a:gd name="connsiteX76" fmla="*/ 1942242 w 2686908"/>
              <a:gd name="connsiteY76" fmla="*/ 213146 h 620404"/>
              <a:gd name="connsiteX77" fmla="*/ 1900046 w 2686908"/>
              <a:gd name="connsiteY77" fmla="*/ 188501 h 620404"/>
              <a:gd name="connsiteX78" fmla="*/ 1888426 w 2686908"/>
              <a:gd name="connsiteY78" fmla="*/ 176892 h 620404"/>
              <a:gd name="connsiteX79" fmla="*/ 1840801 w 2686908"/>
              <a:gd name="connsiteY79" fmla="*/ 163761 h 620404"/>
              <a:gd name="connsiteX80" fmla="*/ 1797176 w 2686908"/>
              <a:gd name="connsiteY80" fmla="*/ 172515 h 620404"/>
              <a:gd name="connsiteX81" fmla="*/ 1784127 w 2686908"/>
              <a:gd name="connsiteY81" fmla="*/ 198682 h 620404"/>
              <a:gd name="connsiteX82" fmla="*/ 1859756 w 2686908"/>
              <a:gd name="connsiteY82" fmla="*/ 237886 h 620404"/>
              <a:gd name="connsiteX83" fmla="*/ 1874995 w 2686908"/>
              <a:gd name="connsiteY83" fmla="*/ 242263 h 620404"/>
              <a:gd name="connsiteX84" fmla="*/ 1887378 w 2686908"/>
              <a:gd name="connsiteY84" fmla="*/ 243690 h 620404"/>
              <a:gd name="connsiteX85" fmla="*/ 1990629 w 2686908"/>
              <a:gd name="connsiteY85" fmla="*/ 287271 h 620404"/>
              <a:gd name="connsiteX86" fmla="*/ 2018251 w 2686908"/>
              <a:gd name="connsiteY86" fmla="*/ 357019 h 620404"/>
              <a:gd name="connsiteX87" fmla="*/ 1971770 w 2686908"/>
              <a:gd name="connsiteY87" fmla="*/ 455789 h 620404"/>
              <a:gd name="connsiteX88" fmla="*/ 1840801 w 2686908"/>
              <a:gd name="connsiteY88" fmla="*/ 487761 h 620404"/>
              <a:gd name="connsiteX89" fmla="*/ 1716976 w 2686908"/>
              <a:gd name="connsiteY89" fmla="*/ 454361 h 620404"/>
              <a:gd name="connsiteX90" fmla="*/ 1674685 w 2686908"/>
              <a:gd name="connsiteY90" fmla="*/ 356638 h 620404"/>
              <a:gd name="connsiteX91" fmla="*/ 1674685 w 2686908"/>
              <a:gd name="connsiteY91" fmla="*/ 352642 h 620404"/>
              <a:gd name="connsiteX92" fmla="*/ 1773555 w 2686908"/>
              <a:gd name="connsiteY92" fmla="*/ 352642 h 620404"/>
              <a:gd name="connsiteX93" fmla="*/ 1795367 w 2686908"/>
              <a:gd name="connsiteY93" fmla="*/ 396222 h 620404"/>
              <a:gd name="connsiteX94" fmla="*/ 1853564 w 2686908"/>
              <a:gd name="connsiteY94" fmla="*/ 410781 h 620404"/>
              <a:gd name="connsiteX95" fmla="*/ 1898617 w 2686908"/>
              <a:gd name="connsiteY95" fmla="*/ 400599 h 620404"/>
              <a:gd name="connsiteX96" fmla="*/ 1916048 w 2686908"/>
              <a:gd name="connsiteY96" fmla="*/ 373005 h 620404"/>
              <a:gd name="connsiteX97" fmla="*/ 1854993 w 2686908"/>
              <a:gd name="connsiteY97" fmla="*/ 333801 h 620404"/>
              <a:gd name="connsiteX98" fmla="*/ 1815750 w 2686908"/>
              <a:gd name="connsiteY98" fmla="*/ 325047 h 620404"/>
              <a:gd name="connsiteX99" fmla="*/ 1712499 w 2686908"/>
              <a:gd name="connsiteY99" fmla="*/ 280039 h 620404"/>
              <a:gd name="connsiteX100" fmla="*/ 1683352 w 2686908"/>
              <a:gd name="connsiteY100" fmla="*/ 210291 h 620404"/>
              <a:gd name="connsiteX101" fmla="*/ 1725548 w 2686908"/>
              <a:gd name="connsiteY101" fmla="*/ 118753 h 620404"/>
              <a:gd name="connsiteX102" fmla="*/ 1838991 w 2686908"/>
              <a:gd name="connsiteY102" fmla="*/ 85354 h 620404"/>
              <a:gd name="connsiteX103" fmla="*/ 1485804 w 2686908"/>
              <a:gd name="connsiteY103" fmla="*/ 85354 h 620404"/>
              <a:gd name="connsiteX104" fmla="*/ 1621155 w 2686908"/>
              <a:gd name="connsiteY104" fmla="*/ 137593 h 620404"/>
              <a:gd name="connsiteX105" fmla="*/ 1667636 w 2686908"/>
              <a:gd name="connsiteY105" fmla="*/ 287271 h 620404"/>
              <a:gd name="connsiteX106" fmla="*/ 1667636 w 2686908"/>
              <a:gd name="connsiteY106" fmla="*/ 303257 h 620404"/>
              <a:gd name="connsiteX107" fmla="*/ 1666208 w 2686908"/>
              <a:gd name="connsiteY107" fmla="*/ 313438 h 620404"/>
              <a:gd name="connsiteX108" fmla="*/ 1414271 w 2686908"/>
              <a:gd name="connsiteY108" fmla="*/ 313438 h 620404"/>
              <a:gd name="connsiteX109" fmla="*/ 1436083 w 2686908"/>
              <a:gd name="connsiteY109" fmla="*/ 380046 h 620404"/>
              <a:gd name="connsiteX110" fmla="*/ 1493233 w 2686908"/>
              <a:gd name="connsiteY110" fmla="*/ 403359 h 620404"/>
              <a:gd name="connsiteX111" fmla="*/ 1535430 w 2686908"/>
              <a:gd name="connsiteY111" fmla="*/ 393177 h 620404"/>
              <a:gd name="connsiteX112" fmla="*/ 1543430 w 2686908"/>
              <a:gd name="connsiteY112" fmla="*/ 388039 h 620404"/>
              <a:gd name="connsiteX113" fmla="*/ 1551431 w 2686908"/>
              <a:gd name="connsiteY113" fmla="*/ 380046 h 620404"/>
              <a:gd name="connsiteX114" fmla="*/ 1562290 w 2686908"/>
              <a:gd name="connsiteY114" fmla="*/ 368437 h 620404"/>
              <a:gd name="connsiteX115" fmla="*/ 1588865 w 2686908"/>
              <a:gd name="connsiteY115" fmla="*/ 361396 h 620404"/>
              <a:gd name="connsiteX116" fmla="*/ 1661540 w 2686908"/>
              <a:gd name="connsiteY116" fmla="*/ 361396 h 620404"/>
              <a:gd name="connsiteX117" fmla="*/ 1600485 w 2686908"/>
              <a:gd name="connsiteY117" fmla="*/ 454361 h 620404"/>
              <a:gd name="connsiteX118" fmla="*/ 1487042 w 2686908"/>
              <a:gd name="connsiteY118" fmla="*/ 487761 h 620404"/>
              <a:gd name="connsiteX119" fmla="*/ 1357597 w 2686908"/>
              <a:gd name="connsiteY119" fmla="*/ 433999 h 620404"/>
              <a:gd name="connsiteX120" fmla="*/ 1311306 w 2686908"/>
              <a:gd name="connsiteY120" fmla="*/ 284416 h 620404"/>
              <a:gd name="connsiteX121" fmla="*/ 1356454 w 2686908"/>
              <a:gd name="connsiteY121" fmla="*/ 139116 h 620404"/>
              <a:gd name="connsiteX122" fmla="*/ 1485804 w 2686908"/>
              <a:gd name="connsiteY122" fmla="*/ 85354 h 620404"/>
              <a:gd name="connsiteX123" fmla="*/ 941355 w 2686908"/>
              <a:gd name="connsiteY123" fmla="*/ 85354 h 620404"/>
              <a:gd name="connsiteX124" fmla="*/ 1063561 w 2686908"/>
              <a:gd name="connsiteY124" fmla="*/ 112949 h 620404"/>
              <a:gd name="connsiteX125" fmla="*/ 1105662 w 2686908"/>
              <a:gd name="connsiteY125" fmla="*/ 194305 h 620404"/>
              <a:gd name="connsiteX126" fmla="*/ 1105662 w 2686908"/>
              <a:gd name="connsiteY126" fmla="*/ 326474 h 620404"/>
              <a:gd name="connsiteX127" fmla="*/ 1084612 w 2686908"/>
              <a:gd name="connsiteY127" fmla="*/ 417347 h 620404"/>
              <a:gd name="connsiteX128" fmla="*/ 1034415 w 2686908"/>
              <a:gd name="connsiteY128" fmla="*/ 464543 h 620404"/>
              <a:gd name="connsiteX129" fmla="*/ 969740 w 2686908"/>
              <a:gd name="connsiteY129" fmla="*/ 484145 h 620404"/>
              <a:gd name="connsiteX130" fmla="*/ 909351 w 2686908"/>
              <a:gd name="connsiteY130" fmla="*/ 487761 h 620404"/>
              <a:gd name="connsiteX131" fmla="*/ 817721 w 2686908"/>
              <a:gd name="connsiteY131" fmla="*/ 459214 h 620404"/>
              <a:gd name="connsiteX132" fmla="*/ 778478 w 2686908"/>
              <a:gd name="connsiteY132" fmla="*/ 365488 h 620404"/>
              <a:gd name="connsiteX133" fmla="*/ 814101 w 2686908"/>
              <a:gd name="connsiteY133" fmla="*/ 278326 h 620404"/>
              <a:gd name="connsiteX134" fmla="*/ 904970 w 2686908"/>
              <a:gd name="connsiteY134" fmla="*/ 243405 h 620404"/>
              <a:gd name="connsiteX135" fmla="*/ 922496 w 2686908"/>
              <a:gd name="connsiteY135" fmla="*/ 241216 h 620404"/>
              <a:gd name="connsiteX136" fmla="*/ 945737 w 2686908"/>
              <a:gd name="connsiteY136" fmla="*/ 237601 h 620404"/>
              <a:gd name="connsiteX137" fmla="*/ 1009745 w 2686908"/>
              <a:gd name="connsiteY137" fmla="*/ 199539 h 620404"/>
              <a:gd name="connsiteX138" fmla="*/ 987171 w 2686908"/>
              <a:gd name="connsiteY138" fmla="*/ 170993 h 620404"/>
              <a:gd name="connsiteX139" fmla="*/ 945737 w 2686908"/>
              <a:gd name="connsiteY139" fmla="*/ 164427 h 620404"/>
              <a:gd name="connsiteX140" fmla="*/ 909351 w 2686908"/>
              <a:gd name="connsiteY140" fmla="*/ 170327 h 620404"/>
              <a:gd name="connsiteX141" fmla="*/ 886110 w 2686908"/>
              <a:gd name="connsiteY141" fmla="*/ 192117 h 620404"/>
              <a:gd name="connsiteX142" fmla="*/ 788670 w 2686908"/>
              <a:gd name="connsiteY142" fmla="*/ 192117 h 620404"/>
              <a:gd name="connsiteX143" fmla="*/ 829342 w 2686908"/>
              <a:gd name="connsiteY143" fmla="*/ 118753 h 620404"/>
              <a:gd name="connsiteX144" fmla="*/ 941355 w 2686908"/>
              <a:gd name="connsiteY144" fmla="*/ 85354 h 620404"/>
              <a:gd name="connsiteX145" fmla="*/ 164402 w 2686908"/>
              <a:gd name="connsiteY145" fmla="*/ 85354 h 620404"/>
              <a:gd name="connsiteX146" fmla="*/ 285083 w 2686908"/>
              <a:gd name="connsiteY146" fmla="*/ 118753 h 620404"/>
              <a:gd name="connsiteX147" fmla="*/ 330232 w 2686908"/>
              <a:gd name="connsiteY147" fmla="*/ 213146 h 620404"/>
              <a:gd name="connsiteX148" fmla="*/ 267653 w 2686908"/>
              <a:gd name="connsiteY148" fmla="*/ 213146 h 620404"/>
              <a:gd name="connsiteX149" fmla="*/ 225457 w 2686908"/>
              <a:gd name="connsiteY149" fmla="*/ 188501 h 620404"/>
              <a:gd name="connsiteX150" fmla="*/ 213836 w 2686908"/>
              <a:gd name="connsiteY150" fmla="*/ 176892 h 620404"/>
              <a:gd name="connsiteX151" fmla="*/ 166211 w 2686908"/>
              <a:gd name="connsiteY151" fmla="*/ 163761 h 620404"/>
              <a:gd name="connsiteX152" fmla="*/ 122587 w 2686908"/>
              <a:gd name="connsiteY152" fmla="*/ 172515 h 620404"/>
              <a:gd name="connsiteX153" fmla="*/ 109538 w 2686908"/>
              <a:gd name="connsiteY153" fmla="*/ 198682 h 620404"/>
              <a:gd name="connsiteX154" fmla="*/ 185166 w 2686908"/>
              <a:gd name="connsiteY154" fmla="*/ 237886 h 620404"/>
              <a:gd name="connsiteX155" fmla="*/ 200406 w 2686908"/>
              <a:gd name="connsiteY155" fmla="*/ 242263 h 620404"/>
              <a:gd name="connsiteX156" fmla="*/ 212789 w 2686908"/>
              <a:gd name="connsiteY156" fmla="*/ 243690 h 620404"/>
              <a:gd name="connsiteX157" fmla="*/ 316040 w 2686908"/>
              <a:gd name="connsiteY157" fmla="*/ 287271 h 620404"/>
              <a:gd name="connsiteX158" fmla="*/ 343662 w 2686908"/>
              <a:gd name="connsiteY158" fmla="*/ 357019 h 620404"/>
              <a:gd name="connsiteX159" fmla="*/ 297085 w 2686908"/>
              <a:gd name="connsiteY159" fmla="*/ 455789 h 620404"/>
              <a:gd name="connsiteX160" fmla="*/ 166211 w 2686908"/>
              <a:gd name="connsiteY160" fmla="*/ 487761 h 620404"/>
              <a:gd name="connsiteX161" fmla="*/ 42386 w 2686908"/>
              <a:gd name="connsiteY161" fmla="*/ 454361 h 620404"/>
              <a:gd name="connsiteX162" fmla="*/ 0 w 2686908"/>
              <a:gd name="connsiteY162" fmla="*/ 356638 h 620404"/>
              <a:gd name="connsiteX163" fmla="*/ 0 w 2686908"/>
              <a:gd name="connsiteY163" fmla="*/ 352642 h 620404"/>
              <a:gd name="connsiteX164" fmla="*/ 98965 w 2686908"/>
              <a:gd name="connsiteY164" fmla="*/ 352642 h 620404"/>
              <a:gd name="connsiteX165" fmla="*/ 120777 w 2686908"/>
              <a:gd name="connsiteY165" fmla="*/ 396222 h 620404"/>
              <a:gd name="connsiteX166" fmla="*/ 178975 w 2686908"/>
              <a:gd name="connsiteY166" fmla="*/ 410781 h 620404"/>
              <a:gd name="connsiteX167" fmla="*/ 224028 w 2686908"/>
              <a:gd name="connsiteY167" fmla="*/ 400599 h 620404"/>
              <a:gd name="connsiteX168" fmla="*/ 241459 w 2686908"/>
              <a:gd name="connsiteY168" fmla="*/ 373005 h 620404"/>
              <a:gd name="connsiteX169" fmla="*/ 180404 w 2686908"/>
              <a:gd name="connsiteY169" fmla="*/ 333801 h 620404"/>
              <a:gd name="connsiteX170" fmla="*/ 141161 w 2686908"/>
              <a:gd name="connsiteY170" fmla="*/ 325047 h 620404"/>
              <a:gd name="connsiteX171" fmla="*/ 37814 w 2686908"/>
              <a:gd name="connsiteY171" fmla="*/ 280039 h 620404"/>
              <a:gd name="connsiteX172" fmla="*/ 8763 w 2686908"/>
              <a:gd name="connsiteY172" fmla="*/ 210291 h 620404"/>
              <a:gd name="connsiteX173" fmla="*/ 50959 w 2686908"/>
              <a:gd name="connsiteY173" fmla="*/ 118753 h 620404"/>
              <a:gd name="connsiteX174" fmla="*/ 164402 w 2686908"/>
              <a:gd name="connsiteY174" fmla="*/ 85354 h 620404"/>
              <a:gd name="connsiteX175" fmla="*/ 1129760 w 2686908"/>
              <a:gd name="connsiteY175" fmla="*/ 0 h 620404"/>
              <a:gd name="connsiteX176" fmla="*/ 1228058 w 2686908"/>
              <a:gd name="connsiteY176" fmla="*/ 0 h 620404"/>
              <a:gd name="connsiteX177" fmla="*/ 1228058 w 2686908"/>
              <a:gd name="connsiteY177" fmla="*/ 97438 h 620404"/>
              <a:gd name="connsiteX178" fmla="*/ 1297305 w 2686908"/>
              <a:gd name="connsiteY178" fmla="*/ 97438 h 620404"/>
              <a:gd name="connsiteX179" fmla="*/ 1297305 w 2686908"/>
              <a:gd name="connsiteY179" fmla="*/ 184409 h 620404"/>
              <a:gd name="connsiteX180" fmla="*/ 1228058 w 2686908"/>
              <a:gd name="connsiteY180" fmla="*/ 184409 h 620404"/>
              <a:gd name="connsiteX181" fmla="*/ 1228058 w 2686908"/>
              <a:gd name="connsiteY181" fmla="*/ 319813 h 620404"/>
              <a:gd name="connsiteX182" fmla="*/ 1246250 w 2686908"/>
              <a:gd name="connsiteY182" fmla="*/ 376334 h 620404"/>
              <a:gd name="connsiteX183" fmla="*/ 1301781 w 2686908"/>
              <a:gd name="connsiteY183" fmla="*/ 390512 h 620404"/>
              <a:gd name="connsiteX184" fmla="*/ 1301781 w 2686908"/>
              <a:gd name="connsiteY184" fmla="*/ 479767 h 620404"/>
              <a:gd name="connsiteX185" fmla="*/ 1227295 w 2686908"/>
              <a:gd name="connsiteY185" fmla="*/ 474534 h 620404"/>
              <a:gd name="connsiteX186" fmla="*/ 1173670 w 2686908"/>
              <a:gd name="connsiteY186" fmla="*/ 443323 h 620404"/>
              <a:gd name="connsiteX187" fmla="*/ 1140904 w 2686908"/>
              <a:gd name="connsiteY187" fmla="*/ 390132 h 620404"/>
              <a:gd name="connsiteX188" fmla="*/ 1129760 w 2686908"/>
              <a:gd name="connsiteY188" fmla="*/ 319052 h 620404"/>
              <a:gd name="connsiteX189" fmla="*/ 361474 w 2686908"/>
              <a:gd name="connsiteY189" fmla="*/ 0 h 620404"/>
              <a:gd name="connsiteX190" fmla="*/ 459772 w 2686908"/>
              <a:gd name="connsiteY190" fmla="*/ 0 h 620404"/>
              <a:gd name="connsiteX191" fmla="*/ 459772 w 2686908"/>
              <a:gd name="connsiteY191" fmla="*/ 97438 h 620404"/>
              <a:gd name="connsiteX192" fmla="*/ 529019 w 2686908"/>
              <a:gd name="connsiteY192" fmla="*/ 97438 h 620404"/>
              <a:gd name="connsiteX193" fmla="*/ 529019 w 2686908"/>
              <a:gd name="connsiteY193" fmla="*/ 184409 h 620404"/>
              <a:gd name="connsiteX194" fmla="*/ 459772 w 2686908"/>
              <a:gd name="connsiteY194" fmla="*/ 184409 h 620404"/>
              <a:gd name="connsiteX195" fmla="*/ 459772 w 2686908"/>
              <a:gd name="connsiteY195" fmla="*/ 319813 h 620404"/>
              <a:gd name="connsiteX196" fmla="*/ 478060 w 2686908"/>
              <a:gd name="connsiteY196" fmla="*/ 376334 h 620404"/>
              <a:gd name="connsiteX197" fmla="*/ 533496 w 2686908"/>
              <a:gd name="connsiteY197" fmla="*/ 390512 h 620404"/>
              <a:gd name="connsiteX198" fmla="*/ 533496 w 2686908"/>
              <a:gd name="connsiteY198" fmla="*/ 479767 h 620404"/>
              <a:gd name="connsiteX199" fmla="*/ 459010 w 2686908"/>
              <a:gd name="connsiteY199" fmla="*/ 474534 h 620404"/>
              <a:gd name="connsiteX200" fmla="*/ 405479 w 2686908"/>
              <a:gd name="connsiteY200" fmla="*/ 443323 h 620404"/>
              <a:gd name="connsiteX201" fmla="*/ 372713 w 2686908"/>
              <a:gd name="connsiteY201" fmla="*/ 390132 h 620404"/>
              <a:gd name="connsiteX202" fmla="*/ 361474 w 2686908"/>
              <a:gd name="connsiteY202" fmla="*/ 319052 h 620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2686908" h="620404">
                <a:moveTo>
                  <a:pt x="1011174" y="285844"/>
                </a:moveTo>
                <a:cubicBezTo>
                  <a:pt x="992876" y="294246"/>
                  <a:pt x="973712" y="300631"/>
                  <a:pt x="954024" y="304874"/>
                </a:cubicBezTo>
                <a:lnTo>
                  <a:pt x="920591" y="312201"/>
                </a:lnTo>
                <a:cubicBezTo>
                  <a:pt x="906503" y="315284"/>
                  <a:pt x="893406" y="321821"/>
                  <a:pt x="882491" y="331232"/>
                </a:cubicBezTo>
                <a:cubicBezTo>
                  <a:pt x="876090" y="340690"/>
                  <a:pt x="872547" y="351785"/>
                  <a:pt x="872299" y="363204"/>
                </a:cubicBezTo>
                <a:cubicBezTo>
                  <a:pt x="871737" y="376145"/>
                  <a:pt x="876481" y="388762"/>
                  <a:pt x="885444" y="398125"/>
                </a:cubicBezTo>
                <a:cubicBezTo>
                  <a:pt x="896255" y="406594"/>
                  <a:pt x="909837" y="410733"/>
                  <a:pt x="923544" y="409734"/>
                </a:cubicBezTo>
                <a:cubicBezTo>
                  <a:pt x="967768" y="413693"/>
                  <a:pt x="1006830" y="381093"/>
                  <a:pt x="1010793" y="336913"/>
                </a:cubicBezTo>
                <a:cubicBezTo>
                  <a:pt x="1011221" y="332146"/>
                  <a:pt x="1011221" y="327340"/>
                  <a:pt x="1010793" y="322573"/>
                </a:cubicBezTo>
                <a:close/>
                <a:moveTo>
                  <a:pt x="1488471" y="169565"/>
                </a:moveTo>
                <a:cubicBezTo>
                  <a:pt x="1468955" y="168890"/>
                  <a:pt x="1450009" y="176255"/>
                  <a:pt x="1436083" y="189928"/>
                </a:cubicBezTo>
                <a:cubicBezTo>
                  <a:pt x="1421615" y="205790"/>
                  <a:pt x="1413804" y="226610"/>
                  <a:pt x="1414271" y="248067"/>
                </a:cubicBezTo>
                <a:lnTo>
                  <a:pt x="1562671" y="248067"/>
                </a:lnTo>
                <a:cubicBezTo>
                  <a:pt x="1560642" y="221929"/>
                  <a:pt x="1553841" y="202555"/>
                  <a:pt x="1542287" y="189928"/>
                </a:cubicBezTo>
                <a:cubicBezTo>
                  <a:pt x="1528095" y="175750"/>
                  <a:pt x="1508502" y="168338"/>
                  <a:pt x="1488471" y="169565"/>
                </a:cubicBezTo>
                <a:close/>
                <a:moveTo>
                  <a:pt x="1997106" y="94012"/>
                </a:moveTo>
                <a:lnTo>
                  <a:pt x="2109120" y="94012"/>
                </a:lnTo>
                <a:lnTo>
                  <a:pt x="2187606" y="367199"/>
                </a:lnTo>
                <a:lnTo>
                  <a:pt x="2255995" y="129314"/>
                </a:lnTo>
                <a:cubicBezTo>
                  <a:pt x="2261835" y="106030"/>
                  <a:pt x="2277360" y="94393"/>
                  <a:pt x="2302573" y="94393"/>
                </a:cubicBezTo>
                <a:lnTo>
                  <a:pt x="2372296" y="94393"/>
                </a:lnTo>
                <a:lnTo>
                  <a:pt x="2223992" y="534671"/>
                </a:lnTo>
                <a:cubicBezTo>
                  <a:pt x="2212371" y="566385"/>
                  <a:pt x="2197826" y="589165"/>
                  <a:pt x="2180367" y="602991"/>
                </a:cubicBezTo>
                <a:cubicBezTo>
                  <a:pt x="2162936" y="614600"/>
                  <a:pt x="2134266" y="620404"/>
                  <a:pt x="2094642" y="620404"/>
                </a:cubicBezTo>
                <a:lnTo>
                  <a:pt x="2085117" y="620404"/>
                </a:lnTo>
                <a:lnTo>
                  <a:pt x="2051875" y="619643"/>
                </a:lnTo>
                <a:lnTo>
                  <a:pt x="2051875" y="537430"/>
                </a:lnTo>
                <a:lnTo>
                  <a:pt x="2079497" y="537430"/>
                </a:lnTo>
                <a:cubicBezTo>
                  <a:pt x="2095909" y="538372"/>
                  <a:pt x="2112120" y="533519"/>
                  <a:pt x="2125313" y="523728"/>
                </a:cubicBezTo>
                <a:cubicBezTo>
                  <a:pt x="2136428" y="514526"/>
                  <a:pt x="2138619" y="499749"/>
                  <a:pt x="2131885" y="479386"/>
                </a:cubicBezTo>
                <a:close/>
                <a:moveTo>
                  <a:pt x="754856" y="93822"/>
                </a:moveTo>
                <a:lnTo>
                  <a:pt x="769334" y="93822"/>
                </a:lnTo>
                <a:lnTo>
                  <a:pt x="769334" y="196969"/>
                </a:lnTo>
                <a:lnTo>
                  <a:pt x="735902" y="196969"/>
                </a:lnTo>
                <a:cubicBezTo>
                  <a:pt x="707327" y="196969"/>
                  <a:pt x="686943" y="203820"/>
                  <a:pt x="673418" y="217332"/>
                </a:cubicBezTo>
                <a:cubicBezTo>
                  <a:pt x="659892" y="230844"/>
                  <a:pt x="653034" y="252254"/>
                  <a:pt x="653034" y="281276"/>
                </a:cubicBezTo>
                <a:lnTo>
                  <a:pt x="653034" y="480338"/>
                </a:lnTo>
                <a:lnTo>
                  <a:pt x="551402" y="480338"/>
                </a:lnTo>
                <a:lnTo>
                  <a:pt x="551402" y="292884"/>
                </a:lnTo>
                <a:cubicBezTo>
                  <a:pt x="550430" y="260361"/>
                  <a:pt x="556098" y="227989"/>
                  <a:pt x="568070" y="197730"/>
                </a:cubicBezTo>
                <a:cubicBezTo>
                  <a:pt x="578025" y="173694"/>
                  <a:pt x="593760" y="152485"/>
                  <a:pt x="613886" y="135975"/>
                </a:cubicBezTo>
                <a:cubicBezTo>
                  <a:pt x="633107" y="121074"/>
                  <a:pt x="655139" y="110208"/>
                  <a:pt x="678656" y="104003"/>
                </a:cubicBezTo>
                <a:cubicBezTo>
                  <a:pt x="703488" y="97229"/>
                  <a:pt x="729119" y="93803"/>
                  <a:pt x="754856" y="93822"/>
                </a:cubicBezTo>
                <a:close/>
                <a:moveTo>
                  <a:pt x="2507646" y="85354"/>
                </a:moveTo>
                <a:cubicBezTo>
                  <a:pt x="2558005" y="85354"/>
                  <a:pt x="2598258" y="96487"/>
                  <a:pt x="2628424" y="118753"/>
                </a:cubicBezTo>
                <a:cubicBezTo>
                  <a:pt x="2656217" y="142361"/>
                  <a:pt x="2672610" y="176702"/>
                  <a:pt x="2673477" y="213146"/>
                </a:cubicBezTo>
                <a:lnTo>
                  <a:pt x="2610898" y="213146"/>
                </a:lnTo>
                <a:cubicBezTo>
                  <a:pt x="2593305" y="213631"/>
                  <a:pt x="2576969" y="204068"/>
                  <a:pt x="2568797" y="188501"/>
                </a:cubicBezTo>
                <a:lnTo>
                  <a:pt x="2557081" y="176892"/>
                </a:lnTo>
                <a:cubicBezTo>
                  <a:pt x="2543051" y="167472"/>
                  <a:pt x="2526335" y="162866"/>
                  <a:pt x="2509456" y="163761"/>
                </a:cubicBezTo>
                <a:cubicBezTo>
                  <a:pt x="2494369" y="162828"/>
                  <a:pt x="2479300" y="165845"/>
                  <a:pt x="2465737" y="172515"/>
                </a:cubicBezTo>
                <a:cubicBezTo>
                  <a:pt x="2457059" y="178319"/>
                  <a:pt x="2452097" y="188273"/>
                  <a:pt x="2452687" y="198682"/>
                </a:cubicBezTo>
                <a:cubicBezTo>
                  <a:pt x="2452687" y="214164"/>
                  <a:pt x="2477900" y="227229"/>
                  <a:pt x="2528316" y="237886"/>
                </a:cubicBezTo>
                <a:cubicBezTo>
                  <a:pt x="2534126" y="239789"/>
                  <a:pt x="2539269" y="241312"/>
                  <a:pt x="2543556" y="242263"/>
                </a:cubicBezTo>
                <a:cubicBezTo>
                  <a:pt x="2547623" y="243177"/>
                  <a:pt x="2551776" y="243662"/>
                  <a:pt x="2555938" y="243690"/>
                </a:cubicBezTo>
                <a:cubicBezTo>
                  <a:pt x="2605401" y="256374"/>
                  <a:pt x="2639825" y="270904"/>
                  <a:pt x="2659189" y="287271"/>
                </a:cubicBezTo>
                <a:cubicBezTo>
                  <a:pt x="2677972" y="305493"/>
                  <a:pt x="2688021" y="330890"/>
                  <a:pt x="2686811" y="357019"/>
                </a:cubicBezTo>
                <a:cubicBezTo>
                  <a:pt x="2686811" y="399648"/>
                  <a:pt x="2671315" y="432571"/>
                  <a:pt x="2640330" y="455789"/>
                </a:cubicBezTo>
                <a:cubicBezTo>
                  <a:pt x="2611183" y="477199"/>
                  <a:pt x="2567559" y="487761"/>
                  <a:pt x="2509456" y="487761"/>
                </a:cubicBezTo>
                <a:cubicBezTo>
                  <a:pt x="2454144" y="487761"/>
                  <a:pt x="2412873" y="476627"/>
                  <a:pt x="2385631" y="454361"/>
                </a:cubicBezTo>
                <a:cubicBezTo>
                  <a:pt x="2357437" y="432095"/>
                  <a:pt x="2343369" y="399648"/>
                  <a:pt x="2343435" y="357019"/>
                </a:cubicBezTo>
                <a:lnTo>
                  <a:pt x="2343340" y="352642"/>
                </a:lnTo>
                <a:lnTo>
                  <a:pt x="2442210" y="352642"/>
                </a:lnTo>
                <a:cubicBezTo>
                  <a:pt x="2442019" y="369836"/>
                  <a:pt x="2450135" y="386060"/>
                  <a:pt x="2464022" y="396222"/>
                </a:cubicBezTo>
                <a:cubicBezTo>
                  <a:pt x="2481548" y="406718"/>
                  <a:pt x="2501808" y="411789"/>
                  <a:pt x="2522220" y="410781"/>
                </a:cubicBezTo>
                <a:cubicBezTo>
                  <a:pt x="2537860" y="411228"/>
                  <a:pt x="2553357" y="407726"/>
                  <a:pt x="2567273" y="400599"/>
                </a:cubicBezTo>
                <a:cubicBezTo>
                  <a:pt x="2577912" y="395509"/>
                  <a:pt x="2584723" y="384794"/>
                  <a:pt x="2584799" y="373005"/>
                </a:cubicBezTo>
                <a:cubicBezTo>
                  <a:pt x="2584799" y="355592"/>
                  <a:pt x="2564415" y="342460"/>
                  <a:pt x="2523649" y="333801"/>
                </a:cubicBezTo>
                <a:cubicBezTo>
                  <a:pt x="2510371" y="331832"/>
                  <a:pt x="2497254" y="328910"/>
                  <a:pt x="2484405" y="325047"/>
                </a:cubicBezTo>
                <a:cubicBezTo>
                  <a:pt x="2432971" y="312363"/>
                  <a:pt x="2398556" y="297357"/>
                  <a:pt x="2381155" y="280039"/>
                </a:cubicBezTo>
                <a:cubicBezTo>
                  <a:pt x="2361571" y="262255"/>
                  <a:pt x="2350894" y="236706"/>
                  <a:pt x="2352008" y="210291"/>
                </a:cubicBezTo>
                <a:cubicBezTo>
                  <a:pt x="2351332" y="174942"/>
                  <a:pt x="2366876" y="141219"/>
                  <a:pt x="2394204" y="118753"/>
                </a:cubicBezTo>
                <a:cubicBezTo>
                  <a:pt x="2423350" y="96487"/>
                  <a:pt x="2461164" y="85354"/>
                  <a:pt x="2507646" y="85354"/>
                </a:cubicBezTo>
                <a:close/>
                <a:moveTo>
                  <a:pt x="1838991" y="85354"/>
                </a:moveTo>
                <a:cubicBezTo>
                  <a:pt x="1889407" y="85354"/>
                  <a:pt x="1929640" y="96487"/>
                  <a:pt x="1959673" y="118753"/>
                </a:cubicBezTo>
                <a:cubicBezTo>
                  <a:pt x="1987533" y="142323"/>
                  <a:pt x="2003964" y="176683"/>
                  <a:pt x="2004821" y="213146"/>
                </a:cubicBezTo>
                <a:lnTo>
                  <a:pt x="1942242" y="213146"/>
                </a:lnTo>
                <a:cubicBezTo>
                  <a:pt x="1924630" y="213622"/>
                  <a:pt x="1908266" y="204068"/>
                  <a:pt x="1900046" y="188501"/>
                </a:cubicBezTo>
                <a:cubicBezTo>
                  <a:pt x="1896236" y="184600"/>
                  <a:pt x="1892331" y="180698"/>
                  <a:pt x="1888426" y="176892"/>
                </a:cubicBezTo>
                <a:cubicBezTo>
                  <a:pt x="1874395" y="167481"/>
                  <a:pt x="1857679" y="162876"/>
                  <a:pt x="1840801" y="163761"/>
                </a:cubicBezTo>
                <a:cubicBezTo>
                  <a:pt x="1825741" y="162838"/>
                  <a:pt x="1810712" y="165854"/>
                  <a:pt x="1797176" y="172515"/>
                </a:cubicBezTo>
                <a:cubicBezTo>
                  <a:pt x="1788499" y="178319"/>
                  <a:pt x="1783536" y="188273"/>
                  <a:pt x="1784127" y="198682"/>
                </a:cubicBezTo>
                <a:cubicBezTo>
                  <a:pt x="1784127" y="214164"/>
                  <a:pt x="1809340" y="227229"/>
                  <a:pt x="1859756" y="237886"/>
                </a:cubicBezTo>
                <a:cubicBezTo>
                  <a:pt x="1865566" y="239789"/>
                  <a:pt x="1870614" y="241312"/>
                  <a:pt x="1874995" y="242263"/>
                </a:cubicBezTo>
                <a:cubicBezTo>
                  <a:pt x="1879063" y="243177"/>
                  <a:pt x="1883216" y="243662"/>
                  <a:pt x="1887378" y="243690"/>
                </a:cubicBezTo>
                <a:cubicBezTo>
                  <a:pt x="1936784" y="256374"/>
                  <a:pt x="1971198" y="270904"/>
                  <a:pt x="1990629" y="287271"/>
                </a:cubicBezTo>
                <a:cubicBezTo>
                  <a:pt x="2009365" y="305522"/>
                  <a:pt x="2019413" y="330899"/>
                  <a:pt x="2018251" y="357019"/>
                </a:cubicBezTo>
                <a:cubicBezTo>
                  <a:pt x="2018251" y="399648"/>
                  <a:pt x="2002755" y="432571"/>
                  <a:pt x="1971770" y="455789"/>
                </a:cubicBezTo>
                <a:cubicBezTo>
                  <a:pt x="1942623" y="477199"/>
                  <a:pt x="1898999" y="487761"/>
                  <a:pt x="1840801" y="487761"/>
                </a:cubicBezTo>
                <a:cubicBezTo>
                  <a:pt x="1785556" y="487761"/>
                  <a:pt x="1744284" y="476627"/>
                  <a:pt x="1716976" y="454361"/>
                </a:cubicBezTo>
                <a:cubicBezTo>
                  <a:pt x="1689668" y="432095"/>
                  <a:pt x="1675570" y="399524"/>
                  <a:pt x="1674685" y="356638"/>
                </a:cubicBezTo>
                <a:lnTo>
                  <a:pt x="1674685" y="352642"/>
                </a:lnTo>
                <a:lnTo>
                  <a:pt x="1773555" y="352642"/>
                </a:lnTo>
                <a:cubicBezTo>
                  <a:pt x="1773364" y="369836"/>
                  <a:pt x="1781488" y="386060"/>
                  <a:pt x="1795367" y="396222"/>
                </a:cubicBezTo>
                <a:cubicBezTo>
                  <a:pt x="1812892" y="406718"/>
                  <a:pt x="1833152" y="411789"/>
                  <a:pt x="1853564" y="410781"/>
                </a:cubicBezTo>
                <a:cubicBezTo>
                  <a:pt x="1869205" y="411228"/>
                  <a:pt x="1884701" y="407726"/>
                  <a:pt x="1898617" y="400599"/>
                </a:cubicBezTo>
                <a:cubicBezTo>
                  <a:pt x="1909219" y="395480"/>
                  <a:pt x="1915981" y="384775"/>
                  <a:pt x="1916048" y="373005"/>
                </a:cubicBezTo>
                <a:cubicBezTo>
                  <a:pt x="1916048" y="355592"/>
                  <a:pt x="1895760" y="342460"/>
                  <a:pt x="1854993" y="333801"/>
                </a:cubicBezTo>
                <a:cubicBezTo>
                  <a:pt x="1841715" y="331841"/>
                  <a:pt x="1828599" y="328920"/>
                  <a:pt x="1815750" y="325047"/>
                </a:cubicBezTo>
                <a:cubicBezTo>
                  <a:pt x="1764315" y="312363"/>
                  <a:pt x="1729901" y="297357"/>
                  <a:pt x="1712499" y="280039"/>
                </a:cubicBezTo>
                <a:cubicBezTo>
                  <a:pt x="1692916" y="262255"/>
                  <a:pt x="1682238" y="236706"/>
                  <a:pt x="1683352" y="210291"/>
                </a:cubicBezTo>
                <a:cubicBezTo>
                  <a:pt x="1682676" y="174942"/>
                  <a:pt x="1698221" y="141219"/>
                  <a:pt x="1725548" y="118753"/>
                </a:cubicBezTo>
                <a:cubicBezTo>
                  <a:pt x="1754571" y="96487"/>
                  <a:pt x="1792385" y="85354"/>
                  <a:pt x="1838991" y="85354"/>
                </a:cubicBezTo>
                <a:close/>
                <a:moveTo>
                  <a:pt x="1485804" y="85354"/>
                </a:moveTo>
                <a:cubicBezTo>
                  <a:pt x="1543973" y="85354"/>
                  <a:pt x="1589084" y="102767"/>
                  <a:pt x="1621155" y="137593"/>
                </a:cubicBezTo>
                <a:cubicBezTo>
                  <a:pt x="1652139" y="173495"/>
                  <a:pt x="1667636" y="223394"/>
                  <a:pt x="1667636" y="287271"/>
                </a:cubicBezTo>
                <a:lnTo>
                  <a:pt x="1667636" y="303257"/>
                </a:lnTo>
                <a:cubicBezTo>
                  <a:pt x="1667865" y="306711"/>
                  <a:pt x="1667379" y="310175"/>
                  <a:pt x="1666208" y="313438"/>
                </a:cubicBezTo>
                <a:lnTo>
                  <a:pt x="1414271" y="313438"/>
                </a:lnTo>
                <a:cubicBezTo>
                  <a:pt x="1415223" y="343507"/>
                  <a:pt x="1422558" y="365773"/>
                  <a:pt x="1436083" y="380046"/>
                </a:cubicBezTo>
                <a:cubicBezTo>
                  <a:pt x="1450381" y="396403"/>
                  <a:pt x="1471564" y="405043"/>
                  <a:pt x="1493233" y="403359"/>
                </a:cubicBezTo>
                <a:cubicBezTo>
                  <a:pt x="1507959" y="403778"/>
                  <a:pt x="1522523" y="400266"/>
                  <a:pt x="1535430" y="393177"/>
                </a:cubicBezTo>
                <a:cubicBezTo>
                  <a:pt x="1538458" y="392112"/>
                  <a:pt x="1541201" y="390351"/>
                  <a:pt x="1543430" y="388039"/>
                </a:cubicBezTo>
                <a:lnTo>
                  <a:pt x="1551431" y="380046"/>
                </a:lnTo>
                <a:cubicBezTo>
                  <a:pt x="1554013" y="375326"/>
                  <a:pt x="1557746" y="371330"/>
                  <a:pt x="1562290" y="368437"/>
                </a:cubicBezTo>
                <a:cubicBezTo>
                  <a:pt x="1570148" y="363261"/>
                  <a:pt x="1579473" y="360797"/>
                  <a:pt x="1588865" y="361396"/>
                </a:cubicBezTo>
                <a:lnTo>
                  <a:pt x="1661540" y="361396"/>
                </a:lnTo>
                <a:cubicBezTo>
                  <a:pt x="1653063" y="398715"/>
                  <a:pt x="1631384" y="431734"/>
                  <a:pt x="1600485" y="454361"/>
                </a:cubicBezTo>
                <a:cubicBezTo>
                  <a:pt x="1567338" y="477560"/>
                  <a:pt x="1527495" y="489293"/>
                  <a:pt x="1487042" y="487761"/>
                </a:cubicBezTo>
                <a:cubicBezTo>
                  <a:pt x="1431674" y="487761"/>
                  <a:pt x="1388525" y="469843"/>
                  <a:pt x="1357597" y="433999"/>
                </a:cubicBezTo>
                <a:cubicBezTo>
                  <a:pt x="1326736" y="399172"/>
                  <a:pt x="1311306" y="349311"/>
                  <a:pt x="1311306" y="284416"/>
                </a:cubicBezTo>
                <a:cubicBezTo>
                  <a:pt x="1311306" y="222376"/>
                  <a:pt x="1326356" y="173942"/>
                  <a:pt x="1356454" y="139116"/>
                </a:cubicBezTo>
                <a:cubicBezTo>
                  <a:pt x="1387439" y="103271"/>
                  <a:pt x="1430559" y="85354"/>
                  <a:pt x="1485804" y="85354"/>
                </a:cubicBezTo>
                <a:close/>
                <a:moveTo>
                  <a:pt x="941355" y="85354"/>
                </a:moveTo>
                <a:cubicBezTo>
                  <a:pt x="995648" y="85354"/>
                  <a:pt x="1036387" y="94555"/>
                  <a:pt x="1063561" y="112949"/>
                </a:cubicBezTo>
                <a:cubicBezTo>
                  <a:pt x="1090879" y="130838"/>
                  <a:pt x="1106843" y="161696"/>
                  <a:pt x="1105662" y="194305"/>
                </a:cubicBezTo>
                <a:lnTo>
                  <a:pt x="1105662" y="326474"/>
                </a:lnTo>
                <a:cubicBezTo>
                  <a:pt x="1105662" y="365297"/>
                  <a:pt x="1098642" y="395585"/>
                  <a:pt x="1084612" y="417347"/>
                </a:cubicBezTo>
                <a:cubicBezTo>
                  <a:pt x="1072467" y="437329"/>
                  <a:pt x="1055122" y="453648"/>
                  <a:pt x="1034415" y="464543"/>
                </a:cubicBezTo>
                <a:cubicBezTo>
                  <a:pt x="1014307" y="475153"/>
                  <a:pt x="992352" y="481804"/>
                  <a:pt x="969740" y="484145"/>
                </a:cubicBezTo>
                <a:cubicBezTo>
                  <a:pt x="949690" y="486429"/>
                  <a:pt x="929535" y="487627"/>
                  <a:pt x="909351" y="487761"/>
                </a:cubicBezTo>
                <a:cubicBezTo>
                  <a:pt x="876528" y="488351"/>
                  <a:pt x="844391" y="478340"/>
                  <a:pt x="817721" y="459214"/>
                </a:cubicBezTo>
                <a:cubicBezTo>
                  <a:pt x="791556" y="440184"/>
                  <a:pt x="778478" y="408945"/>
                  <a:pt x="778478" y="365488"/>
                </a:cubicBezTo>
                <a:cubicBezTo>
                  <a:pt x="778478" y="324762"/>
                  <a:pt x="790356" y="295711"/>
                  <a:pt x="814101" y="278326"/>
                </a:cubicBezTo>
                <a:cubicBezTo>
                  <a:pt x="841124" y="259533"/>
                  <a:pt x="872299" y="247554"/>
                  <a:pt x="904970" y="243405"/>
                </a:cubicBezTo>
                <a:cubicBezTo>
                  <a:pt x="910866" y="243262"/>
                  <a:pt x="916743" y="242529"/>
                  <a:pt x="922496" y="241216"/>
                </a:cubicBezTo>
                <a:cubicBezTo>
                  <a:pt x="929259" y="239789"/>
                  <a:pt x="936974" y="238552"/>
                  <a:pt x="945737" y="237601"/>
                </a:cubicBezTo>
                <a:cubicBezTo>
                  <a:pt x="988409" y="231768"/>
                  <a:pt x="1009745" y="219074"/>
                  <a:pt x="1009745" y="199539"/>
                </a:cubicBezTo>
                <a:cubicBezTo>
                  <a:pt x="1010450" y="185713"/>
                  <a:pt x="1000801" y="173505"/>
                  <a:pt x="987171" y="170993"/>
                </a:cubicBezTo>
                <a:cubicBezTo>
                  <a:pt x="973741" y="166863"/>
                  <a:pt x="959786" y="164655"/>
                  <a:pt x="945737" y="164427"/>
                </a:cubicBezTo>
                <a:cubicBezTo>
                  <a:pt x="933355" y="164227"/>
                  <a:pt x="921038" y="166225"/>
                  <a:pt x="909351" y="170327"/>
                </a:cubicBezTo>
                <a:cubicBezTo>
                  <a:pt x="898883" y="173999"/>
                  <a:pt x="890444" y="181907"/>
                  <a:pt x="886110" y="192117"/>
                </a:cubicBezTo>
                <a:lnTo>
                  <a:pt x="788670" y="192117"/>
                </a:lnTo>
                <a:cubicBezTo>
                  <a:pt x="792175" y="163314"/>
                  <a:pt x="806758" y="137004"/>
                  <a:pt x="829342" y="118753"/>
                </a:cubicBezTo>
                <a:cubicBezTo>
                  <a:pt x="855564" y="96487"/>
                  <a:pt x="892902" y="85354"/>
                  <a:pt x="941355" y="85354"/>
                </a:cubicBezTo>
                <a:close/>
                <a:moveTo>
                  <a:pt x="164402" y="85354"/>
                </a:moveTo>
                <a:cubicBezTo>
                  <a:pt x="214817" y="85354"/>
                  <a:pt x="255051" y="96487"/>
                  <a:pt x="285083" y="118753"/>
                </a:cubicBezTo>
                <a:cubicBezTo>
                  <a:pt x="312906" y="142351"/>
                  <a:pt x="329327" y="176692"/>
                  <a:pt x="330232" y="213146"/>
                </a:cubicBezTo>
                <a:lnTo>
                  <a:pt x="267653" y="213146"/>
                </a:lnTo>
                <a:cubicBezTo>
                  <a:pt x="250041" y="213622"/>
                  <a:pt x="233677" y="204068"/>
                  <a:pt x="225457" y="188501"/>
                </a:cubicBezTo>
                <a:cubicBezTo>
                  <a:pt x="221552" y="184600"/>
                  <a:pt x="217742" y="180698"/>
                  <a:pt x="213836" y="176892"/>
                </a:cubicBezTo>
                <a:cubicBezTo>
                  <a:pt x="199806" y="167481"/>
                  <a:pt x="183090" y="162876"/>
                  <a:pt x="166211" y="163761"/>
                </a:cubicBezTo>
                <a:cubicBezTo>
                  <a:pt x="151152" y="162828"/>
                  <a:pt x="136112" y="165845"/>
                  <a:pt x="122587" y="172515"/>
                </a:cubicBezTo>
                <a:cubicBezTo>
                  <a:pt x="113872" y="178281"/>
                  <a:pt x="108890" y="188254"/>
                  <a:pt x="109538" y="198682"/>
                </a:cubicBezTo>
                <a:cubicBezTo>
                  <a:pt x="109538" y="214164"/>
                  <a:pt x="134750" y="227229"/>
                  <a:pt x="185166" y="237886"/>
                </a:cubicBezTo>
                <a:cubicBezTo>
                  <a:pt x="190976" y="239789"/>
                  <a:pt x="196025" y="241312"/>
                  <a:pt x="200406" y="242263"/>
                </a:cubicBezTo>
                <a:cubicBezTo>
                  <a:pt x="204473" y="243177"/>
                  <a:pt x="208626" y="243662"/>
                  <a:pt x="212789" y="243690"/>
                </a:cubicBezTo>
                <a:cubicBezTo>
                  <a:pt x="262195" y="256374"/>
                  <a:pt x="296609" y="270904"/>
                  <a:pt x="316040" y="287271"/>
                </a:cubicBezTo>
                <a:cubicBezTo>
                  <a:pt x="334775" y="305522"/>
                  <a:pt x="344824" y="330899"/>
                  <a:pt x="343662" y="357019"/>
                </a:cubicBezTo>
                <a:cubicBezTo>
                  <a:pt x="343662" y="399648"/>
                  <a:pt x="328136" y="432571"/>
                  <a:pt x="297085" y="455789"/>
                </a:cubicBezTo>
                <a:cubicBezTo>
                  <a:pt x="268034" y="477199"/>
                  <a:pt x="224409" y="487761"/>
                  <a:pt x="166211" y="487761"/>
                </a:cubicBezTo>
                <a:cubicBezTo>
                  <a:pt x="110966" y="487761"/>
                  <a:pt x="69695" y="476627"/>
                  <a:pt x="42386" y="454361"/>
                </a:cubicBezTo>
                <a:cubicBezTo>
                  <a:pt x="15078" y="432095"/>
                  <a:pt x="953" y="399524"/>
                  <a:pt x="0" y="356638"/>
                </a:cubicBezTo>
                <a:lnTo>
                  <a:pt x="0" y="352642"/>
                </a:lnTo>
                <a:lnTo>
                  <a:pt x="98965" y="352642"/>
                </a:lnTo>
                <a:cubicBezTo>
                  <a:pt x="98774" y="369836"/>
                  <a:pt x="106899" y="386060"/>
                  <a:pt x="120777" y="396222"/>
                </a:cubicBezTo>
                <a:cubicBezTo>
                  <a:pt x="138303" y="406737"/>
                  <a:pt x="158563" y="411799"/>
                  <a:pt x="178975" y="410781"/>
                </a:cubicBezTo>
                <a:cubicBezTo>
                  <a:pt x="194615" y="411228"/>
                  <a:pt x="210112" y="407726"/>
                  <a:pt x="224028" y="400599"/>
                </a:cubicBezTo>
                <a:cubicBezTo>
                  <a:pt x="234630" y="395480"/>
                  <a:pt x="241392" y="384775"/>
                  <a:pt x="241459" y="373005"/>
                </a:cubicBezTo>
                <a:cubicBezTo>
                  <a:pt x="241459" y="355592"/>
                  <a:pt x="221075" y="342460"/>
                  <a:pt x="180404" y="333801"/>
                </a:cubicBezTo>
                <a:cubicBezTo>
                  <a:pt x="167126" y="331841"/>
                  <a:pt x="154010" y="328920"/>
                  <a:pt x="141161" y="325047"/>
                </a:cubicBezTo>
                <a:cubicBezTo>
                  <a:pt x="89726" y="312363"/>
                  <a:pt x="55274" y="297357"/>
                  <a:pt x="37814" y="280039"/>
                </a:cubicBezTo>
                <a:cubicBezTo>
                  <a:pt x="18298" y="262217"/>
                  <a:pt x="7658" y="236687"/>
                  <a:pt x="8763" y="210291"/>
                </a:cubicBezTo>
                <a:cubicBezTo>
                  <a:pt x="8049" y="174932"/>
                  <a:pt x="23594" y="141200"/>
                  <a:pt x="50959" y="118753"/>
                </a:cubicBezTo>
                <a:cubicBezTo>
                  <a:pt x="79981" y="96487"/>
                  <a:pt x="117796" y="85354"/>
                  <a:pt x="164402" y="85354"/>
                </a:cubicBezTo>
                <a:close/>
                <a:moveTo>
                  <a:pt x="1129760" y="0"/>
                </a:moveTo>
                <a:lnTo>
                  <a:pt x="1228058" y="0"/>
                </a:lnTo>
                <a:lnTo>
                  <a:pt x="1228058" y="97438"/>
                </a:lnTo>
                <a:lnTo>
                  <a:pt x="1297305" y="97438"/>
                </a:lnTo>
                <a:lnTo>
                  <a:pt x="1297305" y="184409"/>
                </a:lnTo>
                <a:lnTo>
                  <a:pt x="1228058" y="184409"/>
                </a:lnTo>
                <a:lnTo>
                  <a:pt x="1228058" y="319813"/>
                </a:lnTo>
                <a:cubicBezTo>
                  <a:pt x="1228058" y="346646"/>
                  <a:pt x="1234058" y="365487"/>
                  <a:pt x="1246250" y="376334"/>
                </a:cubicBezTo>
                <a:cubicBezTo>
                  <a:pt x="1258442" y="387182"/>
                  <a:pt x="1276921" y="392035"/>
                  <a:pt x="1301781" y="390512"/>
                </a:cubicBezTo>
                <a:lnTo>
                  <a:pt x="1301781" y="479767"/>
                </a:lnTo>
                <a:cubicBezTo>
                  <a:pt x="1276854" y="482992"/>
                  <a:pt x="1251527" y="481213"/>
                  <a:pt x="1227295" y="474534"/>
                </a:cubicBezTo>
                <a:cubicBezTo>
                  <a:pt x="1207083" y="468795"/>
                  <a:pt x="1188643" y="458062"/>
                  <a:pt x="1173670" y="443323"/>
                </a:cubicBezTo>
                <a:cubicBezTo>
                  <a:pt x="1158858" y="428298"/>
                  <a:pt x="1147647" y="410114"/>
                  <a:pt x="1140904" y="390132"/>
                </a:cubicBezTo>
                <a:cubicBezTo>
                  <a:pt x="1133179" y="367247"/>
                  <a:pt x="1129407" y="343202"/>
                  <a:pt x="1129760" y="319052"/>
                </a:cubicBezTo>
                <a:close/>
                <a:moveTo>
                  <a:pt x="361474" y="0"/>
                </a:moveTo>
                <a:lnTo>
                  <a:pt x="459772" y="0"/>
                </a:lnTo>
                <a:lnTo>
                  <a:pt x="459772" y="97438"/>
                </a:lnTo>
                <a:lnTo>
                  <a:pt x="529019" y="97438"/>
                </a:lnTo>
                <a:lnTo>
                  <a:pt x="529019" y="184409"/>
                </a:lnTo>
                <a:lnTo>
                  <a:pt x="459772" y="184409"/>
                </a:lnTo>
                <a:lnTo>
                  <a:pt x="459772" y="319813"/>
                </a:lnTo>
                <a:cubicBezTo>
                  <a:pt x="459772" y="346646"/>
                  <a:pt x="465868" y="365487"/>
                  <a:pt x="478060" y="376334"/>
                </a:cubicBezTo>
                <a:cubicBezTo>
                  <a:pt x="490157" y="387277"/>
                  <a:pt x="508730" y="392035"/>
                  <a:pt x="533496" y="390512"/>
                </a:cubicBezTo>
                <a:lnTo>
                  <a:pt x="533496" y="479767"/>
                </a:lnTo>
                <a:cubicBezTo>
                  <a:pt x="508568" y="482992"/>
                  <a:pt x="483241" y="481213"/>
                  <a:pt x="459010" y="474534"/>
                </a:cubicBezTo>
                <a:cubicBezTo>
                  <a:pt x="438826" y="468786"/>
                  <a:pt x="420414" y="458053"/>
                  <a:pt x="405479" y="443323"/>
                </a:cubicBezTo>
                <a:cubicBezTo>
                  <a:pt x="390630" y="428327"/>
                  <a:pt x="379429" y="410133"/>
                  <a:pt x="372713" y="390132"/>
                </a:cubicBezTo>
                <a:cubicBezTo>
                  <a:pt x="364903" y="367257"/>
                  <a:pt x="361102" y="343211"/>
                  <a:pt x="361474" y="319052"/>
                </a:cubicBezTo>
                <a:close/>
              </a:path>
            </a:pathLst>
          </a:custGeom>
          <a:solidFill>
            <a:srgbClr val="FFFFFF"/>
          </a:solidFill>
          <a:ln w="9525" cap="flat">
            <a:noFill/>
            <a:prstDash val="solid"/>
            <a:miter/>
          </a:ln>
        </p:spPr>
        <p:txBody>
          <a:bodyPr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900" b="0" i="0" u="none" strike="noStrike" kern="0" cap="none" spc="0" normalizeH="0" baseline="0" noProof="0">
              <a:ln>
                <a:noFill/>
              </a:ln>
              <a:solidFill>
                <a:srgbClr val="494949"/>
              </a:solidFill>
              <a:effectLst/>
              <a:uLnTx/>
              <a:uFillTx/>
            </a:endParaRPr>
          </a:p>
        </p:txBody>
      </p:sp>
      <p:sp>
        <p:nvSpPr>
          <p:cNvPr id="3" name="Marcador de título 2">
            <a:extLst>
              <a:ext uri="{FF2B5EF4-FFF2-40B4-BE49-F238E27FC236}">
                <a16:creationId xmlns:a16="http://schemas.microsoft.com/office/drawing/2014/main" id="{1E80B981-CC2F-4441-A27A-70FCA3DEC91A}"/>
              </a:ext>
            </a:extLst>
          </p:cNvPr>
          <p:cNvSpPr>
            <a:spLocks noGrp="1"/>
          </p:cNvSpPr>
          <p:nvPr>
            <p:ph type="title"/>
          </p:nvPr>
        </p:nvSpPr>
        <p:spPr>
          <a:xfrm>
            <a:off x="598206" y="132121"/>
            <a:ext cx="11151135" cy="276999"/>
          </a:xfrm>
          <a:prstGeom prst="rect">
            <a:avLst/>
          </a:prstGeom>
        </p:spPr>
        <p:txBody>
          <a:bodyPr wrap="square" lIns="0" anchor="t">
            <a:noAutofit/>
          </a:bodyPr>
          <a:lstStyle/>
          <a:p>
            <a:pPr lvl="0"/>
            <a:r>
              <a:rPr lang="es-ES"/>
              <a:t>HAGA CLIC PARA MODIFICAR EL ESTILO DE TÍTULO DEL PATRÓN</a:t>
            </a:r>
            <a:endParaRPr lang="en-US"/>
          </a:p>
        </p:txBody>
      </p:sp>
    </p:spTree>
    <p:extLst>
      <p:ext uri="{BB962C8B-B14F-4D97-AF65-F5344CB8AC3E}">
        <p14:creationId xmlns:p14="http://schemas.microsoft.com/office/powerpoint/2010/main" val="1206913604"/>
      </p:ext>
    </p:extLst>
  </p:cSld>
  <p:clrMap bg1="lt1" tx1="dk1" bg2="lt2" tx2="dk2" accent1="accent1" accent2="accent2" accent3="accent3" accent4="accent4" accent5="accent5" accent6="accent6" hlink="hlink" folHlink="folHlink"/>
  <p:sldLayoutIdLst>
    <p:sldLayoutId id="2147484117" r:id="rId1"/>
    <p:sldLayoutId id="2147484118" r:id="rId2"/>
    <p:sldLayoutId id="2147484119" r:id="rId3"/>
    <p:sldLayoutId id="2147484120" r:id="rId4"/>
    <p:sldLayoutId id="2147484121" r:id="rId5"/>
    <p:sldLayoutId id="2147484122" r:id="rId6"/>
    <p:sldLayoutId id="2147484123" r:id="rId7"/>
    <p:sldLayoutId id="2147484124" r:id="rId8"/>
    <p:sldLayoutId id="2147484125" r:id="rId9"/>
    <p:sldLayoutId id="2147484126" r:id="rId10"/>
    <p:sldLayoutId id="2147484127" r:id="rId11"/>
    <p:sldLayoutId id="2147484128" r:id="rId12"/>
    <p:sldLayoutId id="2147484129" r:id="rId13"/>
    <p:sldLayoutId id="2147484130" r:id="rId14"/>
    <p:sldLayoutId id="2147484131" r:id="rId15"/>
    <p:sldLayoutId id="2147484132" r:id="rId16"/>
    <p:sldLayoutId id="2147484133" r:id="rId17"/>
    <p:sldLayoutId id="2147484134" r:id="rId18"/>
    <p:sldLayoutId id="2147484135" r:id="rId19"/>
    <p:sldLayoutId id="2147484136" r:id="rId20"/>
    <p:sldLayoutId id="2147484137" r:id="rId21"/>
    <p:sldLayoutId id="2147484138" r:id="rId22"/>
    <p:sldLayoutId id="2147484139" r:id="rId23"/>
    <p:sldLayoutId id="2147484140" r:id="rId24"/>
    <p:sldLayoutId id="2147484142" r:id="rId25"/>
    <p:sldLayoutId id="2147484143" r:id="rId26"/>
    <p:sldLayoutId id="2147484144" r:id="rId27"/>
    <p:sldLayoutId id="2147484145" r:id="rId28"/>
    <p:sldLayoutId id="2147484146" r:id="rId29"/>
  </p:sldLayoutIdLst>
  <p:transition spd="slow">
    <p:fade/>
  </p:transition>
  <p:hf hdr="0" ftr="0" dt="0"/>
  <p:txStyles>
    <p:titleStyle>
      <a:lvl1pPr marL="0" algn="l" defTabSz="914400" rtl="0" eaLnBrk="1" latinLnBrk="0" hangingPunct="1">
        <a:lnSpc>
          <a:spcPct val="100000"/>
        </a:lnSpc>
        <a:spcBef>
          <a:spcPct val="0"/>
        </a:spcBef>
        <a:buNone/>
        <a:defRPr lang="en-US" sz="1200" b="1" kern="1200" spc="300" dirty="0" smtClean="0">
          <a:solidFill>
            <a:schemeClr val="tx2"/>
          </a:solidFill>
          <a:latin typeface="+mn-lt"/>
          <a:ea typeface="+mn-ea"/>
          <a:cs typeface="+mn-cs"/>
        </a:defRPr>
      </a:lvl1pPr>
    </p:titleStyle>
    <p:bodyStyle>
      <a:lvl1pPr marL="0" indent="0" algn="l" defTabSz="914400" rtl="0" eaLnBrk="1" latinLnBrk="0" hangingPunct="1">
        <a:lnSpc>
          <a:spcPct val="100000"/>
        </a:lnSpc>
        <a:spcBef>
          <a:spcPts val="0"/>
        </a:spcBef>
        <a:spcAft>
          <a:spcPts val="600"/>
        </a:spcAft>
        <a:buFont typeface="Arial"/>
        <a:buNone/>
        <a:defRPr sz="1100" kern="1200">
          <a:solidFill>
            <a:schemeClr val="tx2"/>
          </a:solidFill>
          <a:latin typeface="+mn-lt"/>
          <a:ea typeface="+mn-ea"/>
          <a:cs typeface="+mn-cs"/>
        </a:defRPr>
      </a:lvl1pPr>
      <a:lvl2pPr marL="184150" indent="-184150" algn="l" defTabSz="914400" rtl="0" eaLnBrk="1" latinLnBrk="0" hangingPunct="1">
        <a:lnSpc>
          <a:spcPct val="100000"/>
        </a:lnSpc>
        <a:spcBef>
          <a:spcPts val="0"/>
        </a:spcBef>
        <a:spcAft>
          <a:spcPts val="600"/>
        </a:spcAft>
        <a:buFont typeface="Wingdings" pitchFamily="2" charset="2"/>
        <a:buChar char="§"/>
        <a:tabLst/>
        <a:defRPr sz="1100" kern="1200">
          <a:solidFill>
            <a:schemeClr val="tx2"/>
          </a:solidFill>
          <a:latin typeface="+mn-lt"/>
          <a:ea typeface="+mn-ea"/>
          <a:cs typeface="+mn-cs"/>
        </a:defRPr>
      </a:lvl2pPr>
      <a:lvl3pPr marL="357188" indent="-173038" algn="l" defTabSz="914400" rtl="0" eaLnBrk="1" latinLnBrk="0" hangingPunct="1">
        <a:lnSpc>
          <a:spcPct val="100000"/>
        </a:lnSpc>
        <a:spcBef>
          <a:spcPts val="0"/>
        </a:spcBef>
        <a:spcAft>
          <a:spcPts val="600"/>
        </a:spcAft>
        <a:buFont typeface="Arial"/>
        <a:buChar char="•"/>
        <a:tabLst/>
        <a:defRPr sz="1100" kern="1200">
          <a:solidFill>
            <a:schemeClr val="tx2"/>
          </a:solidFill>
          <a:latin typeface="+mn-lt"/>
          <a:ea typeface="+mn-ea"/>
          <a:cs typeface="+mn-cs"/>
        </a:defRPr>
      </a:lvl3pPr>
      <a:lvl4pPr marL="492125" indent="-134938" algn="l" defTabSz="914400" rtl="0" eaLnBrk="1" latinLnBrk="0" hangingPunct="1">
        <a:lnSpc>
          <a:spcPct val="100000"/>
        </a:lnSpc>
        <a:spcBef>
          <a:spcPts val="0"/>
        </a:spcBef>
        <a:spcAft>
          <a:spcPts val="600"/>
        </a:spcAft>
        <a:buFont typeface="Arial"/>
        <a:buChar char="•"/>
        <a:tabLst/>
        <a:defRPr sz="1100" kern="1200">
          <a:solidFill>
            <a:schemeClr val="tx2"/>
          </a:solidFill>
          <a:latin typeface="+mn-lt"/>
          <a:ea typeface="+mn-ea"/>
          <a:cs typeface="+mn-cs"/>
        </a:defRPr>
      </a:lvl4pPr>
      <a:lvl5pPr marL="677863" indent="-136525" algn="l" defTabSz="914400" rtl="0" eaLnBrk="1" latinLnBrk="0" hangingPunct="1">
        <a:lnSpc>
          <a:spcPct val="100000"/>
        </a:lnSpc>
        <a:spcBef>
          <a:spcPts val="0"/>
        </a:spcBef>
        <a:spcAft>
          <a:spcPts val="600"/>
        </a:spcAft>
        <a:buFont typeface="Arial"/>
        <a:buChar char="•"/>
        <a:tabLst/>
        <a:defRPr sz="11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79">
          <p15:clr>
            <a:srgbClr val="F26B43"/>
          </p15:clr>
        </p15:guide>
        <p15:guide id="4" pos="7401">
          <p15:clr>
            <a:srgbClr val="F26B43"/>
          </p15:clr>
        </p15:guide>
        <p15:guide id="5" pos="506">
          <p15:clr>
            <a:srgbClr val="F26B43"/>
          </p15:clr>
        </p15:guide>
        <p15:guide id="6" orient="horz" pos="1049">
          <p15:clr>
            <a:srgbClr val="F26B43"/>
          </p15:clr>
        </p15:guide>
        <p15:guide id="7" orient="horz" pos="414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F5F6F9"/>
        </a:solidFill>
        <a:effectLst/>
      </p:bgPr>
    </p:bg>
    <p:spTree>
      <p:nvGrpSpPr>
        <p:cNvPr id="1" name=""/>
        <p:cNvGrpSpPr/>
        <p:nvPr/>
      </p:nvGrpSpPr>
      <p:grpSpPr>
        <a:xfrm>
          <a:off x="0" y="0"/>
          <a:ext cx="0" cy="0"/>
          <a:chOff x="0" y="0"/>
          <a:chExt cx="0" cy="0"/>
        </a:xfrm>
      </p:grpSpPr>
      <p:sp>
        <p:nvSpPr>
          <p:cNvPr id="10" name="Rectángulo 9">
            <a:extLst>
              <a:ext uri="{FF2B5EF4-FFF2-40B4-BE49-F238E27FC236}">
                <a16:creationId xmlns:a16="http://schemas.microsoft.com/office/drawing/2014/main" id="{BC1BABE1-0DCA-C749-9B5F-2832FF75F2B9}"/>
              </a:ext>
            </a:extLst>
          </p:cNvPr>
          <p:cNvSpPr/>
          <p:nvPr userDrawn="1"/>
        </p:nvSpPr>
        <p:spPr bwMode="auto">
          <a:xfrm>
            <a:off x="0" y="4744"/>
            <a:ext cx="12192000" cy="452176"/>
          </a:xfrm>
          <a:prstGeom prst="rect">
            <a:avLst/>
          </a:prstGeom>
          <a:solidFill>
            <a:schemeClr val="bg1"/>
          </a:solidFill>
          <a:ln>
            <a:noFill/>
          </a:ln>
        </p:spPr>
        <p:txBody>
          <a:bodyPr lIns="0" tIns="0" rIns="0" bIns="0" rtlCol="0" anchor="ctr"/>
          <a:lstStyle/>
          <a:p>
            <a:pPr algn="ctr"/>
            <a:endParaRPr lang="es-ES"/>
          </a:p>
        </p:txBody>
      </p:sp>
      <p:sp>
        <p:nvSpPr>
          <p:cNvPr id="9" name="Shape 13">
            <a:extLst>
              <a:ext uri="{FF2B5EF4-FFF2-40B4-BE49-F238E27FC236}">
                <a16:creationId xmlns:a16="http://schemas.microsoft.com/office/drawing/2014/main" id="{31DAEB88-3250-D743-B8A4-ADC9224AB04D}"/>
              </a:ext>
            </a:extLst>
          </p:cNvPr>
          <p:cNvSpPr txBox="1">
            <a:spLocks/>
          </p:cNvSpPr>
          <p:nvPr userDrawn="1"/>
        </p:nvSpPr>
        <p:spPr>
          <a:xfrm>
            <a:off x="131193" y="129827"/>
            <a:ext cx="276552" cy="216645"/>
          </a:xfrm>
          <a:prstGeom prst="roundRect">
            <a:avLst/>
          </a:prstGeom>
          <a:noFill/>
          <a:ln w="9525">
            <a:solidFill>
              <a:schemeClr val="bg1"/>
            </a:solidFill>
            <a:miter lim="400000"/>
          </a:ln>
        </p:spPr>
        <p:txBody>
          <a:bodyPr wrap="square" lIns="36000" tIns="36000" rIns="36000" bIns="36000">
            <a:spAutoFit/>
          </a:bodyPr>
          <a:lstStyle>
            <a:defPPr>
              <a:defRPr lang="en-US"/>
            </a:defPPr>
            <a:lvl1pPr marL="0" algn="ctr" defTabSz="914400" rtl="0" eaLnBrk="1" latinLnBrk="0" hangingPunct="1">
              <a:lnSpc>
                <a:spcPct val="100000"/>
              </a:lnSpc>
              <a:defRPr sz="1050" b="1" kern="1200" spc="0">
                <a:solidFill>
                  <a:srgbClr val="FFFFF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es-ES" sz="800" smtClean="0">
                <a:solidFill>
                  <a:schemeClr val="tx1"/>
                </a:solidFill>
                <a:latin typeface="Arial" panose="020B0604020202020204" pitchFamily="34" charset="0"/>
                <a:cs typeface="Arial" panose="020B0604020202020204" pitchFamily="34" charset="0"/>
              </a:rPr>
              <a:pPr/>
              <a:t>‹Nº›</a:t>
            </a:fld>
            <a:endParaRPr lang="es-ES" sz="800">
              <a:solidFill>
                <a:schemeClr val="tx1"/>
              </a:solidFill>
              <a:latin typeface="Arial" panose="020B0604020202020204" pitchFamily="34" charset="0"/>
              <a:cs typeface="Arial" panose="020B0604020202020204" pitchFamily="34" charset="0"/>
            </a:endParaRPr>
          </a:p>
        </p:txBody>
      </p:sp>
      <p:sp>
        <p:nvSpPr>
          <p:cNvPr id="8" name="Rectángulo 7">
            <a:extLst>
              <a:ext uri="{FF2B5EF4-FFF2-40B4-BE49-F238E27FC236}">
                <a16:creationId xmlns:a16="http://schemas.microsoft.com/office/drawing/2014/main" id="{2BF0CF78-6233-DC48-9DD7-B8F0DD85564A}"/>
              </a:ext>
            </a:extLst>
          </p:cNvPr>
          <p:cNvSpPr/>
          <p:nvPr userDrawn="1"/>
        </p:nvSpPr>
        <p:spPr>
          <a:xfrm>
            <a:off x="0" y="6579031"/>
            <a:ext cx="12192000" cy="27896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6" name="Rectangle 12">
            <a:extLst>
              <a:ext uri="{FF2B5EF4-FFF2-40B4-BE49-F238E27FC236}">
                <a16:creationId xmlns:a16="http://schemas.microsoft.com/office/drawing/2014/main" id="{518539E6-D17D-334B-94FA-4D8F2D013FF9}"/>
              </a:ext>
            </a:extLst>
          </p:cNvPr>
          <p:cNvSpPr/>
          <p:nvPr userDrawn="1"/>
        </p:nvSpPr>
        <p:spPr>
          <a:xfrm>
            <a:off x="975945" y="6663353"/>
            <a:ext cx="3450208" cy="107722"/>
          </a:xfrm>
          <a:prstGeom prst="rect">
            <a:avLst/>
          </a:prstGeom>
          <a:noFill/>
        </p:spPr>
        <p:txBody>
          <a:bodyPr wrap="square" lIns="0" tIns="0" rIns="0" bIns="0" rtlCol="0" anchor="t" anchorCtr="0">
            <a:spAutoFit/>
          </a:bodyPr>
          <a:lstStyle/>
          <a:p>
            <a:r>
              <a:rPr lang="en-US" sz="700">
                <a:solidFill>
                  <a:schemeClr val="bg1"/>
                </a:solidFill>
                <a:latin typeface="Arial" panose="020B0604020202020204" pitchFamily="34" charset="0"/>
                <a:cs typeface="Arial" panose="020B0604020202020204" pitchFamily="34" charset="0"/>
              </a:rPr>
              <a:t>Stratesys Technology Solutions -  All Rights Reserved </a:t>
            </a:r>
            <a:endParaRPr lang="en-US" sz="700" noProof="0">
              <a:solidFill>
                <a:schemeClr val="bg1"/>
              </a:solidFill>
              <a:latin typeface="Arial" panose="020B0604020202020204" pitchFamily="34" charset="0"/>
              <a:cs typeface="Arial" panose="020B0604020202020204" pitchFamily="34" charset="0"/>
            </a:endParaRPr>
          </a:p>
        </p:txBody>
      </p:sp>
      <p:sp>
        <p:nvSpPr>
          <p:cNvPr id="14" name="Forma libre 13">
            <a:extLst>
              <a:ext uri="{FF2B5EF4-FFF2-40B4-BE49-F238E27FC236}">
                <a16:creationId xmlns:a16="http://schemas.microsoft.com/office/drawing/2014/main" id="{0CF7C0AA-87DA-E647-846C-AFC91DFA7890}"/>
              </a:ext>
            </a:extLst>
          </p:cNvPr>
          <p:cNvSpPr/>
          <p:nvPr userDrawn="1"/>
        </p:nvSpPr>
        <p:spPr>
          <a:xfrm>
            <a:off x="245493" y="6652590"/>
            <a:ext cx="593292" cy="136990"/>
          </a:xfrm>
          <a:custGeom>
            <a:avLst/>
            <a:gdLst>
              <a:gd name="connsiteX0" fmla="*/ 1011174 w 2686908"/>
              <a:gd name="connsiteY0" fmla="*/ 285844 h 620404"/>
              <a:gd name="connsiteX1" fmla="*/ 954024 w 2686908"/>
              <a:gd name="connsiteY1" fmla="*/ 304874 h 620404"/>
              <a:gd name="connsiteX2" fmla="*/ 920591 w 2686908"/>
              <a:gd name="connsiteY2" fmla="*/ 312201 h 620404"/>
              <a:gd name="connsiteX3" fmla="*/ 882491 w 2686908"/>
              <a:gd name="connsiteY3" fmla="*/ 331232 h 620404"/>
              <a:gd name="connsiteX4" fmla="*/ 872299 w 2686908"/>
              <a:gd name="connsiteY4" fmla="*/ 363204 h 620404"/>
              <a:gd name="connsiteX5" fmla="*/ 885444 w 2686908"/>
              <a:gd name="connsiteY5" fmla="*/ 398125 h 620404"/>
              <a:gd name="connsiteX6" fmla="*/ 923544 w 2686908"/>
              <a:gd name="connsiteY6" fmla="*/ 409734 h 620404"/>
              <a:gd name="connsiteX7" fmla="*/ 1010793 w 2686908"/>
              <a:gd name="connsiteY7" fmla="*/ 336913 h 620404"/>
              <a:gd name="connsiteX8" fmla="*/ 1010793 w 2686908"/>
              <a:gd name="connsiteY8" fmla="*/ 322573 h 620404"/>
              <a:gd name="connsiteX9" fmla="*/ 1488471 w 2686908"/>
              <a:gd name="connsiteY9" fmla="*/ 169565 h 620404"/>
              <a:gd name="connsiteX10" fmla="*/ 1436083 w 2686908"/>
              <a:gd name="connsiteY10" fmla="*/ 189928 h 620404"/>
              <a:gd name="connsiteX11" fmla="*/ 1414271 w 2686908"/>
              <a:gd name="connsiteY11" fmla="*/ 248067 h 620404"/>
              <a:gd name="connsiteX12" fmla="*/ 1562671 w 2686908"/>
              <a:gd name="connsiteY12" fmla="*/ 248067 h 620404"/>
              <a:gd name="connsiteX13" fmla="*/ 1542287 w 2686908"/>
              <a:gd name="connsiteY13" fmla="*/ 189928 h 620404"/>
              <a:gd name="connsiteX14" fmla="*/ 1488471 w 2686908"/>
              <a:gd name="connsiteY14" fmla="*/ 169565 h 620404"/>
              <a:gd name="connsiteX15" fmla="*/ 1997106 w 2686908"/>
              <a:gd name="connsiteY15" fmla="*/ 94012 h 620404"/>
              <a:gd name="connsiteX16" fmla="*/ 2109120 w 2686908"/>
              <a:gd name="connsiteY16" fmla="*/ 94012 h 620404"/>
              <a:gd name="connsiteX17" fmla="*/ 2187606 w 2686908"/>
              <a:gd name="connsiteY17" fmla="*/ 367199 h 620404"/>
              <a:gd name="connsiteX18" fmla="*/ 2255995 w 2686908"/>
              <a:gd name="connsiteY18" fmla="*/ 129314 h 620404"/>
              <a:gd name="connsiteX19" fmla="*/ 2302573 w 2686908"/>
              <a:gd name="connsiteY19" fmla="*/ 94393 h 620404"/>
              <a:gd name="connsiteX20" fmla="*/ 2372296 w 2686908"/>
              <a:gd name="connsiteY20" fmla="*/ 94393 h 620404"/>
              <a:gd name="connsiteX21" fmla="*/ 2223992 w 2686908"/>
              <a:gd name="connsiteY21" fmla="*/ 534671 h 620404"/>
              <a:gd name="connsiteX22" fmla="*/ 2180367 w 2686908"/>
              <a:gd name="connsiteY22" fmla="*/ 602991 h 620404"/>
              <a:gd name="connsiteX23" fmla="*/ 2094642 w 2686908"/>
              <a:gd name="connsiteY23" fmla="*/ 620404 h 620404"/>
              <a:gd name="connsiteX24" fmla="*/ 2085117 w 2686908"/>
              <a:gd name="connsiteY24" fmla="*/ 620404 h 620404"/>
              <a:gd name="connsiteX25" fmla="*/ 2051875 w 2686908"/>
              <a:gd name="connsiteY25" fmla="*/ 619643 h 620404"/>
              <a:gd name="connsiteX26" fmla="*/ 2051875 w 2686908"/>
              <a:gd name="connsiteY26" fmla="*/ 537430 h 620404"/>
              <a:gd name="connsiteX27" fmla="*/ 2079497 w 2686908"/>
              <a:gd name="connsiteY27" fmla="*/ 537430 h 620404"/>
              <a:gd name="connsiteX28" fmla="*/ 2125313 w 2686908"/>
              <a:gd name="connsiteY28" fmla="*/ 523728 h 620404"/>
              <a:gd name="connsiteX29" fmla="*/ 2131885 w 2686908"/>
              <a:gd name="connsiteY29" fmla="*/ 479386 h 620404"/>
              <a:gd name="connsiteX30" fmla="*/ 754856 w 2686908"/>
              <a:gd name="connsiteY30" fmla="*/ 93822 h 620404"/>
              <a:gd name="connsiteX31" fmla="*/ 769334 w 2686908"/>
              <a:gd name="connsiteY31" fmla="*/ 93822 h 620404"/>
              <a:gd name="connsiteX32" fmla="*/ 769334 w 2686908"/>
              <a:gd name="connsiteY32" fmla="*/ 196969 h 620404"/>
              <a:gd name="connsiteX33" fmla="*/ 735902 w 2686908"/>
              <a:gd name="connsiteY33" fmla="*/ 196969 h 620404"/>
              <a:gd name="connsiteX34" fmla="*/ 673418 w 2686908"/>
              <a:gd name="connsiteY34" fmla="*/ 217332 h 620404"/>
              <a:gd name="connsiteX35" fmla="*/ 653034 w 2686908"/>
              <a:gd name="connsiteY35" fmla="*/ 281276 h 620404"/>
              <a:gd name="connsiteX36" fmla="*/ 653034 w 2686908"/>
              <a:gd name="connsiteY36" fmla="*/ 480338 h 620404"/>
              <a:gd name="connsiteX37" fmla="*/ 551402 w 2686908"/>
              <a:gd name="connsiteY37" fmla="*/ 480338 h 620404"/>
              <a:gd name="connsiteX38" fmla="*/ 551402 w 2686908"/>
              <a:gd name="connsiteY38" fmla="*/ 292884 h 620404"/>
              <a:gd name="connsiteX39" fmla="*/ 568070 w 2686908"/>
              <a:gd name="connsiteY39" fmla="*/ 197730 h 620404"/>
              <a:gd name="connsiteX40" fmla="*/ 613886 w 2686908"/>
              <a:gd name="connsiteY40" fmla="*/ 135975 h 620404"/>
              <a:gd name="connsiteX41" fmla="*/ 678656 w 2686908"/>
              <a:gd name="connsiteY41" fmla="*/ 104003 h 620404"/>
              <a:gd name="connsiteX42" fmla="*/ 754856 w 2686908"/>
              <a:gd name="connsiteY42" fmla="*/ 93822 h 620404"/>
              <a:gd name="connsiteX43" fmla="*/ 2507646 w 2686908"/>
              <a:gd name="connsiteY43" fmla="*/ 85354 h 620404"/>
              <a:gd name="connsiteX44" fmla="*/ 2628424 w 2686908"/>
              <a:gd name="connsiteY44" fmla="*/ 118753 h 620404"/>
              <a:gd name="connsiteX45" fmla="*/ 2673477 w 2686908"/>
              <a:gd name="connsiteY45" fmla="*/ 213146 h 620404"/>
              <a:gd name="connsiteX46" fmla="*/ 2610898 w 2686908"/>
              <a:gd name="connsiteY46" fmla="*/ 213146 h 620404"/>
              <a:gd name="connsiteX47" fmla="*/ 2568797 w 2686908"/>
              <a:gd name="connsiteY47" fmla="*/ 188501 h 620404"/>
              <a:gd name="connsiteX48" fmla="*/ 2557081 w 2686908"/>
              <a:gd name="connsiteY48" fmla="*/ 176892 h 620404"/>
              <a:gd name="connsiteX49" fmla="*/ 2509456 w 2686908"/>
              <a:gd name="connsiteY49" fmla="*/ 163761 h 620404"/>
              <a:gd name="connsiteX50" fmla="*/ 2465737 w 2686908"/>
              <a:gd name="connsiteY50" fmla="*/ 172515 h 620404"/>
              <a:gd name="connsiteX51" fmla="*/ 2452687 w 2686908"/>
              <a:gd name="connsiteY51" fmla="*/ 198682 h 620404"/>
              <a:gd name="connsiteX52" fmla="*/ 2528316 w 2686908"/>
              <a:gd name="connsiteY52" fmla="*/ 237886 h 620404"/>
              <a:gd name="connsiteX53" fmla="*/ 2543556 w 2686908"/>
              <a:gd name="connsiteY53" fmla="*/ 242263 h 620404"/>
              <a:gd name="connsiteX54" fmla="*/ 2555938 w 2686908"/>
              <a:gd name="connsiteY54" fmla="*/ 243690 h 620404"/>
              <a:gd name="connsiteX55" fmla="*/ 2659189 w 2686908"/>
              <a:gd name="connsiteY55" fmla="*/ 287271 h 620404"/>
              <a:gd name="connsiteX56" fmla="*/ 2686811 w 2686908"/>
              <a:gd name="connsiteY56" fmla="*/ 357019 h 620404"/>
              <a:gd name="connsiteX57" fmla="*/ 2640330 w 2686908"/>
              <a:gd name="connsiteY57" fmla="*/ 455789 h 620404"/>
              <a:gd name="connsiteX58" fmla="*/ 2509456 w 2686908"/>
              <a:gd name="connsiteY58" fmla="*/ 487761 h 620404"/>
              <a:gd name="connsiteX59" fmla="*/ 2385631 w 2686908"/>
              <a:gd name="connsiteY59" fmla="*/ 454361 h 620404"/>
              <a:gd name="connsiteX60" fmla="*/ 2343435 w 2686908"/>
              <a:gd name="connsiteY60" fmla="*/ 357019 h 620404"/>
              <a:gd name="connsiteX61" fmla="*/ 2343340 w 2686908"/>
              <a:gd name="connsiteY61" fmla="*/ 352642 h 620404"/>
              <a:gd name="connsiteX62" fmla="*/ 2442210 w 2686908"/>
              <a:gd name="connsiteY62" fmla="*/ 352642 h 620404"/>
              <a:gd name="connsiteX63" fmla="*/ 2464022 w 2686908"/>
              <a:gd name="connsiteY63" fmla="*/ 396222 h 620404"/>
              <a:gd name="connsiteX64" fmla="*/ 2522220 w 2686908"/>
              <a:gd name="connsiteY64" fmla="*/ 410781 h 620404"/>
              <a:gd name="connsiteX65" fmla="*/ 2567273 w 2686908"/>
              <a:gd name="connsiteY65" fmla="*/ 400599 h 620404"/>
              <a:gd name="connsiteX66" fmla="*/ 2584799 w 2686908"/>
              <a:gd name="connsiteY66" fmla="*/ 373005 h 620404"/>
              <a:gd name="connsiteX67" fmla="*/ 2523649 w 2686908"/>
              <a:gd name="connsiteY67" fmla="*/ 333801 h 620404"/>
              <a:gd name="connsiteX68" fmla="*/ 2484405 w 2686908"/>
              <a:gd name="connsiteY68" fmla="*/ 325047 h 620404"/>
              <a:gd name="connsiteX69" fmla="*/ 2381155 w 2686908"/>
              <a:gd name="connsiteY69" fmla="*/ 280039 h 620404"/>
              <a:gd name="connsiteX70" fmla="*/ 2352008 w 2686908"/>
              <a:gd name="connsiteY70" fmla="*/ 210291 h 620404"/>
              <a:gd name="connsiteX71" fmla="*/ 2394204 w 2686908"/>
              <a:gd name="connsiteY71" fmla="*/ 118753 h 620404"/>
              <a:gd name="connsiteX72" fmla="*/ 2507646 w 2686908"/>
              <a:gd name="connsiteY72" fmla="*/ 85354 h 620404"/>
              <a:gd name="connsiteX73" fmla="*/ 1838991 w 2686908"/>
              <a:gd name="connsiteY73" fmla="*/ 85354 h 620404"/>
              <a:gd name="connsiteX74" fmla="*/ 1959673 w 2686908"/>
              <a:gd name="connsiteY74" fmla="*/ 118753 h 620404"/>
              <a:gd name="connsiteX75" fmla="*/ 2004821 w 2686908"/>
              <a:gd name="connsiteY75" fmla="*/ 213146 h 620404"/>
              <a:gd name="connsiteX76" fmla="*/ 1942242 w 2686908"/>
              <a:gd name="connsiteY76" fmla="*/ 213146 h 620404"/>
              <a:gd name="connsiteX77" fmla="*/ 1900046 w 2686908"/>
              <a:gd name="connsiteY77" fmla="*/ 188501 h 620404"/>
              <a:gd name="connsiteX78" fmla="*/ 1888426 w 2686908"/>
              <a:gd name="connsiteY78" fmla="*/ 176892 h 620404"/>
              <a:gd name="connsiteX79" fmla="*/ 1840801 w 2686908"/>
              <a:gd name="connsiteY79" fmla="*/ 163761 h 620404"/>
              <a:gd name="connsiteX80" fmla="*/ 1797176 w 2686908"/>
              <a:gd name="connsiteY80" fmla="*/ 172515 h 620404"/>
              <a:gd name="connsiteX81" fmla="*/ 1784127 w 2686908"/>
              <a:gd name="connsiteY81" fmla="*/ 198682 h 620404"/>
              <a:gd name="connsiteX82" fmla="*/ 1859756 w 2686908"/>
              <a:gd name="connsiteY82" fmla="*/ 237886 h 620404"/>
              <a:gd name="connsiteX83" fmla="*/ 1874995 w 2686908"/>
              <a:gd name="connsiteY83" fmla="*/ 242263 h 620404"/>
              <a:gd name="connsiteX84" fmla="*/ 1887378 w 2686908"/>
              <a:gd name="connsiteY84" fmla="*/ 243690 h 620404"/>
              <a:gd name="connsiteX85" fmla="*/ 1990629 w 2686908"/>
              <a:gd name="connsiteY85" fmla="*/ 287271 h 620404"/>
              <a:gd name="connsiteX86" fmla="*/ 2018251 w 2686908"/>
              <a:gd name="connsiteY86" fmla="*/ 357019 h 620404"/>
              <a:gd name="connsiteX87" fmla="*/ 1971770 w 2686908"/>
              <a:gd name="connsiteY87" fmla="*/ 455789 h 620404"/>
              <a:gd name="connsiteX88" fmla="*/ 1840801 w 2686908"/>
              <a:gd name="connsiteY88" fmla="*/ 487761 h 620404"/>
              <a:gd name="connsiteX89" fmla="*/ 1716976 w 2686908"/>
              <a:gd name="connsiteY89" fmla="*/ 454361 h 620404"/>
              <a:gd name="connsiteX90" fmla="*/ 1674685 w 2686908"/>
              <a:gd name="connsiteY90" fmla="*/ 356638 h 620404"/>
              <a:gd name="connsiteX91" fmla="*/ 1674685 w 2686908"/>
              <a:gd name="connsiteY91" fmla="*/ 352642 h 620404"/>
              <a:gd name="connsiteX92" fmla="*/ 1773555 w 2686908"/>
              <a:gd name="connsiteY92" fmla="*/ 352642 h 620404"/>
              <a:gd name="connsiteX93" fmla="*/ 1795367 w 2686908"/>
              <a:gd name="connsiteY93" fmla="*/ 396222 h 620404"/>
              <a:gd name="connsiteX94" fmla="*/ 1853564 w 2686908"/>
              <a:gd name="connsiteY94" fmla="*/ 410781 h 620404"/>
              <a:gd name="connsiteX95" fmla="*/ 1898617 w 2686908"/>
              <a:gd name="connsiteY95" fmla="*/ 400599 h 620404"/>
              <a:gd name="connsiteX96" fmla="*/ 1916048 w 2686908"/>
              <a:gd name="connsiteY96" fmla="*/ 373005 h 620404"/>
              <a:gd name="connsiteX97" fmla="*/ 1854993 w 2686908"/>
              <a:gd name="connsiteY97" fmla="*/ 333801 h 620404"/>
              <a:gd name="connsiteX98" fmla="*/ 1815750 w 2686908"/>
              <a:gd name="connsiteY98" fmla="*/ 325047 h 620404"/>
              <a:gd name="connsiteX99" fmla="*/ 1712499 w 2686908"/>
              <a:gd name="connsiteY99" fmla="*/ 280039 h 620404"/>
              <a:gd name="connsiteX100" fmla="*/ 1683352 w 2686908"/>
              <a:gd name="connsiteY100" fmla="*/ 210291 h 620404"/>
              <a:gd name="connsiteX101" fmla="*/ 1725548 w 2686908"/>
              <a:gd name="connsiteY101" fmla="*/ 118753 h 620404"/>
              <a:gd name="connsiteX102" fmla="*/ 1838991 w 2686908"/>
              <a:gd name="connsiteY102" fmla="*/ 85354 h 620404"/>
              <a:gd name="connsiteX103" fmla="*/ 1485804 w 2686908"/>
              <a:gd name="connsiteY103" fmla="*/ 85354 h 620404"/>
              <a:gd name="connsiteX104" fmla="*/ 1621155 w 2686908"/>
              <a:gd name="connsiteY104" fmla="*/ 137593 h 620404"/>
              <a:gd name="connsiteX105" fmla="*/ 1667636 w 2686908"/>
              <a:gd name="connsiteY105" fmla="*/ 287271 h 620404"/>
              <a:gd name="connsiteX106" fmla="*/ 1667636 w 2686908"/>
              <a:gd name="connsiteY106" fmla="*/ 303257 h 620404"/>
              <a:gd name="connsiteX107" fmla="*/ 1666208 w 2686908"/>
              <a:gd name="connsiteY107" fmla="*/ 313438 h 620404"/>
              <a:gd name="connsiteX108" fmla="*/ 1414271 w 2686908"/>
              <a:gd name="connsiteY108" fmla="*/ 313438 h 620404"/>
              <a:gd name="connsiteX109" fmla="*/ 1436083 w 2686908"/>
              <a:gd name="connsiteY109" fmla="*/ 380046 h 620404"/>
              <a:gd name="connsiteX110" fmla="*/ 1493233 w 2686908"/>
              <a:gd name="connsiteY110" fmla="*/ 403359 h 620404"/>
              <a:gd name="connsiteX111" fmla="*/ 1535430 w 2686908"/>
              <a:gd name="connsiteY111" fmla="*/ 393177 h 620404"/>
              <a:gd name="connsiteX112" fmla="*/ 1543430 w 2686908"/>
              <a:gd name="connsiteY112" fmla="*/ 388039 h 620404"/>
              <a:gd name="connsiteX113" fmla="*/ 1551431 w 2686908"/>
              <a:gd name="connsiteY113" fmla="*/ 380046 h 620404"/>
              <a:gd name="connsiteX114" fmla="*/ 1562290 w 2686908"/>
              <a:gd name="connsiteY114" fmla="*/ 368437 h 620404"/>
              <a:gd name="connsiteX115" fmla="*/ 1588865 w 2686908"/>
              <a:gd name="connsiteY115" fmla="*/ 361396 h 620404"/>
              <a:gd name="connsiteX116" fmla="*/ 1661540 w 2686908"/>
              <a:gd name="connsiteY116" fmla="*/ 361396 h 620404"/>
              <a:gd name="connsiteX117" fmla="*/ 1600485 w 2686908"/>
              <a:gd name="connsiteY117" fmla="*/ 454361 h 620404"/>
              <a:gd name="connsiteX118" fmla="*/ 1487042 w 2686908"/>
              <a:gd name="connsiteY118" fmla="*/ 487761 h 620404"/>
              <a:gd name="connsiteX119" fmla="*/ 1357597 w 2686908"/>
              <a:gd name="connsiteY119" fmla="*/ 433999 h 620404"/>
              <a:gd name="connsiteX120" fmla="*/ 1311306 w 2686908"/>
              <a:gd name="connsiteY120" fmla="*/ 284416 h 620404"/>
              <a:gd name="connsiteX121" fmla="*/ 1356454 w 2686908"/>
              <a:gd name="connsiteY121" fmla="*/ 139116 h 620404"/>
              <a:gd name="connsiteX122" fmla="*/ 1485804 w 2686908"/>
              <a:gd name="connsiteY122" fmla="*/ 85354 h 620404"/>
              <a:gd name="connsiteX123" fmla="*/ 941355 w 2686908"/>
              <a:gd name="connsiteY123" fmla="*/ 85354 h 620404"/>
              <a:gd name="connsiteX124" fmla="*/ 1063561 w 2686908"/>
              <a:gd name="connsiteY124" fmla="*/ 112949 h 620404"/>
              <a:gd name="connsiteX125" fmla="*/ 1105662 w 2686908"/>
              <a:gd name="connsiteY125" fmla="*/ 194305 h 620404"/>
              <a:gd name="connsiteX126" fmla="*/ 1105662 w 2686908"/>
              <a:gd name="connsiteY126" fmla="*/ 326474 h 620404"/>
              <a:gd name="connsiteX127" fmla="*/ 1084612 w 2686908"/>
              <a:gd name="connsiteY127" fmla="*/ 417347 h 620404"/>
              <a:gd name="connsiteX128" fmla="*/ 1034415 w 2686908"/>
              <a:gd name="connsiteY128" fmla="*/ 464543 h 620404"/>
              <a:gd name="connsiteX129" fmla="*/ 969740 w 2686908"/>
              <a:gd name="connsiteY129" fmla="*/ 484145 h 620404"/>
              <a:gd name="connsiteX130" fmla="*/ 909351 w 2686908"/>
              <a:gd name="connsiteY130" fmla="*/ 487761 h 620404"/>
              <a:gd name="connsiteX131" fmla="*/ 817721 w 2686908"/>
              <a:gd name="connsiteY131" fmla="*/ 459214 h 620404"/>
              <a:gd name="connsiteX132" fmla="*/ 778478 w 2686908"/>
              <a:gd name="connsiteY132" fmla="*/ 365488 h 620404"/>
              <a:gd name="connsiteX133" fmla="*/ 814101 w 2686908"/>
              <a:gd name="connsiteY133" fmla="*/ 278326 h 620404"/>
              <a:gd name="connsiteX134" fmla="*/ 904970 w 2686908"/>
              <a:gd name="connsiteY134" fmla="*/ 243405 h 620404"/>
              <a:gd name="connsiteX135" fmla="*/ 922496 w 2686908"/>
              <a:gd name="connsiteY135" fmla="*/ 241216 h 620404"/>
              <a:gd name="connsiteX136" fmla="*/ 945737 w 2686908"/>
              <a:gd name="connsiteY136" fmla="*/ 237601 h 620404"/>
              <a:gd name="connsiteX137" fmla="*/ 1009745 w 2686908"/>
              <a:gd name="connsiteY137" fmla="*/ 199539 h 620404"/>
              <a:gd name="connsiteX138" fmla="*/ 987171 w 2686908"/>
              <a:gd name="connsiteY138" fmla="*/ 170993 h 620404"/>
              <a:gd name="connsiteX139" fmla="*/ 945737 w 2686908"/>
              <a:gd name="connsiteY139" fmla="*/ 164427 h 620404"/>
              <a:gd name="connsiteX140" fmla="*/ 909351 w 2686908"/>
              <a:gd name="connsiteY140" fmla="*/ 170327 h 620404"/>
              <a:gd name="connsiteX141" fmla="*/ 886110 w 2686908"/>
              <a:gd name="connsiteY141" fmla="*/ 192117 h 620404"/>
              <a:gd name="connsiteX142" fmla="*/ 788670 w 2686908"/>
              <a:gd name="connsiteY142" fmla="*/ 192117 h 620404"/>
              <a:gd name="connsiteX143" fmla="*/ 829342 w 2686908"/>
              <a:gd name="connsiteY143" fmla="*/ 118753 h 620404"/>
              <a:gd name="connsiteX144" fmla="*/ 941355 w 2686908"/>
              <a:gd name="connsiteY144" fmla="*/ 85354 h 620404"/>
              <a:gd name="connsiteX145" fmla="*/ 164402 w 2686908"/>
              <a:gd name="connsiteY145" fmla="*/ 85354 h 620404"/>
              <a:gd name="connsiteX146" fmla="*/ 285083 w 2686908"/>
              <a:gd name="connsiteY146" fmla="*/ 118753 h 620404"/>
              <a:gd name="connsiteX147" fmla="*/ 330232 w 2686908"/>
              <a:gd name="connsiteY147" fmla="*/ 213146 h 620404"/>
              <a:gd name="connsiteX148" fmla="*/ 267653 w 2686908"/>
              <a:gd name="connsiteY148" fmla="*/ 213146 h 620404"/>
              <a:gd name="connsiteX149" fmla="*/ 225457 w 2686908"/>
              <a:gd name="connsiteY149" fmla="*/ 188501 h 620404"/>
              <a:gd name="connsiteX150" fmla="*/ 213836 w 2686908"/>
              <a:gd name="connsiteY150" fmla="*/ 176892 h 620404"/>
              <a:gd name="connsiteX151" fmla="*/ 166211 w 2686908"/>
              <a:gd name="connsiteY151" fmla="*/ 163761 h 620404"/>
              <a:gd name="connsiteX152" fmla="*/ 122587 w 2686908"/>
              <a:gd name="connsiteY152" fmla="*/ 172515 h 620404"/>
              <a:gd name="connsiteX153" fmla="*/ 109538 w 2686908"/>
              <a:gd name="connsiteY153" fmla="*/ 198682 h 620404"/>
              <a:gd name="connsiteX154" fmla="*/ 185166 w 2686908"/>
              <a:gd name="connsiteY154" fmla="*/ 237886 h 620404"/>
              <a:gd name="connsiteX155" fmla="*/ 200406 w 2686908"/>
              <a:gd name="connsiteY155" fmla="*/ 242263 h 620404"/>
              <a:gd name="connsiteX156" fmla="*/ 212789 w 2686908"/>
              <a:gd name="connsiteY156" fmla="*/ 243690 h 620404"/>
              <a:gd name="connsiteX157" fmla="*/ 316040 w 2686908"/>
              <a:gd name="connsiteY157" fmla="*/ 287271 h 620404"/>
              <a:gd name="connsiteX158" fmla="*/ 343662 w 2686908"/>
              <a:gd name="connsiteY158" fmla="*/ 357019 h 620404"/>
              <a:gd name="connsiteX159" fmla="*/ 297085 w 2686908"/>
              <a:gd name="connsiteY159" fmla="*/ 455789 h 620404"/>
              <a:gd name="connsiteX160" fmla="*/ 166211 w 2686908"/>
              <a:gd name="connsiteY160" fmla="*/ 487761 h 620404"/>
              <a:gd name="connsiteX161" fmla="*/ 42386 w 2686908"/>
              <a:gd name="connsiteY161" fmla="*/ 454361 h 620404"/>
              <a:gd name="connsiteX162" fmla="*/ 0 w 2686908"/>
              <a:gd name="connsiteY162" fmla="*/ 356638 h 620404"/>
              <a:gd name="connsiteX163" fmla="*/ 0 w 2686908"/>
              <a:gd name="connsiteY163" fmla="*/ 352642 h 620404"/>
              <a:gd name="connsiteX164" fmla="*/ 98965 w 2686908"/>
              <a:gd name="connsiteY164" fmla="*/ 352642 h 620404"/>
              <a:gd name="connsiteX165" fmla="*/ 120777 w 2686908"/>
              <a:gd name="connsiteY165" fmla="*/ 396222 h 620404"/>
              <a:gd name="connsiteX166" fmla="*/ 178975 w 2686908"/>
              <a:gd name="connsiteY166" fmla="*/ 410781 h 620404"/>
              <a:gd name="connsiteX167" fmla="*/ 224028 w 2686908"/>
              <a:gd name="connsiteY167" fmla="*/ 400599 h 620404"/>
              <a:gd name="connsiteX168" fmla="*/ 241459 w 2686908"/>
              <a:gd name="connsiteY168" fmla="*/ 373005 h 620404"/>
              <a:gd name="connsiteX169" fmla="*/ 180404 w 2686908"/>
              <a:gd name="connsiteY169" fmla="*/ 333801 h 620404"/>
              <a:gd name="connsiteX170" fmla="*/ 141161 w 2686908"/>
              <a:gd name="connsiteY170" fmla="*/ 325047 h 620404"/>
              <a:gd name="connsiteX171" fmla="*/ 37814 w 2686908"/>
              <a:gd name="connsiteY171" fmla="*/ 280039 h 620404"/>
              <a:gd name="connsiteX172" fmla="*/ 8763 w 2686908"/>
              <a:gd name="connsiteY172" fmla="*/ 210291 h 620404"/>
              <a:gd name="connsiteX173" fmla="*/ 50959 w 2686908"/>
              <a:gd name="connsiteY173" fmla="*/ 118753 h 620404"/>
              <a:gd name="connsiteX174" fmla="*/ 164402 w 2686908"/>
              <a:gd name="connsiteY174" fmla="*/ 85354 h 620404"/>
              <a:gd name="connsiteX175" fmla="*/ 1129760 w 2686908"/>
              <a:gd name="connsiteY175" fmla="*/ 0 h 620404"/>
              <a:gd name="connsiteX176" fmla="*/ 1228058 w 2686908"/>
              <a:gd name="connsiteY176" fmla="*/ 0 h 620404"/>
              <a:gd name="connsiteX177" fmla="*/ 1228058 w 2686908"/>
              <a:gd name="connsiteY177" fmla="*/ 97438 h 620404"/>
              <a:gd name="connsiteX178" fmla="*/ 1297305 w 2686908"/>
              <a:gd name="connsiteY178" fmla="*/ 97438 h 620404"/>
              <a:gd name="connsiteX179" fmla="*/ 1297305 w 2686908"/>
              <a:gd name="connsiteY179" fmla="*/ 184409 h 620404"/>
              <a:gd name="connsiteX180" fmla="*/ 1228058 w 2686908"/>
              <a:gd name="connsiteY180" fmla="*/ 184409 h 620404"/>
              <a:gd name="connsiteX181" fmla="*/ 1228058 w 2686908"/>
              <a:gd name="connsiteY181" fmla="*/ 319813 h 620404"/>
              <a:gd name="connsiteX182" fmla="*/ 1246250 w 2686908"/>
              <a:gd name="connsiteY182" fmla="*/ 376334 h 620404"/>
              <a:gd name="connsiteX183" fmla="*/ 1301781 w 2686908"/>
              <a:gd name="connsiteY183" fmla="*/ 390512 h 620404"/>
              <a:gd name="connsiteX184" fmla="*/ 1301781 w 2686908"/>
              <a:gd name="connsiteY184" fmla="*/ 479767 h 620404"/>
              <a:gd name="connsiteX185" fmla="*/ 1227295 w 2686908"/>
              <a:gd name="connsiteY185" fmla="*/ 474534 h 620404"/>
              <a:gd name="connsiteX186" fmla="*/ 1173670 w 2686908"/>
              <a:gd name="connsiteY186" fmla="*/ 443323 h 620404"/>
              <a:gd name="connsiteX187" fmla="*/ 1140904 w 2686908"/>
              <a:gd name="connsiteY187" fmla="*/ 390132 h 620404"/>
              <a:gd name="connsiteX188" fmla="*/ 1129760 w 2686908"/>
              <a:gd name="connsiteY188" fmla="*/ 319052 h 620404"/>
              <a:gd name="connsiteX189" fmla="*/ 361474 w 2686908"/>
              <a:gd name="connsiteY189" fmla="*/ 0 h 620404"/>
              <a:gd name="connsiteX190" fmla="*/ 459772 w 2686908"/>
              <a:gd name="connsiteY190" fmla="*/ 0 h 620404"/>
              <a:gd name="connsiteX191" fmla="*/ 459772 w 2686908"/>
              <a:gd name="connsiteY191" fmla="*/ 97438 h 620404"/>
              <a:gd name="connsiteX192" fmla="*/ 529019 w 2686908"/>
              <a:gd name="connsiteY192" fmla="*/ 97438 h 620404"/>
              <a:gd name="connsiteX193" fmla="*/ 529019 w 2686908"/>
              <a:gd name="connsiteY193" fmla="*/ 184409 h 620404"/>
              <a:gd name="connsiteX194" fmla="*/ 459772 w 2686908"/>
              <a:gd name="connsiteY194" fmla="*/ 184409 h 620404"/>
              <a:gd name="connsiteX195" fmla="*/ 459772 w 2686908"/>
              <a:gd name="connsiteY195" fmla="*/ 319813 h 620404"/>
              <a:gd name="connsiteX196" fmla="*/ 478060 w 2686908"/>
              <a:gd name="connsiteY196" fmla="*/ 376334 h 620404"/>
              <a:gd name="connsiteX197" fmla="*/ 533496 w 2686908"/>
              <a:gd name="connsiteY197" fmla="*/ 390512 h 620404"/>
              <a:gd name="connsiteX198" fmla="*/ 533496 w 2686908"/>
              <a:gd name="connsiteY198" fmla="*/ 479767 h 620404"/>
              <a:gd name="connsiteX199" fmla="*/ 459010 w 2686908"/>
              <a:gd name="connsiteY199" fmla="*/ 474534 h 620404"/>
              <a:gd name="connsiteX200" fmla="*/ 405479 w 2686908"/>
              <a:gd name="connsiteY200" fmla="*/ 443323 h 620404"/>
              <a:gd name="connsiteX201" fmla="*/ 372713 w 2686908"/>
              <a:gd name="connsiteY201" fmla="*/ 390132 h 620404"/>
              <a:gd name="connsiteX202" fmla="*/ 361474 w 2686908"/>
              <a:gd name="connsiteY202" fmla="*/ 319052 h 620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2686908" h="620404">
                <a:moveTo>
                  <a:pt x="1011174" y="285844"/>
                </a:moveTo>
                <a:cubicBezTo>
                  <a:pt x="992876" y="294246"/>
                  <a:pt x="973712" y="300631"/>
                  <a:pt x="954024" y="304874"/>
                </a:cubicBezTo>
                <a:lnTo>
                  <a:pt x="920591" y="312201"/>
                </a:lnTo>
                <a:cubicBezTo>
                  <a:pt x="906503" y="315284"/>
                  <a:pt x="893406" y="321821"/>
                  <a:pt x="882491" y="331232"/>
                </a:cubicBezTo>
                <a:cubicBezTo>
                  <a:pt x="876090" y="340690"/>
                  <a:pt x="872547" y="351785"/>
                  <a:pt x="872299" y="363204"/>
                </a:cubicBezTo>
                <a:cubicBezTo>
                  <a:pt x="871737" y="376145"/>
                  <a:pt x="876481" y="388762"/>
                  <a:pt x="885444" y="398125"/>
                </a:cubicBezTo>
                <a:cubicBezTo>
                  <a:pt x="896255" y="406594"/>
                  <a:pt x="909837" y="410733"/>
                  <a:pt x="923544" y="409734"/>
                </a:cubicBezTo>
                <a:cubicBezTo>
                  <a:pt x="967768" y="413693"/>
                  <a:pt x="1006830" y="381093"/>
                  <a:pt x="1010793" y="336913"/>
                </a:cubicBezTo>
                <a:cubicBezTo>
                  <a:pt x="1011221" y="332146"/>
                  <a:pt x="1011221" y="327340"/>
                  <a:pt x="1010793" y="322573"/>
                </a:cubicBezTo>
                <a:close/>
                <a:moveTo>
                  <a:pt x="1488471" y="169565"/>
                </a:moveTo>
                <a:cubicBezTo>
                  <a:pt x="1468955" y="168890"/>
                  <a:pt x="1450009" y="176255"/>
                  <a:pt x="1436083" y="189928"/>
                </a:cubicBezTo>
                <a:cubicBezTo>
                  <a:pt x="1421615" y="205790"/>
                  <a:pt x="1413804" y="226610"/>
                  <a:pt x="1414271" y="248067"/>
                </a:cubicBezTo>
                <a:lnTo>
                  <a:pt x="1562671" y="248067"/>
                </a:lnTo>
                <a:cubicBezTo>
                  <a:pt x="1560642" y="221929"/>
                  <a:pt x="1553841" y="202555"/>
                  <a:pt x="1542287" y="189928"/>
                </a:cubicBezTo>
                <a:cubicBezTo>
                  <a:pt x="1528095" y="175750"/>
                  <a:pt x="1508502" y="168338"/>
                  <a:pt x="1488471" y="169565"/>
                </a:cubicBezTo>
                <a:close/>
                <a:moveTo>
                  <a:pt x="1997106" y="94012"/>
                </a:moveTo>
                <a:lnTo>
                  <a:pt x="2109120" y="94012"/>
                </a:lnTo>
                <a:lnTo>
                  <a:pt x="2187606" y="367199"/>
                </a:lnTo>
                <a:lnTo>
                  <a:pt x="2255995" y="129314"/>
                </a:lnTo>
                <a:cubicBezTo>
                  <a:pt x="2261835" y="106030"/>
                  <a:pt x="2277360" y="94393"/>
                  <a:pt x="2302573" y="94393"/>
                </a:cubicBezTo>
                <a:lnTo>
                  <a:pt x="2372296" y="94393"/>
                </a:lnTo>
                <a:lnTo>
                  <a:pt x="2223992" y="534671"/>
                </a:lnTo>
                <a:cubicBezTo>
                  <a:pt x="2212371" y="566385"/>
                  <a:pt x="2197826" y="589165"/>
                  <a:pt x="2180367" y="602991"/>
                </a:cubicBezTo>
                <a:cubicBezTo>
                  <a:pt x="2162936" y="614600"/>
                  <a:pt x="2134266" y="620404"/>
                  <a:pt x="2094642" y="620404"/>
                </a:cubicBezTo>
                <a:lnTo>
                  <a:pt x="2085117" y="620404"/>
                </a:lnTo>
                <a:lnTo>
                  <a:pt x="2051875" y="619643"/>
                </a:lnTo>
                <a:lnTo>
                  <a:pt x="2051875" y="537430"/>
                </a:lnTo>
                <a:lnTo>
                  <a:pt x="2079497" y="537430"/>
                </a:lnTo>
                <a:cubicBezTo>
                  <a:pt x="2095909" y="538372"/>
                  <a:pt x="2112120" y="533519"/>
                  <a:pt x="2125313" y="523728"/>
                </a:cubicBezTo>
                <a:cubicBezTo>
                  <a:pt x="2136428" y="514526"/>
                  <a:pt x="2138619" y="499749"/>
                  <a:pt x="2131885" y="479386"/>
                </a:cubicBezTo>
                <a:close/>
                <a:moveTo>
                  <a:pt x="754856" y="93822"/>
                </a:moveTo>
                <a:lnTo>
                  <a:pt x="769334" y="93822"/>
                </a:lnTo>
                <a:lnTo>
                  <a:pt x="769334" y="196969"/>
                </a:lnTo>
                <a:lnTo>
                  <a:pt x="735902" y="196969"/>
                </a:lnTo>
                <a:cubicBezTo>
                  <a:pt x="707327" y="196969"/>
                  <a:pt x="686943" y="203820"/>
                  <a:pt x="673418" y="217332"/>
                </a:cubicBezTo>
                <a:cubicBezTo>
                  <a:pt x="659892" y="230844"/>
                  <a:pt x="653034" y="252254"/>
                  <a:pt x="653034" y="281276"/>
                </a:cubicBezTo>
                <a:lnTo>
                  <a:pt x="653034" y="480338"/>
                </a:lnTo>
                <a:lnTo>
                  <a:pt x="551402" y="480338"/>
                </a:lnTo>
                <a:lnTo>
                  <a:pt x="551402" y="292884"/>
                </a:lnTo>
                <a:cubicBezTo>
                  <a:pt x="550430" y="260361"/>
                  <a:pt x="556098" y="227989"/>
                  <a:pt x="568070" y="197730"/>
                </a:cubicBezTo>
                <a:cubicBezTo>
                  <a:pt x="578025" y="173694"/>
                  <a:pt x="593760" y="152485"/>
                  <a:pt x="613886" y="135975"/>
                </a:cubicBezTo>
                <a:cubicBezTo>
                  <a:pt x="633107" y="121074"/>
                  <a:pt x="655139" y="110208"/>
                  <a:pt x="678656" y="104003"/>
                </a:cubicBezTo>
                <a:cubicBezTo>
                  <a:pt x="703488" y="97229"/>
                  <a:pt x="729119" y="93803"/>
                  <a:pt x="754856" y="93822"/>
                </a:cubicBezTo>
                <a:close/>
                <a:moveTo>
                  <a:pt x="2507646" y="85354"/>
                </a:moveTo>
                <a:cubicBezTo>
                  <a:pt x="2558005" y="85354"/>
                  <a:pt x="2598258" y="96487"/>
                  <a:pt x="2628424" y="118753"/>
                </a:cubicBezTo>
                <a:cubicBezTo>
                  <a:pt x="2656217" y="142361"/>
                  <a:pt x="2672610" y="176702"/>
                  <a:pt x="2673477" y="213146"/>
                </a:cubicBezTo>
                <a:lnTo>
                  <a:pt x="2610898" y="213146"/>
                </a:lnTo>
                <a:cubicBezTo>
                  <a:pt x="2593305" y="213631"/>
                  <a:pt x="2576969" y="204068"/>
                  <a:pt x="2568797" y="188501"/>
                </a:cubicBezTo>
                <a:lnTo>
                  <a:pt x="2557081" y="176892"/>
                </a:lnTo>
                <a:cubicBezTo>
                  <a:pt x="2543051" y="167472"/>
                  <a:pt x="2526335" y="162866"/>
                  <a:pt x="2509456" y="163761"/>
                </a:cubicBezTo>
                <a:cubicBezTo>
                  <a:pt x="2494369" y="162828"/>
                  <a:pt x="2479300" y="165845"/>
                  <a:pt x="2465737" y="172515"/>
                </a:cubicBezTo>
                <a:cubicBezTo>
                  <a:pt x="2457059" y="178319"/>
                  <a:pt x="2452097" y="188273"/>
                  <a:pt x="2452687" y="198682"/>
                </a:cubicBezTo>
                <a:cubicBezTo>
                  <a:pt x="2452687" y="214164"/>
                  <a:pt x="2477900" y="227229"/>
                  <a:pt x="2528316" y="237886"/>
                </a:cubicBezTo>
                <a:cubicBezTo>
                  <a:pt x="2534126" y="239789"/>
                  <a:pt x="2539269" y="241312"/>
                  <a:pt x="2543556" y="242263"/>
                </a:cubicBezTo>
                <a:cubicBezTo>
                  <a:pt x="2547623" y="243177"/>
                  <a:pt x="2551776" y="243662"/>
                  <a:pt x="2555938" y="243690"/>
                </a:cubicBezTo>
                <a:cubicBezTo>
                  <a:pt x="2605401" y="256374"/>
                  <a:pt x="2639825" y="270904"/>
                  <a:pt x="2659189" y="287271"/>
                </a:cubicBezTo>
                <a:cubicBezTo>
                  <a:pt x="2677972" y="305493"/>
                  <a:pt x="2688021" y="330890"/>
                  <a:pt x="2686811" y="357019"/>
                </a:cubicBezTo>
                <a:cubicBezTo>
                  <a:pt x="2686811" y="399648"/>
                  <a:pt x="2671315" y="432571"/>
                  <a:pt x="2640330" y="455789"/>
                </a:cubicBezTo>
                <a:cubicBezTo>
                  <a:pt x="2611183" y="477199"/>
                  <a:pt x="2567559" y="487761"/>
                  <a:pt x="2509456" y="487761"/>
                </a:cubicBezTo>
                <a:cubicBezTo>
                  <a:pt x="2454144" y="487761"/>
                  <a:pt x="2412873" y="476627"/>
                  <a:pt x="2385631" y="454361"/>
                </a:cubicBezTo>
                <a:cubicBezTo>
                  <a:pt x="2357437" y="432095"/>
                  <a:pt x="2343369" y="399648"/>
                  <a:pt x="2343435" y="357019"/>
                </a:cubicBezTo>
                <a:lnTo>
                  <a:pt x="2343340" y="352642"/>
                </a:lnTo>
                <a:lnTo>
                  <a:pt x="2442210" y="352642"/>
                </a:lnTo>
                <a:cubicBezTo>
                  <a:pt x="2442019" y="369836"/>
                  <a:pt x="2450135" y="386060"/>
                  <a:pt x="2464022" y="396222"/>
                </a:cubicBezTo>
                <a:cubicBezTo>
                  <a:pt x="2481548" y="406718"/>
                  <a:pt x="2501808" y="411789"/>
                  <a:pt x="2522220" y="410781"/>
                </a:cubicBezTo>
                <a:cubicBezTo>
                  <a:pt x="2537860" y="411228"/>
                  <a:pt x="2553357" y="407726"/>
                  <a:pt x="2567273" y="400599"/>
                </a:cubicBezTo>
                <a:cubicBezTo>
                  <a:pt x="2577912" y="395509"/>
                  <a:pt x="2584723" y="384794"/>
                  <a:pt x="2584799" y="373005"/>
                </a:cubicBezTo>
                <a:cubicBezTo>
                  <a:pt x="2584799" y="355592"/>
                  <a:pt x="2564415" y="342460"/>
                  <a:pt x="2523649" y="333801"/>
                </a:cubicBezTo>
                <a:cubicBezTo>
                  <a:pt x="2510371" y="331832"/>
                  <a:pt x="2497254" y="328910"/>
                  <a:pt x="2484405" y="325047"/>
                </a:cubicBezTo>
                <a:cubicBezTo>
                  <a:pt x="2432971" y="312363"/>
                  <a:pt x="2398556" y="297357"/>
                  <a:pt x="2381155" y="280039"/>
                </a:cubicBezTo>
                <a:cubicBezTo>
                  <a:pt x="2361571" y="262255"/>
                  <a:pt x="2350894" y="236706"/>
                  <a:pt x="2352008" y="210291"/>
                </a:cubicBezTo>
                <a:cubicBezTo>
                  <a:pt x="2351332" y="174942"/>
                  <a:pt x="2366876" y="141219"/>
                  <a:pt x="2394204" y="118753"/>
                </a:cubicBezTo>
                <a:cubicBezTo>
                  <a:pt x="2423350" y="96487"/>
                  <a:pt x="2461164" y="85354"/>
                  <a:pt x="2507646" y="85354"/>
                </a:cubicBezTo>
                <a:close/>
                <a:moveTo>
                  <a:pt x="1838991" y="85354"/>
                </a:moveTo>
                <a:cubicBezTo>
                  <a:pt x="1889407" y="85354"/>
                  <a:pt x="1929640" y="96487"/>
                  <a:pt x="1959673" y="118753"/>
                </a:cubicBezTo>
                <a:cubicBezTo>
                  <a:pt x="1987533" y="142323"/>
                  <a:pt x="2003964" y="176683"/>
                  <a:pt x="2004821" y="213146"/>
                </a:cubicBezTo>
                <a:lnTo>
                  <a:pt x="1942242" y="213146"/>
                </a:lnTo>
                <a:cubicBezTo>
                  <a:pt x="1924630" y="213622"/>
                  <a:pt x="1908266" y="204068"/>
                  <a:pt x="1900046" y="188501"/>
                </a:cubicBezTo>
                <a:cubicBezTo>
                  <a:pt x="1896236" y="184600"/>
                  <a:pt x="1892331" y="180698"/>
                  <a:pt x="1888426" y="176892"/>
                </a:cubicBezTo>
                <a:cubicBezTo>
                  <a:pt x="1874395" y="167481"/>
                  <a:pt x="1857679" y="162876"/>
                  <a:pt x="1840801" y="163761"/>
                </a:cubicBezTo>
                <a:cubicBezTo>
                  <a:pt x="1825741" y="162838"/>
                  <a:pt x="1810712" y="165854"/>
                  <a:pt x="1797176" y="172515"/>
                </a:cubicBezTo>
                <a:cubicBezTo>
                  <a:pt x="1788499" y="178319"/>
                  <a:pt x="1783536" y="188273"/>
                  <a:pt x="1784127" y="198682"/>
                </a:cubicBezTo>
                <a:cubicBezTo>
                  <a:pt x="1784127" y="214164"/>
                  <a:pt x="1809340" y="227229"/>
                  <a:pt x="1859756" y="237886"/>
                </a:cubicBezTo>
                <a:cubicBezTo>
                  <a:pt x="1865566" y="239789"/>
                  <a:pt x="1870614" y="241312"/>
                  <a:pt x="1874995" y="242263"/>
                </a:cubicBezTo>
                <a:cubicBezTo>
                  <a:pt x="1879063" y="243177"/>
                  <a:pt x="1883216" y="243662"/>
                  <a:pt x="1887378" y="243690"/>
                </a:cubicBezTo>
                <a:cubicBezTo>
                  <a:pt x="1936784" y="256374"/>
                  <a:pt x="1971198" y="270904"/>
                  <a:pt x="1990629" y="287271"/>
                </a:cubicBezTo>
                <a:cubicBezTo>
                  <a:pt x="2009365" y="305522"/>
                  <a:pt x="2019413" y="330899"/>
                  <a:pt x="2018251" y="357019"/>
                </a:cubicBezTo>
                <a:cubicBezTo>
                  <a:pt x="2018251" y="399648"/>
                  <a:pt x="2002755" y="432571"/>
                  <a:pt x="1971770" y="455789"/>
                </a:cubicBezTo>
                <a:cubicBezTo>
                  <a:pt x="1942623" y="477199"/>
                  <a:pt x="1898999" y="487761"/>
                  <a:pt x="1840801" y="487761"/>
                </a:cubicBezTo>
                <a:cubicBezTo>
                  <a:pt x="1785556" y="487761"/>
                  <a:pt x="1744284" y="476627"/>
                  <a:pt x="1716976" y="454361"/>
                </a:cubicBezTo>
                <a:cubicBezTo>
                  <a:pt x="1689668" y="432095"/>
                  <a:pt x="1675570" y="399524"/>
                  <a:pt x="1674685" y="356638"/>
                </a:cubicBezTo>
                <a:lnTo>
                  <a:pt x="1674685" y="352642"/>
                </a:lnTo>
                <a:lnTo>
                  <a:pt x="1773555" y="352642"/>
                </a:lnTo>
                <a:cubicBezTo>
                  <a:pt x="1773364" y="369836"/>
                  <a:pt x="1781488" y="386060"/>
                  <a:pt x="1795367" y="396222"/>
                </a:cubicBezTo>
                <a:cubicBezTo>
                  <a:pt x="1812892" y="406718"/>
                  <a:pt x="1833152" y="411789"/>
                  <a:pt x="1853564" y="410781"/>
                </a:cubicBezTo>
                <a:cubicBezTo>
                  <a:pt x="1869205" y="411228"/>
                  <a:pt x="1884701" y="407726"/>
                  <a:pt x="1898617" y="400599"/>
                </a:cubicBezTo>
                <a:cubicBezTo>
                  <a:pt x="1909219" y="395480"/>
                  <a:pt x="1915981" y="384775"/>
                  <a:pt x="1916048" y="373005"/>
                </a:cubicBezTo>
                <a:cubicBezTo>
                  <a:pt x="1916048" y="355592"/>
                  <a:pt x="1895760" y="342460"/>
                  <a:pt x="1854993" y="333801"/>
                </a:cubicBezTo>
                <a:cubicBezTo>
                  <a:pt x="1841715" y="331841"/>
                  <a:pt x="1828599" y="328920"/>
                  <a:pt x="1815750" y="325047"/>
                </a:cubicBezTo>
                <a:cubicBezTo>
                  <a:pt x="1764315" y="312363"/>
                  <a:pt x="1729901" y="297357"/>
                  <a:pt x="1712499" y="280039"/>
                </a:cubicBezTo>
                <a:cubicBezTo>
                  <a:pt x="1692916" y="262255"/>
                  <a:pt x="1682238" y="236706"/>
                  <a:pt x="1683352" y="210291"/>
                </a:cubicBezTo>
                <a:cubicBezTo>
                  <a:pt x="1682676" y="174942"/>
                  <a:pt x="1698221" y="141219"/>
                  <a:pt x="1725548" y="118753"/>
                </a:cubicBezTo>
                <a:cubicBezTo>
                  <a:pt x="1754571" y="96487"/>
                  <a:pt x="1792385" y="85354"/>
                  <a:pt x="1838991" y="85354"/>
                </a:cubicBezTo>
                <a:close/>
                <a:moveTo>
                  <a:pt x="1485804" y="85354"/>
                </a:moveTo>
                <a:cubicBezTo>
                  <a:pt x="1543973" y="85354"/>
                  <a:pt x="1589084" y="102767"/>
                  <a:pt x="1621155" y="137593"/>
                </a:cubicBezTo>
                <a:cubicBezTo>
                  <a:pt x="1652139" y="173495"/>
                  <a:pt x="1667636" y="223394"/>
                  <a:pt x="1667636" y="287271"/>
                </a:cubicBezTo>
                <a:lnTo>
                  <a:pt x="1667636" y="303257"/>
                </a:lnTo>
                <a:cubicBezTo>
                  <a:pt x="1667865" y="306711"/>
                  <a:pt x="1667379" y="310175"/>
                  <a:pt x="1666208" y="313438"/>
                </a:cubicBezTo>
                <a:lnTo>
                  <a:pt x="1414271" y="313438"/>
                </a:lnTo>
                <a:cubicBezTo>
                  <a:pt x="1415223" y="343507"/>
                  <a:pt x="1422558" y="365773"/>
                  <a:pt x="1436083" y="380046"/>
                </a:cubicBezTo>
                <a:cubicBezTo>
                  <a:pt x="1450381" y="396403"/>
                  <a:pt x="1471564" y="405043"/>
                  <a:pt x="1493233" y="403359"/>
                </a:cubicBezTo>
                <a:cubicBezTo>
                  <a:pt x="1507959" y="403778"/>
                  <a:pt x="1522523" y="400266"/>
                  <a:pt x="1535430" y="393177"/>
                </a:cubicBezTo>
                <a:cubicBezTo>
                  <a:pt x="1538458" y="392112"/>
                  <a:pt x="1541201" y="390351"/>
                  <a:pt x="1543430" y="388039"/>
                </a:cubicBezTo>
                <a:lnTo>
                  <a:pt x="1551431" y="380046"/>
                </a:lnTo>
                <a:cubicBezTo>
                  <a:pt x="1554013" y="375326"/>
                  <a:pt x="1557746" y="371330"/>
                  <a:pt x="1562290" y="368437"/>
                </a:cubicBezTo>
                <a:cubicBezTo>
                  <a:pt x="1570148" y="363261"/>
                  <a:pt x="1579473" y="360797"/>
                  <a:pt x="1588865" y="361396"/>
                </a:cubicBezTo>
                <a:lnTo>
                  <a:pt x="1661540" y="361396"/>
                </a:lnTo>
                <a:cubicBezTo>
                  <a:pt x="1653063" y="398715"/>
                  <a:pt x="1631384" y="431734"/>
                  <a:pt x="1600485" y="454361"/>
                </a:cubicBezTo>
                <a:cubicBezTo>
                  <a:pt x="1567338" y="477560"/>
                  <a:pt x="1527495" y="489293"/>
                  <a:pt x="1487042" y="487761"/>
                </a:cubicBezTo>
                <a:cubicBezTo>
                  <a:pt x="1431674" y="487761"/>
                  <a:pt x="1388525" y="469843"/>
                  <a:pt x="1357597" y="433999"/>
                </a:cubicBezTo>
                <a:cubicBezTo>
                  <a:pt x="1326736" y="399172"/>
                  <a:pt x="1311306" y="349311"/>
                  <a:pt x="1311306" y="284416"/>
                </a:cubicBezTo>
                <a:cubicBezTo>
                  <a:pt x="1311306" y="222376"/>
                  <a:pt x="1326356" y="173942"/>
                  <a:pt x="1356454" y="139116"/>
                </a:cubicBezTo>
                <a:cubicBezTo>
                  <a:pt x="1387439" y="103271"/>
                  <a:pt x="1430559" y="85354"/>
                  <a:pt x="1485804" y="85354"/>
                </a:cubicBezTo>
                <a:close/>
                <a:moveTo>
                  <a:pt x="941355" y="85354"/>
                </a:moveTo>
                <a:cubicBezTo>
                  <a:pt x="995648" y="85354"/>
                  <a:pt x="1036387" y="94555"/>
                  <a:pt x="1063561" y="112949"/>
                </a:cubicBezTo>
                <a:cubicBezTo>
                  <a:pt x="1090879" y="130838"/>
                  <a:pt x="1106843" y="161696"/>
                  <a:pt x="1105662" y="194305"/>
                </a:cubicBezTo>
                <a:lnTo>
                  <a:pt x="1105662" y="326474"/>
                </a:lnTo>
                <a:cubicBezTo>
                  <a:pt x="1105662" y="365297"/>
                  <a:pt x="1098642" y="395585"/>
                  <a:pt x="1084612" y="417347"/>
                </a:cubicBezTo>
                <a:cubicBezTo>
                  <a:pt x="1072467" y="437329"/>
                  <a:pt x="1055122" y="453648"/>
                  <a:pt x="1034415" y="464543"/>
                </a:cubicBezTo>
                <a:cubicBezTo>
                  <a:pt x="1014307" y="475153"/>
                  <a:pt x="992352" y="481804"/>
                  <a:pt x="969740" y="484145"/>
                </a:cubicBezTo>
                <a:cubicBezTo>
                  <a:pt x="949690" y="486429"/>
                  <a:pt x="929535" y="487627"/>
                  <a:pt x="909351" y="487761"/>
                </a:cubicBezTo>
                <a:cubicBezTo>
                  <a:pt x="876528" y="488351"/>
                  <a:pt x="844391" y="478340"/>
                  <a:pt x="817721" y="459214"/>
                </a:cubicBezTo>
                <a:cubicBezTo>
                  <a:pt x="791556" y="440184"/>
                  <a:pt x="778478" y="408945"/>
                  <a:pt x="778478" y="365488"/>
                </a:cubicBezTo>
                <a:cubicBezTo>
                  <a:pt x="778478" y="324762"/>
                  <a:pt x="790356" y="295711"/>
                  <a:pt x="814101" y="278326"/>
                </a:cubicBezTo>
                <a:cubicBezTo>
                  <a:pt x="841124" y="259533"/>
                  <a:pt x="872299" y="247554"/>
                  <a:pt x="904970" y="243405"/>
                </a:cubicBezTo>
                <a:cubicBezTo>
                  <a:pt x="910866" y="243262"/>
                  <a:pt x="916743" y="242529"/>
                  <a:pt x="922496" y="241216"/>
                </a:cubicBezTo>
                <a:cubicBezTo>
                  <a:pt x="929259" y="239789"/>
                  <a:pt x="936974" y="238552"/>
                  <a:pt x="945737" y="237601"/>
                </a:cubicBezTo>
                <a:cubicBezTo>
                  <a:pt x="988409" y="231768"/>
                  <a:pt x="1009745" y="219074"/>
                  <a:pt x="1009745" y="199539"/>
                </a:cubicBezTo>
                <a:cubicBezTo>
                  <a:pt x="1010450" y="185713"/>
                  <a:pt x="1000801" y="173505"/>
                  <a:pt x="987171" y="170993"/>
                </a:cubicBezTo>
                <a:cubicBezTo>
                  <a:pt x="973741" y="166863"/>
                  <a:pt x="959786" y="164655"/>
                  <a:pt x="945737" y="164427"/>
                </a:cubicBezTo>
                <a:cubicBezTo>
                  <a:pt x="933355" y="164227"/>
                  <a:pt x="921038" y="166225"/>
                  <a:pt x="909351" y="170327"/>
                </a:cubicBezTo>
                <a:cubicBezTo>
                  <a:pt x="898883" y="173999"/>
                  <a:pt x="890444" y="181907"/>
                  <a:pt x="886110" y="192117"/>
                </a:cubicBezTo>
                <a:lnTo>
                  <a:pt x="788670" y="192117"/>
                </a:lnTo>
                <a:cubicBezTo>
                  <a:pt x="792175" y="163314"/>
                  <a:pt x="806758" y="137004"/>
                  <a:pt x="829342" y="118753"/>
                </a:cubicBezTo>
                <a:cubicBezTo>
                  <a:pt x="855564" y="96487"/>
                  <a:pt x="892902" y="85354"/>
                  <a:pt x="941355" y="85354"/>
                </a:cubicBezTo>
                <a:close/>
                <a:moveTo>
                  <a:pt x="164402" y="85354"/>
                </a:moveTo>
                <a:cubicBezTo>
                  <a:pt x="214817" y="85354"/>
                  <a:pt x="255051" y="96487"/>
                  <a:pt x="285083" y="118753"/>
                </a:cubicBezTo>
                <a:cubicBezTo>
                  <a:pt x="312906" y="142351"/>
                  <a:pt x="329327" y="176692"/>
                  <a:pt x="330232" y="213146"/>
                </a:cubicBezTo>
                <a:lnTo>
                  <a:pt x="267653" y="213146"/>
                </a:lnTo>
                <a:cubicBezTo>
                  <a:pt x="250041" y="213622"/>
                  <a:pt x="233677" y="204068"/>
                  <a:pt x="225457" y="188501"/>
                </a:cubicBezTo>
                <a:cubicBezTo>
                  <a:pt x="221552" y="184600"/>
                  <a:pt x="217742" y="180698"/>
                  <a:pt x="213836" y="176892"/>
                </a:cubicBezTo>
                <a:cubicBezTo>
                  <a:pt x="199806" y="167481"/>
                  <a:pt x="183090" y="162876"/>
                  <a:pt x="166211" y="163761"/>
                </a:cubicBezTo>
                <a:cubicBezTo>
                  <a:pt x="151152" y="162828"/>
                  <a:pt x="136112" y="165845"/>
                  <a:pt x="122587" y="172515"/>
                </a:cubicBezTo>
                <a:cubicBezTo>
                  <a:pt x="113872" y="178281"/>
                  <a:pt x="108890" y="188254"/>
                  <a:pt x="109538" y="198682"/>
                </a:cubicBezTo>
                <a:cubicBezTo>
                  <a:pt x="109538" y="214164"/>
                  <a:pt x="134750" y="227229"/>
                  <a:pt x="185166" y="237886"/>
                </a:cubicBezTo>
                <a:cubicBezTo>
                  <a:pt x="190976" y="239789"/>
                  <a:pt x="196025" y="241312"/>
                  <a:pt x="200406" y="242263"/>
                </a:cubicBezTo>
                <a:cubicBezTo>
                  <a:pt x="204473" y="243177"/>
                  <a:pt x="208626" y="243662"/>
                  <a:pt x="212789" y="243690"/>
                </a:cubicBezTo>
                <a:cubicBezTo>
                  <a:pt x="262195" y="256374"/>
                  <a:pt x="296609" y="270904"/>
                  <a:pt x="316040" y="287271"/>
                </a:cubicBezTo>
                <a:cubicBezTo>
                  <a:pt x="334775" y="305522"/>
                  <a:pt x="344824" y="330899"/>
                  <a:pt x="343662" y="357019"/>
                </a:cubicBezTo>
                <a:cubicBezTo>
                  <a:pt x="343662" y="399648"/>
                  <a:pt x="328136" y="432571"/>
                  <a:pt x="297085" y="455789"/>
                </a:cubicBezTo>
                <a:cubicBezTo>
                  <a:pt x="268034" y="477199"/>
                  <a:pt x="224409" y="487761"/>
                  <a:pt x="166211" y="487761"/>
                </a:cubicBezTo>
                <a:cubicBezTo>
                  <a:pt x="110966" y="487761"/>
                  <a:pt x="69695" y="476627"/>
                  <a:pt x="42386" y="454361"/>
                </a:cubicBezTo>
                <a:cubicBezTo>
                  <a:pt x="15078" y="432095"/>
                  <a:pt x="953" y="399524"/>
                  <a:pt x="0" y="356638"/>
                </a:cubicBezTo>
                <a:lnTo>
                  <a:pt x="0" y="352642"/>
                </a:lnTo>
                <a:lnTo>
                  <a:pt x="98965" y="352642"/>
                </a:lnTo>
                <a:cubicBezTo>
                  <a:pt x="98774" y="369836"/>
                  <a:pt x="106899" y="386060"/>
                  <a:pt x="120777" y="396222"/>
                </a:cubicBezTo>
                <a:cubicBezTo>
                  <a:pt x="138303" y="406737"/>
                  <a:pt x="158563" y="411799"/>
                  <a:pt x="178975" y="410781"/>
                </a:cubicBezTo>
                <a:cubicBezTo>
                  <a:pt x="194615" y="411228"/>
                  <a:pt x="210112" y="407726"/>
                  <a:pt x="224028" y="400599"/>
                </a:cubicBezTo>
                <a:cubicBezTo>
                  <a:pt x="234630" y="395480"/>
                  <a:pt x="241392" y="384775"/>
                  <a:pt x="241459" y="373005"/>
                </a:cubicBezTo>
                <a:cubicBezTo>
                  <a:pt x="241459" y="355592"/>
                  <a:pt x="221075" y="342460"/>
                  <a:pt x="180404" y="333801"/>
                </a:cubicBezTo>
                <a:cubicBezTo>
                  <a:pt x="167126" y="331841"/>
                  <a:pt x="154010" y="328920"/>
                  <a:pt x="141161" y="325047"/>
                </a:cubicBezTo>
                <a:cubicBezTo>
                  <a:pt x="89726" y="312363"/>
                  <a:pt x="55274" y="297357"/>
                  <a:pt x="37814" y="280039"/>
                </a:cubicBezTo>
                <a:cubicBezTo>
                  <a:pt x="18298" y="262217"/>
                  <a:pt x="7658" y="236687"/>
                  <a:pt x="8763" y="210291"/>
                </a:cubicBezTo>
                <a:cubicBezTo>
                  <a:pt x="8049" y="174932"/>
                  <a:pt x="23594" y="141200"/>
                  <a:pt x="50959" y="118753"/>
                </a:cubicBezTo>
                <a:cubicBezTo>
                  <a:pt x="79981" y="96487"/>
                  <a:pt x="117796" y="85354"/>
                  <a:pt x="164402" y="85354"/>
                </a:cubicBezTo>
                <a:close/>
                <a:moveTo>
                  <a:pt x="1129760" y="0"/>
                </a:moveTo>
                <a:lnTo>
                  <a:pt x="1228058" y="0"/>
                </a:lnTo>
                <a:lnTo>
                  <a:pt x="1228058" y="97438"/>
                </a:lnTo>
                <a:lnTo>
                  <a:pt x="1297305" y="97438"/>
                </a:lnTo>
                <a:lnTo>
                  <a:pt x="1297305" y="184409"/>
                </a:lnTo>
                <a:lnTo>
                  <a:pt x="1228058" y="184409"/>
                </a:lnTo>
                <a:lnTo>
                  <a:pt x="1228058" y="319813"/>
                </a:lnTo>
                <a:cubicBezTo>
                  <a:pt x="1228058" y="346646"/>
                  <a:pt x="1234058" y="365487"/>
                  <a:pt x="1246250" y="376334"/>
                </a:cubicBezTo>
                <a:cubicBezTo>
                  <a:pt x="1258442" y="387182"/>
                  <a:pt x="1276921" y="392035"/>
                  <a:pt x="1301781" y="390512"/>
                </a:cubicBezTo>
                <a:lnTo>
                  <a:pt x="1301781" y="479767"/>
                </a:lnTo>
                <a:cubicBezTo>
                  <a:pt x="1276854" y="482992"/>
                  <a:pt x="1251527" y="481213"/>
                  <a:pt x="1227295" y="474534"/>
                </a:cubicBezTo>
                <a:cubicBezTo>
                  <a:pt x="1207083" y="468795"/>
                  <a:pt x="1188643" y="458062"/>
                  <a:pt x="1173670" y="443323"/>
                </a:cubicBezTo>
                <a:cubicBezTo>
                  <a:pt x="1158858" y="428298"/>
                  <a:pt x="1147647" y="410114"/>
                  <a:pt x="1140904" y="390132"/>
                </a:cubicBezTo>
                <a:cubicBezTo>
                  <a:pt x="1133179" y="367247"/>
                  <a:pt x="1129407" y="343202"/>
                  <a:pt x="1129760" y="319052"/>
                </a:cubicBezTo>
                <a:close/>
                <a:moveTo>
                  <a:pt x="361474" y="0"/>
                </a:moveTo>
                <a:lnTo>
                  <a:pt x="459772" y="0"/>
                </a:lnTo>
                <a:lnTo>
                  <a:pt x="459772" y="97438"/>
                </a:lnTo>
                <a:lnTo>
                  <a:pt x="529019" y="97438"/>
                </a:lnTo>
                <a:lnTo>
                  <a:pt x="529019" y="184409"/>
                </a:lnTo>
                <a:lnTo>
                  <a:pt x="459772" y="184409"/>
                </a:lnTo>
                <a:lnTo>
                  <a:pt x="459772" y="319813"/>
                </a:lnTo>
                <a:cubicBezTo>
                  <a:pt x="459772" y="346646"/>
                  <a:pt x="465868" y="365487"/>
                  <a:pt x="478060" y="376334"/>
                </a:cubicBezTo>
                <a:cubicBezTo>
                  <a:pt x="490157" y="387277"/>
                  <a:pt x="508730" y="392035"/>
                  <a:pt x="533496" y="390512"/>
                </a:cubicBezTo>
                <a:lnTo>
                  <a:pt x="533496" y="479767"/>
                </a:lnTo>
                <a:cubicBezTo>
                  <a:pt x="508568" y="482992"/>
                  <a:pt x="483241" y="481213"/>
                  <a:pt x="459010" y="474534"/>
                </a:cubicBezTo>
                <a:cubicBezTo>
                  <a:pt x="438826" y="468786"/>
                  <a:pt x="420414" y="458053"/>
                  <a:pt x="405479" y="443323"/>
                </a:cubicBezTo>
                <a:cubicBezTo>
                  <a:pt x="390630" y="428327"/>
                  <a:pt x="379429" y="410133"/>
                  <a:pt x="372713" y="390132"/>
                </a:cubicBezTo>
                <a:cubicBezTo>
                  <a:pt x="364903" y="367257"/>
                  <a:pt x="361102" y="343211"/>
                  <a:pt x="361474" y="319052"/>
                </a:cubicBezTo>
                <a:close/>
              </a:path>
            </a:pathLst>
          </a:custGeom>
          <a:solidFill>
            <a:schemeClr val="bg1"/>
          </a:solidFill>
          <a:ln w="9525" cap="flat">
            <a:noFill/>
            <a:prstDash val="solid"/>
            <a:miter/>
          </a:ln>
        </p:spPr>
        <p:txBody>
          <a:bodyPr rtlCol="0" anchor="ctr"/>
          <a:lstStyle/>
          <a:p>
            <a:endParaRPr lang="es-ES" sz="1900"/>
          </a:p>
        </p:txBody>
      </p:sp>
      <p:sp>
        <p:nvSpPr>
          <p:cNvPr id="7" name="Rectángulo 6">
            <a:extLst>
              <a:ext uri="{FF2B5EF4-FFF2-40B4-BE49-F238E27FC236}">
                <a16:creationId xmlns:a16="http://schemas.microsoft.com/office/drawing/2014/main" id="{4A1D8B8C-F346-CD41-B9D4-603AAADCEF7A}"/>
              </a:ext>
            </a:extLst>
          </p:cNvPr>
          <p:cNvSpPr/>
          <p:nvPr userDrawn="1"/>
        </p:nvSpPr>
        <p:spPr bwMode="auto">
          <a:xfrm>
            <a:off x="458022" y="0"/>
            <a:ext cx="36000" cy="456920"/>
          </a:xfrm>
          <a:prstGeom prst="rect">
            <a:avLst/>
          </a:prstGeom>
          <a:solidFill>
            <a:srgbClr val="F6D285"/>
          </a:solidFill>
          <a:ln>
            <a:noFill/>
          </a:ln>
        </p:spPr>
        <p:txBody>
          <a:bodyPr lIns="0" tIns="0" rIns="0" bIns="0" rtlCol="0" anchor="ctr"/>
          <a:lstStyle/>
          <a:p>
            <a:pPr algn="ctr"/>
            <a:endParaRPr lang="es-ES"/>
          </a:p>
        </p:txBody>
      </p:sp>
      <p:grpSp>
        <p:nvGrpSpPr>
          <p:cNvPr id="11" name="Grupo 10">
            <a:extLst>
              <a:ext uri="{FF2B5EF4-FFF2-40B4-BE49-F238E27FC236}">
                <a16:creationId xmlns:a16="http://schemas.microsoft.com/office/drawing/2014/main" id="{52D22D93-F04B-4919-BE0A-2774FF51889F}"/>
              </a:ext>
            </a:extLst>
          </p:cNvPr>
          <p:cNvGrpSpPr/>
          <p:nvPr userDrawn="1"/>
        </p:nvGrpSpPr>
        <p:grpSpPr>
          <a:xfrm>
            <a:off x="11573050" y="70010"/>
            <a:ext cx="534625" cy="347934"/>
            <a:chOff x="4378701" y="-4751929"/>
            <a:chExt cx="5332954" cy="3470675"/>
          </a:xfrm>
        </p:grpSpPr>
        <p:sp>
          <p:nvSpPr>
            <p:cNvPr id="12" name="Forma libre 11">
              <a:extLst>
                <a:ext uri="{FF2B5EF4-FFF2-40B4-BE49-F238E27FC236}">
                  <a16:creationId xmlns:a16="http://schemas.microsoft.com/office/drawing/2014/main" id="{15438E31-F870-4243-A855-9B6F07CCD80F}"/>
                </a:ext>
              </a:extLst>
            </p:cNvPr>
            <p:cNvSpPr/>
            <p:nvPr/>
          </p:nvSpPr>
          <p:spPr>
            <a:xfrm>
              <a:off x="4378701" y="-2885283"/>
              <a:ext cx="5332954" cy="1230850"/>
            </a:xfrm>
            <a:custGeom>
              <a:avLst/>
              <a:gdLst>
                <a:gd name="connsiteX0" fmla="*/ 2007523 w 5332954"/>
                <a:gd name="connsiteY0" fmla="*/ 567560 h 1230850"/>
                <a:gd name="connsiteX1" fmla="*/ 1894948 w 5332954"/>
                <a:gd name="connsiteY1" fmla="*/ 604986 h 1230850"/>
                <a:gd name="connsiteX2" fmla="*/ 1828392 w 5332954"/>
                <a:gd name="connsiteY2" fmla="*/ 619424 h 1230850"/>
                <a:gd name="connsiteX3" fmla="*/ 1753278 w 5332954"/>
                <a:gd name="connsiteY3" fmla="*/ 656945 h 1230850"/>
                <a:gd name="connsiteX4" fmla="*/ 1733121 w 5332954"/>
                <a:gd name="connsiteY4" fmla="*/ 720397 h 1230850"/>
                <a:gd name="connsiteX5" fmla="*/ 1759078 w 5332954"/>
                <a:gd name="connsiteY5" fmla="*/ 789645 h 1230850"/>
                <a:gd name="connsiteX6" fmla="*/ 1834096 w 5332954"/>
                <a:gd name="connsiteY6" fmla="*/ 812727 h 1230850"/>
                <a:gd name="connsiteX7" fmla="*/ 1961219 w 5332954"/>
                <a:gd name="connsiteY7" fmla="*/ 766562 h 1230850"/>
                <a:gd name="connsiteX8" fmla="*/ 2007333 w 5332954"/>
                <a:gd name="connsiteY8" fmla="*/ 639657 h 1230850"/>
                <a:gd name="connsiteX9" fmla="*/ 2954997 w 5332954"/>
                <a:gd name="connsiteY9" fmla="*/ 336737 h 1230850"/>
                <a:gd name="connsiteX10" fmla="*/ 2851074 w 5332954"/>
                <a:gd name="connsiteY10" fmla="*/ 377107 h 1230850"/>
                <a:gd name="connsiteX11" fmla="*/ 2807528 w 5332954"/>
                <a:gd name="connsiteY11" fmla="*/ 492519 h 1230850"/>
                <a:gd name="connsiteX12" fmla="*/ 3102276 w 5332954"/>
                <a:gd name="connsiteY12" fmla="*/ 492519 h 1230850"/>
                <a:gd name="connsiteX13" fmla="*/ 3061867 w 5332954"/>
                <a:gd name="connsiteY13" fmla="*/ 377107 h 1230850"/>
                <a:gd name="connsiteX14" fmla="*/ 2954997 w 5332954"/>
                <a:gd name="connsiteY14" fmla="*/ 336737 h 1230850"/>
                <a:gd name="connsiteX15" fmla="*/ 3963608 w 5332954"/>
                <a:gd name="connsiteY15" fmla="*/ 186749 h 1230850"/>
                <a:gd name="connsiteX16" fmla="*/ 4185906 w 5332954"/>
                <a:gd name="connsiteY16" fmla="*/ 186749 h 1230850"/>
                <a:gd name="connsiteX17" fmla="*/ 4341837 w 5332954"/>
                <a:gd name="connsiteY17" fmla="*/ 729042 h 1230850"/>
                <a:gd name="connsiteX18" fmla="*/ 4477517 w 5332954"/>
                <a:gd name="connsiteY18" fmla="*/ 255996 h 1230850"/>
                <a:gd name="connsiteX19" fmla="*/ 4569935 w 5332954"/>
                <a:gd name="connsiteY19" fmla="*/ 186749 h 1230850"/>
                <a:gd name="connsiteX20" fmla="*/ 4708466 w 5332954"/>
                <a:gd name="connsiteY20" fmla="*/ 186749 h 1230850"/>
                <a:gd name="connsiteX21" fmla="*/ 4413718 w 5332954"/>
                <a:gd name="connsiteY21" fmla="*/ 1060648 h 1230850"/>
                <a:gd name="connsiteX22" fmla="*/ 4327100 w 5332954"/>
                <a:gd name="connsiteY22" fmla="*/ 1196198 h 1230850"/>
                <a:gd name="connsiteX23" fmla="*/ 4156716 w 5332954"/>
                <a:gd name="connsiteY23" fmla="*/ 1230773 h 1230850"/>
                <a:gd name="connsiteX24" fmla="*/ 4136844 w 5332954"/>
                <a:gd name="connsiteY24" fmla="*/ 1230773 h 1230850"/>
                <a:gd name="connsiteX25" fmla="*/ 4073331 w 5332954"/>
                <a:gd name="connsiteY25" fmla="*/ 1230014 h 1230850"/>
                <a:gd name="connsiteX26" fmla="*/ 4073331 w 5332954"/>
                <a:gd name="connsiteY26" fmla="*/ 1066538 h 1230850"/>
                <a:gd name="connsiteX27" fmla="*/ 4128192 w 5332954"/>
                <a:gd name="connsiteY27" fmla="*/ 1066538 h 1230850"/>
                <a:gd name="connsiteX28" fmla="*/ 4219088 w 5332954"/>
                <a:gd name="connsiteY28" fmla="*/ 1039181 h 1230850"/>
                <a:gd name="connsiteX29" fmla="*/ 4232114 w 5332954"/>
                <a:gd name="connsiteY29" fmla="*/ 951126 h 1230850"/>
                <a:gd name="connsiteX30" fmla="*/ 1498749 w 5332954"/>
                <a:gd name="connsiteY30" fmla="*/ 186748 h 1230850"/>
                <a:gd name="connsiteX31" fmla="*/ 1527273 w 5332954"/>
                <a:gd name="connsiteY31" fmla="*/ 186748 h 1230850"/>
                <a:gd name="connsiteX32" fmla="*/ 1527273 w 5332954"/>
                <a:gd name="connsiteY32" fmla="*/ 391545 h 1230850"/>
                <a:gd name="connsiteX33" fmla="*/ 1460717 w 5332954"/>
                <a:gd name="connsiteY33" fmla="*/ 391545 h 1230850"/>
                <a:gd name="connsiteX34" fmla="*/ 1336542 w 5332954"/>
                <a:gd name="connsiteY34" fmla="*/ 431915 h 1230850"/>
                <a:gd name="connsiteX35" fmla="*/ 1296133 w 5332954"/>
                <a:gd name="connsiteY35" fmla="*/ 558915 h 1230850"/>
                <a:gd name="connsiteX36" fmla="*/ 1296133 w 5332954"/>
                <a:gd name="connsiteY36" fmla="*/ 954545 h 1230850"/>
                <a:gd name="connsiteX37" fmla="*/ 1094563 w 5332954"/>
                <a:gd name="connsiteY37" fmla="*/ 954545 h 1230850"/>
                <a:gd name="connsiteX38" fmla="*/ 1094563 w 5332954"/>
                <a:gd name="connsiteY38" fmla="*/ 581998 h 1230850"/>
                <a:gd name="connsiteX39" fmla="*/ 1127746 w 5332954"/>
                <a:gd name="connsiteY39" fmla="*/ 392969 h 1230850"/>
                <a:gd name="connsiteX40" fmla="*/ 1218643 w 5332954"/>
                <a:gd name="connsiteY40" fmla="*/ 270434 h 1230850"/>
                <a:gd name="connsiteX41" fmla="*/ 1347191 w 5332954"/>
                <a:gd name="connsiteY41" fmla="*/ 206981 h 1230850"/>
                <a:gd name="connsiteX42" fmla="*/ 1498749 w 5332954"/>
                <a:gd name="connsiteY42" fmla="*/ 186748 h 1230850"/>
                <a:gd name="connsiteX43" fmla="*/ 2949102 w 5332954"/>
                <a:gd name="connsiteY43" fmla="*/ 169556 h 1230850"/>
                <a:gd name="connsiteX44" fmla="*/ 3217609 w 5332954"/>
                <a:gd name="connsiteY44" fmla="*/ 273379 h 1230850"/>
                <a:gd name="connsiteX45" fmla="*/ 3310027 w 5332954"/>
                <a:gd name="connsiteY45" fmla="*/ 570505 h 1230850"/>
                <a:gd name="connsiteX46" fmla="*/ 3310027 w 5332954"/>
                <a:gd name="connsiteY46" fmla="*/ 602231 h 1230850"/>
                <a:gd name="connsiteX47" fmla="*/ 3307174 w 5332954"/>
                <a:gd name="connsiteY47" fmla="*/ 622464 h 1230850"/>
                <a:gd name="connsiteX48" fmla="*/ 2807528 w 5332954"/>
                <a:gd name="connsiteY48" fmla="*/ 622464 h 1230850"/>
                <a:gd name="connsiteX49" fmla="*/ 2850884 w 5332954"/>
                <a:gd name="connsiteY49" fmla="*/ 755449 h 1230850"/>
                <a:gd name="connsiteX50" fmla="*/ 2963459 w 5332954"/>
                <a:gd name="connsiteY50" fmla="*/ 801613 h 1230850"/>
                <a:gd name="connsiteX51" fmla="*/ 3047225 w 5332954"/>
                <a:gd name="connsiteY51" fmla="*/ 781475 h 1230850"/>
                <a:gd name="connsiteX52" fmla="*/ 3063103 w 5332954"/>
                <a:gd name="connsiteY52" fmla="*/ 771312 h 1230850"/>
                <a:gd name="connsiteX53" fmla="*/ 3078982 w 5332954"/>
                <a:gd name="connsiteY53" fmla="*/ 755449 h 1230850"/>
                <a:gd name="connsiteX54" fmla="*/ 3100660 w 5332954"/>
                <a:gd name="connsiteY54" fmla="*/ 732461 h 1230850"/>
                <a:gd name="connsiteX55" fmla="*/ 3154000 w 5332954"/>
                <a:gd name="connsiteY55" fmla="*/ 717548 h 1230850"/>
                <a:gd name="connsiteX56" fmla="*/ 3298427 w 5332954"/>
                <a:gd name="connsiteY56" fmla="*/ 717548 h 1230850"/>
                <a:gd name="connsiteX57" fmla="*/ 3177104 w 5332954"/>
                <a:gd name="connsiteY57" fmla="*/ 902112 h 1230850"/>
                <a:gd name="connsiteX58" fmla="*/ 2951955 w 5332954"/>
                <a:gd name="connsiteY58" fmla="*/ 968604 h 1230850"/>
                <a:gd name="connsiteX59" fmla="*/ 2695238 w 5332954"/>
                <a:gd name="connsiteY59" fmla="*/ 861836 h 1230850"/>
                <a:gd name="connsiteX60" fmla="*/ 2602915 w 5332954"/>
                <a:gd name="connsiteY60" fmla="*/ 564710 h 1230850"/>
                <a:gd name="connsiteX61" fmla="*/ 2692386 w 5332954"/>
                <a:gd name="connsiteY61" fmla="*/ 276229 h 1230850"/>
                <a:gd name="connsiteX62" fmla="*/ 2949102 w 5332954"/>
                <a:gd name="connsiteY62" fmla="*/ 169556 h 1230850"/>
                <a:gd name="connsiteX63" fmla="*/ 1868706 w 5332954"/>
                <a:gd name="connsiteY63" fmla="*/ 169271 h 1230850"/>
                <a:gd name="connsiteX64" fmla="*/ 2111255 w 5332954"/>
                <a:gd name="connsiteY64" fmla="*/ 224080 h 1230850"/>
                <a:gd name="connsiteX65" fmla="*/ 2194926 w 5332954"/>
                <a:gd name="connsiteY65" fmla="*/ 385561 h 1230850"/>
                <a:gd name="connsiteX66" fmla="*/ 2194926 w 5332954"/>
                <a:gd name="connsiteY66" fmla="*/ 648111 h 1230850"/>
                <a:gd name="connsiteX67" fmla="*/ 2153091 w 5332954"/>
                <a:gd name="connsiteY67" fmla="*/ 828590 h 1230850"/>
                <a:gd name="connsiteX68" fmla="*/ 2053732 w 5332954"/>
                <a:gd name="connsiteY68" fmla="*/ 922344 h 1230850"/>
                <a:gd name="connsiteX69" fmla="*/ 1925279 w 5332954"/>
                <a:gd name="connsiteY69" fmla="*/ 961290 h 1230850"/>
                <a:gd name="connsiteX70" fmla="*/ 1805477 w 5332954"/>
                <a:gd name="connsiteY70" fmla="*/ 968509 h 1230850"/>
                <a:gd name="connsiteX71" fmla="*/ 1623589 w 5332954"/>
                <a:gd name="connsiteY71" fmla="*/ 912180 h 1230850"/>
                <a:gd name="connsiteX72" fmla="*/ 1545623 w 5332954"/>
                <a:gd name="connsiteY72" fmla="*/ 726192 h 1230850"/>
                <a:gd name="connsiteX73" fmla="*/ 1616363 w 5332954"/>
                <a:gd name="connsiteY73" fmla="*/ 553122 h 1230850"/>
                <a:gd name="connsiteX74" fmla="*/ 1797015 w 5332954"/>
                <a:gd name="connsiteY74" fmla="*/ 483875 h 1230850"/>
                <a:gd name="connsiteX75" fmla="*/ 1831624 w 5332954"/>
                <a:gd name="connsiteY75" fmla="*/ 479505 h 1230850"/>
                <a:gd name="connsiteX76" fmla="*/ 1877833 w 5332954"/>
                <a:gd name="connsiteY76" fmla="*/ 472381 h 1230850"/>
                <a:gd name="connsiteX77" fmla="*/ 2004861 w 5332954"/>
                <a:gd name="connsiteY77" fmla="*/ 397340 h 1230850"/>
                <a:gd name="connsiteX78" fmla="*/ 1960078 w 5332954"/>
                <a:gd name="connsiteY78" fmla="*/ 341106 h 1230850"/>
                <a:gd name="connsiteX79" fmla="*/ 1877833 w 5332954"/>
                <a:gd name="connsiteY79" fmla="*/ 328093 h 1230850"/>
                <a:gd name="connsiteX80" fmla="*/ 1805668 w 5332954"/>
                <a:gd name="connsiteY80" fmla="*/ 339681 h 1230850"/>
                <a:gd name="connsiteX81" fmla="*/ 1759459 w 5332954"/>
                <a:gd name="connsiteY81" fmla="*/ 382901 h 1230850"/>
                <a:gd name="connsiteX82" fmla="*/ 1565495 w 5332954"/>
                <a:gd name="connsiteY82" fmla="*/ 382901 h 1230850"/>
                <a:gd name="connsiteX83" fmla="*/ 1646313 w 5332954"/>
                <a:gd name="connsiteY83" fmla="*/ 235763 h 1230850"/>
                <a:gd name="connsiteX84" fmla="*/ 1868706 w 5332954"/>
                <a:gd name="connsiteY84" fmla="*/ 169271 h 1230850"/>
                <a:gd name="connsiteX85" fmla="*/ 4978115 w 5332954"/>
                <a:gd name="connsiteY85" fmla="*/ 168986 h 1230850"/>
                <a:gd name="connsiteX86" fmla="*/ 5217812 w 5332954"/>
                <a:gd name="connsiteY86" fmla="*/ 235478 h 1230850"/>
                <a:gd name="connsiteX87" fmla="*/ 5307282 w 5332954"/>
                <a:gd name="connsiteY87" fmla="*/ 422987 h 1230850"/>
                <a:gd name="connsiteX88" fmla="*/ 5183108 w 5332954"/>
                <a:gd name="connsiteY88" fmla="*/ 422987 h 1230850"/>
                <a:gd name="connsiteX89" fmla="*/ 5099342 w 5332954"/>
                <a:gd name="connsiteY89" fmla="*/ 373972 h 1230850"/>
                <a:gd name="connsiteX90" fmla="*/ 5076237 w 5332954"/>
                <a:gd name="connsiteY90" fmla="*/ 350890 h 1230850"/>
                <a:gd name="connsiteX91" fmla="*/ 4981157 w 5332954"/>
                <a:gd name="connsiteY91" fmla="*/ 324958 h 1230850"/>
                <a:gd name="connsiteX92" fmla="*/ 4894539 w 5332954"/>
                <a:gd name="connsiteY92" fmla="*/ 342246 h 1230850"/>
                <a:gd name="connsiteX93" fmla="*/ 4868107 w 5332954"/>
                <a:gd name="connsiteY93" fmla="*/ 394110 h 1230850"/>
                <a:gd name="connsiteX94" fmla="*/ 5018238 w 5332954"/>
                <a:gd name="connsiteY94" fmla="*/ 472001 h 1230850"/>
                <a:gd name="connsiteX95" fmla="*/ 5048569 w 5332954"/>
                <a:gd name="connsiteY95" fmla="*/ 480645 h 1230850"/>
                <a:gd name="connsiteX96" fmla="*/ 5073100 w 5332954"/>
                <a:gd name="connsiteY96" fmla="*/ 483495 h 1230850"/>
                <a:gd name="connsiteX97" fmla="*/ 5278093 w 5332954"/>
                <a:gd name="connsiteY97" fmla="*/ 570030 h 1230850"/>
                <a:gd name="connsiteX98" fmla="*/ 5332954 w 5332954"/>
                <a:gd name="connsiteY98" fmla="*/ 708524 h 1230850"/>
                <a:gd name="connsiteX99" fmla="*/ 5240536 w 5332954"/>
                <a:gd name="connsiteY99" fmla="*/ 904676 h 1230850"/>
                <a:gd name="connsiteX100" fmla="*/ 4980682 w 5332954"/>
                <a:gd name="connsiteY100" fmla="*/ 968129 h 1230850"/>
                <a:gd name="connsiteX101" fmla="*/ 4735280 w 5332954"/>
                <a:gd name="connsiteY101" fmla="*/ 901636 h 1230850"/>
                <a:gd name="connsiteX102" fmla="*/ 4651514 w 5332954"/>
                <a:gd name="connsiteY102" fmla="*/ 708429 h 1230850"/>
                <a:gd name="connsiteX103" fmla="*/ 4651799 w 5332954"/>
                <a:gd name="connsiteY103" fmla="*/ 700165 h 1230850"/>
                <a:gd name="connsiteX104" fmla="*/ 4848235 w 5332954"/>
                <a:gd name="connsiteY104" fmla="*/ 700165 h 1230850"/>
                <a:gd name="connsiteX105" fmla="*/ 4891497 w 5332954"/>
                <a:gd name="connsiteY105" fmla="*/ 786795 h 1230850"/>
                <a:gd name="connsiteX106" fmla="*/ 5007019 w 5332954"/>
                <a:gd name="connsiteY106" fmla="*/ 815291 h 1230850"/>
                <a:gd name="connsiteX107" fmla="*/ 5096490 w 5332954"/>
                <a:gd name="connsiteY107" fmla="*/ 795154 h 1230850"/>
                <a:gd name="connsiteX108" fmla="*/ 5131098 w 5332954"/>
                <a:gd name="connsiteY108" fmla="*/ 740345 h 1230850"/>
                <a:gd name="connsiteX109" fmla="*/ 5009871 w 5332954"/>
                <a:gd name="connsiteY109" fmla="*/ 662454 h 1230850"/>
                <a:gd name="connsiteX110" fmla="*/ 4931906 w 5332954"/>
                <a:gd name="connsiteY110" fmla="*/ 645166 h 1230850"/>
                <a:gd name="connsiteX111" fmla="*/ 4726913 w 5332954"/>
                <a:gd name="connsiteY111" fmla="*/ 555686 h 1230850"/>
                <a:gd name="connsiteX112" fmla="*/ 4669199 w 5332954"/>
                <a:gd name="connsiteY112" fmla="*/ 417287 h 1230850"/>
                <a:gd name="connsiteX113" fmla="*/ 4752870 w 5332954"/>
                <a:gd name="connsiteY113" fmla="*/ 235478 h 1230850"/>
                <a:gd name="connsiteX114" fmla="*/ 4978115 w 5332954"/>
                <a:gd name="connsiteY114" fmla="*/ 168986 h 1230850"/>
                <a:gd name="connsiteX115" fmla="*/ 3650699 w 5332954"/>
                <a:gd name="connsiteY115" fmla="*/ 168891 h 1230850"/>
                <a:gd name="connsiteX116" fmla="*/ 3890301 w 5332954"/>
                <a:gd name="connsiteY116" fmla="*/ 235383 h 1230850"/>
                <a:gd name="connsiteX117" fmla="*/ 3979772 w 5332954"/>
                <a:gd name="connsiteY117" fmla="*/ 422892 h 1230850"/>
                <a:gd name="connsiteX118" fmla="*/ 3855692 w 5332954"/>
                <a:gd name="connsiteY118" fmla="*/ 422892 h 1230850"/>
                <a:gd name="connsiteX119" fmla="*/ 3771926 w 5332954"/>
                <a:gd name="connsiteY119" fmla="*/ 373877 h 1230850"/>
                <a:gd name="connsiteX120" fmla="*/ 3748822 w 5332954"/>
                <a:gd name="connsiteY120" fmla="*/ 350795 h 1230850"/>
                <a:gd name="connsiteX121" fmla="*/ 3653742 w 5332954"/>
                <a:gd name="connsiteY121" fmla="*/ 324863 h 1230850"/>
                <a:gd name="connsiteX122" fmla="*/ 3567124 w 5332954"/>
                <a:gd name="connsiteY122" fmla="*/ 342151 h 1230850"/>
                <a:gd name="connsiteX123" fmla="*/ 3541167 w 5332954"/>
                <a:gd name="connsiteY123" fmla="*/ 394110 h 1230850"/>
                <a:gd name="connsiteX124" fmla="*/ 3691299 w 5332954"/>
                <a:gd name="connsiteY124" fmla="*/ 472001 h 1230850"/>
                <a:gd name="connsiteX125" fmla="*/ 3721629 w 5332954"/>
                <a:gd name="connsiteY125" fmla="*/ 480645 h 1230850"/>
                <a:gd name="connsiteX126" fmla="*/ 3746160 w 5332954"/>
                <a:gd name="connsiteY126" fmla="*/ 483495 h 1230850"/>
                <a:gd name="connsiteX127" fmla="*/ 3951153 w 5332954"/>
                <a:gd name="connsiteY127" fmla="*/ 570030 h 1230850"/>
                <a:gd name="connsiteX128" fmla="*/ 4006014 w 5332954"/>
                <a:gd name="connsiteY128" fmla="*/ 708524 h 1230850"/>
                <a:gd name="connsiteX129" fmla="*/ 3913596 w 5332954"/>
                <a:gd name="connsiteY129" fmla="*/ 904676 h 1230850"/>
                <a:gd name="connsiteX130" fmla="*/ 3653742 w 5332954"/>
                <a:gd name="connsiteY130" fmla="*/ 968129 h 1230850"/>
                <a:gd name="connsiteX131" fmla="*/ 3408340 w 5332954"/>
                <a:gd name="connsiteY131" fmla="*/ 901636 h 1230850"/>
                <a:gd name="connsiteX132" fmla="*/ 3324574 w 5332954"/>
                <a:gd name="connsiteY132" fmla="*/ 708429 h 1230850"/>
                <a:gd name="connsiteX133" fmla="*/ 3324384 w 5332954"/>
                <a:gd name="connsiteY133" fmla="*/ 700165 h 1230850"/>
                <a:gd name="connsiteX134" fmla="*/ 3520725 w 5332954"/>
                <a:gd name="connsiteY134" fmla="*/ 700165 h 1230850"/>
                <a:gd name="connsiteX135" fmla="*/ 3564081 w 5332954"/>
                <a:gd name="connsiteY135" fmla="*/ 786795 h 1230850"/>
                <a:gd name="connsiteX136" fmla="*/ 3679508 w 5332954"/>
                <a:gd name="connsiteY136" fmla="*/ 815291 h 1230850"/>
                <a:gd name="connsiteX137" fmla="*/ 3769074 w 5332954"/>
                <a:gd name="connsiteY137" fmla="*/ 795154 h 1230850"/>
                <a:gd name="connsiteX138" fmla="*/ 3803683 w 5332954"/>
                <a:gd name="connsiteY138" fmla="*/ 740345 h 1230850"/>
                <a:gd name="connsiteX139" fmla="*/ 3682456 w 5332954"/>
                <a:gd name="connsiteY139" fmla="*/ 662454 h 1230850"/>
                <a:gd name="connsiteX140" fmla="*/ 3604490 w 5332954"/>
                <a:gd name="connsiteY140" fmla="*/ 645166 h 1230850"/>
                <a:gd name="connsiteX141" fmla="*/ 3399497 w 5332954"/>
                <a:gd name="connsiteY141" fmla="*/ 555591 h 1230850"/>
                <a:gd name="connsiteX142" fmla="*/ 3341688 w 5332954"/>
                <a:gd name="connsiteY142" fmla="*/ 417192 h 1230850"/>
                <a:gd name="connsiteX143" fmla="*/ 3425454 w 5332954"/>
                <a:gd name="connsiteY143" fmla="*/ 235383 h 1230850"/>
                <a:gd name="connsiteX144" fmla="*/ 3650699 w 5332954"/>
                <a:gd name="connsiteY144" fmla="*/ 168891 h 1230850"/>
                <a:gd name="connsiteX145" fmla="*/ 326315 w 5332954"/>
                <a:gd name="connsiteY145" fmla="*/ 168891 h 1230850"/>
                <a:gd name="connsiteX146" fmla="*/ 565917 w 5332954"/>
                <a:gd name="connsiteY146" fmla="*/ 235383 h 1230850"/>
                <a:gd name="connsiteX147" fmla="*/ 655388 w 5332954"/>
                <a:gd name="connsiteY147" fmla="*/ 422892 h 1230850"/>
                <a:gd name="connsiteX148" fmla="*/ 531308 w 5332954"/>
                <a:gd name="connsiteY148" fmla="*/ 422892 h 1230850"/>
                <a:gd name="connsiteX149" fmla="*/ 447543 w 5332954"/>
                <a:gd name="connsiteY149" fmla="*/ 373877 h 1230850"/>
                <a:gd name="connsiteX150" fmla="*/ 424438 w 5332954"/>
                <a:gd name="connsiteY150" fmla="*/ 350795 h 1230850"/>
                <a:gd name="connsiteX151" fmla="*/ 329358 w 5332954"/>
                <a:gd name="connsiteY151" fmla="*/ 324863 h 1230850"/>
                <a:gd name="connsiteX152" fmla="*/ 242740 w 5332954"/>
                <a:gd name="connsiteY152" fmla="*/ 342151 h 1230850"/>
                <a:gd name="connsiteX153" fmla="*/ 216593 w 5332954"/>
                <a:gd name="connsiteY153" fmla="*/ 394110 h 1230850"/>
                <a:gd name="connsiteX154" fmla="*/ 366724 w 5332954"/>
                <a:gd name="connsiteY154" fmla="*/ 472001 h 1230850"/>
                <a:gd name="connsiteX155" fmla="*/ 396960 w 5332954"/>
                <a:gd name="connsiteY155" fmla="*/ 480645 h 1230850"/>
                <a:gd name="connsiteX156" fmla="*/ 421586 w 5332954"/>
                <a:gd name="connsiteY156" fmla="*/ 483495 h 1230850"/>
                <a:gd name="connsiteX157" fmla="*/ 626579 w 5332954"/>
                <a:gd name="connsiteY157" fmla="*/ 570030 h 1230850"/>
                <a:gd name="connsiteX158" fmla="*/ 681440 w 5332954"/>
                <a:gd name="connsiteY158" fmla="*/ 708524 h 1230850"/>
                <a:gd name="connsiteX159" fmla="*/ 589022 w 5332954"/>
                <a:gd name="connsiteY159" fmla="*/ 904676 h 1230850"/>
                <a:gd name="connsiteX160" fmla="*/ 329168 w 5332954"/>
                <a:gd name="connsiteY160" fmla="*/ 968129 h 1230850"/>
                <a:gd name="connsiteX161" fmla="*/ 83766 w 5332954"/>
                <a:gd name="connsiteY161" fmla="*/ 901636 h 1230850"/>
                <a:gd name="connsiteX162" fmla="*/ 0 w 5332954"/>
                <a:gd name="connsiteY162" fmla="*/ 708904 h 1230850"/>
                <a:gd name="connsiteX163" fmla="*/ 0 w 5332954"/>
                <a:gd name="connsiteY163" fmla="*/ 700165 h 1230850"/>
                <a:gd name="connsiteX164" fmla="*/ 196341 w 5332954"/>
                <a:gd name="connsiteY164" fmla="*/ 700165 h 1230850"/>
                <a:gd name="connsiteX165" fmla="*/ 239602 w 5332954"/>
                <a:gd name="connsiteY165" fmla="*/ 786795 h 1230850"/>
                <a:gd name="connsiteX166" fmla="*/ 355125 w 5332954"/>
                <a:gd name="connsiteY166" fmla="*/ 815291 h 1230850"/>
                <a:gd name="connsiteX167" fmla="*/ 444690 w 5332954"/>
                <a:gd name="connsiteY167" fmla="*/ 795154 h 1230850"/>
                <a:gd name="connsiteX168" fmla="*/ 479299 w 5332954"/>
                <a:gd name="connsiteY168" fmla="*/ 740345 h 1230850"/>
                <a:gd name="connsiteX169" fmla="*/ 358072 w 5332954"/>
                <a:gd name="connsiteY169" fmla="*/ 662454 h 1230850"/>
                <a:gd name="connsiteX170" fmla="*/ 280106 w 5332954"/>
                <a:gd name="connsiteY170" fmla="*/ 645166 h 1230850"/>
                <a:gd name="connsiteX171" fmla="*/ 75113 w 5332954"/>
                <a:gd name="connsiteY171" fmla="*/ 555591 h 1230850"/>
                <a:gd name="connsiteX172" fmla="*/ 17305 w 5332954"/>
                <a:gd name="connsiteY172" fmla="*/ 417192 h 1230850"/>
                <a:gd name="connsiteX173" fmla="*/ 101070 w 5332954"/>
                <a:gd name="connsiteY173" fmla="*/ 235383 h 1230850"/>
                <a:gd name="connsiteX174" fmla="*/ 326315 w 5332954"/>
                <a:gd name="connsiteY174" fmla="*/ 168891 h 1230850"/>
                <a:gd name="connsiteX175" fmla="*/ 2243037 w 5332954"/>
                <a:gd name="connsiteY175" fmla="*/ 0 h 1230850"/>
                <a:gd name="connsiteX176" fmla="*/ 2438141 w 5332954"/>
                <a:gd name="connsiteY176" fmla="*/ 0 h 1230850"/>
                <a:gd name="connsiteX177" fmla="*/ 2438141 w 5332954"/>
                <a:gd name="connsiteY177" fmla="*/ 193493 h 1230850"/>
                <a:gd name="connsiteX178" fmla="*/ 2575627 w 5332954"/>
                <a:gd name="connsiteY178" fmla="*/ 193493 h 1230850"/>
                <a:gd name="connsiteX179" fmla="*/ 2575627 w 5332954"/>
                <a:gd name="connsiteY179" fmla="*/ 366278 h 1230850"/>
                <a:gd name="connsiteX180" fmla="*/ 2438141 w 5332954"/>
                <a:gd name="connsiteY180" fmla="*/ 366278 h 1230850"/>
                <a:gd name="connsiteX181" fmla="*/ 2438141 w 5332954"/>
                <a:gd name="connsiteY181" fmla="*/ 635002 h 1230850"/>
                <a:gd name="connsiteX182" fmla="*/ 2474367 w 5332954"/>
                <a:gd name="connsiteY182" fmla="*/ 747279 h 1230850"/>
                <a:gd name="connsiteX183" fmla="*/ 2584470 w 5332954"/>
                <a:gd name="connsiteY183" fmla="*/ 775301 h 1230850"/>
                <a:gd name="connsiteX184" fmla="*/ 2584470 w 5332954"/>
                <a:gd name="connsiteY184" fmla="*/ 952550 h 1230850"/>
                <a:gd name="connsiteX185" fmla="*/ 2436715 w 5332954"/>
                <a:gd name="connsiteY185" fmla="*/ 942196 h 1230850"/>
                <a:gd name="connsiteX186" fmla="*/ 2330225 w 5332954"/>
                <a:gd name="connsiteY186" fmla="*/ 880169 h 1230850"/>
                <a:gd name="connsiteX187" fmla="*/ 2265190 w 5332954"/>
                <a:gd name="connsiteY187" fmla="*/ 774636 h 1230850"/>
                <a:gd name="connsiteX188" fmla="*/ 2243037 w 5332954"/>
                <a:gd name="connsiteY188" fmla="*/ 633577 h 1230850"/>
                <a:gd name="connsiteX189" fmla="*/ 717570 w 5332954"/>
                <a:gd name="connsiteY189" fmla="*/ 0 h 1230850"/>
                <a:gd name="connsiteX190" fmla="*/ 912770 w 5332954"/>
                <a:gd name="connsiteY190" fmla="*/ 0 h 1230850"/>
                <a:gd name="connsiteX191" fmla="*/ 912770 w 5332954"/>
                <a:gd name="connsiteY191" fmla="*/ 193493 h 1230850"/>
                <a:gd name="connsiteX192" fmla="*/ 1050256 w 5332954"/>
                <a:gd name="connsiteY192" fmla="*/ 193493 h 1230850"/>
                <a:gd name="connsiteX193" fmla="*/ 1050256 w 5332954"/>
                <a:gd name="connsiteY193" fmla="*/ 366278 h 1230850"/>
                <a:gd name="connsiteX194" fmla="*/ 912770 w 5332954"/>
                <a:gd name="connsiteY194" fmla="*/ 366278 h 1230850"/>
                <a:gd name="connsiteX195" fmla="*/ 912770 w 5332954"/>
                <a:gd name="connsiteY195" fmla="*/ 635002 h 1230850"/>
                <a:gd name="connsiteX196" fmla="*/ 948995 w 5332954"/>
                <a:gd name="connsiteY196" fmla="*/ 747279 h 1230850"/>
                <a:gd name="connsiteX197" fmla="*/ 1059193 w 5332954"/>
                <a:gd name="connsiteY197" fmla="*/ 775301 h 1230850"/>
                <a:gd name="connsiteX198" fmla="*/ 1059098 w 5332954"/>
                <a:gd name="connsiteY198" fmla="*/ 952550 h 1230850"/>
                <a:gd name="connsiteX199" fmla="*/ 911248 w 5332954"/>
                <a:gd name="connsiteY199" fmla="*/ 942196 h 1230850"/>
                <a:gd name="connsiteX200" fmla="*/ 804759 w 5332954"/>
                <a:gd name="connsiteY200" fmla="*/ 880169 h 1230850"/>
                <a:gd name="connsiteX201" fmla="*/ 739724 w 5332954"/>
                <a:gd name="connsiteY201" fmla="*/ 774636 h 1230850"/>
                <a:gd name="connsiteX202" fmla="*/ 717570 w 5332954"/>
                <a:gd name="connsiteY202" fmla="*/ 633577 h 1230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5332954" h="1230850">
                  <a:moveTo>
                    <a:pt x="2007523" y="567560"/>
                  </a:moveTo>
                  <a:cubicBezTo>
                    <a:pt x="1971488" y="584126"/>
                    <a:pt x="1933731" y="596684"/>
                    <a:pt x="1894948" y="604986"/>
                  </a:cubicBezTo>
                  <a:lnTo>
                    <a:pt x="1828392" y="619424"/>
                  </a:lnTo>
                  <a:cubicBezTo>
                    <a:pt x="1793687" y="628923"/>
                    <a:pt x="1768681" y="641556"/>
                    <a:pt x="1753278" y="656945"/>
                  </a:cubicBezTo>
                  <a:cubicBezTo>
                    <a:pt x="1740566" y="675705"/>
                    <a:pt x="1733568" y="697743"/>
                    <a:pt x="1733121" y="720397"/>
                  </a:cubicBezTo>
                  <a:cubicBezTo>
                    <a:pt x="1731885" y="746063"/>
                    <a:pt x="1741279" y="771102"/>
                    <a:pt x="1759078" y="789645"/>
                  </a:cubicBezTo>
                  <a:cubicBezTo>
                    <a:pt x="1776383" y="805033"/>
                    <a:pt x="1801389" y="812727"/>
                    <a:pt x="1834096" y="812727"/>
                  </a:cubicBezTo>
                  <a:cubicBezTo>
                    <a:pt x="1888036" y="812727"/>
                    <a:pt x="1930413" y="797339"/>
                    <a:pt x="1961219" y="766562"/>
                  </a:cubicBezTo>
                  <a:cubicBezTo>
                    <a:pt x="1992025" y="735786"/>
                    <a:pt x="2007399" y="693487"/>
                    <a:pt x="2007333" y="639657"/>
                  </a:cubicBezTo>
                  <a:close/>
                  <a:moveTo>
                    <a:pt x="2954997" y="336737"/>
                  </a:moveTo>
                  <a:cubicBezTo>
                    <a:pt x="2916271" y="335331"/>
                    <a:pt x="2878676" y="349940"/>
                    <a:pt x="2851074" y="377107"/>
                  </a:cubicBezTo>
                  <a:cubicBezTo>
                    <a:pt x="2823948" y="404084"/>
                    <a:pt x="2809429" y="442555"/>
                    <a:pt x="2807528" y="492519"/>
                  </a:cubicBezTo>
                  <a:lnTo>
                    <a:pt x="3102276" y="492519"/>
                  </a:lnTo>
                  <a:cubicBezTo>
                    <a:pt x="3098378" y="440560"/>
                    <a:pt x="3084972" y="402184"/>
                    <a:pt x="3061867" y="377107"/>
                  </a:cubicBezTo>
                  <a:cubicBezTo>
                    <a:pt x="3036509" y="350197"/>
                    <a:pt x="3000892" y="336737"/>
                    <a:pt x="2954997" y="336737"/>
                  </a:cubicBezTo>
                  <a:close/>
                  <a:moveTo>
                    <a:pt x="3963608" y="186749"/>
                  </a:moveTo>
                  <a:lnTo>
                    <a:pt x="4185906" y="186749"/>
                  </a:lnTo>
                  <a:lnTo>
                    <a:pt x="4341837" y="729042"/>
                  </a:lnTo>
                  <a:lnTo>
                    <a:pt x="4477517" y="255996"/>
                  </a:lnTo>
                  <a:cubicBezTo>
                    <a:pt x="4489117" y="209831"/>
                    <a:pt x="4519827" y="186749"/>
                    <a:pt x="4569935" y="186749"/>
                  </a:cubicBezTo>
                  <a:lnTo>
                    <a:pt x="4708466" y="186749"/>
                  </a:lnTo>
                  <a:lnTo>
                    <a:pt x="4413718" y="1060648"/>
                  </a:lnTo>
                  <a:cubicBezTo>
                    <a:pt x="4390642" y="1123977"/>
                    <a:pt x="4361776" y="1169154"/>
                    <a:pt x="4327100" y="1196198"/>
                  </a:cubicBezTo>
                  <a:cubicBezTo>
                    <a:pt x="4292490" y="1219308"/>
                    <a:pt x="4235699" y="1230840"/>
                    <a:pt x="4156716" y="1230773"/>
                  </a:cubicBezTo>
                  <a:lnTo>
                    <a:pt x="4136844" y="1230773"/>
                  </a:lnTo>
                  <a:cubicBezTo>
                    <a:pt x="4129428" y="1231154"/>
                    <a:pt x="4078940" y="1230014"/>
                    <a:pt x="4073331" y="1230014"/>
                  </a:cubicBezTo>
                  <a:lnTo>
                    <a:pt x="4073331" y="1066538"/>
                  </a:lnTo>
                  <a:lnTo>
                    <a:pt x="4128192" y="1066538"/>
                  </a:lnTo>
                  <a:cubicBezTo>
                    <a:pt x="4166604" y="1066538"/>
                    <a:pt x="4196906" y="1057418"/>
                    <a:pt x="4219088" y="1039181"/>
                  </a:cubicBezTo>
                  <a:cubicBezTo>
                    <a:pt x="4241242" y="1020848"/>
                    <a:pt x="4245521" y="991686"/>
                    <a:pt x="4232114" y="951126"/>
                  </a:cubicBezTo>
                  <a:close/>
                  <a:moveTo>
                    <a:pt x="1498749" y="186748"/>
                  </a:moveTo>
                  <a:lnTo>
                    <a:pt x="1527273" y="186748"/>
                  </a:lnTo>
                  <a:lnTo>
                    <a:pt x="1527273" y="391545"/>
                  </a:lnTo>
                  <a:lnTo>
                    <a:pt x="1460717" y="391545"/>
                  </a:lnTo>
                  <a:cubicBezTo>
                    <a:pt x="1404876" y="391545"/>
                    <a:pt x="1363478" y="405005"/>
                    <a:pt x="1336542" y="431915"/>
                  </a:cubicBezTo>
                  <a:cubicBezTo>
                    <a:pt x="1309606" y="458825"/>
                    <a:pt x="1296133" y="501162"/>
                    <a:pt x="1296133" y="558915"/>
                  </a:cubicBezTo>
                  <a:lnTo>
                    <a:pt x="1296133" y="954545"/>
                  </a:lnTo>
                  <a:lnTo>
                    <a:pt x="1094563" y="954545"/>
                  </a:lnTo>
                  <a:lnTo>
                    <a:pt x="1094563" y="581998"/>
                  </a:lnTo>
                  <a:cubicBezTo>
                    <a:pt x="1094563" y="506956"/>
                    <a:pt x="1105621" y="443950"/>
                    <a:pt x="1127746" y="392969"/>
                  </a:cubicBezTo>
                  <a:cubicBezTo>
                    <a:pt x="1147437" y="345247"/>
                    <a:pt x="1178671" y="303148"/>
                    <a:pt x="1218643" y="270434"/>
                  </a:cubicBezTo>
                  <a:cubicBezTo>
                    <a:pt x="1256770" y="240845"/>
                    <a:pt x="1300497" y="219253"/>
                    <a:pt x="1347191" y="206981"/>
                  </a:cubicBezTo>
                  <a:cubicBezTo>
                    <a:pt x="1396566" y="193445"/>
                    <a:pt x="1447548" y="186644"/>
                    <a:pt x="1498749" y="186748"/>
                  </a:cubicBezTo>
                  <a:close/>
                  <a:moveTo>
                    <a:pt x="2949102" y="169556"/>
                  </a:moveTo>
                  <a:cubicBezTo>
                    <a:pt x="3064596" y="169556"/>
                    <a:pt x="3154095" y="204161"/>
                    <a:pt x="3217609" y="273379"/>
                  </a:cubicBezTo>
                  <a:cubicBezTo>
                    <a:pt x="3279221" y="344554"/>
                    <a:pt x="3310027" y="443599"/>
                    <a:pt x="3310027" y="570505"/>
                  </a:cubicBezTo>
                  <a:lnTo>
                    <a:pt x="3310027" y="602231"/>
                  </a:lnTo>
                  <a:cubicBezTo>
                    <a:pt x="3310473" y="609099"/>
                    <a:pt x="3309504" y="615986"/>
                    <a:pt x="3307174" y="622464"/>
                  </a:cubicBezTo>
                  <a:lnTo>
                    <a:pt x="2807528" y="622464"/>
                  </a:lnTo>
                  <a:cubicBezTo>
                    <a:pt x="2809429" y="682117"/>
                    <a:pt x="2823881" y="726448"/>
                    <a:pt x="2850884" y="755449"/>
                  </a:cubicBezTo>
                  <a:cubicBezTo>
                    <a:pt x="2875890" y="786320"/>
                    <a:pt x="2913447" y="801613"/>
                    <a:pt x="2963459" y="801613"/>
                  </a:cubicBezTo>
                  <a:cubicBezTo>
                    <a:pt x="2992677" y="802506"/>
                    <a:pt x="3021610" y="795553"/>
                    <a:pt x="3047225" y="781475"/>
                  </a:cubicBezTo>
                  <a:cubicBezTo>
                    <a:pt x="3053253" y="779395"/>
                    <a:pt x="3058692" y="775909"/>
                    <a:pt x="3063103" y="771312"/>
                  </a:cubicBezTo>
                  <a:lnTo>
                    <a:pt x="3078982" y="755449"/>
                  </a:lnTo>
                  <a:cubicBezTo>
                    <a:pt x="3084126" y="746064"/>
                    <a:pt x="3091589" y="738151"/>
                    <a:pt x="3100660" y="732461"/>
                  </a:cubicBezTo>
                  <a:cubicBezTo>
                    <a:pt x="3116291" y="721718"/>
                    <a:pt x="3135060" y="716475"/>
                    <a:pt x="3154000" y="717548"/>
                  </a:cubicBezTo>
                  <a:lnTo>
                    <a:pt x="3298427" y="717548"/>
                  </a:lnTo>
                  <a:cubicBezTo>
                    <a:pt x="3277195" y="798288"/>
                    <a:pt x="3236748" y="859813"/>
                    <a:pt x="3177104" y="902112"/>
                  </a:cubicBezTo>
                  <a:cubicBezTo>
                    <a:pt x="3117518" y="946443"/>
                    <a:pt x="3042471" y="968604"/>
                    <a:pt x="2951955" y="968604"/>
                  </a:cubicBezTo>
                  <a:cubicBezTo>
                    <a:pt x="2842232" y="968604"/>
                    <a:pt x="2756660" y="933011"/>
                    <a:pt x="2695238" y="861836"/>
                  </a:cubicBezTo>
                  <a:cubicBezTo>
                    <a:pt x="2633626" y="792561"/>
                    <a:pt x="2602848" y="693515"/>
                    <a:pt x="2602915" y="564710"/>
                  </a:cubicBezTo>
                  <a:cubicBezTo>
                    <a:pt x="2602915" y="441728"/>
                    <a:pt x="2632742" y="345571"/>
                    <a:pt x="2692386" y="276229"/>
                  </a:cubicBezTo>
                  <a:cubicBezTo>
                    <a:pt x="2753931" y="205177"/>
                    <a:pt x="2839503" y="169623"/>
                    <a:pt x="2949102" y="169556"/>
                  </a:cubicBezTo>
                  <a:close/>
                  <a:moveTo>
                    <a:pt x="1868706" y="169271"/>
                  </a:moveTo>
                  <a:cubicBezTo>
                    <a:pt x="1976460" y="169271"/>
                    <a:pt x="2057316" y="187537"/>
                    <a:pt x="2111255" y="224080"/>
                  </a:cubicBezTo>
                  <a:cubicBezTo>
                    <a:pt x="2165508" y="259577"/>
                    <a:pt x="2197236" y="320816"/>
                    <a:pt x="2194926" y="385561"/>
                  </a:cubicBezTo>
                  <a:lnTo>
                    <a:pt x="2194926" y="648111"/>
                  </a:lnTo>
                  <a:cubicBezTo>
                    <a:pt x="2194926" y="725052"/>
                    <a:pt x="2180978" y="785208"/>
                    <a:pt x="2153091" y="828590"/>
                  </a:cubicBezTo>
                  <a:cubicBezTo>
                    <a:pt x="2129064" y="868238"/>
                    <a:pt x="2094721" y="900639"/>
                    <a:pt x="2053732" y="922344"/>
                  </a:cubicBezTo>
                  <a:cubicBezTo>
                    <a:pt x="2013779" y="943346"/>
                    <a:pt x="1970185" y="956569"/>
                    <a:pt x="1925279" y="961290"/>
                  </a:cubicBezTo>
                  <a:cubicBezTo>
                    <a:pt x="1885497" y="965754"/>
                    <a:pt x="1845506" y="968157"/>
                    <a:pt x="1805477" y="968509"/>
                  </a:cubicBezTo>
                  <a:cubicBezTo>
                    <a:pt x="1740357" y="969810"/>
                    <a:pt x="1676558" y="950053"/>
                    <a:pt x="1623589" y="912180"/>
                  </a:cubicBezTo>
                  <a:cubicBezTo>
                    <a:pt x="1571552" y="874755"/>
                    <a:pt x="1545557" y="812755"/>
                    <a:pt x="1545623" y="726192"/>
                  </a:cubicBezTo>
                  <a:cubicBezTo>
                    <a:pt x="1545623" y="645451"/>
                    <a:pt x="1569203" y="587764"/>
                    <a:pt x="1616363" y="553122"/>
                  </a:cubicBezTo>
                  <a:cubicBezTo>
                    <a:pt x="1663523" y="518479"/>
                    <a:pt x="1723737" y="495397"/>
                    <a:pt x="1797015" y="483875"/>
                  </a:cubicBezTo>
                  <a:cubicBezTo>
                    <a:pt x="1808672" y="483637"/>
                    <a:pt x="1820272" y="482174"/>
                    <a:pt x="1831624" y="479505"/>
                  </a:cubicBezTo>
                  <a:cubicBezTo>
                    <a:pt x="1845031" y="476656"/>
                    <a:pt x="1860149" y="474281"/>
                    <a:pt x="1877833" y="472381"/>
                  </a:cubicBezTo>
                  <a:cubicBezTo>
                    <a:pt x="1962578" y="460792"/>
                    <a:pt x="2004927" y="435782"/>
                    <a:pt x="2004861" y="397340"/>
                  </a:cubicBezTo>
                  <a:cubicBezTo>
                    <a:pt x="2004861" y="368463"/>
                    <a:pt x="1989933" y="349722"/>
                    <a:pt x="1960078" y="341106"/>
                  </a:cubicBezTo>
                  <a:cubicBezTo>
                    <a:pt x="1933408" y="332937"/>
                    <a:pt x="1905720" y="328558"/>
                    <a:pt x="1877833" y="328093"/>
                  </a:cubicBezTo>
                  <a:cubicBezTo>
                    <a:pt x="1853284" y="327703"/>
                    <a:pt x="1828858" y="331626"/>
                    <a:pt x="1805668" y="339681"/>
                  </a:cubicBezTo>
                  <a:cubicBezTo>
                    <a:pt x="1784893" y="346995"/>
                    <a:pt x="1768130" y="362669"/>
                    <a:pt x="1759459" y="382901"/>
                  </a:cubicBezTo>
                  <a:lnTo>
                    <a:pt x="1565495" y="382901"/>
                  </a:lnTo>
                  <a:cubicBezTo>
                    <a:pt x="1572208" y="325205"/>
                    <a:pt x="1601207" y="272410"/>
                    <a:pt x="1646313" y="235763"/>
                  </a:cubicBezTo>
                  <a:cubicBezTo>
                    <a:pt x="1698351" y="191432"/>
                    <a:pt x="1772485" y="169271"/>
                    <a:pt x="1868706" y="169271"/>
                  </a:cubicBezTo>
                  <a:close/>
                  <a:moveTo>
                    <a:pt x="4978115" y="168986"/>
                  </a:moveTo>
                  <a:cubicBezTo>
                    <a:pt x="5078139" y="168986"/>
                    <a:pt x="5158035" y="191147"/>
                    <a:pt x="5217812" y="235478"/>
                  </a:cubicBezTo>
                  <a:cubicBezTo>
                    <a:pt x="5273006" y="282403"/>
                    <a:pt x="5305552" y="350605"/>
                    <a:pt x="5307282" y="422987"/>
                  </a:cubicBezTo>
                  <a:lnTo>
                    <a:pt x="5183108" y="422987"/>
                  </a:lnTo>
                  <a:cubicBezTo>
                    <a:pt x="5148108" y="423956"/>
                    <a:pt x="5115619" y="404939"/>
                    <a:pt x="5099342" y="373972"/>
                  </a:cubicBezTo>
                  <a:lnTo>
                    <a:pt x="5076237" y="350890"/>
                  </a:lnTo>
                  <a:cubicBezTo>
                    <a:pt x="5053228" y="333602"/>
                    <a:pt x="5021376" y="324958"/>
                    <a:pt x="4981157" y="324958"/>
                  </a:cubicBezTo>
                  <a:cubicBezTo>
                    <a:pt x="4943125" y="324958"/>
                    <a:pt x="4913745" y="330657"/>
                    <a:pt x="4894539" y="342246"/>
                  </a:cubicBezTo>
                  <a:cubicBezTo>
                    <a:pt x="4877092" y="353578"/>
                    <a:pt x="4867013" y="373345"/>
                    <a:pt x="4868107" y="394110"/>
                  </a:cubicBezTo>
                  <a:cubicBezTo>
                    <a:pt x="4868107" y="424887"/>
                    <a:pt x="4918147" y="450847"/>
                    <a:pt x="5018238" y="472001"/>
                  </a:cubicBezTo>
                  <a:cubicBezTo>
                    <a:pt x="5029838" y="475801"/>
                    <a:pt x="5039917" y="478745"/>
                    <a:pt x="5048569" y="480645"/>
                  </a:cubicBezTo>
                  <a:cubicBezTo>
                    <a:pt x="5056623" y="482478"/>
                    <a:pt x="5064847" y="483438"/>
                    <a:pt x="5073100" y="483495"/>
                  </a:cubicBezTo>
                  <a:cubicBezTo>
                    <a:pt x="5171289" y="508505"/>
                    <a:pt x="5239614" y="537354"/>
                    <a:pt x="5278093" y="570030"/>
                  </a:cubicBezTo>
                  <a:cubicBezTo>
                    <a:pt x="5314670" y="604606"/>
                    <a:pt x="5332954" y="650770"/>
                    <a:pt x="5332954" y="708524"/>
                  </a:cubicBezTo>
                  <a:cubicBezTo>
                    <a:pt x="5332954" y="793187"/>
                    <a:pt x="5302148" y="858578"/>
                    <a:pt x="5240536" y="904676"/>
                  </a:cubicBezTo>
                  <a:cubicBezTo>
                    <a:pt x="5182794" y="946975"/>
                    <a:pt x="5096176" y="968129"/>
                    <a:pt x="4980682" y="968129"/>
                  </a:cubicBezTo>
                  <a:cubicBezTo>
                    <a:pt x="4871083" y="968129"/>
                    <a:pt x="4789285" y="945968"/>
                    <a:pt x="4735280" y="901636"/>
                  </a:cubicBezTo>
                  <a:cubicBezTo>
                    <a:pt x="4679439" y="857305"/>
                    <a:pt x="4651514" y="792903"/>
                    <a:pt x="4651514" y="708429"/>
                  </a:cubicBezTo>
                  <a:lnTo>
                    <a:pt x="4651799" y="700165"/>
                  </a:lnTo>
                  <a:lnTo>
                    <a:pt x="4848235" y="700165"/>
                  </a:lnTo>
                  <a:cubicBezTo>
                    <a:pt x="4850070" y="738730"/>
                    <a:pt x="4864494" y="767607"/>
                    <a:pt x="4891497" y="786795"/>
                  </a:cubicBezTo>
                  <a:cubicBezTo>
                    <a:pt x="4920021" y="805792"/>
                    <a:pt x="4958813" y="815291"/>
                    <a:pt x="5007019" y="815291"/>
                  </a:cubicBezTo>
                  <a:cubicBezTo>
                    <a:pt x="5038063" y="816146"/>
                    <a:pt x="5068821" y="809231"/>
                    <a:pt x="5096490" y="795154"/>
                  </a:cubicBezTo>
                  <a:cubicBezTo>
                    <a:pt x="5119622" y="781665"/>
                    <a:pt x="5131165" y="763399"/>
                    <a:pt x="5131098" y="740345"/>
                  </a:cubicBezTo>
                  <a:cubicBezTo>
                    <a:pt x="5131098" y="705646"/>
                    <a:pt x="5090689" y="679675"/>
                    <a:pt x="5009871" y="662454"/>
                  </a:cubicBezTo>
                  <a:cubicBezTo>
                    <a:pt x="4983506" y="658531"/>
                    <a:pt x="4957453" y="652756"/>
                    <a:pt x="4931906" y="645166"/>
                  </a:cubicBezTo>
                  <a:cubicBezTo>
                    <a:pt x="4829856" y="620213"/>
                    <a:pt x="4761522" y="590386"/>
                    <a:pt x="4726913" y="555686"/>
                  </a:cubicBezTo>
                  <a:cubicBezTo>
                    <a:pt x="4688434" y="521110"/>
                    <a:pt x="4669199" y="474974"/>
                    <a:pt x="4669199" y="417287"/>
                  </a:cubicBezTo>
                  <a:cubicBezTo>
                    <a:pt x="4667839" y="347100"/>
                    <a:pt x="4698655" y="280142"/>
                    <a:pt x="4752870" y="235478"/>
                  </a:cubicBezTo>
                  <a:cubicBezTo>
                    <a:pt x="4810678" y="191147"/>
                    <a:pt x="4885763" y="168986"/>
                    <a:pt x="4978115" y="168986"/>
                  </a:cubicBezTo>
                  <a:close/>
                  <a:moveTo>
                    <a:pt x="3650699" y="168891"/>
                  </a:moveTo>
                  <a:cubicBezTo>
                    <a:pt x="3750724" y="168891"/>
                    <a:pt x="3830591" y="191052"/>
                    <a:pt x="3890301" y="235383"/>
                  </a:cubicBezTo>
                  <a:cubicBezTo>
                    <a:pt x="3945533" y="282270"/>
                    <a:pt x="3978089" y="350501"/>
                    <a:pt x="3979772" y="422892"/>
                  </a:cubicBezTo>
                  <a:lnTo>
                    <a:pt x="3855692" y="422892"/>
                  </a:lnTo>
                  <a:cubicBezTo>
                    <a:pt x="3820693" y="423880"/>
                    <a:pt x="3788185" y="404863"/>
                    <a:pt x="3771926" y="373877"/>
                  </a:cubicBezTo>
                  <a:lnTo>
                    <a:pt x="3748822" y="350795"/>
                  </a:lnTo>
                  <a:cubicBezTo>
                    <a:pt x="3725746" y="333507"/>
                    <a:pt x="3694056" y="324863"/>
                    <a:pt x="3653742" y="324863"/>
                  </a:cubicBezTo>
                  <a:cubicBezTo>
                    <a:pt x="3615234" y="324863"/>
                    <a:pt x="3586330" y="330562"/>
                    <a:pt x="3567124" y="342151"/>
                  </a:cubicBezTo>
                  <a:cubicBezTo>
                    <a:pt x="3549829" y="353616"/>
                    <a:pt x="3539940" y="373412"/>
                    <a:pt x="3541167" y="394110"/>
                  </a:cubicBezTo>
                  <a:cubicBezTo>
                    <a:pt x="3541167" y="424887"/>
                    <a:pt x="3591208" y="450847"/>
                    <a:pt x="3691299" y="472001"/>
                  </a:cubicBezTo>
                  <a:cubicBezTo>
                    <a:pt x="3701253" y="475402"/>
                    <a:pt x="3711379" y="478280"/>
                    <a:pt x="3721629" y="480645"/>
                  </a:cubicBezTo>
                  <a:cubicBezTo>
                    <a:pt x="3729682" y="482478"/>
                    <a:pt x="3737907" y="483438"/>
                    <a:pt x="3746160" y="483495"/>
                  </a:cubicBezTo>
                  <a:cubicBezTo>
                    <a:pt x="3844283" y="508505"/>
                    <a:pt x="3912617" y="537354"/>
                    <a:pt x="3951153" y="570030"/>
                  </a:cubicBezTo>
                  <a:cubicBezTo>
                    <a:pt x="3987663" y="604606"/>
                    <a:pt x="4005947" y="650770"/>
                    <a:pt x="4006014" y="708524"/>
                  </a:cubicBezTo>
                  <a:cubicBezTo>
                    <a:pt x="4006014" y="793188"/>
                    <a:pt x="3975208" y="858578"/>
                    <a:pt x="3913596" y="904676"/>
                  </a:cubicBezTo>
                  <a:cubicBezTo>
                    <a:pt x="3855911" y="946975"/>
                    <a:pt x="3769293" y="968129"/>
                    <a:pt x="3653742" y="968129"/>
                  </a:cubicBezTo>
                  <a:cubicBezTo>
                    <a:pt x="3544019" y="968129"/>
                    <a:pt x="3462222" y="945968"/>
                    <a:pt x="3408340" y="901636"/>
                  </a:cubicBezTo>
                  <a:cubicBezTo>
                    <a:pt x="3352432" y="857305"/>
                    <a:pt x="3324508" y="792903"/>
                    <a:pt x="3324574" y="708429"/>
                  </a:cubicBezTo>
                  <a:lnTo>
                    <a:pt x="3324384" y="700165"/>
                  </a:lnTo>
                  <a:lnTo>
                    <a:pt x="3520725" y="700165"/>
                  </a:lnTo>
                  <a:cubicBezTo>
                    <a:pt x="3522626" y="738730"/>
                    <a:pt x="3537078" y="767607"/>
                    <a:pt x="3564081" y="786795"/>
                  </a:cubicBezTo>
                  <a:cubicBezTo>
                    <a:pt x="3592862" y="805793"/>
                    <a:pt x="3631331" y="815291"/>
                    <a:pt x="3679508" y="815291"/>
                  </a:cubicBezTo>
                  <a:cubicBezTo>
                    <a:pt x="3710581" y="816146"/>
                    <a:pt x="3741368" y="809231"/>
                    <a:pt x="3769074" y="795154"/>
                  </a:cubicBezTo>
                  <a:cubicBezTo>
                    <a:pt x="3792150" y="781665"/>
                    <a:pt x="3803683" y="763399"/>
                    <a:pt x="3803683" y="740345"/>
                  </a:cubicBezTo>
                  <a:cubicBezTo>
                    <a:pt x="3803683" y="705646"/>
                    <a:pt x="3763274" y="679676"/>
                    <a:pt x="3682456" y="662454"/>
                  </a:cubicBezTo>
                  <a:cubicBezTo>
                    <a:pt x="3656090" y="658541"/>
                    <a:pt x="3630038" y="652765"/>
                    <a:pt x="3604490" y="645166"/>
                  </a:cubicBezTo>
                  <a:cubicBezTo>
                    <a:pt x="3502441" y="620402"/>
                    <a:pt x="3434106" y="590547"/>
                    <a:pt x="3399497" y="555591"/>
                  </a:cubicBezTo>
                  <a:cubicBezTo>
                    <a:pt x="3360895" y="521015"/>
                    <a:pt x="3341622" y="474879"/>
                    <a:pt x="3341688" y="417192"/>
                  </a:cubicBezTo>
                  <a:cubicBezTo>
                    <a:pt x="3340367" y="346995"/>
                    <a:pt x="3371211" y="280038"/>
                    <a:pt x="3425454" y="235383"/>
                  </a:cubicBezTo>
                  <a:cubicBezTo>
                    <a:pt x="3483196" y="191052"/>
                    <a:pt x="3558281" y="168891"/>
                    <a:pt x="3650699" y="168891"/>
                  </a:cubicBezTo>
                  <a:close/>
                  <a:moveTo>
                    <a:pt x="326315" y="168891"/>
                  </a:moveTo>
                  <a:cubicBezTo>
                    <a:pt x="426340" y="168891"/>
                    <a:pt x="506207" y="191052"/>
                    <a:pt x="565917" y="235383"/>
                  </a:cubicBezTo>
                  <a:cubicBezTo>
                    <a:pt x="621149" y="282270"/>
                    <a:pt x="653703" y="350501"/>
                    <a:pt x="655388" y="422892"/>
                  </a:cubicBezTo>
                  <a:lnTo>
                    <a:pt x="531308" y="422892"/>
                  </a:lnTo>
                  <a:cubicBezTo>
                    <a:pt x="496307" y="423880"/>
                    <a:pt x="463801" y="404863"/>
                    <a:pt x="447543" y="373877"/>
                  </a:cubicBezTo>
                  <a:lnTo>
                    <a:pt x="424438" y="350795"/>
                  </a:lnTo>
                  <a:cubicBezTo>
                    <a:pt x="401365" y="333507"/>
                    <a:pt x="369672" y="324863"/>
                    <a:pt x="329358" y="324863"/>
                  </a:cubicBezTo>
                  <a:cubicBezTo>
                    <a:pt x="291326" y="324863"/>
                    <a:pt x="261946" y="330562"/>
                    <a:pt x="242740" y="342151"/>
                  </a:cubicBezTo>
                  <a:cubicBezTo>
                    <a:pt x="225371" y="353569"/>
                    <a:pt x="215407" y="373374"/>
                    <a:pt x="216593" y="394110"/>
                  </a:cubicBezTo>
                  <a:cubicBezTo>
                    <a:pt x="216593" y="424887"/>
                    <a:pt x="266636" y="450847"/>
                    <a:pt x="366724" y="472001"/>
                  </a:cubicBezTo>
                  <a:cubicBezTo>
                    <a:pt x="376652" y="475383"/>
                    <a:pt x="386744" y="478270"/>
                    <a:pt x="396960" y="480645"/>
                  </a:cubicBezTo>
                  <a:cubicBezTo>
                    <a:pt x="405042" y="482478"/>
                    <a:pt x="413298" y="483428"/>
                    <a:pt x="421586" y="483495"/>
                  </a:cubicBezTo>
                  <a:cubicBezTo>
                    <a:pt x="519708" y="508505"/>
                    <a:pt x="588040" y="537354"/>
                    <a:pt x="626579" y="570030"/>
                  </a:cubicBezTo>
                  <a:cubicBezTo>
                    <a:pt x="663089" y="604606"/>
                    <a:pt x="681376" y="650770"/>
                    <a:pt x="681440" y="708524"/>
                  </a:cubicBezTo>
                  <a:cubicBezTo>
                    <a:pt x="681440" y="793188"/>
                    <a:pt x="650634" y="858578"/>
                    <a:pt x="589022" y="904676"/>
                  </a:cubicBezTo>
                  <a:cubicBezTo>
                    <a:pt x="531277" y="946975"/>
                    <a:pt x="444659" y="968129"/>
                    <a:pt x="329168" y="968129"/>
                  </a:cubicBezTo>
                  <a:cubicBezTo>
                    <a:pt x="219445" y="968129"/>
                    <a:pt x="137645" y="945968"/>
                    <a:pt x="83766" y="901636"/>
                  </a:cubicBezTo>
                  <a:cubicBezTo>
                    <a:pt x="27922" y="857818"/>
                    <a:pt x="0" y="793568"/>
                    <a:pt x="0" y="708904"/>
                  </a:cubicBezTo>
                  <a:lnTo>
                    <a:pt x="0" y="700165"/>
                  </a:lnTo>
                  <a:lnTo>
                    <a:pt x="196341" y="700165"/>
                  </a:lnTo>
                  <a:cubicBezTo>
                    <a:pt x="198242" y="738730"/>
                    <a:pt x="212663" y="767607"/>
                    <a:pt x="239602" y="786795"/>
                  </a:cubicBezTo>
                  <a:cubicBezTo>
                    <a:pt x="268507" y="805793"/>
                    <a:pt x="307014" y="815291"/>
                    <a:pt x="355125" y="815291"/>
                  </a:cubicBezTo>
                  <a:cubicBezTo>
                    <a:pt x="386194" y="816146"/>
                    <a:pt x="416985" y="809231"/>
                    <a:pt x="444690" y="795154"/>
                  </a:cubicBezTo>
                  <a:cubicBezTo>
                    <a:pt x="467826" y="781665"/>
                    <a:pt x="479363" y="763399"/>
                    <a:pt x="479299" y="740345"/>
                  </a:cubicBezTo>
                  <a:cubicBezTo>
                    <a:pt x="479299" y="705646"/>
                    <a:pt x="438890" y="679676"/>
                    <a:pt x="358072" y="662454"/>
                  </a:cubicBezTo>
                  <a:cubicBezTo>
                    <a:pt x="331707" y="658541"/>
                    <a:pt x="305653" y="652765"/>
                    <a:pt x="280106" y="645166"/>
                  </a:cubicBezTo>
                  <a:cubicBezTo>
                    <a:pt x="177990" y="620402"/>
                    <a:pt x="109659" y="590547"/>
                    <a:pt x="75113" y="555591"/>
                  </a:cubicBezTo>
                  <a:cubicBezTo>
                    <a:pt x="36511" y="521015"/>
                    <a:pt x="17241" y="474879"/>
                    <a:pt x="17305" y="417192"/>
                  </a:cubicBezTo>
                  <a:cubicBezTo>
                    <a:pt x="15939" y="346986"/>
                    <a:pt x="46797" y="280009"/>
                    <a:pt x="101070" y="235383"/>
                  </a:cubicBezTo>
                  <a:cubicBezTo>
                    <a:pt x="158753" y="191052"/>
                    <a:pt x="233834" y="168891"/>
                    <a:pt x="326315" y="168891"/>
                  </a:cubicBezTo>
                  <a:close/>
                  <a:moveTo>
                    <a:pt x="2243037" y="0"/>
                  </a:moveTo>
                  <a:lnTo>
                    <a:pt x="2438141" y="0"/>
                  </a:lnTo>
                  <a:lnTo>
                    <a:pt x="2438141" y="193493"/>
                  </a:lnTo>
                  <a:lnTo>
                    <a:pt x="2575627" y="193493"/>
                  </a:lnTo>
                  <a:lnTo>
                    <a:pt x="2575627" y="366278"/>
                  </a:lnTo>
                  <a:lnTo>
                    <a:pt x="2438141" y="366278"/>
                  </a:lnTo>
                  <a:lnTo>
                    <a:pt x="2438141" y="635002"/>
                  </a:lnTo>
                  <a:cubicBezTo>
                    <a:pt x="2438141" y="688196"/>
                    <a:pt x="2450217" y="725621"/>
                    <a:pt x="2474367" y="747279"/>
                  </a:cubicBezTo>
                  <a:cubicBezTo>
                    <a:pt x="2498517" y="768936"/>
                    <a:pt x="2535218" y="778274"/>
                    <a:pt x="2584470" y="775301"/>
                  </a:cubicBezTo>
                  <a:lnTo>
                    <a:pt x="2584470" y="952550"/>
                  </a:lnTo>
                  <a:cubicBezTo>
                    <a:pt x="2535018" y="958962"/>
                    <a:pt x="2484788" y="955447"/>
                    <a:pt x="2436715" y="942196"/>
                  </a:cubicBezTo>
                  <a:cubicBezTo>
                    <a:pt x="2396572" y="930769"/>
                    <a:pt x="2359957" y="909435"/>
                    <a:pt x="2330225" y="880169"/>
                  </a:cubicBezTo>
                  <a:cubicBezTo>
                    <a:pt x="2300817" y="850370"/>
                    <a:pt x="2278578" y="814284"/>
                    <a:pt x="2265190" y="774636"/>
                  </a:cubicBezTo>
                  <a:cubicBezTo>
                    <a:pt x="2249864" y="729212"/>
                    <a:pt x="2242371" y="681509"/>
                    <a:pt x="2243037" y="633577"/>
                  </a:cubicBezTo>
                  <a:close/>
                  <a:moveTo>
                    <a:pt x="717570" y="0"/>
                  </a:moveTo>
                  <a:lnTo>
                    <a:pt x="912770" y="0"/>
                  </a:lnTo>
                  <a:lnTo>
                    <a:pt x="912770" y="193493"/>
                  </a:lnTo>
                  <a:lnTo>
                    <a:pt x="1050256" y="193493"/>
                  </a:lnTo>
                  <a:lnTo>
                    <a:pt x="1050256" y="366278"/>
                  </a:lnTo>
                  <a:lnTo>
                    <a:pt x="912770" y="366278"/>
                  </a:lnTo>
                  <a:lnTo>
                    <a:pt x="912770" y="635002"/>
                  </a:lnTo>
                  <a:cubicBezTo>
                    <a:pt x="912770" y="688196"/>
                    <a:pt x="924845" y="725621"/>
                    <a:pt x="948995" y="747279"/>
                  </a:cubicBezTo>
                  <a:cubicBezTo>
                    <a:pt x="973146" y="768936"/>
                    <a:pt x="1009875" y="778274"/>
                    <a:pt x="1059193" y="775301"/>
                  </a:cubicBezTo>
                  <a:lnTo>
                    <a:pt x="1059098" y="952550"/>
                  </a:lnTo>
                  <a:cubicBezTo>
                    <a:pt x="1009618" y="958971"/>
                    <a:pt x="959350" y="955447"/>
                    <a:pt x="911248" y="942196"/>
                  </a:cubicBezTo>
                  <a:cubicBezTo>
                    <a:pt x="871108" y="930769"/>
                    <a:pt x="834488" y="909435"/>
                    <a:pt x="804759" y="880169"/>
                  </a:cubicBezTo>
                  <a:cubicBezTo>
                    <a:pt x="775417" y="850323"/>
                    <a:pt x="753187" y="814246"/>
                    <a:pt x="739724" y="774636"/>
                  </a:cubicBezTo>
                  <a:cubicBezTo>
                    <a:pt x="724393" y="729212"/>
                    <a:pt x="716902" y="681509"/>
                    <a:pt x="717570" y="633577"/>
                  </a:cubicBezTo>
                  <a:close/>
                </a:path>
              </a:pathLst>
            </a:custGeom>
            <a:solidFill>
              <a:srgbClr val="003A70"/>
            </a:solidFill>
            <a:ln w="9508" cap="flat">
              <a:noFill/>
              <a:prstDash val="solid"/>
              <a:miter/>
            </a:ln>
          </p:spPr>
          <p:txBody>
            <a:bodyPr rtlCol="0" anchor="ctr"/>
            <a:lstStyle/>
            <a:p>
              <a:endParaRPr lang="es-ES_tradnl"/>
            </a:p>
          </p:txBody>
        </p:sp>
        <p:sp>
          <p:nvSpPr>
            <p:cNvPr id="13" name="Forma libre 12">
              <a:extLst>
                <a:ext uri="{FF2B5EF4-FFF2-40B4-BE49-F238E27FC236}">
                  <a16:creationId xmlns:a16="http://schemas.microsoft.com/office/drawing/2014/main" id="{E398BBE5-E0A1-4311-B2BA-78DD9A00C34A}"/>
                </a:ext>
              </a:extLst>
            </p:cNvPr>
            <p:cNvSpPr/>
            <p:nvPr/>
          </p:nvSpPr>
          <p:spPr>
            <a:xfrm>
              <a:off x="5657720" y="-1649296"/>
              <a:ext cx="2676317" cy="368042"/>
            </a:xfrm>
            <a:custGeom>
              <a:avLst/>
              <a:gdLst>
                <a:gd name="connsiteX0" fmla="*/ 1225393 w 2676317"/>
                <a:gd name="connsiteY0" fmla="*/ 179824 h 368042"/>
                <a:gd name="connsiteX1" fmla="*/ 1372958 w 2676317"/>
                <a:gd name="connsiteY1" fmla="*/ 179824 h 368042"/>
                <a:gd name="connsiteX2" fmla="*/ 1372958 w 2676317"/>
                <a:gd name="connsiteY2" fmla="*/ 253536 h 368042"/>
                <a:gd name="connsiteX3" fmla="*/ 1225393 w 2676317"/>
                <a:gd name="connsiteY3" fmla="*/ 253536 h 368042"/>
                <a:gd name="connsiteX4" fmla="*/ 1885238 w 2676317"/>
                <a:gd name="connsiteY4" fmla="*/ 82110 h 368042"/>
                <a:gd name="connsiteX5" fmla="*/ 1867860 w 2676317"/>
                <a:gd name="connsiteY5" fmla="*/ 87105 h 368042"/>
                <a:gd name="connsiteX6" fmla="*/ 1848454 w 2676317"/>
                <a:gd name="connsiteY6" fmla="*/ 106492 h 368042"/>
                <a:gd name="connsiteX7" fmla="*/ 1833526 w 2676317"/>
                <a:gd name="connsiteY7" fmla="*/ 184003 h 368042"/>
                <a:gd name="connsiteX8" fmla="*/ 1848454 w 2676317"/>
                <a:gd name="connsiteY8" fmla="*/ 261419 h 368042"/>
                <a:gd name="connsiteX9" fmla="*/ 1909866 w 2676317"/>
                <a:gd name="connsiteY9" fmla="*/ 280807 h 368042"/>
                <a:gd name="connsiteX10" fmla="*/ 1929272 w 2676317"/>
                <a:gd name="connsiteY10" fmla="*/ 261419 h 368042"/>
                <a:gd name="connsiteX11" fmla="*/ 1928987 w 2676317"/>
                <a:gd name="connsiteY11" fmla="*/ 261325 h 368042"/>
                <a:gd name="connsiteX12" fmla="*/ 1944200 w 2676317"/>
                <a:gd name="connsiteY12" fmla="*/ 184003 h 368042"/>
                <a:gd name="connsiteX13" fmla="*/ 1929272 w 2676317"/>
                <a:gd name="connsiteY13" fmla="*/ 106492 h 368042"/>
                <a:gd name="connsiteX14" fmla="*/ 1885238 w 2676317"/>
                <a:gd name="connsiteY14" fmla="*/ 82110 h 368042"/>
                <a:gd name="connsiteX15" fmla="*/ 367104 w 2676317"/>
                <a:gd name="connsiteY15" fmla="*/ 71252 h 368042"/>
                <a:gd name="connsiteX16" fmla="*/ 332400 w 2676317"/>
                <a:gd name="connsiteY16" fmla="*/ 83410 h 368042"/>
                <a:gd name="connsiteX17" fmla="*/ 332400 w 2676317"/>
                <a:gd name="connsiteY17" fmla="*/ 148572 h 368042"/>
                <a:gd name="connsiteX18" fmla="*/ 402949 w 2676317"/>
                <a:gd name="connsiteY18" fmla="*/ 148572 h 368042"/>
                <a:gd name="connsiteX19" fmla="*/ 403235 w 2676317"/>
                <a:gd name="connsiteY19" fmla="*/ 148288 h 368042"/>
                <a:gd name="connsiteX20" fmla="*/ 403482 w 2676317"/>
                <a:gd name="connsiteY20" fmla="*/ 83942 h 368042"/>
                <a:gd name="connsiteX21" fmla="*/ 403235 w 2676317"/>
                <a:gd name="connsiteY21" fmla="*/ 83695 h 368042"/>
                <a:gd name="connsiteX22" fmla="*/ 367104 w 2676317"/>
                <a:gd name="connsiteY22" fmla="*/ 71252 h 368042"/>
                <a:gd name="connsiteX23" fmla="*/ 707776 w 2676317"/>
                <a:gd name="connsiteY23" fmla="*/ 71251 h 368042"/>
                <a:gd name="connsiteX24" fmla="*/ 673072 w 2676317"/>
                <a:gd name="connsiteY24" fmla="*/ 83410 h 368042"/>
                <a:gd name="connsiteX25" fmla="*/ 673072 w 2676317"/>
                <a:gd name="connsiteY25" fmla="*/ 148572 h 368042"/>
                <a:gd name="connsiteX26" fmla="*/ 743622 w 2676317"/>
                <a:gd name="connsiteY26" fmla="*/ 148572 h 368042"/>
                <a:gd name="connsiteX27" fmla="*/ 743812 w 2676317"/>
                <a:gd name="connsiteY27" fmla="*/ 148287 h 368042"/>
                <a:gd name="connsiteX28" fmla="*/ 744192 w 2676317"/>
                <a:gd name="connsiteY28" fmla="*/ 84075 h 368042"/>
                <a:gd name="connsiteX29" fmla="*/ 743812 w 2676317"/>
                <a:gd name="connsiteY29" fmla="*/ 83695 h 368042"/>
                <a:gd name="connsiteX30" fmla="*/ 707776 w 2676317"/>
                <a:gd name="connsiteY30" fmla="*/ 71251 h 368042"/>
                <a:gd name="connsiteX31" fmla="*/ 905543 w 2676317"/>
                <a:gd name="connsiteY31" fmla="*/ 7229 h 368042"/>
                <a:gd name="connsiteX32" fmla="*/ 1199056 w 2676317"/>
                <a:gd name="connsiteY32" fmla="*/ 7229 h 368042"/>
                <a:gd name="connsiteX33" fmla="*/ 1199056 w 2676317"/>
                <a:gd name="connsiteY33" fmla="*/ 70017 h 368042"/>
                <a:gd name="connsiteX34" fmla="*/ 1074310 w 2676317"/>
                <a:gd name="connsiteY34" fmla="*/ 360778 h 368042"/>
                <a:gd name="connsiteX35" fmla="*/ 964873 w 2676317"/>
                <a:gd name="connsiteY35" fmla="*/ 360778 h 368042"/>
                <a:gd name="connsiteX36" fmla="*/ 1084104 w 2676317"/>
                <a:gd name="connsiteY36" fmla="*/ 86640 h 368042"/>
                <a:gd name="connsiteX37" fmla="*/ 991115 w 2676317"/>
                <a:gd name="connsiteY37" fmla="*/ 86640 h 368042"/>
                <a:gd name="connsiteX38" fmla="*/ 991115 w 2676317"/>
                <a:gd name="connsiteY38" fmla="*/ 141163 h 368042"/>
                <a:gd name="connsiteX39" fmla="*/ 905543 w 2676317"/>
                <a:gd name="connsiteY39" fmla="*/ 141163 h 368042"/>
                <a:gd name="connsiteX40" fmla="*/ 0 w 2676317"/>
                <a:gd name="connsiteY40" fmla="*/ 7229 h 368042"/>
                <a:gd name="connsiteX41" fmla="*/ 166200 w 2676317"/>
                <a:gd name="connsiteY41" fmla="*/ 7229 h 368042"/>
                <a:gd name="connsiteX42" fmla="*/ 166200 w 2676317"/>
                <a:gd name="connsiteY42" fmla="*/ 360588 h 368042"/>
                <a:gd name="connsiteX43" fmla="*/ 65700 w 2676317"/>
                <a:gd name="connsiteY43" fmla="*/ 360588 h 368042"/>
                <a:gd name="connsiteX44" fmla="*/ 65700 w 2676317"/>
                <a:gd name="connsiteY44" fmla="*/ 84455 h 368042"/>
                <a:gd name="connsiteX45" fmla="*/ 0 w 2676317"/>
                <a:gd name="connsiteY45" fmla="*/ 84455 h 368042"/>
                <a:gd name="connsiteX46" fmla="*/ 701026 w 2676317"/>
                <a:gd name="connsiteY46" fmla="*/ 390 h 368042"/>
                <a:gd name="connsiteX47" fmla="*/ 821587 w 2676317"/>
                <a:gd name="connsiteY47" fmla="*/ 45034 h 368042"/>
                <a:gd name="connsiteX48" fmla="*/ 865610 w 2676317"/>
                <a:gd name="connsiteY48" fmla="*/ 174315 h 368042"/>
                <a:gd name="connsiteX49" fmla="*/ 842125 w 2676317"/>
                <a:gd name="connsiteY49" fmla="*/ 278803 h 368042"/>
                <a:gd name="connsiteX50" fmla="*/ 775569 w 2676317"/>
                <a:gd name="connsiteY50" fmla="*/ 345295 h 368042"/>
                <a:gd name="connsiteX51" fmla="*/ 676780 w 2676317"/>
                <a:gd name="connsiteY51" fmla="*/ 367997 h 368042"/>
                <a:gd name="connsiteX52" fmla="*/ 619732 w 2676317"/>
                <a:gd name="connsiteY52" fmla="*/ 361158 h 368042"/>
                <a:gd name="connsiteX53" fmla="*/ 573238 w 2676317"/>
                <a:gd name="connsiteY53" fmla="*/ 342160 h 368042"/>
                <a:gd name="connsiteX54" fmla="*/ 609559 w 2676317"/>
                <a:gd name="connsiteY54" fmla="*/ 270443 h 368042"/>
                <a:gd name="connsiteX55" fmla="*/ 674784 w 2676317"/>
                <a:gd name="connsiteY55" fmla="*/ 288681 h 368042"/>
                <a:gd name="connsiteX56" fmla="*/ 736205 w 2676317"/>
                <a:gd name="connsiteY56" fmla="*/ 267689 h 368042"/>
                <a:gd name="connsiteX57" fmla="*/ 763684 w 2676317"/>
                <a:gd name="connsiteY57" fmla="*/ 206896 h 368042"/>
                <a:gd name="connsiteX58" fmla="*/ 684387 w 2676317"/>
                <a:gd name="connsiteY58" fmla="*/ 232638 h 368042"/>
                <a:gd name="connsiteX59" fmla="*/ 623250 w 2676317"/>
                <a:gd name="connsiteY59" fmla="*/ 218769 h 368042"/>
                <a:gd name="connsiteX60" fmla="*/ 579038 w 2676317"/>
                <a:gd name="connsiteY60" fmla="*/ 179349 h 368042"/>
                <a:gd name="connsiteX61" fmla="*/ 562589 w 2676317"/>
                <a:gd name="connsiteY61" fmla="*/ 121026 h 368042"/>
                <a:gd name="connsiteX62" fmla="*/ 581035 w 2676317"/>
                <a:gd name="connsiteY62" fmla="*/ 57668 h 368042"/>
                <a:gd name="connsiteX63" fmla="*/ 631047 w 2676317"/>
                <a:gd name="connsiteY63" fmla="*/ 15303 h 368042"/>
                <a:gd name="connsiteX64" fmla="*/ 701026 w 2676317"/>
                <a:gd name="connsiteY64" fmla="*/ 390 h 368042"/>
                <a:gd name="connsiteX65" fmla="*/ 2528943 w 2676317"/>
                <a:gd name="connsiteY65" fmla="*/ 389 h 368042"/>
                <a:gd name="connsiteX66" fmla="*/ 2600253 w 2676317"/>
                <a:gd name="connsiteY66" fmla="*/ 13023 h 368042"/>
                <a:gd name="connsiteX67" fmla="*/ 2648839 w 2676317"/>
                <a:gd name="connsiteY67" fmla="*/ 51018 h 368042"/>
                <a:gd name="connsiteX68" fmla="*/ 2666239 w 2676317"/>
                <a:gd name="connsiteY68" fmla="*/ 108012 h 368042"/>
                <a:gd name="connsiteX69" fmla="*/ 2653878 w 2676317"/>
                <a:gd name="connsiteY69" fmla="*/ 162250 h 368042"/>
                <a:gd name="connsiteX70" fmla="*/ 2606338 w 2676317"/>
                <a:gd name="connsiteY70" fmla="*/ 220099 h 368042"/>
                <a:gd name="connsiteX71" fmla="*/ 2539782 w 2676317"/>
                <a:gd name="connsiteY71" fmla="*/ 281652 h 368042"/>
                <a:gd name="connsiteX72" fmla="*/ 2676317 w 2676317"/>
                <a:gd name="connsiteY72" fmla="*/ 281272 h 368042"/>
                <a:gd name="connsiteX73" fmla="*/ 2676317 w 2676317"/>
                <a:gd name="connsiteY73" fmla="*/ 360587 h 368042"/>
                <a:gd name="connsiteX74" fmla="*/ 2400584 w 2676317"/>
                <a:gd name="connsiteY74" fmla="*/ 360587 h 368042"/>
                <a:gd name="connsiteX75" fmla="*/ 2400584 w 2676317"/>
                <a:gd name="connsiteY75" fmla="*/ 297990 h 368042"/>
                <a:gd name="connsiteX76" fmla="*/ 2533031 w 2676317"/>
                <a:gd name="connsiteY76" fmla="*/ 174504 h 368042"/>
                <a:gd name="connsiteX77" fmla="*/ 2558798 w 2676317"/>
                <a:gd name="connsiteY77" fmla="*/ 143443 h 368042"/>
                <a:gd name="connsiteX78" fmla="*/ 2565358 w 2676317"/>
                <a:gd name="connsiteY78" fmla="*/ 117415 h 368042"/>
                <a:gd name="connsiteX79" fmla="*/ 2553758 w 2676317"/>
                <a:gd name="connsiteY79" fmla="*/ 90629 h 368042"/>
                <a:gd name="connsiteX80" fmla="*/ 2519910 w 2676317"/>
                <a:gd name="connsiteY80" fmla="*/ 81130 h 368042"/>
                <a:gd name="connsiteX81" fmla="*/ 2483780 w 2676317"/>
                <a:gd name="connsiteY81" fmla="*/ 89964 h 368042"/>
                <a:gd name="connsiteX82" fmla="*/ 2456682 w 2676317"/>
                <a:gd name="connsiteY82" fmla="*/ 115516 h 368042"/>
                <a:gd name="connsiteX83" fmla="*/ 2382424 w 2676317"/>
                <a:gd name="connsiteY83" fmla="*/ 74101 h 368042"/>
                <a:gd name="connsiteX84" fmla="*/ 2440518 w 2676317"/>
                <a:gd name="connsiteY84" fmla="*/ 20052 h 368042"/>
                <a:gd name="connsiteX85" fmla="*/ 2528943 w 2676317"/>
                <a:gd name="connsiteY85" fmla="*/ 389 h 368042"/>
                <a:gd name="connsiteX86" fmla="*/ 2213467 w 2676317"/>
                <a:gd name="connsiteY86" fmla="*/ 389 h 368042"/>
                <a:gd name="connsiteX87" fmla="*/ 2284967 w 2676317"/>
                <a:gd name="connsiteY87" fmla="*/ 13497 h 368042"/>
                <a:gd name="connsiteX88" fmla="*/ 2333458 w 2676317"/>
                <a:gd name="connsiteY88" fmla="*/ 51493 h 368042"/>
                <a:gd name="connsiteX89" fmla="*/ 2350953 w 2676317"/>
                <a:gd name="connsiteY89" fmla="*/ 108486 h 368042"/>
                <a:gd name="connsiteX90" fmla="*/ 2338497 w 2676317"/>
                <a:gd name="connsiteY90" fmla="*/ 162725 h 368042"/>
                <a:gd name="connsiteX91" fmla="*/ 2290957 w 2676317"/>
                <a:gd name="connsiteY91" fmla="*/ 220574 h 368042"/>
                <a:gd name="connsiteX92" fmla="*/ 2224401 w 2676317"/>
                <a:gd name="connsiteY92" fmla="*/ 282126 h 368042"/>
                <a:gd name="connsiteX93" fmla="*/ 2360841 w 2676317"/>
                <a:gd name="connsiteY93" fmla="*/ 281272 h 368042"/>
                <a:gd name="connsiteX94" fmla="*/ 2360841 w 2676317"/>
                <a:gd name="connsiteY94" fmla="*/ 360587 h 368042"/>
                <a:gd name="connsiteX95" fmla="*/ 2085108 w 2676317"/>
                <a:gd name="connsiteY95" fmla="*/ 360587 h 368042"/>
                <a:gd name="connsiteX96" fmla="*/ 2085108 w 2676317"/>
                <a:gd name="connsiteY96" fmla="*/ 297990 h 368042"/>
                <a:gd name="connsiteX97" fmla="*/ 2217555 w 2676317"/>
                <a:gd name="connsiteY97" fmla="*/ 174504 h 368042"/>
                <a:gd name="connsiteX98" fmla="*/ 2243322 w 2676317"/>
                <a:gd name="connsiteY98" fmla="*/ 143443 h 368042"/>
                <a:gd name="connsiteX99" fmla="*/ 2249882 w 2676317"/>
                <a:gd name="connsiteY99" fmla="*/ 117415 h 368042"/>
                <a:gd name="connsiteX100" fmla="*/ 2238188 w 2676317"/>
                <a:gd name="connsiteY100" fmla="*/ 90629 h 368042"/>
                <a:gd name="connsiteX101" fmla="*/ 2204339 w 2676317"/>
                <a:gd name="connsiteY101" fmla="*/ 81130 h 368042"/>
                <a:gd name="connsiteX102" fmla="*/ 2168208 w 2676317"/>
                <a:gd name="connsiteY102" fmla="*/ 89964 h 368042"/>
                <a:gd name="connsiteX103" fmla="*/ 2141206 w 2676317"/>
                <a:gd name="connsiteY103" fmla="*/ 115516 h 368042"/>
                <a:gd name="connsiteX104" fmla="*/ 2066948 w 2676317"/>
                <a:gd name="connsiteY104" fmla="*/ 74101 h 368042"/>
                <a:gd name="connsiteX105" fmla="*/ 2125042 w 2676317"/>
                <a:gd name="connsiteY105" fmla="*/ 20052 h 368042"/>
                <a:gd name="connsiteX106" fmla="*/ 2213467 w 2676317"/>
                <a:gd name="connsiteY106" fmla="*/ 389 h 368042"/>
                <a:gd name="connsiteX107" fmla="*/ 1543912 w 2676317"/>
                <a:gd name="connsiteY107" fmla="*/ 389 h 368042"/>
                <a:gd name="connsiteX108" fmla="*/ 1615412 w 2676317"/>
                <a:gd name="connsiteY108" fmla="*/ 13497 h 368042"/>
                <a:gd name="connsiteX109" fmla="*/ 1663903 w 2676317"/>
                <a:gd name="connsiteY109" fmla="*/ 51493 h 368042"/>
                <a:gd name="connsiteX110" fmla="*/ 1681398 w 2676317"/>
                <a:gd name="connsiteY110" fmla="*/ 108486 h 368042"/>
                <a:gd name="connsiteX111" fmla="*/ 1669037 w 2676317"/>
                <a:gd name="connsiteY111" fmla="*/ 162725 h 368042"/>
                <a:gd name="connsiteX112" fmla="*/ 1621497 w 2676317"/>
                <a:gd name="connsiteY112" fmla="*/ 220574 h 368042"/>
                <a:gd name="connsiteX113" fmla="*/ 1554941 w 2676317"/>
                <a:gd name="connsiteY113" fmla="*/ 282126 h 368042"/>
                <a:gd name="connsiteX114" fmla="*/ 1691286 w 2676317"/>
                <a:gd name="connsiteY114" fmla="*/ 281272 h 368042"/>
                <a:gd name="connsiteX115" fmla="*/ 1691286 w 2676317"/>
                <a:gd name="connsiteY115" fmla="*/ 360587 h 368042"/>
                <a:gd name="connsiteX116" fmla="*/ 1415553 w 2676317"/>
                <a:gd name="connsiteY116" fmla="*/ 360587 h 368042"/>
                <a:gd name="connsiteX117" fmla="*/ 1415553 w 2676317"/>
                <a:gd name="connsiteY117" fmla="*/ 297990 h 368042"/>
                <a:gd name="connsiteX118" fmla="*/ 1548000 w 2676317"/>
                <a:gd name="connsiteY118" fmla="*/ 174504 h 368042"/>
                <a:gd name="connsiteX119" fmla="*/ 1573767 w 2676317"/>
                <a:gd name="connsiteY119" fmla="*/ 143443 h 368042"/>
                <a:gd name="connsiteX120" fmla="*/ 1580328 w 2676317"/>
                <a:gd name="connsiteY120" fmla="*/ 117415 h 368042"/>
                <a:gd name="connsiteX121" fmla="*/ 1568728 w 2676317"/>
                <a:gd name="connsiteY121" fmla="*/ 90629 h 368042"/>
                <a:gd name="connsiteX122" fmla="*/ 1534784 w 2676317"/>
                <a:gd name="connsiteY122" fmla="*/ 81130 h 368042"/>
                <a:gd name="connsiteX123" fmla="*/ 1498654 w 2676317"/>
                <a:gd name="connsiteY123" fmla="*/ 89964 h 368042"/>
                <a:gd name="connsiteX124" fmla="*/ 1471651 w 2676317"/>
                <a:gd name="connsiteY124" fmla="*/ 115516 h 368042"/>
                <a:gd name="connsiteX125" fmla="*/ 1397393 w 2676317"/>
                <a:gd name="connsiteY125" fmla="*/ 74101 h 368042"/>
                <a:gd name="connsiteX126" fmla="*/ 1455487 w 2676317"/>
                <a:gd name="connsiteY126" fmla="*/ 20052 h 368042"/>
                <a:gd name="connsiteX127" fmla="*/ 1543912 w 2676317"/>
                <a:gd name="connsiteY127" fmla="*/ 389 h 368042"/>
                <a:gd name="connsiteX128" fmla="*/ 360734 w 2676317"/>
                <a:gd name="connsiteY128" fmla="*/ 200 h 368042"/>
                <a:gd name="connsiteX129" fmla="*/ 481010 w 2676317"/>
                <a:gd name="connsiteY129" fmla="*/ 45034 h 368042"/>
                <a:gd name="connsiteX130" fmla="*/ 525032 w 2676317"/>
                <a:gd name="connsiteY130" fmla="*/ 174315 h 368042"/>
                <a:gd name="connsiteX131" fmla="*/ 501548 w 2676317"/>
                <a:gd name="connsiteY131" fmla="*/ 278803 h 368042"/>
                <a:gd name="connsiteX132" fmla="*/ 434991 w 2676317"/>
                <a:gd name="connsiteY132" fmla="*/ 345295 h 368042"/>
                <a:gd name="connsiteX133" fmla="*/ 336203 w 2676317"/>
                <a:gd name="connsiteY133" fmla="*/ 367997 h 368042"/>
                <a:gd name="connsiteX134" fmla="*/ 279155 w 2676317"/>
                <a:gd name="connsiteY134" fmla="*/ 361158 h 368042"/>
                <a:gd name="connsiteX135" fmla="*/ 232661 w 2676317"/>
                <a:gd name="connsiteY135" fmla="*/ 342160 h 368042"/>
                <a:gd name="connsiteX136" fmla="*/ 268981 w 2676317"/>
                <a:gd name="connsiteY136" fmla="*/ 270444 h 368042"/>
                <a:gd name="connsiteX137" fmla="*/ 334492 w 2676317"/>
                <a:gd name="connsiteY137" fmla="*/ 288491 h 368042"/>
                <a:gd name="connsiteX138" fmla="*/ 395914 w 2676317"/>
                <a:gd name="connsiteY138" fmla="*/ 267499 h 368042"/>
                <a:gd name="connsiteX139" fmla="*/ 423392 w 2676317"/>
                <a:gd name="connsiteY139" fmla="*/ 206706 h 368042"/>
                <a:gd name="connsiteX140" fmla="*/ 344095 w 2676317"/>
                <a:gd name="connsiteY140" fmla="*/ 232448 h 368042"/>
                <a:gd name="connsiteX141" fmla="*/ 282958 w 2676317"/>
                <a:gd name="connsiteY141" fmla="*/ 218580 h 368042"/>
                <a:gd name="connsiteX142" fmla="*/ 238746 w 2676317"/>
                <a:gd name="connsiteY142" fmla="*/ 179159 h 368042"/>
                <a:gd name="connsiteX143" fmla="*/ 222297 w 2676317"/>
                <a:gd name="connsiteY143" fmla="*/ 120836 h 368042"/>
                <a:gd name="connsiteX144" fmla="*/ 240743 w 2676317"/>
                <a:gd name="connsiteY144" fmla="*/ 57478 h 368042"/>
                <a:gd name="connsiteX145" fmla="*/ 290755 w 2676317"/>
                <a:gd name="connsiteY145" fmla="*/ 15113 h 368042"/>
                <a:gd name="connsiteX146" fmla="*/ 360734 w 2676317"/>
                <a:gd name="connsiteY146" fmla="*/ 200 h 368042"/>
                <a:gd name="connsiteX147" fmla="*/ 1888767 w 2676317"/>
                <a:gd name="connsiteY147" fmla="*/ 0 h 368042"/>
                <a:gd name="connsiteX148" fmla="*/ 1969586 w 2676317"/>
                <a:gd name="connsiteY148" fmla="*/ 21857 h 368042"/>
                <a:gd name="connsiteX149" fmla="*/ 2024923 w 2676317"/>
                <a:gd name="connsiteY149" fmla="*/ 85215 h 368042"/>
                <a:gd name="connsiteX150" fmla="*/ 2024923 w 2676317"/>
                <a:gd name="connsiteY150" fmla="*/ 282602 h 368042"/>
                <a:gd name="connsiteX151" fmla="*/ 1969586 w 2676317"/>
                <a:gd name="connsiteY151" fmla="*/ 345960 h 368042"/>
                <a:gd name="connsiteX152" fmla="*/ 1807950 w 2676317"/>
                <a:gd name="connsiteY152" fmla="*/ 345960 h 368042"/>
                <a:gd name="connsiteX153" fmla="*/ 1752613 w 2676317"/>
                <a:gd name="connsiteY153" fmla="*/ 282602 h 368042"/>
                <a:gd name="connsiteX154" fmla="*/ 1752613 w 2676317"/>
                <a:gd name="connsiteY154" fmla="*/ 85215 h 368042"/>
                <a:gd name="connsiteX155" fmla="*/ 1807950 w 2676317"/>
                <a:gd name="connsiteY155" fmla="*/ 21857 h 368042"/>
                <a:gd name="connsiteX156" fmla="*/ 1888767 w 2676317"/>
                <a:gd name="connsiteY156" fmla="*/ 0 h 36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Lst>
              <a:rect l="l" t="t" r="r" b="b"/>
              <a:pathLst>
                <a:path w="2676317" h="368042">
                  <a:moveTo>
                    <a:pt x="1225393" y="179824"/>
                  </a:moveTo>
                  <a:lnTo>
                    <a:pt x="1372958" y="179824"/>
                  </a:lnTo>
                  <a:lnTo>
                    <a:pt x="1372958" y="253536"/>
                  </a:lnTo>
                  <a:lnTo>
                    <a:pt x="1225393" y="253536"/>
                  </a:lnTo>
                  <a:close/>
                  <a:moveTo>
                    <a:pt x="1885238" y="82110"/>
                  </a:moveTo>
                  <a:cubicBezTo>
                    <a:pt x="1879341" y="82578"/>
                    <a:pt x="1873439" y="84208"/>
                    <a:pt x="1867860" y="87105"/>
                  </a:cubicBezTo>
                  <a:cubicBezTo>
                    <a:pt x="1859549" y="91427"/>
                    <a:pt x="1852770" y="98190"/>
                    <a:pt x="1848454" y="106492"/>
                  </a:cubicBezTo>
                  <a:cubicBezTo>
                    <a:pt x="1838499" y="122830"/>
                    <a:pt x="1833526" y="148667"/>
                    <a:pt x="1833526" y="184003"/>
                  </a:cubicBezTo>
                  <a:cubicBezTo>
                    <a:pt x="1833526" y="219339"/>
                    <a:pt x="1838499" y="245148"/>
                    <a:pt x="1848454" y="261419"/>
                  </a:cubicBezTo>
                  <a:cubicBezTo>
                    <a:pt x="1860054" y="283713"/>
                    <a:pt x="1887551" y="292395"/>
                    <a:pt x="1909866" y="280807"/>
                  </a:cubicBezTo>
                  <a:cubicBezTo>
                    <a:pt x="1918176" y="276485"/>
                    <a:pt x="1924955" y="269721"/>
                    <a:pt x="1929272" y="261419"/>
                  </a:cubicBezTo>
                  <a:lnTo>
                    <a:pt x="1928987" y="261325"/>
                  </a:lnTo>
                  <a:cubicBezTo>
                    <a:pt x="1939132" y="245110"/>
                    <a:pt x="1944200" y="219339"/>
                    <a:pt x="1944200" y="184003"/>
                  </a:cubicBezTo>
                  <a:cubicBezTo>
                    <a:pt x="1944200" y="148667"/>
                    <a:pt x="1939227" y="122830"/>
                    <a:pt x="1929272" y="106492"/>
                  </a:cubicBezTo>
                  <a:cubicBezTo>
                    <a:pt x="1920572" y="89772"/>
                    <a:pt x="1902930" y="80708"/>
                    <a:pt x="1885238" y="82110"/>
                  </a:cubicBezTo>
                  <a:close/>
                  <a:moveTo>
                    <a:pt x="367104" y="71252"/>
                  </a:moveTo>
                  <a:cubicBezTo>
                    <a:pt x="354411" y="70738"/>
                    <a:pt x="341993" y="75079"/>
                    <a:pt x="332400" y="83410"/>
                  </a:cubicBezTo>
                  <a:cubicBezTo>
                    <a:pt x="314639" y="101506"/>
                    <a:pt x="314639" y="130477"/>
                    <a:pt x="332400" y="148572"/>
                  </a:cubicBezTo>
                  <a:cubicBezTo>
                    <a:pt x="353099" y="164844"/>
                    <a:pt x="382251" y="164844"/>
                    <a:pt x="402949" y="148572"/>
                  </a:cubicBezTo>
                  <a:lnTo>
                    <a:pt x="403235" y="148288"/>
                  </a:lnTo>
                  <a:cubicBezTo>
                    <a:pt x="421091" y="130591"/>
                    <a:pt x="421195" y="101781"/>
                    <a:pt x="403482" y="83942"/>
                  </a:cubicBezTo>
                  <a:cubicBezTo>
                    <a:pt x="403396" y="83857"/>
                    <a:pt x="403320" y="83781"/>
                    <a:pt x="403235" y="83695"/>
                  </a:cubicBezTo>
                  <a:cubicBezTo>
                    <a:pt x="393251" y="75041"/>
                    <a:pt x="380301" y="70577"/>
                    <a:pt x="367104" y="71252"/>
                  </a:cubicBezTo>
                  <a:close/>
                  <a:moveTo>
                    <a:pt x="707776" y="71251"/>
                  </a:moveTo>
                  <a:cubicBezTo>
                    <a:pt x="695083" y="70738"/>
                    <a:pt x="682666" y="75079"/>
                    <a:pt x="673072" y="83410"/>
                  </a:cubicBezTo>
                  <a:cubicBezTo>
                    <a:pt x="655311" y="101505"/>
                    <a:pt x="655311" y="130477"/>
                    <a:pt x="673072" y="148572"/>
                  </a:cubicBezTo>
                  <a:cubicBezTo>
                    <a:pt x="693771" y="164844"/>
                    <a:pt x="722923" y="164844"/>
                    <a:pt x="743622" y="148572"/>
                  </a:cubicBezTo>
                  <a:lnTo>
                    <a:pt x="743812" y="148287"/>
                  </a:lnTo>
                  <a:cubicBezTo>
                    <a:pt x="761668" y="130658"/>
                    <a:pt x="761839" y="101914"/>
                    <a:pt x="744192" y="84075"/>
                  </a:cubicBezTo>
                  <a:cubicBezTo>
                    <a:pt x="744068" y="83951"/>
                    <a:pt x="743935" y="83818"/>
                    <a:pt x="743812" y="83695"/>
                  </a:cubicBezTo>
                  <a:cubicBezTo>
                    <a:pt x="733876" y="75032"/>
                    <a:pt x="720954" y="70568"/>
                    <a:pt x="707776" y="71251"/>
                  </a:cubicBezTo>
                  <a:close/>
                  <a:moveTo>
                    <a:pt x="905543" y="7229"/>
                  </a:moveTo>
                  <a:lnTo>
                    <a:pt x="1199056" y="7229"/>
                  </a:lnTo>
                  <a:lnTo>
                    <a:pt x="1199056" y="70017"/>
                  </a:lnTo>
                  <a:lnTo>
                    <a:pt x="1074310" y="360778"/>
                  </a:lnTo>
                  <a:lnTo>
                    <a:pt x="964873" y="360778"/>
                  </a:lnTo>
                  <a:lnTo>
                    <a:pt x="1084104" y="86640"/>
                  </a:lnTo>
                  <a:lnTo>
                    <a:pt x="991115" y="86640"/>
                  </a:lnTo>
                  <a:lnTo>
                    <a:pt x="991115" y="141163"/>
                  </a:lnTo>
                  <a:lnTo>
                    <a:pt x="905543" y="141163"/>
                  </a:lnTo>
                  <a:close/>
                  <a:moveTo>
                    <a:pt x="0" y="7229"/>
                  </a:moveTo>
                  <a:lnTo>
                    <a:pt x="166200" y="7229"/>
                  </a:lnTo>
                  <a:lnTo>
                    <a:pt x="166200" y="360588"/>
                  </a:lnTo>
                  <a:lnTo>
                    <a:pt x="65700" y="360588"/>
                  </a:lnTo>
                  <a:lnTo>
                    <a:pt x="65700" y="84455"/>
                  </a:lnTo>
                  <a:lnTo>
                    <a:pt x="0" y="84455"/>
                  </a:lnTo>
                  <a:close/>
                  <a:moveTo>
                    <a:pt x="701026" y="390"/>
                  </a:moveTo>
                  <a:cubicBezTo>
                    <a:pt x="752112" y="199"/>
                    <a:pt x="792303" y="15084"/>
                    <a:pt x="821587" y="45034"/>
                  </a:cubicBezTo>
                  <a:cubicBezTo>
                    <a:pt x="850939" y="75051"/>
                    <a:pt x="865610" y="118147"/>
                    <a:pt x="865610" y="174315"/>
                  </a:cubicBezTo>
                  <a:cubicBezTo>
                    <a:pt x="866608" y="210553"/>
                    <a:pt x="858536" y="246468"/>
                    <a:pt x="842125" y="278803"/>
                  </a:cubicBezTo>
                  <a:cubicBezTo>
                    <a:pt x="827216" y="307214"/>
                    <a:pt x="804007" y="330400"/>
                    <a:pt x="775569" y="345295"/>
                  </a:cubicBezTo>
                  <a:cubicBezTo>
                    <a:pt x="745029" y="360920"/>
                    <a:pt x="711085" y="368719"/>
                    <a:pt x="676780" y="367997"/>
                  </a:cubicBezTo>
                  <a:cubicBezTo>
                    <a:pt x="657555" y="368073"/>
                    <a:pt x="638396" y="365774"/>
                    <a:pt x="619732" y="361158"/>
                  </a:cubicBezTo>
                  <a:cubicBezTo>
                    <a:pt x="603302" y="357387"/>
                    <a:pt x="587605" y="350975"/>
                    <a:pt x="573238" y="342160"/>
                  </a:cubicBezTo>
                  <a:lnTo>
                    <a:pt x="609559" y="270443"/>
                  </a:lnTo>
                  <a:cubicBezTo>
                    <a:pt x="628850" y="283210"/>
                    <a:pt x="651670" y="289584"/>
                    <a:pt x="674784" y="288681"/>
                  </a:cubicBezTo>
                  <a:cubicBezTo>
                    <a:pt x="697175" y="289679"/>
                    <a:pt x="719119" y="282184"/>
                    <a:pt x="736205" y="267689"/>
                  </a:cubicBezTo>
                  <a:cubicBezTo>
                    <a:pt x="752844" y="251702"/>
                    <a:pt x="762676" y="229930"/>
                    <a:pt x="763684" y="206896"/>
                  </a:cubicBezTo>
                  <a:cubicBezTo>
                    <a:pt x="741273" y="224839"/>
                    <a:pt x="713072" y="233996"/>
                    <a:pt x="684387" y="232638"/>
                  </a:cubicBezTo>
                  <a:cubicBezTo>
                    <a:pt x="663203" y="232856"/>
                    <a:pt x="642257" y="228107"/>
                    <a:pt x="623250" y="218769"/>
                  </a:cubicBezTo>
                  <a:cubicBezTo>
                    <a:pt x="605185" y="209907"/>
                    <a:pt x="589896" y="196276"/>
                    <a:pt x="579038" y="179349"/>
                  </a:cubicBezTo>
                  <a:cubicBezTo>
                    <a:pt x="567961" y="161937"/>
                    <a:pt x="562247" y="141657"/>
                    <a:pt x="562589" y="121026"/>
                  </a:cubicBezTo>
                  <a:cubicBezTo>
                    <a:pt x="562209" y="98532"/>
                    <a:pt x="568636" y="76447"/>
                    <a:pt x="581035" y="57668"/>
                  </a:cubicBezTo>
                  <a:cubicBezTo>
                    <a:pt x="593471" y="39202"/>
                    <a:pt x="610776" y="24536"/>
                    <a:pt x="631047" y="15303"/>
                  </a:cubicBezTo>
                  <a:cubicBezTo>
                    <a:pt x="652963" y="5168"/>
                    <a:pt x="676875" y="76"/>
                    <a:pt x="701026" y="390"/>
                  </a:cubicBezTo>
                  <a:close/>
                  <a:moveTo>
                    <a:pt x="2528943" y="389"/>
                  </a:moveTo>
                  <a:cubicBezTo>
                    <a:pt x="2553321" y="-209"/>
                    <a:pt x="2577567" y="4094"/>
                    <a:pt x="2600253" y="13023"/>
                  </a:cubicBezTo>
                  <a:cubicBezTo>
                    <a:pt x="2619716" y="20850"/>
                    <a:pt x="2636554" y="34025"/>
                    <a:pt x="2648839" y="51018"/>
                  </a:cubicBezTo>
                  <a:cubicBezTo>
                    <a:pt x="2660562" y="67679"/>
                    <a:pt x="2666657" y="87646"/>
                    <a:pt x="2666239" y="108012"/>
                  </a:cubicBezTo>
                  <a:cubicBezTo>
                    <a:pt x="2666353" y="126800"/>
                    <a:pt x="2662121" y="145361"/>
                    <a:pt x="2653878" y="162250"/>
                  </a:cubicBezTo>
                  <a:cubicBezTo>
                    <a:pt x="2641641" y="184231"/>
                    <a:pt x="2625544" y="203827"/>
                    <a:pt x="2606338" y="220099"/>
                  </a:cubicBezTo>
                  <a:lnTo>
                    <a:pt x="2539782" y="281652"/>
                  </a:lnTo>
                  <a:lnTo>
                    <a:pt x="2676317" y="281272"/>
                  </a:lnTo>
                  <a:lnTo>
                    <a:pt x="2676317" y="360587"/>
                  </a:lnTo>
                  <a:lnTo>
                    <a:pt x="2400584" y="360587"/>
                  </a:lnTo>
                  <a:lnTo>
                    <a:pt x="2400584" y="297990"/>
                  </a:lnTo>
                  <a:lnTo>
                    <a:pt x="2533031" y="174504"/>
                  </a:lnTo>
                  <a:cubicBezTo>
                    <a:pt x="2543224" y="165594"/>
                    <a:pt x="2551923" y="155107"/>
                    <a:pt x="2558798" y="143443"/>
                  </a:cubicBezTo>
                  <a:cubicBezTo>
                    <a:pt x="2563029" y="135416"/>
                    <a:pt x="2565273" y="126487"/>
                    <a:pt x="2565358" y="117415"/>
                  </a:cubicBezTo>
                  <a:cubicBezTo>
                    <a:pt x="2565843" y="107176"/>
                    <a:pt x="2561565" y="97287"/>
                    <a:pt x="2553758" y="90629"/>
                  </a:cubicBezTo>
                  <a:cubicBezTo>
                    <a:pt x="2543918" y="83647"/>
                    <a:pt x="2531957" y="80294"/>
                    <a:pt x="2519910" y="81130"/>
                  </a:cubicBezTo>
                  <a:cubicBezTo>
                    <a:pt x="2507312" y="80987"/>
                    <a:pt x="2494885" y="84027"/>
                    <a:pt x="2483780" y="89964"/>
                  </a:cubicBezTo>
                  <a:cubicBezTo>
                    <a:pt x="2472693" y="96005"/>
                    <a:pt x="2463356" y="104810"/>
                    <a:pt x="2456682" y="115516"/>
                  </a:cubicBezTo>
                  <a:lnTo>
                    <a:pt x="2382424" y="74101"/>
                  </a:lnTo>
                  <a:cubicBezTo>
                    <a:pt x="2396410" y="51066"/>
                    <a:pt x="2416520" y="32353"/>
                    <a:pt x="2440518" y="20052"/>
                  </a:cubicBezTo>
                  <a:cubicBezTo>
                    <a:pt x="2467939" y="6364"/>
                    <a:pt x="2498298" y="-380"/>
                    <a:pt x="2528943" y="389"/>
                  </a:cubicBezTo>
                  <a:close/>
                  <a:moveTo>
                    <a:pt x="2213467" y="389"/>
                  </a:moveTo>
                  <a:cubicBezTo>
                    <a:pt x="2237940" y="-76"/>
                    <a:pt x="2262252" y="4388"/>
                    <a:pt x="2284967" y="13497"/>
                  </a:cubicBezTo>
                  <a:cubicBezTo>
                    <a:pt x="2304411" y="21306"/>
                    <a:pt x="2321240" y="34481"/>
                    <a:pt x="2333458" y="51493"/>
                  </a:cubicBezTo>
                  <a:cubicBezTo>
                    <a:pt x="2345257" y="68126"/>
                    <a:pt x="2351390" y="88102"/>
                    <a:pt x="2350953" y="108486"/>
                  </a:cubicBezTo>
                  <a:cubicBezTo>
                    <a:pt x="2351029" y="127285"/>
                    <a:pt x="2346769" y="145846"/>
                    <a:pt x="2338497" y="162725"/>
                  </a:cubicBezTo>
                  <a:cubicBezTo>
                    <a:pt x="2326308" y="184734"/>
                    <a:pt x="2310192" y="204340"/>
                    <a:pt x="2290957" y="220574"/>
                  </a:cubicBezTo>
                  <a:lnTo>
                    <a:pt x="2224401" y="282126"/>
                  </a:lnTo>
                  <a:lnTo>
                    <a:pt x="2360841" y="281272"/>
                  </a:lnTo>
                  <a:lnTo>
                    <a:pt x="2360841" y="360587"/>
                  </a:lnTo>
                  <a:lnTo>
                    <a:pt x="2085108" y="360587"/>
                  </a:lnTo>
                  <a:lnTo>
                    <a:pt x="2085108" y="297990"/>
                  </a:lnTo>
                  <a:lnTo>
                    <a:pt x="2217555" y="174504"/>
                  </a:lnTo>
                  <a:cubicBezTo>
                    <a:pt x="2227719" y="165565"/>
                    <a:pt x="2236419" y="155079"/>
                    <a:pt x="2243322" y="143443"/>
                  </a:cubicBezTo>
                  <a:cubicBezTo>
                    <a:pt x="2247553" y="135416"/>
                    <a:pt x="2249797" y="126487"/>
                    <a:pt x="2249882" y="117415"/>
                  </a:cubicBezTo>
                  <a:cubicBezTo>
                    <a:pt x="2250386" y="107147"/>
                    <a:pt x="2246060" y="97240"/>
                    <a:pt x="2238188" y="90629"/>
                  </a:cubicBezTo>
                  <a:cubicBezTo>
                    <a:pt x="2228347" y="83637"/>
                    <a:pt x="2216386" y="80275"/>
                    <a:pt x="2204339" y="81130"/>
                  </a:cubicBezTo>
                  <a:cubicBezTo>
                    <a:pt x="2191741" y="81006"/>
                    <a:pt x="2179323" y="84046"/>
                    <a:pt x="2168208" y="89964"/>
                  </a:cubicBezTo>
                  <a:cubicBezTo>
                    <a:pt x="2157131" y="95986"/>
                    <a:pt x="2147823" y="104792"/>
                    <a:pt x="2141206" y="115516"/>
                  </a:cubicBezTo>
                  <a:lnTo>
                    <a:pt x="2066948" y="74101"/>
                  </a:lnTo>
                  <a:cubicBezTo>
                    <a:pt x="2080934" y="51066"/>
                    <a:pt x="2101044" y="32353"/>
                    <a:pt x="2125042" y="20052"/>
                  </a:cubicBezTo>
                  <a:cubicBezTo>
                    <a:pt x="2152463" y="6364"/>
                    <a:pt x="2182822" y="-380"/>
                    <a:pt x="2213467" y="389"/>
                  </a:cubicBezTo>
                  <a:close/>
                  <a:moveTo>
                    <a:pt x="1543912" y="389"/>
                  </a:moveTo>
                  <a:cubicBezTo>
                    <a:pt x="1568385" y="-76"/>
                    <a:pt x="1592697" y="4379"/>
                    <a:pt x="1615412" y="13497"/>
                  </a:cubicBezTo>
                  <a:cubicBezTo>
                    <a:pt x="1634856" y="21306"/>
                    <a:pt x="1651685" y="34481"/>
                    <a:pt x="1663903" y="51493"/>
                  </a:cubicBezTo>
                  <a:cubicBezTo>
                    <a:pt x="1675702" y="68126"/>
                    <a:pt x="1681835" y="88102"/>
                    <a:pt x="1681398" y="108486"/>
                  </a:cubicBezTo>
                  <a:cubicBezTo>
                    <a:pt x="1681464" y="127266"/>
                    <a:pt x="1677233" y="145817"/>
                    <a:pt x="1669037" y="162725"/>
                  </a:cubicBezTo>
                  <a:cubicBezTo>
                    <a:pt x="1656801" y="184706"/>
                    <a:pt x="1640703" y="204302"/>
                    <a:pt x="1621497" y="220574"/>
                  </a:cubicBezTo>
                  <a:lnTo>
                    <a:pt x="1554941" y="282126"/>
                  </a:lnTo>
                  <a:lnTo>
                    <a:pt x="1691286" y="281272"/>
                  </a:lnTo>
                  <a:lnTo>
                    <a:pt x="1691286" y="360587"/>
                  </a:lnTo>
                  <a:lnTo>
                    <a:pt x="1415553" y="360587"/>
                  </a:lnTo>
                  <a:lnTo>
                    <a:pt x="1415553" y="297990"/>
                  </a:lnTo>
                  <a:lnTo>
                    <a:pt x="1548000" y="174504"/>
                  </a:lnTo>
                  <a:cubicBezTo>
                    <a:pt x="1558164" y="165565"/>
                    <a:pt x="1566864" y="155079"/>
                    <a:pt x="1573767" y="143443"/>
                  </a:cubicBezTo>
                  <a:cubicBezTo>
                    <a:pt x="1577998" y="135416"/>
                    <a:pt x="1580242" y="126487"/>
                    <a:pt x="1580328" y="117415"/>
                  </a:cubicBezTo>
                  <a:cubicBezTo>
                    <a:pt x="1580812" y="107176"/>
                    <a:pt x="1576534" y="97287"/>
                    <a:pt x="1568728" y="90629"/>
                  </a:cubicBezTo>
                  <a:cubicBezTo>
                    <a:pt x="1558849" y="83647"/>
                    <a:pt x="1546859" y="80294"/>
                    <a:pt x="1534784" y="81130"/>
                  </a:cubicBezTo>
                  <a:cubicBezTo>
                    <a:pt x="1522186" y="81006"/>
                    <a:pt x="1509768" y="84046"/>
                    <a:pt x="1498654" y="89964"/>
                  </a:cubicBezTo>
                  <a:cubicBezTo>
                    <a:pt x="1487596" y="96015"/>
                    <a:pt x="1478297" y="104820"/>
                    <a:pt x="1471651" y="115516"/>
                  </a:cubicBezTo>
                  <a:lnTo>
                    <a:pt x="1397393" y="74101"/>
                  </a:lnTo>
                  <a:cubicBezTo>
                    <a:pt x="1411379" y="51066"/>
                    <a:pt x="1431489" y="32353"/>
                    <a:pt x="1455487" y="20052"/>
                  </a:cubicBezTo>
                  <a:cubicBezTo>
                    <a:pt x="1482908" y="6364"/>
                    <a:pt x="1513267" y="-380"/>
                    <a:pt x="1543912" y="389"/>
                  </a:cubicBezTo>
                  <a:close/>
                  <a:moveTo>
                    <a:pt x="360734" y="200"/>
                  </a:moveTo>
                  <a:cubicBezTo>
                    <a:pt x="411630" y="133"/>
                    <a:pt x="451726" y="15085"/>
                    <a:pt x="481010" y="45034"/>
                  </a:cubicBezTo>
                  <a:cubicBezTo>
                    <a:pt x="510362" y="75051"/>
                    <a:pt x="525032" y="118147"/>
                    <a:pt x="525032" y="174315"/>
                  </a:cubicBezTo>
                  <a:cubicBezTo>
                    <a:pt x="526031" y="210553"/>
                    <a:pt x="517958" y="246468"/>
                    <a:pt x="501548" y="278803"/>
                  </a:cubicBezTo>
                  <a:cubicBezTo>
                    <a:pt x="486639" y="307214"/>
                    <a:pt x="463430" y="330400"/>
                    <a:pt x="434991" y="345295"/>
                  </a:cubicBezTo>
                  <a:cubicBezTo>
                    <a:pt x="404452" y="360921"/>
                    <a:pt x="370508" y="368719"/>
                    <a:pt x="336203" y="367997"/>
                  </a:cubicBezTo>
                  <a:cubicBezTo>
                    <a:pt x="316978" y="368073"/>
                    <a:pt x="297819" y="365774"/>
                    <a:pt x="279155" y="361158"/>
                  </a:cubicBezTo>
                  <a:cubicBezTo>
                    <a:pt x="262725" y="357387"/>
                    <a:pt x="247027" y="350975"/>
                    <a:pt x="232661" y="342160"/>
                  </a:cubicBezTo>
                  <a:lnTo>
                    <a:pt x="268981" y="270444"/>
                  </a:lnTo>
                  <a:cubicBezTo>
                    <a:pt x="288368" y="283200"/>
                    <a:pt x="311302" y="289517"/>
                    <a:pt x="334492" y="288491"/>
                  </a:cubicBezTo>
                  <a:cubicBezTo>
                    <a:pt x="356883" y="289489"/>
                    <a:pt x="378828" y="281994"/>
                    <a:pt x="395914" y="267499"/>
                  </a:cubicBezTo>
                  <a:cubicBezTo>
                    <a:pt x="412553" y="251512"/>
                    <a:pt x="422384" y="229741"/>
                    <a:pt x="423392" y="206706"/>
                  </a:cubicBezTo>
                  <a:cubicBezTo>
                    <a:pt x="400981" y="224649"/>
                    <a:pt x="372781" y="233806"/>
                    <a:pt x="344095" y="232448"/>
                  </a:cubicBezTo>
                  <a:cubicBezTo>
                    <a:pt x="322911" y="232666"/>
                    <a:pt x="301965" y="227917"/>
                    <a:pt x="282958" y="218580"/>
                  </a:cubicBezTo>
                  <a:cubicBezTo>
                    <a:pt x="264893" y="209717"/>
                    <a:pt x="249604" y="196086"/>
                    <a:pt x="238746" y="179159"/>
                  </a:cubicBezTo>
                  <a:cubicBezTo>
                    <a:pt x="227669" y="161748"/>
                    <a:pt x="221945" y="141467"/>
                    <a:pt x="222297" y="120836"/>
                  </a:cubicBezTo>
                  <a:cubicBezTo>
                    <a:pt x="221917" y="98342"/>
                    <a:pt x="228344" y="76258"/>
                    <a:pt x="240743" y="57478"/>
                  </a:cubicBezTo>
                  <a:cubicBezTo>
                    <a:pt x="253179" y="39012"/>
                    <a:pt x="270484" y="24346"/>
                    <a:pt x="290755" y="15113"/>
                  </a:cubicBezTo>
                  <a:cubicBezTo>
                    <a:pt x="312671" y="4978"/>
                    <a:pt x="336583" y="-114"/>
                    <a:pt x="360734" y="200"/>
                  </a:cubicBezTo>
                  <a:close/>
                  <a:moveTo>
                    <a:pt x="1888767" y="0"/>
                  </a:moveTo>
                  <a:cubicBezTo>
                    <a:pt x="1916695" y="0"/>
                    <a:pt x="1944622" y="7286"/>
                    <a:pt x="1969586" y="21857"/>
                  </a:cubicBezTo>
                  <a:cubicBezTo>
                    <a:pt x="1993869" y="37074"/>
                    <a:pt x="2013123" y="59112"/>
                    <a:pt x="2024923" y="85215"/>
                  </a:cubicBezTo>
                  <a:cubicBezTo>
                    <a:pt x="2051545" y="148325"/>
                    <a:pt x="2051545" y="219491"/>
                    <a:pt x="2024923" y="282602"/>
                  </a:cubicBezTo>
                  <a:cubicBezTo>
                    <a:pt x="2013066" y="308667"/>
                    <a:pt x="1993831" y="330695"/>
                    <a:pt x="1969586" y="345960"/>
                  </a:cubicBezTo>
                  <a:cubicBezTo>
                    <a:pt x="1919621" y="374979"/>
                    <a:pt x="1857914" y="374979"/>
                    <a:pt x="1807950" y="345960"/>
                  </a:cubicBezTo>
                  <a:cubicBezTo>
                    <a:pt x="1783704" y="330695"/>
                    <a:pt x="1764469" y="308667"/>
                    <a:pt x="1752613" y="282602"/>
                  </a:cubicBezTo>
                  <a:cubicBezTo>
                    <a:pt x="1725990" y="219491"/>
                    <a:pt x="1725990" y="148325"/>
                    <a:pt x="1752613" y="85215"/>
                  </a:cubicBezTo>
                  <a:cubicBezTo>
                    <a:pt x="1764412" y="59112"/>
                    <a:pt x="1783666" y="37074"/>
                    <a:pt x="1807950" y="21857"/>
                  </a:cubicBezTo>
                  <a:cubicBezTo>
                    <a:pt x="1832913" y="7286"/>
                    <a:pt x="1860840" y="0"/>
                    <a:pt x="1888767" y="0"/>
                  </a:cubicBezTo>
                  <a:close/>
                </a:path>
              </a:pathLst>
            </a:custGeom>
            <a:solidFill>
              <a:srgbClr val="000000"/>
            </a:solidFill>
            <a:ln w="9508" cap="flat">
              <a:noFill/>
              <a:prstDash val="solid"/>
              <a:miter/>
            </a:ln>
          </p:spPr>
          <p:txBody>
            <a:bodyPr rtlCol="0" anchor="ctr"/>
            <a:lstStyle/>
            <a:p>
              <a:endParaRPr lang="es-ES_tradnl"/>
            </a:p>
          </p:txBody>
        </p:sp>
        <p:sp>
          <p:nvSpPr>
            <p:cNvPr id="15" name="Forma libre 14">
              <a:extLst>
                <a:ext uri="{FF2B5EF4-FFF2-40B4-BE49-F238E27FC236}">
                  <a16:creationId xmlns:a16="http://schemas.microsoft.com/office/drawing/2014/main" id="{A46DF6C6-A46B-4305-BD11-D0946DC0A910}"/>
                </a:ext>
              </a:extLst>
            </p:cNvPr>
            <p:cNvSpPr/>
            <p:nvPr/>
          </p:nvSpPr>
          <p:spPr>
            <a:xfrm>
              <a:off x="6621262" y="-4692734"/>
              <a:ext cx="313880" cy="687245"/>
            </a:xfrm>
            <a:custGeom>
              <a:avLst/>
              <a:gdLst>
                <a:gd name="connsiteX0" fmla="*/ 313765 w 313880"/>
                <a:gd name="connsiteY0" fmla="*/ 493088 h 687245"/>
                <a:gd name="connsiteX1" fmla="*/ 285241 w 313880"/>
                <a:gd name="connsiteY1" fmla="*/ 687246 h 687245"/>
                <a:gd name="connsiteX2" fmla="*/ 0 w 313880"/>
                <a:gd name="connsiteY2" fmla="*/ 687246 h 687245"/>
                <a:gd name="connsiteX3" fmla="*/ 0 w 313880"/>
                <a:gd name="connsiteY3" fmla="*/ 0 h 687245"/>
                <a:gd name="connsiteX4" fmla="*/ 313765 w 313880"/>
                <a:gd name="connsiteY4" fmla="*/ 493088 h 687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880" h="687245">
                  <a:moveTo>
                    <a:pt x="313765" y="493088"/>
                  </a:moveTo>
                  <a:cubicBezTo>
                    <a:pt x="315067" y="558937"/>
                    <a:pt x="305426" y="624547"/>
                    <a:pt x="285241" y="687246"/>
                  </a:cubicBezTo>
                  <a:lnTo>
                    <a:pt x="0" y="687246"/>
                  </a:lnTo>
                  <a:lnTo>
                    <a:pt x="0" y="0"/>
                  </a:lnTo>
                  <a:cubicBezTo>
                    <a:pt x="188259" y="85395"/>
                    <a:pt x="313765" y="258750"/>
                    <a:pt x="313765" y="493088"/>
                  </a:cubicBezTo>
                  <a:close/>
                </a:path>
              </a:pathLst>
            </a:custGeom>
            <a:solidFill>
              <a:srgbClr val="006B7F"/>
            </a:solidFill>
            <a:ln w="9508" cap="flat">
              <a:noFill/>
              <a:prstDash val="solid"/>
              <a:miter/>
            </a:ln>
          </p:spPr>
          <p:txBody>
            <a:bodyPr rtlCol="0" anchor="ctr"/>
            <a:lstStyle/>
            <a:p>
              <a:endParaRPr lang="es-ES_tradnl"/>
            </a:p>
          </p:txBody>
        </p:sp>
        <p:sp>
          <p:nvSpPr>
            <p:cNvPr id="17" name="Forma libre 16">
              <a:extLst>
                <a:ext uri="{FF2B5EF4-FFF2-40B4-BE49-F238E27FC236}">
                  <a16:creationId xmlns:a16="http://schemas.microsoft.com/office/drawing/2014/main" id="{9EA8C312-2335-4A88-AC81-6115063584A8}"/>
                </a:ext>
              </a:extLst>
            </p:cNvPr>
            <p:cNvSpPr/>
            <p:nvPr/>
          </p:nvSpPr>
          <p:spPr>
            <a:xfrm>
              <a:off x="6621928" y="-3959704"/>
              <a:ext cx="266224" cy="265209"/>
            </a:xfrm>
            <a:custGeom>
              <a:avLst/>
              <a:gdLst>
                <a:gd name="connsiteX0" fmla="*/ 266225 w 266224"/>
                <a:gd name="connsiteY0" fmla="*/ 0 h 265209"/>
                <a:gd name="connsiteX1" fmla="*/ 0 w 266224"/>
                <a:gd name="connsiteY1" fmla="*/ 265209 h 265209"/>
                <a:gd name="connsiteX2" fmla="*/ 0 w 266224"/>
                <a:gd name="connsiteY2" fmla="*/ 0 h 265209"/>
              </a:gdLst>
              <a:ahLst/>
              <a:cxnLst>
                <a:cxn ang="0">
                  <a:pos x="connsiteX0" y="connsiteY0"/>
                </a:cxn>
                <a:cxn ang="0">
                  <a:pos x="connsiteX1" y="connsiteY1"/>
                </a:cxn>
                <a:cxn ang="0">
                  <a:pos x="connsiteX2" y="connsiteY2"/>
                </a:cxn>
              </a:cxnLst>
              <a:rect l="l" t="t" r="r" b="b"/>
              <a:pathLst>
                <a:path w="266224" h="265209">
                  <a:moveTo>
                    <a:pt x="266225" y="0"/>
                  </a:moveTo>
                  <a:cubicBezTo>
                    <a:pt x="216593" y="103918"/>
                    <a:pt x="127503" y="178389"/>
                    <a:pt x="0" y="265209"/>
                  </a:cubicBezTo>
                  <a:lnTo>
                    <a:pt x="0" y="0"/>
                  </a:lnTo>
                  <a:close/>
                </a:path>
              </a:pathLst>
            </a:custGeom>
            <a:solidFill>
              <a:srgbClr val="EEAF00"/>
            </a:solidFill>
            <a:ln w="9508" cap="flat">
              <a:noFill/>
              <a:prstDash val="solid"/>
              <a:miter/>
            </a:ln>
          </p:spPr>
          <p:txBody>
            <a:bodyPr rtlCol="0" anchor="ctr"/>
            <a:lstStyle/>
            <a:p>
              <a:endParaRPr lang="es-ES_tradnl"/>
            </a:p>
          </p:txBody>
        </p:sp>
        <p:sp>
          <p:nvSpPr>
            <p:cNvPr id="18" name="Forma libre 17">
              <a:extLst>
                <a:ext uri="{FF2B5EF4-FFF2-40B4-BE49-F238E27FC236}">
                  <a16:creationId xmlns:a16="http://schemas.microsoft.com/office/drawing/2014/main" id="{C0CA40ED-CAB9-4812-AF6A-0AB9B888BB62}"/>
                </a:ext>
              </a:extLst>
            </p:cNvPr>
            <p:cNvSpPr/>
            <p:nvPr/>
          </p:nvSpPr>
          <p:spPr>
            <a:xfrm>
              <a:off x="7187085" y="-3959704"/>
              <a:ext cx="375186" cy="246876"/>
            </a:xfrm>
            <a:custGeom>
              <a:avLst/>
              <a:gdLst>
                <a:gd name="connsiteX0" fmla="*/ 375186 w 375186"/>
                <a:gd name="connsiteY0" fmla="*/ 0 h 246876"/>
                <a:gd name="connsiteX1" fmla="*/ 375186 w 375186"/>
                <a:gd name="connsiteY1" fmla="*/ 167181 h 246876"/>
                <a:gd name="connsiteX2" fmla="*/ 278490 w 375186"/>
                <a:gd name="connsiteY2" fmla="*/ 246877 h 246876"/>
                <a:gd name="connsiteX3" fmla="*/ 0 w 375186"/>
                <a:gd name="connsiteY3" fmla="*/ 103063 h 246876"/>
                <a:gd name="connsiteX4" fmla="*/ 0 w 375186"/>
                <a:gd name="connsiteY4" fmla="*/ 0 h 246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5186" h="246876">
                  <a:moveTo>
                    <a:pt x="375186" y="0"/>
                  </a:moveTo>
                  <a:lnTo>
                    <a:pt x="375186" y="167181"/>
                  </a:lnTo>
                  <a:cubicBezTo>
                    <a:pt x="339189" y="188829"/>
                    <a:pt x="306605" y="215692"/>
                    <a:pt x="278490" y="246877"/>
                  </a:cubicBezTo>
                  <a:lnTo>
                    <a:pt x="0" y="103063"/>
                  </a:lnTo>
                  <a:lnTo>
                    <a:pt x="0" y="0"/>
                  </a:lnTo>
                  <a:close/>
                </a:path>
              </a:pathLst>
            </a:custGeom>
            <a:solidFill>
              <a:srgbClr val="EEAF00"/>
            </a:solidFill>
            <a:ln w="9508" cap="flat">
              <a:noFill/>
              <a:prstDash val="solid"/>
              <a:miter/>
            </a:ln>
          </p:spPr>
          <p:txBody>
            <a:bodyPr rtlCol="0" anchor="ctr"/>
            <a:lstStyle/>
            <a:p>
              <a:endParaRPr lang="es-ES_tradnl"/>
            </a:p>
          </p:txBody>
        </p:sp>
        <p:sp>
          <p:nvSpPr>
            <p:cNvPr id="19" name="Forma libre 18">
              <a:extLst>
                <a:ext uri="{FF2B5EF4-FFF2-40B4-BE49-F238E27FC236}">
                  <a16:creationId xmlns:a16="http://schemas.microsoft.com/office/drawing/2014/main" id="{5818621C-2B5A-4B3D-8998-FA4E05913C4C}"/>
                </a:ext>
              </a:extLst>
            </p:cNvPr>
            <p:cNvSpPr/>
            <p:nvPr/>
          </p:nvSpPr>
          <p:spPr>
            <a:xfrm>
              <a:off x="7608100" y="-4164310"/>
              <a:ext cx="650348" cy="158821"/>
            </a:xfrm>
            <a:custGeom>
              <a:avLst/>
              <a:gdLst>
                <a:gd name="connsiteX0" fmla="*/ 650349 w 650348"/>
                <a:gd name="connsiteY0" fmla="*/ 158822 h 158821"/>
                <a:gd name="connsiteX1" fmla="*/ 0 w 650348"/>
                <a:gd name="connsiteY1" fmla="*/ 158822 h 158821"/>
                <a:gd name="connsiteX2" fmla="*/ 0 w 650348"/>
                <a:gd name="connsiteY2" fmla="*/ 42460 h 158821"/>
                <a:gd name="connsiteX3" fmla="*/ 238556 w 650348"/>
                <a:gd name="connsiteY3" fmla="*/ 0 h 158821"/>
                <a:gd name="connsiteX4" fmla="*/ 650349 w 650348"/>
                <a:gd name="connsiteY4" fmla="*/ 158822 h 158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348" h="158821">
                  <a:moveTo>
                    <a:pt x="650349" y="158822"/>
                  </a:moveTo>
                  <a:lnTo>
                    <a:pt x="0" y="158822"/>
                  </a:lnTo>
                  <a:lnTo>
                    <a:pt x="0" y="42460"/>
                  </a:lnTo>
                  <a:cubicBezTo>
                    <a:pt x="54956" y="18143"/>
                    <a:pt x="138437" y="0"/>
                    <a:pt x="238556" y="0"/>
                  </a:cubicBezTo>
                  <a:cubicBezTo>
                    <a:pt x="389354" y="0"/>
                    <a:pt x="539485" y="53954"/>
                    <a:pt x="650349" y="158822"/>
                  </a:cubicBezTo>
                  <a:close/>
                </a:path>
              </a:pathLst>
            </a:custGeom>
            <a:solidFill>
              <a:srgbClr val="404040"/>
            </a:solidFill>
            <a:ln w="9508" cap="flat">
              <a:noFill/>
              <a:prstDash val="solid"/>
              <a:miter/>
            </a:ln>
          </p:spPr>
          <p:txBody>
            <a:bodyPr rtlCol="0" anchor="ctr"/>
            <a:lstStyle/>
            <a:p>
              <a:endParaRPr lang="es-ES_tradnl"/>
            </a:p>
          </p:txBody>
        </p:sp>
        <p:sp>
          <p:nvSpPr>
            <p:cNvPr id="20" name="Forma libre 19">
              <a:extLst>
                <a:ext uri="{FF2B5EF4-FFF2-40B4-BE49-F238E27FC236}">
                  <a16:creationId xmlns:a16="http://schemas.microsoft.com/office/drawing/2014/main" id="{6E2EFCA3-AC50-4D03-BFBA-6DF1E9D28401}"/>
                </a:ext>
              </a:extLst>
            </p:cNvPr>
            <p:cNvSpPr/>
            <p:nvPr/>
          </p:nvSpPr>
          <p:spPr>
            <a:xfrm>
              <a:off x="7608100" y="-4724176"/>
              <a:ext cx="687905" cy="375776"/>
            </a:xfrm>
            <a:custGeom>
              <a:avLst/>
              <a:gdLst>
                <a:gd name="connsiteX0" fmla="*/ 0 w 687905"/>
                <a:gd name="connsiteY0" fmla="*/ 0 h 375776"/>
                <a:gd name="connsiteX1" fmla="*/ 687905 w 687905"/>
                <a:gd name="connsiteY1" fmla="*/ 0 h 375776"/>
                <a:gd name="connsiteX2" fmla="*/ 687905 w 687905"/>
                <a:gd name="connsiteY2" fmla="*/ 375777 h 375776"/>
                <a:gd name="connsiteX3" fmla="*/ 0 w 687905"/>
                <a:gd name="connsiteY3" fmla="*/ 375777 h 375776"/>
              </a:gdLst>
              <a:ahLst/>
              <a:cxnLst>
                <a:cxn ang="0">
                  <a:pos x="connsiteX0" y="connsiteY0"/>
                </a:cxn>
                <a:cxn ang="0">
                  <a:pos x="connsiteX1" y="connsiteY1"/>
                </a:cxn>
                <a:cxn ang="0">
                  <a:pos x="connsiteX2" y="connsiteY2"/>
                </a:cxn>
                <a:cxn ang="0">
                  <a:pos x="connsiteX3" y="connsiteY3"/>
                </a:cxn>
              </a:cxnLst>
              <a:rect l="l" t="t" r="r" b="b"/>
              <a:pathLst>
                <a:path w="687905" h="375776">
                  <a:moveTo>
                    <a:pt x="0" y="0"/>
                  </a:moveTo>
                  <a:lnTo>
                    <a:pt x="687905" y="0"/>
                  </a:lnTo>
                  <a:lnTo>
                    <a:pt x="687905" y="375777"/>
                  </a:lnTo>
                  <a:lnTo>
                    <a:pt x="0" y="375777"/>
                  </a:lnTo>
                  <a:close/>
                </a:path>
              </a:pathLst>
            </a:custGeom>
            <a:solidFill>
              <a:srgbClr val="404040"/>
            </a:solidFill>
            <a:ln w="9508" cap="flat">
              <a:noFill/>
              <a:prstDash val="solid"/>
              <a:miter/>
            </a:ln>
          </p:spPr>
          <p:txBody>
            <a:bodyPr rtlCol="0" anchor="ctr"/>
            <a:lstStyle/>
            <a:p>
              <a:endParaRPr lang="es-ES_tradnl"/>
            </a:p>
          </p:txBody>
        </p:sp>
        <p:sp>
          <p:nvSpPr>
            <p:cNvPr id="21" name="Forma libre 20">
              <a:extLst>
                <a:ext uri="{FF2B5EF4-FFF2-40B4-BE49-F238E27FC236}">
                  <a16:creationId xmlns:a16="http://schemas.microsoft.com/office/drawing/2014/main" id="{9CB3BC76-9A99-43C0-BB94-FB51EA508F30}"/>
                </a:ext>
              </a:extLst>
            </p:cNvPr>
            <p:cNvSpPr/>
            <p:nvPr/>
          </p:nvSpPr>
          <p:spPr>
            <a:xfrm>
              <a:off x="7187085" y="-4724176"/>
              <a:ext cx="375186" cy="718687"/>
            </a:xfrm>
            <a:custGeom>
              <a:avLst/>
              <a:gdLst>
                <a:gd name="connsiteX0" fmla="*/ 0 w 375186"/>
                <a:gd name="connsiteY0" fmla="*/ 0 h 718687"/>
                <a:gd name="connsiteX1" fmla="*/ 375186 w 375186"/>
                <a:gd name="connsiteY1" fmla="*/ 0 h 718687"/>
                <a:gd name="connsiteX2" fmla="*/ 375186 w 375186"/>
                <a:gd name="connsiteY2" fmla="*/ 718687 h 718687"/>
                <a:gd name="connsiteX3" fmla="*/ 0 w 375186"/>
                <a:gd name="connsiteY3" fmla="*/ 718687 h 718687"/>
              </a:gdLst>
              <a:ahLst/>
              <a:cxnLst>
                <a:cxn ang="0">
                  <a:pos x="connsiteX0" y="connsiteY0"/>
                </a:cxn>
                <a:cxn ang="0">
                  <a:pos x="connsiteX1" y="connsiteY1"/>
                </a:cxn>
                <a:cxn ang="0">
                  <a:pos x="connsiteX2" y="connsiteY2"/>
                </a:cxn>
                <a:cxn ang="0">
                  <a:pos x="connsiteX3" y="connsiteY3"/>
                </a:cxn>
              </a:cxnLst>
              <a:rect l="l" t="t" r="r" b="b"/>
              <a:pathLst>
                <a:path w="375186" h="718687">
                  <a:moveTo>
                    <a:pt x="0" y="0"/>
                  </a:moveTo>
                  <a:lnTo>
                    <a:pt x="375186" y="0"/>
                  </a:lnTo>
                  <a:lnTo>
                    <a:pt x="375186" y="718687"/>
                  </a:lnTo>
                  <a:lnTo>
                    <a:pt x="0" y="718687"/>
                  </a:lnTo>
                  <a:close/>
                </a:path>
              </a:pathLst>
            </a:custGeom>
            <a:solidFill>
              <a:srgbClr val="006B7F"/>
            </a:solidFill>
            <a:ln w="9508" cap="flat">
              <a:noFill/>
              <a:prstDash val="solid"/>
              <a:miter/>
            </a:ln>
          </p:spPr>
          <p:txBody>
            <a:bodyPr rtlCol="0" anchor="ctr"/>
            <a:lstStyle/>
            <a:p>
              <a:endParaRPr lang="es-ES_tradnl"/>
            </a:p>
          </p:txBody>
        </p:sp>
        <p:sp>
          <p:nvSpPr>
            <p:cNvPr id="22" name="Forma libre 21">
              <a:extLst>
                <a:ext uri="{FF2B5EF4-FFF2-40B4-BE49-F238E27FC236}">
                  <a16:creationId xmlns:a16="http://schemas.microsoft.com/office/drawing/2014/main" id="{487EBD22-30CD-4DE5-A344-DE94AE2483BA}"/>
                </a:ext>
              </a:extLst>
            </p:cNvPr>
            <p:cNvSpPr/>
            <p:nvPr/>
          </p:nvSpPr>
          <p:spPr>
            <a:xfrm>
              <a:off x="5677972" y="-4751929"/>
              <a:ext cx="897937" cy="746440"/>
            </a:xfrm>
            <a:custGeom>
              <a:avLst/>
              <a:gdLst>
                <a:gd name="connsiteX0" fmla="*/ 897938 w 897937"/>
                <a:gd name="connsiteY0" fmla="*/ 40577 h 746440"/>
                <a:gd name="connsiteX1" fmla="*/ 897938 w 897937"/>
                <a:gd name="connsiteY1" fmla="*/ 746440 h 746440"/>
                <a:gd name="connsiteX2" fmla="*/ 687905 w 897937"/>
                <a:gd name="connsiteY2" fmla="*/ 746440 h 746440"/>
                <a:gd name="connsiteX3" fmla="*/ 795156 w 897937"/>
                <a:gd name="connsiteY3" fmla="*/ 575460 h 746440"/>
                <a:gd name="connsiteX4" fmla="*/ 583317 w 897937"/>
                <a:gd name="connsiteY4" fmla="*/ 408469 h 746440"/>
                <a:gd name="connsiteX5" fmla="*/ 272785 w 897937"/>
                <a:gd name="connsiteY5" fmla="*/ 600157 h 746440"/>
                <a:gd name="connsiteX6" fmla="*/ 0 w 897937"/>
                <a:gd name="connsiteY6" fmla="*/ 312815 h 746440"/>
                <a:gd name="connsiteX7" fmla="*/ 656339 w 897937"/>
                <a:gd name="connsiteY7" fmla="*/ 16 h 746440"/>
                <a:gd name="connsiteX8" fmla="*/ 897938 w 897937"/>
                <a:gd name="connsiteY8" fmla="*/ 40577 h 746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7937" h="746440">
                  <a:moveTo>
                    <a:pt x="897938" y="40577"/>
                  </a:moveTo>
                  <a:lnTo>
                    <a:pt x="897938" y="746440"/>
                  </a:lnTo>
                  <a:lnTo>
                    <a:pt x="687905" y="746440"/>
                  </a:lnTo>
                  <a:cubicBezTo>
                    <a:pt x="751609" y="692961"/>
                    <a:pt x="795156" y="638058"/>
                    <a:pt x="795156" y="575460"/>
                  </a:cubicBezTo>
                  <a:cubicBezTo>
                    <a:pt x="795156" y="446465"/>
                    <a:pt x="699220" y="408469"/>
                    <a:pt x="583317" y="408469"/>
                  </a:cubicBezTo>
                  <a:cubicBezTo>
                    <a:pt x="446972" y="408469"/>
                    <a:pt x="348564" y="519416"/>
                    <a:pt x="272785" y="600157"/>
                  </a:cubicBezTo>
                  <a:lnTo>
                    <a:pt x="0" y="312815"/>
                  </a:lnTo>
                  <a:cubicBezTo>
                    <a:pt x="176754" y="108494"/>
                    <a:pt x="403901" y="16"/>
                    <a:pt x="656339" y="16"/>
                  </a:cubicBezTo>
                  <a:cubicBezTo>
                    <a:pt x="738612" y="-540"/>
                    <a:pt x="820362" y="13184"/>
                    <a:pt x="897938" y="40577"/>
                  </a:cubicBezTo>
                  <a:close/>
                </a:path>
              </a:pathLst>
            </a:custGeom>
            <a:solidFill>
              <a:srgbClr val="936F9B"/>
            </a:solidFill>
            <a:ln w="9508" cap="flat">
              <a:noFill/>
              <a:prstDash val="solid"/>
              <a:miter/>
            </a:ln>
          </p:spPr>
          <p:txBody>
            <a:bodyPr rtlCol="0" anchor="ctr"/>
            <a:lstStyle/>
            <a:p>
              <a:endParaRPr lang="es-ES_tradnl"/>
            </a:p>
          </p:txBody>
        </p:sp>
        <p:sp>
          <p:nvSpPr>
            <p:cNvPr id="23" name="Forma libre 22">
              <a:extLst>
                <a:ext uri="{FF2B5EF4-FFF2-40B4-BE49-F238E27FC236}">
                  <a16:creationId xmlns:a16="http://schemas.microsoft.com/office/drawing/2014/main" id="{41897525-A476-4E26-ACDA-5B69696A6714}"/>
                </a:ext>
              </a:extLst>
            </p:cNvPr>
            <p:cNvSpPr/>
            <p:nvPr/>
          </p:nvSpPr>
          <p:spPr>
            <a:xfrm>
              <a:off x="5657720" y="-3959704"/>
              <a:ext cx="918189" cy="909994"/>
            </a:xfrm>
            <a:custGeom>
              <a:avLst/>
              <a:gdLst>
                <a:gd name="connsiteX0" fmla="*/ 918190 w 918189"/>
                <a:gd name="connsiteY0" fmla="*/ 662929 h 909994"/>
                <a:gd name="connsiteX1" fmla="*/ 494797 w 918189"/>
                <a:gd name="connsiteY1" fmla="*/ 662929 h 909994"/>
                <a:gd name="connsiteX2" fmla="*/ 873502 w 918189"/>
                <a:gd name="connsiteY2" fmla="*/ 325053 h 909994"/>
                <a:gd name="connsiteX3" fmla="*/ 918190 w 918189"/>
                <a:gd name="connsiteY3" fmla="*/ 295796 h 909994"/>
                <a:gd name="connsiteX4" fmla="*/ 918190 w 918189"/>
                <a:gd name="connsiteY4" fmla="*/ 0 h 909994"/>
                <a:gd name="connsiteX5" fmla="*/ 648732 w 918189"/>
                <a:gd name="connsiteY5" fmla="*/ 0 h 909994"/>
                <a:gd name="connsiteX6" fmla="*/ 368626 w 918189"/>
                <a:gd name="connsiteY6" fmla="*/ 203941 h 909994"/>
                <a:gd name="connsiteX7" fmla="*/ 0 w 918189"/>
                <a:gd name="connsiteY7" fmla="*/ 632722 h 909994"/>
                <a:gd name="connsiteX8" fmla="*/ 0 w 918189"/>
                <a:gd name="connsiteY8" fmla="*/ 909995 h 909994"/>
                <a:gd name="connsiteX9" fmla="*/ 918190 w 918189"/>
                <a:gd name="connsiteY9" fmla="*/ 909995 h 909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8189" h="909994">
                  <a:moveTo>
                    <a:pt x="918190" y="662929"/>
                  </a:moveTo>
                  <a:lnTo>
                    <a:pt x="494797" y="662929"/>
                  </a:lnTo>
                  <a:cubicBezTo>
                    <a:pt x="552891" y="562050"/>
                    <a:pt x="752275" y="403133"/>
                    <a:pt x="873502" y="325053"/>
                  </a:cubicBezTo>
                  <a:lnTo>
                    <a:pt x="918190" y="295796"/>
                  </a:lnTo>
                  <a:lnTo>
                    <a:pt x="918190" y="0"/>
                  </a:lnTo>
                  <a:lnTo>
                    <a:pt x="648732" y="0"/>
                  </a:lnTo>
                  <a:cubicBezTo>
                    <a:pt x="561259" y="63453"/>
                    <a:pt x="454769" y="127570"/>
                    <a:pt x="368626" y="203941"/>
                  </a:cubicBezTo>
                  <a:cubicBezTo>
                    <a:pt x="206990" y="332557"/>
                    <a:pt x="138912" y="405698"/>
                    <a:pt x="0" y="632722"/>
                  </a:cubicBezTo>
                  <a:lnTo>
                    <a:pt x="0" y="909995"/>
                  </a:lnTo>
                  <a:lnTo>
                    <a:pt x="918190" y="909995"/>
                  </a:lnTo>
                  <a:close/>
                </a:path>
              </a:pathLst>
            </a:custGeom>
            <a:solidFill>
              <a:srgbClr val="7ECDD1"/>
            </a:solidFill>
            <a:ln w="9508" cap="flat">
              <a:noFill/>
              <a:prstDash val="solid"/>
              <a:miter/>
            </a:ln>
          </p:spPr>
          <p:txBody>
            <a:bodyPr rtlCol="0" anchor="ctr"/>
            <a:lstStyle/>
            <a:p>
              <a:endParaRPr lang="es-ES_tradnl"/>
            </a:p>
          </p:txBody>
        </p:sp>
        <p:sp>
          <p:nvSpPr>
            <p:cNvPr id="24" name="Forma libre 23">
              <a:extLst>
                <a:ext uri="{FF2B5EF4-FFF2-40B4-BE49-F238E27FC236}">
                  <a16:creationId xmlns:a16="http://schemas.microsoft.com/office/drawing/2014/main" id="{6628B9CD-E90F-4FCC-8FF6-8026E340F87A}"/>
                </a:ext>
              </a:extLst>
            </p:cNvPr>
            <p:cNvSpPr/>
            <p:nvPr/>
          </p:nvSpPr>
          <p:spPr>
            <a:xfrm>
              <a:off x="6621738" y="-3431850"/>
              <a:ext cx="399146" cy="382140"/>
            </a:xfrm>
            <a:custGeom>
              <a:avLst/>
              <a:gdLst>
                <a:gd name="connsiteX0" fmla="*/ 0 w 399146"/>
                <a:gd name="connsiteY0" fmla="*/ 0 h 382140"/>
                <a:gd name="connsiteX1" fmla="*/ 399147 w 399146"/>
                <a:gd name="connsiteY1" fmla="*/ 0 h 382140"/>
                <a:gd name="connsiteX2" fmla="*/ 399147 w 399146"/>
                <a:gd name="connsiteY2" fmla="*/ 382141 h 382140"/>
                <a:gd name="connsiteX3" fmla="*/ 0 w 399146"/>
                <a:gd name="connsiteY3" fmla="*/ 382141 h 382140"/>
              </a:gdLst>
              <a:ahLst/>
              <a:cxnLst>
                <a:cxn ang="0">
                  <a:pos x="connsiteX0" y="connsiteY0"/>
                </a:cxn>
                <a:cxn ang="0">
                  <a:pos x="connsiteX1" y="connsiteY1"/>
                </a:cxn>
                <a:cxn ang="0">
                  <a:pos x="connsiteX2" y="connsiteY2"/>
                </a:cxn>
                <a:cxn ang="0">
                  <a:pos x="connsiteX3" y="connsiteY3"/>
                </a:cxn>
              </a:cxnLst>
              <a:rect l="l" t="t" r="r" b="b"/>
              <a:pathLst>
                <a:path w="399146" h="382140">
                  <a:moveTo>
                    <a:pt x="0" y="0"/>
                  </a:moveTo>
                  <a:lnTo>
                    <a:pt x="399147" y="0"/>
                  </a:lnTo>
                  <a:lnTo>
                    <a:pt x="399147" y="382141"/>
                  </a:lnTo>
                  <a:lnTo>
                    <a:pt x="0" y="382141"/>
                  </a:lnTo>
                  <a:close/>
                </a:path>
              </a:pathLst>
            </a:custGeom>
            <a:solidFill>
              <a:srgbClr val="EEAF00"/>
            </a:solidFill>
            <a:ln w="9508" cap="flat">
              <a:noFill/>
              <a:prstDash val="solid"/>
              <a:miter/>
            </a:ln>
          </p:spPr>
          <p:txBody>
            <a:bodyPr rtlCol="0" anchor="ctr"/>
            <a:lstStyle/>
            <a:p>
              <a:endParaRPr lang="es-ES_tradnl"/>
            </a:p>
          </p:txBody>
        </p:sp>
        <p:sp>
          <p:nvSpPr>
            <p:cNvPr id="25" name="Forma libre 24">
              <a:extLst>
                <a:ext uri="{FF2B5EF4-FFF2-40B4-BE49-F238E27FC236}">
                  <a16:creationId xmlns:a16="http://schemas.microsoft.com/office/drawing/2014/main" id="{9AC4C68F-5A7D-4CA5-9614-37F4B2BA7D9C}"/>
                </a:ext>
              </a:extLst>
            </p:cNvPr>
            <p:cNvSpPr/>
            <p:nvPr/>
          </p:nvSpPr>
          <p:spPr>
            <a:xfrm>
              <a:off x="7054068" y="-3518670"/>
              <a:ext cx="508203" cy="468960"/>
            </a:xfrm>
            <a:custGeom>
              <a:avLst/>
              <a:gdLst>
                <a:gd name="connsiteX0" fmla="*/ 508204 w 508203"/>
                <a:gd name="connsiteY0" fmla="*/ 165946 h 468960"/>
                <a:gd name="connsiteX1" fmla="*/ 275162 w 508203"/>
                <a:gd name="connsiteY1" fmla="*/ 0 h 468960"/>
                <a:gd name="connsiteX2" fmla="*/ 0 w 508203"/>
                <a:gd name="connsiteY2" fmla="*/ 284967 h 468960"/>
                <a:gd name="connsiteX3" fmla="*/ 206799 w 508203"/>
                <a:gd name="connsiteY3" fmla="*/ 468961 h 468960"/>
                <a:gd name="connsiteX4" fmla="*/ 508204 w 508203"/>
                <a:gd name="connsiteY4" fmla="*/ 468961 h 468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203" h="468960">
                  <a:moveTo>
                    <a:pt x="508204" y="165946"/>
                  </a:moveTo>
                  <a:cubicBezTo>
                    <a:pt x="419019" y="134694"/>
                    <a:pt x="344571" y="70957"/>
                    <a:pt x="275162" y="0"/>
                  </a:cubicBezTo>
                  <a:lnTo>
                    <a:pt x="0" y="284967"/>
                  </a:lnTo>
                  <a:cubicBezTo>
                    <a:pt x="43832" y="351459"/>
                    <a:pt x="117329" y="416147"/>
                    <a:pt x="206799" y="468961"/>
                  </a:cubicBezTo>
                  <a:lnTo>
                    <a:pt x="508204" y="468961"/>
                  </a:lnTo>
                  <a:close/>
                </a:path>
              </a:pathLst>
            </a:custGeom>
            <a:solidFill>
              <a:srgbClr val="EEAF00"/>
            </a:solidFill>
            <a:ln w="9508" cap="flat">
              <a:noFill/>
              <a:prstDash val="solid"/>
              <a:miter/>
            </a:ln>
          </p:spPr>
          <p:txBody>
            <a:bodyPr rtlCol="0" anchor="ctr"/>
            <a:lstStyle/>
            <a:p>
              <a:endParaRPr lang="es-ES_tradnl"/>
            </a:p>
          </p:txBody>
        </p:sp>
        <p:sp>
          <p:nvSpPr>
            <p:cNvPr id="26" name="Forma libre 25">
              <a:extLst>
                <a:ext uri="{FF2B5EF4-FFF2-40B4-BE49-F238E27FC236}">
                  <a16:creationId xmlns:a16="http://schemas.microsoft.com/office/drawing/2014/main" id="{D28EB660-7E74-4AA0-BD18-3CA33BD6FF4C}"/>
                </a:ext>
              </a:extLst>
            </p:cNvPr>
            <p:cNvSpPr/>
            <p:nvPr/>
          </p:nvSpPr>
          <p:spPr>
            <a:xfrm>
              <a:off x="7608100" y="-3959704"/>
              <a:ext cx="826722" cy="909994"/>
            </a:xfrm>
            <a:custGeom>
              <a:avLst/>
              <a:gdLst>
                <a:gd name="connsiteX0" fmla="*/ 826723 w 826722"/>
                <a:gd name="connsiteY0" fmla="*/ 393065 h 909994"/>
                <a:gd name="connsiteX1" fmla="*/ 693610 w 826722"/>
                <a:gd name="connsiteY1" fmla="*/ 0 h 909994"/>
                <a:gd name="connsiteX2" fmla="*/ 0 w 826722"/>
                <a:gd name="connsiteY2" fmla="*/ 0 h 909994"/>
                <a:gd name="connsiteX3" fmla="*/ 0 w 826722"/>
                <a:gd name="connsiteY3" fmla="*/ 146188 h 909994"/>
                <a:gd name="connsiteX4" fmla="*/ 95080 w 826722"/>
                <a:gd name="connsiteY4" fmla="*/ 130800 h 909994"/>
                <a:gd name="connsiteX5" fmla="*/ 352558 w 826722"/>
                <a:gd name="connsiteY5" fmla="*/ 375397 h 909994"/>
                <a:gd name="connsiteX6" fmla="*/ 74923 w 826722"/>
                <a:gd name="connsiteY6" fmla="*/ 627593 h 909994"/>
                <a:gd name="connsiteX7" fmla="*/ 380 w 826722"/>
                <a:gd name="connsiteY7" fmla="*/ 619899 h 909994"/>
                <a:gd name="connsiteX8" fmla="*/ 380 w 826722"/>
                <a:gd name="connsiteY8" fmla="*/ 909995 h 909994"/>
                <a:gd name="connsiteX9" fmla="*/ 528741 w 826722"/>
                <a:gd name="connsiteY9" fmla="*/ 909995 h 909994"/>
                <a:gd name="connsiteX10" fmla="*/ 826723 w 826722"/>
                <a:gd name="connsiteY10" fmla="*/ 393065 h 909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26722" h="909994">
                  <a:moveTo>
                    <a:pt x="826723" y="393065"/>
                  </a:moveTo>
                  <a:cubicBezTo>
                    <a:pt x="826723" y="229114"/>
                    <a:pt x="775189" y="97459"/>
                    <a:pt x="693610" y="0"/>
                  </a:cubicBezTo>
                  <a:lnTo>
                    <a:pt x="0" y="0"/>
                  </a:lnTo>
                  <a:lnTo>
                    <a:pt x="0" y="146188"/>
                  </a:lnTo>
                  <a:cubicBezTo>
                    <a:pt x="30587" y="135711"/>
                    <a:pt x="62743" y="130507"/>
                    <a:pt x="95080" y="130800"/>
                  </a:cubicBezTo>
                  <a:cubicBezTo>
                    <a:pt x="238937" y="130800"/>
                    <a:pt x="352558" y="241747"/>
                    <a:pt x="352558" y="375397"/>
                  </a:cubicBezTo>
                  <a:cubicBezTo>
                    <a:pt x="352558" y="521680"/>
                    <a:pt x="243976" y="627593"/>
                    <a:pt x="74923" y="627593"/>
                  </a:cubicBezTo>
                  <a:cubicBezTo>
                    <a:pt x="49879" y="627640"/>
                    <a:pt x="24892" y="625056"/>
                    <a:pt x="380" y="619899"/>
                  </a:cubicBezTo>
                  <a:lnTo>
                    <a:pt x="380" y="909995"/>
                  </a:lnTo>
                  <a:lnTo>
                    <a:pt x="528741" y="909995"/>
                  </a:lnTo>
                  <a:cubicBezTo>
                    <a:pt x="702453" y="805222"/>
                    <a:pt x="826723" y="632627"/>
                    <a:pt x="826723" y="393065"/>
                  </a:cubicBezTo>
                  <a:close/>
                </a:path>
              </a:pathLst>
            </a:custGeom>
            <a:solidFill>
              <a:srgbClr val="DF4F5D"/>
            </a:solidFill>
            <a:ln w="9508" cap="flat">
              <a:noFill/>
              <a:prstDash val="solid"/>
              <a:miter/>
            </a:ln>
          </p:spPr>
          <p:txBody>
            <a:bodyPr rtlCol="0" anchor="ctr"/>
            <a:lstStyle/>
            <a:p>
              <a:endParaRPr lang="es-ES_tradnl"/>
            </a:p>
          </p:txBody>
        </p:sp>
      </p:grpSp>
    </p:spTree>
    <p:extLst>
      <p:ext uri="{BB962C8B-B14F-4D97-AF65-F5344CB8AC3E}">
        <p14:creationId xmlns:p14="http://schemas.microsoft.com/office/powerpoint/2010/main" val="3090790357"/>
      </p:ext>
    </p:extLst>
  </p:cSld>
  <p:clrMap bg1="lt1" tx1="dk1" bg2="lt2" tx2="dk2" accent1="accent1" accent2="accent2" accent3="accent3" accent4="accent4" accent5="accent5" accent6="accent6" hlink="hlink" folHlink="folHlink"/>
  <p:sldLayoutIdLst>
    <p:sldLayoutId id="2147484171" r:id="rId1"/>
    <p:sldLayoutId id="2147484172"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 id="2147484182" r:id="rId11"/>
    <p:sldLayoutId id="2147484183" r:id="rId12"/>
    <p:sldLayoutId id="2147484184" r:id="rId13"/>
    <p:sldLayoutId id="2147484290"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ángulo 6">
            <a:extLst>
              <a:ext uri="{FF2B5EF4-FFF2-40B4-BE49-F238E27FC236}">
                <a16:creationId xmlns:a16="http://schemas.microsoft.com/office/drawing/2014/main" id="{4AF14978-7F7A-0411-CED1-F44C7EFA1C8A}"/>
              </a:ext>
            </a:extLst>
          </p:cNvPr>
          <p:cNvSpPr/>
          <p:nvPr userDrawn="1"/>
        </p:nvSpPr>
        <p:spPr>
          <a:xfrm>
            <a:off x="0" y="6579032"/>
            <a:ext cx="12192000" cy="278969"/>
          </a:xfrm>
          <a:prstGeom prst="rect">
            <a:avLst/>
          </a:prstGeom>
          <a:solidFill>
            <a:srgbClr val="494949"/>
          </a:solidFill>
          <a:ln w="12700" cap="flat" cmpd="sng" algn="ctr">
            <a:noFill/>
            <a:prstDash val="solid"/>
            <a:miter lim="800000"/>
          </a:ln>
          <a:effectLst/>
        </p:spPr>
        <p:txBody>
          <a:bodyPr rtlCol="0" anchor="ctr">
            <a:noAutofit/>
          </a:bodyPr>
          <a:lstStyle/>
          <a:p>
            <a:pPr marL="0" marR="0" lvl="0" indent="0" algn="ctr" defTabSz="914358"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 name="Forma libre 29">
            <a:extLst>
              <a:ext uri="{FF2B5EF4-FFF2-40B4-BE49-F238E27FC236}">
                <a16:creationId xmlns:a16="http://schemas.microsoft.com/office/drawing/2014/main" id="{2741E094-4DA4-4ECB-5BBF-D0F56E54B665}"/>
              </a:ext>
            </a:extLst>
          </p:cNvPr>
          <p:cNvSpPr/>
          <p:nvPr userDrawn="1"/>
        </p:nvSpPr>
        <p:spPr>
          <a:xfrm>
            <a:off x="245493" y="6652591"/>
            <a:ext cx="593292" cy="136990"/>
          </a:xfrm>
          <a:custGeom>
            <a:avLst/>
            <a:gdLst>
              <a:gd name="connsiteX0" fmla="*/ 1011174 w 2686908"/>
              <a:gd name="connsiteY0" fmla="*/ 285844 h 620404"/>
              <a:gd name="connsiteX1" fmla="*/ 954024 w 2686908"/>
              <a:gd name="connsiteY1" fmla="*/ 304874 h 620404"/>
              <a:gd name="connsiteX2" fmla="*/ 920591 w 2686908"/>
              <a:gd name="connsiteY2" fmla="*/ 312201 h 620404"/>
              <a:gd name="connsiteX3" fmla="*/ 882491 w 2686908"/>
              <a:gd name="connsiteY3" fmla="*/ 331232 h 620404"/>
              <a:gd name="connsiteX4" fmla="*/ 872299 w 2686908"/>
              <a:gd name="connsiteY4" fmla="*/ 363204 h 620404"/>
              <a:gd name="connsiteX5" fmla="*/ 885444 w 2686908"/>
              <a:gd name="connsiteY5" fmla="*/ 398125 h 620404"/>
              <a:gd name="connsiteX6" fmla="*/ 923544 w 2686908"/>
              <a:gd name="connsiteY6" fmla="*/ 409734 h 620404"/>
              <a:gd name="connsiteX7" fmla="*/ 1010793 w 2686908"/>
              <a:gd name="connsiteY7" fmla="*/ 336913 h 620404"/>
              <a:gd name="connsiteX8" fmla="*/ 1010793 w 2686908"/>
              <a:gd name="connsiteY8" fmla="*/ 322573 h 620404"/>
              <a:gd name="connsiteX9" fmla="*/ 1488471 w 2686908"/>
              <a:gd name="connsiteY9" fmla="*/ 169565 h 620404"/>
              <a:gd name="connsiteX10" fmla="*/ 1436083 w 2686908"/>
              <a:gd name="connsiteY10" fmla="*/ 189928 h 620404"/>
              <a:gd name="connsiteX11" fmla="*/ 1414271 w 2686908"/>
              <a:gd name="connsiteY11" fmla="*/ 248067 h 620404"/>
              <a:gd name="connsiteX12" fmla="*/ 1562671 w 2686908"/>
              <a:gd name="connsiteY12" fmla="*/ 248067 h 620404"/>
              <a:gd name="connsiteX13" fmla="*/ 1542287 w 2686908"/>
              <a:gd name="connsiteY13" fmla="*/ 189928 h 620404"/>
              <a:gd name="connsiteX14" fmla="*/ 1488471 w 2686908"/>
              <a:gd name="connsiteY14" fmla="*/ 169565 h 620404"/>
              <a:gd name="connsiteX15" fmla="*/ 1997106 w 2686908"/>
              <a:gd name="connsiteY15" fmla="*/ 94012 h 620404"/>
              <a:gd name="connsiteX16" fmla="*/ 2109120 w 2686908"/>
              <a:gd name="connsiteY16" fmla="*/ 94012 h 620404"/>
              <a:gd name="connsiteX17" fmla="*/ 2187606 w 2686908"/>
              <a:gd name="connsiteY17" fmla="*/ 367199 h 620404"/>
              <a:gd name="connsiteX18" fmla="*/ 2255995 w 2686908"/>
              <a:gd name="connsiteY18" fmla="*/ 129314 h 620404"/>
              <a:gd name="connsiteX19" fmla="*/ 2302573 w 2686908"/>
              <a:gd name="connsiteY19" fmla="*/ 94393 h 620404"/>
              <a:gd name="connsiteX20" fmla="*/ 2372296 w 2686908"/>
              <a:gd name="connsiteY20" fmla="*/ 94393 h 620404"/>
              <a:gd name="connsiteX21" fmla="*/ 2223992 w 2686908"/>
              <a:gd name="connsiteY21" fmla="*/ 534671 h 620404"/>
              <a:gd name="connsiteX22" fmla="*/ 2180367 w 2686908"/>
              <a:gd name="connsiteY22" fmla="*/ 602991 h 620404"/>
              <a:gd name="connsiteX23" fmla="*/ 2094642 w 2686908"/>
              <a:gd name="connsiteY23" fmla="*/ 620404 h 620404"/>
              <a:gd name="connsiteX24" fmla="*/ 2085117 w 2686908"/>
              <a:gd name="connsiteY24" fmla="*/ 620404 h 620404"/>
              <a:gd name="connsiteX25" fmla="*/ 2051875 w 2686908"/>
              <a:gd name="connsiteY25" fmla="*/ 619643 h 620404"/>
              <a:gd name="connsiteX26" fmla="*/ 2051875 w 2686908"/>
              <a:gd name="connsiteY26" fmla="*/ 537430 h 620404"/>
              <a:gd name="connsiteX27" fmla="*/ 2079497 w 2686908"/>
              <a:gd name="connsiteY27" fmla="*/ 537430 h 620404"/>
              <a:gd name="connsiteX28" fmla="*/ 2125313 w 2686908"/>
              <a:gd name="connsiteY28" fmla="*/ 523728 h 620404"/>
              <a:gd name="connsiteX29" fmla="*/ 2131885 w 2686908"/>
              <a:gd name="connsiteY29" fmla="*/ 479386 h 620404"/>
              <a:gd name="connsiteX30" fmla="*/ 754856 w 2686908"/>
              <a:gd name="connsiteY30" fmla="*/ 93822 h 620404"/>
              <a:gd name="connsiteX31" fmla="*/ 769334 w 2686908"/>
              <a:gd name="connsiteY31" fmla="*/ 93822 h 620404"/>
              <a:gd name="connsiteX32" fmla="*/ 769334 w 2686908"/>
              <a:gd name="connsiteY32" fmla="*/ 196969 h 620404"/>
              <a:gd name="connsiteX33" fmla="*/ 735902 w 2686908"/>
              <a:gd name="connsiteY33" fmla="*/ 196969 h 620404"/>
              <a:gd name="connsiteX34" fmla="*/ 673418 w 2686908"/>
              <a:gd name="connsiteY34" fmla="*/ 217332 h 620404"/>
              <a:gd name="connsiteX35" fmla="*/ 653034 w 2686908"/>
              <a:gd name="connsiteY35" fmla="*/ 281276 h 620404"/>
              <a:gd name="connsiteX36" fmla="*/ 653034 w 2686908"/>
              <a:gd name="connsiteY36" fmla="*/ 480338 h 620404"/>
              <a:gd name="connsiteX37" fmla="*/ 551402 w 2686908"/>
              <a:gd name="connsiteY37" fmla="*/ 480338 h 620404"/>
              <a:gd name="connsiteX38" fmla="*/ 551402 w 2686908"/>
              <a:gd name="connsiteY38" fmla="*/ 292884 h 620404"/>
              <a:gd name="connsiteX39" fmla="*/ 568070 w 2686908"/>
              <a:gd name="connsiteY39" fmla="*/ 197730 h 620404"/>
              <a:gd name="connsiteX40" fmla="*/ 613886 w 2686908"/>
              <a:gd name="connsiteY40" fmla="*/ 135975 h 620404"/>
              <a:gd name="connsiteX41" fmla="*/ 678656 w 2686908"/>
              <a:gd name="connsiteY41" fmla="*/ 104003 h 620404"/>
              <a:gd name="connsiteX42" fmla="*/ 754856 w 2686908"/>
              <a:gd name="connsiteY42" fmla="*/ 93822 h 620404"/>
              <a:gd name="connsiteX43" fmla="*/ 2507646 w 2686908"/>
              <a:gd name="connsiteY43" fmla="*/ 85354 h 620404"/>
              <a:gd name="connsiteX44" fmla="*/ 2628424 w 2686908"/>
              <a:gd name="connsiteY44" fmla="*/ 118753 h 620404"/>
              <a:gd name="connsiteX45" fmla="*/ 2673477 w 2686908"/>
              <a:gd name="connsiteY45" fmla="*/ 213146 h 620404"/>
              <a:gd name="connsiteX46" fmla="*/ 2610898 w 2686908"/>
              <a:gd name="connsiteY46" fmla="*/ 213146 h 620404"/>
              <a:gd name="connsiteX47" fmla="*/ 2568797 w 2686908"/>
              <a:gd name="connsiteY47" fmla="*/ 188501 h 620404"/>
              <a:gd name="connsiteX48" fmla="*/ 2557081 w 2686908"/>
              <a:gd name="connsiteY48" fmla="*/ 176892 h 620404"/>
              <a:gd name="connsiteX49" fmla="*/ 2509456 w 2686908"/>
              <a:gd name="connsiteY49" fmla="*/ 163761 h 620404"/>
              <a:gd name="connsiteX50" fmla="*/ 2465737 w 2686908"/>
              <a:gd name="connsiteY50" fmla="*/ 172515 h 620404"/>
              <a:gd name="connsiteX51" fmla="*/ 2452687 w 2686908"/>
              <a:gd name="connsiteY51" fmla="*/ 198682 h 620404"/>
              <a:gd name="connsiteX52" fmla="*/ 2528316 w 2686908"/>
              <a:gd name="connsiteY52" fmla="*/ 237886 h 620404"/>
              <a:gd name="connsiteX53" fmla="*/ 2543556 w 2686908"/>
              <a:gd name="connsiteY53" fmla="*/ 242263 h 620404"/>
              <a:gd name="connsiteX54" fmla="*/ 2555938 w 2686908"/>
              <a:gd name="connsiteY54" fmla="*/ 243690 h 620404"/>
              <a:gd name="connsiteX55" fmla="*/ 2659189 w 2686908"/>
              <a:gd name="connsiteY55" fmla="*/ 287271 h 620404"/>
              <a:gd name="connsiteX56" fmla="*/ 2686811 w 2686908"/>
              <a:gd name="connsiteY56" fmla="*/ 357019 h 620404"/>
              <a:gd name="connsiteX57" fmla="*/ 2640330 w 2686908"/>
              <a:gd name="connsiteY57" fmla="*/ 455789 h 620404"/>
              <a:gd name="connsiteX58" fmla="*/ 2509456 w 2686908"/>
              <a:gd name="connsiteY58" fmla="*/ 487761 h 620404"/>
              <a:gd name="connsiteX59" fmla="*/ 2385631 w 2686908"/>
              <a:gd name="connsiteY59" fmla="*/ 454361 h 620404"/>
              <a:gd name="connsiteX60" fmla="*/ 2343435 w 2686908"/>
              <a:gd name="connsiteY60" fmla="*/ 357019 h 620404"/>
              <a:gd name="connsiteX61" fmla="*/ 2343340 w 2686908"/>
              <a:gd name="connsiteY61" fmla="*/ 352642 h 620404"/>
              <a:gd name="connsiteX62" fmla="*/ 2442210 w 2686908"/>
              <a:gd name="connsiteY62" fmla="*/ 352642 h 620404"/>
              <a:gd name="connsiteX63" fmla="*/ 2464022 w 2686908"/>
              <a:gd name="connsiteY63" fmla="*/ 396222 h 620404"/>
              <a:gd name="connsiteX64" fmla="*/ 2522220 w 2686908"/>
              <a:gd name="connsiteY64" fmla="*/ 410781 h 620404"/>
              <a:gd name="connsiteX65" fmla="*/ 2567273 w 2686908"/>
              <a:gd name="connsiteY65" fmla="*/ 400599 h 620404"/>
              <a:gd name="connsiteX66" fmla="*/ 2584799 w 2686908"/>
              <a:gd name="connsiteY66" fmla="*/ 373005 h 620404"/>
              <a:gd name="connsiteX67" fmla="*/ 2523649 w 2686908"/>
              <a:gd name="connsiteY67" fmla="*/ 333801 h 620404"/>
              <a:gd name="connsiteX68" fmla="*/ 2484405 w 2686908"/>
              <a:gd name="connsiteY68" fmla="*/ 325047 h 620404"/>
              <a:gd name="connsiteX69" fmla="*/ 2381155 w 2686908"/>
              <a:gd name="connsiteY69" fmla="*/ 280039 h 620404"/>
              <a:gd name="connsiteX70" fmla="*/ 2352008 w 2686908"/>
              <a:gd name="connsiteY70" fmla="*/ 210291 h 620404"/>
              <a:gd name="connsiteX71" fmla="*/ 2394204 w 2686908"/>
              <a:gd name="connsiteY71" fmla="*/ 118753 h 620404"/>
              <a:gd name="connsiteX72" fmla="*/ 2507646 w 2686908"/>
              <a:gd name="connsiteY72" fmla="*/ 85354 h 620404"/>
              <a:gd name="connsiteX73" fmla="*/ 1838991 w 2686908"/>
              <a:gd name="connsiteY73" fmla="*/ 85354 h 620404"/>
              <a:gd name="connsiteX74" fmla="*/ 1959673 w 2686908"/>
              <a:gd name="connsiteY74" fmla="*/ 118753 h 620404"/>
              <a:gd name="connsiteX75" fmla="*/ 2004821 w 2686908"/>
              <a:gd name="connsiteY75" fmla="*/ 213146 h 620404"/>
              <a:gd name="connsiteX76" fmla="*/ 1942242 w 2686908"/>
              <a:gd name="connsiteY76" fmla="*/ 213146 h 620404"/>
              <a:gd name="connsiteX77" fmla="*/ 1900046 w 2686908"/>
              <a:gd name="connsiteY77" fmla="*/ 188501 h 620404"/>
              <a:gd name="connsiteX78" fmla="*/ 1888426 w 2686908"/>
              <a:gd name="connsiteY78" fmla="*/ 176892 h 620404"/>
              <a:gd name="connsiteX79" fmla="*/ 1840801 w 2686908"/>
              <a:gd name="connsiteY79" fmla="*/ 163761 h 620404"/>
              <a:gd name="connsiteX80" fmla="*/ 1797176 w 2686908"/>
              <a:gd name="connsiteY80" fmla="*/ 172515 h 620404"/>
              <a:gd name="connsiteX81" fmla="*/ 1784127 w 2686908"/>
              <a:gd name="connsiteY81" fmla="*/ 198682 h 620404"/>
              <a:gd name="connsiteX82" fmla="*/ 1859756 w 2686908"/>
              <a:gd name="connsiteY82" fmla="*/ 237886 h 620404"/>
              <a:gd name="connsiteX83" fmla="*/ 1874995 w 2686908"/>
              <a:gd name="connsiteY83" fmla="*/ 242263 h 620404"/>
              <a:gd name="connsiteX84" fmla="*/ 1887378 w 2686908"/>
              <a:gd name="connsiteY84" fmla="*/ 243690 h 620404"/>
              <a:gd name="connsiteX85" fmla="*/ 1990629 w 2686908"/>
              <a:gd name="connsiteY85" fmla="*/ 287271 h 620404"/>
              <a:gd name="connsiteX86" fmla="*/ 2018251 w 2686908"/>
              <a:gd name="connsiteY86" fmla="*/ 357019 h 620404"/>
              <a:gd name="connsiteX87" fmla="*/ 1971770 w 2686908"/>
              <a:gd name="connsiteY87" fmla="*/ 455789 h 620404"/>
              <a:gd name="connsiteX88" fmla="*/ 1840801 w 2686908"/>
              <a:gd name="connsiteY88" fmla="*/ 487761 h 620404"/>
              <a:gd name="connsiteX89" fmla="*/ 1716976 w 2686908"/>
              <a:gd name="connsiteY89" fmla="*/ 454361 h 620404"/>
              <a:gd name="connsiteX90" fmla="*/ 1674685 w 2686908"/>
              <a:gd name="connsiteY90" fmla="*/ 356638 h 620404"/>
              <a:gd name="connsiteX91" fmla="*/ 1674685 w 2686908"/>
              <a:gd name="connsiteY91" fmla="*/ 352642 h 620404"/>
              <a:gd name="connsiteX92" fmla="*/ 1773555 w 2686908"/>
              <a:gd name="connsiteY92" fmla="*/ 352642 h 620404"/>
              <a:gd name="connsiteX93" fmla="*/ 1795367 w 2686908"/>
              <a:gd name="connsiteY93" fmla="*/ 396222 h 620404"/>
              <a:gd name="connsiteX94" fmla="*/ 1853564 w 2686908"/>
              <a:gd name="connsiteY94" fmla="*/ 410781 h 620404"/>
              <a:gd name="connsiteX95" fmla="*/ 1898617 w 2686908"/>
              <a:gd name="connsiteY95" fmla="*/ 400599 h 620404"/>
              <a:gd name="connsiteX96" fmla="*/ 1916048 w 2686908"/>
              <a:gd name="connsiteY96" fmla="*/ 373005 h 620404"/>
              <a:gd name="connsiteX97" fmla="*/ 1854993 w 2686908"/>
              <a:gd name="connsiteY97" fmla="*/ 333801 h 620404"/>
              <a:gd name="connsiteX98" fmla="*/ 1815750 w 2686908"/>
              <a:gd name="connsiteY98" fmla="*/ 325047 h 620404"/>
              <a:gd name="connsiteX99" fmla="*/ 1712499 w 2686908"/>
              <a:gd name="connsiteY99" fmla="*/ 280039 h 620404"/>
              <a:gd name="connsiteX100" fmla="*/ 1683352 w 2686908"/>
              <a:gd name="connsiteY100" fmla="*/ 210291 h 620404"/>
              <a:gd name="connsiteX101" fmla="*/ 1725548 w 2686908"/>
              <a:gd name="connsiteY101" fmla="*/ 118753 h 620404"/>
              <a:gd name="connsiteX102" fmla="*/ 1838991 w 2686908"/>
              <a:gd name="connsiteY102" fmla="*/ 85354 h 620404"/>
              <a:gd name="connsiteX103" fmla="*/ 1485804 w 2686908"/>
              <a:gd name="connsiteY103" fmla="*/ 85354 h 620404"/>
              <a:gd name="connsiteX104" fmla="*/ 1621155 w 2686908"/>
              <a:gd name="connsiteY104" fmla="*/ 137593 h 620404"/>
              <a:gd name="connsiteX105" fmla="*/ 1667636 w 2686908"/>
              <a:gd name="connsiteY105" fmla="*/ 287271 h 620404"/>
              <a:gd name="connsiteX106" fmla="*/ 1667636 w 2686908"/>
              <a:gd name="connsiteY106" fmla="*/ 303257 h 620404"/>
              <a:gd name="connsiteX107" fmla="*/ 1666208 w 2686908"/>
              <a:gd name="connsiteY107" fmla="*/ 313438 h 620404"/>
              <a:gd name="connsiteX108" fmla="*/ 1414271 w 2686908"/>
              <a:gd name="connsiteY108" fmla="*/ 313438 h 620404"/>
              <a:gd name="connsiteX109" fmla="*/ 1436083 w 2686908"/>
              <a:gd name="connsiteY109" fmla="*/ 380046 h 620404"/>
              <a:gd name="connsiteX110" fmla="*/ 1493233 w 2686908"/>
              <a:gd name="connsiteY110" fmla="*/ 403359 h 620404"/>
              <a:gd name="connsiteX111" fmla="*/ 1535430 w 2686908"/>
              <a:gd name="connsiteY111" fmla="*/ 393177 h 620404"/>
              <a:gd name="connsiteX112" fmla="*/ 1543430 w 2686908"/>
              <a:gd name="connsiteY112" fmla="*/ 388039 h 620404"/>
              <a:gd name="connsiteX113" fmla="*/ 1551431 w 2686908"/>
              <a:gd name="connsiteY113" fmla="*/ 380046 h 620404"/>
              <a:gd name="connsiteX114" fmla="*/ 1562290 w 2686908"/>
              <a:gd name="connsiteY114" fmla="*/ 368437 h 620404"/>
              <a:gd name="connsiteX115" fmla="*/ 1588865 w 2686908"/>
              <a:gd name="connsiteY115" fmla="*/ 361396 h 620404"/>
              <a:gd name="connsiteX116" fmla="*/ 1661540 w 2686908"/>
              <a:gd name="connsiteY116" fmla="*/ 361396 h 620404"/>
              <a:gd name="connsiteX117" fmla="*/ 1600485 w 2686908"/>
              <a:gd name="connsiteY117" fmla="*/ 454361 h 620404"/>
              <a:gd name="connsiteX118" fmla="*/ 1487042 w 2686908"/>
              <a:gd name="connsiteY118" fmla="*/ 487761 h 620404"/>
              <a:gd name="connsiteX119" fmla="*/ 1357597 w 2686908"/>
              <a:gd name="connsiteY119" fmla="*/ 433999 h 620404"/>
              <a:gd name="connsiteX120" fmla="*/ 1311306 w 2686908"/>
              <a:gd name="connsiteY120" fmla="*/ 284416 h 620404"/>
              <a:gd name="connsiteX121" fmla="*/ 1356454 w 2686908"/>
              <a:gd name="connsiteY121" fmla="*/ 139116 h 620404"/>
              <a:gd name="connsiteX122" fmla="*/ 1485804 w 2686908"/>
              <a:gd name="connsiteY122" fmla="*/ 85354 h 620404"/>
              <a:gd name="connsiteX123" fmla="*/ 941355 w 2686908"/>
              <a:gd name="connsiteY123" fmla="*/ 85354 h 620404"/>
              <a:gd name="connsiteX124" fmla="*/ 1063561 w 2686908"/>
              <a:gd name="connsiteY124" fmla="*/ 112949 h 620404"/>
              <a:gd name="connsiteX125" fmla="*/ 1105662 w 2686908"/>
              <a:gd name="connsiteY125" fmla="*/ 194305 h 620404"/>
              <a:gd name="connsiteX126" fmla="*/ 1105662 w 2686908"/>
              <a:gd name="connsiteY126" fmla="*/ 326474 h 620404"/>
              <a:gd name="connsiteX127" fmla="*/ 1084612 w 2686908"/>
              <a:gd name="connsiteY127" fmla="*/ 417347 h 620404"/>
              <a:gd name="connsiteX128" fmla="*/ 1034415 w 2686908"/>
              <a:gd name="connsiteY128" fmla="*/ 464543 h 620404"/>
              <a:gd name="connsiteX129" fmla="*/ 969740 w 2686908"/>
              <a:gd name="connsiteY129" fmla="*/ 484145 h 620404"/>
              <a:gd name="connsiteX130" fmla="*/ 909351 w 2686908"/>
              <a:gd name="connsiteY130" fmla="*/ 487761 h 620404"/>
              <a:gd name="connsiteX131" fmla="*/ 817721 w 2686908"/>
              <a:gd name="connsiteY131" fmla="*/ 459214 h 620404"/>
              <a:gd name="connsiteX132" fmla="*/ 778478 w 2686908"/>
              <a:gd name="connsiteY132" fmla="*/ 365488 h 620404"/>
              <a:gd name="connsiteX133" fmla="*/ 814101 w 2686908"/>
              <a:gd name="connsiteY133" fmla="*/ 278326 h 620404"/>
              <a:gd name="connsiteX134" fmla="*/ 904970 w 2686908"/>
              <a:gd name="connsiteY134" fmla="*/ 243405 h 620404"/>
              <a:gd name="connsiteX135" fmla="*/ 922496 w 2686908"/>
              <a:gd name="connsiteY135" fmla="*/ 241216 h 620404"/>
              <a:gd name="connsiteX136" fmla="*/ 945737 w 2686908"/>
              <a:gd name="connsiteY136" fmla="*/ 237601 h 620404"/>
              <a:gd name="connsiteX137" fmla="*/ 1009745 w 2686908"/>
              <a:gd name="connsiteY137" fmla="*/ 199539 h 620404"/>
              <a:gd name="connsiteX138" fmla="*/ 987171 w 2686908"/>
              <a:gd name="connsiteY138" fmla="*/ 170993 h 620404"/>
              <a:gd name="connsiteX139" fmla="*/ 945737 w 2686908"/>
              <a:gd name="connsiteY139" fmla="*/ 164427 h 620404"/>
              <a:gd name="connsiteX140" fmla="*/ 909351 w 2686908"/>
              <a:gd name="connsiteY140" fmla="*/ 170327 h 620404"/>
              <a:gd name="connsiteX141" fmla="*/ 886110 w 2686908"/>
              <a:gd name="connsiteY141" fmla="*/ 192117 h 620404"/>
              <a:gd name="connsiteX142" fmla="*/ 788670 w 2686908"/>
              <a:gd name="connsiteY142" fmla="*/ 192117 h 620404"/>
              <a:gd name="connsiteX143" fmla="*/ 829342 w 2686908"/>
              <a:gd name="connsiteY143" fmla="*/ 118753 h 620404"/>
              <a:gd name="connsiteX144" fmla="*/ 941355 w 2686908"/>
              <a:gd name="connsiteY144" fmla="*/ 85354 h 620404"/>
              <a:gd name="connsiteX145" fmla="*/ 164402 w 2686908"/>
              <a:gd name="connsiteY145" fmla="*/ 85354 h 620404"/>
              <a:gd name="connsiteX146" fmla="*/ 285083 w 2686908"/>
              <a:gd name="connsiteY146" fmla="*/ 118753 h 620404"/>
              <a:gd name="connsiteX147" fmla="*/ 330232 w 2686908"/>
              <a:gd name="connsiteY147" fmla="*/ 213146 h 620404"/>
              <a:gd name="connsiteX148" fmla="*/ 267653 w 2686908"/>
              <a:gd name="connsiteY148" fmla="*/ 213146 h 620404"/>
              <a:gd name="connsiteX149" fmla="*/ 225457 w 2686908"/>
              <a:gd name="connsiteY149" fmla="*/ 188501 h 620404"/>
              <a:gd name="connsiteX150" fmla="*/ 213836 w 2686908"/>
              <a:gd name="connsiteY150" fmla="*/ 176892 h 620404"/>
              <a:gd name="connsiteX151" fmla="*/ 166211 w 2686908"/>
              <a:gd name="connsiteY151" fmla="*/ 163761 h 620404"/>
              <a:gd name="connsiteX152" fmla="*/ 122587 w 2686908"/>
              <a:gd name="connsiteY152" fmla="*/ 172515 h 620404"/>
              <a:gd name="connsiteX153" fmla="*/ 109538 w 2686908"/>
              <a:gd name="connsiteY153" fmla="*/ 198682 h 620404"/>
              <a:gd name="connsiteX154" fmla="*/ 185166 w 2686908"/>
              <a:gd name="connsiteY154" fmla="*/ 237886 h 620404"/>
              <a:gd name="connsiteX155" fmla="*/ 200406 w 2686908"/>
              <a:gd name="connsiteY155" fmla="*/ 242263 h 620404"/>
              <a:gd name="connsiteX156" fmla="*/ 212789 w 2686908"/>
              <a:gd name="connsiteY156" fmla="*/ 243690 h 620404"/>
              <a:gd name="connsiteX157" fmla="*/ 316040 w 2686908"/>
              <a:gd name="connsiteY157" fmla="*/ 287271 h 620404"/>
              <a:gd name="connsiteX158" fmla="*/ 343662 w 2686908"/>
              <a:gd name="connsiteY158" fmla="*/ 357019 h 620404"/>
              <a:gd name="connsiteX159" fmla="*/ 297085 w 2686908"/>
              <a:gd name="connsiteY159" fmla="*/ 455789 h 620404"/>
              <a:gd name="connsiteX160" fmla="*/ 166211 w 2686908"/>
              <a:gd name="connsiteY160" fmla="*/ 487761 h 620404"/>
              <a:gd name="connsiteX161" fmla="*/ 42386 w 2686908"/>
              <a:gd name="connsiteY161" fmla="*/ 454361 h 620404"/>
              <a:gd name="connsiteX162" fmla="*/ 0 w 2686908"/>
              <a:gd name="connsiteY162" fmla="*/ 356638 h 620404"/>
              <a:gd name="connsiteX163" fmla="*/ 0 w 2686908"/>
              <a:gd name="connsiteY163" fmla="*/ 352642 h 620404"/>
              <a:gd name="connsiteX164" fmla="*/ 98965 w 2686908"/>
              <a:gd name="connsiteY164" fmla="*/ 352642 h 620404"/>
              <a:gd name="connsiteX165" fmla="*/ 120777 w 2686908"/>
              <a:gd name="connsiteY165" fmla="*/ 396222 h 620404"/>
              <a:gd name="connsiteX166" fmla="*/ 178975 w 2686908"/>
              <a:gd name="connsiteY166" fmla="*/ 410781 h 620404"/>
              <a:gd name="connsiteX167" fmla="*/ 224028 w 2686908"/>
              <a:gd name="connsiteY167" fmla="*/ 400599 h 620404"/>
              <a:gd name="connsiteX168" fmla="*/ 241459 w 2686908"/>
              <a:gd name="connsiteY168" fmla="*/ 373005 h 620404"/>
              <a:gd name="connsiteX169" fmla="*/ 180404 w 2686908"/>
              <a:gd name="connsiteY169" fmla="*/ 333801 h 620404"/>
              <a:gd name="connsiteX170" fmla="*/ 141161 w 2686908"/>
              <a:gd name="connsiteY170" fmla="*/ 325047 h 620404"/>
              <a:gd name="connsiteX171" fmla="*/ 37814 w 2686908"/>
              <a:gd name="connsiteY171" fmla="*/ 280039 h 620404"/>
              <a:gd name="connsiteX172" fmla="*/ 8763 w 2686908"/>
              <a:gd name="connsiteY172" fmla="*/ 210291 h 620404"/>
              <a:gd name="connsiteX173" fmla="*/ 50959 w 2686908"/>
              <a:gd name="connsiteY173" fmla="*/ 118753 h 620404"/>
              <a:gd name="connsiteX174" fmla="*/ 164402 w 2686908"/>
              <a:gd name="connsiteY174" fmla="*/ 85354 h 620404"/>
              <a:gd name="connsiteX175" fmla="*/ 1129760 w 2686908"/>
              <a:gd name="connsiteY175" fmla="*/ 0 h 620404"/>
              <a:gd name="connsiteX176" fmla="*/ 1228058 w 2686908"/>
              <a:gd name="connsiteY176" fmla="*/ 0 h 620404"/>
              <a:gd name="connsiteX177" fmla="*/ 1228058 w 2686908"/>
              <a:gd name="connsiteY177" fmla="*/ 97438 h 620404"/>
              <a:gd name="connsiteX178" fmla="*/ 1297305 w 2686908"/>
              <a:gd name="connsiteY178" fmla="*/ 97438 h 620404"/>
              <a:gd name="connsiteX179" fmla="*/ 1297305 w 2686908"/>
              <a:gd name="connsiteY179" fmla="*/ 184409 h 620404"/>
              <a:gd name="connsiteX180" fmla="*/ 1228058 w 2686908"/>
              <a:gd name="connsiteY180" fmla="*/ 184409 h 620404"/>
              <a:gd name="connsiteX181" fmla="*/ 1228058 w 2686908"/>
              <a:gd name="connsiteY181" fmla="*/ 319813 h 620404"/>
              <a:gd name="connsiteX182" fmla="*/ 1246250 w 2686908"/>
              <a:gd name="connsiteY182" fmla="*/ 376334 h 620404"/>
              <a:gd name="connsiteX183" fmla="*/ 1301781 w 2686908"/>
              <a:gd name="connsiteY183" fmla="*/ 390512 h 620404"/>
              <a:gd name="connsiteX184" fmla="*/ 1301781 w 2686908"/>
              <a:gd name="connsiteY184" fmla="*/ 479767 h 620404"/>
              <a:gd name="connsiteX185" fmla="*/ 1227295 w 2686908"/>
              <a:gd name="connsiteY185" fmla="*/ 474534 h 620404"/>
              <a:gd name="connsiteX186" fmla="*/ 1173670 w 2686908"/>
              <a:gd name="connsiteY186" fmla="*/ 443323 h 620404"/>
              <a:gd name="connsiteX187" fmla="*/ 1140904 w 2686908"/>
              <a:gd name="connsiteY187" fmla="*/ 390132 h 620404"/>
              <a:gd name="connsiteX188" fmla="*/ 1129760 w 2686908"/>
              <a:gd name="connsiteY188" fmla="*/ 319052 h 620404"/>
              <a:gd name="connsiteX189" fmla="*/ 361474 w 2686908"/>
              <a:gd name="connsiteY189" fmla="*/ 0 h 620404"/>
              <a:gd name="connsiteX190" fmla="*/ 459772 w 2686908"/>
              <a:gd name="connsiteY190" fmla="*/ 0 h 620404"/>
              <a:gd name="connsiteX191" fmla="*/ 459772 w 2686908"/>
              <a:gd name="connsiteY191" fmla="*/ 97438 h 620404"/>
              <a:gd name="connsiteX192" fmla="*/ 529019 w 2686908"/>
              <a:gd name="connsiteY192" fmla="*/ 97438 h 620404"/>
              <a:gd name="connsiteX193" fmla="*/ 529019 w 2686908"/>
              <a:gd name="connsiteY193" fmla="*/ 184409 h 620404"/>
              <a:gd name="connsiteX194" fmla="*/ 459772 w 2686908"/>
              <a:gd name="connsiteY194" fmla="*/ 184409 h 620404"/>
              <a:gd name="connsiteX195" fmla="*/ 459772 w 2686908"/>
              <a:gd name="connsiteY195" fmla="*/ 319813 h 620404"/>
              <a:gd name="connsiteX196" fmla="*/ 478060 w 2686908"/>
              <a:gd name="connsiteY196" fmla="*/ 376334 h 620404"/>
              <a:gd name="connsiteX197" fmla="*/ 533496 w 2686908"/>
              <a:gd name="connsiteY197" fmla="*/ 390512 h 620404"/>
              <a:gd name="connsiteX198" fmla="*/ 533496 w 2686908"/>
              <a:gd name="connsiteY198" fmla="*/ 479767 h 620404"/>
              <a:gd name="connsiteX199" fmla="*/ 459010 w 2686908"/>
              <a:gd name="connsiteY199" fmla="*/ 474534 h 620404"/>
              <a:gd name="connsiteX200" fmla="*/ 405479 w 2686908"/>
              <a:gd name="connsiteY200" fmla="*/ 443323 h 620404"/>
              <a:gd name="connsiteX201" fmla="*/ 372713 w 2686908"/>
              <a:gd name="connsiteY201" fmla="*/ 390132 h 620404"/>
              <a:gd name="connsiteX202" fmla="*/ 361474 w 2686908"/>
              <a:gd name="connsiteY202" fmla="*/ 319052 h 620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2686908" h="620404">
                <a:moveTo>
                  <a:pt x="1011174" y="285844"/>
                </a:moveTo>
                <a:cubicBezTo>
                  <a:pt x="992876" y="294246"/>
                  <a:pt x="973712" y="300631"/>
                  <a:pt x="954024" y="304874"/>
                </a:cubicBezTo>
                <a:lnTo>
                  <a:pt x="920591" y="312201"/>
                </a:lnTo>
                <a:cubicBezTo>
                  <a:pt x="906503" y="315284"/>
                  <a:pt x="893406" y="321821"/>
                  <a:pt x="882491" y="331232"/>
                </a:cubicBezTo>
                <a:cubicBezTo>
                  <a:pt x="876090" y="340690"/>
                  <a:pt x="872547" y="351785"/>
                  <a:pt x="872299" y="363204"/>
                </a:cubicBezTo>
                <a:cubicBezTo>
                  <a:pt x="871737" y="376145"/>
                  <a:pt x="876481" y="388762"/>
                  <a:pt x="885444" y="398125"/>
                </a:cubicBezTo>
                <a:cubicBezTo>
                  <a:pt x="896255" y="406594"/>
                  <a:pt x="909837" y="410733"/>
                  <a:pt x="923544" y="409734"/>
                </a:cubicBezTo>
                <a:cubicBezTo>
                  <a:pt x="967768" y="413693"/>
                  <a:pt x="1006830" y="381093"/>
                  <a:pt x="1010793" y="336913"/>
                </a:cubicBezTo>
                <a:cubicBezTo>
                  <a:pt x="1011221" y="332146"/>
                  <a:pt x="1011221" y="327340"/>
                  <a:pt x="1010793" y="322573"/>
                </a:cubicBezTo>
                <a:close/>
                <a:moveTo>
                  <a:pt x="1488471" y="169565"/>
                </a:moveTo>
                <a:cubicBezTo>
                  <a:pt x="1468955" y="168890"/>
                  <a:pt x="1450009" y="176255"/>
                  <a:pt x="1436083" y="189928"/>
                </a:cubicBezTo>
                <a:cubicBezTo>
                  <a:pt x="1421615" y="205790"/>
                  <a:pt x="1413804" y="226610"/>
                  <a:pt x="1414271" y="248067"/>
                </a:cubicBezTo>
                <a:lnTo>
                  <a:pt x="1562671" y="248067"/>
                </a:lnTo>
                <a:cubicBezTo>
                  <a:pt x="1560642" y="221929"/>
                  <a:pt x="1553841" y="202555"/>
                  <a:pt x="1542287" y="189928"/>
                </a:cubicBezTo>
                <a:cubicBezTo>
                  <a:pt x="1528095" y="175750"/>
                  <a:pt x="1508502" y="168338"/>
                  <a:pt x="1488471" y="169565"/>
                </a:cubicBezTo>
                <a:close/>
                <a:moveTo>
                  <a:pt x="1997106" y="94012"/>
                </a:moveTo>
                <a:lnTo>
                  <a:pt x="2109120" y="94012"/>
                </a:lnTo>
                <a:lnTo>
                  <a:pt x="2187606" y="367199"/>
                </a:lnTo>
                <a:lnTo>
                  <a:pt x="2255995" y="129314"/>
                </a:lnTo>
                <a:cubicBezTo>
                  <a:pt x="2261835" y="106030"/>
                  <a:pt x="2277360" y="94393"/>
                  <a:pt x="2302573" y="94393"/>
                </a:cubicBezTo>
                <a:lnTo>
                  <a:pt x="2372296" y="94393"/>
                </a:lnTo>
                <a:lnTo>
                  <a:pt x="2223992" y="534671"/>
                </a:lnTo>
                <a:cubicBezTo>
                  <a:pt x="2212371" y="566385"/>
                  <a:pt x="2197826" y="589165"/>
                  <a:pt x="2180367" y="602991"/>
                </a:cubicBezTo>
                <a:cubicBezTo>
                  <a:pt x="2162936" y="614600"/>
                  <a:pt x="2134266" y="620404"/>
                  <a:pt x="2094642" y="620404"/>
                </a:cubicBezTo>
                <a:lnTo>
                  <a:pt x="2085117" y="620404"/>
                </a:lnTo>
                <a:lnTo>
                  <a:pt x="2051875" y="619643"/>
                </a:lnTo>
                <a:lnTo>
                  <a:pt x="2051875" y="537430"/>
                </a:lnTo>
                <a:lnTo>
                  <a:pt x="2079497" y="537430"/>
                </a:lnTo>
                <a:cubicBezTo>
                  <a:pt x="2095909" y="538372"/>
                  <a:pt x="2112120" y="533519"/>
                  <a:pt x="2125313" y="523728"/>
                </a:cubicBezTo>
                <a:cubicBezTo>
                  <a:pt x="2136428" y="514526"/>
                  <a:pt x="2138619" y="499749"/>
                  <a:pt x="2131885" y="479386"/>
                </a:cubicBezTo>
                <a:close/>
                <a:moveTo>
                  <a:pt x="754856" y="93822"/>
                </a:moveTo>
                <a:lnTo>
                  <a:pt x="769334" y="93822"/>
                </a:lnTo>
                <a:lnTo>
                  <a:pt x="769334" y="196969"/>
                </a:lnTo>
                <a:lnTo>
                  <a:pt x="735902" y="196969"/>
                </a:lnTo>
                <a:cubicBezTo>
                  <a:pt x="707327" y="196969"/>
                  <a:pt x="686943" y="203820"/>
                  <a:pt x="673418" y="217332"/>
                </a:cubicBezTo>
                <a:cubicBezTo>
                  <a:pt x="659892" y="230844"/>
                  <a:pt x="653034" y="252254"/>
                  <a:pt x="653034" y="281276"/>
                </a:cubicBezTo>
                <a:lnTo>
                  <a:pt x="653034" y="480338"/>
                </a:lnTo>
                <a:lnTo>
                  <a:pt x="551402" y="480338"/>
                </a:lnTo>
                <a:lnTo>
                  <a:pt x="551402" y="292884"/>
                </a:lnTo>
                <a:cubicBezTo>
                  <a:pt x="550430" y="260361"/>
                  <a:pt x="556098" y="227989"/>
                  <a:pt x="568070" y="197730"/>
                </a:cubicBezTo>
                <a:cubicBezTo>
                  <a:pt x="578025" y="173694"/>
                  <a:pt x="593760" y="152485"/>
                  <a:pt x="613886" y="135975"/>
                </a:cubicBezTo>
                <a:cubicBezTo>
                  <a:pt x="633107" y="121074"/>
                  <a:pt x="655139" y="110208"/>
                  <a:pt x="678656" y="104003"/>
                </a:cubicBezTo>
                <a:cubicBezTo>
                  <a:pt x="703488" y="97229"/>
                  <a:pt x="729119" y="93803"/>
                  <a:pt x="754856" y="93822"/>
                </a:cubicBezTo>
                <a:close/>
                <a:moveTo>
                  <a:pt x="2507646" y="85354"/>
                </a:moveTo>
                <a:cubicBezTo>
                  <a:pt x="2558005" y="85354"/>
                  <a:pt x="2598258" y="96487"/>
                  <a:pt x="2628424" y="118753"/>
                </a:cubicBezTo>
                <a:cubicBezTo>
                  <a:pt x="2656217" y="142361"/>
                  <a:pt x="2672610" y="176702"/>
                  <a:pt x="2673477" y="213146"/>
                </a:cubicBezTo>
                <a:lnTo>
                  <a:pt x="2610898" y="213146"/>
                </a:lnTo>
                <a:cubicBezTo>
                  <a:pt x="2593305" y="213631"/>
                  <a:pt x="2576969" y="204068"/>
                  <a:pt x="2568797" y="188501"/>
                </a:cubicBezTo>
                <a:lnTo>
                  <a:pt x="2557081" y="176892"/>
                </a:lnTo>
                <a:cubicBezTo>
                  <a:pt x="2543051" y="167472"/>
                  <a:pt x="2526335" y="162866"/>
                  <a:pt x="2509456" y="163761"/>
                </a:cubicBezTo>
                <a:cubicBezTo>
                  <a:pt x="2494369" y="162828"/>
                  <a:pt x="2479300" y="165845"/>
                  <a:pt x="2465737" y="172515"/>
                </a:cubicBezTo>
                <a:cubicBezTo>
                  <a:pt x="2457059" y="178319"/>
                  <a:pt x="2452097" y="188273"/>
                  <a:pt x="2452687" y="198682"/>
                </a:cubicBezTo>
                <a:cubicBezTo>
                  <a:pt x="2452687" y="214164"/>
                  <a:pt x="2477900" y="227229"/>
                  <a:pt x="2528316" y="237886"/>
                </a:cubicBezTo>
                <a:cubicBezTo>
                  <a:pt x="2534126" y="239789"/>
                  <a:pt x="2539269" y="241312"/>
                  <a:pt x="2543556" y="242263"/>
                </a:cubicBezTo>
                <a:cubicBezTo>
                  <a:pt x="2547623" y="243177"/>
                  <a:pt x="2551776" y="243662"/>
                  <a:pt x="2555938" y="243690"/>
                </a:cubicBezTo>
                <a:cubicBezTo>
                  <a:pt x="2605401" y="256374"/>
                  <a:pt x="2639825" y="270904"/>
                  <a:pt x="2659189" y="287271"/>
                </a:cubicBezTo>
                <a:cubicBezTo>
                  <a:pt x="2677972" y="305493"/>
                  <a:pt x="2688021" y="330890"/>
                  <a:pt x="2686811" y="357019"/>
                </a:cubicBezTo>
                <a:cubicBezTo>
                  <a:pt x="2686811" y="399648"/>
                  <a:pt x="2671315" y="432571"/>
                  <a:pt x="2640330" y="455789"/>
                </a:cubicBezTo>
                <a:cubicBezTo>
                  <a:pt x="2611183" y="477199"/>
                  <a:pt x="2567559" y="487761"/>
                  <a:pt x="2509456" y="487761"/>
                </a:cubicBezTo>
                <a:cubicBezTo>
                  <a:pt x="2454144" y="487761"/>
                  <a:pt x="2412873" y="476627"/>
                  <a:pt x="2385631" y="454361"/>
                </a:cubicBezTo>
                <a:cubicBezTo>
                  <a:pt x="2357437" y="432095"/>
                  <a:pt x="2343369" y="399648"/>
                  <a:pt x="2343435" y="357019"/>
                </a:cubicBezTo>
                <a:lnTo>
                  <a:pt x="2343340" y="352642"/>
                </a:lnTo>
                <a:lnTo>
                  <a:pt x="2442210" y="352642"/>
                </a:lnTo>
                <a:cubicBezTo>
                  <a:pt x="2442019" y="369836"/>
                  <a:pt x="2450135" y="386060"/>
                  <a:pt x="2464022" y="396222"/>
                </a:cubicBezTo>
                <a:cubicBezTo>
                  <a:pt x="2481548" y="406718"/>
                  <a:pt x="2501808" y="411789"/>
                  <a:pt x="2522220" y="410781"/>
                </a:cubicBezTo>
                <a:cubicBezTo>
                  <a:pt x="2537860" y="411228"/>
                  <a:pt x="2553357" y="407726"/>
                  <a:pt x="2567273" y="400599"/>
                </a:cubicBezTo>
                <a:cubicBezTo>
                  <a:pt x="2577912" y="395509"/>
                  <a:pt x="2584723" y="384794"/>
                  <a:pt x="2584799" y="373005"/>
                </a:cubicBezTo>
                <a:cubicBezTo>
                  <a:pt x="2584799" y="355592"/>
                  <a:pt x="2564415" y="342460"/>
                  <a:pt x="2523649" y="333801"/>
                </a:cubicBezTo>
                <a:cubicBezTo>
                  <a:pt x="2510371" y="331832"/>
                  <a:pt x="2497254" y="328910"/>
                  <a:pt x="2484405" y="325047"/>
                </a:cubicBezTo>
                <a:cubicBezTo>
                  <a:pt x="2432971" y="312363"/>
                  <a:pt x="2398556" y="297357"/>
                  <a:pt x="2381155" y="280039"/>
                </a:cubicBezTo>
                <a:cubicBezTo>
                  <a:pt x="2361571" y="262255"/>
                  <a:pt x="2350894" y="236706"/>
                  <a:pt x="2352008" y="210291"/>
                </a:cubicBezTo>
                <a:cubicBezTo>
                  <a:pt x="2351332" y="174942"/>
                  <a:pt x="2366876" y="141219"/>
                  <a:pt x="2394204" y="118753"/>
                </a:cubicBezTo>
                <a:cubicBezTo>
                  <a:pt x="2423350" y="96487"/>
                  <a:pt x="2461164" y="85354"/>
                  <a:pt x="2507646" y="85354"/>
                </a:cubicBezTo>
                <a:close/>
                <a:moveTo>
                  <a:pt x="1838991" y="85354"/>
                </a:moveTo>
                <a:cubicBezTo>
                  <a:pt x="1889407" y="85354"/>
                  <a:pt x="1929640" y="96487"/>
                  <a:pt x="1959673" y="118753"/>
                </a:cubicBezTo>
                <a:cubicBezTo>
                  <a:pt x="1987533" y="142323"/>
                  <a:pt x="2003964" y="176683"/>
                  <a:pt x="2004821" y="213146"/>
                </a:cubicBezTo>
                <a:lnTo>
                  <a:pt x="1942242" y="213146"/>
                </a:lnTo>
                <a:cubicBezTo>
                  <a:pt x="1924630" y="213622"/>
                  <a:pt x="1908266" y="204068"/>
                  <a:pt x="1900046" y="188501"/>
                </a:cubicBezTo>
                <a:cubicBezTo>
                  <a:pt x="1896236" y="184600"/>
                  <a:pt x="1892331" y="180698"/>
                  <a:pt x="1888426" y="176892"/>
                </a:cubicBezTo>
                <a:cubicBezTo>
                  <a:pt x="1874395" y="167481"/>
                  <a:pt x="1857679" y="162876"/>
                  <a:pt x="1840801" y="163761"/>
                </a:cubicBezTo>
                <a:cubicBezTo>
                  <a:pt x="1825741" y="162838"/>
                  <a:pt x="1810712" y="165854"/>
                  <a:pt x="1797176" y="172515"/>
                </a:cubicBezTo>
                <a:cubicBezTo>
                  <a:pt x="1788499" y="178319"/>
                  <a:pt x="1783536" y="188273"/>
                  <a:pt x="1784127" y="198682"/>
                </a:cubicBezTo>
                <a:cubicBezTo>
                  <a:pt x="1784127" y="214164"/>
                  <a:pt x="1809340" y="227229"/>
                  <a:pt x="1859756" y="237886"/>
                </a:cubicBezTo>
                <a:cubicBezTo>
                  <a:pt x="1865566" y="239789"/>
                  <a:pt x="1870614" y="241312"/>
                  <a:pt x="1874995" y="242263"/>
                </a:cubicBezTo>
                <a:cubicBezTo>
                  <a:pt x="1879063" y="243177"/>
                  <a:pt x="1883216" y="243662"/>
                  <a:pt x="1887378" y="243690"/>
                </a:cubicBezTo>
                <a:cubicBezTo>
                  <a:pt x="1936784" y="256374"/>
                  <a:pt x="1971198" y="270904"/>
                  <a:pt x="1990629" y="287271"/>
                </a:cubicBezTo>
                <a:cubicBezTo>
                  <a:pt x="2009365" y="305522"/>
                  <a:pt x="2019413" y="330899"/>
                  <a:pt x="2018251" y="357019"/>
                </a:cubicBezTo>
                <a:cubicBezTo>
                  <a:pt x="2018251" y="399648"/>
                  <a:pt x="2002755" y="432571"/>
                  <a:pt x="1971770" y="455789"/>
                </a:cubicBezTo>
                <a:cubicBezTo>
                  <a:pt x="1942623" y="477199"/>
                  <a:pt x="1898999" y="487761"/>
                  <a:pt x="1840801" y="487761"/>
                </a:cubicBezTo>
                <a:cubicBezTo>
                  <a:pt x="1785556" y="487761"/>
                  <a:pt x="1744284" y="476627"/>
                  <a:pt x="1716976" y="454361"/>
                </a:cubicBezTo>
                <a:cubicBezTo>
                  <a:pt x="1689668" y="432095"/>
                  <a:pt x="1675570" y="399524"/>
                  <a:pt x="1674685" y="356638"/>
                </a:cubicBezTo>
                <a:lnTo>
                  <a:pt x="1674685" y="352642"/>
                </a:lnTo>
                <a:lnTo>
                  <a:pt x="1773555" y="352642"/>
                </a:lnTo>
                <a:cubicBezTo>
                  <a:pt x="1773364" y="369836"/>
                  <a:pt x="1781488" y="386060"/>
                  <a:pt x="1795367" y="396222"/>
                </a:cubicBezTo>
                <a:cubicBezTo>
                  <a:pt x="1812892" y="406718"/>
                  <a:pt x="1833152" y="411789"/>
                  <a:pt x="1853564" y="410781"/>
                </a:cubicBezTo>
                <a:cubicBezTo>
                  <a:pt x="1869205" y="411228"/>
                  <a:pt x="1884701" y="407726"/>
                  <a:pt x="1898617" y="400599"/>
                </a:cubicBezTo>
                <a:cubicBezTo>
                  <a:pt x="1909219" y="395480"/>
                  <a:pt x="1915981" y="384775"/>
                  <a:pt x="1916048" y="373005"/>
                </a:cubicBezTo>
                <a:cubicBezTo>
                  <a:pt x="1916048" y="355592"/>
                  <a:pt x="1895760" y="342460"/>
                  <a:pt x="1854993" y="333801"/>
                </a:cubicBezTo>
                <a:cubicBezTo>
                  <a:pt x="1841715" y="331841"/>
                  <a:pt x="1828599" y="328920"/>
                  <a:pt x="1815750" y="325047"/>
                </a:cubicBezTo>
                <a:cubicBezTo>
                  <a:pt x="1764315" y="312363"/>
                  <a:pt x="1729901" y="297357"/>
                  <a:pt x="1712499" y="280039"/>
                </a:cubicBezTo>
                <a:cubicBezTo>
                  <a:pt x="1692916" y="262255"/>
                  <a:pt x="1682238" y="236706"/>
                  <a:pt x="1683352" y="210291"/>
                </a:cubicBezTo>
                <a:cubicBezTo>
                  <a:pt x="1682676" y="174942"/>
                  <a:pt x="1698221" y="141219"/>
                  <a:pt x="1725548" y="118753"/>
                </a:cubicBezTo>
                <a:cubicBezTo>
                  <a:pt x="1754571" y="96487"/>
                  <a:pt x="1792385" y="85354"/>
                  <a:pt x="1838991" y="85354"/>
                </a:cubicBezTo>
                <a:close/>
                <a:moveTo>
                  <a:pt x="1485804" y="85354"/>
                </a:moveTo>
                <a:cubicBezTo>
                  <a:pt x="1543973" y="85354"/>
                  <a:pt x="1589084" y="102767"/>
                  <a:pt x="1621155" y="137593"/>
                </a:cubicBezTo>
                <a:cubicBezTo>
                  <a:pt x="1652139" y="173495"/>
                  <a:pt x="1667636" y="223394"/>
                  <a:pt x="1667636" y="287271"/>
                </a:cubicBezTo>
                <a:lnTo>
                  <a:pt x="1667636" y="303257"/>
                </a:lnTo>
                <a:cubicBezTo>
                  <a:pt x="1667865" y="306711"/>
                  <a:pt x="1667379" y="310175"/>
                  <a:pt x="1666208" y="313438"/>
                </a:cubicBezTo>
                <a:lnTo>
                  <a:pt x="1414271" y="313438"/>
                </a:lnTo>
                <a:cubicBezTo>
                  <a:pt x="1415223" y="343507"/>
                  <a:pt x="1422558" y="365773"/>
                  <a:pt x="1436083" y="380046"/>
                </a:cubicBezTo>
                <a:cubicBezTo>
                  <a:pt x="1450381" y="396403"/>
                  <a:pt x="1471564" y="405043"/>
                  <a:pt x="1493233" y="403359"/>
                </a:cubicBezTo>
                <a:cubicBezTo>
                  <a:pt x="1507959" y="403778"/>
                  <a:pt x="1522523" y="400266"/>
                  <a:pt x="1535430" y="393177"/>
                </a:cubicBezTo>
                <a:cubicBezTo>
                  <a:pt x="1538458" y="392112"/>
                  <a:pt x="1541201" y="390351"/>
                  <a:pt x="1543430" y="388039"/>
                </a:cubicBezTo>
                <a:lnTo>
                  <a:pt x="1551431" y="380046"/>
                </a:lnTo>
                <a:cubicBezTo>
                  <a:pt x="1554013" y="375326"/>
                  <a:pt x="1557746" y="371330"/>
                  <a:pt x="1562290" y="368437"/>
                </a:cubicBezTo>
                <a:cubicBezTo>
                  <a:pt x="1570148" y="363261"/>
                  <a:pt x="1579473" y="360797"/>
                  <a:pt x="1588865" y="361396"/>
                </a:cubicBezTo>
                <a:lnTo>
                  <a:pt x="1661540" y="361396"/>
                </a:lnTo>
                <a:cubicBezTo>
                  <a:pt x="1653063" y="398715"/>
                  <a:pt x="1631384" y="431734"/>
                  <a:pt x="1600485" y="454361"/>
                </a:cubicBezTo>
                <a:cubicBezTo>
                  <a:pt x="1567338" y="477560"/>
                  <a:pt x="1527495" y="489293"/>
                  <a:pt x="1487042" y="487761"/>
                </a:cubicBezTo>
                <a:cubicBezTo>
                  <a:pt x="1431674" y="487761"/>
                  <a:pt x="1388525" y="469843"/>
                  <a:pt x="1357597" y="433999"/>
                </a:cubicBezTo>
                <a:cubicBezTo>
                  <a:pt x="1326736" y="399172"/>
                  <a:pt x="1311306" y="349311"/>
                  <a:pt x="1311306" y="284416"/>
                </a:cubicBezTo>
                <a:cubicBezTo>
                  <a:pt x="1311306" y="222376"/>
                  <a:pt x="1326356" y="173942"/>
                  <a:pt x="1356454" y="139116"/>
                </a:cubicBezTo>
                <a:cubicBezTo>
                  <a:pt x="1387439" y="103271"/>
                  <a:pt x="1430559" y="85354"/>
                  <a:pt x="1485804" y="85354"/>
                </a:cubicBezTo>
                <a:close/>
                <a:moveTo>
                  <a:pt x="941355" y="85354"/>
                </a:moveTo>
                <a:cubicBezTo>
                  <a:pt x="995648" y="85354"/>
                  <a:pt x="1036387" y="94555"/>
                  <a:pt x="1063561" y="112949"/>
                </a:cubicBezTo>
                <a:cubicBezTo>
                  <a:pt x="1090879" y="130838"/>
                  <a:pt x="1106843" y="161696"/>
                  <a:pt x="1105662" y="194305"/>
                </a:cubicBezTo>
                <a:lnTo>
                  <a:pt x="1105662" y="326474"/>
                </a:lnTo>
                <a:cubicBezTo>
                  <a:pt x="1105662" y="365297"/>
                  <a:pt x="1098642" y="395585"/>
                  <a:pt x="1084612" y="417347"/>
                </a:cubicBezTo>
                <a:cubicBezTo>
                  <a:pt x="1072467" y="437329"/>
                  <a:pt x="1055122" y="453648"/>
                  <a:pt x="1034415" y="464543"/>
                </a:cubicBezTo>
                <a:cubicBezTo>
                  <a:pt x="1014307" y="475153"/>
                  <a:pt x="992352" y="481804"/>
                  <a:pt x="969740" y="484145"/>
                </a:cubicBezTo>
                <a:cubicBezTo>
                  <a:pt x="949690" y="486429"/>
                  <a:pt x="929535" y="487627"/>
                  <a:pt x="909351" y="487761"/>
                </a:cubicBezTo>
                <a:cubicBezTo>
                  <a:pt x="876528" y="488351"/>
                  <a:pt x="844391" y="478340"/>
                  <a:pt x="817721" y="459214"/>
                </a:cubicBezTo>
                <a:cubicBezTo>
                  <a:pt x="791556" y="440184"/>
                  <a:pt x="778478" y="408945"/>
                  <a:pt x="778478" y="365488"/>
                </a:cubicBezTo>
                <a:cubicBezTo>
                  <a:pt x="778478" y="324762"/>
                  <a:pt x="790356" y="295711"/>
                  <a:pt x="814101" y="278326"/>
                </a:cubicBezTo>
                <a:cubicBezTo>
                  <a:pt x="841124" y="259533"/>
                  <a:pt x="872299" y="247554"/>
                  <a:pt x="904970" y="243405"/>
                </a:cubicBezTo>
                <a:cubicBezTo>
                  <a:pt x="910866" y="243262"/>
                  <a:pt x="916743" y="242529"/>
                  <a:pt x="922496" y="241216"/>
                </a:cubicBezTo>
                <a:cubicBezTo>
                  <a:pt x="929259" y="239789"/>
                  <a:pt x="936974" y="238552"/>
                  <a:pt x="945737" y="237601"/>
                </a:cubicBezTo>
                <a:cubicBezTo>
                  <a:pt x="988409" y="231768"/>
                  <a:pt x="1009745" y="219074"/>
                  <a:pt x="1009745" y="199539"/>
                </a:cubicBezTo>
                <a:cubicBezTo>
                  <a:pt x="1010450" y="185713"/>
                  <a:pt x="1000801" y="173505"/>
                  <a:pt x="987171" y="170993"/>
                </a:cubicBezTo>
                <a:cubicBezTo>
                  <a:pt x="973741" y="166863"/>
                  <a:pt x="959786" y="164655"/>
                  <a:pt x="945737" y="164427"/>
                </a:cubicBezTo>
                <a:cubicBezTo>
                  <a:pt x="933355" y="164227"/>
                  <a:pt x="921038" y="166225"/>
                  <a:pt x="909351" y="170327"/>
                </a:cubicBezTo>
                <a:cubicBezTo>
                  <a:pt x="898883" y="173999"/>
                  <a:pt x="890444" y="181907"/>
                  <a:pt x="886110" y="192117"/>
                </a:cubicBezTo>
                <a:lnTo>
                  <a:pt x="788670" y="192117"/>
                </a:lnTo>
                <a:cubicBezTo>
                  <a:pt x="792175" y="163314"/>
                  <a:pt x="806758" y="137004"/>
                  <a:pt x="829342" y="118753"/>
                </a:cubicBezTo>
                <a:cubicBezTo>
                  <a:pt x="855564" y="96487"/>
                  <a:pt x="892902" y="85354"/>
                  <a:pt x="941355" y="85354"/>
                </a:cubicBezTo>
                <a:close/>
                <a:moveTo>
                  <a:pt x="164402" y="85354"/>
                </a:moveTo>
                <a:cubicBezTo>
                  <a:pt x="214817" y="85354"/>
                  <a:pt x="255051" y="96487"/>
                  <a:pt x="285083" y="118753"/>
                </a:cubicBezTo>
                <a:cubicBezTo>
                  <a:pt x="312906" y="142351"/>
                  <a:pt x="329327" y="176692"/>
                  <a:pt x="330232" y="213146"/>
                </a:cubicBezTo>
                <a:lnTo>
                  <a:pt x="267653" y="213146"/>
                </a:lnTo>
                <a:cubicBezTo>
                  <a:pt x="250041" y="213622"/>
                  <a:pt x="233677" y="204068"/>
                  <a:pt x="225457" y="188501"/>
                </a:cubicBezTo>
                <a:cubicBezTo>
                  <a:pt x="221552" y="184600"/>
                  <a:pt x="217742" y="180698"/>
                  <a:pt x="213836" y="176892"/>
                </a:cubicBezTo>
                <a:cubicBezTo>
                  <a:pt x="199806" y="167481"/>
                  <a:pt x="183090" y="162876"/>
                  <a:pt x="166211" y="163761"/>
                </a:cubicBezTo>
                <a:cubicBezTo>
                  <a:pt x="151152" y="162828"/>
                  <a:pt x="136112" y="165845"/>
                  <a:pt x="122587" y="172515"/>
                </a:cubicBezTo>
                <a:cubicBezTo>
                  <a:pt x="113872" y="178281"/>
                  <a:pt x="108890" y="188254"/>
                  <a:pt x="109538" y="198682"/>
                </a:cubicBezTo>
                <a:cubicBezTo>
                  <a:pt x="109538" y="214164"/>
                  <a:pt x="134750" y="227229"/>
                  <a:pt x="185166" y="237886"/>
                </a:cubicBezTo>
                <a:cubicBezTo>
                  <a:pt x="190976" y="239789"/>
                  <a:pt x="196025" y="241312"/>
                  <a:pt x="200406" y="242263"/>
                </a:cubicBezTo>
                <a:cubicBezTo>
                  <a:pt x="204473" y="243177"/>
                  <a:pt x="208626" y="243662"/>
                  <a:pt x="212789" y="243690"/>
                </a:cubicBezTo>
                <a:cubicBezTo>
                  <a:pt x="262195" y="256374"/>
                  <a:pt x="296609" y="270904"/>
                  <a:pt x="316040" y="287271"/>
                </a:cubicBezTo>
                <a:cubicBezTo>
                  <a:pt x="334775" y="305522"/>
                  <a:pt x="344824" y="330899"/>
                  <a:pt x="343662" y="357019"/>
                </a:cubicBezTo>
                <a:cubicBezTo>
                  <a:pt x="343662" y="399648"/>
                  <a:pt x="328136" y="432571"/>
                  <a:pt x="297085" y="455789"/>
                </a:cubicBezTo>
                <a:cubicBezTo>
                  <a:pt x="268034" y="477199"/>
                  <a:pt x="224409" y="487761"/>
                  <a:pt x="166211" y="487761"/>
                </a:cubicBezTo>
                <a:cubicBezTo>
                  <a:pt x="110966" y="487761"/>
                  <a:pt x="69695" y="476627"/>
                  <a:pt x="42386" y="454361"/>
                </a:cubicBezTo>
                <a:cubicBezTo>
                  <a:pt x="15078" y="432095"/>
                  <a:pt x="953" y="399524"/>
                  <a:pt x="0" y="356638"/>
                </a:cubicBezTo>
                <a:lnTo>
                  <a:pt x="0" y="352642"/>
                </a:lnTo>
                <a:lnTo>
                  <a:pt x="98965" y="352642"/>
                </a:lnTo>
                <a:cubicBezTo>
                  <a:pt x="98774" y="369836"/>
                  <a:pt x="106899" y="386060"/>
                  <a:pt x="120777" y="396222"/>
                </a:cubicBezTo>
                <a:cubicBezTo>
                  <a:pt x="138303" y="406737"/>
                  <a:pt x="158563" y="411799"/>
                  <a:pt x="178975" y="410781"/>
                </a:cubicBezTo>
                <a:cubicBezTo>
                  <a:pt x="194615" y="411228"/>
                  <a:pt x="210112" y="407726"/>
                  <a:pt x="224028" y="400599"/>
                </a:cubicBezTo>
                <a:cubicBezTo>
                  <a:pt x="234630" y="395480"/>
                  <a:pt x="241392" y="384775"/>
                  <a:pt x="241459" y="373005"/>
                </a:cubicBezTo>
                <a:cubicBezTo>
                  <a:pt x="241459" y="355592"/>
                  <a:pt x="221075" y="342460"/>
                  <a:pt x="180404" y="333801"/>
                </a:cubicBezTo>
                <a:cubicBezTo>
                  <a:pt x="167126" y="331841"/>
                  <a:pt x="154010" y="328920"/>
                  <a:pt x="141161" y="325047"/>
                </a:cubicBezTo>
                <a:cubicBezTo>
                  <a:pt x="89726" y="312363"/>
                  <a:pt x="55274" y="297357"/>
                  <a:pt x="37814" y="280039"/>
                </a:cubicBezTo>
                <a:cubicBezTo>
                  <a:pt x="18298" y="262217"/>
                  <a:pt x="7658" y="236687"/>
                  <a:pt x="8763" y="210291"/>
                </a:cubicBezTo>
                <a:cubicBezTo>
                  <a:pt x="8049" y="174932"/>
                  <a:pt x="23594" y="141200"/>
                  <a:pt x="50959" y="118753"/>
                </a:cubicBezTo>
                <a:cubicBezTo>
                  <a:pt x="79981" y="96487"/>
                  <a:pt x="117796" y="85354"/>
                  <a:pt x="164402" y="85354"/>
                </a:cubicBezTo>
                <a:close/>
                <a:moveTo>
                  <a:pt x="1129760" y="0"/>
                </a:moveTo>
                <a:lnTo>
                  <a:pt x="1228058" y="0"/>
                </a:lnTo>
                <a:lnTo>
                  <a:pt x="1228058" y="97438"/>
                </a:lnTo>
                <a:lnTo>
                  <a:pt x="1297305" y="97438"/>
                </a:lnTo>
                <a:lnTo>
                  <a:pt x="1297305" y="184409"/>
                </a:lnTo>
                <a:lnTo>
                  <a:pt x="1228058" y="184409"/>
                </a:lnTo>
                <a:lnTo>
                  <a:pt x="1228058" y="319813"/>
                </a:lnTo>
                <a:cubicBezTo>
                  <a:pt x="1228058" y="346646"/>
                  <a:pt x="1234058" y="365487"/>
                  <a:pt x="1246250" y="376334"/>
                </a:cubicBezTo>
                <a:cubicBezTo>
                  <a:pt x="1258442" y="387182"/>
                  <a:pt x="1276921" y="392035"/>
                  <a:pt x="1301781" y="390512"/>
                </a:cubicBezTo>
                <a:lnTo>
                  <a:pt x="1301781" y="479767"/>
                </a:lnTo>
                <a:cubicBezTo>
                  <a:pt x="1276854" y="482992"/>
                  <a:pt x="1251527" y="481213"/>
                  <a:pt x="1227295" y="474534"/>
                </a:cubicBezTo>
                <a:cubicBezTo>
                  <a:pt x="1207083" y="468795"/>
                  <a:pt x="1188643" y="458062"/>
                  <a:pt x="1173670" y="443323"/>
                </a:cubicBezTo>
                <a:cubicBezTo>
                  <a:pt x="1158858" y="428298"/>
                  <a:pt x="1147647" y="410114"/>
                  <a:pt x="1140904" y="390132"/>
                </a:cubicBezTo>
                <a:cubicBezTo>
                  <a:pt x="1133179" y="367247"/>
                  <a:pt x="1129407" y="343202"/>
                  <a:pt x="1129760" y="319052"/>
                </a:cubicBezTo>
                <a:close/>
                <a:moveTo>
                  <a:pt x="361474" y="0"/>
                </a:moveTo>
                <a:lnTo>
                  <a:pt x="459772" y="0"/>
                </a:lnTo>
                <a:lnTo>
                  <a:pt x="459772" y="97438"/>
                </a:lnTo>
                <a:lnTo>
                  <a:pt x="529019" y="97438"/>
                </a:lnTo>
                <a:lnTo>
                  <a:pt x="529019" y="184409"/>
                </a:lnTo>
                <a:lnTo>
                  <a:pt x="459772" y="184409"/>
                </a:lnTo>
                <a:lnTo>
                  <a:pt x="459772" y="319813"/>
                </a:lnTo>
                <a:cubicBezTo>
                  <a:pt x="459772" y="346646"/>
                  <a:pt x="465868" y="365487"/>
                  <a:pt x="478060" y="376334"/>
                </a:cubicBezTo>
                <a:cubicBezTo>
                  <a:pt x="490157" y="387277"/>
                  <a:pt x="508730" y="392035"/>
                  <a:pt x="533496" y="390512"/>
                </a:cubicBezTo>
                <a:lnTo>
                  <a:pt x="533496" y="479767"/>
                </a:lnTo>
                <a:cubicBezTo>
                  <a:pt x="508568" y="482992"/>
                  <a:pt x="483241" y="481213"/>
                  <a:pt x="459010" y="474534"/>
                </a:cubicBezTo>
                <a:cubicBezTo>
                  <a:pt x="438826" y="468786"/>
                  <a:pt x="420414" y="458053"/>
                  <a:pt x="405479" y="443323"/>
                </a:cubicBezTo>
                <a:cubicBezTo>
                  <a:pt x="390630" y="428327"/>
                  <a:pt x="379429" y="410133"/>
                  <a:pt x="372713" y="390132"/>
                </a:cubicBezTo>
                <a:cubicBezTo>
                  <a:pt x="364903" y="367257"/>
                  <a:pt x="361102" y="343211"/>
                  <a:pt x="361474" y="319052"/>
                </a:cubicBezTo>
                <a:close/>
              </a:path>
            </a:pathLst>
          </a:custGeom>
          <a:solidFill>
            <a:srgbClr val="FFFFFF"/>
          </a:solidFill>
          <a:ln w="9525" cap="flat">
            <a:noFill/>
            <a:prstDash val="solid"/>
            <a:miter/>
          </a:ln>
        </p:spPr>
        <p:txBody>
          <a:bodyPr rtlCol="0" anchor="ctr">
            <a:noAutofit/>
          </a:bodyPr>
          <a:lstStyle/>
          <a:p>
            <a:pPr marL="0" marR="0" lvl="0" indent="0" defTabSz="914358" eaLnBrk="1" fontAlgn="auto" latinLnBrk="0" hangingPunct="1">
              <a:lnSpc>
                <a:spcPct val="100000"/>
              </a:lnSpc>
              <a:spcBef>
                <a:spcPts val="0"/>
              </a:spcBef>
              <a:spcAft>
                <a:spcPts val="0"/>
              </a:spcAft>
              <a:buClrTx/>
              <a:buSzTx/>
              <a:buFontTx/>
              <a:buNone/>
              <a:tabLst/>
              <a:defRPr/>
            </a:pPr>
            <a:endParaRPr kumimoji="0" lang="es-ES" sz="1900" b="0" i="0" u="none" strike="noStrike" kern="0" cap="none" spc="0" normalizeH="0" baseline="0" noProof="0">
              <a:ln>
                <a:noFill/>
              </a:ln>
              <a:solidFill>
                <a:srgbClr val="494949"/>
              </a:solidFill>
              <a:effectLst/>
              <a:uLnTx/>
              <a:uFillTx/>
            </a:endParaRPr>
          </a:p>
        </p:txBody>
      </p:sp>
    </p:spTree>
    <p:extLst>
      <p:ext uri="{BB962C8B-B14F-4D97-AF65-F5344CB8AC3E}">
        <p14:creationId xmlns:p14="http://schemas.microsoft.com/office/powerpoint/2010/main" val="2478771633"/>
      </p:ext>
    </p:extLst>
  </p:cSld>
  <p:clrMap bg1="lt1" tx1="dk1" bg2="lt2" tx2="dk2" accent1="accent1" accent2="accent2" accent3="accent3" accent4="accent4" accent5="accent5" accent6="accent6" hlink="hlink" folHlink="folHlink"/>
  <p:sldLayoutIdLst>
    <p:sldLayoutId id="2147484203" r:id="rId1"/>
    <p:sldLayoutId id="2147484204" r:id="rId2"/>
    <p:sldLayoutId id="2147484205" r:id="rId3"/>
    <p:sldLayoutId id="2147484206" r:id="rId4"/>
    <p:sldLayoutId id="2147484207" r:id="rId5"/>
    <p:sldLayoutId id="2147484208" r:id="rId6"/>
    <p:sldLayoutId id="2147484209" r:id="rId7"/>
    <p:sldLayoutId id="2147484210" r:id="rId8"/>
    <p:sldLayoutId id="2147484211" r:id="rId9"/>
    <p:sldLayoutId id="2147484212" r:id="rId10"/>
  </p:sldLayoutIdLst>
  <p:txStyles>
    <p:titleStyle>
      <a:lvl1pPr algn="l" defTabSz="554492" rtl="0" eaLnBrk="1" latinLnBrk="0" hangingPunct="1">
        <a:lnSpc>
          <a:spcPct val="90000"/>
        </a:lnSpc>
        <a:spcBef>
          <a:spcPct val="0"/>
        </a:spcBef>
        <a:buNone/>
        <a:defRPr sz="2668" b="1" kern="1200">
          <a:solidFill>
            <a:schemeClr val="tx1"/>
          </a:solidFill>
          <a:latin typeface="Montserrat" panose="00000500000000000000" pitchFamily="2" charset="0"/>
          <a:ea typeface="+mj-ea"/>
          <a:cs typeface="+mj-cs"/>
        </a:defRPr>
      </a:lvl1pPr>
    </p:titleStyle>
    <p:bodyStyle>
      <a:lvl1pPr marL="138623" indent="-138623" algn="l" defTabSz="554492" rtl="0" eaLnBrk="1" latinLnBrk="0" hangingPunct="1">
        <a:lnSpc>
          <a:spcPct val="90000"/>
        </a:lnSpc>
        <a:spcBef>
          <a:spcPts val="606"/>
        </a:spcBef>
        <a:buFont typeface="Arial" panose="020B0604020202020204" pitchFamily="34" charset="0"/>
        <a:buChar char="•"/>
        <a:defRPr sz="1698" kern="1200">
          <a:solidFill>
            <a:schemeClr val="tx1"/>
          </a:solidFill>
          <a:latin typeface="+mn-lt"/>
          <a:ea typeface="+mn-ea"/>
          <a:cs typeface="+mn-cs"/>
        </a:defRPr>
      </a:lvl1pPr>
      <a:lvl2pPr marL="415869" indent="-138623" algn="l" defTabSz="554492" rtl="0" eaLnBrk="1" latinLnBrk="0" hangingPunct="1">
        <a:lnSpc>
          <a:spcPct val="90000"/>
        </a:lnSpc>
        <a:spcBef>
          <a:spcPts val="303"/>
        </a:spcBef>
        <a:buFont typeface="Arial" panose="020B0604020202020204" pitchFamily="34" charset="0"/>
        <a:buChar char="•"/>
        <a:defRPr sz="1455" kern="1200">
          <a:solidFill>
            <a:schemeClr val="tx1"/>
          </a:solidFill>
          <a:latin typeface="+mn-lt"/>
          <a:ea typeface="+mn-ea"/>
          <a:cs typeface="+mn-cs"/>
        </a:defRPr>
      </a:lvl2pPr>
      <a:lvl3pPr marL="693115" indent="-138623" algn="l" defTabSz="554492" rtl="0" eaLnBrk="1" latinLnBrk="0" hangingPunct="1">
        <a:lnSpc>
          <a:spcPct val="90000"/>
        </a:lnSpc>
        <a:spcBef>
          <a:spcPts val="303"/>
        </a:spcBef>
        <a:buFont typeface="Arial" panose="020B0604020202020204" pitchFamily="34" charset="0"/>
        <a:buChar char="•"/>
        <a:defRPr sz="1213" kern="1200">
          <a:solidFill>
            <a:schemeClr val="tx1"/>
          </a:solidFill>
          <a:latin typeface="+mn-lt"/>
          <a:ea typeface="+mn-ea"/>
          <a:cs typeface="+mn-cs"/>
        </a:defRPr>
      </a:lvl3pPr>
      <a:lvl4pPr marL="970361"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4pPr>
      <a:lvl5pPr marL="1247607"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s-E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5F6F9"/>
        </a:solidFill>
        <a:effectLst/>
      </p:bgPr>
    </p:bg>
    <p:spTree>
      <p:nvGrpSpPr>
        <p:cNvPr id="1" name=""/>
        <p:cNvGrpSpPr/>
        <p:nvPr/>
      </p:nvGrpSpPr>
      <p:grpSpPr>
        <a:xfrm>
          <a:off x="0" y="0"/>
          <a:ext cx="0" cy="0"/>
          <a:chOff x="0" y="0"/>
          <a:chExt cx="0" cy="0"/>
        </a:xfrm>
      </p:grpSpPr>
      <p:sp>
        <p:nvSpPr>
          <p:cNvPr id="10" name="Rectángulo 9">
            <a:extLst>
              <a:ext uri="{FF2B5EF4-FFF2-40B4-BE49-F238E27FC236}">
                <a16:creationId xmlns:a16="http://schemas.microsoft.com/office/drawing/2014/main" id="{BC1BABE1-0DCA-C749-9B5F-2832FF75F2B9}"/>
              </a:ext>
            </a:extLst>
          </p:cNvPr>
          <p:cNvSpPr/>
          <p:nvPr userDrawn="1"/>
        </p:nvSpPr>
        <p:spPr bwMode="auto">
          <a:xfrm>
            <a:off x="0" y="0"/>
            <a:ext cx="12192000" cy="541241"/>
          </a:xfrm>
          <a:prstGeom prst="rect">
            <a:avLst/>
          </a:prstGeom>
          <a:solidFill>
            <a:schemeClr val="bg1"/>
          </a:solidFill>
          <a:ln>
            <a:noFill/>
          </a:ln>
        </p:spPr>
        <p:txBody>
          <a:bodyPr lIns="0" tIns="0" rIns="0" bIns="0" rtlCol="0" anchor="ctr">
            <a:noAutofit/>
          </a:bodyPr>
          <a:lstStyle/>
          <a:p>
            <a:pPr algn="ctr"/>
            <a:endParaRPr lang="es-ES"/>
          </a:p>
        </p:txBody>
      </p:sp>
      <p:sp>
        <p:nvSpPr>
          <p:cNvPr id="2" name="Marcador de texto 1">
            <a:extLst>
              <a:ext uri="{FF2B5EF4-FFF2-40B4-BE49-F238E27FC236}">
                <a16:creationId xmlns:a16="http://schemas.microsoft.com/office/drawing/2014/main" id="{F3D6FC91-B10B-BA4F-A311-819EF609AD48}"/>
              </a:ext>
            </a:extLst>
          </p:cNvPr>
          <p:cNvSpPr>
            <a:spLocks noGrp="1"/>
          </p:cNvSpPr>
          <p:nvPr>
            <p:ph type="body" idx="1"/>
          </p:nvPr>
        </p:nvSpPr>
        <p:spPr>
          <a:xfrm>
            <a:off x="442659" y="671501"/>
            <a:ext cx="11306682" cy="5729298"/>
          </a:xfrm>
          <a:prstGeom prst="rect">
            <a:avLst/>
          </a:prstGeom>
        </p:spPr>
        <p:txBody>
          <a:bodyPr vert="horz" lIns="0" tIns="0" rIns="0" bIns="0" rtlCol="0">
            <a:no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23" name="Shape 13">
            <a:extLst>
              <a:ext uri="{FF2B5EF4-FFF2-40B4-BE49-F238E27FC236}">
                <a16:creationId xmlns:a16="http://schemas.microsoft.com/office/drawing/2014/main" id="{A65D0D13-AA88-9F44-BA79-7A94E074FB57}"/>
              </a:ext>
            </a:extLst>
          </p:cNvPr>
          <p:cNvSpPr txBox="1">
            <a:spLocks/>
          </p:cNvSpPr>
          <p:nvPr userDrawn="1"/>
        </p:nvSpPr>
        <p:spPr>
          <a:xfrm>
            <a:off x="131193" y="161678"/>
            <a:ext cx="276552" cy="216645"/>
          </a:xfrm>
          <a:prstGeom prst="roundRect">
            <a:avLst/>
          </a:prstGeom>
          <a:noFill/>
          <a:ln w="9525">
            <a:solidFill>
              <a:srgbClr val="FFFFFF"/>
            </a:solidFill>
            <a:miter lim="400000"/>
          </a:ln>
        </p:spPr>
        <p:txBody>
          <a:bodyPr wrap="square" lIns="36000" tIns="36000" rIns="36000" bIns="36000">
            <a:noAutofit/>
          </a:bodyPr>
          <a:lstStyle>
            <a:defPPr>
              <a:defRPr lang="en-US"/>
            </a:defPPr>
            <a:lvl1pPr marL="0" algn="ctr" defTabSz="914400" rtl="0" eaLnBrk="1" latinLnBrk="0" hangingPunct="1">
              <a:lnSpc>
                <a:spcPct val="100000"/>
              </a:lnSpc>
              <a:defRPr sz="1050" b="1" kern="1200" spc="0">
                <a:solidFill>
                  <a:srgbClr val="FFFFF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s-ES" sz="800" b="1" i="0" u="none" strike="noStrike" kern="1200" cap="none" spc="0" normalizeH="0" baseline="0" noProof="0" smtClean="0">
                <a:ln>
                  <a:noFill/>
                </a:ln>
                <a:solidFill>
                  <a:srgbClr val="494949"/>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Nº›</a:t>
            </a:fld>
            <a:endParaRPr kumimoji="0" lang="es-ES" sz="800" b="1" i="0" u="none" strike="noStrike" kern="1200" cap="none" spc="0" normalizeH="0" baseline="0" noProof="0">
              <a:ln>
                <a:noFill/>
              </a:ln>
              <a:solidFill>
                <a:srgbClr val="494949"/>
              </a:solidFill>
              <a:effectLst/>
              <a:uLnTx/>
              <a:uFillTx/>
              <a:latin typeface="Arial" panose="020B0604020202020204"/>
              <a:ea typeface="+mn-ea"/>
              <a:cs typeface="Arial" panose="020B0604020202020204" pitchFamily="34" charset="0"/>
            </a:endParaRPr>
          </a:p>
        </p:txBody>
      </p:sp>
      <p:sp>
        <p:nvSpPr>
          <p:cNvPr id="27" name="Rectángulo 26">
            <a:extLst>
              <a:ext uri="{FF2B5EF4-FFF2-40B4-BE49-F238E27FC236}">
                <a16:creationId xmlns:a16="http://schemas.microsoft.com/office/drawing/2014/main" id="{0B50C05A-9AE6-E64B-BBBB-93AC2AD07F03}"/>
              </a:ext>
            </a:extLst>
          </p:cNvPr>
          <p:cNvSpPr/>
          <p:nvPr userDrawn="1"/>
        </p:nvSpPr>
        <p:spPr bwMode="auto">
          <a:xfrm>
            <a:off x="458022" y="0"/>
            <a:ext cx="36000" cy="540000"/>
          </a:xfrm>
          <a:prstGeom prst="rect">
            <a:avLst/>
          </a:prstGeom>
          <a:solidFill>
            <a:srgbClr val="F6D285"/>
          </a:solidFill>
          <a:ln>
            <a:noFill/>
          </a:ln>
        </p:spPr>
        <p:txBody>
          <a:bodyPr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494949"/>
              </a:solidFill>
              <a:effectLst/>
              <a:uLnTx/>
              <a:uFillTx/>
            </a:endParaRPr>
          </a:p>
        </p:txBody>
      </p:sp>
      <p:sp>
        <p:nvSpPr>
          <p:cNvPr id="28" name="Rectángulo 27">
            <a:extLst>
              <a:ext uri="{FF2B5EF4-FFF2-40B4-BE49-F238E27FC236}">
                <a16:creationId xmlns:a16="http://schemas.microsoft.com/office/drawing/2014/main" id="{7F0F592E-65C9-3C4C-9732-9F65BF986B13}"/>
              </a:ext>
            </a:extLst>
          </p:cNvPr>
          <p:cNvSpPr/>
          <p:nvPr userDrawn="1"/>
        </p:nvSpPr>
        <p:spPr>
          <a:xfrm>
            <a:off x="0" y="6579031"/>
            <a:ext cx="12192000" cy="278969"/>
          </a:xfrm>
          <a:prstGeom prst="rect">
            <a:avLst/>
          </a:prstGeom>
          <a:solidFill>
            <a:srgbClr val="494949"/>
          </a:solidFill>
          <a:ln w="12700" cap="flat" cmpd="sng" algn="ctr">
            <a:noFill/>
            <a:prstDash val="solid"/>
            <a:miter lim="800000"/>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9" name="Rectangle 12">
            <a:extLst>
              <a:ext uri="{FF2B5EF4-FFF2-40B4-BE49-F238E27FC236}">
                <a16:creationId xmlns:a16="http://schemas.microsoft.com/office/drawing/2014/main" id="{630956BC-41B3-2A4E-B15E-331A616E7D3B}"/>
              </a:ext>
            </a:extLst>
          </p:cNvPr>
          <p:cNvSpPr/>
          <p:nvPr userDrawn="1"/>
        </p:nvSpPr>
        <p:spPr>
          <a:xfrm>
            <a:off x="975945" y="6663353"/>
            <a:ext cx="3450208" cy="107722"/>
          </a:xfrm>
          <a:prstGeom prst="rect">
            <a:avLst/>
          </a:prstGeom>
          <a:noFill/>
        </p:spPr>
        <p:txBody>
          <a:bodyPr wrap="square" lIns="0" tIns="0" rIns="0" bIns="0" rtlCol="0" anchor="t" anchorCtr="0">
            <a:noAutofit/>
          </a:bodyPr>
          <a:lstStyle/>
          <a:p>
            <a:r>
              <a:rPr lang="en-US" sz="700">
                <a:solidFill>
                  <a:srgbClr val="FFFFFF"/>
                </a:solidFill>
                <a:cs typeface="Arial" panose="020B0604020202020204" pitchFamily="34" charset="0"/>
              </a:rPr>
              <a:t>Stratesys Technology Solutions -  All Rights Reserved </a:t>
            </a:r>
          </a:p>
        </p:txBody>
      </p:sp>
      <p:sp>
        <p:nvSpPr>
          <p:cNvPr id="30" name="Forma libre 29">
            <a:extLst>
              <a:ext uri="{FF2B5EF4-FFF2-40B4-BE49-F238E27FC236}">
                <a16:creationId xmlns:a16="http://schemas.microsoft.com/office/drawing/2014/main" id="{0DFB79D1-41AD-EA49-9CA7-797C0EBFB30D}"/>
              </a:ext>
            </a:extLst>
          </p:cNvPr>
          <p:cNvSpPr/>
          <p:nvPr userDrawn="1"/>
        </p:nvSpPr>
        <p:spPr>
          <a:xfrm>
            <a:off x="245493" y="6652590"/>
            <a:ext cx="593292" cy="136990"/>
          </a:xfrm>
          <a:custGeom>
            <a:avLst/>
            <a:gdLst>
              <a:gd name="connsiteX0" fmla="*/ 1011174 w 2686908"/>
              <a:gd name="connsiteY0" fmla="*/ 285844 h 620404"/>
              <a:gd name="connsiteX1" fmla="*/ 954024 w 2686908"/>
              <a:gd name="connsiteY1" fmla="*/ 304874 h 620404"/>
              <a:gd name="connsiteX2" fmla="*/ 920591 w 2686908"/>
              <a:gd name="connsiteY2" fmla="*/ 312201 h 620404"/>
              <a:gd name="connsiteX3" fmla="*/ 882491 w 2686908"/>
              <a:gd name="connsiteY3" fmla="*/ 331232 h 620404"/>
              <a:gd name="connsiteX4" fmla="*/ 872299 w 2686908"/>
              <a:gd name="connsiteY4" fmla="*/ 363204 h 620404"/>
              <a:gd name="connsiteX5" fmla="*/ 885444 w 2686908"/>
              <a:gd name="connsiteY5" fmla="*/ 398125 h 620404"/>
              <a:gd name="connsiteX6" fmla="*/ 923544 w 2686908"/>
              <a:gd name="connsiteY6" fmla="*/ 409734 h 620404"/>
              <a:gd name="connsiteX7" fmla="*/ 1010793 w 2686908"/>
              <a:gd name="connsiteY7" fmla="*/ 336913 h 620404"/>
              <a:gd name="connsiteX8" fmla="*/ 1010793 w 2686908"/>
              <a:gd name="connsiteY8" fmla="*/ 322573 h 620404"/>
              <a:gd name="connsiteX9" fmla="*/ 1488471 w 2686908"/>
              <a:gd name="connsiteY9" fmla="*/ 169565 h 620404"/>
              <a:gd name="connsiteX10" fmla="*/ 1436083 w 2686908"/>
              <a:gd name="connsiteY10" fmla="*/ 189928 h 620404"/>
              <a:gd name="connsiteX11" fmla="*/ 1414271 w 2686908"/>
              <a:gd name="connsiteY11" fmla="*/ 248067 h 620404"/>
              <a:gd name="connsiteX12" fmla="*/ 1562671 w 2686908"/>
              <a:gd name="connsiteY12" fmla="*/ 248067 h 620404"/>
              <a:gd name="connsiteX13" fmla="*/ 1542287 w 2686908"/>
              <a:gd name="connsiteY13" fmla="*/ 189928 h 620404"/>
              <a:gd name="connsiteX14" fmla="*/ 1488471 w 2686908"/>
              <a:gd name="connsiteY14" fmla="*/ 169565 h 620404"/>
              <a:gd name="connsiteX15" fmla="*/ 1997106 w 2686908"/>
              <a:gd name="connsiteY15" fmla="*/ 94012 h 620404"/>
              <a:gd name="connsiteX16" fmla="*/ 2109120 w 2686908"/>
              <a:gd name="connsiteY16" fmla="*/ 94012 h 620404"/>
              <a:gd name="connsiteX17" fmla="*/ 2187606 w 2686908"/>
              <a:gd name="connsiteY17" fmla="*/ 367199 h 620404"/>
              <a:gd name="connsiteX18" fmla="*/ 2255995 w 2686908"/>
              <a:gd name="connsiteY18" fmla="*/ 129314 h 620404"/>
              <a:gd name="connsiteX19" fmla="*/ 2302573 w 2686908"/>
              <a:gd name="connsiteY19" fmla="*/ 94393 h 620404"/>
              <a:gd name="connsiteX20" fmla="*/ 2372296 w 2686908"/>
              <a:gd name="connsiteY20" fmla="*/ 94393 h 620404"/>
              <a:gd name="connsiteX21" fmla="*/ 2223992 w 2686908"/>
              <a:gd name="connsiteY21" fmla="*/ 534671 h 620404"/>
              <a:gd name="connsiteX22" fmla="*/ 2180367 w 2686908"/>
              <a:gd name="connsiteY22" fmla="*/ 602991 h 620404"/>
              <a:gd name="connsiteX23" fmla="*/ 2094642 w 2686908"/>
              <a:gd name="connsiteY23" fmla="*/ 620404 h 620404"/>
              <a:gd name="connsiteX24" fmla="*/ 2085117 w 2686908"/>
              <a:gd name="connsiteY24" fmla="*/ 620404 h 620404"/>
              <a:gd name="connsiteX25" fmla="*/ 2051875 w 2686908"/>
              <a:gd name="connsiteY25" fmla="*/ 619643 h 620404"/>
              <a:gd name="connsiteX26" fmla="*/ 2051875 w 2686908"/>
              <a:gd name="connsiteY26" fmla="*/ 537430 h 620404"/>
              <a:gd name="connsiteX27" fmla="*/ 2079497 w 2686908"/>
              <a:gd name="connsiteY27" fmla="*/ 537430 h 620404"/>
              <a:gd name="connsiteX28" fmla="*/ 2125313 w 2686908"/>
              <a:gd name="connsiteY28" fmla="*/ 523728 h 620404"/>
              <a:gd name="connsiteX29" fmla="*/ 2131885 w 2686908"/>
              <a:gd name="connsiteY29" fmla="*/ 479386 h 620404"/>
              <a:gd name="connsiteX30" fmla="*/ 754856 w 2686908"/>
              <a:gd name="connsiteY30" fmla="*/ 93822 h 620404"/>
              <a:gd name="connsiteX31" fmla="*/ 769334 w 2686908"/>
              <a:gd name="connsiteY31" fmla="*/ 93822 h 620404"/>
              <a:gd name="connsiteX32" fmla="*/ 769334 w 2686908"/>
              <a:gd name="connsiteY32" fmla="*/ 196969 h 620404"/>
              <a:gd name="connsiteX33" fmla="*/ 735902 w 2686908"/>
              <a:gd name="connsiteY33" fmla="*/ 196969 h 620404"/>
              <a:gd name="connsiteX34" fmla="*/ 673418 w 2686908"/>
              <a:gd name="connsiteY34" fmla="*/ 217332 h 620404"/>
              <a:gd name="connsiteX35" fmla="*/ 653034 w 2686908"/>
              <a:gd name="connsiteY35" fmla="*/ 281276 h 620404"/>
              <a:gd name="connsiteX36" fmla="*/ 653034 w 2686908"/>
              <a:gd name="connsiteY36" fmla="*/ 480338 h 620404"/>
              <a:gd name="connsiteX37" fmla="*/ 551402 w 2686908"/>
              <a:gd name="connsiteY37" fmla="*/ 480338 h 620404"/>
              <a:gd name="connsiteX38" fmla="*/ 551402 w 2686908"/>
              <a:gd name="connsiteY38" fmla="*/ 292884 h 620404"/>
              <a:gd name="connsiteX39" fmla="*/ 568070 w 2686908"/>
              <a:gd name="connsiteY39" fmla="*/ 197730 h 620404"/>
              <a:gd name="connsiteX40" fmla="*/ 613886 w 2686908"/>
              <a:gd name="connsiteY40" fmla="*/ 135975 h 620404"/>
              <a:gd name="connsiteX41" fmla="*/ 678656 w 2686908"/>
              <a:gd name="connsiteY41" fmla="*/ 104003 h 620404"/>
              <a:gd name="connsiteX42" fmla="*/ 754856 w 2686908"/>
              <a:gd name="connsiteY42" fmla="*/ 93822 h 620404"/>
              <a:gd name="connsiteX43" fmla="*/ 2507646 w 2686908"/>
              <a:gd name="connsiteY43" fmla="*/ 85354 h 620404"/>
              <a:gd name="connsiteX44" fmla="*/ 2628424 w 2686908"/>
              <a:gd name="connsiteY44" fmla="*/ 118753 h 620404"/>
              <a:gd name="connsiteX45" fmla="*/ 2673477 w 2686908"/>
              <a:gd name="connsiteY45" fmla="*/ 213146 h 620404"/>
              <a:gd name="connsiteX46" fmla="*/ 2610898 w 2686908"/>
              <a:gd name="connsiteY46" fmla="*/ 213146 h 620404"/>
              <a:gd name="connsiteX47" fmla="*/ 2568797 w 2686908"/>
              <a:gd name="connsiteY47" fmla="*/ 188501 h 620404"/>
              <a:gd name="connsiteX48" fmla="*/ 2557081 w 2686908"/>
              <a:gd name="connsiteY48" fmla="*/ 176892 h 620404"/>
              <a:gd name="connsiteX49" fmla="*/ 2509456 w 2686908"/>
              <a:gd name="connsiteY49" fmla="*/ 163761 h 620404"/>
              <a:gd name="connsiteX50" fmla="*/ 2465737 w 2686908"/>
              <a:gd name="connsiteY50" fmla="*/ 172515 h 620404"/>
              <a:gd name="connsiteX51" fmla="*/ 2452687 w 2686908"/>
              <a:gd name="connsiteY51" fmla="*/ 198682 h 620404"/>
              <a:gd name="connsiteX52" fmla="*/ 2528316 w 2686908"/>
              <a:gd name="connsiteY52" fmla="*/ 237886 h 620404"/>
              <a:gd name="connsiteX53" fmla="*/ 2543556 w 2686908"/>
              <a:gd name="connsiteY53" fmla="*/ 242263 h 620404"/>
              <a:gd name="connsiteX54" fmla="*/ 2555938 w 2686908"/>
              <a:gd name="connsiteY54" fmla="*/ 243690 h 620404"/>
              <a:gd name="connsiteX55" fmla="*/ 2659189 w 2686908"/>
              <a:gd name="connsiteY55" fmla="*/ 287271 h 620404"/>
              <a:gd name="connsiteX56" fmla="*/ 2686811 w 2686908"/>
              <a:gd name="connsiteY56" fmla="*/ 357019 h 620404"/>
              <a:gd name="connsiteX57" fmla="*/ 2640330 w 2686908"/>
              <a:gd name="connsiteY57" fmla="*/ 455789 h 620404"/>
              <a:gd name="connsiteX58" fmla="*/ 2509456 w 2686908"/>
              <a:gd name="connsiteY58" fmla="*/ 487761 h 620404"/>
              <a:gd name="connsiteX59" fmla="*/ 2385631 w 2686908"/>
              <a:gd name="connsiteY59" fmla="*/ 454361 h 620404"/>
              <a:gd name="connsiteX60" fmla="*/ 2343435 w 2686908"/>
              <a:gd name="connsiteY60" fmla="*/ 357019 h 620404"/>
              <a:gd name="connsiteX61" fmla="*/ 2343340 w 2686908"/>
              <a:gd name="connsiteY61" fmla="*/ 352642 h 620404"/>
              <a:gd name="connsiteX62" fmla="*/ 2442210 w 2686908"/>
              <a:gd name="connsiteY62" fmla="*/ 352642 h 620404"/>
              <a:gd name="connsiteX63" fmla="*/ 2464022 w 2686908"/>
              <a:gd name="connsiteY63" fmla="*/ 396222 h 620404"/>
              <a:gd name="connsiteX64" fmla="*/ 2522220 w 2686908"/>
              <a:gd name="connsiteY64" fmla="*/ 410781 h 620404"/>
              <a:gd name="connsiteX65" fmla="*/ 2567273 w 2686908"/>
              <a:gd name="connsiteY65" fmla="*/ 400599 h 620404"/>
              <a:gd name="connsiteX66" fmla="*/ 2584799 w 2686908"/>
              <a:gd name="connsiteY66" fmla="*/ 373005 h 620404"/>
              <a:gd name="connsiteX67" fmla="*/ 2523649 w 2686908"/>
              <a:gd name="connsiteY67" fmla="*/ 333801 h 620404"/>
              <a:gd name="connsiteX68" fmla="*/ 2484405 w 2686908"/>
              <a:gd name="connsiteY68" fmla="*/ 325047 h 620404"/>
              <a:gd name="connsiteX69" fmla="*/ 2381155 w 2686908"/>
              <a:gd name="connsiteY69" fmla="*/ 280039 h 620404"/>
              <a:gd name="connsiteX70" fmla="*/ 2352008 w 2686908"/>
              <a:gd name="connsiteY70" fmla="*/ 210291 h 620404"/>
              <a:gd name="connsiteX71" fmla="*/ 2394204 w 2686908"/>
              <a:gd name="connsiteY71" fmla="*/ 118753 h 620404"/>
              <a:gd name="connsiteX72" fmla="*/ 2507646 w 2686908"/>
              <a:gd name="connsiteY72" fmla="*/ 85354 h 620404"/>
              <a:gd name="connsiteX73" fmla="*/ 1838991 w 2686908"/>
              <a:gd name="connsiteY73" fmla="*/ 85354 h 620404"/>
              <a:gd name="connsiteX74" fmla="*/ 1959673 w 2686908"/>
              <a:gd name="connsiteY74" fmla="*/ 118753 h 620404"/>
              <a:gd name="connsiteX75" fmla="*/ 2004821 w 2686908"/>
              <a:gd name="connsiteY75" fmla="*/ 213146 h 620404"/>
              <a:gd name="connsiteX76" fmla="*/ 1942242 w 2686908"/>
              <a:gd name="connsiteY76" fmla="*/ 213146 h 620404"/>
              <a:gd name="connsiteX77" fmla="*/ 1900046 w 2686908"/>
              <a:gd name="connsiteY77" fmla="*/ 188501 h 620404"/>
              <a:gd name="connsiteX78" fmla="*/ 1888426 w 2686908"/>
              <a:gd name="connsiteY78" fmla="*/ 176892 h 620404"/>
              <a:gd name="connsiteX79" fmla="*/ 1840801 w 2686908"/>
              <a:gd name="connsiteY79" fmla="*/ 163761 h 620404"/>
              <a:gd name="connsiteX80" fmla="*/ 1797176 w 2686908"/>
              <a:gd name="connsiteY80" fmla="*/ 172515 h 620404"/>
              <a:gd name="connsiteX81" fmla="*/ 1784127 w 2686908"/>
              <a:gd name="connsiteY81" fmla="*/ 198682 h 620404"/>
              <a:gd name="connsiteX82" fmla="*/ 1859756 w 2686908"/>
              <a:gd name="connsiteY82" fmla="*/ 237886 h 620404"/>
              <a:gd name="connsiteX83" fmla="*/ 1874995 w 2686908"/>
              <a:gd name="connsiteY83" fmla="*/ 242263 h 620404"/>
              <a:gd name="connsiteX84" fmla="*/ 1887378 w 2686908"/>
              <a:gd name="connsiteY84" fmla="*/ 243690 h 620404"/>
              <a:gd name="connsiteX85" fmla="*/ 1990629 w 2686908"/>
              <a:gd name="connsiteY85" fmla="*/ 287271 h 620404"/>
              <a:gd name="connsiteX86" fmla="*/ 2018251 w 2686908"/>
              <a:gd name="connsiteY86" fmla="*/ 357019 h 620404"/>
              <a:gd name="connsiteX87" fmla="*/ 1971770 w 2686908"/>
              <a:gd name="connsiteY87" fmla="*/ 455789 h 620404"/>
              <a:gd name="connsiteX88" fmla="*/ 1840801 w 2686908"/>
              <a:gd name="connsiteY88" fmla="*/ 487761 h 620404"/>
              <a:gd name="connsiteX89" fmla="*/ 1716976 w 2686908"/>
              <a:gd name="connsiteY89" fmla="*/ 454361 h 620404"/>
              <a:gd name="connsiteX90" fmla="*/ 1674685 w 2686908"/>
              <a:gd name="connsiteY90" fmla="*/ 356638 h 620404"/>
              <a:gd name="connsiteX91" fmla="*/ 1674685 w 2686908"/>
              <a:gd name="connsiteY91" fmla="*/ 352642 h 620404"/>
              <a:gd name="connsiteX92" fmla="*/ 1773555 w 2686908"/>
              <a:gd name="connsiteY92" fmla="*/ 352642 h 620404"/>
              <a:gd name="connsiteX93" fmla="*/ 1795367 w 2686908"/>
              <a:gd name="connsiteY93" fmla="*/ 396222 h 620404"/>
              <a:gd name="connsiteX94" fmla="*/ 1853564 w 2686908"/>
              <a:gd name="connsiteY94" fmla="*/ 410781 h 620404"/>
              <a:gd name="connsiteX95" fmla="*/ 1898617 w 2686908"/>
              <a:gd name="connsiteY95" fmla="*/ 400599 h 620404"/>
              <a:gd name="connsiteX96" fmla="*/ 1916048 w 2686908"/>
              <a:gd name="connsiteY96" fmla="*/ 373005 h 620404"/>
              <a:gd name="connsiteX97" fmla="*/ 1854993 w 2686908"/>
              <a:gd name="connsiteY97" fmla="*/ 333801 h 620404"/>
              <a:gd name="connsiteX98" fmla="*/ 1815750 w 2686908"/>
              <a:gd name="connsiteY98" fmla="*/ 325047 h 620404"/>
              <a:gd name="connsiteX99" fmla="*/ 1712499 w 2686908"/>
              <a:gd name="connsiteY99" fmla="*/ 280039 h 620404"/>
              <a:gd name="connsiteX100" fmla="*/ 1683352 w 2686908"/>
              <a:gd name="connsiteY100" fmla="*/ 210291 h 620404"/>
              <a:gd name="connsiteX101" fmla="*/ 1725548 w 2686908"/>
              <a:gd name="connsiteY101" fmla="*/ 118753 h 620404"/>
              <a:gd name="connsiteX102" fmla="*/ 1838991 w 2686908"/>
              <a:gd name="connsiteY102" fmla="*/ 85354 h 620404"/>
              <a:gd name="connsiteX103" fmla="*/ 1485804 w 2686908"/>
              <a:gd name="connsiteY103" fmla="*/ 85354 h 620404"/>
              <a:gd name="connsiteX104" fmla="*/ 1621155 w 2686908"/>
              <a:gd name="connsiteY104" fmla="*/ 137593 h 620404"/>
              <a:gd name="connsiteX105" fmla="*/ 1667636 w 2686908"/>
              <a:gd name="connsiteY105" fmla="*/ 287271 h 620404"/>
              <a:gd name="connsiteX106" fmla="*/ 1667636 w 2686908"/>
              <a:gd name="connsiteY106" fmla="*/ 303257 h 620404"/>
              <a:gd name="connsiteX107" fmla="*/ 1666208 w 2686908"/>
              <a:gd name="connsiteY107" fmla="*/ 313438 h 620404"/>
              <a:gd name="connsiteX108" fmla="*/ 1414271 w 2686908"/>
              <a:gd name="connsiteY108" fmla="*/ 313438 h 620404"/>
              <a:gd name="connsiteX109" fmla="*/ 1436083 w 2686908"/>
              <a:gd name="connsiteY109" fmla="*/ 380046 h 620404"/>
              <a:gd name="connsiteX110" fmla="*/ 1493233 w 2686908"/>
              <a:gd name="connsiteY110" fmla="*/ 403359 h 620404"/>
              <a:gd name="connsiteX111" fmla="*/ 1535430 w 2686908"/>
              <a:gd name="connsiteY111" fmla="*/ 393177 h 620404"/>
              <a:gd name="connsiteX112" fmla="*/ 1543430 w 2686908"/>
              <a:gd name="connsiteY112" fmla="*/ 388039 h 620404"/>
              <a:gd name="connsiteX113" fmla="*/ 1551431 w 2686908"/>
              <a:gd name="connsiteY113" fmla="*/ 380046 h 620404"/>
              <a:gd name="connsiteX114" fmla="*/ 1562290 w 2686908"/>
              <a:gd name="connsiteY114" fmla="*/ 368437 h 620404"/>
              <a:gd name="connsiteX115" fmla="*/ 1588865 w 2686908"/>
              <a:gd name="connsiteY115" fmla="*/ 361396 h 620404"/>
              <a:gd name="connsiteX116" fmla="*/ 1661540 w 2686908"/>
              <a:gd name="connsiteY116" fmla="*/ 361396 h 620404"/>
              <a:gd name="connsiteX117" fmla="*/ 1600485 w 2686908"/>
              <a:gd name="connsiteY117" fmla="*/ 454361 h 620404"/>
              <a:gd name="connsiteX118" fmla="*/ 1487042 w 2686908"/>
              <a:gd name="connsiteY118" fmla="*/ 487761 h 620404"/>
              <a:gd name="connsiteX119" fmla="*/ 1357597 w 2686908"/>
              <a:gd name="connsiteY119" fmla="*/ 433999 h 620404"/>
              <a:gd name="connsiteX120" fmla="*/ 1311306 w 2686908"/>
              <a:gd name="connsiteY120" fmla="*/ 284416 h 620404"/>
              <a:gd name="connsiteX121" fmla="*/ 1356454 w 2686908"/>
              <a:gd name="connsiteY121" fmla="*/ 139116 h 620404"/>
              <a:gd name="connsiteX122" fmla="*/ 1485804 w 2686908"/>
              <a:gd name="connsiteY122" fmla="*/ 85354 h 620404"/>
              <a:gd name="connsiteX123" fmla="*/ 941355 w 2686908"/>
              <a:gd name="connsiteY123" fmla="*/ 85354 h 620404"/>
              <a:gd name="connsiteX124" fmla="*/ 1063561 w 2686908"/>
              <a:gd name="connsiteY124" fmla="*/ 112949 h 620404"/>
              <a:gd name="connsiteX125" fmla="*/ 1105662 w 2686908"/>
              <a:gd name="connsiteY125" fmla="*/ 194305 h 620404"/>
              <a:gd name="connsiteX126" fmla="*/ 1105662 w 2686908"/>
              <a:gd name="connsiteY126" fmla="*/ 326474 h 620404"/>
              <a:gd name="connsiteX127" fmla="*/ 1084612 w 2686908"/>
              <a:gd name="connsiteY127" fmla="*/ 417347 h 620404"/>
              <a:gd name="connsiteX128" fmla="*/ 1034415 w 2686908"/>
              <a:gd name="connsiteY128" fmla="*/ 464543 h 620404"/>
              <a:gd name="connsiteX129" fmla="*/ 969740 w 2686908"/>
              <a:gd name="connsiteY129" fmla="*/ 484145 h 620404"/>
              <a:gd name="connsiteX130" fmla="*/ 909351 w 2686908"/>
              <a:gd name="connsiteY130" fmla="*/ 487761 h 620404"/>
              <a:gd name="connsiteX131" fmla="*/ 817721 w 2686908"/>
              <a:gd name="connsiteY131" fmla="*/ 459214 h 620404"/>
              <a:gd name="connsiteX132" fmla="*/ 778478 w 2686908"/>
              <a:gd name="connsiteY132" fmla="*/ 365488 h 620404"/>
              <a:gd name="connsiteX133" fmla="*/ 814101 w 2686908"/>
              <a:gd name="connsiteY133" fmla="*/ 278326 h 620404"/>
              <a:gd name="connsiteX134" fmla="*/ 904970 w 2686908"/>
              <a:gd name="connsiteY134" fmla="*/ 243405 h 620404"/>
              <a:gd name="connsiteX135" fmla="*/ 922496 w 2686908"/>
              <a:gd name="connsiteY135" fmla="*/ 241216 h 620404"/>
              <a:gd name="connsiteX136" fmla="*/ 945737 w 2686908"/>
              <a:gd name="connsiteY136" fmla="*/ 237601 h 620404"/>
              <a:gd name="connsiteX137" fmla="*/ 1009745 w 2686908"/>
              <a:gd name="connsiteY137" fmla="*/ 199539 h 620404"/>
              <a:gd name="connsiteX138" fmla="*/ 987171 w 2686908"/>
              <a:gd name="connsiteY138" fmla="*/ 170993 h 620404"/>
              <a:gd name="connsiteX139" fmla="*/ 945737 w 2686908"/>
              <a:gd name="connsiteY139" fmla="*/ 164427 h 620404"/>
              <a:gd name="connsiteX140" fmla="*/ 909351 w 2686908"/>
              <a:gd name="connsiteY140" fmla="*/ 170327 h 620404"/>
              <a:gd name="connsiteX141" fmla="*/ 886110 w 2686908"/>
              <a:gd name="connsiteY141" fmla="*/ 192117 h 620404"/>
              <a:gd name="connsiteX142" fmla="*/ 788670 w 2686908"/>
              <a:gd name="connsiteY142" fmla="*/ 192117 h 620404"/>
              <a:gd name="connsiteX143" fmla="*/ 829342 w 2686908"/>
              <a:gd name="connsiteY143" fmla="*/ 118753 h 620404"/>
              <a:gd name="connsiteX144" fmla="*/ 941355 w 2686908"/>
              <a:gd name="connsiteY144" fmla="*/ 85354 h 620404"/>
              <a:gd name="connsiteX145" fmla="*/ 164402 w 2686908"/>
              <a:gd name="connsiteY145" fmla="*/ 85354 h 620404"/>
              <a:gd name="connsiteX146" fmla="*/ 285083 w 2686908"/>
              <a:gd name="connsiteY146" fmla="*/ 118753 h 620404"/>
              <a:gd name="connsiteX147" fmla="*/ 330232 w 2686908"/>
              <a:gd name="connsiteY147" fmla="*/ 213146 h 620404"/>
              <a:gd name="connsiteX148" fmla="*/ 267653 w 2686908"/>
              <a:gd name="connsiteY148" fmla="*/ 213146 h 620404"/>
              <a:gd name="connsiteX149" fmla="*/ 225457 w 2686908"/>
              <a:gd name="connsiteY149" fmla="*/ 188501 h 620404"/>
              <a:gd name="connsiteX150" fmla="*/ 213836 w 2686908"/>
              <a:gd name="connsiteY150" fmla="*/ 176892 h 620404"/>
              <a:gd name="connsiteX151" fmla="*/ 166211 w 2686908"/>
              <a:gd name="connsiteY151" fmla="*/ 163761 h 620404"/>
              <a:gd name="connsiteX152" fmla="*/ 122587 w 2686908"/>
              <a:gd name="connsiteY152" fmla="*/ 172515 h 620404"/>
              <a:gd name="connsiteX153" fmla="*/ 109538 w 2686908"/>
              <a:gd name="connsiteY153" fmla="*/ 198682 h 620404"/>
              <a:gd name="connsiteX154" fmla="*/ 185166 w 2686908"/>
              <a:gd name="connsiteY154" fmla="*/ 237886 h 620404"/>
              <a:gd name="connsiteX155" fmla="*/ 200406 w 2686908"/>
              <a:gd name="connsiteY155" fmla="*/ 242263 h 620404"/>
              <a:gd name="connsiteX156" fmla="*/ 212789 w 2686908"/>
              <a:gd name="connsiteY156" fmla="*/ 243690 h 620404"/>
              <a:gd name="connsiteX157" fmla="*/ 316040 w 2686908"/>
              <a:gd name="connsiteY157" fmla="*/ 287271 h 620404"/>
              <a:gd name="connsiteX158" fmla="*/ 343662 w 2686908"/>
              <a:gd name="connsiteY158" fmla="*/ 357019 h 620404"/>
              <a:gd name="connsiteX159" fmla="*/ 297085 w 2686908"/>
              <a:gd name="connsiteY159" fmla="*/ 455789 h 620404"/>
              <a:gd name="connsiteX160" fmla="*/ 166211 w 2686908"/>
              <a:gd name="connsiteY160" fmla="*/ 487761 h 620404"/>
              <a:gd name="connsiteX161" fmla="*/ 42386 w 2686908"/>
              <a:gd name="connsiteY161" fmla="*/ 454361 h 620404"/>
              <a:gd name="connsiteX162" fmla="*/ 0 w 2686908"/>
              <a:gd name="connsiteY162" fmla="*/ 356638 h 620404"/>
              <a:gd name="connsiteX163" fmla="*/ 0 w 2686908"/>
              <a:gd name="connsiteY163" fmla="*/ 352642 h 620404"/>
              <a:gd name="connsiteX164" fmla="*/ 98965 w 2686908"/>
              <a:gd name="connsiteY164" fmla="*/ 352642 h 620404"/>
              <a:gd name="connsiteX165" fmla="*/ 120777 w 2686908"/>
              <a:gd name="connsiteY165" fmla="*/ 396222 h 620404"/>
              <a:gd name="connsiteX166" fmla="*/ 178975 w 2686908"/>
              <a:gd name="connsiteY166" fmla="*/ 410781 h 620404"/>
              <a:gd name="connsiteX167" fmla="*/ 224028 w 2686908"/>
              <a:gd name="connsiteY167" fmla="*/ 400599 h 620404"/>
              <a:gd name="connsiteX168" fmla="*/ 241459 w 2686908"/>
              <a:gd name="connsiteY168" fmla="*/ 373005 h 620404"/>
              <a:gd name="connsiteX169" fmla="*/ 180404 w 2686908"/>
              <a:gd name="connsiteY169" fmla="*/ 333801 h 620404"/>
              <a:gd name="connsiteX170" fmla="*/ 141161 w 2686908"/>
              <a:gd name="connsiteY170" fmla="*/ 325047 h 620404"/>
              <a:gd name="connsiteX171" fmla="*/ 37814 w 2686908"/>
              <a:gd name="connsiteY171" fmla="*/ 280039 h 620404"/>
              <a:gd name="connsiteX172" fmla="*/ 8763 w 2686908"/>
              <a:gd name="connsiteY172" fmla="*/ 210291 h 620404"/>
              <a:gd name="connsiteX173" fmla="*/ 50959 w 2686908"/>
              <a:gd name="connsiteY173" fmla="*/ 118753 h 620404"/>
              <a:gd name="connsiteX174" fmla="*/ 164402 w 2686908"/>
              <a:gd name="connsiteY174" fmla="*/ 85354 h 620404"/>
              <a:gd name="connsiteX175" fmla="*/ 1129760 w 2686908"/>
              <a:gd name="connsiteY175" fmla="*/ 0 h 620404"/>
              <a:gd name="connsiteX176" fmla="*/ 1228058 w 2686908"/>
              <a:gd name="connsiteY176" fmla="*/ 0 h 620404"/>
              <a:gd name="connsiteX177" fmla="*/ 1228058 w 2686908"/>
              <a:gd name="connsiteY177" fmla="*/ 97438 h 620404"/>
              <a:gd name="connsiteX178" fmla="*/ 1297305 w 2686908"/>
              <a:gd name="connsiteY178" fmla="*/ 97438 h 620404"/>
              <a:gd name="connsiteX179" fmla="*/ 1297305 w 2686908"/>
              <a:gd name="connsiteY179" fmla="*/ 184409 h 620404"/>
              <a:gd name="connsiteX180" fmla="*/ 1228058 w 2686908"/>
              <a:gd name="connsiteY180" fmla="*/ 184409 h 620404"/>
              <a:gd name="connsiteX181" fmla="*/ 1228058 w 2686908"/>
              <a:gd name="connsiteY181" fmla="*/ 319813 h 620404"/>
              <a:gd name="connsiteX182" fmla="*/ 1246250 w 2686908"/>
              <a:gd name="connsiteY182" fmla="*/ 376334 h 620404"/>
              <a:gd name="connsiteX183" fmla="*/ 1301781 w 2686908"/>
              <a:gd name="connsiteY183" fmla="*/ 390512 h 620404"/>
              <a:gd name="connsiteX184" fmla="*/ 1301781 w 2686908"/>
              <a:gd name="connsiteY184" fmla="*/ 479767 h 620404"/>
              <a:gd name="connsiteX185" fmla="*/ 1227295 w 2686908"/>
              <a:gd name="connsiteY185" fmla="*/ 474534 h 620404"/>
              <a:gd name="connsiteX186" fmla="*/ 1173670 w 2686908"/>
              <a:gd name="connsiteY186" fmla="*/ 443323 h 620404"/>
              <a:gd name="connsiteX187" fmla="*/ 1140904 w 2686908"/>
              <a:gd name="connsiteY187" fmla="*/ 390132 h 620404"/>
              <a:gd name="connsiteX188" fmla="*/ 1129760 w 2686908"/>
              <a:gd name="connsiteY188" fmla="*/ 319052 h 620404"/>
              <a:gd name="connsiteX189" fmla="*/ 361474 w 2686908"/>
              <a:gd name="connsiteY189" fmla="*/ 0 h 620404"/>
              <a:gd name="connsiteX190" fmla="*/ 459772 w 2686908"/>
              <a:gd name="connsiteY190" fmla="*/ 0 h 620404"/>
              <a:gd name="connsiteX191" fmla="*/ 459772 w 2686908"/>
              <a:gd name="connsiteY191" fmla="*/ 97438 h 620404"/>
              <a:gd name="connsiteX192" fmla="*/ 529019 w 2686908"/>
              <a:gd name="connsiteY192" fmla="*/ 97438 h 620404"/>
              <a:gd name="connsiteX193" fmla="*/ 529019 w 2686908"/>
              <a:gd name="connsiteY193" fmla="*/ 184409 h 620404"/>
              <a:gd name="connsiteX194" fmla="*/ 459772 w 2686908"/>
              <a:gd name="connsiteY194" fmla="*/ 184409 h 620404"/>
              <a:gd name="connsiteX195" fmla="*/ 459772 w 2686908"/>
              <a:gd name="connsiteY195" fmla="*/ 319813 h 620404"/>
              <a:gd name="connsiteX196" fmla="*/ 478060 w 2686908"/>
              <a:gd name="connsiteY196" fmla="*/ 376334 h 620404"/>
              <a:gd name="connsiteX197" fmla="*/ 533496 w 2686908"/>
              <a:gd name="connsiteY197" fmla="*/ 390512 h 620404"/>
              <a:gd name="connsiteX198" fmla="*/ 533496 w 2686908"/>
              <a:gd name="connsiteY198" fmla="*/ 479767 h 620404"/>
              <a:gd name="connsiteX199" fmla="*/ 459010 w 2686908"/>
              <a:gd name="connsiteY199" fmla="*/ 474534 h 620404"/>
              <a:gd name="connsiteX200" fmla="*/ 405479 w 2686908"/>
              <a:gd name="connsiteY200" fmla="*/ 443323 h 620404"/>
              <a:gd name="connsiteX201" fmla="*/ 372713 w 2686908"/>
              <a:gd name="connsiteY201" fmla="*/ 390132 h 620404"/>
              <a:gd name="connsiteX202" fmla="*/ 361474 w 2686908"/>
              <a:gd name="connsiteY202" fmla="*/ 319052 h 620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2686908" h="620404">
                <a:moveTo>
                  <a:pt x="1011174" y="285844"/>
                </a:moveTo>
                <a:cubicBezTo>
                  <a:pt x="992876" y="294246"/>
                  <a:pt x="973712" y="300631"/>
                  <a:pt x="954024" y="304874"/>
                </a:cubicBezTo>
                <a:lnTo>
                  <a:pt x="920591" y="312201"/>
                </a:lnTo>
                <a:cubicBezTo>
                  <a:pt x="906503" y="315284"/>
                  <a:pt x="893406" y="321821"/>
                  <a:pt x="882491" y="331232"/>
                </a:cubicBezTo>
                <a:cubicBezTo>
                  <a:pt x="876090" y="340690"/>
                  <a:pt x="872547" y="351785"/>
                  <a:pt x="872299" y="363204"/>
                </a:cubicBezTo>
                <a:cubicBezTo>
                  <a:pt x="871737" y="376145"/>
                  <a:pt x="876481" y="388762"/>
                  <a:pt x="885444" y="398125"/>
                </a:cubicBezTo>
                <a:cubicBezTo>
                  <a:pt x="896255" y="406594"/>
                  <a:pt x="909837" y="410733"/>
                  <a:pt x="923544" y="409734"/>
                </a:cubicBezTo>
                <a:cubicBezTo>
                  <a:pt x="967768" y="413693"/>
                  <a:pt x="1006830" y="381093"/>
                  <a:pt x="1010793" y="336913"/>
                </a:cubicBezTo>
                <a:cubicBezTo>
                  <a:pt x="1011221" y="332146"/>
                  <a:pt x="1011221" y="327340"/>
                  <a:pt x="1010793" y="322573"/>
                </a:cubicBezTo>
                <a:close/>
                <a:moveTo>
                  <a:pt x="1488471" y="169565"/>
                </a:moveTo>
                <a:cubicBezTo>
                  <a:pt x="1468955" y="168890"/>
                  <a:pt x="1450009" y="176255"/>
                  <a:pt x="1436083" y="189928"/>
                </a:cubicBezTo>
                <a:cubicBezTo>
                  <a:pt x="1421615" y="205790"/>
                  <a:pt x="1413804" y="226610"/>
                  <a:pt x="1414271" y="248067"/>
                </a:cubicBezTo>
                <a:lnTo>
                  <a:pt x="1562671" y="248067"/>
                </a:lnTo>
                <a:cubicBezTo>
                  <a:pt x="1560642" y="221929"/>
                  <a:pt x="1553841" y="202555"/>
                  <a:pt x="1542287" y="189928"/>
                </a:cubicBezTo>
                <a:cubicBezTo>
                  <a:pt x="1528095" y="175750"/>
                  <a:pt x="1508502" y="168338"/>
                  <a:pt x="1488471" y="169565"/>
                </a:cubicBezTo>
                <a:close/>
                <a:moveTo>
                  <a:pt x="1997106" y="94012"/>
                </a:moveTo>
                <a:lnTo>
                  <a:pt x="2109120" y="94012"/>
                </a:lnTo>
                <a:lnTo>
                  <a:pt x="2187606" y="367199"/>
                </a:lnTo>
                <a:lnTo>
                  <a:pt x="2255995" y="129314"/>
                </a:lnTo>
                <a:cubicBezTo>
                  <a:pt x="2261835" y="106030"/>
                  <a:pt x="2277360" y="94393"/>
                  <a:pt x="2302573" y="94393"/>
                </a:cubicBezTo>
                <a:lnTo>
                  <a:pt x="2372296" y="94393"/>
                </a:lnTo>
                <a:lnTo>
                  <a:pt x="2223992" y="534671"/>
                </a:lnTo>
                <a:cubicBezTo>
                  <a:pt x="2212371" y="566385"/>
                  <a:pt x="2197826" y="589165"/>
                  <a:pt x="2180367" y="602991"/>
                </a:cubicBezTo>
                <a:cubicBezTo>
                  <a:pt x="2162936" y="614600"/>
                  <a:pt x="2134266" y="620404"/>
                  <a:pt x="2094642" y="620404"/>
                </a:cubicBezTo>
                <a:lnTo>
                  <a:pt x="2085117" y="620404"/>
                </a:lnTo>
                <a:lnTo>
                  <a:pt x="2051875" y="619643"/>
                </a:lnTo>
                <a:lnTo>
                  <a:pt x="2051875" y="537430"/>
                </a:lnTo>
                <a:lnTo>
                  <a:pt x="2079497" y="537430"/>
                </a:lnTo>
                <a:cubicBezTo>
                  <a:pt x="2095909" y="538372"/>
                  <a:pt x="2112120" y="533519"/>
                  <a:pt x="2125313" y="523728"/>
                </a:cubicBezTo>
                <a:cubicBezTo>
                  <a:pt x="2136428" y="514526"/>
                  <a:pt x="2138619" y="499749"/>
                  <a:pt x="2131885" y="479386"/>
                </a:cubicBezTo>
                <a:close/>
                <a:moveTo>
                  <a:pt x="754856" y="93822"/>
                </a:moveTo>
                <a:lnTo>
                  <a:pt x="769334" y="93822"/>
                </a:lnTo>
                <a:lnTo>
                  <a:pt x="769334" y="196969"/>
                </a:lnTo>
                <a:lnTo>
                  <a:pt x="735902" y="196969"/>
                </a:lnTo>
                <a:cubicBezTo>
                  <a:pt x="707327" y="196969"/>
                  <a:pt x="686943" y="203820"/>
                  <a:pt x="673418" y="217332"/>
                </a:cubicBezTo>
                <a:cubicBezTo>
                  <a:pt x="659892" y="230844"/>
                  <a:pt x="653034" y="252254"/>
                  <a:pt x="653034" y="281276"/>
                </a:cubicBezTo>
                <a:lnTo>
                  <a:pt x="653034" y="480338"/>
                </a:lnTo>
                <a:lnTo>
                  <a:pt x="551402" y="480338"/>
                </a:lnTo>
                <a:lnTo>
                  <a:pt x="551402" y="292884"/>
                </a:lnTo>
                <a:cubicBezTo>
                  <a:pt x="550430" y="260361"/>
                  <a:pt x="556098" y="227989"/>
                  <a:pt x="568070" y="197730"/>
                </a:cubicBezTo>
                <a:cubicBezTo>
                  <a:pt x="578025" y="173694"/>
                  <a:pt x="593760" y="152485"/>
                  <a:pt x="613886" y="135975"/>
                </a:cubicBezTo>
                <a:cubicBezTo>
                  <a:pt x="633107" y="121074"/>
                  <a:pt x="655139" y="110208"/>
                  <a:pt x="678656" y="104003"/>
                </a:cubicBezTo>
                <a:cubicBezTo>
                  <a:pt x="703488" y="97229"/>
                  <a:pt x="729119" y="93803"/>
                  <a:pt x="754856" y="93822"/>
                </a:cubicBezTo>
                <a:close/>
                <a:moveTo>
                  <a:pt x="2507646" y="85354"/>
                </a:moveTo>
                <a:cubicBezTo>
                  <a:pt x="2558005" y="85354"/>
                  <a:pt x="2598258" y="96487"/>
                  <a:pt x="2628424" y="118753"/>
                </a:cubicBezTo>
                <a:cubicBezTo>
                  <a:pt x="2656217" y="142361"/>
                  <a:pt x="2672610" y="176702"/>
                  <a:pt x="2673477" y="213146"/>
                </a:cubicBezTo>
                <a:lnTo>
                  <a:pt x="2610898" y="213146"/>
                </a:lnTo>
                <a:cubicBezTo>
                  <a:pt x="2593305" y="213631"/>
                  <a:pt x="2576969" y="204068"/>
                  <a:pt x="2568797" y="188501"/>
                </a:cubicBezTo>
                <a:lnTo>
                  <a:pt x="2557081" y="176892"/>
                </a:lnTo>
                <a:cubicBezTo>
                  <a:pt x="2543051" y="167472"/>
                  <a:pt x="2526335" y="162866"/>
                  <a:pt x="2509456" y="163761"/>
                </a:cubicBezTo>
                <a:cubicBezTo>
                  <a:pt x="2494369" y="162828"/>
                  <a:pt x="2479300" y="165845"/>
                  <a:pt x="2465737" y="172515"/>
                </a:cubicBezTo>
                <a:cubicBezTo>
                  <a:pt x="2457059" y="178319"/>
                  <a:pt x="2452097" y="188273"/>
                  <a:pt x="2452687" y="198682"/>
                </a:cubicBezTo>
                <a:cubicBezTo>
                  <a:pt x="2452687" y="214164"/>
                  <a:pt x="2477900" y="227229"/>
                  <a:pt x="2528316" y="237886"/>
                </a:cubicBezTo>
                <a:cubicBezTo>
                  <a:pt x="2534126" y="239789"/>
                  <a:pt x="2539269" y="241312"/>
                  <a:pt x="2543556" y="242263"/>
                </a:cubicBezTo>
                <a:cubicBezTo>
                  <a:pt x="2547623" y="243177"/>
                  <a:pt x="2551776" y="243662"/>
                  <a:pt x="2555938" y="243690"/>
                </a:cubicBezTo>
                <a:cubicBezTo>
                  <a:pt x="2605401" y="256374"/>
                  <a:pt x="2639825" y="270904"/>
                  <a:pt x="2659189" y="287271"/>
                </a:cubicBezTo>
                <a:cubicBezTo>
                  <a:pt x="2677972" y="305493"/>
                  <a:pt x="2688021" y="330890"/>
                  <a:pt x="2686811" y="357019"/>
                </a:cubicBezTo>
                <a:cubicBezTo>
                  <a:pt x="2686811" y="399648"/>
                  <a:pt x="2671315" y="432571"/>
                  <a:pt x="2640330" y="455789"/>
                </a:cubicBezTo>
                <a:cubicBezTo>
                  <a:pt x="2611183" y="477199"/>
                  <a:pt x="2567559" y="487761"/>
                  <a:pt x="2509456" y="487761"/>
                </a:cubicBezTo>
                <a:cubicBezTo>
                  <a:pt x="2454144" y="487761"/>
                  <a:pt x="2412873" y="476627"/>
                  <a:pt x="2385631" y="454361"/>
                </a:cubicBezTo>
                <a:cubicBezTo>
                  <a:pt x="2357437" y="432095"/>
                  <a:pt x="2343369" y="399648"/>
                  <a:pt x="2343435" y="357019"/>
                </a:cubicBezTo>
                <a:lnTo>
                  <a:pt x="2343340" y="352642"/>
                </a:lnTo>
                <a:lnTo>
                  <a:pt x="2442210" y="352642"/>
                </a:lnTo>
                <a:cubicBezTo>
                  <a:pt x="2442019" y="369836"/>
                  <a:pt x="2450135" y="386060"/>
                  <a:pt x="2464022" y="396222"/>
                </a:cubicBezTo>
                <a:cubicBezTo>
                  <a:pt x="2481548" y="406718"/>
                  <a:pt x="2501808" y="411789"/>
                  <a:pt x="2522220" y="410781"/>
                </a:cubicBezTo>
                <a:cubicBezTo>
                  <a:pt x="2537860" y="411228"/>
                  <a:pt x="2553357" y="407726"/>
                  <a:pt x="2567273" y="400599"/>
                </a:cubicBezTo>
                <a:cubicBezTo>
                  <a:pt x="2577912" y="395509"/>
                  <a:pt x="2584723" y="384794"/>
                  <a:pt x="2584799" y="373005"/>
                </a:cubicBezTo>
                <a:cubicBezTo>
                  <a:pt x="2584799" y="355592"/>
                  <a:pt x="2564415" y="342460"/>
                  <a:pt x="2523649" y="333801"/>
                </a:cubicBezTo>
                <a:cubicBezTo>
                  <a:pt x="2510371" y="331832"/>
                  <a:pt x="2497254" y="328910"/>
                  <a:pt x="2484405" y="325047"/>
                </a:cubicBezTo>
                <a:cubicBezTo>
                  <a:pt x="2432971" y="312363"/>
                  <a:pt x="2398556" y="297357"/>
                  <a:pt x="2381155" y="280039"/>
                </a:cubicBezTo>
                <a:cubicBezTo>
                  <a:pt x="2361571" y="262255"/>
                  <a:pt x="2350894" y="236706"/>
                  <a:pt x="2352008" y="210291"/>
                </a:cubicBezTo>
                <a:cubicBezTo>
                  <a:pt x="2351332" y="174942"/>
                  <a:pt x="2366876" y="141219"/>
                  <a:pt x="2394204" y="118753"/>
                </a:cubicBezTo>
                <a:cubicBezTo>
                  <a:pt x="2423350" y="96487"/>
                  <a:pt x="2461164" y="85354"/>
                  <a:pt x="2507646" y="85354"/>
                </a:cubicBezTo>
                <a:close/>
                <a:moveTo>
                  <a:pt x="1838991" y="85354"/>
                </a:moveTo>
                <a:cubicBezTo>
                  <a:pt x="1889407" y="85354"/>
                  <a:pt x="1929640" y="96487"/>
                  <a:pt x="1959673" y="118753"/>
                </a:cubicBezTo>
                <a:cubicBezTo>
                  <a:pt x="1987533" y="142323"/>
                  <a:pt x="2003964" y="176683"/>
                  <a:pt x="2004821" y="213146"/>
                </a:cubicBezTo>
                <a:lnTo>
                  <a:pt x="1942242" y="213146"/>
                </a:lnTo>
                <a:cubicBezTo>
                  <a:pt x="1924630" y="213622"/>
                  <a:pt x="1908266" y="204068"/>
                  <a:pt x="1900046" y="188501"/>
                </a:cubicBezTo>
                <a:cubicBezTo>
                  <a:pt x="1896236" y="184600"/>
                  <a:pt x="1892331" y="180698"/>
                  <a:pt x="1888426" y="176892"/>
                </a:cubicBezTo>
                <a:cubicBezTo>
                  <a:pt x="1874395" y="167481"/>
                  <a:pt x="1857679" y="162876"/>
                  <a:pt x="1840801" y="163761"/>
                </a:cubicBezTo>
                <a:cubicBezTo>
                  <a:pt x="1825741" y="162838"/>
                  <a:pt x="1810712" y="165854"/>
                  <a:pt x="1797176" y="172515"/>
                </a:cubicBezTo>
                <a:cubicBezTo>
                  <a:pt x="1788499" y="178319"/>
                  <a:pt x="1783536" y="188273"/>
                  <a:pt x="1784127" y="198682"/>
                </a:cubicBezTo>
                <a:cubicBezTo>
                  <a:pt x="1784127" y="214164"/>
                  <a:pt x="1809340" y="227229"/>
                  <a:pt x="1859756" y="237886"/>
                </a:cubicBezTo>
                <a:cubicBezTo>
                  <a:pt x="1865566" y="239789"/>
                  <a:pt x="1870614" y="241312"/>
                  <a:pt x="1874995" y="242263"/>
                </a:cubicBezTo>
                <a:cubicBezTo>
                  <a:pt x="1879063" y="243177"/>
                  <a:pt x="1883216" y="243662"/>
                  <a:pt x="1887378" y="243690"/>
                </a:cubicBezTo>
                <a:cubicBezTo>
                  <a:pt x="1936784" y="256374"/>
                  <a:pt x="1971198" y="270904"/>
                  <a:pt x="1990629" y="287271"/>
                </a:cubicBezTo>
                <a:cubicBezTo>
                  <a:pt x="2009365" y="305522"/>
                  <a:pt x="2019413" y="330899"/>
                  <a:pt x="2018251" y="357019"/>
                </a:cubicBezTo>
                <a:cubicBezTo>
                  <a:pt x="2018251" y="399648"/>
                  <a:pt x="2002755" y="432571"/>
                  <a:pt x="1971770" y="455789"/>
                </a:cubicBezTo>
                <a:cubicBezTo>
                  <a:pt x="1942623" y="477199"/>
                  <a:pt x="1898999" y="487761"/>
                  <a:pt x="1840801" y="487761"/>
                </a:cubicBezTo>
                <a:cubicBezTo>
                  <a:pt x="1785556" y="487761"/>
                  <a:pt x="1744284" y="476627"/>
                  <a:pt x="1716976" y="454361"/>
                </a:cubicBezTo>
                <a:cubicBezTo>
                  <a:pt x="1689668" y="432095"/>
                  <a:pt x="1675570" y="399524"/>
                  <a:pt x="1674685" y="356638"/>
                </a:cubicBezTo>
                <a:lnTo>
                  <a:pt x="1674685" y="352642"/>
                </a:lnTo>
                <a:lnTo>
                  <a:pt x="1773555" y="352642"/>
                </a:lnTo>
                <a:cubicBezTo>
                  <a:pt x="1773364" y="369836"/>
                  <a:pt x="1781488" y="386060"/>
                  <a:pt x="1795367" y="396222"/>
                </a:cubicBezTo>
                <a:cubicBezTo>
                  <a:pt x="1812892" y="406718"/>
                  <a:pt x="1833152" y="411789"/>
                  <a:pt x="1853564" y="410781"/>
                </a:cubicBezTo>
                <a:cubicBezTo>
                  <a:pt x="1869205" y="411228"/>
                  <a:pt x="1884701" y="407726"/>
                  <a:pt x="1898617" y="400599"/>
                </a:cubicBezTo>
                <a:cubicBezTo>
                  <a:pt x="1909219" y="395480"/>
                  <a:pt x="1915981" y="384775"/>
                  <a:pt x="1916048" y="373005"/>
                </a:cubicBezTo>
                <a:cubicBezTo>
                  <a:pt x="1916048" y="355592"/>
                  <a:pt x="1895760" y="342460"/>
                  <a:pt x="1854993" y="333801"/>
                </a:cubicBezTo>
                <a:cubicBezTo>
                  <a:pt x="1841715" y="331841"/>
                  <a:pt x="1828599" y="328920"/>
                  <a:pt x="1815750" y="325047"/>
                </a:cubicBezTo>
                <a:cubicBezTo>
                  <a:pt x="1764315" y="312363"/>
                  <a:pt x="1729901" y="297357"/>
                  <a:pt x="1712499" y="280039"/>
                </a:cubicBezTo>
                <a:cubicBezTo>
                  <a:pt x="1692916" y="262255"/>
                  <a:pt x="1682238" y="236706"/>
                  <a:pt x="1683352" y="210291"/>
                </a:cubicBezTo>
                <a:cubicBezTo>
                  <a:pt x="1682676" y="174942"/>
                  <a:pt x="1698221" y="141219"/>
                  <a:pt x="1725548" y="118753"/>
                </a:cubicBezTo>
                <a:cubicBezTo>
                  <a:pt x="1754571" y="96487"/>
                  <a:pt x="1792385" y="85354"/>
                  <a:pt x="1838991" y="85354"/>
                </a:cubicBezTo>
                <a:close/>
                <a:moveTo>
                  <a:pt x="1485804" y="85354"/>
                </a:moveTo>
                <a:cubicBezTo>
                  <a:pt x="1543973" y="85354"/>
                  <a:pt x="1589084" y="102767"/>
                  <a:pt x="1621155" y="137593"/>
                </a:cubicBezTo>
                <a:cubicBezTo>
                  <a:pt x="1652139" y="173495"/>
                  <a:pt x="1667636" y="223394"/>
                  <a:pt x="1667636" y="287271"/>
                </a:cubicBezTo>
                <a:lnTo>
                  <a:pt x="1667636" y="303257"/>
                </a:lnTo>
                <a:cubicBezTo>
                  <a:pt x="1667865" y="306711"/>
                  <a:pt x="1667379" y="310175"/>
                  <a:pt x="1666208" y="313438"/>
                </a:cubicBezTo>
                <a:lnTo>
                  <a:pt x="1414271" y="313438"/>
                </a:lnTo>
                <a:cubicBezTo>
                  <a:pt x="1415223" y="343507"/>
                  <a:pt x="1422558" y="365773"/>
                  <a:pt x="1436083" y="380046"/>
                </a:cubicBezTo>
                <a:cubicBezTo>
                  <a:pt x="1450381" y="396403"/>
                  <a:pt x="1471564" y="405043"/>
                  <a:pt x="1493233" y="403359"/>
                </a:cubicBezTo>
                <a:cubicBezTo>
                  <a:pt x="1507959" y="403778"/>
                  <a:pt x="1522523" y="400266"/>
                  <a:pt x="1535430" y="393177"/>
                </a:cubicBezTo>
                <a:cubicBezTo>
                  <a:pt x="1538458" y="392112"/>
                  <a:pt x="1541201" y="390351"/>
                  <a:pt x="1543430" y="388039"/>
                </a:cubicBezTo>
                <a:lnTo>
                  <a:pt x="1551431" y="380046"/>
                </a:lnTo>
                <a:cubicBezTo>
                  <a:pt x="1554013" y="375326"/>
                  <a:pt x="1557746" y="371330"/>
                  <a:pt x="1562290" y="368437"/>
                </a:cubicBezTo>
                <a:cubicBezTo>
                  <a:pt x="1570148" y="363261"/>
                  <a:pt x="1579473" y="360797"/>
                  <a:pt x="1588865" y="361396"/>
                </a:cubicBezTo>
                <a:lnTo>
                  <a:pt x="1661540" y="361396"/>
                </a:lnTo>
                <a:cubicBezTo>
                  <a:pt x="1653063" y="398715"/>
                  <a:pt x="1631384" y="431734"/>
                  <a:pt x="1600485" y="454361"/>
                </a:cubicBezTo>
                <a:cubicBezTo>
                  <a:pt x="1567338" y="477560"/>
                  <a:pt x="1527495" y="489293"/>
                  <a:pt x="1487042" y="487761"/>
                </a:cubicBezTo>
                <a:cubicBezTo>
                  <a:pt x="1431674" y="487761"/>
                  <a:pt x="1388525" y="469843"/>
                  <a:pt x="1357597" y="433999"/>
                </a:cubicBezTo>
                <a:cubicBezTo>
                  <a:pt x="1326736" y="399172"/>
                  <a:pt x="1311306" y="349311"/>
                  <a:pt x="1311306" y="284416"/>
                </a:cubicBezTo>
                <a:cubicBezTo>
                  <a:pt x="1311306" y="222376"/>
                  <a:pt x="1326356" y="173942"/>
                  <a:pt x="1356454" y="139116"/>
                </a:cubicBezTo>
                <a:cubicBezTo>
                  <a:pt x="1387439" y="103271"/>
                  <a:pt x="1430559" y="85354"/>
                  <a:pt x="1485804" y="85354"/>
                </a:cubicBezTo>
                <a:close/>
                <a:moveTo>
                  <a:pt x="941355" y="85354"/>
                </a:moveTo>
                <a:cubicBezTo>
                  <a:pt x="995648" y="85354"/>
                  <a:pt x="1036387" y="94555"/>
                  <a:pt x="1063561" y="112949"/>
                </a:cubicBezTo>
                <a:cubicBezTo>
                  <a:pt x="1090879" y="130838"/>
                  <a:pt x="1106843" y="161696"/>
                  <a:pt x="1105662" y="194305"/>
                </a:cubicBezTo>
                <a:lnTo>
                  <a:pt x="1105662" y="326474"/>
                </a:lnTo>
                <a:cubicBezTo>
                  <a:pt x="1105662" y="365297"/>
                  <a:pt x="1098642" y="395585"/>
                  <a:pt x="1084612" y="417347"/>
                </a:cubicBezTo>
                <a:cubicBezTo>
                  <a:pt x="1072467" y="437329"/>
                  <a:pt x="1055122" y="453648"/>
                  <a:pt x="1034415" y="464543"/>
                </a:cubicBezTo>
                <a:cubicBezTo>
                  <a:pt x="1014307" y="475153"/>
                  <a:pt x="992352" y="481804"/>
                  <a:pt x="969740" y="484145"/>
                </a:cubicBezTo>
                <a:cubicBezTo>
                  <a:pt x="949690" y="486429"/>
                  <a:pt x="929535" y="487627"/>
                  <a:pt x="909351" y="487761"/>
                </a:cubicBezTo>
                <a:cubicBezTo>
                  <a:pt x="876528" y="488351"/>
                  <a:pt x="844391" y="478340"/>
                  <a:pt x="817721" y="459214"/>
                </a:cubicBezTo>
                <a:cubicBezTo>
                  <a:pt x="791556" y="440184"/>
                  <a:pt x="778478" y="408945"/>
                  <a:pt x="778478" y="365488"/>
                </a:cubicBezTo>
                <a:cubicBezTo>
                  <a:pt x="778478" y="324762"/>
                  <a:pt x="790356" y="295711"/>
                  <a:pt x="814101" y="278326"/>
                </a:cubicBezTo>
                <a:cubicBezTo>
                  <a:pt x="841124" y="259533"/>
                  <a:pt x="872299" y="247554"/>
                  <a:pt x="904970" y="243405"/>
                </a:cubicBezTo>
                <a:cubicBezTo>
                  <a:pt x="910866" y="243262"/>
                  <a:pt x="916743" y="242529"/>
                  <a:pt x="922496" y="241216"/>
                </a:cubicBezTo>
                <a:cubicBezTo>
                  <a:pt x="929259" y="239789"/>
                  <a:pt x="936974" y="238552"/>
                  <a:pt x="945737" y="237601"/>
                </a:cubicBezTo>
                <a:cubicBezTo>
                  <a:pt x="988409" y="231768"/>
                  <a:pt x="1009745" y="219074"/>
                  <a:pt x="1009745" y="199539"/>
                </a:cubicBezTo>
                <a:cubicBezTo>
                  <a:pt x="1010450" y="185713"/>
                  <a:pt x="1000801" y="173505"/>
                  <a:pt x="987171" y="170993"/>
                </a:cubicBezTo>
                <a:cubicBezTo>
                  <a:pt x="973741" y="166863"/>
                  <a:pt x="959786" y="164655"/>
                  <a:pt x="945737" y="164427"/>
                </a:cubicBezTo>
                <a:cubicBezTo>
                  <a:pt x="933355" y="164227"/>
                  <a:pt x="921038" y="166225"/>
                  <a:pt x="909351" y="170327"/>
                </a:cubicBezTo>
                <a:cubicBezTo>
                  <a:pt x="898883" y="173999"/>
                  <a:pt x="890444" y="181907"/>
                  <a:pt x="886110" y="192117"/>
                </a:cubicBezTo>
                <a:lnTo>
                  <a:pt x="788670" y="192117"/>
                </a:lnTo>
                <a:cubicBezTo>
                  <a:pt x="792175" y="163314"/>
                  <a:pt x="806758" y="137004"/>
                  <a:pt x="829342" y="118753"/>
                </a:cubicBezTo>
                <a:cubicBezTo>
                  <a:pt x="855564" y="96487"/>
                  <a:pt x="892902" y="85354"/>
                  <a:pt x="941355" y="85354"/>
                </a:cubicBezTo>
                <a:close/>
                <a:moveTo>
                  <a:pt x="164402" y="85354"/>
                </a:moveTo>
                <a:cubicBezTo>
                  <a:pt x="214817" y="85354"/>
                  <a:pt x="255051" y="96487"/>
                  <a:pt x="285083" y="118753"/>
                </a:cubicBezTo>
                <a:cubicBezTo>
                  <a:pt x="312906" y="142351"/>
                  <a:pt x="329327" y="176692"/>
                  <a:pt x="330232" y="213146"/>
                </a:cubicBezTo>
                <a:lnTo>
                  <a:pt x="267653" y="213146"/>
                </a:lnTo>
                <a:cubicBezTo>
                  <a:pt x="250041" y="213622"/>
                  <a:pt x="233677" y="204068"/>
                  <a:pt x="225457" y="188501"/>
                </a:cubicBezTo>
                <a:cubicBezTo>
                  <a:pt x="221552" y="184600"/>
                  <a:pt x="217742" y="180698"/>
                  <a:pt x="213836" y="176892"/>
                </a:cubicBezTo>
                <a:cubicBezTo>
                  <a:pt x="199806" y="167481"/>
                  <a:pt x="183090" y="162876"/>
                  <a:pt x="166211" y="163761"/>
                </a:cubicBezTo>
                <a:cubicBezTo>
                  <a:pt x="151152" y="162828"/>
                  <a:pt x="136112" y="165845"/>
                  <a:pt x="122587" y="172515"/>
                </a:cubicBezTo>
                <a:cubicBezTo>
                  <a:pt x="113872" y="178281"/>
                  <a:pt x="108890" y="188254"/>
                  <a:pt x="109538" y="198682"/>
                </a:cubicBezTo>
                <a:cubicBezTo>
                  <a:pt x="109538" y="214164"/>
                  <a:pt x="134750" y="227229"/>
                  <a:pt x="185166" y="237886"/>
                </a:cubicBezTo>
                <a:cubicBezTo>
                  <a:pt x="190976" y="239789"/>
                  <a:pt x="196025" y="241312"/>
                  <a:pt x="200406" y="242263"/>
                </a:cubicBezTo>
                <a:cubicBezTo>
                  <a:pt x="204473" y="243177"/>
                  <a:pt x="208626" y="243662"/>
                  <a:pt x="212789" y="243690"/>
                </a:cubicBezTo>
                <a:cubicBezTo>
                  <a:pt x="262195" y="256374"/>
                  <a:pt x="296609" y="270904"/>
                  <a:pt x="316040" y="287271"/>
                </a:cubicBezTo>
                <a:cubicBezTo>
                  <a:pt x="334775" y="305522"/>
                  <a:pt x="344824" y="330899"/>
                  <a:pt x="343662" y="357019"/>
                </a:cubicBezTo>
                <a:cubicBezTo>
                  <a:pt x="343662" y="399648"/>
                  <a:pt x="328136" y="432571"/>
                  <a:pt x="297085" y="455789"/>
                </a:cubicBezTo>
                <a:cubicBezTo>
                  <a:pt x="268034" y="477199"/>
                  <a:pt x="224409" y="487761"/>
                  <a:pt x="166211" y="487761"/>
                </a:cubicBezTo>
                <a:cubicBezTo>
                  <a:pt x="110966" y="487761"/>
                  <a:pt x="69695" y="476627"/>
                  <a:pt x="42386" y="454361"/>
                </a:cubicBezTo>
                <a:cubicBezTo>
                  <a:pt x="15078" y="432095"/>
                  <a:pt x="953" y="399524"/>
                  <a:pt x="0" y="356638"/>
                </a:cubicBezTo>
                <a:lnTo>
                  <a:pt x="0" y="352642"/>
                </a:lnTo>
                <a:lnTo>
                  <a:pt x="98965" y="352642"/>
                </a:lnTo>
                <a:cubicBezTo>
                  <a:pt x="98774" y="369836"/>
                  <a:pt x="106899" y="386060"/>
                  <a:pt x="120777" y="396222"/>
                </a:cubicBezTo>
                <a:cubicBezTo>
                  <a:pt x="138303" y="406737"/>
                  <a:pt x="158563" y="411799"/>
                  <a:pt x="178975" y="410781"/>
                </a:cubicBezTo>
                <a:cubicBezTo>
                  <a:pt x="194615" y="411228"/>
                  <a:pt x="210112" y="407726"/>
                  <a:pt x="224028" y="400599"/>
                </a:cubicBezTo>
                <a:cubicBezTo>
                  <a:pt x="234630" y="395480"/>
                  <a:pt x="241392" y="384775"/>
                  <a:pt x="241459" y="373005"/>
                </a:cubicBezTo>
                <a:cubicBezTo>
                  <a:pt x="241459" y="355592"/>
                  <a:pt x="221075" y="342460"/>
                  <a:pt x="180404" y="333801"/>
                </a:cubicBezTo>
                <a:cubicBezTo>
                  <a:pt x="167126" y="331841"/>
                  <a:pt x="154010" y="328920"/>
                  <a:pt x="141161" y="325047"/>
                </a:cubicBezTo>
                <a:cubicBezTo>
                  <a:pt x="89726" y="312363"/>
                  <a:pt x="55274" y="297357"/>
                  <a:pt x="37814" y="280039"/>
                </a:cubicBezTo>
                <a:cubicBezTo>
                  <a:pt x="18298" y="262217"/>
                  <a:pt x="7658" y="236687"/>
                  <a:pt x="8763" y="210291"/>
                </a:cubicBezTo>
                <a:cubicBezTo>
                  <a:pt x="8049" y="174932"/>
                  <a:pt x="23594" y="141200"/>
                  <a:pt x="50959" y="118753"/>
                </a:cubicBezTo>
                <a:cubicBezTo>
                  <a:pt x="79981" y="96487"/>
                  <a:pt x="117796" y="85354"/>
                  <a:pt x="164402" y="85354"/>
                </a:cubicBezTo>
                <a:close/>
                <a:moveTo>
                  <a:pt x="1129760" y="0"/>
                </a:moveTo>
                <a:lnTo>
                  <a:pt x="1228058" y="0"/>
                </a:lnTo>
                <a:lnTo>
                  <a:pt x="1228058" y="97438"/>
                </a:lnTo>
                <a:lnTo>
                  <a:pt x="1297305" y="97438"/>
                </a:lnTo>
                <a:lnTo>
                  <a:pt x="1297305" y="184409"/>
                </a:lnTo>
                <a:lnTo>
                  <a:pt x="1228058" y="184409"/>
                </a:lnTo>
                <a:lnTo>
                  <a:pt x="1228058" y="319813"/>
                </a:lnTo>
                <a:cubicBezTo>
                  <a:pt x="1228058" y="346646"/>
                  <a:pt x="1234058" y="365487"/>
                  <a:pt x="1246250" y="376334"/>
                </a:cubicBezTo>
                <a:cubicBezTo>
                  <a:pt x="1258442" y="387182"/>
                  <a:pt x="1276921" y="392035"/>
                  <a:pt x="1301781" y="390512"/>
                </a:cubicBezTo>
                <a:lnTo>
                  <a:pt x="1301781" y="479767"/>
                </a:lnTo>
                <a:cubicBezTo>
                  <a:pt x="1276854" y="482992"/>
                  <a:pt x="1251527" y="481213"/>
                  <a:pt x="1227295" y="474534"/>
                </a:cubicBezTo>
                <a:cubicBezTo>
                  <a:pt x="1207083" y="468795"/>
                  <a:pt x="1188643" y="458062"/>
                  <a:pt x="1173670" y="443323"/>
                </a:cubicBezTo>
                <a:cubicBezTo>
                  <a:pt x="1158858" y="428298"/>
                  <a:pt x="1147647" y="410114"/>
                  <a:pt x="1140904" y="390132"/>
                </a:cubicBezTo>
                <a:cubicBezTo>
                  <a:pt x="1133179" y="367247"/>
                  <a:pt x="1129407" y="343202"/>
                  <a:pt x="1129760" y="319052"/>
                </a:cubicBezTo>
                <a:close/>
                <a:moveTo>
                  <a:pt x="361474" y="0"/>
                </a:moveTo>
                <a:lnTo>
                  <a:pt x="459772" y="0"/>
                </a:lnTo>
                <a:lnTo>
                  <a:pt x="459772" y="97438"/>
                </a:lnTo>
                <a:lnTo>
                  <a:pt x="529019" y="97438"/>
                </a:lnTo>
                <a:lnTo>
                  <a:pt x="529019" y="184409"/>
                </a:lnTo>
                <a:lnTo>
                  <a:pt x="459772" y="184409"/>
                </a:lnTo>
                <a:lnTo>
                  <a:pt x="459772" y="319813"/>
                </a:lnTo>
                <a:cubicBezTo>
                  <a:pt x="459772" y="346646"/>
                  <a:pt x="465868" y="365487"/>
                  <a:pt x="478060" y="376334"/>
                </a:cubicBezTo>
                <a:cubicBezTo>
                  <a:pt x="490157" y="387277"/>
                  <a:pt x="508730" y="392035"/>
                  <a:pt x="533496" y="390512"/>
                </a:cubicBezTo>
                <a:lnTo>
                  <a:pt x="533496" y="479767"/>
                </a:lnTo>
                <a:cubicBezTo>
                  <a:pt x="508568" y="482992"/>
                  <a:pt x="483241" y="481213"/>
                  <a:pt x="459010" y="474534"/>
                </a:cubicBezTo>
                <a:cubicBezTo>
                  <a:pt x="438826" y="468786"/>
                  <a:pt x="420414" y="458053"/>
                  <a:pt x="405479" y="443323"/>
                </a:cubicBezTo>
                <a:cubicBezTo>
                  <a:pt x="390630" y="428327"/>
                  <a:pt x="379429" y="410133"/>
                  <a:pt x="372713" y="390132"/>
                </a:cubicBezTo>
                <a:cubicBezTo>
                  <a:pt x="364903" y="367257"/>
                  <a:pt x="361102" y="343211"/>
                  <a:pt x="361474" y="319052"/>
                </a:cubicBezTo>
                <a:close/>
              </a:path>
            </a:pathLst>
          </a:custGeom>
          <a:solidFill>
            <a:srgbClr val="FFFFFF"/>
          </a:solidFill>
          <a:ln w="9525" cap="flat">
            <a:noFill/>
            <a:prstDash val="solid"/>
            <a:miter/>
          </a:ln>
        </p:spPr>
        <p:txBody>
          <a:bodyPr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900" b="0" i="0" u="none" strike="noStrike" kern="0" cap="none" spc="0" normalizeH="0" baseline="0" noProof="0">
              <a:ln>
                <a:noFill/>
              </a:ln>
              <a:solidFill>
                <a:srgbClr val="494949"/>
              </a:solidFill>
              <a:effectLst/>
              <a:uLnTx/>
              <a:uFillTx/>
            </a:endParaRPr>
          </a:p>
        </p:txBody>
      </p:sp>
      <p:sp>
        <p:nvSpPr>
          <p:cNvPr id="3" name="Marcador de título 2">
            <a:extLst>
              <a:ext uri="{FF2B5EF4-FFF2-40B4-BE49-F238E27FC236}">
                <a16:creationId xmlns:a16="http://schemas.microsoft.com/office/drawing/2014/main" id="{1E80B981-CC2F-4441-A27A-70FCA3DEC91A}"/>
              </a:ext>
            </a:extLst>
          </p:cNvPr>
          <p:cNvSpPr>
            <a:spLocks noGrp="1"/>
          </p:cNvSpPr>
          <p:nvPr>
            <p:ph type="title"/>
          </p:nvPr>
        </p:nvSpPr>
        <p:spPr>
          <a:xfrm>
            <a:off x="598206" y="132121"/>
            <a:ext cx="11151135" cy="276999"/>
          </a:xfrm>
          <a:prstGeom prst="rect">
            <a:avLst/>
          </a:prstGeom>
        </p:spPr>
        <p:txBody>
          <a:bodyPr wrap="square" lIns="0" anchor="t">
            <a:noAutofit/>
          </a:bodyPr>
          <a:lstStyle/>
          <a:p>
            <a:pPr lvl="0"/>
            <a:r>
              <a:rPr lang="es-ES"/>
              <a:t>HAGA CLIC PARA MODIFICAR EL ESTILO DE TÍTULO DEL PATRÓN</a:t>
            </a:r>
            <a:endParaRPr lang="en-US"/>
          </a:p>
        </p:txBody>
      </p:sp>
    </p:spTree>
    <p:extLst>
      <p:ext uri="{BB962C8B-B14F-4D97-AF65-F5344CB8AC3E}">
        <p14:creationId xmlns:p14="http://schemas.microsoft.com/office/powerpoint/2010/main" val="1310757346"/>
      </p:ext>
    </p:extLst>
  </p:cSld>
  <p:clrMap bg1="lt1" tx1="dk1" bg2="lt2" tx2="dk2" accent1="accent1" accent2="accent2" accent3="accent3" accent4="accent4" accent5="accent5" accent6="accent6" hlink="hlink" folHlink="folHlink"/>
  <p:sldLayoutIdLst>
    <p:sldLayoutId id="2147484214" r:id="rId1"/>
    <p:sldLayoutId id="2147484215" r:id="rId2"/>
    <p:sldLayoutId id="2147484216" r:id="rId3"/>
    <p:sldLayoutId id="2147484217" r:id="rId4"/>
    <p:sldLayoutId id="2147484218" r:id="rId5"/>
    <p:sldLayoutId id="2147484219" r:id="rId6"/>
    <p:sldLayoutId id="2147484220" r:id="rId7"/>
    <p:sldLayoutId id="2147484222" r:id="rId8"/>
    <p:sldLayoutId id="2147484223" r:id="rId9"/>
    <p:sldLayoutId id="2147484224" r:id="rId10"/>
    <p:sldLayoutId id="2147484225" r:id="rId11"/>
    <p:sldLayoutId id="2147484226" r:id="rId12"/>
    <p:sldLayoutId id="2147484227" r:id="rId13"/>
    <p:sldLayoutId id="2147484228" r:id="rId14"/>
    <p:sldLayoutId id="2147484229" r:id="rId15"/>
    <p:sldLayoutId id="2147484230" r:id="rId16"/>
    <p:sldLayoutId id="2147484231" r:id="rId17"/>
    <p:sldLayoutId id="2147484232" r:id="rId18"/>
    <p:sldLayoutId id="2147484233" r:id="rId19"/>
    <p:sldLayoutId id="2147484234" r:id="rId20"/>
    <p:sldLayoutId id="2147484235" r:id="rId21"/>
    <p:sldLayoutId id="2147484236" r:id="rId22"/>
    <p:sldLayoutId id="2147484237" r:id="rId23"/>
  </p:sldLayoutIdLst>
  <p:transition spd="slow">
    <p:fade/>
  </p:transition>
  <p:hf hdr="0" ftr="0" dt="0"/>
  <p:txStyles>
    <p:titleStyle>
      <a:lvl1pPr marL="0" algn="l" defTabSz="914400" rtl="0" eaLnBrk="1" latinLnBrk="0" hangingPunct="1">
        <a:lnSpc>
          <a:spcPct val="100000"/>
        </a:lnSpc>
        <a:spcBef>
          <a:spcPct val="0"/>
        </a:spcBef>
        <a:buNone/>
        <a:defRPr lang="en-US" sz="1200" b="1" kern="1200" spc="300" dirty="0" smtClean="0">
          <a:solidFill>
            <a:schemeClr val="tx2"/>
          </a:solidFill>
          <a:latin typeface="+mn-lt"/>
          <a:ea typeface="+mn-ea"/>
          <a:cs typeface="+mn-cs"/>
        </a:defRPr>
      </a:lvl1pPr>
    </p:titleStyle>
    <p:bodyStyle>
      <a:lvl1pPr marL="0" indent="0" algn="l" defTabSz="914400" rtl="0" eaLnBrk="1" latinLnBrk="0" hangingPunct="1">
        <a:lnSpc>
          <a:spcPct val="100000"/>
        </a:lnSpc>
        <a:spcBef>
          <a:spcPts val="0"/>
        </a:spcBef>
        <a:spcAft>
          <a:spcPts val="600"/>
        </a:spcAft>
        <a:buFont typeface="Arial"/>
        <a:buNone/>
        <a:defRPr sz="1100" kern="1200">
          <a:solidFill>
            <a:schemeClr val="tx2"/>
          </a:solidFill>
          <a:latin typeface="+mn-lt"/>
          <a:ea typeface="+mn-ea"/>
          <a:cs typeface="+mn-cs"/>
        </a:defRPr>
      </a:lvl1pPr>
      <a:lvl2pPr marL="184150" indent="-184150" algn="l" defTabSz="914400" rtl="0" eaLnBrk="1" latinLnBrk="0" hangingPunct="1">
        <a:lnSpc>
          <a:spcPct val="100000"/>
        </a:lnSpc>
        <a:spcBef>
          <a:spcPts val="0"/>
        </a:spcBef>
        <a:spcAft>
          <a:spcPts val="600"/>
        </a:spcAft>
        <a:buFont typeface="Wingdings" pitchFamily="2" charset="2"/>
        <a:buChar char="§"/>
        <a:tabLst/>
        <a:defRPr sz="1100" kern="1200">
          <a:solidFill>
            <a:schemeClr val="tx2"/>
          </a:solidFill>
          <a:latin typeface="+mn-lt"/>
          <a:ea typeface="+mn-ea"/>
          <a:cs typeface="+mn-cs"/>
        </a:defRPr>
      </a:lvl2pPr>
      <a:lvl3pPr marL="357188" indent="-173038" algn="l" defTabSz="914400" rtl="0" eaLnBrk="1" latinLnBrk="0" hangingPunct="1">
        <a:lnSpc>
          <a:spcPct val="100000"/>
        </a:lnSpc>
        <a:spcBef>
          <a:spcPts val="0"/>
        </a:spcBef>
        <a:spcAft>
          <a:spcPts val="600"/>
        </a:spcAft>
        <a:buFont typeface="Arial"/>
        <a:buChar char="•"/>
        <a:tabLst/>
        <a:defRPr sz="1100" kern="1200">
          <a:solidFill>
            <a:schemeClr val="tx2"/>
          </a:solidFill>
          <a:latin typeface="+mn-lt"/>
          <a:ea typeface="+mn-ea"/>
          <a:cs typeface="+mn-cs"/>
        </a:defRPr>
      </a:lvl3pPr>
      <a:lvl4pPr marL="492125" indent="-134938" algn="l" defTabSz="914400" rtl="0" eaLnBrk="1" latinLnBrk="0" hangingPunct="1">
        <a:lnSpc>
          <a:spcPct val="100000"/>
        </a:lnSpc>
        <a:spcBef>
          <a:spcPts val="0"/>
        </a:spcBef>
        <a:spcAft>
          <a:spcPts val="600"/>
        </a:spcAft>
        <a:buFont typeface="Arial"/>
        <a:buChar char="•"/>
        <a:tabLst/>
        <a:defRPr sz="1100" kern="1200">
          <a:solidFill>
            <a:schemeClr val="tx2"/>
          </a:solidFill>
          <a:latin typeface="+mn-lt"/>
          <a:ea typeface="+mn-ea"/>
          <a:cs typeface="+mn-cs"/>
        </a:defRPr>
      </a:lvl4pPr>
      <a:lvl5pPr marL="677863" indent="-136525" algn="l" defTabSz="914400" rtl="0" eaLnBrk="1" latinLnBrk="0" hangingPunct="1">
        <a:lnSpc>
          <a:spcPct val="100000"/>
        </a:lnSpc>
        <a:spcBef>
          <a:spcPts val="0"/>
        </a:spcBef>
        <a:spcAft>
          <a:spcPts val="600"/>
        </a:spcAft>
        <a:buFont typeface="Arial"/>
        <a:buChar char="•"/>
        <a:tabLst/>
        <a:defRPr sz="11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79">
          <p15:clr>
            <a:srgbClr val="F26B43"/>
          </p15:clr>
        </p15:guide>
        <p15:guide id="4" pos="7401">
          <p15:clr>
            <a:srgbClr val="F26B43"/>
          </p15:clr>
        </p15:guide>
        <p15:guide id="5" pos="506">
          <p15:clr>
            <a:srgbClr val="F26B43"/>
          </p15:clr>
        </p15:guide>
        <p15:guide id="6" orient="horz" pos="1049">
          <p15:clr>
            <a:srgbClr val="F26B43"/>
          </p15:clr>
        </p15:guide>
        <p15:guide id="7" orient="horz" pos="4142">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28C374BE-F27C-5648-AE05-F206ABAFF31E}"/>
              </a:ext>
            </a:extLst>
          </p:cNvPr>
          <p:cNvSpPr>
            <a:spLocks noGrp="1"/>
          </p:cNvSpPr>
          <p:nvPr>
            <p:ph type="title"/>
          </p:nvPr>
        </p:nvSpPr>
        <p:spPr>
          <a:xfrm>
            <a:off x="268045" y="325400"/>
            <a:ext cx="10515600" cy="430941"/>
          </a:xfrm>
          <a:prstGeom prst="rect">
            <a:avLst/>
          </a:prstGeom>
        </p:spPr>
        <p:txBody>
          <a:bodyPr vert="horz" lIns="91440" tIns="45720" rIns="91440" bIns="45720" rtlCol="0" anchor="ctr">
            <a:noAutofit/>
          </a:bodyPr>
          <a:lstStyle/>
          <a:p>
            <a:r>
              <a:rPr lang="es-ES"/>
              <a:t>Haga clic para modificar el estilo de título del patrón</a:t>
            </a:r>
          </a:p>
        </p:txBody>
      </p:sp>
      <p:sp>
        <p:nvSpPr>
          <p:cNvPr id="3" name="Marcador de texto 2">
            <a:extLst>
              <a:ext uri="{FF2B5EF4-FFF2-40B4-BE49-F238E27FC236}">
                <a16:creationId xmlns:a16="http://schemas.microsoft.com/office/drawing/2014/main" id="{68326C12-3B81-DF4C-800F-2319277CBDAE}"/>
              </a:ext>
            </a:extLst>
          </p:cNvPr>
          <p:cNvSpPr>
            <a:spLocks noGrp="1"/>
          </p:cNvSpPr>
          <p:nvPr>
            <p:ph type="body" idx="1"/>
          </p:nvPr>
        </p:nvSpPr>
        <p:spPr>
          <a:xfrm>
            <a:off x="268045" y="1253331"/>
            <a:ext cx="11522336"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Rectángulo 3">
            <a:extLst>
              <a:ext uri="{FF2B5EF4-FFF2-40B4-BE49-F238E27FC236}">
                <a16:creationId xmlns:a16="http://schemas.microsoft.com/office/drawing/2014/main" id="{C84E8652-B1F4-514D-A7B6-11981095DEA8}"/>
              </a:ext>
            </a:extLst>
          </p:cNvPr>
          <p:cNvSpPr/>
          <p:nvPr userDrawn="1"/>
        </p:nvSpPr>
        <p:spPr>
          <a:xfrm>
            <a:off x="0" y="6579031"/>
            <a:ext cx="12192000" cy="27896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 name="Page Placeholder Gray">
            <a:extLst>
              <a:ext uri="{FF2B5EF4-FFF2-40B4-BE49-F238E27FC236}">
                <a16:creationId xmlns:a16="http://schemas.microsoft.com/office/drawing/2014/main" id="{9B545EC8-0109-144C-85F5-667525DDFCFE}"/>
              </a:ext>
            </a:extLst>
          </p:cNvPr>
          <p:cNvSpPr txBox="1"/>
          <p:nvPr userDrawn="1"/>
        </p:nvSpPr>
        <p:spPr>
          <a:xfrm>
            <a:off x="11623729" y="6664293"/>
            <a:ext cx="448170" cy="107722"/>
          </a:xfrm>
          <a:prstGeom prst="rect">
            <a:avLst/>
          </a:prstGeom>
          <a:noFill/>
        </p:spPr>
        <p:txBody>
          <a:bodyPr wrap="square" lIns="0" tIns="0" rIns="0" bIns="0" rtlCol="0" anchor="t" anchorCtr="0">
            <a:spAutoFit/>
          </a:bodyPr>
          <a:lstStyle/>
          <a:p>
            <a:pPr algn="ctr"/>
            <a:fld id="{9AE4D82F-B047-469B-AC52-A46321747EAF}" type="slidenum">
              <a:rPr lang="en-GB" sz="700" smtClean="0">
                <a:solidFill>
                  <a:srgbClr val="646464"/>
                </a:solidFill>
                <a:latin typeface="Arial" panose="020B0604020202020204" pitchFamily="34" charset="0"/>
                <a:cs typeface="Arial" panose="020B0604020202020204" pitchFamily="34" charset="0"/>
              </a:rPr>
              <a:pPr algn="ctr"/>
              <a:t>‹Nº›</a:t>
            </a:fld>
            <a:endParaRPr lang="en-GB" sz="800">
              <a:solidFill>
                <a:srgbClr val="646464"/>
              </a:solidFill>
              <a:latin typeface="Arial" panose="020B0604020202020204" pitchFamily="34" charset="0"/>
              <a:cs typeface="Arial" panose="020B0604020202020204" pitchFamily="34" charset="0"/>
            </a:endParaRPr>
          </a:p>
        </p:txBody>
      </p:sp>
      <p:sp>
        <p:nvSpPr>
          <p:cNvPr id="6" name="Rectangle 12">
            <a:extLst>
              <a:ext uri="{FF2B5EF4-FFF2-40B4-BE49-F238E27FC236}">
                <a16:creationId xmlns:a16="http://schemas.microsoft.com/office/drawing/2014/main" id="{D0552E3F-3BEA-B648-8680-A9344881F650}"/>
              </a:ext>
            </a:extLst>
          </p:cNvPr>
          <p:cNvSpPr/>
          <p:nvPr userDrawn="1"/>
        </p:nvSpPr>
        <p:spPr>
          <a:xfrm>
            <a:off x="192152" y="6663354"/>
            <a:ext cx="5834311" cy="107722"/>
          </a:xfrm>
          <a:prstGeom prst="rect">
            <a:avLst/>
          </a:prstGeom>
          <a:noFill/>
        </p:spPr>
        <p:txBody>
          <a:bodyPr wrap="square" lIns="0" tIns="0" rIns="0" bIns="0" rtlCol="0" anchor="t" anchorCtr="0">
            <a:spAutoFit/>
          </a:bodyPr>
          <a:lstStyle/>
          <a:p>
            <a:r>
              <a:rPr lang="en-US" sz="700">
                <a:solidFill>
                  <a:srgbClr val="646464"/>
                </a:solidFill>
                <a:latin typeface="Arial" panose="020B0604020202020204" pitchFamily="34" charset="0"/>
                <a:cs typeface="Arial" panose="020B0604020202020204" pitchFamily="34" charset="0"/>
              </a:rPr>
              <a:t>Stratesys Technology Solutions -  All Rights Reserved - </a:t>
            </a:r>
            <a:r>
              <a:rPr lang="en-US" sz="700" noProof="0">
                <a:solidFill>
                  <a:srgbClr val="646464"/>
                </a:solidFill>
                <a:latin typeface="Arial" panose="020B0604020202020204" pitchFamily="34" charset="0"/>
                <a:cs typeface="Arial" panose="020B0604020202020204" pitchFamily="34" charset="0"/>
              </a:rPr>
              <a:t>Confidential</a:t>
            </a:r>
            <a:endParaRPr lang="en-US" sz="700">
              <a:solidFill>
                <a:srgbClr val="646464"/>
              </a:solidFill>
              <a:latin typeface="EYInterstate Light" panose="02000506000000020004" pitchFamily="2" charset="0"/>
            </a:endParaRPr>
          </a:p>
        </p:txBody>
      </p:sp>
    </p:spTree>
    <p:extLst>
      <p:ext uri="{BB962C8B-B14F-4D97-AF65-F5344CB8AC3E}">
        <p14:creationId xmlns:p14="http://schemas.microsoft.com/office/powerpoint/2010/main" val="282571792"/>
      </p:ext>
    </p:extLst>
  </p:cSld>
  <p:clrMap bg1="lt1" tx1="dk1" bg2="lt2" tx2="dk2" accent1="accent1" accent2="accent2" accent3="accent3" accent4="accent4" accent5="accent5" accent6="accent6" hlink="hlink" folHlink="folHlink"/>
  <p:sldLayoutIdLst>
    <p:sldLayoutId id="2147484239" r:id="rId1"/>
    <p:sldLayoutId id="2147484240" r:id="rId2"/>
    <p:sldLayoutId id="2147484241" r:id="rId3"/>
    <p:sldLayoutId id="2147484242" r:id="rId4"/>
    <p:sldLayoutId id="2147484243" r:id="rId5"/>
    <p:sldLayoutId id="2147484244" r:id="rId6"/>
    <p:sldLayoutId id="2147484245" r:id="rId7"/>
  </p:sldLayoutIdLst>
  <p:txStyles>
    <p:titleStyle>
      <a:lvl1pPr algn="l" defTabSz="914400" rtl="0" eaLnBrk="1" latinLnBrk="0" hangingPunct="1">
        <a:lnSpc>
          <a:spcPct val="90000"/>
        </a:lnSpc>
        <a:spcBef>
          <a:spcPct val="0"/>
        </a:spcBef>
        <a:buNone/>
        <a:defRPr sz="2200" kern="1200">
          <a:solidFill>
            <a:schemeClr val="tx1">
              <a:lumMod val="65000"/>
              <a:lumOff val="35000"/>
            </a:schemeClr>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500" kern="1200">
          <a:solidFill>
            <a:schemeClr val="tx1">
              <a:lumMod val="65000"/>
              <a:lumOff val="3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65000"/>
              <a:lumOff val="3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65000"/>
              <a:lumOff val="3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lumMod val="65000"/>
              <a:lumOff val="3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lumMod val="65000"/>
              <a:lumOff val="3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42.png"/><Relationship Id="rId7"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38.jpeg"/><Relationship Id="rId5" Type="http://schemas.openxmlformats.org/officeDocument/2006/relationships/image" Target="../media/image44.png"/><Relationship Id="rId4" Type="http://schemas.openxmlformats.org/officeDocument/2006/relationships/image" Target="../media/image43.png"/></Relationships>
</file>

<file path=ppt/slides/_rels/slide11.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7.xml"/><Relationship Id="rId7" Type="http://schemas.openxmlformats.org/officeDocument/2006/relationships/image" Target="../media/image27.png"/><Relationship Id="rId2" Type="http://schemas.openxmlformats.org/officeDocument/2006/relationships/video" Target="../media/media3.mp4"/><Relationship Id="rId1" Type="http://schemas.microsoft.com/office/2007/relationships/media" Target="../media/media3.mp4"/><Relationship Id="rId6" Type="http://schemas.openxmlformats.org/officeDocument/2006/relationships/image" Target="../media/image38.jpeg"/><Relationship Id="rId5" Type="http://schemas.openxmlformats.org/officeDocument/2006/relationships/image" Target="../media/image45.png"/><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3" Type="http://schemas.openxmlformats.org/officeDocument/2006/relationships/hyperlink" Target="https://stratesys-ts.eu10.hcs.cloud.sap/sap/fpa/ui/tenants/6bdd2/bo/story/8A8032065263163B58BDCEE7CB7C1A84" TargetMode="External"/><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46.png"/><Relationship Id="rId5" Type="http://schemas.openxmlformats.org/officeDocument/2006/relationships/image" Target="../media/image28.png"/><Relationship Id="rId4" Type="http://schemas.openxmlformats.org/officeDocument/2006/relationships/image" Target="../media/image27.png"/></Relationships>
</file>

<file path=ppt/slides/_rels/slide13.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56.png"/><Relationship Id="rId18" Type="http://schemas.openxmlformats.org/officeDocument/2006/relationships/image" Target="../media/image61.png"/><Relationship Id="rId3" Type="http://schemas.openxmlformats.org/officeDocument/2006/relationships/notesSlide" Target="../notesSlides/notesSlide10.xml"/><Relationship Id="rId21" Type="http://schemas.openxmlformats.org/officeDocument/2006/relationships/image" Target="../media/image27.png"/><Relationship Id="rId7" Type="http://schemas.openxmlformats.org/officeDocument/2006/relationships/image" Target="../media/image50.png"/><Relationship Id="rId12" Type="http://schemas.openxmlformats.org/officeDocument/2006/relationships/image" Target="../media/image55.png"/><Relationship Id="rId17" Type="http://schemas.openxmlformats.org/officeDocument/2006/relationships/image" Target="../media/image60.png"/><Relationship Id="rId2" Type="http://schemas.openxmlformats.org/officeDocument/2006/relationships/slideLayout" Target="../slideLayouts/slideLayout6.xml"/><Relationship Id="rId16" Type="http://schemas.openxmlformats.org/officeDocument/2006/relationships/image" Target="../media/image59.png"/><Relationship Id="rId20" Type="http://schemas.openxmlformats.org/officeDocument/2006/relationships/image" Target="../media/image63.jpeg"/><Relationship Id="rId1" Type="http://schemas.openxmlformats.org/officeDocument/2006/relationships/tags" Target="../tags/tag124.xml"/><Relationship Id="rId6" Type="http://schemas.openxmlformats.org/officeDocument/2006/relationships/image" Target="../media/image49.png"/><Relationship Id="rId11" Type="http://schemas.openxmlformats.org/officeDocument/2006/relationships/image" Target="../media/image54.png"/><Relationship Id="rId5" Type="http://schemas.openxmlformats.org/officeDocument/2006/relationships/image" Target="../media/image48.png"/><Relationship Id="rId15" Type="http://schemas.openxmlformats.org/officeDocument/2006/relationships/image" Target="../media/image58.png"/><Relationship Id="rId10" Type="http://schemas.openxmlformats.org/officeDocument/2006/relationships/image" Target="../media/image53.png"/><Relationship Id="rId19" Type="http://schemas.openxmlformats.org/officeDocument/2006/relationships/image" Target="../media/image62.png"/><Relationship Id="rId4" Type="http://schemas.openxmlformats.org/officeDocument/2006/relationships/image" Target="../media/image47.jpeg"/><Relationship Id="rId9" Type="http://schemas.openxmlformats.org/officeDocument/2006/relationships/image" Target="../media/image52.png"/><Relationship Id="rId14" Type="http://schemas.openxmlformats.org/officeDocument/2006/relationships/image" Target="../media/image57.png"/><Relationship Id="rId22" Type="http://schemas.openxmlformats.org/officeDocument/2006/relationships/image" Target="../media/image28.png"/></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image" Target="../media/image73.png"/><Relationship Id="rId18" Type="http://schemas.openxmlformats.org/officeDocument/2006/relationships/image" Target="../media/image27.png"/><Relationship Id="rId3" Type="http://schemas.openxmlformats.org/officeDocument/2006/relationships/image" Target="../media/image64.png"/><Relationship Id="rId21" Type="http://schemas.openxmlformats.org/officeDocument/2006/relationships/image" Target="../media/image79.svg"/><Relationship Id="rId7" Type="http://schemas.openxmlformats.org/officeDocument/2006/relationships/image" Target="../media/image68.png"/><Relationship Id="rId12" Type="http://schemas.openxmlformats.org/officeDocument/2006/relationships/image" Target="../media/image72.jpeg"/><Relationship Id="rId17" Type="http://schemas.openxmlformats.org/officeDocument/2006/relationships/image" Target="../media/image77.svg"/><Relationship Id="rId2" Type="http://schemas.openxmlformats.org/officeDocument/2006/relationships/notesSlide" Target="../notesSlides/notesSlide12.xml"/><Relationship Id="rId16" Type="http://schemas.openxmlformats.org/officeDocument/2006/relationships/image" Target="../media/image76.png"/><Relationship Id="rId20" Type="http://schemas.openxmlformats.org/officeDocument/2006/relationships/image" Target="../media/image78.png"/><Relationship Id="rId1" Type="http://schemas.openxmlformats.org/officeDocument/2006/relationships/slideLayout" Target="../slideLayouts/slideLayout3.xml"/><Relationship Id="rId6" Type="http://schemas.openxmlformats.org/officeDocument/2006/relationships/image" Target="../media/image67.png"/><Relationship Id="rId11" Type="http://schemas.openxmlformats.org/officeDocument/2006/relationships/image" Target="../media/image71.png"/><Relationship Id="rId5" Type="http://schemas.openxmlformats.org/officeDocument/2006/relationships/image" Target="../media/image66.png"/><Relationship Id="rId15" Type="http://schemas.openxmlformats.org/officeDocument/2006/relationships/image" Target="../media/image75.png"/><Relationship Id="rId10" Type="http://schemas.openxmlformats.org/officeDocument/2006/relationships/image" Target="../media/image70.jpeg"/><Relationship Id="rId19" Type="http://schemas.openxmlformats.org/officeDocument/2006/relationships/image" Target="../media/image28.png"/><Relationship Id="rId4" Type="http://schemas.openxmlformats.org/officeDocument/2006/relationships/image" Target="../media/image65.png"/><Relationship Id="rId9" Type="http://schemas.microsoft.com/office/2007/relationships/hdphoto" Target="../media/hdphoto1.wdp"/><Relationship Id="rId14" Type="http://schemas.openxmlformats.org/officeDocument/2006/relationships/image" Target="../media/image74.svg"/></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8.xml"/><Relationship Id="rId4" Type="http://schemas.openxmlformats.org/officeDocument/2006/relationships/image" Target="../media/image28.png"/></Relationships>
</file>

<file path=ppt/slides/_rels/slide17.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127.xml"/><Relationship Id="rId7" Type="http://schemas.openxmlformats.org/officeDocument/2006/relationships/notesSlide" Target="../notesSlides/notesSlide14.xml"/><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slideLayout" Target="../slideLayouts/slideLayout8.xml"/><Relationship Id="rId5" Type="http://schemas.openxmlformats.org/officeDocument/2006/relationships/tags" Target="../tags/tag129.xml"/><Relationship Id="rId4" Type="http://schemas.openxmlformats.org/officeDocument/2006/relationships/tags" Target="../tags/tag128.xml"/><Relationship Id="rId9" Type="http://schemas.openxmlformats.org/officeDocument/2006/relationships/image" Target="../media/image28.png"/></Relationships>
</file>

<file path=ppt/slides/_rels/slide18.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82.png"/><Relationship Id="rId2" Type="http://schemas.openxmlformats.org/officeDocument/2006/relationships/notesSlide" Target="../notesSlides/notesSlide15.xml"/><Relationship Id="rId1" Type="http://schemas.openxmlformats.org/officeDocument/2006/relationships/slideLayout" Target="../slideLayouts/slideLayout8.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28.png"/></Relationships>
</file>

<file path=ppt/slides/_rels/slide1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8.xml"/><Relationship Id="rId4" Type="http://schemas.openxmlformats.org/officeDocument/2006/relationships/image" Target="../media/image28.png"/></Relationships>
</file>

<file path=ppt/slides/_rels/slide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8.xml"/><Relationship Id="rId4" Type="http://schemas.openxmlformats.org/officeDocument/2006/relationships/image" Target="../media/image28.png"/></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7.xml"/><Relationship Id="rId1" Type="http://schemas.openxmlformats.org/officeDocument/2006/relationships/slideLayout" Target="../slideLayouts/slideLayout8.xml"/><Relationship Id="rId4" Type="http://schemas.openxmlformats.org/officeDocument/2006/relationships/image" Target="../media/image28.png"/></Relationships>
</file>

<file path=ppt/slides/_rels/slide2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8.xml"/><Relationship Id="rId1" Type="http://schemas.openxmlformats.org/officeDocument/2006/relationships/slideLayout" Target="../slideLayouts/slideLayout143.xml"/></Relationships>
</file>

<file path=ppt/slides/_rels/slide22.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Layout" Target="../slideLayouts/slideLayout87.xml"/></Relationships>
</file>

<file path=ppt/slides/_rels/slide2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9.jpeg"/><Relationship Id="rId1" Type="http://schemas.openxmlformats.org/officeDocument/2006/relationships/slideLayout" Target="../slideLayouts/slideLayout6.xml"/><Relationship Id="rId4" Type="http://schemas.openxmlformats.org/officeDocument/2006/relationships/image" Target="../media/image28.png"/></Relationships>
</file>

<file path=ppt/slides/_rels/slide2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9.jpeg"/><Relationship Id="rId1" Type="http://schemas.openxmlformats.org/officeDocument/2006/relationships/slideLayout" Target="../slideLayouts/slideLayout6.xml"/><Relationship Id="rId4" Type="http://schemas.openxmlformats.org/officeDocument/2006/relationships/image" Target="../media/image28.png"/></Relationships>
</file>

<file path=ppt/slides/_rels/slide2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84.jpeg"/><Relationship Id="rId1" Type="http://schemas.openxmlformats.org/officeDocument/2006/relationships/slideLayout" Target="../slideLayouts/slideLayout3.xml"/><Relationship Id="rId4" Type="http://schemas.openxmlformats.org/officeDocument/2006/relationships/image" Target="../media/image28.png"/></Relationships>
</file>

<file path=ppt/slides/_rels/slide26.xml.rels><?xml version="1.0" encoding="UTF-8" standalone="yes"?>
<Relationships xmlns="http://schemas.openxmlformats.org/package/2006/relationships"><Relationship Id="rId8" Type="http://schemas.openxmlformats.org/officeDocument/2006/relationships/image" Target="../media/image90.svg"/><Relationship Id="rId13" Type="http://schemas.openxmlformats.org/officeDocument/2006/relationships/image" Target="../media/image95.svg"/><Relationship Id="rId3" Type="http://schemas.openxmlformats.org/officeDocument/2006/relationships/image" Target="../media/image85.jpeg"/><Relationship Id="rId7" Type="http://schemas.openxmlformats.org/officeDocument/2006/relationships/image" Target="../media/image89.png"/><Relationship Id="rId12" Type="http://schemas.openxmlformats.org/officeDocument/2006/relationships/image" Target="../media/image94.png"/><Relationship Id="rId2" Type="http://schemas.openxmlformats.org/officeDocument/2006/relationships/notesSlide" Target="../notesSlides/notesSlide19.xml"/><Relationship Id="rId1" Type="http://schemas.openxmlformats.org/officeDocument/2006/relationships/slideLayout" Target="../slideLayouts/slideLayout5.xml"/><Relationship Id="rId6" Type="http://schemas.openxmlformats.org/officeDocument/2006/relationships/image" Target="../media/image88.png"/><Relationship Id="rId11" Type="http://schemas.openxmlformats.org/officeDocument/2006/relationships/image" Target="../media/image93.svg"/><Relationship Id="rId5" Type="http://schemas.openxmlformats.org/officeDocument/2006/relationships/image" Target="../media/image87.png"/><Relationship Id="rId15" Type="http://schemas.openxmlformats.org/officeDocument/2006/relationships/image" Target="../media/image97.svg"/><Relationship Id="rId10" Type="http://schemas.openxmlformats.org/officeDocument/2006/relationships/image" Target="../media/image92.png"/><Relationship Id="rId4" Type="http://schemas.openxmlformats.org/officeDocument/2006/relationships/image" Target="../media/image86.png"/><Relationship Id="rId9" Type="http://schemas.openxmlformats.org/officeDocument/2006/relationships/image" Target="../media/image91.png"/><Relationship Id="rId14" Type="http://schemas.openxmlformats.org/officeDocument/2006/relationships/image" Target="../media/image96.png"/></Relationships>
</file>

<file path=ppt/slides/_rels/slide2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132.xml"/><Relationship Id="rId7" Type="http://schemas.openxmlformats.org/officeDocument/2006/relationships/notesSlide" Target="../notesSlides/notesSlide21.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slideLayout" Target="../slideLayouts/slideLayout8.xml"/><Relationship Id="rId5" Type="http://schemas.openxmlformats.org/officeDocument/2006/relationships/tags" Target="../tags/tag134.xml"/><Relationship Id="rId10" Type="http://schemas.openxmlformats.org/officeDocument/2006/relationships/image" Target="../media/image80.png"/><Relationship Id="rId4" Type="http://schemas.openxmlformats.org/officeDocument/2006/relationships/tags" Target="../tags/tag133.xml"/><Relationship Id="rId9" Type="http://schemas.openxmlformats.org/officeDocument/2006/relationships/image" Target="../media/image28.png"/></Relationships>
</file>

<file path=ppt/slides/_rels/slide2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openxmlformats.org/officeDocument/2006/relationships/image" Target="../media/image82.png"/><Relationship Id="rId5" Type="http://schemas.openxmlformats.org/officeDocument/2006/relationships/image" Target="../media/image28.png"/><Relationship Id="rId4" Type="http://schemas.openxmlformats.org/officeDocument/2006/relationships/image" Target="../media/image27.png"/></Relationships>
</file>

<file path=ppt/slides/_rels/slide3.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9.jpeg"/><Relationship Id="rId7" Type="http://schemas.openxmlformats.org/officeDocument/2006/relationships/image" Target="../media/image32.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30.png"/><Relationship Id="rId10" Type="http://schemas.openxmlformats.org/officeDocument/2006/relationships/image" Target="../media/image35.png"/><Relationship Id="rId4" Type="http://schemas.openxmlformats.org/officeDocument/2006/relationships/image" Target="../media/image27.png"/><Relationship Id="rId9" Type="http://schemas.openxmlformats.org/officeDocument/2006/relationships/image" Target="../media/image34.png"/></Relationships>
</file>

<file path=ppt/slides/_rels/slide30.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image" Target="../media/image27.png"/><Relationship Id="rId7" Type="http://schemas.openxmlformats.org/officeDocument/2006/relationships/image" Target="../media/image100.png"/><Relationship Id="rId2" Type="http://schemas.openxmlformats.org/officeDocument/2006/relationships/notesSlide" Target="../notesSlides/notesSlide23.xml"/><Relationship Id="rId1" Type="http://schemas.openxmlformats.org/officeDocument/2006/relationships/slideLayout" Target="../slideLayouts/slideLayout8.xml"/><Relationship Id="rId6" Type="http://schemas.microsoft.com/office/2007/relationships/hdphoto" Target="../media/hdphoto2.wdp"/><Relationship Id="rId5" Type="http://schemas.openxmlformats.org/officeDocument/2006/relationships/image" Target="../media/image99.png"/><Relationship Id="rId10" Type="http://schemas.openxmlformats.org/officeDocument/2006/relationships/image" Target="../media/image101.jpeg"/><Relationship Id="rId4" Type="http://schemas.openxmlformats.org/officeDocument/2006/relationships/image" Target="../media/image98.png"/><Relationship Id="rId9" Type="http://schemas.openxmlformats.org/officeDocument/2006/relationships/chart" Target="../charts/chart2.xml"/></Relationships>
</file>

<file path=ppt/slides/_rels/slide31.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27.png"/><Relationship Id="rId1" Type="http://schemas.openxmlformats.org/officeDocument/2006/relationships/slideLayout" Target="../slideLayouts/slideLayout8.xml"/><Relationship Id="rId4" Type="http://schemas.openxmlformats.org/officeDocument/2006/relationships/image" Target="../media/image72.jpeg"/></Relationships>
</file>

<file path=ppt/slides/_rels/slide3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5.xml"/><Relationship Id="rId1" Type="http://schemas.openxmlformats.org/officeDocument/2006/relationships/slideLayout" Target="../slideLayouts/slideLayout8.xml"/><Relationship Id="rId5" Type="http://schemas.openxmlformats.org/officeDocument/2006/relationships/image" Target="../media/image104.svg"/><Relationship Id="rId4" Type="http://schemas.openxmlformats.org/officeDocument/2006/relationships/image" Target="../media/image103.png"/></Relationships>
</file>

<file path=ppt/slides/_rels/slide3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27.png"/><Relationship Id="rId7" Type="http://schemas.openxmlformats.org/officeDocument/2006/relationships/diagramColors" Target="../diagrams/colors1.xml"/><Relationship Id="rId2" Type="http://schemas.openxmlformats.org/officeDocument/2006/relationships/notesSlide" Target="../notesSlides/notesSlide26.xml"/><Relationship Id="rId1" Type="http://schemas.openxmlformats.org/officeDocument/2006/relationships/slideLayout" Target="../slideLayouts/slideLayout8.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9.jpe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8.xml"/><Relationship Id="rId5" Type="http://schemas.openxmlformats.org/officeDocument/2006/relationships/image" Target="../media/image29.jpeg"/><Relationship Id="rId4" Type="http://schemas.openxmlformats.org/officeDocument/2006/relationships/image" Target="../media/image28.png"/></Relationships>
</file>

<file path=ppt/slides/_rels/slide40.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hyperlink" Target="https://lofrev.net/repsol-logo-pictures/repsol_logo/" TargetMode="External"/><Relationship Id="rId18" Type="http://schemas.openxmlformats.org/officeDocument/2006/relationships/image" Target="../media/image112.jpeg"/><Relationship Id="rId26" Type="http://schemas.openxmlformats.org/officeDocument/2006/relationships/image" Target="../media/image117.jpeg"/><Relationship Id="rId3" Type="http://schemas.openxmlformats.org/officeDocument/2006/relationships/image" Target="../media/image29.jpeg"/><Relationship Id="rId21" Type="http://schemas.openxmlformats.org/officeDocument/2006/relationships/hyperlink" Target="https://www.guggenheim-bilbao.eus/en/corporate-support/our-corporate-members" TargetMode="External"/><Relationship Id="rId7" Type="http://schemas.openxmlformats.org/officeDocument/2006/relationships/image" Target="../media/image106.jpeg"/><Relationship Id="rId12" Type="http://schemas.openxmlformats.org/officeDocument/2006/relationships/image" Target="../media/image109.png"/><Relationship Id="rId17" Type="http://schemas.openxmlformats.org/officeDocument/2006/relationships/hyperlink" Target="https://ferrerone.com/informacion-paciente/decalogo-sobre-covid-19-en-oncologia-para-paciente/" TargetMode="External"/><Relationship Id="rId25" Type="http://schemas.openxmlformats.org/officeDocument/2006/relationships/image" Target="../media/image32.png"/><Relationship Id="rId2" Type="http://schemas.openxmlformats.org/officeDocument/2006/relationships/notesSlide" Target="../notesSlides/notesSlide31.xml"/><Relationship Id="rId16" Type="http://schemas.openxmlformats.org/officeDocument/2006/relationships/image" Target="../media/image111.png"/><Relationship Id="rId20" Type="http://schemas.openxmlformats.org/officeDocument/2006/relationships/image" Target="../media/image114.png"/><Relationship Id="rId29" Type="http://schemas.openxmlformats.org/officeDocument/2006/relationships/image" Target="../media/image119.png"/><Relationship Id="rId1" Type="http://schemas.openxmlformats.org/officeDocument/2006/relationships/slideLayout" Target="../slideLayouts/slideLayout6.xml"/><Relationship Id="rId6" Type="http://schemas.openxmlformats.org/officeDocument/2006/relationships/image" Target="../media/image105.png"/><Relationship Id="rId11" Type="http://schemas.openxmlformats.org/officeDocument/2006/relationships/hyperlink" Target="https://facultadtrabajoturismo.com/" TargetMode="External"/><Relationship Id="rId24" Type="http://schemas.openxmlformats.org/officeDocument/2006/relationships/image" Target="../media/image116.png"/><Relationship Id="rId5" Type="http://schemas.openxmlformats.org/officeDocument/2006/relationships/image" Target="../media/image30.png"/><Relationship Id="rId15" Type="http://schemas.openxmlformats.org/officeDocument/2006/relationships/hyperlink" Target="https://formasformacion.com/" TargetMode="External"/><Relationship Id="rId23" Type="http://schemas.openxmlformats.org/officeDocument/2006/relationships/hyperlink" Target="https://kjpool.dk/" TargetMode="External"/><Relationship Id="rId28" Type="http://schemas.openxmlformats.org/officeDocument/2006/relationships/image" Target="../media/image33.png"/><Relationship Id="rId10" Type="http://schemas.openxmlformats.org/officeDocument/2006/relationships/image" Target="../media/image108.png"/><Relationship Id="rId19" Type="http://schemas.openxmlformats.org/officeDocument/2006/relationships/image" Target="../media/image113.png"/><Relationship Id="rId4" Type="http://schemas.openxmlformats.org/officeDocument/2006/relationships/image" Target="../media/image27.png"/><Relationship Id="rId9" Type="http://schemas.openxmlformats.org/officeDocument/2006/relationships/image" Target="../media/image107.png"/><Relationship Id="rId14" Type="http://schemas.openxmlformats.org/officeDocument/2006/relationships/image" Target="../media/image110.png"/><Relationship Id="rId22" Type="http://schemas.openxmlformats.org/officeDocument/2006/relationships/image" Target="../media/image115.png"/><Relationship Id="rId27" Type="http://schemas.openxmlformats.org/officeDocument/2006/relationships/image" Target="../media/image118.jpeg"/><Relationship Id="rId30" Type="http://schemas.openxmlformats.org/officeDocument/2006/relationships/image" Target="../media/image120.png"/></Relationships>
</file>

<file path=ppt/slides/_rels/slide41.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33.xml"/><Relationship Id="rId1" Type="http://schemas.openxmlformats.org/officeDocument/2006/relationships/slideLayout" Target="../slideLayouts/slideLayout6.xml"/><Relationship Id="rId6" Type="http://schemas.openxmlformats.org/officeDocument/2006/relationships/image" Target="../media/image124.png"/><Relationship Id="rId5" Type="http://schemas.openxmlformats.org/officeDocument/2006/relationships/image" Target="../media/image123.svg"/><Relationship Id="rId4" Type="http://schemas.openxmlformats.org/officeDocument/2006/relationships/image" Target="../media/image122.png"/></Relationships>
</file>

<file path=ppt/slides/_rels/slide43.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png"/><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125.png"/><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38.jpeg"/><Relationship Id="rId4" Type="http://schemas.openxmlformats.org/officeDocument/2006/relationships/image" Target="../media/image41.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6.xml"/><Relationship Id="rId1" Type="http://schemas.openxmlformats.org/officeDocument/2006/relationships/tags" Target="../tags/tag135.xml"/><Relationship Id="rId6" Type="http://schemas.openxmlformats.org/officeDocument/2006/relationships/image" Target="../media/image127.png"/><Relationship Id="rId5" Type="http://schemas.openxmlformats.org/officeDocument/2006/relationships/image" Target="../media/image126.emf"/><Relationship Id="rId4" Type="http://schemas.openxmlformats.org/officeDocument/2006/relationships/oleObject" Target="../embeddings/oleObject1.bin"/></Relationships>
</file>

<file path=ppt/slides/_rels/slide47.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38.jpeg"/><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openxmlformats.org/officeDocument/2006/relationships/image" Target="../media/image127.png"/><Relationship Id="rId5" Type="http://schemas.openxmlformats.org/officeDocument/2006/relationships/image" Target="../media/image44.png"/><Relationship Id="rId4" Type="http://schemas.openxmlformats.org/officeDocument/2006/relationships/image" Target="../media/image43.png"/></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38.jpeg"/><Relationship Id="rId2" Type="http://schemas.openxmlformats.org/officeDocument/2006/relationships/video" Target="../media/media3.mp4"/><Relationship Id="rId1" Type="http://schemas.microsoft.com/office/2007/relationships/media" Target="../media/media3.mp4"/><Relationship Id="rId6" Type="http://schemas.openxmlformats.org/officeDocument/2006/relationships/image" Target="../media/image127.png"/><Relationship Id="rId5" Type="http://schemas.openxmlformats.org/officeDocument/2006/relationships/image" Target="../media/image45.png"/><Relationship Id="rId4" Type="http://schemas.openxmlformats.org/officeDocument/2006/relationships/notesSlide" Target="../notesSlides/notesSlide36.xml"/></Relationships>
</file>

<file path=ppt/slides/_rels/slide4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7.xml"/><Relationship Id="rId1" Type="http://schemas.openxmlformats.org/officeDocument/2006/relationships/slideLayout" Target="../slideLayouts/slideLayout6.xml"/><Relationship Id="rId4" Type="http://schemas.openxmlformats.org/officeDocument/2006/relationships/image" Target="../media/image128.png"/></Relationships>
</file>

<file path=ppt/slides/_rels/slide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8.xml"/><Relationship Id="rId5" Type="http://schemas.openxmlformats.org/officeDocument/2006/relationships/image" Target="../media/image29.jpeg"/><Relationship Id="rId4" Type="http://schemas.openxmlformats.org/officeDocument/2006/relationships/image" Target="../media/image28.png"/></Relationships>
</file>

<file path=ppt/slides/_rels/slide5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8.xml"/><Relationship Id="rId1" Type="http://schemas.openxmlformats.org/officeDocument/2006/relationships/slideLayout" Target="../slideLayouts/slideLayout6.xml"/><Relationship Id="rId6" Type="http://schemas.openxmlformats.org/officeDocument/2006/relationships/hyperlink" Target="https://stratesys-ts.eu10.hcs.cloud.sap/sap/fpa/ui/tenants/6bdd2/bo/story/8A8032065263163B58BDCEE7CB7C1A84" TargetMode="External"/><Relationship Id="rId5" Type="http://schemas.openxmlformats.org/officeDocument/2006/relationships/image" Target="../media/image46.png"/><Relationship Id="rId4" Type="http://schemas.openxmlformats.org/officeDocument/2006/relationships/image" Target="../media/image128.png"/></Relationships>
</file>

<file path=ppt/slides/_rels/slide51.xml.rels><?xml version="1.0" encoding="UTF-8" standalone="yes"?>
<Relationships xmlns="http://schemas.openxmlformats.org/package/2006/relationships"><Relationship Id="rId8" Type="http://schemas.openxmlformats.org/officeDocument/2006/relationships/image" Target="../media/image128.png"/><Relationship Id="rId3" Type="http://schemas.openxmlformats.org/officeDocument/2006/relationships/image" Target="../media/image130.png"/><Relationship Id="rId7" Type="http://schemas.openxmlformats.org/officeDocument/2006/relationships/image" Target="../media/image27.png"/><Relationship Id="rId2" Type="http://schemas.openxmlformats.org/officeDocument/2006/relationships/image" Target="../media/image129.png"/><Relationship Id="rId1" Type="http://schemas.openxmlformats.org/officeDocument/2006/relationships/slideLayout" Target="../slideLayouts/slideLayout6.xml"/><Relationship Id="rId6" Type="http://schemas.openxmlformats.org/officeDocument/2006/relationships/image" Target="../media/image133.png"/><Relationship Id="rId5" Type="http://schemas.openxmlformats.org/officeDocument/2006/relationships/image" Target="../media/image132.png"/><Relationship Id="rId4" Type="http://schemas.openxmlformats.org/officeDocument/2006/relationships/image" Target="../media/image131.png"/></Relationships>
</file>

<file path=ppt/slides/_rels/slide5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56.png"/><Relationship Id="rId18" Type="http://schemas.openxmlformats.org/officeDocument/2006/relationships/image" Target="../media/image61.png"/><Relationship Id="rId3" Type="http://schemas.openxmlformats.org/officeDocument/2006/relationships/notesSlide" Target="../notesSlides/notesSlide41.xml"/><Relationship Id="rId21" Type="http://schemas.openxmlformats.org/officeDocument/2006/relationships/image" Target="../media/image27.png"/><Relationship Id="rId7" Type="http://schemas.openxmlformats.org/officeDocument/2006/relationships/image" Target="../media/image50.png"/><Relationship Id="rId12" Type="http://schemas.openxmlformats.org/officeDocument/2006/relationships/image" Target="../media/image55.png"/><Relationship Id="rId17" Type="http://schemas.openxmlformats.org/officeDocument/2006/relationships/image" Target="../media/image60.png"/><Relationship Id="rId2" Type="http://schemas.openxmlformats.org/officeDocument/2006/relationships/slideLayout" Target="../slideLayouts/slideLayout6.xml"/><Relationship Id="rId16" Type="http://schemas.openxmlformats.org/officeDocument/2006/relationships/image" Target="../media/image59.png"/><Relationship Id="rId20" Type="http://schemas.openxmlformats.org/officeDocument/2006/relationships/image" Target="../media/image63.jpeg"/><Relationship Id="rId1" Type="http://schemas.openxmlformats.org/officeDocument/2006/relationships/tags" Target="../tags/tag136.xml"/><Relationship Id="rId6" Type="http://schemas.openxmlformats.org/officeDocument/2006/relationships/image" Target="../media/image49.png"/><Relationship Id="rId11" Type="http://schemas.openxmlformats.org/officeDocument/2006/relationships/image" Target="../media/image54.png"/><Relationship Id="rId5" Type="http://schemas.openxmlformats.org/officeDocument/2006/relationships/image" Target="../media/image48.png"/><Relationship Id="rId15" Type="http://schemas.openxmlformats.org/officeDocument/2006/relationships/image" Target="../media/image58.png"/><Relationship Id="rId10" Type="http://schemas.openxmlformats.org/officeDocument/2006/relationships/image" Target="../media/image53.png"/><Relationship Id="rId19" Type="http://schemas.openxmlformats.org/officeDocument/2006/relationships/image" Target="../media/image62.png"/><Relationship Id="rId4" Type="http://schemas.openxmlformats.org/officeDocument/2006/relationships/image" Target="../media/image47.jpeg"/><Relationship Id="rId9" Type="http://schemas.openxmlformats.org/officeDocument/2006/relationships/image" Target="../media/image52.png"/><Relationship Id="rId14" Type="http://schemas.openxmlformats.org/officeDocument/2006/relationships/image" Target="../media/image57.png"/></Relationships>
</file>

<file path=ppt/slides/_rels/slide56.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2.png"/><Relationship Id="rId1" Type="http://schemas.openxmlformats.org/officeDocument/2006/relationships/slideLayout" Target="../slideLayouts/slideLayout6.xml"/><Relationship Id="rId4" Type="http://schemas.openxmlformats.org/officeDocument/2006/relationships/image" Target="../media/image27.pn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png"/><Relationship Id="rId1" Type="http://schemas.openxmlformats.org/officeDocument/2006/relationships/slideLayout" Target="../slideLayouts/slideLayout6.xml"/><Relationship Id="rId5" Type="http://schemas.openxmlformats.org/officeDocument/2006/relationships/image" Target="../media/image28.png"/><Relationship Id="rId4" Type="http://schemas.openxmlformats.org/officeDocument/2006/relationships/image" Target="../media/image27.png"/></Relationships>
</file>

<file path=ppt/slides/_rels/slide6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image" Target="../media/image73.png"/><Relationship Id="rId3" Type="http://schemas.openxmlformats.org/officeDocument/2006/relationships/image" Target="../media/image64.png"/><Relationship Id="rId7" Type="http://schemas.openxmlformats.org/officeDocument/2006/relationships/image" Target="../media/image68.png"/><Relationship Id="rId12" Type="http://schemas.openxmlformats.org/officeDocument/2006/relationships/image" Target="../media/image72.jpeg"/><Relationship Id="rId17" Type="http://schemas.openxmlformats.org/officeDocument/2006/relationships/image" Target="../media/image77.svg"/><Relationship Id="rId2" Type="http://schemas.openxmlformats.org/officeDocument/2006/relationships/notesSlide" Target="../notesSlides/notesSlide46.xml"/><Relationship Id="rId16" Type="http://schemas.openxmlformats.org/officeDocument/2006/relationships/image" Target="../media/image76.png"/><Relationship Id="rId1" Type="http://schemas.openxmlformats.org/officeDocument/2006/relationships/slideLayout" Target="../slideLayouts/slideLayout3.xml"/><Relationship Id="rId6" Type="http://schemas.openxmlformats.org/officeDocument/2006/relationships/image" Target="../media/image67.png"/><Relationship Id="rId11" Type="http://schemas.openxmlformats.org/officeDocument/2006/relationships/image" Target="../media/image71.png"/><Relationship Id="rId5" Type="http://schemas.openxmlformats.org/officeDocument/2006/relationships/image" Target="../media/image66.png"/><Relationship Id="rId15" Type="http://schemas.openxmlformats.org/officeDocument/2006/relationships/image" Target="../media/image75.png"/><Relationship Id="rId10" Type="http://schemas.openxmlformats.org/officeDocument/2006/relationships/image" Target="../media/image70.jpeg"/><Relationship Id="rId4" Type="http://schemas.openxmlformats.org/officeDocument/2006/relationships/image" Target="../media/image65.png"/><Relationship Id="rId9" Type="http://schemas.microsoft.com/office/2007/relationships/hdphoto" Target="../media/hdphoto1.wdp"/><Relationship Id="rId14" Type="http://schemas.openxmlformats.org/officeDocument/2006/relationships/image" Target="../media/image74.sv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26" Type="http://schemas.openxmlformats.org/officeDocument/2006/relationships/image" Target="../media/image157.png"/><Relationship Id="rId21" Type="http://schemas.openxmlformats.org/officeDocument/2006/relationships/image" Target="../media/image152.jpeg"/><Relationship Id="rId42" Type="http://schemas.openxmlformats.org/officeDocument/2006/relationships/image" Target="../media/image173.png"/><Relationship Id="rId47" Type="http://schemas.openxmlformats.org/officeDocument/2006/relationships/image" Target="../media/image178.png"/><Relationship Id="rId63" Type="http://schemas.openxmlformats.org/officeDocument/2006/relationships/image" Target="../media/image194.png"/><Relationship Id="rId68" Type="http://schemas.openxmlformats.org/officeDocument/2006/relationships/image" Target="../media/image198.png"/><Relationship Id="rId84" Type="http://schemas.openxmlformats.org/officeDocument/2006/relationships/image" Target="../media/image214.jpeg"/><Relationship Id="rId89" Type="http://schemas.openxmlformats.org/officeDocument/2006/relationships/image" Target="../media/image219.jpeg"/><Relationship Id="rId16" Type="http://schemas.openxmlformats.org/officeDocument/2006/relationships/image" Target="../media/image147.png"/><Relationship Id="rId11" Type="http://schemas.openxmlformats.org/officeDocument/2006/relationships/image" Target="../media/image142.png"/><Relationship Id="rId32" Type="http://schemas.openxmlformats.org/officeDocument/2006/relationships/image" Target="../media/image163.jpeg"/><Relationship Id="rId37" Type="http://schemas.openxmlformats.org/officeDocument/2006/relationships/image" Target="../media/image168.jpeg"/><Relationship Id="rId53" Type="http://schemas.openxmlformats.org/officeDocument/2006/relationships/image" Target="../media/image184.jpeg"/><Relationship Id="rId58" Type="http://schemas.openxmlformats.org/officeDocument/2006/relationships/image" Target="../media/image189.png"/><Relationship Id="rId74" Type="http://schemas.openxmlformats.org/officeDocument/2006/relationships/image" Target="../media/image204.jpeg"/><Relationship Id="rId79" Type="http://schemas.openxmlformats.org/officeDocument/2006/relationships/image" Target="../media/image209.jpeg"/><Relationship Id="rId102" Type="http://schemas.openxmlformats.org/officeDocument/2006/relationships/image" Target="../media/image232.jpeg"/><Relationship Id="rId5" Type="http://schemas.openxmlformats.org/officeDocument/2006/relationships/image" Target="../media/image136.png"/><Relationship Id="rId90" Type="http://schemas.openxmlformats.org/officeDocument/2006/relationships/image" Target="../media/image220.png"/><Relationship Id="rId95" Type="http://schemas.openxmlformats.org/officeDocument/2006/relationships/image" Target="../media/image225.jpeg"/><Relationship Id="rId22" Type="http://schemas.openxmlformats.org/officeDocument/2006/relationships/image" Target="../media/image153.png"/><Relationship Id="rId27" Type="http://schemas.openxmlformats.org/officeDocument/2006/relationships/image" Target="../media/image158.png"/><Relationship Id="rId43" Type="http://schemas.openxmlformats.org/officeDocument/2006/relationships/image" Target="../media/image174.png"/><Relationship Id="rId48" Type="http://schemas.openxmlformats.org/officeDocument/2006/relationships/image" Target="../media/image179.png"/><Relationship Id="rId64" Type="http://schemas.openxmlformats.org/officeDocument/2006/relationships/image" Target="../media/image195.png"/><Relationship Id="rId69" Type="http://schemas.openxmlformats.org/officeDocument/2006/relationships/image" Target="../media/image199.jpeg"/><Relationship Id="rId80" Type="http://schemas.openxmlformats.org/officeDocument/2006/relationships/image" Target="../media/image210.jpeg"/><Relationship Id="rId85" Type="http://schemas.openxmlformats.org/officeDocument/2006/relationships/image" Target="../media/image215.png"/><Relationship Id="rId12" Type="http://schemas.openxmlformats.org/officeDocument/2006/relationships/image" Target="../media/image143.png"/><Relationship Id="rId17" Type="http://schemas.openxmlformats.org/officeDocument/2006/relationships/image" Target="../media/image148.png"/><Relationship Id="rId25" Type="http://schemas.openxmlformats.org/officeDocument/2006/relationships/image" Target="../media/image156.png"/><Relationship Id="rId33" Type="http://schemas.openxmlformats.org/officeDocument/2006/relationships/image" Target="../media/image164.jpeg"/><Relationship Id="rId38" Type="http://schemas.openxmlformats.org/officeDocument/2006/relationships/image" Target="../media/image169.jpeg"/><Relationship Id="rId46" Type="http://schemas.openxmlformats.org/officeDocument/2006/relationships/image" Target="../media/image177.jpeg"/><Relationship Id="rId59" Type="http://schemas.openxmlformats.org/officeDocument/2006/relationships/image" Target="../media/image190.png"/><Relationship Id="rId67" Type="http://schemas.openxmlformats.org/officeDocument/2006/relationships/image" Target="../media/image197.jpeg"/><Relationship Id="rId103" Type="http://schemas.openxmlformats.org/officeDocument/2006/relationships/image" Target="../media/image233.jpeg"/><Relationship Id="rId20" Type="http://schemas.openxmlformats.org/officeDocument/2006/relationships/image" Target="../media/image151.png"/><Relationship Id="rId41" Type="http://schemas.openxmlformats.org/officeDocument/2006/relationships/image" Target="../media/image172.png"/><Relationship Id="rId54" Type="http://schemas.openxmlformats.org/officeDocument/2006/relationships/image" Target="../media/image185.jpeg"/><Relationship Id="rId62" Type="http://schemas.openxmlformats.org/officeDocument/2006/relationships/image" Target="../media/image193.png"/><Relationship Id="rId70" Type="http://schemas.openxmlformats.org/officeDocument/2006/relationships/image" Target="../media/image200.png"/><Relationship Id="rId75" Type="http://schemas.openxmlformats.org/officeDocument/2006/relationships/image" Target="../media/image205.png"/><Relationship Id="rId83" Type="http://schemas.openxmlformats.org/officeDocument/2006/relationships/image" Target="../media/image213.png"/><Relationship Id="rId88" Type="http://schemas.openxmlformats.org/officeDocument/2006/relationships/image" Target="../media/image218.png"/><Relationship Id="rId91" Type="http://schemas.openxmlformats.org/officeDocument/2006/relationships/image" Target="../media/image221.png"/><Relationship Id="rId96" Type="http://schemas.openxmlformats.org/officeDocument/2006/relationships/image" Target="../media/image226.png"/><Relationship Id="rId1" Type="http://schemas.openxmlformats.org/officeDocument/2006/relationships/slideLayout" Target="../slideLayouts/slideLayout3.xml"/><Relationship Id="rId6" Type="http://schemas.openxmlformats.org/officeDocument/2006/relationships/image" Target="../media/image137.png"/><Relationship Id="rId15" Type="http://schemas.openxmlformats.org/officeDocument/2006/relationships/image" Target="../media/image146.jpeg"/><Relationship Id="rId23" Type="http://schemas.openxmlformats.org/officeDocument/2006/relationships/image" Target="../media/image154.png"/><Relationship Id="rId28" Type="http://schemas.openxmlformats.org/officeDocument/2006/relationships/image" Target="../media/image159.png"/><Relationship Id="rId36" Type="http://schemas.openxmlformats.org/officeDocument/2006/relationships/image" Target="../media/image167.jpeg"/><Relationship Id="rId49" Type="http://schemas.openxmlformats.org/officeDocument/2006/relationships/image" Target="../media/image180.svg"/><Relationship Id="rId57" Type="http://schemas.openxmlformats.org/officeDocument/2006/relationships/image" Target="../media/image188.png"/><Relationship Id="rId10" Type="http://schemas.openxmlformats.org/officeDocument/2006/relationships/image" Target="../media/image141.png"/><Relationship Id="rId31" Type="http://schemas.openxmlformats.org/officeDocument/2006/relationships/image" Target="../media/image162.png"/><Relationship Id="rId44" Type="http://schemas.openxmlformats.org/officeDocument/2006/relationships/image" Target="../media/image175.png"/><Relationship Id="rId52" Type="http://schemas.openxmlformats.org/officeDocument/2006/relationships/image" Target="../media/image183.jpeg"/><Relationship Id="rId60" Type="http://schemas.openxmlformats.org/officeDocument/2006/relationships/image" Target="../media/image191.png"/><Relationship Id="rId65" Type="http://schemas.openxmlformats.org/officeDocument/2006/relationships/hyperlink" Target="http://www.google.es/url?sa=i&amp;source=images&amp;cd=&amp;cad=rja&amp;docid=b-g8kpE_SeOKpM&amp;tbnid=Z0tH-i2GLKcgkM:&amp;ved=0CAgQjRwwAA&amp;url=http://www.aguasdealbacete.com/ESP/91.asp&amp;ei=72fRUf7zG9Cv7AaFzIDICg&amp;psig=AFQjCNHu1uuKnqj2Hp4qUTXchIykAGYzhA&amp;ust=1372764527510577" TargetMode="External"/><Relationship Id="rId73" Type="http://schemas.openxmlformats.org/officeDocument/2006/relationships/image" Target="../media/image203.png"/><Relationship Id="rId78" Type="http://schemas.openxmlformats.org/officeDocument/2006/relationships/image" Target="../media/image208.png"/><Relationship Id="rId81" Type="http://schemas.openxmlformats.org/officeDocument/2006/relationships/image" Target="../media/image211.png"/><Relationship Id="rId86" Type="http://schemas.openxmlformats.org/officeDocument/2006/relationships/image" Target="../media/image216.jpeg"/><Relationship Id="rId94" Type="http://schemas.openxmlformats.org/officeDocument/2006/relationships/image" Target="../media/image224.png"/><Relationship Id="rId99" Type="http://schemas.openxmlformats.org/officeDocument/2006/relationships/image" Target="../media/image229.png"/><Relationship Id="rId101" Type="http://schemas.openxmlformats.org/officeDocument/2006/relationships/image" Target="../media/image231.png"/><Relationship Id="rId4" Type="http://schemas.openxmlformats.org/officeDocument/2006/relationships/image" Target="../media/image135.jpeg"/><Relationship Id="rId9" Type="http://schemas.openxmlformats.org/officeDocument/2006/relationships/image" Target="../media/image140.png"/><Relationship Id="rId13" Type="http://schemas.openxmlformats.org/officeDocument/2006/relationships/image" Target="../media/image144.png"/><Relationship Id="rId18" Type="http://schemas.openxmlformats.org/officeDocument/2006/relationships/image" Target="../media/image149.png"/><Relationship Id="rId39" Type="http://schemas.openxmlformats.org/officeDocument/2006/relationships/image" Target="../media/image170.png"/><Relationship Id="rId34" Type="http://schemas.openxmlformats.org/officeDocument/2006/relationships/image" Target="../media/image165.png"/><Relationship Id="rId50" Type="http://schemas.openxmlformats.org/officeDocument/2006/relationships/image" Target="../media/image181.png"/><Relationship Id="rId55" Type="http://schemas.openxmlformats.org/officeDocument/2006/relationships/image" Target="../media/image186.png"/><Relationship Id="rId76" Type="http://schemas.openxmlformats.org/officeDocument/2006/relationships/image" Target="../media/image206.jpeg"/><Relationship Id="rId97" Type="http://schemas.openxmlformats.org/officeDocument/2006/relationships/image" Target="../media/image227.png"/><Relationship Id="rId7" Type="http://schemas.openxmlformats.org/officeDocument/2006/relationships/image" Target="../media/image138.png"/><Relationship Id="rId71" Type="http://schemas.openxmlformats.org/officeDocument/2006/relationships/image" Target="../media/image201.jpeg"/><Relationship Id="rId92" Type="http://schemas.openxmlformats.org/officeDocument/2006/relationships/image" Target="../media/image222.png"/><Relationship Id="rId2" Type="http://schemas.openxmlformats.org/officeDocument/2006/relationships/notesSlide" Target="../notesSlides/notesSlide48.xml"/><Relationship Id="rId29" Type="http://schemas.openxmlformats.org/officeDocument/2006/relationships/image" Target="../media/image160.png"/><Relationship Id="rId24" Type="http://schemas.openxmlformats.org/officeDocument/2006/relationships/image" Target="../media/image155.jpeg"/><Relationship Id="rId40" Type="http://schemas.openxmlformats.org/officeDocument/2006/relationships/image" Target="../media/image171.png"/><Relationship Id="rId45" Type="http://schemas.openxmlformats.org/officeDocument/2006/relationships/image" Target="../media/image176.png"/><Relationship Id="rId66" Type="http://schemas.openxmlformats.org/officeDocument/2006/relationships/image" Target="../media/image196.jpeg"/><Relationship Id="rId87" Type="http://schemas.openxmlformats.org/officeDocument/2006/relationships/image" Target="../media/image217.png"/><Relationship Id="rId61" Type="http://schemas.openxmlformats.org/officeDocument/2006/relationships/image" Target="../media/image192.emf"/><Relationship Id="rId82" Type="http://schemas.openxmlformats.org/officeDocument/2006/relationships/image" Target="../media/image212.jpeg"/><Relationship Id="rId19" Type="http://schemas.openxmlformats.org/officeDocument/2006/relationships/image" Target="../media/image150.svg"/><Relationship Id="rId14" Type="http://schemas.openxmlformats.org/officeDocument/2006/relationships/image" Target="../media/image145.png"/><Relationship Id="rId30" Type="http://schemas.openxmlformats.org/officeDocument/2006/relationships/image" Target="../media/image161.png"/><Relationship Id="rId35" Type="http://schemas.openxmlformats.org/officeDocument/2006/relationships/image" Target="../media/image166.jpeg"/><Relationship Id="rId56" Type="http://schemas.openxmlformats.org/officeDocument/2006/relationships/image" Target="../media/image187.png"/><Relationship Id="rId77" Type="http://schemas.openxmlformats.org/officeDocument/2006/relationships/image" Target="../media/image207.jpeg"/><Relationship Id="rId100" Type="http://schemas.openxmlformats.org/officeDocument/2006/relationships/image" Target="../media/image230.png"/><Relationship Id="rId8" Type="http://schemas.openxmlformats.org/officeDocument/2006/relationships/image" Target="../media/image139.png"/><Relationship Id="rId51" Type="http://schemas.openxmlformats.org/officeDocument/2006/relationships/image" Target="../media/image182.png"/><Relationship Id="rId72" Type="http://schemas.openxmlformats.org/officeDocument/2006/relationships/image" Target="../media/image202.jpeg"/><Relationship Id="rId93" Type="http://schemas.openxmlformats.org/officeDocument/2006/relationships/image" Target="../media/image223.png"/><Relationship Id="rId98" Type="http://schemas.openxmlformats.org/officeDocument/2006/relationships/image" Target="../media/image228.png"/><Relationship Id="rId3" Type="http://schemas.openxmlformats.org/officeDocument/2006/relationships/image" Target="../media/image134.jpeg"/></Relationships>
</file>

<file path=ppt/slides/_rels/slide69.xml.rels><?xml version="1.0" encoding="UTF-8" standalone="yes"?>
<Relationships xmlns="http://schemas.openxmlformats.org/package/2006/relationships"><Relationship Id="rId8" Type="http://schemas.openxmlformats.org/officeDocument/2006/relationships/image" Target="../media/image240.svg"/><Relationship Id="rId13" Type="http://schemas.openxmlformats.org/officeDocument/2006/relationships/image" Target="../media/image245.png"/><Relationship Id="rId18" Type="http://schemas.openxmlformats.org/officeDocument/2006/relationships/image" Target="../media/image250.png"/><Relationship Id="rId3" Type="http://schemas.openxmlformats.org/officeDocument/2006/relationships/image" Target="../media/image235.png"/><Relationship Id="rId21" Type="http://schemas.openxmlformats.org/officeDocument/2006/relationships/image" Target="../media/image253.svg"/><Relationship Id="rId7" Type="http://schemas.openxmlformats.org/officeDocument/2006/relationships/image" Target="../media/image239.png"/><Relationship Id="rId12" Type="http://schemas.openxmlformats.org/officeDocument/2006/relationships/image" Target="../media/image244.svg"/><Relationship Id="rId17" Type="http://schemas.openxmlformats.org/officeDocument/2006/relationships/image" Target="../media/image249.svg"/><Relationship Id="rId2" Type="http://schemas.openxmlformats.org/officeDocument/2006/relationships/image" Target="../media/image234.png"/><Relationship Id="rId16" Type="http://schemas.openxmlformats.org/officeDocument/2006/relationships/image" Target="../media/image248.png"/><Relationship Id="rId20" Type="http://schemas.openxmlformats.org/officeDocument/2006/relationships/image" Target="../media/image252.png"/><Relationship Id="rId1" Type="http://schemas.openxmlformats.org/officeDocument/2006/relationships/slideLayout" Target="../slideLayouts/slideLayout3.xml"/><Relationship Id="rId6" Type="http://schemas.openxmlformats.org/officeDocument/2006/relationships/image" Target="../media/image238.svg"/><Relationship Id="rId11" Type="http://schemas.openxmlformats.org/officeDocument/2006/relationships/image" Target="../media/image243.png"/><Relationship Id="rId5" Type="http://schemas.openxmlformats.org/officeDocument/2006/relationships/image" Target="../media/image237.png"/><Relationship Id="rId15" Type="http://schemas.openxmlformats.org/officeDocument/2006/relationships/image" Target="../media/image247.svg"/><Relationship Id="rId23" Type="http://schemas.openxmlformats.org/officeDocument/2006/relationships/image" Target="../media/image255.png"/><Relationship Id="rId10" Type="http://schemas.openxmlformats.org/officeDocument/2006/relationships/image" Target="../media/image242.svg"/><Relationship Id="rId19" Type="http://schemas.openxmlformats.org/officeDocument/2006/relationships/image" Target="../media/image251.svg"/><Relationship Id="rId4" Type="http://schemas.openxmlformats.org/officeDocument/2006/relationships/image" Target="../media/image236.svg"/><Relationship Id="rId9" Type="http://schemas.openxmlformats.org/officeDocument/2006/relationships/image" Target="../media/image241.png"/><Relationship Id="rId14" Type="http://schemas.openxmlformats.org/officeDocument/2006/relationships/image" Target="../media/image246.png"/><Relationship Id="rId22" Type="http://schemas.openxmlformats.org/officeDocument/2006/relationships/image" Target="../media/image254.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8.png"/><Relationship Id="rId2" Type="http://schemas.microsoft.com/office/2007/relationships/media" Target="../media/media1.mp4"/><Relationship Id="rId1" Type="http://schemas.openxmlformats.org/officeDocument/2006/relationships/video" Target="NULL" TargetMode="External"/><Relationship Id="rId6" Type="http://schemas.openxmlformats.org/officeDocument/2006/relationships/image" Target="../media/image27.png"/><Relationship Id="rId5" Type="http://schemas.openxmlformats.org/officeDocument/2006/relationships/image" Target="../media/image38.jpeg"/><Relationship Id="rId4" Type="http://schemas.openxmlformats.org/officeDocument/2006/relationships/image" Target="../media/image39.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image" Target="../media/image256.png"/><Relationship Id="rId1" Type="http://schemas.openxmlformats.org/officeDocument/2006/relationships/slideLayout" Target="../slideLayouts/slideLayout3.xml"/><Relationship Id="rId5" Type="http://schemas.openxmlformats.org/officeDocument/2006/relationships/image" Target="../media/image259.png"/><Relationship Id="rId4" Type="http://schemas.openxmlformats.org/officeDocument/2006/relationships/image" Target="../media/image258.png"/></Relationships>
</file>

<file path=ppt/slides/_rels/slide72.xml.rels><?xml version="1.0" encoding="UTF-8" standalone="yes"?>
<Relationships xmlns="http://schemas.openxmlformats.org/package/2006/relationships"><Relationship Id="rId26" Type="http://schemas.openxmlformats.org/officeDocument/2006/relationships/image" Target="../media/image158.png"/><Relationship Id="rId21" Type="http://schemas.openxmlformats.org/officeDocument/2006/relationships/image" Target="../media/image265.png"/><Relationship Id="rId42" Type="http://schemas.openxmlformats.org/officeDocument/2006/relationships/image" Target="../media/image174.png"/><Relationship Id="rId47" Type="http://schemas.openxmlformats.org/officeDocument/2006/relationships/image" Target="../media/image179.png"/><Relationship Id="rId63" Type="http://schemas.openxmlformats.org/officeDocument/2006/relationships/image" Target="../media/image195.png"/><Relationship Id="rId68" Type="http://schemas.openxmlformats.org/officeDocument/2006/relationships/image" Target="../media/image283.jpeg"/><Relationship Id="rId84" Type="http://schemas.openxmlformats.org/officeDocument/2006/relationships/image" Target="../media/image229.png"/><Relationship Id="rId16" Type="http://schemas.openxmlformats.org/officeDocument/2006/relationships/image" Target="../media/image148.png"/><Relationship Id="rId11" Type="http://schemas.openxmlformats.org/officeDocument/2006/relationships/image" Target="../media/image143.png"/><Relationship Id="rId32" Type="http://schemas.openxmlformats.org/officeDocument/2006/relationships/image" Target="../media/image269.jpeg"/><Relationship Id="rId37" Type="http://schemas.openxmlformats.org/officeDocument/2006/relationships/image" Target="../media/image272.jpeg"/><Relationship Id="rId53" Type="http://schemas.openxmlformats.org/officeDocument/2006/relationships/image" Target="../media/image279.jpeg"/><Relationship Id="rId58" Type="http://schemas.openxmlformats.org/officeDocument/2006/relationships/image" Target="../media/image281.png"/><Relationship Id="rId74" Type="http://schemas.openxmlformats.org/officeDocument/2006/relationships/image" Target="../media/image217.png"/><Relationship Id="rId79" Type="http://schemas.openxmlformats.org/officeDocument/2006/relationships/image" Target="../media/image224.png"/><Relationship Id="rId5" Type="http://schemas.openxmlformats.org/officeDocument/2006/relationships/image" Target="../media/image262.png"/><Relationship Id="rId19" Type="http://schemas.openxmlformats.org/officeDocument/2006/relationships/image" Target="../media/image263.png"/><Relationship Id="rId14" Type="http://schemas.openxmlformats.org/officeDocument/2006/relationships/image" Target="../media/image146.jpeg"/><Relationship Id="rId22" Type="http://schemas.openxmlformats.org/officeDocument/2006/relationships/image" Target="../media/image154.png"/><Relationship Id="rId27" Type="http://schemas.openxmlformats.org/officeDocument/2006/relationships/image" Target="../media/image159.png"/><Relationship Id="rId30" Type="http://schemas.openxmlformats.org/officeDocument/2006/relationships/image" Target="../media/image267.png"/><Relationship Id="rId35" Type="http://schemas.openxmlformats.org/officeDocument/2006/relationships/image" Target="../media/image271.jpeg"/><Relationship Id="rId43" Type="http://schemas.openxmlformats.org/officeDocument/2006/relationships/image" Target="../media/image175.png"/><Relationship Id="rId48" Type="http://schemas.openxmlformats.org/officeDocument/2006/relationships/image" Target="../media/image180.svg"/><Relationship Id="rId56" Type="http://schemas.openxmlformats.org/officeDocument/2006/relationships/image" Target="../media/image188.png"/><Relationship Id="rId64" Type="http://schemas.openxmlformats.org/officeDocument/2006/relationships/hyperlink" Target="http://www.google.es/url?sa=i&amp;source=images&amp;cd=&amp;cad=rja&amp;docid=b-g8kpE_SeOKpM&amp;tbnid=Z0tH-i2GLKcgkM:&amp;ved=0CAgQjRwwAA&amp;url=http://www.aguasdealbacete.com/ESP/91.asp&amp;ei=72fRUf7zG9Cv7AaFzIDICg&amp;psig=AFQjCNHu1uuKnqj2Hp4qUTXchIykAGYzhA&amp;ust=1372764527510577" TargetMode="External"/><Relationship Id="rId69" Type="http://schemas.openxmlformats.org/officeDocument/2006/relationships/image" Target="../media/image200.png"/><Relationship Id="rId77" Type="http://schemas.openxmlformats.org/officeDocument/2006/relationships/image" Target="../media/image222.png"/><Relationship Id="rId8" Type="http://schemas.openxmlformats.org/officeDocument/2006/relationships/image" Target="../media/image140.png"/><Relationship Id="rId51" Type="http://schemas.openxmlformats.org/officeDocument/2006/relationships/image" Target="../media/image277.jpeg"/><Relationship Id="rId72" Type="http://schemas.openxmlformats.org/officeDocument/2006/relationships/image" Target="../media/image215.png"/><Relationship Id="rId80" Type="http://schemas.openxmlformats.org/officeDocument/2006/relationships/image" Target="../media/image286.jpeg"/><Relationship Id="rId85" Type="http://schemas.openxmlformats.org/officeDocument/2006/relationships/image" Target="../media/image230.png"/><Relationship Id="rId3" Type="http://schemas.openxmlformats.org/officeDocument/2006/relationships/image" Target="../media/image260.jpeg"/><Relationship Id="rId12" Type="http://schemas.openxmlformats.org/officeDocument/2006/relationships/image" Target="../media/image144.png"/><Relationship Id="rId17" Type="http://schemas.openxmlformats.org/officeDocument/2006/relationships/image" Target="../media/image149.png"/><Relationship Id="rId25" Type="http://schemas.openxmlformats.org/officeDocument/2006/relationships/image" Target="../media/image157.png"/><Relationship Id="rId33" Type="http://schemas.openxmlformats.org/officeDocument/2006/relationships/image" Target="../media/image270.png"/><Relationship Id="rId38" Type="http://schemas.openxmlformats.org/officeDocument/2006/relationships/image" Target="../media/image273.png"/><Relationship Id="rId46" Type="http://schemas.openxmlformats.org/officeDocument/2006/relationships/image" Target="../media/image178.png"/><Relationship Id="rId59" Type="http://schemas.openxmlformats.org/officeDocument/2006/relationships/image" Target="../media/image191.png"/><Relationship Id="rId67" Type="http://schemas.openxmlformats.org/officeDocument/2006/relationships/image" Target="../media/image198.png"/><Relationship Id="rId20" Type="http://schemas.openxmlformats.org/officeDocument/2006/relationships/image" Target="../media/image264.jpeg"/><Relationship Id="rId41" Type="http://schemas.openxmlformats.org/officeDocument/2006/relationships/image" Target="../media/image274.png"/><Relationship Id="rId54" Type="http://schemas.openxmlformats.org/officeDocument/2006/relationships/image" Target="../media/image280.png"/><Relationship Id="rId62" Type="http://schemas.openxmlformats.org/officeDocument/2006/relationships/image" Target="../media/image194.png"/><Relationship Id="rId70" Type="http://schemas.openxmlformats.org/officeDocument/2006/relationships/image" Target="../media/image284.png"/><Relationship Id="rId75" Type="http://schemas.openxmlformats.org/officeDocument/2006/relationships/image" Target="../media/image220.png"/><Relationship Id="rId83" Type="http://schemas.openxmlformats.org/officeDocument/2006/relationships/image" Target="../media/image287.png"/><Relationship Id="rId88" Type="http://schemas.openxmlformats.org/officeDocument/2006/relationships/image" Target="../media/image290.jpeg"/><Relationship Id="rId1" Type="http://schemas.openxmlformats.org/officeDocument/2006/relationships/slideLayout" Target="../slideLayouts/slideLayout137.xml"/><Relationship Id="rId6" Type="http://schemas.openxmlformats.org/officeDocument/2006/relationships/image" Target="../media/image138.png"/><Relationship Id="rId15" Type="http://schemas.openxmlformats.org/officeDocument/2006/relationships/image" Target="../media/image147.png"/><Relationship Id="rId23" Type="http://schemas.openxmlformats.org/officeDocument/2006/relationships/image" Target="../media/image155.jpeg"/><Relationship Id="rId28" Type="http://schemas.openxmlformats.org/officeDocument/2006/relationships/image" Target="../media/image160.png"/><Relationship Id="rId36" Type="http://schemas.openxmlformats.org/officeDocument/2006/relationships/image" Target="../media/image209.jpeg"/><Relationship Id="rId49" Type="http://schemas.openxmlformats.org/officeDocument/2006/relationships/image" Target="../media/image181.png"/><Relationship Id="rId57" Type="http://schemas.openxmlformats.org/officeDocument/2006/relationships/image" Target="../media/image189.png"/><Relationship Id="rId10" Type="http://schemas.openxmlformats.org/officeDocument/2006/relationships/image" Target="../media/image142.png"/><Relationship Id="rId31" Type="http://schemas.openxmlformats.org/officeDocument/2006/relationships/image" Target="../media/image268.jpeg"/><Relationship Id="rId44" Type="http://schemas.openxmlformats.org/officeDocument/2006/relationships/image" Target="../media/image176.png"/><Relationship Id="rId52" Type="http://schemas.openxmlformats.org/officeDocument/2006/relationships/image" Target="../media/image278.jpeg"/><Relationship Id="rId60" Type="http://schemas.openxmlformats.org/officeDocument/2006/relationships/image" Target="../media/image192.emf"/><Relationship Id="rId65" Type="http://schemas.openxmlformats.org/officeDocument/2006/relationships/image" Target="../media/image196.jpeg"/><Relationship Id="rId73" Type="http://schemas.openxmlformats.org/officeDocument/2006/relationships/image" Target="../media/image285.jpeg"/><Relationship Id="rId78" Type="http://schemas.openxmlformats.org/officeDocument/2006/relationships/image" Target="../media/image223.png"/><Relationship Id="rId81" Type="http://schemas.openxmlformats.org/officeDocument/2006/relationships/image" Target="../media/image226.png"/><Relationship Id="rId86" Type="http://schemas.openxmlformats.org/officeDocument/2006/relationships/image" Target="../media/image288.png"/><Relationship Id="rId4" Type="http://schemas.openxmlformats.org/officeDocument/2006/relationships/image" Target="../media/image261.png"/><Relationship Id="rId9" Type="http://schemas.openxmlformats.org/officeDocument/2006/relationships/image" Target="../media/image141.png"/><Relationship Id="rId13" Type="http://schemas.openxmlformats.org/officeDocument/2006/relationships/image" Target="../media/image145.png"/><Relationship Id="rId18" Type="http://schemas.openxmlformats.org/officeDocument/2006/relationships/image" Target="../media/image150.svg"/><Relationship Id="rId39" Type="http://schemas.openxmlformats.org/officeDocument/2006/relationships/image" Target="../media/image171.png"/><Relationship Id="rId34" Type="http://schemas.openxmlformats.org/officeDocument/2006/relationships/image" Target="../media/image210.jpeg"/><Relationship Id="rId50" Type="http://schemas.openxmlformats.org/officeDocument/2006/relationships/image" Target="../media/image276.png"/><Relationship Id="rId55" Type="http://schemas.openxmlformats.org/officeDocument/2006/relationships/image" Target="../media/image187.png"/><Relationship Id="rId76" Type="http://schemas.openxmlformats.org/officeDocument/2006/relationships/image" Target="../media/image221.png"/><Relationship Id="rId7" Type="http://schemas.openxmlformats.org/officeDocument/2006/relationships/image" Target="../media/image139.png"/><Relationship Id="rId71" Type="http://schemas.openxmlformats.org/officeDocument/2006/relationships/image" Target="../media/image204.jpeg"/><Relationship Id="rId2" Type="http://schemas.openxmlformats.org/officeDocument/2006/relationships/notesSlide" Target="../notesSlides/notesSlide49.xml"/><Relationship Id="rId29" Type="http://schemas.openxmlformats.org/officeDocument/2006/relationships/image" Target="../media/image266.png"/><Relationship Id="rId24" Type="http://schemas.openxmlformats.org/officeDocument/2006/relationships/image" Target="../media/image156.png"/><Relationship Id="rId40" Type="http://schemas.openxmlformats.org/officeDocument/2006/relationships/image" Target="../media/image172.png"/><Relationship Id="rId45" Type="http://schemas.openxmlformats.org/officeDocument/2006/relationships/image" Target="../media/image275.jpeg"/><Relationship Id="rId66" Type="http://schemas.openxmlformats.org/officeDocument/2006/relationships/image" Target="../media/image282.jpeg"/><Relationship Id="rId87" Type="http://schemas.openxmlformats.org/officeDocument/2006/relationships/image" Target="../media/image289.jpeg"/><Relationship Id="rId61" Type="http://schemas.openxmlformats.org/officeDocument/2006/relationships/image" Target="../media/image193.png"/><Relationship Id="rId82" Type="http://schemas.openxmlformats.org/officeDocument/2006/relationships/image" Target="../media/image227.png"/></Relationships>
</file>

<file path=ppt/slides/_rels/slide73.xml.rels><?xml version="1.0" encoding="UTF-8" standalone="yes"?>
<Relationships xmlns="http://schemas.openxmlformats.org/package/2006/relationships"><Relationship Id="rId8" Type="http://schemas.openxmlformats.org/officeDocument/2006/relationships/image" Target="../media/image295.jpeg"/><Relationship Id="rId13" Type="http://schemas.openxmlformats.org/officeDocument/2006/relationships/image" Target="../media/image299.gif"/><Relationship Id="rId3" Type="http://schemas.openxmlformats.org/officeDocument/2006/relationships/image" Target="../media/image292.png"/><Relationship Id="rId7" Type="http://schemas.openxmlformats.org/officeDocument/2006/relationships/image" Target="../media/image294.png"/><Relationship Id="rId12" Type="http://schemas.openxmlformats.org/officeDocument/2006/relationships/image" Target="../media/image298.jpeg"/><Relationship Id="rId2" Type="http://schemas.openxmlformats.org/officeDocument/2006/relationships/image" Target="../media/image291.png"/><Relationship Id="rId1" Type="http://schemas.openxmlformats.org/officeDocument/2006/relationships/slideLayout" Target="../slideLayouts/slideLayout137.xml"/><Relationship Id="rId6" Type="http://schemas.openxmlformats.org/officeDocument/2006/relationships/image" Target="../media/image293.jpeg"/><Relationship Id="rId11" Type="http://schemas.openxmlformats.org/officeDocument/2006/relationships/image" Target="../media/image297.png"/><Relationship Id="rId5" Type="http://schemas.openxmlformats.org/officeDocument/2006/relationships/image" Target="../media/image262.png"/><Relationship Id="rId10" Type="http://schemas.openxmlformats.org/officeDocument/2006/relationships/image" Target="../media/image296.png"/><Relationship Id="rId4" Type="http://schemas.openxmlformats.org/officeDocument/2006/relationships/image" Target="../media/image138.png"/><Relationship Id="rId9" Type="http://schemas.openxmlformats.org/officeDocument/2006/relationships/image" Target="../media/image203.png"/></Relationships>
</file>

<file path=ppt/slides/_rels/slide74.xml.rels><?xml version="1.0" encoding="UTF-8" standalone="yes"?>
<Relationships xmlns="http://schemas.openxmlformats.org/package/2006/relationships"><Relationship Id="rId8" Type="http://schemas.openxmlformats.org/officeDocument/2006/relationships/image" Target="../media/image305.svg"/><Relationship Id="rId3" Type="http://schemas.openxmlformats.org/officeDocument/2006/relationships/image" Target="../media/image300.png"/><Relationship Id="rId7" Type="http://schemas.openxmlformats.org/officeDocument/2006/relationships/image" Target="../media/image304.png"/><Relationship Id="rId12" Type="http://schemas.openxmlformats.org/officeDocument/2006/relationships/image" Target="../media/image309.svg"/><Relationship Id="rId2" Type="http://schemas.openxmlformats.org/officeDocument/2006/relationships/notesSlide" Target="../notesSlides/notesSlide50.xml"/><Relationship Id="rId1" Type="http://schemas.openxmlformats.org/officeDocument/2006/relationships/slideLayout" Target="../slideLayouts/slideLayout3.xml"/><Relationship Id="rId6" Type="http://schemas.openxmlformats.org/officeDocument/2006/relationships/image" Target="../media/image303.svg"/><Relationship Id="rId11" Type="http://schemas.openxmlformats.org/officeDocument/2006/relationships/image" Target="../media/image308.png"/><Relationship Id="rId5" Type="http://schemas.openxmlformats.org/officeDocument/2006/relationships/image" Target="../media/image302.png"/><Relationship Id="rId10" Type="http://schemas.openxmlformats.org/officeDocument/2006/relationships/image" Target="../media/image307.svg"/><Relationship Id="rId4" Type="http://schemas.openxmlformats.org/officeDocument/2006/relationships/image" Target="../media/image301.svg"/><Relationship Id="rId9" Type="http://schemas.openxmlformats.org/officeDocument/2006/relationships/image" Target="../media/image306.png"/></Relationships>
</file>

<file path=ppt/slides/_rels/slide75.xml.rels><?xml version="1.0" encoding="UTF-8" standalone="yes"?>
<Relationships xmlns="http://schemas.openxmlformats.org/package/2006/relationships"><Relationship Id="rId8" Type="http://schemas.openxmlformats.org/officeDocument/2006/relationships/image" Target="../media/image315.png"/><Relationship Id="rId13" Type="http://schemas.openxmlformats.org/officeDocument/2006/relationships/image" Target="../media/image320.png"/><Relationship Id="rId3" Type="http://schemas.openxmlformats.org/officeDocument/2006/relationships/image" Target="../media/image310.jpeg"/><Relationship Id="rId7" Type="http://schemas.openxmlformats.org/officeDocument/2006/relationships/image" Target="../media/image314.png"/><Relationship Id="rId12" Type="http://schemas.openxmlformats.org/officeDocument/2006/relationships/image" Target="../media/image319.png"/><Relationship Id="rId2" Type="http://schemas.openxmlformats.org/officeDocument/2006/relationships/notesSlide" Target="../notesSlides/notesSlide51.xml"/><Relationship Id="rId1" Type="http://schemas.openxmlformats.org/officeDocument/2006/relationships/slideLayout" Target="../slideLayouts/slideLayout3.xml"/><Relationship Id="rId6" Type="http://schemas.openxmlformats.org/officeDocument/2006/relationships/image" Target="../media/image313.png"/><Relationship Id="rId11" Type="http://schemas.openxmlformats.org/officeDocument/2006/relationships/image" Target="../media/image318.png"/><Relationship Id="rId5" Type="http://schemas.openxmlformats.org/officeDocument/2006/relationships/image" Target="../media/image312.png"/><Relationship Id="rId10" Type="http://schemas.openxmlformats.org/officeDocument/2006/relationships/image" Target="../media/image317.png"/><Relationship Id="rId4" Type="http://schemas.openxmlformats.org/officeDocument/2006/relationships/image" Target="../media/image311.png"/><Relationship Id="rId9" Type="http://schemas.openxmlformats.org/officeDocument/2006/relationships/image" Target="../media/image316.png"/><Relationship Id="rId14" Type="http://schemas.openxmlformats.org/officeDocument/2006/relationships/image" Target="../media/image321.png"/></Relationships>
</file>

<file path=ppt/slides/_rels/slide76.xml.rels><?xml version="1.0" encoding="UTF-8" standalone="yes"?>
<Relationships xmlns="http://schemas.openxmlformats.org/package/2006/relationships"><Relationship Id="rId8" Type="http://schemas.openxmlformats.org/officeDocument/2006/relationships/image" Target="../media/image326.png"/><Relationship Id="rId3" Type="http://schemas.openxmlformats.org/officeDocument/2006/relationships/image" Target="../media/image322.png"/><Relationship Id="rId7" Type="http://schemas.openxmlformats.org/officeDocument/2006/relationships/image" Target="../media/image325.png"/><Relationship Id="rId2" Type="http://schemas.openxmlformats.org/officeDocument/2006/relationships/notesSlide" Target="../notesSlides/notesSlide52.xml"/><Relationship Id="rId1" Type="http://schemas.openxmlformats.org/officeDocument/2006/relationships/slideLayout" Target="../slideLayouts/slideLayout3.xml"/><Relationship Id="rId6" Type="http://schemas.openxmlformats.org/officeDocument/2006/relationships/image" Target="../media/image324.png"/><Relationship Id="rId5" Type="http://schemas.openxmlformats.org/officeDocument/2006/relationships/image" Target="../media/image310.jpeg"/><Relationship Id="rId4" Type="http://schemas.openxmlformats.org/officeDocument/2006/relationships/image" Target="../media/image323.png"/><Relationship Id="rId9" Type="http://schemas.openxmlformats.org/officeDocument/2006/relationships/image" Target="../media/image327.png"/></Relationships>
</file>

<file path=ppt/slides/_rels/slide77.xml.rels><?xml version="1.0" encoding="UTF-8" standalone="yes"?>
<Relationships xmlns="http://schemas.openxmlformats.org/package/2006/relationships"><Relationship Id="rId3" Type="http://schemas.openxmlformats.org/officeDocument/2006/relationships/image" Target="../media/image328.png"/><Relationship Id="rId2" Type="http://schemas.openxmlformats.org/officeDocument/2006/relationships/notesSlide" Target="../notesSlides/notesSlide53.xml"/><Relationship Id="rId1" Type="http://schemas.openxmlformats.org/officeDocument/2006/relationships/slideLayout" Target="../slideLayouts/slideLayout3.xml"/><Relationship Id="rId6" Type="http://schemas.openxmlformats.org/officeDocument/2006/relationships/image" Target="../media/image331.png"/><Relationship Id="rId5" Type="http://schemas.openxmlformats.org/officeDocument/2006/relationships/image" Target="../media/image330.png"/><Relationship Id="rId4" Type="http://schemas.openxmlformats.org/officeDocument/2006/relationships/image" Target="../media/image329.png"/></Relationships>
</file>

<file path=ppt/slides/_rels/slide78.xml.rels><?xml version="1.0" encoding="UTF-8" standalone="yes"?>
<Relationships xmlns="http://schemas.openxmlformats.org/package/2006/relationships"><Relationship Id="rId8" Type="http://schemas.openxmlformats.org/officeDocument/2006/relationships/image" Target="../media/image336.png"/><Relationship Id="rId3" Type="http://schemas.openxmlformats.org/officeDocument/2006/relationships/image" Target="../media/image310.jpeg"/><Relationship Id="rId7" Type="http://schemas.openxmlformats.org/officeDocument/2006/relationships/image" Target="../media/image335.png"/><Relationship Id="rId2" Type="http://schemas.openxmlformats.org/officeDocument/2006/relationships/notesSlide" Target="../notesSlides/notesSlide54.xml"/><Relationship Id="rId1" Type="http://schemas.openxmlformats.org/officeDocument/2006/relationships/slideLayout" Target="../slideLayouts/slideLayout3.xml"/><Relationship Id="rId6" Type="http://schemas.openxmlformats.org/officeDocument/2006/relationships/image" Target="../media/image334.png"/><Relationship Id="rId5" Type="http://schemas.openxmlformats.org/officeDocument/2006/relationships/image" Target="../media/image333.png"/><Relationship Id="rId4" Type="http://schemas.openxmlformats.org/officeDocument/2006/relationships/image" Target="../media/image332.png"/></Relationships>
</file>

<file path=ppt/slides/_rels/slide79.xml.rels><?xml version="1.0" encoding="UTF-8" standalone="yes"?>
<Relationships xmlns="http://schemas.openxmlformats.org/package/2006/relationships"><Relationship Id="rId8" Type="http://schemas.openxmlformats.org/officeDocument/2006/relationships/image" Target="../media/image340.png"/><Relationship Id="rId13" Type="http://schemas.openxmlformats.org/officeDocument/2006/relationships/image" Target="../media/image267.png"/><Relationship Id="rId18" Type="http://schemas.openxmlformats.org/officeDocument/2006/relationships/image" Target="../media/image346.png"/><Relationship Id="rId3" Type="http://schemas.openxmlformats.org/officeDocument/2006/relationships/image" Target="../media/image268.jpeg"/><Relationship Id="rId7" Type="http://schemas.openxmlformats.org/officeDocument/2006/relationships/image" Target="../media/image339.png"/><Relationship Id="rId12" Type="http://schemas.openxmlformats.org/officeDocument/2006/relationships/image" Target="../media/image269.jpeg"/><Relationship Id="rId17" Type="http://schemas.openxmlformats.org/officeDocument/2006/relationships/image" Target="../media/image345.png"/><Relationship Id="rId2" Type="http://schemas.openxmlformats.org/officeDocument/2006/relationships/notesSlide" Target="../notesSlides/notesSlide55.xml"/><Relationship Id="rId16" Type="http://schemas.openxmlformats.org/officeDocument/2006/relationships/image" Target="../media/image344.png"/><Relationship Id="rId1" Type="http://schemas.openxmlformats.org/officeDocument/2006/relationships/slideLayout" Target="../slideLayouts/slideLayout3.xml"/><Relationship Id="rId6" Type="http://schemas.openxmlformats.org/officeDocument/2006/relationships/image" Target="../media/image338.png"/><Relationship Id="rId11" Type="http://schemas.openxmlformats.org/officeDocument/2006/relationships/image" Target="../media/image266.png"/><Relationship Id="rId5" Type="http://schemas.openxmlformats.org/officeDocument/2006/relationships/image" Target="../media/image337.png"/><Relationship Id="rId15" Type="http://schemas.openxmlformats.org/officeDocument/2006/relationships/image" Target="../media/image343.png"/><Relationship Id="rId10" Type="http://schemas.openxmlformats.org/officeDocument/2006/relationships/image" Target="../media/image160.png"/><Relationship Id="rId4" Type="http://schemas.openxmlformats.org/officeDocument/2006/relationships/image" Target="../media/image270.png"/><Relationship Id="rId9" Type="http://schemas.openxmlformats.org/officeDocument/2006/relationships/image" Target="../media/image341.png"/><Relationship Id="rId14" Type="http://schemas.openxmlformats.org/officeDocument/2006/relationships/image" Target="../media/image342.png"/></Relationships>
</file>

<file path=ppt/slides/_rels/slide8.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6.xml"/><Relationship Id="rId7" Type="http://schemas.openxmlformats.org/officeDocument/2006/relationships/image" Target="../media/image27.png"/><Relationship Id="rId2" Type="http://schemas.microsoft.com/office/2007/relationships/media" Target="../media/media2.mp4"/><Relationship Id="rId1" Type="http://schemas.openxmlformats.org/officeDocument/2006/relationships/video" Target="NULL" TargetMode="External"/><Relationship Id="rId6" Type="http://schemas.openxmlformats.org/officeDocument/2006/relationships/image" Target="../media/image38.jpeg"/><Relationship Id="rId5" Type="http://schemas.openxmlformats.org/officeDocument/2006/relationships/image" Target="../media/image40.png"/><Relationship Id="rId4" Type="http://schemas.openxmlformats.org/officeDocument/2006/relationships/notesSlide" Target="../notesSlides/notesSlide6.xml"/></Relationships>
</file>

<file path=ppt/slides/_rels/slide80.xml.rels><?xml version="1.0" encoding="UTF-8" standalone="yes"?>
<Relationships xmlns="http://schemas.openxmlformats.org/package/2006/relationships"><Relationship Id="rId3" Type="http://schemas.openxmlformats.org/officeDocument/2006/relationships/image" Target="../media/image348.jpeg"/><Relationship Id="rId2" Type="http://schemas.openxmlformats.org/officeDocument/2006/relationships/image" Target="../media/image347.png"/><Relationship Id="rId1" Type="http://schemas.openxmlformats.org/officeDocument/2006/relationships/slideLayout" Target="../slideLayouts/slideLayout3.xml"/><Relationship Id="rId6" Type="http://schemas.openxmlformats.org/officeDocument/2006/relationships/image" Target="../media/image351.png"/><Relationship Id="rId5" Type="http://schemas.openxmlformats.org/officeDocument/2006/relationships/image" Target="../media/image350.png"/><Relationship Id="rId4" Type="http://schemas.openxmlformats.org/officeDocument/2006/relationships/image" Target="../media/image349.jpe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8.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27.png"/><Relationship Id="rId5" Type="http://schemas.openxmlformats.org/officeDocument/2006/relationships/image" Target="../media/image38.jpeg"/><Relationship Id="rId4" Type="http://schemas.openxmlformats.org/officeDocument/2006/relationships/image" Target="../media/image4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9DAE0D-155D-A2F5-FC2E-8EF982BD4348}"/>
            </a:ext>
          </a:extLst>
        </p:cNvPr>
        <p:cNvGrpSpPr/>
        <p:nvPr/>
      </p:nvGrpSpPr>
      <p:grpSpPr>
        <a:xfrm>
          <a:off x="0" y="0"/>
          <a:ext cx="0" cy="0"/>
          <a:chOff x="0" y="0"/>
          <a:chExt cx="0" cy="0"/>
        </a:xfrm>
      </p:grpSpPr>
      <p:pic>
        <p:nvPicPr>
          <p:cNvPr id="5" name="Marcador de posición de imagen 4" descr="Imagen que contiene persona, colorido, mujer, sostener&#10;&#10;Descripción generada automáticamente">
            <a:extLst>
              <a:ext uri="{FF2B5EF4-FFF2-40B4-BE49-F238E27FC236}">
                <a16:creationId xmlns:a16="http://schemas.microsoft.com/office/drawing/2014/main" id="{D41B5D36-C3EC-F43F-D2D1-9746D99A236A}"/>
              </a:ext>
            </a:extLst>
          </p:cNvPr>
          <p:cNvPicPr>
            <a:picLocks noGrp="1" noChangeAspect="1"/>
          </p:cNvPicPr>
          <p:nvPr>
            <p:ph type="pic" sz="quarter" idx="13"/>
          </p:nvPr>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p:spPr>
      </p:pic>
      <p:sp>
        <p:nvSpPr>
          <p:cNvPr id="290" name="Forma libre 289">
            <a:extLst>
              <a:ext uri="{FF2B5EF4-FFF2-40B4-BE49-F238E27FC236}">
                <a16:creationId xmlns:a16="http://schemas.microsoft.com/office/drawing/2014/main" id="{F2D0918A-35D5-D943-BB57-BF6948BBE525}"/>
              </a:ext>
            </a:extLst>
          </p:cNvPr>
          <p:cNvSpPr/>
          <p:nvPr/>
        </p:nvSpPr>
        <p:spPr>
          <a:xfrm>
            <a:off x="533779" y="2978732"/>
            <a:ext cx="2382643" cy="521264"/>
          </a:xfrm>
          <a:custGeom>
            <a:avLst/>
            <a:gdLst>
              <a:gd name="connsiteX0" fmla="*/ 2283858 w 2371453"/>
              <a:gd name="connsiteY0" fmla="*/ 421754 h 518816"/>
              <a:gd name="connsiteX1" fmla="*/ 2283858 w 2371453"/>
              <a:gd name="connsiteY1" fmla="*/ 481472 h 518816"/>
              <a:gd name="connsiteX2" fmla="*/ 2305653 w 2371453"/>
              <a:gd name="connsiteY2" fmla="*/ 481472 h 518816"/>
              <a:gd name="connsiteX3" fmla="*/ 2320421 w 2371453"/>
              <a:gd name="connsiteY3" fmla="*/ 478750 h 518816"/>
              <a:gd name="connsiteX4" fmla="*/ 2327031 w 2371453"/>
              <a:gd name="connsiteY4" fmla="*/ 469635 h 518816"/>
              <a:gd name="connsiteX5" fmla="*/ 2328817 w 2371453"/>
              <a:gd name="connsiteY5" fmla="*/ 451761 h 518816"/>
              <a:gd name="connsiteX6" fmla="*/ 2326912 w 2371453"/>
              <a:gd name="connsiteY6" fmla="*/ 433709 h 518816"/>
              <a:gd name="connsiteX7" fmla="*/ 2320183 w 2371453"/>
              <a:gd name="connsiteY7" fmla="*/ 424476 h 518816"/>
              <a:gd name="connsiteX8" fmla="*/ 2305713 w 2371453"/>
              <a:gd name="connsiteY8" fmla="*/ 421754 h 518816"/>
              <a:gd name="connsiteX9" fmla="*/ 1628289 w 2371453"/>
              <a:gd name="connsiteY9" fmla="*/ 337119 h 518816"/>
              <a:gd name="connsiteX10" fmla="*/ 1609650 w 2371453"/>
              <a:gd name="connsiteY10" fmla="*/ 433828 h 518816"/>
              <a:gd name="connsiteX11" fmla="*/ 1609710 w 2371453"/>
              <a:gd name="connsiteY11" fmla="*/ 433828 h 518816"/>
              <a:gd name="connsiteX12" fmla="*/ 1649191 w 2371453"/>
              <a:gd name="connsiteY12" fmla="*/ 433828 h 518816"/>
              <a:gd name="connsiteX13" fmla="*/ 1630552 w 2371453"/>
              <a:gd name="connsiteY13" fmla="*/ 337119 h 518816"/>
              <a:gd name="connsiteX14" fmla="*/ 2283798 w 2371453"/>
              <a:gd name="connsiteY14" fmla="*/ 331792 h 518816"/>
              <a:gd name="connsiteX15" fmla="*/ 2283798 w 2371453"/>
              <a:gd name="connsiteY15" fmla="*/ 388551 h 518816"/>
              <a:gd name="connsiteX16" fmla="*/ 2304998 w 2371453"/>
              <a:gd name="connsiteY16" fmla="*/ 388551 h 518816"/>
              <a:gd name="connsiteX17" fmla="*/ 2318813 w 2371453"/>
              <a:gd name="connsiteY17" fmla="*/ 386007 h 518816"/>
              <a:gd name="connsiteX18" fmla="*/ 2325720 w 2371453"/>
              <a:gd name="connsiteY18" fmla="*/ 377247 h 518816"/>
              <a:gd name="connsiteX19" fmla="*/ 2327805 w 2371453"/>
              <a:gd name="connsiteY19" fmla="*/ 360201 h 518816"/>
              <a:gd name="connsiteX20" fmla="*/ 2326197 w 2371453"/>
              <a:gd name="connsiteY20" fmla="*/ 342978 h 518816"/>
              <a:gd name="connsiteX21" fmla="*/ 2319765 w 2371453"/>
              <a:gd name="connsiteY21" fmla="*/ 334337 h 518816"/>
              <a:gd name="connsiteX22" fmla="*/ 2304998 w 2371453"/>
              <a:gd name="connsiteY22" fmla="*/ 331792 h 518816"/>
              <a:gd name="connsiteX23" fmla="*/ 1103846 w 2371453"/>
              <a:gd name="connsiteY23" fmla="*/ 329425 h 518816"/>
              <a:gd name="connsiteX24" fmla="*/ 1091342 w 2371453"/>
              <a:gd name="connsiteY24" fmla="*/ 330372 h 518816"/>
              <a:gd name="connsiteX25" fmla="*/ 1083660 w 2371453"/>
              <a:gd name="connsiteY25" fmla="*/ 335166 h 518816"/>
              <a:gd name="connsiteX26" fmla="*/ 1079312 w 2371453"/>
              <a:gd name="connsiteY26" fmla="*/ 347299 h 518816"/>
              <a:gd name="connsiteX27" fmla="*/ 1077526 w 2371453"/>
              <a:gd name="connsiteY27" fmla="*/ 369967 h 518816"/>
              <a:gd name="connsiteX28" fmla="*/ 1077228 w 2371453"/>
              <a:gd name="connsiteY28" fmla="*/ 406365 h 518816"/>
              <a:gd name="connsiteX29" fmla="*/ 1077526 w 2371453"/>
              <a:gd name="connsiteY29" fmla="*/ 442765 h 518816"/>
              <a:gd name="connsiteX30" fmla="*/ 1079312 w 2371453"/>
              <a:gd name="connsiteY30" fmla="*/ 465433 h 518816"/>
              <a:gd name="connsiteX31" fmla="*/ 1083660 w 2371453"/>
              <a:gd name="connsiteY31" fmla="*/ 477566 h 518816"/>
              <a:gd name="connsiteX32" fmla="*/ 1091342 w 2371453"/>
              <a:gd name="connsiteY32" fmla="*/ 482360 h 518816"/>
              <a:gd name="connsiteX33" fmla="*/ 1103846 w 2371453"/>
              <a:gd name="connsiteY33" fmla="*/ 483307 h 518816"/>
              <a:gd name="connsiteX34" fmla="*/ 1116232 w 2371453"/>
              <a:gd name="connsiteY34" fmla="*/ 482360 h 518816"/>
              <a:gd name="connsiteX35" fmla="*/ 1124272 w 2371453"/>
              <a:gd name="connsiteY35" fmla="*/ 477566 h 518816"/>
              <a:gd name="connsiteX36" fmla="*/ 1128618 w 2371453"/>
              <a:gd name="connsiteY36" fmla="*/ 465433 h 518816"/>
              <a:gd name="connsiteX37" fmla="*/ 1130227 w 2371453"/>
              <a:gd name="connsiteY37" fmla="*/ 442765 h 518816"/>
              <a:gd name="connsiteX38" fmla="*/ 1130525 w 2371453"/>
              <a:gd name="connsiteY38" fmla="*/ 406365 h 518816"/>
              <a:gd name="connsiteX39" fmla="*/ 1130227 w 2371453"/>
              <a:gd name="connsiteY39" fmla="*/ 369967 h 518816"/>
              <a:gd name="connsiteX40" fmla="*/ 1128618 w 2371453"/>
              <a:gd name="connsiteY40" fmla="*/ 347299 h 518816"/>
              <a:gd name="connsiteX41" fmla="*/ 1124272 w 2371453"/>
              <a:gd name="connsiteY41" fmla="*/ 335166 h 518816"/>
              <a:gd name="connsiteX42" fmla="*/ 1116232 w 2371453"/>
              <a:gd name="connsiteY42" fmla="*/ 330372 h 518816"/>
              <a:gd name="connsiteX43" fmla="*/ 1103846 w 2371453"/>
              <a:gd name="connsiteY43" fmla="*/ 329425 h 518816"/>
              <a:gd name="connsiteX44" fmla="*/ 816766 w 2371453"/>
              <a:gd name="connsiteY44" fmla="*/ 329425 h 518816"/>
              <a:gd name="connsiteX45" fmla="*/ 804260 w 2371453"/>
              <a:gd name="connsiteY45" fmla="*/ 330372 h 518816"/>
              <a:gd name="connsiteX46" fmla="*/ 796579 w 2371453"/>
              <a:gd name="connsiteY46" fmla="*/ 335166 h 518816"/>
              <a:gd name="connsiteX47" fmla="*/ 792231 w 2371453"/>
              <a:gd name="connsiteY47" fmla="*/ 347299 h 518816"/>
              <a:gd name="connsiteX48" fmla="*/ 790445 w 2371453"/>
              <a:gd name="connsiteY48" fmla="*/ 369967 h 518816"/>
              <a:gd name="connsiteX49" fmla="*/ 790147 w 2371453"/>
              <a:gd name="connsiteY49" fmla="*/ 406365 h 518816"/>
              <a:gd name="connsiteX50" fmla="*/ 790445 w 2371453"/>
              <a:gd name="connsiteY50" fmla="*/ 442765 h 518816"/>
              <a:gd name="connsiteX51" fmla="*/ 792231 w 2371453"/>
              <a:gd name="connsiteY51" fmla="*/ 465433 h 518816"/>
              <a:gd name="connsiteX52" fmla="*/ 796579 w 2371453"/>
              <a:gd name="connsiteY52" fmla="*/ 477566 h 518816"/>
              <a:gd name="connsiteX53" fmla="*/ 804260 w 2371453"/>
              <a:gd name="connsiteY53" fmla="*/ 482360 h 518816"/>
              <a:gd name="connsiteX54" fmla="*/ 816766 w 2371453"/>
              <a:gd name="connsiteY54" fmla="*/ 483307 h 518816"/>
              <a:gd name="connsiteX55" fmla="*/ 829151 w 2371453"/>
              <a:gd name="connsiteY55" fmla="*/ 482360 h 518816"/>
              <a:gd name="connsiteX56" fmla="*/ 837191 w 2371453"/>
              <a:gd name="connsiteY56" fmla="*/ 477566 h 518816"/>
              <a:gd name="connsiteX57" fmla="*/ 841537 w 2371453"/>
              <a:gd name="connsiteY57" fmla="*/ 465433 h 518816"/>
              <a:gd name="connsiteX58" fmla="*/ 843146 w 2371453"/>
              <a:gd name="connsiteY58" fmla="*/ 442765 h 518816"/>
              <a:gd name="connsiteX59" fmla="*/ 843444 w 2371453"/>
              <a:gd name="connsiteY59" fmla="*/ 406365 h 518816"/>
              <a:gd name="connsiteX60" fmla="*/ 843146 w 2371453"/>
              <a:gd name="connsiteY60" fmla="*/ 369967 h 518816"/>
              <a:gd name="connsiteX61" fmla="*/ 841537 w 2371453"/>
              <a:gd name="connsiteY61" fmla="*/ 347299 h 518816"/>
              <a:gd name="connsiteX62" fmla="*/ 837191 w 2371453"/>
              <a:gd name="connsiteY62" fmla="*/ 335166 h 518816"/>
              <a:gd name="connsiteX63" fmla="*/ 829151 w 2371453"/>
              <a:gd name="connsiteY63" fmla="*/ 330372 h 518816"/>
              <a:gd name="connsiteX64" fmla="*/ 816766 w 2371453"/>
              <a:gd name="connsiteY64" fmla="*/ 329425 h 518816"/>
              <a:gd name="connsiteX65" fmla="*/ 2242055 w 2371453"/>
              <a:gd name="connsiteY65" fmla="*/ 296577 h 518816"/>
              <a:gd name="connsiteX66" fmla="*/ 2317205 w 2371453"/>
              <a:gd name="connsiteY66" fmla="*/ 296577 h 518816"/>
              <a:gd name="connsiteX67" fmla="*/ 2346742 w 2371453"/>
              <a:gd name="connsiteY67" fmla="*/ 302792 h 518816"/>
              <a:gd name="connsiteX68" fmla="*/ 2363951 w 2371453"/>
              <a:gd name="connsiteY68" fmla="*/ 321316 h 518816"/>
              <a:gd name="connsiteX69" fmla="*/ 2369548 w 2371453"/>
              <a:gd name="connsiteY69" fmla="*/ 351797 h 518816"/>
              <a:gd name="connsiteX70" fmla="*/ 2366154 w 2371453"/>
              <a:gd name="connsiteY70" fmla="*/ 377661 h 518816"/>
              <a:gd name="connsiteX71" fmla="*/ 2356031 w 2371453"/>
              <a:gd name="connsiteY71" fmla="*/ 394410 h 518816"/>
              <a:gd name="connsiteX72" fmla="*/ 2338702 w 2371453"/>
              <a:gd name="connsiteY72" fmla="*/ 403525 h 518816"/>
              <a:gd name="connsiteX73" fmla="*/ 2338702 w 2371453"/>
              <a:gd name="connsiteY73" fmla="*/ 404768 h 518816"/>
              <a:gd name="connsiteX74" fmla="*/ 2357639 w 2371453"/>
              <a:gd name="connsiteY74" fmla="*/ 413528 h 518816"/>
              <a:gd name="connsiteX75" fmla="*/ 2368060 w 2371453"/>
              <a:gd name="connsiteY75" fmla="*/ 430573 h 518816"/>
              <a:gd name="connsiteX76" fmla="*/ 2371453 w 2371453"/>
              <a:gd name="connsiteY76" fmla="*/ 457680 h 518816"/>
              <a:gd name="connsiteX77" fmla="*/ 2368418 w 2371453"/>
              <a:gd name="connsiteY77" fmla="*/ 482714 h 518816"/>
              <a:gd name="connsiteX78" fmla="*/ 2358770 w 2371453"/>
              <a:gd name="connsiteY78" fmla="*/ 501062 h 518816"/>
              <a:gd name="connsiteX79" fmla="*/ 2341739 w 2371453"/>
              <a:gd name="connsiteY79" fmla="*/ 512249 h 518816"/>
              <a:gd name="connsiteX80" fmla="*/ 2316550 w 2371453"/>
              <a:gd name="connsiteY80" fmla="*/ 516096 h 518816"/>
              <a:gd name="connsiteX81" fmla="*/ 2242055 w 2371453"/>
              <a:gd name="connsiteY81" fmla="*/ 516096 h 518816"/>
              <a:gd name="connsiteX82" fmla="*/ 2077284 w 2371453"/>
              <a:gd name="connsiteY82" fmla="*/ 296577 h 518816"/>
              <a:gd name="connsiteX83" fmla="*/ 2119682 w 2371453"/>
              <a:gd name="connsiteY83" fmla="*/ 296577 h 518816"/>
              <a:gd name="connsiteX84" fmla="*/ 2119682 w 2371453"/>
              <a:gd name="connsiteY84" fmla="*/ 432230 h 518816"/>
              <a:gd name="connsiteX85" fmla="*/ 2120338 w 2371453"/>
              <a:gd name="connsiteY85" fmla="*/ 459692 h 518816"/>
              <a:gd name="connsiteX86" fmla="*/ 2123077 w 2371453"/>
              <a:gd name="connsiteY86" fmla="*/ 475020 h 518816"/>
              <a:gd name="connsiteX87" fmla="*/ 2129984 w 2371453"/>
              <a:gd name="connsiteY87" fmla="*/ 481708 h 518816"/>
              <a:gd name="connsiteX88" fmla="*/ 2143144 w 2371453"/>
              <a:gd name="connsiteY88" fmla="*/ 483306 h 518816"/>
              <a:gd name="connsiteX89" fmla="*/ 2156126 w 2371453"/>
              <a:gd name="connsiteY89" fmla="*/ 481708 h 518816"/>
              <a:gd name="connsiteX90" fmla="*/ 2163213 w 2371453"/>
              <a:gd name="connsiteY90" fmla="*/ 475020 h 518816"/>
              <a:gd name="connsiteX91" fmla="*/ 2166131 w 2371453"/>
              <a:gd name="connsiteY91" fmla="*/ 459692 h 518816"/>
              <a:gd name="connsiteX92" fmla="*/ 2166606 w 2371453"/>
              <a:gd name="connsiteY92" fmla="*/ 432230 h 518816"/>
              <a:gd name="connsiteX93" fmla="*/ 2166606 w 2371453"/>
              <a:gd name="connsiteY93" fmla="*/ 296577 h 518816"/>
              <a:gd name="connsiteX94" fmla="*/ 2209005 w 2371453"/>
              <a:gd name="connsiteY94" fmla="*/ 296577 h 518816"/>
              <a:gd name="connsiteX95" fmla="*/ 2209005 w 2371453"/>
              <a:gd name="connsiteY95" fmla="*/ 419150 h 518816"/>
              <a:gd name="connsiteX96" fmla="*/ 2207874 w 2371453"/>
              <a:gd name="connsiteY96" fmla="*/ 460638 h 518816"/>
              <a:gd name="connsiteX97" fmla="*/ 2203229 w 2371453"/>
              <a:gd name="connsiteY97" fmla="*/ 489225 h 518816"/>
              <a:gd name="connsiteX98" fmla="*/ 2192630 w 2371453"/>
              <a:gd name="connsiteY98" fmla="*/ 506921 h 518816"/>
              <a:gd name="connsiteX99" fmla="*/ 2173514 w 2371453"/>
              <a:gd name="connsiteY99" fmla="*/ 516036 h 518816"/>
              <a:gd name="connsiteX100" fmla="*/ 2143144 w 2371453"/>
              <a:gd name="connsiteY100" fmla="*/ 518758 h 518816"/>
              <a:gd name="connsiteX101" fmla="*/ 2112774 w 2371453"/>
              <a:gd name="connsiteY101" fmla="*/ 516036 h 518816"/>
              <a:gd name="connsiteX102" fmla="*/ 2093660 w 2371453"/>
              <a:gd name="connsiteY102" fmla="*/ 506921 h 518816"/>
              <a:gd name="connsiteX103" fmla="*/ 2083060 w 2371453"/>
              <a:gd name="connsiteY103" fmla="*/ 489225 h 518816"/>
              <a:gd name="connsiteX104" fmla="*/ 2078416 w 2371453"/>
              <a:gd name="connsiteY104" fmla="*/ 460638 h 518816"/>
              <a:gd name="connsiteX105" fmla="*/ 2077284 w 2371453"/>
              <a:gd name="connsiteY105" fmla="*/ 419150 h 518816"/>
              <a:gd name="connsiteX106" fmla="*/ 1911264 w 2371453"/>
              <a:gd name="connsiteY106" fmla="*/ 296577 h 518816"/>
              <a:gd name="connsiteX107" fmla="*/ 1953365 w 2371453"/>
              <a:gd name="connsiteY107" fmla="*/ 296577 h 518816"/>
              <a:gd name="connsiteX108" fmla="*/ 1953365 w 2371453"/>
              <a:gd name="connsiteY108" fmla="*/ 386599 h 518816"/>
              <a:gd name="connsiteX109" fmla="*/ 2002194 w 2371453"/>
              <a:gd name="connsiteY109" fmla="*/ 386599 h 518816"/>
              <a:gd name="connsiteX110" fmla="*/ 2002194 w 2371453"/>
              <a:gd name="connsiteY110" fmla="*/ 296577 h 518816"/>
              <a:gd name="connsiteX111" fmla="*/ 2044593 w 2371453"/>
              <a:gd name="connsiteY111" fmla="*/ 296577 h 518816"/>
              <a:gd name="connsiteX112" fmla="*/ 2044593 w 2371453"/>
              <a:gd name="connsiteY112" fmla="*/ 516213 h 518816"/>
              <a:gd name="connsiteX113" fmla="*/ 2002194 w 2371453"/>
              <a:gd name="connsiteY113" fmla="*/ 516213 h 518816"/>
              <a:gd name="connsiteX114" fmla="*/ 2002194 w 2371453"/>
              <a:gd name="connsiteY114" fmla="*/ 424299 h 518816"/>
              <a:gd name="connsiteX115" fmla="*/ 1953365 w 2371453"/>
              <a:gd name="connsiteY115" fmla="*/ 424299 h 518816"/>
              <a:gd name="connsiteX116" fmla="*/ 1953365 w 2371453"/>
              <a:gd name="connsiteY116" fmla="*/ 516213 h 518816"/>
              <a:gd name="connsiteX117" fmla="*/ 1911264 w 2371453"/>
              <a:gd name="connsiteY117" fmla="*/ 516213 h 518816"/>
              <a:gd name="connsiteX118" fmla="*/ 1728510 w 2371453"/>
              <a:gd name="connsiteY118" fmla="*/ 296577 h 518816"/>
              <a:gd name="connsiteX119" fmla="*/ 1770611 w 2371453"/>
              <a:gd name="connsiteY119" fmla="*/ 296577 h 518816"/>
              <a:gd name="connsiteX120" fmla="*/ 1770611 w 2371453"/>
              <a:gd name="connsiteY120" fmla="*/ 479815 h 518816"/>
              <a:gd name="connsiteX121" fmla="*/ 1829683 w 2371453"/>
              <a:gd name="connsiteY121" fmla="*/ 479815 h 518816"/>
              <a:gd name="connsiteX122" fmla="*/ 1829683 w 2371453"/>
              <a:gd name="connsiteY122" fmla="*/ 516213 h 518816"/>
              <a:gd name="connsiteX123" fmla="*/ 1728510 w 2371453"/>
              <a:gd name="connsiteY123" fmla="*/ 516213 h 518816"/>
              <a:gd name="connsiteX124" fmla="*/ 1600063 w 2371453"/>
              <a:gd name="connsiteY124" fmla="*/ 296577 h 518816"/>
              <a:gd name="connsiteX125" fmla="*/ 1660147 w 2371453"/>
              <a:gd name="connsiteY125" fmla="*/ 296577 h 518816"/>
              <a:gd name="connsiteX126" fmla="*/ 1708322 w 2371453"/>
              <a:gd name="connsiteY126" fmla="*/ 516213 h 518816"/>
              <a:gd name="connsiteX127" fmla="*/ 1665626 w 2371453"/>
              <a:gd name="connsiteY127" fmla="*/ 516213 h 518816"/>
              <a:gd name="connsiteX128" fmla="*/ 1655980 w 2371453"/>
              <a:gd name="connsiteY128" fmla="*/ 468333 h 518816"/>
              <a:gd name="connsiteX129" fmla="*/ 1603279 w 2371453"/>
              <a:gd name="connsiteY129" fmla="*/ 468333 h 518816"/>
              <a:gd name="connsiteX130" fmla="*/ 1593334 w 2371453"/>
              <a:gd name="connsiteY130" fmla="*/ 516213 h 518816"/>
              <a:gd name="connsiteX131" fmla="*/ 1551591 w 2371453"/>
              <a:gd name="connsiteY131" fmla="*/ 516213 h 518816"/>
              <a:gd name="connsiteX132" fmla="*/ 1360501 w 2371453"/>
              <a:gd name="connsiteY132" fmla="*/ 296577 h 518816"/>
              <a:gd name="connsiteX133" fmla="*/ 1402899 w 2371453"/>
              <a:gd name="connsiteY133" fmla="*/ 296577 h 518816"/>
              <a:gd name="connsiteX134" fmla="*/ 1402899 w 2371453"/>
              <a:gd name="connsiteY134" fmla="*/ 516213 h 518816"/>
              <a:gd name="connsiteX135" fmla="*/ 1360501 w 2371453"/>
              <a:gd name="connsiteY135" fmla="*/ 516213 h 518816"/>
              <a:gd name="connsiteX136" fmla="*/ 916329 w 2371453"/>
              <a:gd name="connsiteY136" fmla="*/ 296577 h 518816"/>
              <a:gd name="connsiteX137" fmla="*/ 958430 w 2371453"/>
              <a:gd name="connsiteY137" fmla="*/ 296577 h 518816"/>
              <a:gd name="connsiteX138" fmla="*/ 958430 w 2371453"/>
              <a:gd name="connsiteY138" fmla="*/ 479815 h 518816"/>
              <a:gd name="connsiteX139" fmla="*/ 1017502 w 2371453"/>
              <a:gd name="connsiteY139" fmla="*/ 479815 h 518816"/>
              <a:gd name="connsiteX140" fmla="*/ 1017502 w 2371453"/>
              <a:gd name="connsiteY140" fmla="*/ 516213 h 518816"/>
              <a:gd name="connsiteX141" fmla="*/ 916329 w 2371453"/>
              <a:gd name="connsiteY141" fmla="*/ 516213 h 518816"/>
              <a:gd name="connsiteX142" fmla="*/ 583217 w 2371453"/>
              <a:gd name="connsiteY142" fmla="*/ 296577 h 518816"/>
              <a:gd name="connsiteX143" fmla="*/ 624960 w 2371453"/>
              <a:gd name="connsiteY143" fmla="*/ 296577 h 518816"/>
              <a:gd name="connsiteX144" fmla="*/ 675398 w 2371453"/>
              <a:gd name="connsiteY144" fmla="*/ 418498 h 518816"/>
              <a:gd name="connsiteX145" fmla="*/ 677006 w 2371453"/>
              <a:gd name="connsiteY145" fmla="*/ 418498 h 518816"/>
              <a:gd name="connsiteX146" fmla="*/ 677006 w 2371453"/>
              <a:gd name="connsiteY146" fmla="*/ 296577 h 518816"/>
              <a:gd name="connsiteX147" fmla="*/ 717499 w 2371453"/>
              <a:gd name="connsiteY147" fmla="*/ 296577 h 518816"/>
              <a:gd name="connsiteX148" fmla="*/ 717499 w 2371453"/>
              <a:gd name="connsiteY148" fmla="*/ 516213 h 518816"/>
              <a:gd name="connsiteX149" fmla="*/ 678614 w 2371453"/>
              <a:gd name="connsiteY149" fmla="*/ 516213 h 518816"/>
              <a:gd name="connsiteX150" fmla="*/ 624960 w 2371453"/>
              <a:gd name="connsiteY150" fmla="*/ 385355 h 518816"/>
              <a:gd name="connsiteX151" fmla="*/ 623353 w 2371453"/>
              <a:gd name="connsiteY151" fmla="*/ 385355 h 518816"/>
              <a:gd name="connsiteX152" fmla="*/ 623353 w 2371453"/>
              <a:gd name="connsiteY152" fmla="*/ 516213 h 518816"/>
              <a:gd name="connsiteX153" fmla="*/ 583217 w 2371453"/>
              <a:gd name="connsiteY153" fmla="*/ 516213 h 518816"/>
              <a:gd name="connsiteX154" fmla="*/ 415588 w 2371453"/>
              <a:gd name="connsiteY154" fmla="*/ 296577 h 518816"/>
              <a:gd name="connsiteX155" fmla="*/ 457689 w 2371453"/>
              <a:gd name="connsiteY155" fmla="*/ 296577 h 518816"/>
              <a:gd name="connsiteX156" fmla="*/ 457689 w 2371453"/>
              <a:gd name="connsiteY156" fmla="*/ 386599 h 518816"/>
              <a:gd name="connsiteX157" fmla="*/ 506519 w 2371453"/>
              <a:gd name="connsiteY157" fmla="*/ 386599 h 518816"/>
              <a:gd name="connsiteX158" fmla="*/ 506519 w 2371453"/>
              <a:gd name="connsiteY158" fmla="*/ 296577 h 518816"/>
              <a:gd name="connsiteX159" fmla="*/ 548917 w 2371453"/>
              <a:gd name="connsiteY159" fmla="*/ 296577 h 518816"/>
              <a:gd name="connsiteX160" fmla="*/ 548917 w 2371453"/>
              <a:gd name="connsiteY160" fmla="*/ 516213 h 518816"/>
              <a:gd name="connsiteX161" fmla="*/ 506519 w 2371453"/>
              <a:gd name="connsiteY161" fmla="*/ 516213 h 518816"/>
              <a:gd name="connsiteX162" fmla="*/ 506519 w 2371453"/>
              <a:gd name="connsiteY162" fmla="*/ 424299 h 518816"/>
              <a:gd name="connsiteX163" fmla="*/ 457689 w 2371453"/>
              <a:gd name="connsiteY163" fmla="*/ 424299 h 518816"/>
              <a:gd name="connsiteX164" fmla="*/ 457689 w 2371453"/>
              <a:gd name="connsiteY164" fmla="*/ 516213 h 518816"/>
              <a:gd name="connsiteX165" fmla="*/ 415588 w 2371453"/>
              <a:gd name="connsiteY165" fmla="*/ 516213 h 518816"/>
              <a:gd name="connsiteX166" fmla="*/ 149346 w 2371453"/>
              <a:gd name="connsiteY166" fmla="*/ 296577 h 518816"/>
              <a:gd name="connsiteX167" fmla="*/ 257902 w 2371453"/>
              <a:gd name="connsiteY167" fmla="*/ 296577 h 518816"/>
              <a:gd name="connsiteX168" fmla="*/ 257902 w 2371453"/>
              <a:gd name="connsiteY168" fmla="*/ 332030 h 518816"/>
              <a:gd name="connsiteX169" fmla="*/ 191446 w 2371453"/>
              <a:gd name="connsiteY169" fmla="*/ 332030 h 518816"/>
              <a:gd name="connsiteX170" fmla="*/ 191446 w 2371453"/>
              <a:gd name="connsiteY170" fmla="*/ 387545 h 518816"/>
              <a:gd name="connsiteX171" fmla="*/ 248910 w 2371453"/>
              <a:gd name="connsiteY171" fmla="*/ 387545 h 518816"/>
              <a:gd name="connsiteX172" fmla="*/ 248910 w 2371453"/>
              <a:gd name="connsiteY172" fmla="*/ 422642 h 518816"/>
              <a:gd name="connsiteX173" fmla="*/ 191446 w 2371453"/>
              <a:gd name="connsiteY173" fmla="*/ 422642 h 518816"/>
              <a:gd name="connsiteX174" fmla="*/ 191446 w 2371453"/>
              <a:gd name="connsiteY174" fmla="*/ 480762 h 518816"/>
              <a:gd name="connsiteX175" fmla="*/ 257902 w 2371453"/>
              <a:gd name="connsiteY175" fmla="*/ 480762 h 518816"/>
              <a:gd name="connsiteX176" fmla="*/ 257902 w 2371453"/>
              <a:gd name="connsiteY176" fmla="*/ 516213 h 518816"/>
              <a:gd name="connsiteX177" fmla="*/ 149346 w 2371453"/>
              <a:gd name="connsiteY177" fmla="*/ 516213 h 518816"/>
              <a:gd name="connsiteX178" fmla="*/ 0 w 2371453"/>
              <a:gd name="connsiteY178" fmla="*/ 296577 h 518816"/>
              <a:gd name="connsiteX179" fmla="*/ 128446 w 2371453"/>
              <a:gd name="connsiteY179" fmla="*/ 296577 h 518816"/>
              <a:gd name="connsiteX180" fmla="*/ 128446 w 2371453"/>
              <a:gd name="connsiteY180" fmla="*/ 332976 h 518816"/>
              <a:gd name="connsiteX181" fmla="*/ 85392 w 2371453"/>
              <a:gd name="connsiteY181" fmla="*/ 332976 h 518816"/>
              <a:gd name="connsiteX182" fmla="*/ 85392 w 2371453"/>
              <a:gd name="connsiteY182" fmla="*/ 516213 h 518816"/>
              <a:gd name="connsiteX183" fmla="*/ 43054 w 2371453"/>
              <a:gd name="connsiteY183" fmla="*/ 516213 h 518816"/>
              <a:gd name="connsiteX184" fmla="*/ 43054 w 2371453"/>
              <a:gd name="connsiteY184" fmla="*/ 332976 h 518816"/>
              <a:gd name="connsiteX185" fmla="*/ 0 w 2371453"/>
              <a:gd name="connsiteY185" fmla="*/ 332976 h 518816"/>
              <a:gd name="connsiteX186" fmla="*/ 1103846 w 2371453"/>
              <a:gd name="connsiteY186" fmla="*/ 294091 h 518816"/>
              <a:gd name="connsiteX187" fmla="*/ 1134216 w 2371453"/>
              <a:gd name="connsiteY187" fmla="*/ 296340 h 518816"/>
              <a:gd name="connsiteX188" fmla="*/ 1154284 w 2371453"/>
              <a:gd name="connsiteY188" fmla="*/ 305100 h 518816"/>
              <a:gd name="connsiteX189" fmla="*/ 1166015 w 2371453"/>
              <a:gd name="connsiteY189" fmla="*/ 324099 h 518816"/>
              <a:gd name="connsiteX190" fmla="*/ 1171493 w 2371453"/>
              <a:gd name="connsiteY190" fmla="*/ 356650 h 518816"/>
              <a:gd name="connsiteX191" fmla="*/ 1172923 w 2371453"/>
              <a:gd name="connsiteY191" fmla="*/ 406425 h 518816"/>
              <a:gd name="connsiteX192" fmla="*/ 1171493 w 2371453"/>
              <a:gd name="connsiteY192" fmla="*/ 456200 h 518816"/>
              <a:gd name="connsiteX193" fmla="*/ 1166015 w 2371453"/>
              <a:gd name="connsiteY193" fmla="*/ 488752 h 518816"/>
              <a:gd name="connsiteX194" fmla="*/ 1154284 w 2371453"/>
              <a:gd name="connsiteY194" fmla="*/ 507751 h 518816"/>
              <a:gd name="connsiteX195" fmla="*/ 1134216 w 2371453"/>
              <a:gd name="connsiteY195" fmla="*/ 516509 h 518816"/>
              <a:gd name="connsiteX196" fmla="*/ 1103846 w 2371453"/>
              <a:gd name="connsiteY196" fmla="*/ 518758 h 518816"/>
              <a:gd name="connsiteX197" fmla="*/ 1073180 w 2371453"/>
              <a:gd name="connsiteY197" fmla="*/ 516509 h 518816"/>
              <a:gd name="connsiteX198" fmla="*/ 1053290 w 2371453"/>
              <a:gd name="connsiteY198" fmla="*/ 507751 h 518816"/>
              <a:gd name="connsiteX199" fmla="*/ 1041738 w 2371453"/>
              <a:gd name="connsiteY199" fmla="*/ 488752 h 518816"/>
              <a:gd name="connsiteX200" fmla="*/ 1036259 w 2371453"/>
              <a:gd name="connsiteY200" fmla="*/ 456200 h 518816"/>
              <a:gd name="connsiteX201" fmla="*/ 1034830 w 2371453"/>
              <a:gd name="connsiteY201" fmla="*/ 406425 h 518816"/>
              <a:gd name="connsiteX202" fmla="*/ 1036259 w 2371453"/>
              <a:gd name="connsiteY202" fmla="*/ 356650 h 518816"/>
              <a:gd name="connsiteX203" fmla="*/ 1041738 w 2371453"/>
              <a:gd name="connsiteY203" fmla="*/ 324099 h 518816"/>
              <a:gd name="connsiteX204" fmla="*/ 1053290 w 2371453"/>
              <a:gd name="connsiteY204" fmla="*/ 305100 h 518816"/>
              <a:gd name="connsiteX205" fmla="*/ 1073180 w 2371453"/>
              <a:gd name="connsiteY205" fmla="*/ 296340 h 518816"/>
              <a:gd name="connsiteX206" fmla="*/ 1103846 w 2371453"/>
              <a:gd name="connsiteY206" fmla="*/ 294091 h 518816"/>
              <a:gd name="connsiteX207" fmla="*/ 816766 w 2371453"/>
              <a:gd name="connsiteY207" fmla="*/ 294091 h 518816"/>
              <a:gd name="connsiteX208" fmla="*/ 847135 w 2371453"/>
              <a:gd name="connsiteY208" fmla="*/ 296340 h 518816"/>
              <a:gd name="connsiteX209" fmla="*/ 867203 w 2371453"/>
              <a:gd name="connsiteY209" fmla="*/ 305100 h 518816"/>
              <a:gd name="connsiteX210" fmla="*/ 878934 w 2371453"/>
              <a:gd name="connsiteY210" fmla="*/ 324099 h 518816"/>
              <a:gd name="connsiteX211" fmla="*/ 884412 w 2371453"/>
              <a:gd name="connsiteY211" fmla="*/ 356650 h 518816"/>
              <a:gd name="connsiteX212" fmla="*/ 885842 w 2371453"/>
              <a:gd name="connsiteY212" fmla="*/ 406425 h 518816"/>
              <a:gd name="connsiteX213" fmla="*/ 884412 w 2371453"/>
              <a:gd name="connsiteY213" fmla="*/ 456200 h 518816"/>
              <a:gd name="connsiteX214" fmla="*/ 878934 w 2371453"/>
              <a:gd name="connsiteY214" fmla="*/ 488752 h 518816"/>
              <a:gd name="connsiteX215" fmla="*/ 867203 w 2371453"/>
              <a:gd name="connsiteY215" fmla="*/ 507751 h 518816"/>
              <a:gd name="connsiteX216" fmla="*/ 847135 w 2371453"/>
              <a:gd name="connsiteY216" fmla="*/ 516509 h 518816"/>
              <a:gd name="connsiteX217" fmla="*/ 816766 w 2371453"/>
              <a:gd name="connsiteY217" fmla="*/ 518758 h 518816"/>
              <a:gd name="connsiteX218" fmla="*/ 786099 w 2371453"/>
              <a:gd name="connsiteY218" fmla="*/ 516509 h 518816"/>
              <a:gd name="connsiteX219" fmla="*/ 766209 w 2371453"/>
              <a:gd name="connsiteY219" fmla="*/ 507751 h 518816"/>
              <a:gd name="connsiteX220" fmla="*/ 754657 w 2371453"/>
              <a:gd name="connsiteY220" fmla="*/ 488752 h 518816"/>
              <a:gd name="connsiteX221" fmla="*/ 749178 w 2371453"/>
              <a:gd name="connsiteY221" fmla="*/ 456200 h 518816"/>
              <a:gd name="connsiteX222" fmla="*/ 747749 w 2371453"/>
              <a:gd name="connsiteY222" fmla="*/ 406425 h 518816"/>
              <a:gd name="connsiteX223" fmla="*/ 749178 w 2371453"/>
              <a:gd name="connsiteY223" fmla="*/ 356650 h 518816"/>
              <a:gd name="connsiteX224" fmla="*/ 754657 w 2371453"/>
              <a:gd name="connsiteY224" fmla="*/ 324099 h 518816"/>
              <a:gd name="connsiteX225" fmla="*/ 766209 w 2371453"/>
              <a:gd name="connsiteY225" fmla="*/ 305100 h 518816"/>
              <a:gd name="connsiteX226" fmla="*/ 786099 w 2371453"/>
              <a:gd name="connsiteY226" fmla="*/ 296340 h 518816"/>
              <a:gd name="connsiteX227" fmla="*/ 816766 w 2371453"/>
              <a:gd name="connsiteY227" fmla="*/ 294091 h 518816"/>
              <a:gd name="connsiteX228" fmla="*/ 1501393 w 2371453"/>
              <a:gd name="connsiteY228" fmla="*/ 293972 h 518816"/>
              <a:gd name="connsiteX229" fmla="*/ 1515387 w 2371453"/>
              <a:gd name="connsiteY229" fmla="*/ 294623 h 518816"/>
              <a:gd name="connsiteX230" fmla="*/ 1528904 w 2371453"/>
              <a:gd name="connsiteY230" fmla="*/ 296398 h 518816"/>
              <a:gd name="connsiteX231" fmla="*/ 1539028 w 2371453"/>
              <a:gd name="connsiteY231" fmla="*/ 299122 h 518816"/>
              <a:gd name="connsiteX232" fmla="*/ 1539028 w 2371453"/>
              <a:gd name="connsiteY232" fmla="*/ 331673 h 518816"/>
              <a:gd name="connsiteX233" fmla="*/ 1527952 w 2371453"/>
              <a:gd name="connsiteY233" fmla="*/ 330431 h 518816"/>
              <a:gd name="connsiteX234" fmla="*/ 1518126 w 2371453"/>
              <a:gd name="connsiteY234" fmla="*/ 329661 h 518816"/>
              <a:gd name="connsiteX235" fmla="*/ 1510087 w 2371453"/>
              <a:gd name="connsiteY235" fmla="*/ 329483 h 518816"/>
              <a:gd name="connsiteX236" fmla="*/ 1493890 w 2371453"/>
              <a:gd name="connsiteY236" fmla="*/ 330904 h 518816"/>
              <a:gd name="connsiteX237" fmla="*/ 1483766 w 2371453"/>
              <a:gd name="connsiteY237" fmla="*/ 336526 h 518816"/>
              <a:gd name="connsiteX238" fmla="*/ 1478288 w 2371453"/>
              <a:gd name="connsiteY238" fmla="*/ 349133 h 518816"/>
              <a:gd name="connsiteX239" fmla="*/ 1476204 w 2371453"/>
              <a:gd name="connsiteY239" fmla="*/ 371504 h 518816"/>
              <a:gd name="connsiteX240" fmla="*/ 1475727 w 2371453"/>
              <a:gd name="connsiteY240" fmla="*/ 406484 h 518816"/>
              <a:gd name="connsiteX241" fmla="*/ 1476204 w 2371453"/>
              <a:gd name="connsiteY241" fmla="*/ 441462 h 518816"/>
              <a:gd name="connsiteX242" fmla="*/ 1478288 w 2371453"/>
              <a:gd name="connsiteY242" fmla="*/ 463833 h 518816"/>
              <a:gd name="connsiteX243" fmla="*/ 1483587 w 2371453"/>
              <a:gd name="connsiteY243" fmla="*/ 476618 h 518816"/>
              <a:gd name="connsiteX244" fmla="*/ 1493532 w 2371453"/>
              <a:gd name="connsiteY244" fmla="*/ 482181 h 518816"/>
              <a:gd name="connsiteX245" fmla="*/ 1510087 w 2371453"/>
              <a:gd name="connsiteY245" fmla="*/ 483424 h 518816"/>
              <a:gd name="connsiteX246" fmla="*/ 1526165 w 2371453"/>
              <a:gd name="connsiteY246" fmla="*/ 482773 h 518816"/>
              <a:gd name="connsiteX247" fmla="*/ 1539683 w 2371453"/>
              <a:gd name="connsiteY247" fmla="*/ 481175 h 518816"/>
              <a:gd name="connsiteX248" fmla="*/ 1539683 w 2371453"/>
              <a:gd name="connsiteY248" fmla="*/ 513727 h 518816"/>
              <a:gd name="connsiteX249" fmla="*/ 1528606 w 2371453"/>
              <a:gd name="connsiteY249" fmla="*/ 516450 h 518816"/>
              <a:gd name="connsiteX250" fmla="*/ 1514970 w 2371453"/>
              <a:gd name="connsiteY250" fmla="*/ 518165 h 518816"/>
              <a:gd name="connsiteX251" fmla="*/ 1501452 w 2371453"/>
              <a:gd name="connsiteY251" fmla="*/ 518816 h 518816"/>
              <a:gd name="connsiteX252" fmla="*/ 1501452 w 2371453"/>
              <a:gd name="connsiteY252" fmla="*/ 518757 h 518816"/>
              <a:gd name="connsiteX253" fmla="*/ 1470784 w 2371453"/>
              <a:gd name="connsiteY253" fmla="*/ 515266 h 518816"/>
              <a:gd name="connsiteX254" fmla="*/ 1451015 w 2371453"/>
              <a:gd name="connsiteY254" fmla="*/ 504080 h 518816"/>
              <a:gd name="connsiteX255" fmla="*/ 1439760 w 2371453"/>
              <a:gd name="connsiteY255" fmla="*/ 483483 h 518816"/>
              <a:gd name="connsiteX256" fmla="*/ 1434638 w 2371453"/>
              <a:gd name="connsiteY256" fmla="*/ 451404 h 518816"/>
              <a:gd name="connsiteX257" fmla="*/ 1433329 w 2371453"/>
              <a:gd name="connsiteY257" fmla="*/ 406365 h 518816"/>
              <a:gd name="connsiteX258" fmla="*/ 1434638 w 2371453"/>
              <a:gd name="connsiteY258" fmla="*/ 361207 h 518816"/>
              <a:gd name="connsiteX259" fmla="*/ 1439760 w 2371453"/>
              <a:gd name="connsiteY259" fmla="*/ 329306 h 518816"/>
              <a:gd name="connsiteX260" fmla="*/ 1451133 w 2371453"/>
              <a:gd name="connsiteY260" fmla="*/ 308532 h 518816"/>
              <a:gd name="connsiteX261" fmla="*/ 1470904 w 2371453"/>
              <a:gd name="connsiteY261" fmla="*/ 297346 h 518816"/>
              <a:gd name="connsiteX262" fmla="*/ 1501393 w 2371453"/>
              <a:gd name="connsiteY262" fmla="*/ 293972 h 518816"/>
              <a:gd name="connsiteX263" fmla="*/ 1273025 w 2371453"/>
              <a:gd name="connsiteY263" fmla="*/ 293972 h 518816"/>
              <a:gd name="connsiteX264" fmla="*/ 1291306 w 2371453"/>
              <a:gd name="connsiteY264" fmla="*/ 294741 h 518816"/>
              <a:gd name="connsiteX265" fmla="*/ 1310719 w 2371453"/>
              <a:gd name="connsiteY265" fmla="*/ 296991 h 518816"/>
              <a:gd name="connsiteX266" fmla="*/ 1327571 w 2371453"/>
              <a:gd name="connsiteY266" fmla="*/ 300364 h 518816"/>
              <a:gd name="connsiteX267" fmla="*/ 1327571 w 2371453"/>
              <a:gd name="connsiteY267" fmla="*/ 333213 h 518816"/>
              <a:gd name="connsiteX268" fmla="*/ 1310362 w 2371453"/>
              <a:gd name="connsiteY268" fmla="*/ 330845 h 518816"/>
              <a:gd name="connsiteX269" fmla="*/ 1296547 w 2371453"/>
              <a:gd name="connsiteY269" fmla="*/ 329720 h 518816"/>
              <a:gd name="connsiteX270" fmla="*/ 1286125 w 2371453"/>
              <a:gd name="connsiteY270" fmla="*/ 329425 h 518816"/>
              <a:gd name="connsiteX271" fmla="*/ 1266236 w 2371453"/>
              <a:gd name="connsiteY271" fmla="*/ 330193 h 518816"/>
              <a:gd name="connsiteX272" fmla="*/ 1253077 w 2371453"/>
              <a:gd name="connsiteY272" fmla="*/ 334514 h 518816"/>
              <a:gd name="connsiteX273" fmla="*/ 1245394 w 2371453"/>
              <a:gd name="connsiteY273" fmla="*/ 346174 h 518816"/>
              <a:gd name="connsiteX274" fmla="*/ 1241881 w 2371453"/>
              <a:gd name="connsiteY274" fmla="*/ 368842 h 518816"/>
              <a:gd name="connsiteX275" fmla="*/ 1240928 w 2371453"/>
              <a:gd name="connsiteY275" fmla="*/ 406365 h 518816"/>
              <a:gd name="connsiteX276" fmla="*/ 1241583 w 2371453"/>
              <a:gd name="connsiteY276" fmla="*/ 441935 h 518816"/>
              <a:gd name="connsiteX277" fmla="*/ 1244144 w 2371453"/>
              <a:gd name="connsiteY277" fmla="*/ 464781 h 518816"/>
              <a:gd name="connsiteX278" fmla="*/ 1249622 w 2371453"/>
              <a:gd name="connsiteY278" fmla="*/ 477566 h 518816"/>
              <a:gd name="connsiteX279" fmla="*/ 1258614 w 2371453"/>
              <a:gd name="connsiteY279" fmla="*/ 483188 h 518816"/>
              <a:gd name="connsiteX280" fmla="*/ 1272132 w 2371453"/>
              <a:gd name="connsiteY280" fmla="*/ 484608 h 518816"/>
              <a:gd name="connsiteX281" fmla="*/ 1278087 w 2371453"/>
              <a:gd name="connsiteY281" fmla="*/ 484431 h 518816"/>
              <a:gd name="connsiteX282" fmla="*/ 1284042 w 2371453"/>
              <a:gd name="connsiteY282" fmla="*/ 483780 h 518816"/>
              <a:gd name="connsiteX283" fmla="*/ 1289520 w 2371453"/>
              <a:gd name="connsiteY283" fmla="*/ 483010 h 518816"/>
              <a:gd name="connsiteX284" fmla="*/ 1289520 w 2371453"/>
              <a:gd name="connsiteY284" fmla="*/ 424890 h 518816"/>
              <a:gd name="connsiteX285" fmla="*/ 1267368 w 2371453"/>
              <a:gd name="connsiteY285" fmla="*/ 424890 h 518816"/>
              <a:gd name="connsiteX286" fmla="*/ 1267368 w 2371453"/>
              <a:gd name="connsiteY286" fmla="*/ 390740 h 518816"/>
              <a:gd name="connsiteX287" fmla="*/ 1328405 w 2371453"/>
              <a:gd name="connsiteY287" fmla="*/ 390740 h 518816"/>
              <a:gd name="connsiteX288" fmla="*/ 1328405 w 2371453"/>
              <a:gd name="connsiteY288" fmla="*/ 512366 h 518816"/>
              <a:gd name="connsiteX289" fmla="*/ 1310422 w 2371453"/>
              <a:gd name="connsiteY289" fmla="*/ 515740 h 518816"/>
              <a:gd name="connsiteX290" fmla="*/ 1290353 w 2371453"/>
              <a:gd name="connsiteY290" fmla="*/ 517989 h 518816"/>
              <a:gd name="connsiteX291" fmla="*/ 1271239 w 2371453"/>
              <a:gd name="connsiteY291" fmla="*/ 518758 h 518816"/>
              <a:gd name="connsiteX292" fmla="*/ 1271179 w 2371453"/>
              <a:gd name="connsiteY292" fmla="*/ 518758 h 518816"/>
              <a:gd name="connsiteX293" fmla="*/ 1240988 w 2371453"/>
              <a:gd name="connsiteY293" fmla="*/ 515859 h 518816"/>
              <a:gd name="connsiteX294" fmla="*/ 1220265 w 2371453"/>
              <a:gd name="connsiteY294" fmla="*/ 505620 h 518816"/>
              <a:gd name="connsiteX295" fmla="*/ 1207402 w 2371453"/>
              <a:gd name="connsiteY295" fmla="*/ 485673 h 518816"/>
              <a:gd name="connsiteX296" fmla="*/ 1200971 w 2371453"/>
              <a:gd name="connsiteY296" fmla="*/ 453417 h 518816"/>
              <a:gd name="connsiteX297" fmla="*/ 1199185 w 2371453"/>
              <a:gd name="connsiteY297" fmla="*/ 406306 h 518816"/>
              <a:gd name="connsiteX298" fmla="*/ 1201090 w 2371453"/>
              <a:gd name="connsiteY298" fmla="*/ 359076 h 518816"/>
              <a:gd name="connsiteX299" fmla="*/ 1207819 w 2371453"/>
              <a:gd name="connsiteY299" fmla="*/ 326821 h 518816"/>
              <a:gd name="connsiteX300" fmla="*/ 1220979 w 2371453"/>
              <a:gd name="connsiteY300" fmla="*/ 306874 h 518816"/>
              <a:gd name="connsiteX301" fmla="*/ 1242179 w 2371453"/>
              <a:gd name="connsiteY301" fmla="*/ 296813 h 518816"/>
              <a:gd name="connsiteX302" fmla="*/ 1273025 w 2371453"/>
              <a:gd name="connsiteY302" fmla="*/ 293972 h 518816"/>
              <a:gd name="connsiteX303" fmla="*/ 350679 w 2371453"/>
              <a:gd name="connsiteY303" fmla="*/ 293972 h 518816"/>
              <a:gd name="connsiteX304" fmla="*/ 364673 w 2371453"/>
              <a:gd name="connsiteY304" fmla="*/ 294623 h 518816"/>
              <a:gd name="connsiteX305" fmla="*/ 378190 w 2371453"/>
              <a:gd name="connsiteY305" fmla="*/ 296398 h 518816"/>
              <a:gd name="connsiteX306" fmla="*/ 388314 w 2371453"/>
              <a:gd name="connsiteY306" fmla="*/ 299122 h 518816"/>
              <a:gd name="connsiteX307" fmla="*/ 388314 w 2371453"/>
              <a:gd name="connsiteY307" fmla="*/ 331673 h 518816"/>
              <a:gd name="connsiteX308" fmla="*/ 377238 w 2371453"/>
              <a:gd name="connsiteY308" fmla="*/ 330431 h 518816"/>
              <a:gd name="connsiteX309" fmla="*/ 367412 w 2371453"/>
              <a:gd name="connsiteY309" fmla="*/ 329661 h 518816"/>
              <a:gd name="connsiteX310" fmla="*/ 359373 w 2371453"/>
              <a:gd name="connsiteY310" fmla="*/ 329483 h 518816"/>
              <a:gd name="connsiteX311" fmla="*/ 343176 w 2371453"/>
              <a:gd name="connsiteY311" fmla="*/ 330904 h 518816"/>
              <a:gd name="connsiteX312" fmla="*/ 333052 w 2371453"/>
              <a:gd name="connsiteY312" fmla="*/ 336526 h 518816"/>
              <a:gd name="connsiteX313" fmla="*/ 327574 w 2371453"/>
              <a:gd name="connsiteY313" fmla="*/ 349133 h 518816"/>
              <a:gd name="connsiteX314" fmla="*/ 325490 w 2371453"/>
              <a:gd name="connsiteY314" fmla="*/ 371504 h 518816"/>
              <a:gd name="connsiteX315" fmla="*/ 325013 w 2371453"/>
              <a:gd name="connsiteY315" fmla="*/ 406484 h 518816"/>
              <a:gd name="connsiteX316" fmla="*/ 325490 w 2371453"/>
              <a:gd name="connsiteY316" fmla="*/ 441462 h 518816"/>
              <a:gd name="connsiteX317" fmla="*/ 327574 w 2371453"/>
              <a:gd name="connsiteY317" fmla="*/ 463833 h 518816"/>
              <a:gd name="connsiteX318" fmla="*/ 332873 w 2371453"/>
              <a:gd name="connsiteY318" fmla="*/ 476618 h 518816"/>
              <a:gd name="connsiteX319" fmla="*/ 342818 w 2371453"/>
              <a:gd name="connsiteY319" fmla="*/ 482181 h 518816"/>
              <a:gd name="connsiteX320" fmla="*/ 359373 w 2371453"/>
              <a:gd name="connsiteY320" fmla="*/ 483424 h 518816"/>
              <a:gd name="connsiteX321" fmla="*/ 375451 w 2371453"/>
              <a:gd name="connsiteY321" fmla="*/ 482773 h 518816"/>
              <a:gd name="connsiteX322" fmla="*/ 388969 w 2371453"/>
              <a:gd name="connsiteY322" fmla="*/ 481175 h 518816"/>
              <a:gd name="connsiteX323" fmla="*/ 388969 w 2371453"/>
              <a:gd name="connsiteY323" fmla="*/ 513727 h 518816"/>
              <a:gd name="connsiteX324" fmla="*/ 377892 w 2371453"/>
              <a:gd name="connsiteY324" fmla="*/ 516450 h 518816"/>
              <a:gd name="connsiteX325" fmla="*/ 364256 w 2371453"/>
              <a:gd name="connsiteY325" fmla="*/ 518165 h 518816"/>
              <a:gd name="connsiteX326" fmla="*/ 350738 w 2371453"/>
              <a:gd name="connsiteY326" fmla="*/ 518816 h 518816"/>
              <a:gd name="connsiteX327" fmla="*/ 350738 w 2371453"/>
              <a:gd name="connsiteY327" fmla="*/ 518757 h 518816"/>
              <a:gd name="connsiteX328" fmla="*/ 320070 w 2371453"/>
              <a:gd name="connsiteY328" fmla="*/ 515266 h 518816"/>
              <a:gd name="connsiteX329" fmla="*/ 300301 w 2371453"/>
              <a:gd name="connsiteY329" fmla="*/ 504080 h 518816"/>
              <a:gd name="connsiteX330" fmla="*/ 289046 w 2371453"/>
              <a:gd name="connsiteY330" fmla="*/ 483483 h 518816"/>
              <a:gd name="connsiteX331" fmla="*/ 283924 w 2371453"/>
              <a:gd name="connsiteY331" fmla="*/ 451404 h 518816"/>
              <a:gd name="connsiteX332" fmla="*/ 282615 w 2371453"/>
              <a:gd name="connsiteY332" fmla="*/ 406365 h 518816"/>
              <a:gd name="connsiteX333" fmla="*/ 283924 w 2371453"/>
              <a:gd name="connsiteY333" fmla="*/ 361207 h 518816"/>
              <a:gd name="connsiteX334" fmla="*/ 289046 w 2371453"/>
              <a:gd name="connsiteY334" fmla="*/ 329306 h 518816"/>
              <a:gd name="connsiteX335" fmla="*/ 300420 w 2371453"/>
              <a:gd name="connsiteY335" fmla="*/ 308532 h 518816"/>
              <a:gd name="connsiteX336" fmla="*/ 320190 w 2371453"/>
              <a:gd name="connsiteY336" fmla="*/ 297346 h 518816"/>
              <a:gd name="connsiteX337" fmla="*/ 350679 w 2371453"/>
              <a:gd name="connsiteY337" fmla="*/ 293972 h 518816"/>
              <a:gd name="connsiteX338" fmla="*/ 1088127 w 2371453"/>
              <a:gd name="connsiteY338" fmla="*/ 114286 h 518816"/>
              <a:gd name="connsiteX339" fmla="*/ 1153987 w 2371453"/>
              <a:gd name="connsiteY339" fmla="*/ 114286 h 518816"/>
              <a:gd name="connsiteX340" fmla="*/ 1153987 w 2371453"/>
              <a:gd name="connsiteY340" fmla="*/ 148140 h 518816"/>
              <a:gd name="connsiteX341" fmla="*/ 1088127 w 2371453"/>
              <a:gd name="connsiteY341" fmla="*/ 148140 h 518816"/>
              <a:gd name="connsiteX342" fmla="*/ 2137309 w 2371453"/>
              <a:gd name="connsiteY342" fmla="*/ 43086 h 518816"/>
              <a:gd name="connsiteX343" fmla="*/ 2118670 w 2371453"/>
              <a:gd name="connsiteY343" fmla="*/ 139794 h 518816"/>
              <a:gd name="connsiteX344" fmla="*/ 2118730 w 2371453"/>
              <a:gd name="connsiteY344" fmla="*/ 139794 h 518816"/>
              <a:gd name="connsiteX345" fmla="*/ 2158211 w 2371453"/>
              <a:gd name="connsiteY345" fmla="*/ 139794 h 518816"/>
              <a:gd name="connsiteX346" fmla="*/ 2139572 w 2371453"/>
              <a:gd name="connsiteY346" fmla="*/ 43086 h 518816"/>
              <a:gd name="connsiteX347" fmla="*/ 1249264 w 2371453"/>
              <a:gd name="connsiteY347" fmla="*/ 43086 h 518816"/>
              <a:gd name="connsiteX348" fmla="*/ 1230625 w 2371453"/>
              <a:gd name="connsiteY348" fmla="*/ 139794 h 518816"/>
              <a:gd name="connsiteX349" fmla="*/ 1230685 w 2371453"/>
              <a:gd name="connsiteY349" fmla="*/ 139794 h 518816"/>
              <a:gd name="connsiteX350" fmla="*/ 1270166 w 2371453"/>
              <a:gd name="connsiteY350" fmla="*/ 139794 h 518816"/>
              <a:gd name="connsiteX351" fmla="*/ 1251527 w 2371453"/>
              <a:gd name="connsiteY351" fmla="*/ 43086 h 518816"/>
              <a:gd name="connsiteX352" fmla="*/ 842073 w 2371453"/>
              <a:gd name="connsiteY352" fmla="*/ 37641 h 518816"/>
              <a:gd name="connsiteX353" fmla="*/ 842073 w 2371453"/>
              <a:gd name="connsiteY353" fmla="*/ 113930 h 518816"/>
              <a:gd name="connsiteX354" fmla="*/ 842133 w 2371453"/>
              <a:gd name="connsiteY354" fmla="*/ 113930 h 518816"/>
              <a:gd name="connsiteX355" fmla="*/ 861725 w 2371453"/>
              <a:gd name="connsiteY355" fmla="*/ 113930 h 518816"/>
              <a:gd name="connsiteX356" fmla="*/ 873098 w 2371453"/>
              <a:gd name="connsiteY356" fmla="*/ 112805 h 518816"/>
              <a:gd name="connsiteX357" fmla="*/ 880303 w 2371453"/>
              <a:gd name="connsiteY357" fmla="*/ 108012 h 518816"/>
              <a:gd name="connsiteX358" fmla="*/ 883995 w 2371453"/>
              <a:gd name="connsiteY358" fmla="*/ 96530 h 518816"/>
              <a:gd name="connsiteX359" fmla="*/ 885126 w 2371453"/>
              <a:gd name="connsiteY359" fmla="*/ 75934 h 518816"/>
              <a:gd name="connsiteX360" fmla="*/ 884173 w 2371453"/>
              <a:gd name="connsiteY360" fmla="*/ 55810 h 518816"/>
              <a:gd name="connsiteX361" fmla="*/ 880780 w 2371453"/>
              <a:gd name="connsiteY361" fmla="*/ 44328 h 518816"/>
              <a:gd name="connsiteX362" fmla="*/ 873693 w 2371453"/>
              <a:gd name="connsiteY362" fmla="*/ 39061 h 518816"/>
              <a:gd name="connsiteX363" fmla="*/ 861665 w 2371453"/>
              <a:gd name="connsiteY363" fmla="*/ 37641 h 518816"/>
              <a:gd name="connsiteX364" fmla="*/ 1752032 w 2371453"/>
              <a:gd name="connsiteY364" fmla="*/ 37582 h 518816"/>
              <a:gd name="connsiteX365" fmla="*/ 1752032 w 2371453"/>
              <a:gd name="connsiteY365" fmla="*/ 108427 h 518816"/>
              <a:gd name="connsiteX366" fmla="*/ 1752032 w 2371453"/>
              <a:gd name="connsiteY366" fmla="*/ 108544 h 518816"/>
              <a:gd name="connsiteX367" fmla="*/ 1773886 w 2371453"/>
              <a:gd name="connsiteY367" fmla="*/ 108544 h 518816"/>
              <a:gd name="connsiteX368" fmla="*/ 1786569 w 2371453"/>
              <a:gd name="connsiteY368" fmla="*/ 106769 h 518816"/>
              <a:gd name="connsiteX369" fmla="*/ 1793656 w 2371453"/>
              <a:gd name="connsiteY369" fmla="*/ 101028 h 518816"/>
              <a:gd name="connsiteX370" fmla="*/ 1796693 w 2371453"/>
              <a:gd name="connsiteY370" fmla="*/ 90020 h 518816"/>
              <a:gd name="connsiteX371" fmla="*/ 1797348 w 2371453"/>
              <a:gd name="connsiteY371" fmla="*/ 73093 h 518816"/>
              <a:gd name="connsiteX372" fmla="*/ 1796693 w 2371453"/>
              <a:gd name="connsiteY372" fmla="*/ 55692 h 518816"/>
              <a:gd name="connsiteX373" fmla="*/ 1793775 w 2371453"/>
              <a:gd name="connsiteY373" fmla="*/ 44979 h 518816"/>
              <a:gd name="connsiteX374" fmla="*/ 1786868 w 2371453"/>
              <a:gd name="connsiteY374" fmla="*/ 39357 h 518816"/>
              <a:gd name="connsiteX375" fmla="*/ 1773886 w 2371453"/>
              <a:gd name="connsiteY375" fmla="*/ 37582 h 518816"/>
              <a:gd name="connsiteX376" fmla="*/ 518369 w 2371453"/>
              <a:gd name="connsiteY376" fmla="*/ 37582 h 518816"/>
              <a:gd name="connsiteX377" fmla="*/ 518369 w 2371453"/>
              <a:gd name="connsiteY377" fmla="*/ 108427 h 518816"/>
              <a:gd name="connsiteX378" fmla="*/ 518369 w 2371453"/>
              <a:gd name="connsiteY378" fmla="*/ 108544 h 518816"/>
              <a:gd name="connsiteX379" fmla="*/ 540223 w 2371453"/>
              <a:gd name="connsiteY379" fmla="*/ 108544 h 518816"/>
              <a:gd name="connsiteX380" fmla="*/ 552906 w 2371453"/>
              <a:gd name="connsiteY380" fmla="*/ 106769 h 518816"/>
              <a:gd name="connsiteX381" fmla="*/ 559993 w 2371453"/>
              <a:gd name="connsiteY381" fmla="*/ 101028 h 518816"/>
              <a:gd name="connsiteX382" fmla="*/ 563030 w 2371453"/>
              <a:gd name="connsiteY382" fmla="*/ 90020 h 518816"/>
              <a:gd name="connsiteX383" fmla="*/ 563685 w 2371453"/>
              <a:gd name="connsiteY383" fmla="*/ 73093 h 518816"/>
              <a:gd name="connsiteX384" fmla="*/ 563030 w 2371453"/>
              <a:gd name="connsiteY384" fmla="*/ 55692 h 518816"/>
              <a:gd name="connsiteX385" fmla="*/ 560112 w 2371453"/>
              <a:gd name="connsiteY385" fmla="*/ 44979 h 518816"/>
              <a:gd name="connsiteX386" fmla="*/ 553205 w 2371453"/>
              <a:gd name="connsiteY386" fmla="*/ 39357 h 518816"/>
              <a:gd name="connsiteX387" fmla="*/ 540223 w 2371453"/>
              <a:gd name="connsiteY387" fmla="*/ 37582 h 518816"/>
              <a:gd name="connsiteX388" fmla="*/ 700466 w 2371453"/>
              <a:gd name="connsiteY388" fmla="*/ 35451 h 518816"/>
              <a:gd name="connsiteX389" fmla="*/ 687961 w 2371453"/>
              <a:gd name="connsiteY389" fmla="*/ 36399 h 518816"/>
              <a:gd name="connsiteX390" fmla="*/ 680280 w 2371453"/>
              <a:gd name="connsiteY390" fmla="*/ 41193 h 518816"/>
              <a:gd name="connsiteX391" fmla="*/ 675932 w 2371453"/>
              <a:gd name="connsiteY391" fmla="*/ 53325 h 518816"/>
              <a:gd name="connsiteX392" fmla="*/ 674146 w 2371453"/>
              <a:gd name="connsiteY392" fmla="*/ 75993 h 518816"/>
              <a:gd name="connsiteX393" fmla="*/ 673848 w 2371453"/>
              <a:gd name="connsiteY393" fmla="*/ 112392 h 518816"/>
              <a:gd name="connsiteX394" fmla="*/ 674146 w 2371453"/>
              <a:gd name="connsiteY394" fmla="*/ 148792 h 518816"/>
              <a:gd name="connsiteX395" fmla="*/ 675932 w 2371453"/>
              <a:gd name="connsiteY395" fmla="*/ 171460 h 518816"/>
              <a:gd name="connsiteX396" fmla="*/ 680280 w 2371453"/>
              <a:gd name="connsiteY396" fmla="*/ 183592 h 518816"/>
              <a:gd name="connsiteX397" fmla="*/ 687961 w 2371453"/>
              <a:gd name="connsiteY397" fmla="*/ 188386 h 518816"/>
              <a:gd name="connsiteX398" fmla="*/ 700466 w 2371453"/>
              <a:gd name="connsiteY398" fmla="*/ 189333 h 518816"/>
              <a:gd name="connsiteX399" fmla="*/ 712852 w 2371453"/>
              <a:gd name="connsiteY399" fmla="*/ 188386 h 518816"/>
              <a:gd name="connsiteX400" fmla="*/ 720892 w 2371453"/>
              <a:gd name="connsiteY400" fmla="*/ 183592 h 518816"/>
              <a:gd name="connsiteX401" fmla="*/ 725238 w 2371453"/>
              <a:gd name="connsiteY401" fmla="*/ 171460 h 518816"/>
              <a:gd name="connsiteX402" fmla="*/ 726847 w 2371453"/>
              <a:gd name="connsiteY402" fmla="*/ 148792 h 518816"/>
              <a:gd name="connsiteX403" fmla="*/ 727145 w 2371453"/>
              <a:gd name="connsiteY403" fmla="*/ 112392 h 518816"/>
              <a:gd name="connsiteX404" fmla="*/ 726847 w 2371453"/>
              <a:gd name="connsiteY404" fmla="*/ 75993 h 518816"/>
              <a:gd name="connsiteX405" fmla="*/ 725238 w 2371453"/>
              <a:gd name="connsiteY405" fmla="*/ 53325 h 518816"/>
              <a:gd name="connsiteX406" fmla="*/ 720892 w 2371453"/>
              <a:gd name="connsiteY406" fmla="*/ 41193 h 518816"/>
              <a:gd name="connsiteX407" fmla="*/ 712852 w 2371453"/>
              <a:gd name="connsiteY407" fmla="*/ 36399 h 518816"/>
              <a:gd name="connsiteX408" fmla="*/ 700466 w 2371453"/>
              <a:gd name="connsiteY408" fmla="*/ 35451 h 518816"/>
              <a:gd name="connsiteX409" fmla="*/ 311497 w 2371453"/>
              <a:gd name="connsiteY409" fmla="*/ 2604 h 518816"/>
              <a:gd name="connsiteX410" fmla="*/ 353895 w 2371453"/>
              <a:gd name="connsiteY410" fmla="*/ 2604 h 518816"/>
              <a:gd name="connsiteX411" fmla="*/ 353895 w 2371453"/>
              <a:gd name="connsiteY411" fmla="*/ 138256 h 518816"/>
              <a:gd name="connsiteX412" fmla="*/ 354551 w 2371453"/>
              <a:gd name="connsiteY412" fmla="*/ 165718 h 518816"/>
              <a:gd name="connsiteX413" fmla="*/ 357290 w 2371453"/>
              <a:gd name="connsiteY413" fmla="*/ 181047 h 518816"/>
              <a:gd name="connsiteX414" fmla="*/ 364197 w 2371453"/>
              <a:gd name="connsiteY414" fmla="*/ 187734 h 518816"/>
              <a:gd name="connsiteX415" fmla="*/ 377357 w 2371453"/>
              <a:gd name="connsiteY415" fmla="*/ 189332 h 518816"/>
              <a:gd name="connsiteX416" fmla="*/ 390339 w 2371453"/>
              <a:gd name="connsiteY416" fmla="*/ 187734 h 518816"/>
              <a:gd name="connsiteX417" fmla="*/ 397426 w 2371453"/>
              <a:gd name="connsiteY417" fmla="*/ 181047 h 518816"/>
              <a:gd name="connsiteX418" fmla="*/ 400343 w 2371453"/>
              <a:gd name="connsiteY418" fmla="*/ 165718 h 518816"/>
              <a:gd name="connsiteX419" fmla="*/ 400819 w 2371453"/>
              <a:gd name="connsiteY419" fmla="*/ 138256 h 518816"/>
              <a:gd name="connsiteX420" fmla="*/ 400819 w 2371453"/>
              <a:gd name="connsiteY420" fmla="*/ 2604 h 518816"/>
              <a:gd name="connsiteX421" fmla="*/ 443218 w 2371453"/>
              <a:gd name="connsiteY421" fmla="*/ 2604 h 518816"/>
              <a:gd name="connsiteX422" fmla="*/ 443218 w 2371453"/>
              <a:gd name="connsiteY422" fmla="*/ 125177 h 518816"/>
              <a:gd name="connsiteX423" fmla="*/ 442087 w 2371453"/>
              <a:gd name="connsiteY423" fmla="*/ 166664 h 518816"/>
              <a:gd name="connsiteX424" fmla="*/ 437442 w 2371453"/>
              <a:gd name="connsiteY424" fmla="*/ 195252 h 518816"/>
              <a:gd name="connsiteX425" fmla="*/ 426843 w 2371453"/>
              <a:gd name="connsiteY425" fmla="*/ 212948 h 518816"/>
              <a:gd name="connsiteX426" fmla="*/ 407727 w 2371453"/>
              <a:gd name="connsiteY426" fmla="*/ 222063 h 518816"/>
              <a:gd name="connsiteX427" fmla="*/ 377357 w 2371453"/>
              <a:gd name="connsiteY427" fmla="*/ 224785 h 518816"/>
              <a:gd name="connsiteX428" fmla="*/ 346987 w 2371453"/>
              <a:gd name="connsiteY428" fmla="*/ 222063 h 518816"/>
              <a:gd name="connsiteX429" fmla="*/ 327873 w 2371453"/>
              <a:gd name="connsiteY429" fmla="*/ 212948 h 518816"/>
              <a:gd name="connsiteX430" fmla="*/ 317273 w 2371453"/>
              <a:gd name="connsiteY430" fmla="*/ 195252 h 518816"/>
              <a:gd name="connsiteX431" fmla="*/ 312629 w 2371453"/>
              <a:gd name="connsiteY431" fmla="*/ 166664 h 518816"/>
              <a:gd name="connsiteX432" fmla="*/ 311497 w 2371453"/>
              <a:gd name="connsiteY432" fmla="*/ 125177 h 518816"/>
              <a:gd name="connsiteX433" fmla="*/ 2109083 w 2371453"/>
              <a:gd name="connsiteY433" fmla="*/ 2544 h 518816"/>
              <a:gd name="connsiteX434" fmla="*/ 2169167 w 2371453"/>
              <a:gd name="connsiteY434" fmla="*/ 2544 h 518816"/>
              <a:gd name="connsiteX435" fmla="*/ 2217342 w 2371453"/>
              <a:gd name="connsiteY435" fmla="*/ 222180 h 518816"/>
              <a:gd name="connsiteX436" fmla="*/ 2174646 w 2371453"/>
              <a:gd name="connsiteY436" fmla="*/ 222180 h 518816"/>
              <a:gd name="connsiteX437" fmla="*/ 2165000 w 2371453"/>
              <a:gd name="connsiteY437" fmla="*/ 174300 h 518816"/>
              <a:gd name="connsiteX438" fmla="*/ 2112299 w 2371453"/>
              <a:gd name="connsiteY438" fmla="*/ 174300 h 518816"/>
              <a:gd name="connsiteX439" fmla="*/ 2102354 w 2371453"/>
              <a:gd name="connsiteY439" fmla="*/ 222180 h 518816"/>
              <a:gd name="connsiteX440" fmla="*/ 2060611 w 2371453"/>
              <a:gd name="connsiteY440" fmla="*/ 222180 h 518816"/>
              <a:gd name="connsiteX441" fmla="*/ 1869521 w 2371453"/>
              <a:gd name="connsiteY441" fmla="*/ 2544 h 518816"/>
              <a:gd name="connsiteX442" fmla="*/ 1911919 w 2371453"/>
              <a:gd name="connsiteY442" fmla="*/ 2544 h 518816"/>
              <a:gd name="connsiteX443" fmla="*/ 1911919 w 2371453"/>
              <a:gd name="connsiteY443" fmla="*/ 222180 h 518816"/>
              <a:gd name="connsiteX444" fmla="*/ 1869521 w 2371453"/>
              <a:gd name="connsiteY444" fmla="*/ 222180 h 518816"/>
              <a:gd name="connsiteX445" fmla="*/ 1709931 w 2371453"/>
              <a:gd name="connsiteY445" fmla="*/ 2544 h 518816"/>
              <a:gd name="connsiteX446" fmla="*/ 1784426 w 2371453"/>
              <a:gd name="connsiteY446" fmla="*/ 2544 h 518816"/>
              <a:gd name="connsiteX447" fmla="*/ 1813843 w 2371453"/>
              <a:gd name="connsiteY447" fmla="*/ 7160 h 518816"/>
              <a:gd name="connsiteX448" fmla="*/ 1830516 w 2371453"/>
              <a:gd name="connsiteY448" fmla="*/ 21068 h 518816"/>
              <a:gd name="connsiteX449" fmla="*/ 1837900 w 2371453"/>
              <a:gd name="connsiteY449" fmla="*/ 43263 h 518816"/>
              <a:gd name="connsiteX450" fmla="*/ 1839686 w 2371453"/>
              <a:gd name="connsiteY450" fmla="*/ 72797 h 518816"/>
              <a:gd name="connsiteX451" fmla="*/ 1838258 w 2371453"/>
              <a:gd name="connsiteY451" fmla="*/ 98188 h 518816"/>
              <a:gd name="connsiteX452" fmla="*/ 1832005 w 2371453"/>
              <a:gd name="connsiteY452" fmla="*/ 120086 h 518816"/>
              <a:gd name="connsiteX453" fmla="*/ 1817238 w 2371453"/>
              <a:gd name="connsiteY453" fmla="*/ 135119 h 518816"/>
              <a:gd name="connsiteX454" fmla="*/ 1844213 w 2371453"/>
              <a:gd name="connsiteY454" fmla="*/ 222240 h 518816"/>
              <a:gd name="connsiteX455" fmla="*/ 1800504 w 2371453"/>
              <a:gd name="connsiteY455" fmla="*/ 222240 h 518816"/>
              <a:gd name="connsiteX456" fmla="*/ 1778059 w 2371453"/>
              <a:gd name="connsiteY456" fmla="*/ 142623 h 518816"/>
              <a:gd name="connsiteX457" fmla="*/ 1781269 w 2371453"/>
              <a:gd name="connsiteY457" fmla="*/ 142458 h 518816"/>
              <a:gd name="connsiteX458" fmla="*/ 1785736 w 2371453"/>
              <a:gd name="connsiteY458" fmla="*/ 141807 h 518816"/>
              <a:gd name="connsiteX459" fmla="*/ 1776744 w 2371453"/>
              <a:gd name="connsiteY459" fmla="*/ 137960 h 518816"/>
              <a:gd name="connsiteX460" fmla="*/ 1778059 w 2371453"/>
              <a:gd name="connsiteY460" fmla="*/ 142623 h 518816"/>
              <a:gd name="connsiteX461" fmla="*/ 1775493 w 2371453"/>
              <a:gd name="connsiteY461" fmla="*/ 142754 h 518816"/>
              <a:gd name="connsiteX462" fmla="*/ 1752032 w 2371453"/>
              <a:gd name="connsiteY462" fmla="*/ 142754 h 518816"/>
              <a:gd name="connsiteX463" fmla="*/ 1752032 w 2371453"/>
              <a:gd name="connsiteY463" fmla="*/ 222240 h 518816"/>
              <a:gd name="connsiteX464" fmla="*/ 1709931 w 2371453"/>
              <a:gd name="connsiteY464" fmla="*/ 222240 h 518816"/>
              <a:gd name="connsiteX465" fmla="*/ 1709931 w 2371453"/>
              <a:gd name="connsiteY465" fmla="*/ 222180 h 518816"/>
              <a:gd name="connsiteX466" fmla="*/ 1572434 w 2371453"/>
              <a:gd name="connsiteY466" fmla="*/ 2544 h 518816"/>
              <a:gd name="connsiteX467" fmla="*/ 1680990 w 2371453"/>
              <a:gd name="connsiteY467" fmla="*/ 2544 h 518816"/>
              <a:gd name="connsiteX468" fmla="*/ 1680990 w 2371453"/>
              <a:gd name="connsiteY468" fmla="*/ 37996 h 518816"/>
              <a:gd name="connsiteX469" fmla="*/ 1614534 w 2371453"/>
              <a:gd name="connsiteY469" fmla="*/ 37996 h 518816"/>
              <a:gd name="connsiteX470" fmla="*/ 1614534 w 2371453"/>
              <a:gd name="connsiteY470" fmla="*/ 93511 h 518816"/>
              <a:gd name="connsiteX471" fmla="*/ 1671998 w 2371453"/>
              <a:gd name="connsiteY471" fmla="*/ 93511 h 518816"/>
              <a:gd name="connsiteX472" fmla="*/ 1671998 w 2371453"/>
              <a:gd name="connsiteY472" fmla="*/ 128608 h 518816"/>
              <a:gd name="connsiteX473" fmla="*/ 1614534 w 2371453"/>
              <a:gd name="connsiteY473" fmla="*/ 128608 h 518816"/>
              <a:gd name="connsiteX474" fmla="*/ 1614534 w 2371453"/>
              <a:gd name="connsiteY474" fmla="*/ 186729 h 518816"/>
              <a:gd name="connsiteX475" fmla="*/ 1680990 w 2371453"/>
              <a:gd name="connsiteY475" fmla="*/ 186729 h 518816"/>
              <a:gd name="connsiteX476" fmla="*/ 1680990 w 2371453"/>
              <a:gd name="connsiteY476" fmla="*/ 222180 h 518816"/>
              <a:gd name="connsiteX477" fmla="*/ 1572434 w 2371453"/>
              <a:gd name="connsiteY477" fmla="*/ 222180 h 518816"/>
              <a:gd name="connsiteX478" fmla="*/ 1349544 w 2371453"/>
              <a:gd name="connsiteY478" fmla="*/ 2544 h 518816"/>
              <a:gd name="connsiteX479" fmla="*/ 1411832 w 2371453"/>
              <a:gd name="connsiteY479" fmla="*/ 2544 h 518816"/>
              <a:gd name="connsiteX480" fmla="*/ 1442975 w 2371453"/>
              <a:gd name="connsiteY480" fmla="*/ 156426 h 518816"/>
              <a:gd name="connsiteX481" fmla="*/ 1445238 w 2371453"/>
              <a:gd name="connsiteY481" fmla="*/ 156426 h 518816"/>
              <a:gd name="connsiteX482" fmla="*/ 1476381 w 2371453"/>
              <a:gd name="connsiteY482" fmla="*/ 2544 h 518816"/>
              <a:gd name="connsiteX483" fmla="*/ 1538074 w 2371453"/>
              <a:gd name="connsiteY483" fmla="*/ 2544 h 518816"/>
              <a:gd name="connsiteX484" fmla="*/ 1538074 w 2371453"/>
              <a:gd name="connsiteY484" fmla="*/ 222180 h 518816"/>
              <a:gd name="connsiteX485" fmla="*/ 1497283 w 2371453"/>
              <a:gd name="connsiteY485" fmla="*/ 222180 h 518816"/>
              <a:gd name="connsiteX486" fmla="*/ 1497283 w 2371453"/>
              <a:gd name="connsiteY486" fmla="*/ 60012 h 518816"/>
              <a:gd name="connsiteX487" fmla="*/ 1495378 w 2371453"/>
              <a:gd name="connsiteY487" fmla="*/ 60012 h 518816"/>
              <a:gd name="connsiteX488" fmla="*/ 1461673 w 2371453"/>
              <a:gd name="connsiteY488" fmla="*/ 222180 h 518816"/>
              <a:gd name="connsiteX489" fmla="*/ 1424753 w 2371453"/>
              <a:gd name="connsiteY489" fmla="*/ 222180 h 518816"/>
              <a:gd name="connsiteX490" fmla="*/ 1391644 w 2371453"/>
              <a:gd name="connsiteY490" fmla="*/ 60012 h 518816"/>
              <a:gd name="connsiteX491" fmla="*/ 1389084 w 2371453"/>
              <a:gd name="connsiteY491" fmla="*/ 60012 h 518816"/>
              <a:gd name="connsiteX492" fmla="*/ 1389084 w 2371453"/>
              <a:gd name="connsiteY492" fmla="*/ 222180 h 518816"/>
              <a:gd name="connsiteX493" fmla="*/ 1349604 w 2371453"/>
              <a:gd name="connsiteY493" fmla="*/ 222180 h 518816"/>
              <a:gd name="connsiteX494" fmla="*/ 1349544 w 2371453"/>
              <a:gd name="connsiteY494" fmla="*/ 222180 h 518816"/>
              <a:gd name="connsiteX495" fmla="*/ 1221038 w 2371453"/>
              <a:gd name="connsiteY495" fmla="*/ 2544 h 518816"/>
              <a:gd name="connsiteX496" fmla="*/ 1281122 w 2371453"/>
              <a:gd name="connsiteY496" fmla="*/ 2544 h 518816"/>
              <a:gd name="connsiteX497" fmla="*/ 1329297 w 2371453"/>
              <a:gd name="connsiteY497" fmla="*/ 222180 h 518816"/>
              <a:gd name="connsiteX498" fmla="*/ 1286601 w 2371453"/>
              <a:gd name="connsiteY498" fmla="*/ 222180 h 518816"/>
              <a:gd name="connsiteX499" fmla="*/ 1276955 w 2371453"/>
              <a:gd name="connsiteY499" fmla="*/ 174300 h 518816"/>
              <a:gd name="connsiteX500" fmla="*/ 1224254 w 2371453"/>
              <a:gd name="connsiteY500" fmla="*/ 174300 h 518816"/>
              <a:gd name="connsiteX501" fmla="*/ 1214309 w 2371453"/>
              <a:gd name="connsiteY501" fmla="*/ 222180 h 518816"/>
              <a:gd name="connsiteX502" fmla="*/ 1172566 w 2371453"/>
              <a:gd name="connsiteY502" fmla="*/ 222180 h 518816"/>
              <a:gd name="connsiteX503" fmla="*/ 951940 w 2371453"/>
              <a:gd name="connsiteY503" fmla="*/ 2544 h 518816"/>
              <a:gd name="connsiteX504" fmla="*/ 1060496 w 2371453"/>
              <a:gd name="connsiteY504" fmla="*/ 2544 h 518816"/>
              <a:gd name="connsiteX505" fmla="*/ 1060496 w 2371453"/>
              <a:gd name="connsiteY505" fmla="*/ 37996 h 518816"/>
              <a:gd name="connsiteX506" fmla="*/ 994040 w 2371453"/>
              <a:gd name="connsiteY506" fmla="*/ 37996 h 518816"/>
              <a:gd name="connsiteX507" fmla="*/ 994040 w 2371453"/>
              <a:gd name="connsiteY507" fmla="*/ 93511 h 518816"/>
              <a:gd name="connsiteX508" fmla="*/ 1051504 w 2371453"/>
              <a:gd name="connsiteY508" fmla="*/ 93511 h 518816"/>
              <a:gd name="connsiteX509" fmla="*/ 1051504 w 2371453"/>
              <a:gd name="connsiteY509" fmla="*/ 128608 h 518816"/>
              <a:gd name="connsiteX510" fmla="*/ 994040 w 2371453"/>
              <a:gd name="connsiteY510" fmla="*/ 128608 h 518816"/>
              <a:gd name="connsiteX511" fmla="*/ 994040 w 2371453"/>
              <a:gd name="connsiteY511" fmla="*/ 186729 h 518816"/>
              <a:gd name="connsiteX512" fmla="*/ 1060496 w 2371453"/>
              <a:gd name="connsiteY512" fmla="*/ 186729 h 518816"/>
              <a:gd name="connsiteX513" fmla="*/ 1060496 w 2371453"/>
              <a:gd name="connsiteY513" fmla="*/ 222180 h 518816"/>
              <a:gd name="connsiteX514" fmla="*/ 951940 w 2371453"/>
              <a:gd name="connsiteY514" fmla="*/ 222180 h 518816"/>
              <a:gd name="connsiteX515" fmla="*/ 800032 w 2371453"/>
              <a:gd name="connsiteY515" fmla="*/ 2544 h 518816"/>
              <a:gd name="connsiteX516" fmla="*/ 872919 w 2371453"/>
              <a:gd name="connsiteY516" fmla="*/ 2544 h 518816"/>
              <a:gd name="connsiteX517" fmla="*/ 900550 w 2371453"/>
              <a:gd name="connsiteY517" fmla="*/ 6983 h 518816"/>
              <a:gd name="connsiteX518" fmla="*/ 917224 w 2371453"/>
              <a:gd name="connsiteY518" fmla="*/ 20418 h 518816"/>
              <a:gd name="connsiteX519" fmla="*/ 925262 w 2371453"/>
              <a:gd name="connsiteY519" fmla="*/ 43086 h 518816"/>
              <a:gd name="connsiteX520" fmla="*/ 927525 w 2371453"/>
              <a:gd name="connsiteY520" fmla="*/ 75934 h 518816"/>
              <a:gd name="connsiteX521" fmla="*/ 925441 w 2371453"/>
              <a:gd name="connsiteY521" fmla="*/ 107835 h 518816"/>
              <a:gd name="connsiteX522" fmla="*/ 917580 w 2371453"/>
              <a:gd name="connsiteY522" fmla="*/ 130798 h 518816"/>
              <a:gd name="connsiteX523" fmla="*/ 900907 w 2371453"/>
              <a:gd name="connsiteY523" fmla="*/ 144529 h 518816"/>
              <a:gd name="connsiteX524" fmla="*/ 872621 w 2371453"/>
              <a:gd name="connsiteY524" fmla="*/ 149027 h 518816"/>
              <a:gd name="connsiteX525" fmla="*/ 842133 w 2371453"/>
              <a:gd name="connsiteY525" fmla="*/ 149027 h 518816"/>
              <a:gd name="connsiteX526" fmla="*/ 842133 w 2371453"/>
              <a:gd name="connsiteY526" fmla="*/ 222121 h 518816"/>
              <a:gd name="connsiteX527" fmla="*/ 800032 w 2371453"/>
              <a:gd name="connsiteY527" fmla="*/ 222121 h 518816"/>
              <a:gd name="connsiteX528" fmla="*/ 476268 w 2371453"/>
              <a:gd name="connsiteY528" fmla="*/ 2544 h 518816"/>
              <a:gd name="connsiteX529" fmla="*/ 550763 w 2371453"/>
              <a:gd name="connsiteY529" fmla="*/ 2544 h 518816"/>
              <a:gd name="connsiteX530" fmla="*/ 580180 w 2371453"/>
              <a:gd name="connsiteY530" fmla="*/ 7160 h 518816"/>
              <a:gd name="connsiteX531" fmla="*/ 596853 w 2371453"/>
              <a:gd name="connsiteY531" fmla="*/ 21068 h 518816"/>
              <a:gd name="connsiteX532" fmla="*/ 604237 w 2371453"/>
              <a:gd name="connsiteY532" fmla="*/ 43263 h 518816"/>
              <a:gd name="connsiteX533" fmla="*/ 606024 w 2371453"/>
              <a:gd name="connsiteY533" fmla="*/ 72797 h 518816"/>
              <a:gd name="connsiteX534" fmla="*/ 604595 w 2371453"/>
              <a:gd name="connsiteY534" fmla="*/ 98188 h 518816"/>
              <a:gd name="connsiteX535" fmla="*/ 598343 w 2371453"/>
              <a:gd name="connsiteY535" fmla="*/ 120086 h 518816"/>
              <a:gd name="connsiteX536" fmla="*/ 583574 w 2371453"/>
              <a:gd name="connsiteY536" fmla="*/ 135119 h 518816"/>
              <a:gd name="connsiteX537" fmla="*/ 610550 w 2371453"/>
              <a:gd name="connsiteY537" fmla="*/ 222240 h 518816"/>
              <a:gd name="connsiteX538" fmla="*/ 566841 w 2371453"/>
              <a:gd name="connsiteY538" fmla="*/ 222240 h 518816"/>
              <a:gd name="connsiteX539" fmla="*/ 544396 w 2371453"/>
              <a:gd name="connsiteY539" fmla="*/ 142623 h 518816"/>
              <a:gd name="connsiteX540" fmla="*/ 547607 w 2371453"/>
              <a:gd name="connsiteY540" fmla="*/ 142458 h 518816"/>
              <a:gd name="connsiteX541" fmla="*/ 552073 w 2371453"/>
              <a:gd name="connsiteY541" fmla="*/ 141807 h 518816"/>
              <a:gd name="connsiteX542" fmla="*/ 543081 w 2371453"/>
              <a:gd name="connsiteY542" fmla="*/ 137960 h 518816"/>
              <a:gd name="connsiteX543" fmla="*/ 544396 w 2371453"/>
              <a:gd name="connsiteY543" fmla="*/ 142623 h 518816"/>
              <a:gd name="connsiteX544" fmla="*/ 541831 w 2371453"/>
              <a:gd name="connsiteY544" fmla="*/ 142754 h 518816"/>
              <a:gd name="connsiteX545" fmla="*/ 518369 w 2371453"/>
              <a:gd name="connsiteY545" fmla="*/ 142754 h 518816"/>
              <a:gd name="connsiteX546" fmla="*/ 518369 w 2371453"/>
              <a:gd name="connsiteY546" fmla="*/ 222240 h 518816"/>
              <a:gd name="connsiteX547" fmla="*/ 476268 w 2371453"/>
              <a:gd name="connsiteY547" fmla="*/ 222240 h 518816"/>
              <a:gd name="connsiteX548" fmla="*/ 476268 w 2371453"/>
              <a:gd name="connsiteY548" fmla="*/ 222180 h 518816"/>
              <a:gd name="connsiteX549" fmla="*/ 175667 w 2371453"/>
              <a:gd name="connsiteY549" fmla="*/ 2544 h 518816"/>
              <a:gd name="connsiteX550" fmla="*/ 284223 w 2371453"/>
              <a:gd name="connsiteY550" fmla="*/ 2544 h 518816"/>
              <a:gd name="connsiteX551" fmla="*/ 284223 w 2371453"/>
              <a:gd name="connsiteY551" fmla="*/ 37996 h 518816"/>
              <a:gd name="connsiteX552" fmla="*/ 217767 w 2371453"/>
              <a:gd name="connsiteY552" fmla="*/ 37996 h 518816"/>
              <a:gd name="connsiteX553" fmla="*/ 217767 w 2371453"/>
              <a:gd name="connsiteY553" fmla="*/ 93511 h 518816"/>
              <a:gd name="connsiteX554" fmla="*/ 275231 w 2371453"/>
              <a:gd name="connsiteY554" fmla="*/ 93511 h 518816"/>
              <a:gd name="connsiteX555" fmla="*/ 275231 w 2371453"/>
              <a:gd name="connsiteY555" fmla="*/ 128608 h 518816"/>
              <a:gd name="connsiteX556" fmla="*/ 217767 w 2371453"/>
              <a:gd name="connsiteY556" fmla="*/ 128608 h 518816"/>
              <a:gd name="connsiteX557" fmla="*/ 217767 w 2371453"/>
              <a:gd name="connsiteY557" fmla="*/ 186729 h 518816"/>
              <a:gd name="connsiteX558" fmla="*/ 284223 w 2371453"/>
              <a:gd name="connsiteY558" fmla="*/ 186729 h 518816"/>
              <a:gd name="connsiteX559" fmla="*/ 284223 w 2371453"/>
              <a:gd name="connsiteY559" fmla="*/ 222180 h 518816"/>
              <a:gd name="connsiteX560" fmla="*/ 175667 w 2371453"/>
              <a:gd name="connsiteY560" fmla="*/ 222180 h 518816"/>
              <a:gd name="connsiteX561" fmla="*/ 700466 w 2371453"/>
              <a:gd name="connsiteY561" fmla="*/ 118 h 518816"/>
              <a:gd name="connsiteX562" fmla="*/ 730836 w 2371453"/>
              <a:gd name="connsiteY562" fmla="*/ 2367 h 518816"/>
              <a:gd name="connsiteX563" fmla="*/ 750904 w 2371453"/>
              <a:gd name="connsiteY563" fmla="*/ 11126 h 518816"/>
              <a:gd name="connsiteX564" fmla="*/ 762635 w 2371453"/>
              <a:gd name="connsiteY564" fmla="*/ 30125 h 518816"/>
              <a:gd name="connsiteX565" fmla="*/ 768113 w 2371453"/>
              <a:gd name="connsiteY565" fmla="*/ 62677 h 518816"/>
              <a:gd name="connsiteX566" fmla="*/ 769543 w 2371453"/>
              <a:gd name="connsiteY566" fmla="*/ 112452 h 518816"/>
              <a:gd name="connsiteX567" fmla="*/ 768113 w 2371453"/>
              <a:gd name="connsiteY567" fmla="*/ 162227 h 518816"/>
              <a:gd name="connsiteX568" fmla="*/ 762635 w 2371453"/>
              <a:gd name="connsiteY568" fmla="*/ 194778 h 518816"/>
              <a:gd name="connsiteX569" fmla="*/ 750904 w 2371453"/>
              <a:gd name="connsiteY569" fmla="*/ 213777 h 518816"/>
              <a:gd name="connsiteX570" fmla="*/ 730836 w 2371453"/>
              <a:gd name="connsiteY570" fmla="*/ 222536 h 518816"/>
              <a:gd name="connsiteX571" fmla="*/ 700466 w 2371453"/>
              <a:gd name="connsiteY571" fmla="*/ 224785 h 518816"/>
              <a:gd name="connsiteX572" fmla="*/ 669800 w 2371453"/>
              <a:gd name="connsiteY572" fmla="*/ 222536 h 518816"/>
              <a:gd name="connsiteX573" fmla="*/ 649910 w 2371453"/>
              <a:gd name="connsiteY573" fmla="*/ 213777 h 518816"/>
              <a:gd name="connsiteX574" fmla="*/ 638358 w 2371453"/>
              <a:gd name="connsiteY574" fmla="*/ 194778 h 518816"/>
              <a:gd name="connsiteX575" fmla="*/ 632879 w 2371453"/>
              <a:gd name="connsiteY575" fmla="*/ 162227 h 518816"/>
              <a:gd name="connsiteX576" fmla="*/ 631450 w 2371453"/>
              <a:gd name="connsiteY576" fmla="*/ 112452 h 518816"/>
              <a:gd name="connsiteX577" fmla="*/ 632879 w 2371453"/>
              <a:gd name="connsiteY577" fmla="*/ 62677 h 518816"/>
              <a:gd name="connsiteX578" fmla="*/ 638358 w 2371453"/>
              <a:gd name="connsiteY578" fmla="*/ 30125 h 518816"/>
              <a:gd name="connsiteX579" fmla="*/ 649910 w 2371453"/>
              <a:gd name="connsiteY579" fmla="*/ 11126 h 518816"/>
              <a:gd name="connsiteX580" fmla="*/ 669800 w 2371453"/>
              <a:gd name="connsiteY580" fmla="*/ 2367 h 518816"/>
              <a:gd name="connsiteX581" fmla="*/ 700466 w 2371453"/>
              <a:gd name="connsiteY581" fmla="*/ 118 h 518816"/>
              <a:gd name="connsiteX582" fmla="*/ 2010472 w 2371453"/>
              <a:gd name="connsiteY582" fmla="*/ 0 h 518816"/>
              <a:gd name="connsiteX583" fmla="*/ 2024466 w 2371453"/>
              <a:gd name="connsiteY583" fmla="*/ 651 h 518816"/>
              <a:gd name="connsiteX584" fmla="*/ 2037983 w 2371453"/>
              <a:gd name="connsiteY584" fmla="*/ 2426 h 518816"/>
              <a:gd name="connsiteX585" fmla="*/ 2048107 w 2371453"/>
              <a:gd name="connsiteY585" fmla="*/ 5149 h 518816"/>
              <a:gd name="connsiteX586" fmla="*/ 2048107 w 2371453"/>
              <a:gd name="connsiteY586" fmla="*/ 37701 h 518816"/>
              <a:gd name="connsiteX587" fmla="*/ 2037031 w 2371453"/>
              <a:gd name="connsiteY587" fmla="*/ 36458 h 518816"/>
              <a:gd name="connsiteX588" fmla="*/ 2027205 w 2371453"/>
              <a:gd name="connsiteY588" fmla="*/ 35689 h 518816"/>
              <a:gd name="connsiteX589" fmla="*/ 2019166 w 2371453"/>
              <a:gd name="connsiteY589" fmla="*/ 35511 h 518816"/>
              <a:gd name="connsiteX590" fmla="*/ 2002969 w 2371453"/>
              <a:gd name="connsiteY590" fmla="*/ 36931 h 518816"/>
              <a:gd name="connsiteX591" fmla="*/ 1992845 w 2371453"/>
              <a:gd name="connsiteY591" fmla="*/ 42554 h 518816"/>
              <a:gd name="connsiteX592" fmla="*/ 1987367 w 2371453"/>
              <a:gd name="connsiteY592" fmla="*/ 55160 h 518816"/>
              <a:gd name="connsiteX593" fmla="*/ 1985283 w 2371453"/>
              <a:gd name="connsiteY593" fmla="*/ 77532 h 518816"/>
              <a:gd name="connsiteX594" fmla="*/ 1984806 w 2371453"/>
              <a:gd name="connsiteY594" fmla="*/ 112511 h 518816"/>
              <a:gd name="connsiteX595" fmla="*/ 1985283 w 2371453"/>
              <a:gd name="connsiteY595" fmla="*/ 147489 h 518816"/>
              <a:gd name="connsiteX596" fmla="*/ 1987367 w 2371453"/>
              <a:gd name="connsiteY596" fmla="*/ 169861 h 518816"/>
              <a:gd name="connsiteX597" fmla="*/ 1992666 w 2371453"/>
              <a:gd name="connsiteY597" fmla="*/ 182645 h 518816"/>
              <a:gd name="connsiteX598" fmla="*/ 2002611 w 2371453"/>
              <a:gd name="connsiteY598" fmla="*/ 188209 h 518816"/>
              <a:gd name="connsiteX599" fmla="*/ 2019166 w 2371453"/>
              <a:gd name="connsiteY599" fmla="*/ 189451 h 518816"/>
              <a:gd name="connsiteX600" fmla="*/ 2035244 w 2371453"/>
              <a:gd name="connsiteY600" fmla="*/ 188801 h 518816"/>
              <a:gd name="connsiteX601" fmla="*/ 2048762 w 2371453"/>
              <a:gd name="connsiteY601" fmla="*/ 187203 h 518816"/>
              <a:gd name="connsiteX602" fmla="*/ 2048762 w 2371453"/>
              <a:gd name="connsiteY602" fmla="*/ 219754 h 518816"/>
              <a:gd name="connsiteX603" fmla="*/ 2037685 w 2371453"/>
              <a:gd name="connsiteY603" fmla="*/ 222477 h 518816"/>
              <a:gd name="connsiteX604" fmla="*/ 2024049 w 2371453"/>
              <a:gd name="connsiteY604" fmla="*/ 224193 h 518816"/>
              <a:gd name="connsiteX605" fmla="*/ 2010531 w 2371453"/>
              <a:gd name="connsiteY605" fmla="*/ 224844 h 518816"/>
              <a:gd name="connsiteX606" fmla="*/ 2010531 w 2371453"/>
              <a:gd name="connsiteY606" fmla="*/ 224785 h 518816"/>
              <a:gd name="connsiteX607" fmla="*/ 1979863 w 2371453"/>
              <a:gd name="connsiteY607" fmla="*/ 221293 h 518816"/>
              <a:gd name="connsiteX608" fmla="*/ 1960094 w 2371453"/>
              <a:gd name="connsiteY608" fmla="*/ 210107 h 518816"/>
              <a:gd name="connsiteX609" fmla="*/ 1948839 w 2371453"/>
              <a:gd name="connsiteY609" fmla="*/ 189510 h 518816"/>
              <a:gd name="connsiteX610" fmla="*/ 1943717 w 2371453"/>
              <a:gd name="connsiteY610" fmla="*/ 157432 h 518816"/>
              <a:gd name="connsiteX611" fmla="*/ 1942408 w 2371453"/>
              <a:gd name="connsiteY611" fmla="*/ 112392 h 518816"/>
              <a:gd name="connsiteX612" fmla="*/ 1943717 w 2371453"/>
              <a:gd name="connsiteY612" fmla="*/ 67234 h 518816"/>
              <a:gd name="connsiteX613" fmla="*/ 1948839 w 2371453"/>
              <a:gd name="connsiteY613" fmla="*/ 35333 h 518816"/>
              <a:gd name="connsiteX614" fmla="*/ 1960212 w 2371453"/>
              <a:gd name="connsiteY614" fmla="*/ 14560 h 518816"/>
              <a:gd name="connsiteX615" fmla="*/ 1979983 w 2371453"/>
              <a:gd name="connsiteY615" fmla="*/ 3374 h 518816"/>
              <a:gd name="connsiteX616" fmla="*/ 2010472 w 2371453"/>
              <a:gd name="connsiteY616" fmla="*/ 0 h 518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Lst>
            <a:rect l="l" t="t" r="r" b="b"/>
            <a:pathLst>
              <a:path w="2371453" h="518816">
                <a:moveTo>
                  <a:pt x="2283858" y="421754"/>
                </a:moveTo>
                <a:lnTo>
                  <a:pt x="2283858" y="481472"/>
                </a:lnTo>
                <a:lnTo>
                  <a:pt x="2305653" y="481472"/>
                </a:lnTo>
                <a:cubicBezTo>
                  <a:pt x="2312263" y="481472"/>
                  <a:pt x="2317205" y="480584"/>
                  <a:pt x="2320421" y="478750"/>
                </a:cubicBezTo>
                <a:cubicBezTo>
                  <a:pt x="2323636" y="476974"/>
                  <a:pt x="2325840" y="473897"/>
                  <a:pt x="2327031" y="469635"/>
                </a:cubicBezTo>
                <a:cubicBezTo>
                  <a:pt x="2328222" y="465373"/>
                  <a:pt x="2328817" y="459396"/>
                  <a:pt x="2328817" y="451761"/>
                </a:cubicBezTo>
                <a:cubicBezTo>
                  <a:pt x="2328817" y="444126"/>
                  <a:pt x="2328162" y="438089"/>
                  <a:pt x="2326912" y="433709"/>
                </a:cubicBezTo>
                <a:cubicBezTo>
                  <a:pt x="2325601" y="429329"/>
                  <a:pt x="2323399" y="426252"/>
                  <a:pt x="2320183" y="424476"/>
                </a:cubicBezTo>
                <a:cubicBezTo>
                  <a:pt x="2316967" y="422700"/>
                  <a:pt x="2312143" y="421754"/>
                  <a:pt x="2305713" y="421754"/>
                </a:cubicBezTo>
                <a:close/>
                <a:moveTo>
                  <a:pt x="1628289" y="337119"/>
                </a:moveTo>
                <a:lnTo>
                  <a:pt x="1609650" y="433828"/>
                </a:lnTo>
                <a:lnTo>
                  <a:pt x="1609710" y="433828"/>
                </a:lnTo>
                <a:lnTo>
                  <a:pt x="1649191" y="433828"/>
                </a:lnTo>
                <a:lnTo>
                  <a:pt x="1630552" y="337119"/>
                </a:lnTo>
                <a:close/>
                <a:moveTo>
                  <a:pt x="2283798" y="331792"/>
                </a:moveTo>
                <a:lnTo>
                  <a:pt x="2283798" y="388551"/>
                </a:lnTo>
                <a:lnTo>
                  <a:pt x="2304998" y="388551"/>
                </a:lnTo>
                <a:cubicBezTo>
                  <a:pt x="2311012" y="388551"/>
                  <a:pt x="2315598" y="387722"/>
                  <a:pt x="2318813" y="386007"/>
                </a:cubicBezTo>
                <a:cubicBezTo>
                  <a:pt x="2322029" y="384290"/>
                  <a:pt x="2324351" y="381390"/>
                  <a:pt x="2325720" y="377247"/>
                </a:cubicBezTo>
                <a:cubicBezTo>
                  <a:pt x="2327090" y="373103"/>
                  <a:pt x="2327805" y="367422"/>
                  <a:pt x="2327805" y="360201"/>
                </a:cubicBezTo>
                <a:cubicBezTo>
                  <a:pt x="2327805" y="352981"/>
                  <a:pt x="2327269" y="347003"/>
                  <a:pt x="2326197" y="342978"/>
                </a:cubicBezTo>
                <a:cubicBezTo>
                  <a:pt x="2325125" y="338954"/>
                  <a:pt x="2322981" y="336054"/>
                  <a:pt x="2319765" y="334337"/>
                </a:cubicBezTo>
                <a:cubicBezTo>
                  <a:pt x="2316550" y="332622"/>
                  <a:pt x="2311608" y="331792"/>
                  <a:pt x="2304998" y="331792"/>
                </a:cubicBezTo>
                <a:close/>
                <a:moveTo>
                  <a:pt x="1103846" y="329425"/>
                </a:moveTo>
                <a:cubicBezTo>
                  <a:pt x="1098904" y="329425"/>
                  <a:pt x="1094556" y="329721"/>
                  <a:pt x="1091342" y="330372"/>
                </a:cubicBezTo>
                <a:cubicBezTo>
                  <a:pt x="1088126" y="331023"/>
                  <a:pt x="1085565" y="332621"/>
                  <a:pt x="1083660" y="335166"/>
                </a:cubicBezTo>
                <a:cubicBezTo>
                  <a:pt x="1081754" y="337710"/>
                  <a:pt x="1080265" y="341795"/>
                  <a:pt x="1079312" y="347299"/>
                </a:cubicBezTo>
                <a:cubicBezTo>
                  <a:pt x="1078360" y="352862"/>
                  <a:pt x="1077765" y="360378"/>
                  <a:pt x="1077526" y="369967"/>
                </a:cubicBezTo>
                <a:cubicBezTo>
                  <a:pt x="1077288" y="379555"/>
                  <a:pt x="1077228" y="391688"/>
                  <a:pt x="1077228" y="406365"/>
                </a:cubicBezTo>
                <a:cubicBezTo>
                  <a:pt x="1077228" y="421044"/>
                  <a:pt x="1077347" y="433177"/>
                  <a:pt x="1077526" y="442765"/>
                </a:cubicBezTo>
                <a:cubicBezTo>
                  <a:pt x="1077765" y="452353"/>
                  <a:pt x="1078300" y="459869"/>
                  <a:pt x="1079312" y="465433"/>
                </a:cubicBezTo>
                <a:cubicBezTo>
                  <a:pt x="1080265" y="470996"/>
                  <a:pt x="1081695" y="475021"/>
                  <a:pt x="1083660" y="477566"/>
                </a:cubicBezTo>
                <a:cubicBezTo>
                  <a:pt x="1085565" y="480111"/>
                  <a:pt x="1088126" y="481709"/>
                  <a:pt x="1091342" y="482360"/>
                </a:cubicBezTo>
                <a:cubicBezTo>
                  <a:pt x="1094556" y="483010"/>
                  <a:pt x="1098725" y="483307"/>
                  <a:pt x="1103846" y="483307"/>
                </a:cubicBezTo>
                <a:cubicBezTo>
                  <a:pt x="1108789" y="483307"/>
                  <a:pt x="1112898" y="483010"/>
                  <a:pt x="1116232" y="482360"/>
                </a:cubicBezTo>
                <a:cubicBezTo>
                  <a:pt x="1119567" y="481709"/>
                  <a:pt x="1122247" y="480111"/>
                  <a:pt x="1124272" y="477566"/>
                </a:cubicBezTo>
                <a:cubicBezTo>
                  <a:pt x="1126296" y="475021"/>
                  <a:pt x="1127725" y="470996"/>
                  <a:pt x="1128618" y="465433"/>
                </a:cubicBezTo>
                <a:cubicBezTo>
                  <a:pt x="1129453" y="459869"/>
                  <a:pt x="1129988" y="452353"/>
                  <a:pt x="1130227" y="442765"/>
                </a:cubicBezTo>
                <a:cubicBezTo>
                  <a:pt x="1130465" y="433177"/>
                  <a:pt x="1130525" y="421044"/>
                  <a:pt x="1130525" y="406365"/>
                </a:cubicBezTo>
                <a:cubicBezTo>
                  <a:pt x="1130525" y="391688"/>
                  <a:pt x="1130405" y="379555"/>
                  <a:pt x="1130227" y="369967"/>
                </a:cubicBezTo>
                <a:cubicBezTo>
                  <a:pt x="1129988" y="360378"/>
                  <a:pt x="1129453" y="352862"/>
                  <a:pt x="1128618" y="347299"/>
                </a:cubicBezTo>
                <a:cubicBezTo>
                  <a:pt x="1127785" y="341795"/>
                  <a:pt x="1126296" y="337710"/>
                  <a:pt x="1124272" y="335166"/>
                </a:cubicBezTo>
                <a:cubicBezTo>
                  <a:pt x="1122247" y="332621"/>
                  <a:pt x="1119567" y="331023"/>
                  <a:pt x="1116232" y="330372"/>
                </a:cubicBezTo>
                <a:cubicBezTo>
                  <a:pt x="1112898" y="329721"/>
                  <a:pt x="1108789" y="329425"/>
                  <a:pt x="1103846" y="329425"/>
                </a:cubicBezTo>
                <a:close/>
                <a:moveTo>
                  <a:pt x="816766" y="329425"/>
                </a:moveTo>
                <a:cubicBezTo>
                  <a:pt x="811823" y="329425"/>
                  <a:pt x="807475" y="329721"/>
                  <a:pt x="804260" y="330372"/>
                </a:cubicBezTo>
                <a:cubicBezTo>
                  <a:pt x="801045" y="331023"/>
                  <a:pt x="798484" y="332621"/>
                  <a:pt x="796579" y="335166"/>
                </a:cubicBezTo>
                <a:cubicBezTo>
                  <a:pt x="794673" y="337710"/>
                  <a:pt x="793184" y="341795"/>
                  <a:pt x="792231" y="347299"/>
                </a:cubicBezTo>
                <a:cubicBezTo>
                  <a:pt x="791279" y="352862"/>
                  <a:pt x="790683" y="360378"/>
                  <a:pt x="790445" y="369967"/>
                </a:cubicBezTo>
                <a:cubicBezTo>
                  <a:pt x="790207" y="379555"/>
                  <a:pt x="790147" y="391688"/>
                  <a:pt x="790147" y="406365"/>
                </a:cubicBezTo>
                <a:cubicBezTo>
                  <a:pt x="790147" y="421044"/>
                  <a:pt x="790266" y="433177"/>
                  <a:pt x="790445" y="442765"/>
                </a:cubicBezTo>
                <a:cubicBezTo>
                  <a:pt x="790683" y="452353"/>
                  <a:pt x="791219" y="459869"/>
                  <a:pt x="792231" y="465433"/>
                </a:cubicBezTo>
                <a:cubicBezTo>
                  <a:pt x="793184" y="470996"/>
                  <a:pt x="794614" y="475021"/>
                  <a:pt x="796579" y="477566"/>
                </a:cubicBezTo>
                <a:cubicBezTo>
                  <a:pt x="798484" y="480111"/>
                  <a:pt x="801045" y="481709"/>
                  <a:pt x="804260" y="482360"/>
                </a:cubicBezTo>
                <a:cubicBezTo>
                  <a:pt x="807475" y="483010"/>
                  <a:pt x="811644" y="483307"/>
                  <a:pt x="816766" y="483307"/>
                </a:cubicBezTo>
                <a:cubicBezTo>
                  <a:pt x="821708" y="483307"/>
                  <a:pt x="825817" y="483010"/>
                  <a:pt x="829151" y="482360"/>
                </a:cubicBezTo>
                <a:cubicBezTo>
                  <a:pt x="832486" y="481709"/>
                  <a:pt x="835166" y="480111"/>
                  <a:pt x="837191" y="477566"/>
                </a:cubicBezTo>
                <a:cubicBezTo>
                  <a:pt x="839215" y="475021"/>
                  <a:pt x="840644" y="470996"/>
                  <a:pt x="841537" y="465433"/>
                </a:cubicBezTo>
                <a:cubicBezTo>
                  <a:pt x="842372" y="459869"/>
                  <a:pt x="842907" y="452353"/>
                  <a:pt x="843146" y="442765"/>
                </a:cubicBezTo>
                <a:cubicBezTo>
                  <a:pt x="843384" y="433177"/>
                  <a:pt x="843444" y="421044"/>
                  <a:pt x="843444" y="406365"/>
                </a:cubicBezTo>
                <a:cubicBezTo>
                  <a:pt x="843444" y="391688"/>
                  <a:pt x="843324" y="379555"/>
                  <a:pt x="843146" y="369967"/>
                </a:cubicBezTo>
                <a:cubicBezTo>
                  <a:pt x="842907" y="360378"/>
                  <a:pt x="842372" y="352862"/>
                  <a:pt x="841537" y="347299"/>
                </a:cubicBezTo>
                <a:cubicBezTo>
                  <a:pt x="840703" y="341795"/>
                  <a:pt x="839215" y="337710"/>
                  <a:pt x="837191" y="335166"/>
                </a:cubicBezTo>
                <a:cubicBezTo>
                  <a:pt x="835166" y="332621"/>
                  <a:pt x="832486" y="331023"/>
                  <a:pt x="829151" y="330372"/>
                </a:cubicBezTo>
                <a:cubicBezTo>
                  <a:pt x="825817" y="329721"/>
                  <a:pt x="821708" y="329425"/>
                  <a:pt x="816766" y="329425"/>
                </a:cubicBezTo>
                <a:close/>
                <a:moveTo>
                  <a:pt x="2242055" y="296577"/>
                </a:moveTo>
                <a:lnTo>
                  <a:pt x="2317205" y="296577"/>
                </a:lnTo>
                <a:cubicBezTo>
                  <a:pt x="2329175" y="296577"/>
                  <a:pt x="2339060" y="298648"/>
                  <a:pt x="2346742" y="302792"/>
                </a:cubicBezTo>
                <a:cubicBezTo>
                  <a:pt x="2354423" y="306935"/>
                  <a:pt x="2360199" y="313090"/>
                  <a:pt x="2363951" y="321316"/>
                </a:cubicBezTo>
                <a:cubicBezTo>
                  <a:pt x="2367702" y="329484"/>
                  <a:pt x="2369548" y="339664"/>
                  <a:pt x="2369548" y="351797"/>
                </a:cubicBezTo>
                <a:cubicBezTo>
                  <a:pt x="2369548" y="362036"/>
                  <a:pt x="2368418" y="370618"/>
                  <a:pt x="2366154" y="377661"/>
                </a:cubicBezTo>
                <a:cubicBezTo>
                  <a:pt x="2363891" y="384704"/>
                  <a:pt x="2360557" y="390268"/>
                  <a:pt x="2356031" y="394410"/>
                </a:cubicBezTo>
                <a:cubicBezTo>
                  <a:pt x="2351505" y="398553"/>
                  <a:pt x="2345729" y="401572"/>
                  <a:pt x="2338702" y="403525"/>
                </a:cubicBezTo>
                <a:lnTo>
                  <a:pt x="2338702" y="404768"/>
                </a:lnTo>
                <a:cubicBezTo>
                  <a:pt x="2346622" y="406485"/>
                  <a:pt x="2352934" y="409384"/>
                  <a:pt x="2357639" y="413528"/>
                </a:cubicBezTo>
                <a:cubicBezTo>
                  <a:pt x="2362343" y="417670"/>
                  <a:pt x="2365856" y="423352"/>
                  <a:pt x="2368060" y="430573"/>
                </a:cubicBezTo>
                <a:cubicBezTo>
                  <a:pt x="2370262" y="437794"/>
                  <a:pt x="2371453" y="446849"/>
                  <a:pt x="2371453" y="457680"/>
                </a:cubicBezTo>
                <a:cubicBezTo>
                  <a:pt x="2371453" y="467030"/>
                  <a:pt x="2370441" y="475376"/>
                  <a:pt x="2368418" y="482714"/>
                </a:cubicBezTo>
                <a:cubicBezTo>
                  <a:pt x="2366393" y="490054"/>
                  <a:pt x="2363177" y="496209"/>
                  <a:pt x="2358770" y="501062"/>
                </a:cubicBezTo>
                <a:cubicBezTo>
                  <a:pt x="2354364" y="505974"/>
                  <a:pt x="2348707" y="509703"/>
                  <a:pt x="2341739" y="512249"/>
                </a:cubicBezTo>
                <a:cubicBezTo>
                  <a:pt x="2334772" y="514793"/>
                  <a:pt x="2326376" y="516096"/>
                  <a:pt x="2316550" y="516096"/>
                </a:cubicBezTo>
                <a:lnTo>
                  <a:pt x="2242055" y="516096"/>
                </a:lnTo>
                <a:close/>
                <a:moveTo>
                  <a:pt x="2077284" y="296577"/>
                </a:moveTo>
                <a:lnTo>
                  <a:pt x="2119682" y="296577"/>
                </a:lnTo>
                <a:lnTo>
                  <a:pt x="2119682" y="432230"/>
                </a:lnTo>
                <a:cubicBezTo>
                  <a:pt x="2119682" y="443711"/>
                  <a:pt x="2119920" y="452885"/>
                  <a:pt x="2120338" y="459692"/>
                </a:cubicBezTo>
                <a:cubicBezTo>
                  <a:pt x="2120754" y="466498"/>
                  <a:pt x="2121647" y="471588"/>
                  <a:pt x="2123077" y="475020"/>
                </a:cubicBezTo>
                <a:cubicBezTo>
                  <a:pt x="2124446" y="478453"/>
                  <a:pt x="2126769" y="480643"/>
                  <a:pt x="2129984" y="481708"/>
                </a:cubicBezTo>
                <a:cubicBezTo>
                  <a:pt x="2133199" y="482774"/>
                  <a:pt x="2137607" y="483306"/>
                  <a:pt x="2143144" y="483306"/>
                </a:cubicBezTo>
                <a:cubicBezTo>
                  <a:pt x="2148683" y="483306"/>
                  <a:pt x="2153029" y="482774"/>
                  <a:pt x="2156126" y="481708"/>
                </a:cubicBezTo>
                <a:cubicBezTo>
                  <a:pt x="2159223" y="480643"/>
                  <a:pt x="2161604" y="478394"/>
                  <a:pt x="2163213" y="475020"/>
                </a:cubicBezTo>
                <a:cubicBezTo>
                  <a:pt x="2164820" y="471647"/>
                  <a:pt x="2165773" y="466498"/>
                  <a:pt x="2166131" y="459692"/>
                </a:cubicBezTo>
                <a:cubicBezTo>
                  <a:pt x="2166429" y="452885"/>
                  <a:pt x="2166606" y="443711"/>
                  <a:pt x="2166606" y="432230"/>
                </a:cubicBezTo>
                <a:lnTo>
                  <a:pt x="2166606" y="296577"/>
                </a:lnTo>
                <a:lnTo>
                  <a:pt x="2209005" y="296577"/>
                </a:lnTo>
                <a:lnTo>
                  <a:pt x="2209005" y="419150"/>
                </a:lnTo>
                <a:cubicBezTo>
                  <a:pt x="2209005" y="435307"/>
                  <a:pt x="2208648" y="449156"/>
                  <a:pt x="2207874" y="460638"/>
                </a:cubicBezTo>
                <a:cubicBezTo>
                  <a:pt x="2207100" y="472121"/>
                  <a:pt x="2205551" y="481649"/>
                  <a:pt x="2203229" y="489225"/>
                </a:cubicBezTo>
                <a:cubicBezTo>
                  <a:pt x="2200847" y="496801"/>
                  <a:pt x="2197334" y="502719"/>
                  <a:pt x="2192630" y="506921"/>
                </a:cubicBezTo>
                <a:cubicBezTo>
                  <a:pt x="2187925" y="511182"/>
                  <a:pt x="2181553" y="514201"/>
                  <a:pt x="2173514" y="516036"/>
                </a:cubicBezTo>
                <a:cubicBezTo>
                  <a:pt x="2165475" y="517811"/>
                  <a:pt x="2155352" y="518758"/>
                  <a:pt x="2143144" y="518758"/>
                </a:cubicBezTo>
                <a:cubicBezTo>
                  <a:pt x="2130937" y="518758"/>
                  <a:pt x="2120814" y="517871"/>
                  <a:pt x="2112774" y="516036"/>
                </a:cubicBezTo>
                <a:cubicBezTo>
                  <a:pt x="2104736" y="514261"/>
                  <a:pt x="2098364" y="511182"/>
                  <a:pt x="2093660" y="506921"/>
                </a:cubicBezTo>
                <a:cubicBezTo>
                  <a:pt x="2088955" y="502660"/>
                  <a:pt x="2085441" y="496741"/>
                  <a:pt x="2083060" y="489225"/>
                </a:cubicBezTo>
                <a:cubicBezTo>
                  <a:pt x="2080678" y="481649"/>
                  <a:pt x="2079130" y="472180"/>
                  <a:pt x="2078416" y="460638"/>
                </a:cubicBezTo>
                <a:cubicBezTo>
                  <a:pt x="2077641" y="449156"/>
                  <a:pt x="2077284" y="435307"/>
                  <a:pt x="2077284" y="419150"/>
                </a:cubicBezTo>
                <a:close/>
                <a:moveTo>
                  <a:pt x="1911264" y="296577"/>
                </a:moveTo>
                <a:lnTo>
                  <a:pt x="1953365" y="296577"/>
                </a:lnTo>
                <a:lnTo>
                  <a:pt x="1953365" y="386599"/>
                </a:lnTo>
                <a:lnTo>
                  <a:pt x="2002194" y="386599"/>
                </a:lnTo>
                <a:lnTo>
                  <a:pt x="2002194" y="296577"/>
                </a:lnTo>
                <a:lnTo>
                  <a:pt x="2044593" y="296577"/>
                </a:lnTo>
                <a:lnTo>
                  <a:pt x="2044593" y="516213"/>
                </a:lnTo>
                <a:lnTo>
                  <a:pt x="2002194" y="516213"/>
                </a:lnTo>
                <a:lnTo>
                  <a:pt x="2002194" y="424299"/>
                </a:lnTo>
                <a:lnTo>
                  <a:pt x="1953365" y="424299"/>
                </a:lnTo>
                <a:lnTo>
                  <a:pt x="1953365" y="516213"/>
                </a:lnTo>
                <a:lnTo>
                  <a:pt x="1911264" y="516213"/>
                </a:lnTo>
                <a:close/>
                <a:moveTo>
                  <a:pt x="1728510" y="296577"/>
                </a:moveTo>
                <a:lnTo>
                  <a:pt x="1770611" y="296577"/>
                </a:lnTo>
                <a:lnTo>
                  <a:pt x="1770611" y="479815"/>
                </a:lnTo>
                <a:lnTo>
                  <a:pt x="1829683" y="479815"/>
                </a:lnTo>
                <a:lnTo>
                  <a:pt x="1829683" y="516213"/>
                </a:lnTo>
                <a:lnTo>
                  <a:pt x="1728510" y="516213"/>
                </a:lnTo>
                <a:close/>
                <a:moveTo>
                  <a:pt x="1600063" y="296577"/>
                </a:moveTo>
                <a:lnTo>
                  <a:pt x="1660147" y="296577"/>
                </a:lnTo>
                <a:lnTo>
                  <a:pt x="1708322" y="516213"/>
                </a:lnTo>
                <a:lnTo>
                  <a:pt x="1665626" y="516213"/>
                </a:lnTo>
                <a:lnTo>
                  <a:pt x="1655980" y="468333"/>
                </a:lnTo>
                <a:lnTo>
                  <a:pt x="1603279" y="468333"/>
                </a:lnTo>
                <a:lnTo>
                  <a:pt x="1593334" y="516213"/>
                </a:lnTo>
                <a:lnTo>
                  <a:pt x="1551591" y="516213"/>
                </a:lnTo>
                <a:close/>
                <a:moveTo>
                  <a:pt x="1360501" y="296577"/>
                </a:moveTo>
                <a:lnTo>
                  <a:pt x="1402899" y="296577"/>
                </a:lnTo>
                <a:lnTo>
                  <a:pt x="1402899" y="516213"/>
                </a:lnTo>
                <a:lnTo>
                  <a:pt x="1360501" y="516213"/>
                </a:lnTo>
                <a:close/>
                <a:moveTo>
                  <a:pt x="916329" y="296577"/>
                </a:moveTo>
                <a:lnTo>
                  <a:pt x="958430" y="296577"/>
                </a:lnTo>
                <a:lnTo>
                  <a:pt x="958430" y="479815"/>
                </a:lnTo>
                <a:lnTo>
                  <a:pt x="1017502" y="479815"/>
                </a:lnTo>
                <a:lnTo>
                  <a:pt x="1017502" y="516213"/>
                </a:lnTo>
                <a:lnTo>
                  <a:pt x="916329" y="516213"/>
                </a:lnTo>
                <a:close/>
                <a:moveTo>
                  <a:pt x="583217" y="296577"/>
                </a:moveTo>
                <a:lnTo>
                  <a:pt x="624960" y="296577"/>
                </a:lnTo>
                <a:lnTo>
                  <a:pt x="675398" y="418498"/>
                </a:lnTo>
                <a:lnTo>
                  <a:pt x="677006" y="418498"/>
                </a:lnTo>
                <a:lnTo>
                  <a:pt x="677006" y="296577"/>
                </a:lnTo>
                <a:lnTo>
                  <a:pt x="717499" y="296577"/>
                </a:lnTo>
                <a:lnTo>
                  <a:pt x="717499" y="516213"/>
                </a:lnTo>
                <a:lnTo>
                  <a:pt x="678614" y="516213"/>
                </a:lnTo>
                <a:lnTo>
                  <a:pt x="624960" y="385355"/>
                </a:lnTo>
                <a:lnTo>
                  <a:pt x="623353" y="385355"/>
                </a:lnTo>
                <a:lnTo>
                  <a:pt x="623353" y="516213"/>
                </a:lnTo>
                <a:lnTo>
                  <a:pt x="583217" y="516213"/>
                </a:lnTo>
                <a:close/>
                <a:moveTo>
                  <a:pt x="415588" y="296577"/>
                </a:moveTo>
                <a:lnTo>
                  <a:pt x="457689" y="296577"/>
                </a:lnTo>
                <a:lnTo>
                  <a:pt x="457689" y="386599"/>
                </a:lnTo>
                <a:lnTo>
                  <a:pt x="506519" y="386599"/>
                </a:lnTo>
                <a:lnTo>
                  <a:pt x="506519" y="296577"/>
                </a:lnTo>
                <a:lnTo>
                  <a:pt x="548917" y="296577"/>
                </a:lnTo>
                <a:lnTo>
                  <a:pt x="548917" y="516213"/>
                </a:lnTo>
                <a:lnTo>
                  <a:pt x="506519" y="516213"/>
                </a:lnTo>
                <a:lnTo>
                  <a:pt x="506519" y="424299"/>
                </a:lnTo>
                <a:lnTo>
                  <a:pt x="457689" y="424299"/>
                </a:lnTo>
                <a:lnTo>
                  <a:pt x="457689" y="516213"/>
                </a:lnTo>
                <a:lnTo>
                  <a:pt x="415588" y="516213"/>
                </a:lnTo>
                <a:close/>
                <a:moveTo>
                  <a:pt x="149346" y="296577"/>
                </a:moveTo>
                <a:lnTo>
                  <a:pt x="257902" y="296577"/>
                </a:lnTo>
                <a:lnTo>
                  <a:pt x="257902" y="332030"/>
                </a:lnTo>
                <a:lnTo>
                  <a:pt x="191446" y="332030"/>
                </a:lnTo>
                <a:lnTo>
                  <a:pt x="191446" y="387545"/>
                </a:lnTo>
                <a:lnTo>
                  <a:pt x="248910" y="387545"/>
                </a:lnTo>
                <a:lnTo>
                  <a:pt x="248910" y="422642"/>
                </a:lnTo>
                <a:lnTo>
                  <a:pt x="191446" y="422642"/>
                </a:lnTo>
                <a:lnTo>
                  <a:pt x="191446" y="480762"/>
                </a:lnTo>
                <a:lnTo>
                  <a:pt x="257902" y="480762"/>
                </a:lnTo>
                <a:lnTo>
                  <a:pt x="257902" y="516213"/>
                </a:lnTo>
                <a:lnTo>
                  <a:pt x="149346" y="516213"/>
                </a:lnTo>
                <a:close/>
                <a:moveTo>
                  <a:pt x="0" y="296577"/>
                </a:moveTo>
                <a:lnTo>
                  <a:pt x="128446" y="296577"/>
                </a:lnTo>
                <a:lnTo>
                  <a:pt x="128446" y="332976"/>
                </a:lnTo>
                <a:lnTo>
                  <a:pt x="85392" y="332976"/>
                </a:lnTo>
                <a:lnTo>
                  <a:pt x="85392" y="516213"/>
                </a:lnTo>
                <a:lnTo>
                  <a:pt x="43054" y="516213"/>
                </a:lnTo>
                <a:lnTo>
                  <a:pt x="43054" y="332976"/>
                </a:lnTo>
                <a:lnTo>
                  <a:pt x="0" y="332976"/>
                </a:lnTo>
                <a:close/>
                <a:moveTo>
                  <a:pt x="1103846" y="294091"/>
                </a:moveTo>
                <a:cubicBezTo>
                  <a:pt x="1116053" y="294091"/>
                  <a:pt x="1125939" y="294860"/>
                  <a:pt x="1134216" y="296340"/>
                </a:cubicBezTo>
                <a:cubicBezTo>
                  <a:pt x="1142434" y="297820"/>
                  <a:pt x="1149162" y="300779"/>
                  <a:pt x="1154284" y="305100"/>
                </a:cubicBezTo>
                <a:cubicBezTo>
                  <a:pt x="1159405" y="309480"/>
                  <a:pt x="1163335" y="315812"/>
                  <a:pt x="1166015" y="324099"/>
                </a:cubicBezTo>
                <a:cubicBezTo>
                  <a:pt x="1168694" y="332384"/>
                  <a:pt x="1170540" y="343274"/>
                  <a:pt x="1171493" y="356650"/>
                </a:cubicBezTo>
                <a:cubicBezTo>
                  <a:pt x="1172446" y="370086"/>
                  <a:pt x="1172923" y="386657"/>
                  <a:pt x="1172923" y="406425"/>
                </a:cubicBezTo>
                <a:cubicBezTo>
                  <a:pt x="1172923" y="426193"/>
                  <a:pt x="1172446" y="442824"/>
                  <a:pt x="1171493" y="456200"/>
                </a:cubicBezTo>
                <a:cubicBezTo>
                  <a:pt x="1170540" y="469635"/>
                  <a:pt x="1168694" y="480466"/>
                  <a:pt x="1166015" y="488752"/>
                </a:cubicBezTo>
                <a:cubicBezTo>
                  <a:pt x="1163335" y="497037"/>
                  <a:pt x="1159405" y="503371"/>
                  <a:pt x="1154284" y="507751"/>
                </a:cubicBezTo>
                <a:cubicBezTo>
                  <a:pt x="1149162" y="512130"/>
                  <a:pt x="1142434" y="515030"/>
                  <a:pt x="1134216" y="516509"/>
                </a:cubicBezTo>
                <a:cubicBezTo>
                  <a:pt x="1125998" y="517990"/>
                  <a:pt x="1115876" y="518758"/>
                  <a:pt x="1103846" y="518758"/>
                </a:cubicBezTo>
                <a:cubicBezTo>
                  <a:pt x="1091640" y="518758"/>
                  <a:pt x="1081397" y="517990"/>
                  <a:pt x="1073180" y="516509"/>
                </a:cubicBezTo>
                <a:cubicBezTo>
                  <a:pt x="1064961" y="515030"/>
                  <a:pt x="1058292" y="512130"/>
                  <a:pt x="1053290" y="507751"/>
                </a:cubicBezTo>
                <a:cubicBezTo>
                  <a:pt x="1048228" y="503371"/>
                  <a:pt x="1044417" y="497037"/>
                  <a:pt x="1041738" y="488752"/>
                </a:cubicBezTo>
                <a:cubicBezTo>
                  <a:pt x="1039057" y="480466"/>
                  <a:pt x="1037211" y="469575"/>
                  <a:pt x="1036259" y="456200"/>
                </a:cubicBezTo>
                <a:cubicBezTo>
                  <a:pt x="1035306" y="442824"/>
                  <a:pt x="1034830" y="426193"/>
                  <a:pt x="1034830" y="406425"/>
                </a:cubicBezTo>
                <a:cubicBezTo>
                  <a:pt x="1034830" y="386657"/>
                  <a:pt x="1035306" y="370026"/>
                  <a:pt x="1036259" y="356650"/>
                </a:cubicBezTo>
                <a:cubicBezTo>
                  <a:pt x="1037211" y="343274"/>
                  <a:pt x="1039057" y="332384"/>
                  <a:pt x="1041738" y="324099"/>
                </a:cubicBezTo>
                <a:cubicBezTo>
                  <a:pt x="1044417" y="315812"/>
                  <a:pt x="1048288" y="309480"/>
                  <a:pt x="1053290" y="305100"/>
                </a:cubicBezTo>
                <a:cubicBezTo>
                  <a:pt x="1058292" y="300720"/>
                  <a:pt x="1064961" y="297820"/>
                  <a:pt x="1073180" y="296340"/>
                </a:cubicBezTo>
                <a:cubicBezTo>
                  <a:pt x="1081397" y="294860"/>
                  <a:pt x="1091640" y="294091"/>
                  <a:pt x="1103846" y="294091"/>
                </a:cubicBezTo>
                <a:close/>
                <a:moveTo>
                  <a:pt x="816766" y="294091"/>
                </a:moveTo>
                <a:cubicBezTo>
                  <a:pt x="828972" y="294091"/>
                  <a:pt x="838858" y="294860"/>
                  <a:pt x="847135" y="296340"/>
                </a:cubicBezTo>
                <a:cubicBezTo>
                  <a:pt x="855352" y="297820"/>
                  <a:pt x="862081" y="300779"/>
                  <a:pt x="867203" y="305100"/>
                </a:cubicBezTo>
                <a:cubicBezTo>
                  <a:pt x="872324" y="309480"/>
                  <a:pt x="876254" y="315812"/>
                  <a:pt x="878934" y="324099"/>
                </a:cubicBezTo>
                <a:cubicBezTo>
                  <a:pt x="881613" y="332384"/>
                  <a:pt x="883459" y="343274"/>
                  <a:pt x="884412" y="356650"/>
                </a:cubicBezTo>
                <a:cubicBezTo>
                  <a:pt x="885365" y="370086"/>
                  <a:pt x="885842" y="386657"/>
                  <a:pt x="885842" y="406425"/>
                </a:cubicBezTo>
                <a:cubicBezTo>
                  <a:pt x="885842" y="426193"/>
                  <a:pt x="885365" y="442824"/>
                  <a:pt x="884412" y="456200"/>
                </a:cubicBezTo>
                <a:cubicBezTo>
                  <a:pt x="883459" y="469635"/>
                  <a:pt x="881613" y="480466"/>
                  <a:pt x="878934" y="488752"/>
                </a:cubicBezTo>
                <a:cubicBezTo>
                  <a:pt x="876254" y="497037"/>
                  <a:pt x="872324" y="503371"/>
                  <a:pt x="867203" y="507751"/>
                </a:cubicBezTo>
                <a:cubicBezTo>
                  <a:pt x="862081" y="512130"/>
                  <a:pt x="855352" y="515030"/>
                  <a:pt x="847135" y="516509"/>
                </a:cubicBezTo>
                <a:cubicBezTo>
                  <a:pt x="838917" y="517990"/>
                  <a:pt x="828795" y="518758"/>
                  <a:pt x="816766" y="518758"/>
                </a:cubicBezTo>
                <a:cubicBezTo>
                  <a:pt x="804559" y="518758"/>
                  <a:pt x="794316" y="517990"/>
                  <a:pt x="786099" y="516509"/>
                </a:cubicBezTo>
                <a:cubicBezTo>
                  <a:pt x="777880" y="515030"/>
                  <a:pt x="771211" y="512130"/>
                  <a:pt x="766209" y="507751"/>
                </a:cubicBezTo>
                <a:cubicBezTo>
                  <a:pt x="761147" y="503371"/>
                  <a:pt x="757336" y="497037"/>
                  <a:pt x="754657" y="488752"/>
                </a:cubicBezTo>
                <a:cubicBezTo>
                  <a:pt x="751976" y="480466"/>
                  <a:pt x="750130" y="469575"/>
                  <a:pt x="749178" y="456200"/>
                </a:cubicBezTo>
                <a:cubicBezTo>
                  <a:pt x="748225" y="442824"/>
                  <a:pt x="747749" y="426193"/>
                  <a:pt x="747749" y="406425"/>
                </a:cubicBezTo>
                <a:cubicBezTo>
                  <a:pt x="747749" y="386657"/>
                  <a:pt x="748225" y="370026"/>
                  <a:pt x="749178" y="356650"/>
                </a:cubicBezTo>
                <a:cubicBezTo>
                  <a:pt x="750130" y="343274"/>
                  <a:pt x="751976" y="332384"/>
                  <a:pt x="754657" y="324099"/>
                </a:cubicBezTo>
                <a:cubicBezTo>
                  <a:pt x="757336" y="315812"/>
                  <a:pt x="761207" y="309480"/>
                  <a:pt x="766209" y="305100"/>
                </a:cubicBezTo>
                <a:cubicBezTo>
                  <a:pt x="771211" y="300720"/>
                  <a:pt x="777880" y="297820"/>
                  <a:pt x="786099" y="296340"/>
                </a:cubicBezTo>
                <a:cubicBezTo>
                  <a:pt x="794316" y="294860"/>
                  <a:pt x="804559" y="294091"/>
                  <a:pt x="816766" y="294091"/>
                </a:cubicBezTo>
                <a:close/>
                <a:moveTo>
                  <a:pt x="1501393" y="293972"/>
                </a:moveTo>
                <a:cubicBezTo>
                  <a:pt x="1505918" y="293972"/>
                  <a:pt x="1510564" y="294208"/>
                  <a:pt x="1515387" y="294623"/>
                </a:cubicBezTo>
                <a:cubicBezTo>
                  <a:pt x="1520210" y="295037"/>
                  <a:pt x="1524676" y="295629"/>
                  <a:pt x="1528904" y="296398"/>
                </a:cubicBezTo>
                <a:cubicBezTo>
                  <a:pt x="1533073" y="297168"/>
                  <a:pt x="1536467" y="298056"/>
                  <a:pt x="1539028" y="299122"/>
                </a:cubicBezTo>
                <a:lnTo>
                  <a:pt x="1539028" y="331673"/>
                </a:lnTo>
                <a:cubicBezTo>
                  <a:pt x="1535156" y="331259"/>
                  <a:pt x="1531465" y="330845"/>
                  <a:pt x="1527952" y="330431"/>
                </a:cubicBezTo>
                <a:cubicBezTo>
                  <a:pt x="1524439" y="330016"/>
                  <a:pt x="1521163" y="329720"/>
                  <a:pt x="1518126" y="329661"/>
                </a:cubicBezTo>
                <a:cubicBezTo>
                  <a:pt x="1515149" y="329542"/>
                  <a:pt x="1512469" y="329483"/>
                  <a:pt x="1510087" y="329483"/>
                </a:cubicBezTo>
                <a:cubicBezTo>
                  <a:pt x="1503417" y="329483"/>
                  <a:pt x="1498059" y="329956"/>
                  <a:pt x="1493890" y="330904"/>
                </a:cubicBezTo>
                <a:cubicBezTo>
                  <a:pt x="1489721" y="331851"/>
                  <a:pt x="1486328" y="333744"/>
                  <a:pt x="1483766" y="336526"/>
                </a:cubicBezTo>
                <a:cubicBezTo>
                  <a:pt x="1481206" y="339308"/>
                  <a:pt x="1479360" y="343510"/>
                  <a:pt x="1478288" y="349133"/>
                </a:cubicBezTo>
                <a:cubicBezTo>
                  <a:pt x="1477216" y="354756"/>
                  <a:pt x="1476502" y="362213"/>
                  <a:pt x="1476204" y="371504"/>
                </a:cubicBezTo>
                <a:cubicBezTo>
                  <a:pt x="1475906" y="380737"/>
                  <a:pt x="1475727" y="392397"/>
                  <a:pt x="1475727" y="406484"/>
                </a:cubicBezTo>
                <a:cubicBezTo>
                  <a:pt x="1475727" y="420570"/>
                  <a:pt x="1475906" y="432170"/>
                  <a:pt x="1476204" y="441462"/>
                </a:cubicBezTo>
                <a:cubicBezTo>
                  <a:pt x="1476502" y="450695"/>
                  <a:pt x="1477216" y="458152"/>
                  <a:pt x="1478288" y="463833"/>
                </a:cubicBezTo>
                <a:cubicBezTo>
                  <a:pt x="1479360" y="469456"/>
                  <a:pt x="1481146" y="473718"/>
                  <a:pt x="1483587" y="476618"/>
                </a:cubicBezTo>
                <a:cubicBezTo>
                  <a:pt x="1486029" y="479458"/>
                  <a:pt x="1489364" y="481353"/>
                  <a:pt x="1493532" y="482181"/>
                </a:cubicBezTo>
                <a:cubicBezTo>
                  <a:pt x="1497701" y="483010"/>
                  <a:pt x="1503239" y="483424"/>
                  <a:pt x="1510087" y="483424"/>
                </a:cubicBezTo>
                <a:cubicBezTo>
                  <a:pt x="1515863" y="483424"/>
                  <a:pt x="1521223" y="483187"/>
                  <a:pt x="1526165" y="482773"/>
                </a:cubicBezTo>
                <a:cubicBezTo>
                  <a:pt x="1531108" y="482359"/>
                  <a:pt x="1535574" y="481826"/>
                  <a:pt x="1539683" y="481175"/>
                </a:cubicBezTo>
                <a:lnTo>
                  <a:pt x="1539683" y="513727"/>
                </a:lnTo>
                <a:cubicBezTo>
                  <a:pt x="1536705" y="514792"/>
                  <a:pt x="1533013" y="515680"/>
                  <a:pt x="1528606" y="516450"/>
                </a:cubicBezTo>
                <a:cubicBezTo>
                  <a:pt x="1524200" y="517159"/>
                  <a:pt x="1519674" y="517751"/>
                  <a:pt x="1514970" y="518165"/>
                </a:cubicBezTo>
                <a:cubicBezTo>
                  <a:pt x="1510266" y="518580"/>
                  <a:pt x="1505740" y="518816"/>
                  <a:pt x="1501452" y="518816"/>
                </a:cubicBezTo>
                <a:lnTo>
                  <a:pt x="1501452" y="518757"/>
                </a:lnTo>
                <a:cubicBezTo>
                  <a:pt x="1489244" y="518757"/>
                  <a:pt x="1479003" y="517574"/>
                  <a:pt x="1470784" y="515266"/>
                </a:cubicBezTo>
                <a:cubicBezTo>
                  <a:pt x="1462567" y="512957"/>
                  <a:pt x="1455958" y="509169"/>
                  <a:pt x="1451015" y="504080"/>
                </a:cubicBezTo>
                <a:cubicBezTo>
                  <a:pt x="1446072" y="498990"/>
                  <a:pt x="1442321" y="492124"/>
                  <a:pt x="1439760" y="483483"/>
                </a:cubicBezTo>
                <a:cubicBezTo>
                  <a:pt x="1437200" y="474842"/>
                  <a:pt x="1435473" y="464189"/>
                  <a:pt x="1434638" y="451404"/>
                </a:cubicBezTo>
                <a:cubicBezTo>
                  <a:pt x="1433805" y="438621"/>
                  <a:pt x="1433329" y="423647"/>
                  <a:pt x="1433329" y="406365"/>
                </a:cubicBezTo>
                <a:cubicBezTo>
                  <a:pt x="1433329" y="389083"/>
                  <a:pt x="1433745" y="373872"/>
                  <a:pt x="1434638" y="361207"/>
                </a:cubicBezTo>
                <a:cubicBezTo>
                  <a:pt x="1435473" y="348541"/>
                  <a:pt x="1437200" y="337888"/>
                  <a:pt x="1439760" y="329306"/>
                </a:cubicBezTo>
                <a:cubicBezTo>
                  <a:pt x="1442321" y="320665"/>
                  <a:pt x="1446132" y="313800"/>
                  <a:pt x="1451133" y="308532"/>
                </a:cubicBezTo>
                <a:cubicBezTo>
                  <a:pt x="1456135" y="303324"/>
                  <a:pt x="1462746" y="299595"/>
                  <a:pt x="1470904" y="297346"/>
                </a:cubicBezTo>
                <a:cubicBezTo>
                  <a:pt x="1479062" y="295097"/>
                  <a:pt x="1489186" y="293972"/>
                  <a:pt x="1501393" y="293972"/>
                </a:cubicBezTo>
                <a:close/>
                <a:moveTo>
                  <a:pt x="1273025" y="293972"/>
                </a:moveTo>
                <a:cubicBezTo>
                  <a:pt x="1278622" y="293972"/>
                  <a:pt x="1284696" y="294208"/>
                  <a:pt x="1291306" y="294741"/>
                </a:cubicBezTo>
                <a:cubicBezTo>
                  <a:pt x="1297916" y="295273"/>
                  <a:pt x="1304407" y="295984"/>
                  <a:pt x="1310719" y="296991"/>
                </a:cubicBezTo>
                <a:cubicBezTo>
                  <a:pt x="1317031" y="297997"/>
                  <a:pt x="1322629" y="299062"/>
                  <a:pt x="1327571" y="300364"/>
                </a:cubicBezTo>
                <a:lnTo>
                  <a:pt x="1327571" y="333213"/>
                </a:lnTo>
                <a:cubicBezTo>
                  <a:pt x="1321378" y="332147"/>
                  <a:pt x="1315661" y="331377"/>
                  <a:pt x="1310362" y="330845"/>
                </a:cubicBezTo>
                <a:cubicBezTo>
                  <a:pt x="1305121" y="330312"/>
                  <a:pt x="1300536" y="329957"/>
                  <a:pt x="1296547" y="329720"/>
                </a:cubicBezTo>
                <a:cubicBezTo>
                  <a:pt x="1292557" y="329484"/>
                  <a:pt x="1289102" y="329425"/>
                  <a:pt x="1286125" y="329425"/>
                </a:cubicBezTo>
                <a:cubicBezTo>
                  <a:pt x="1278206" y="329425"/>
                  <a:pt x="1271537" y="329661"/>
                  <a:pt x="1266236" y="330193"/>
                </a:cubicBezTo>
                <a:cubicBezTo>
                  <a:pt x="1260878" y="330726"/>
                  <a:pt x="1256470" y="332147"/>
                  <a:pt x="1253077" y="334514"/>
                </a:cubicBezTo>
                <a:cubicBezTo>
                  <a:pt x="1249622" y="336882"/>
                  <a:pt x="1247062" y="340729"/>
                  <a:pt x="1245394" y="346174"/>
                </a:cubicBezTo>
                <a:cubicBezTo>
                  <a:pt x="1243667" y="351619"/>
                  <a:pt x="1242476" y="359136"/>
                  <a:pt x="1241881" y="368842"/>
                </a:cubicBezTo>
                <a:cubicBezTo>
                  <a:pt x="1241226" y="378548"/>
                  <a:pt x="1240928" y="391037"/>
                  <a:pt x="1240928" y="406365"/>
                </a:cubicBezTo>
                <a:cubicBezTo>
                  <a:pt x="1240928" y="420629"/>
                  <a:pt x="1241167" y="432466"/>
                  <a:pt x="1241583" y="441935"/>
                </a:cubicBezTo>
                <a:cubicBezTo>
                  <a:pt x="1242000" y="451405"/>
                  <a:pt x="1242893" y="459040"/>
                  <a:pt x="1244144" y="464781"/>
                </a:cubicBezTo>
                <a:cubicBezTo>
                  <a:pt x="1245394" y="470523"/>
                  <a:pt x="1247240" y="474784"/>
                  <a:pt x="1249622" y="477566"/>
                </a:cubicBezTo>
                <a:cubicBezTo>
                  <a:pt x="1252005" y="480347"/>
                  <a:pt x="1254981" y="482182"/>
                  <a:pt x="1258614" y="483188"/>
                </a:cubicBezTo>
                <a:cubicBezTo>
                  <a:pt x="1262247" y="484135"/>
                  <a:pt x="1266772" y="484608"/>
                  <a:pt x="1272132" y="484608"/>
                </a:cubicBezTo>
                <a:cubicBezTo>
                  <a:pt x="1274037" y="484608"/>
                  <a:pt x="1276062" y="484608"/>
                  <a:pt x="1278087" y="484431"/>
                </a:cubicBezTo>
                <a:cubicBezTo>
                  <a:pt x="1280111" y="484312"/>
                  <a:pt x="1282077" y="484135"/>
                  <a:pt x="1284042" y="483780"/>
                </a:cubicBezTo>
                <a:cubicBezTo>
                  <a:pt x="1285947" y="483483"/>
                  <a:pt x="1287793" y="483188"/>
                  <a:pt x="1289520" y="483010"/>
                </a:cubicBezTo>
                <a:lnTo>
                  <a:pt x="1289520" y="424890"/>
                </a:lnTo>
                <a:lnTo>
                  <a:pt x="1267368" y="424890"/>
                </a:lnTo>
                <a:lnTo>
                  <a:pt x="1267368" y="390740"/>
                </a:lnTo>
                <a:lnTo>
                  <a:pt x="1328405" y="390740"/>
                </a:lnTo>
                <a:lnTo>
                  <a:pt x="1328405" y="512366"/>
                </a:lnTo>
                <a:cubicBezTo>
                  <a:pt x="1323046" y="513669"/>
                  <a:pt x="1317031" y="514734"/>
                  <a:pt x="1310422" y="515740"/>
                </a:cubicBezTo>
                <a:cubicBezTo>
                  <a:pt x="1303751" y="516687"/>
                  <a:pt x="1297082" y="517457"/>
                  <a:pt x="1290353" y="517989"/>
                </a:cubicBezTo>
                <a:cubicBezTo>
                  <a:pt x="1283624" y="518522"/>
                  <a:pt x="1277253" y="518758"/>
                  <a:pt x="1271239" y="518758"/>
                </a:cubicBezTo>
                <a:lnTo>
                  <a:pt x="1271179" y="518758"/>
                </a:lnTo>
                <a:cubicBezTo>
                  <a:pt x="1259388" y="518758"/>
                  <a:pt x="1249324" y="517811"/>
                  <a:pt x="1240988" y="515859"/>
                </a:cubicBezTo>
                <a:cubicBezTo>
                  <a:pt x="1232652" y="513964"/>
                  <a:pt x="1225744" y="510531"/>
                  <a:pt x="1220265" y="505620"/>
                </a:cubicBezTo>
                <a:cubicBezTo>
                  <a:pt x="1214787" y="500707"/>
                  <a:pt x="1210499" y="494078"/>
                  <a:pt x="1207402" y="485673"/>
                </a:cubicBezTo>
                <a:cubicBezTo>
                  <a:pt x="1204306" y="477269"/>
                  <a:pt x="1202162" y="466498"/>
                  <a:pt x="1200971" y="453417"/>
                </a:cubicBezTo>
                <a:cubicBezTo>
                  <a:pt x="1199780" y="440337"/>
                  <a:pt x="1199185" y="424653"/>
                  <a:pt x="1199185" y="406306"/>
                </a:cubicBezTo>
                <a:cubicBezTo>
                  <a:pt x="1199185" y="387958"/>
                  <a:pt x="1199840" y="372038"/>
                  <a:pt x="1201090" y="359076"/>
                </a:cubicBezTo>
                <a:cubicBezTo>
                  <a:pt x="1202401" y="346115"/>
                  <a:pt x="1204603" y="335343"/>
                  <a:pt x="1207819" y="326821"/>
                </a:cubicBezTo>
                <a:cubicBezTo>
                  <a:pt x="1211035" y="318297"/>
                  <a:pt x="1215441" y="311668"/>
                  <a:pt x="1220979" y="306874"/>
                </a:cubicBezTo>
                <a:cubicBezTo>
                  <a:pt x="1226518" y="302080"/>
                  <a:pt x="1233603" y="298708"/>
                  <a:pt x="1242179" y="296813"/>
                </a:cubicBezTo>
                <a:cubicBezTo>
                  <a:pt x="1250754" y="294919"/>
                  <a:pt x="1260996" y="293972"/>
                  <a:pt x="1273025" y="293972"/>
                </a:cubicBezTo>
                <a:close/>
                <a:moveTo>
                  <a:pt x="350679" y="293972"/>
                </a:moveTo>
                <a:cubicBezTo>
                  <a:pt x="355205" y="293972"/>
                  <a:pt x="359850" y="294208"/>
                  <a:pt x="364673" y="294623"/>
                </a:cubicBezTo>
                <a:cubicBezTo>
                  <a:pt x="369496" y="295037"/>
                  <a:pt x="373962" y="295629"/>
                  <a:pt x="378190" y="296398"/>
                </a:cubicBezTo>
                <a:cubicBezTo>
                  <a:pt x="382359" y="297168"/>
                  <a:pt x="385753" y="298056"/>
                  <a:pt x="388314" y="299122"/>
                </a:cubicBezTo>
                <a:lnTo>
                  <a:pt x="388314" y="331673"/>
                </a:lnTo>
                <a:cubicBezTo>
                  <a:pt x="384443" y="331259"/>
                  <a:pt x="380751" y="330845"/>
                  <a:pt x="377238" y="330431"/>
                </a:cubicBezTo>
                <a:cubicBezTo>
                  <a:pt x="373725" y="330016"/>
                  <a:pt x="370449" y="329720"/>
                  <a:pt x="367412" y="329661"/>
                </a:cubicBezTo>
                <a:cubicBezTo>
                  <a:pt x="364435" y="329542"/>
                  <a:pt x="361755" y="329483"/>
                  <a:pt x="359373" y="329483"/>
                </a:cubicBezTo>
                <a:cubicBezTo>
                  <a:pt x="352703" y="329483"/>
                  <a:pt x="347345" y="329956"/>
                  <a:pt x="343176" y="330904"/>
                </a:cubicBezTo>
                <a:cubicBezTo>
                  <a:pt x="339007" y="331851"/>
                  <a:pt x="335614" y="333744"/>
                  <a:pt x="333052" y="336526"/>
                </a:cubicBezTo>
                <a:cubicBezTo>
                  <a:pt x="330492" y="339308"/>
                  <a:pt x="328646" y="343510"/>
                  <a:pt x="327574" y="349133"/>
                </a:cubicBezTo>
                <a:cubicBezTo>
                  <a:pt x="326502" y="354756"/>
                  <a:pt x="325788" y="362213"/>
                  <a:pt x="325490" y="371504"/>
                </a:cubicBezTo>
                <a:cubicBezTo>
                  <a:pt x="325192" y="380737"/>
                  <a:pt x="325013" y="392397"/>
                  <a:pt x="325013" y="406484"/>
                </a:cubicBezTo>
                <a:cubicBezTo>
                  <a:pt x="325013" y="420570"/>
                  <a:pt x="325192" y="432170"/>
                  <a:pt x="325490" y="441462"/>
                </a:cubicBezTo>
                <a:cubicBezTo>
                  <a:pt x="325788" y="450695"/>
                  <a:pt x="326502" y="458152"/>
                  <a:pt x="327574" y="463833"/>
                </a:cubicBezTo>
                <a:cubicBezTo>
                  <a:pt x="328646" y="469456"/>
                  <a:pt x="330432" y="473718"/>
                  <a:pt x="332873" y="476618"/>
                </a:cubicBezTo>
                <a:cubicBezTo>
                  <a:pt x="335315" y="479458"/>
                  <a:pt x="338651" y="481353"/>
                  <a:pt x="342818" y="482181"/>
                </a:cubicBezTo>
                <a:cubicBezTo>
                  <a:pt x="346987" y="483010"/>
                  <a:pt x="352525" y="483424"/>
                  <a:pt x="359373" y="483424"/>
                </a:cubicBezTo>
                <a:cubicBezTo>
                  <a:pt x="365149" y="483424"/>
                  <a:pt x="370509" y="483187"/>
                  <a:pt x="375451" y="482773"/>
                </a:cubicBezTo>
                <a:cubicBezTo>
                  <a:pt x="380394" y="482359"/>
                  <a:pt x="384860" y="481826"/>
                  <a:pt x="388969" y="481175"/>
                </a:cubicBezTo>
                <a:lnTo>
                  <a:pt x="388969" y="513727"/>
                </a:lnTo>
                <a:cubicBezTo>
                  <a:pt x="385991" y="514792"/>
                  <a:pt x="382299" y="515680"/>
                  <a:pt x="377892" y="516450"/>
                </a:cubicBezTo>
                <a:cubicBezTo>
                  <a:pt x="373486" y="517159"/>
                  <a:pt x="368960" y="517751"/>
                  <a:pt x="364256" y="518165"/>
                </a:cubicBezTo>
                <a:cubicBezTo>
                  <a:pt x="359552" y="518580"/>
                  <a:pt x="355026" y="518816"/>
                  <a:pt x="350738" y="518816"/>
                </a:cubicBezTo>
                <a:lnTo>
                  <a:pt x="350738" y="518757"/>
                </a:lnTo>
                <a:cubicBezTo>
                  <a:pt x="338531" y="518757"/>
                  <a:pt x="328289" y="517574"/>
                  <a:pt x="320070" y="515266"/>
                </a:cubicBezTo>
                <a:cubicBezTo>
                  <a:pt x="311853" y="512957"/>
                  <a:pt x="305244" y="509169"/>
                  <a:pt x="300301" y="504080"/>
                </a:cubicBezTo>
                <a:cubicBezTo>
                  <a:pt x="295358" y="498990"/>
                  <a:pt x="291607" y="492124"/>
                  <a:pt x="289046" y="483483"/>
                </a:cubicBezTo>
                <a:cubicBezTo>
                  <a:pt x="286486" y="474842"/>
                  <a:pt x="284759" y="464189"/>
                  <a:pt x="283924" y="451404"/>
                </a:cubicBezTo>
                <a:cubicBezTo>
                  <a:pt x="283091" y="438621"/>
                  <a:pt x="282615" y="423647"/>
                  <a:pt x="282615" y="406365"/>
                </a:cubicBezTo>
                <a:cubicBezTo>
                  <a:pt x="282615" y="389083"/>
                  <a:pt x="283031" y="373872"/>
                  <a:pt x="283924" y="361207"/>
                </a:cubicBezTo>
                <a:cubicBezTo>
                  <a:pt x="284759" y="348541"/>
                  <a:pt x="286486" y="337888"/>
                  <a:pt x="289046" y="329306"/>
                </a:cubicBezTo>
                <a:cubicBezTo>
                  <a:pt x="291607" y="320665"/>
                  <a:pt x="295418" y="313800"/>
                  <a:pt x="300420" y="308532"/>
                </a:cubicBezTo>
                <a:cubicBezTo>
                  <a:pt x="305421" y="303324"/>
                  <a:pt x="312032" y="299595"/>
                  <a:pt x="320190" y="297346"/>
                </a:cubicBezTo>
                <a:cubicBezTo>
                  <a:pt x="328348" y="295097"/>
                  <a:pt x="338472" y="293972"/>
                  <a:pt x="350679" y="293972"/>
                </a:cubicBezTo>
                <a:close/>
                <a:moveTo>
                  <a:pt x="1088127" y="114286"/>
                </a:moveTo>
                <a:lnTo>
                  <a:pt x="1153987" y="114286"/>
                </a:lnTo>
                <a:lnTo>
                  <a:pt x="1153987" y="148140"/>
                </a:lnTo>
                <a:lnTo>
                  <a:pt x="1088127" y="148140"/>
                </a:lnTo>
                <a:close/>
                <a:moveTo>
                  <a:pt x="2137309" y="43086"/>
                </a:moveTo>
                <a:lnTo>
                  <a:pt x="2118670" y="139794"/>
                </a:lnTo>
                <a:lnTo>
                  <a:pt x="2118730" y="139794"/>
                </a:lnTo>
                <a:lnTo>
                  <a:pt x="2158211" y="139794"/>
                </a:lnTo>
                <a:lnTo>
                  <a:pt x="2139572" y="43086"/>
                </a:lnTo>
                <a:close/>
                <a:moveTo>
                  <a:pt x="1249264" y="43086"/>
                </a:moveTo>
                <a:lnTo>
                  <a:pt x="1230625" y="139794"/>
                </a:lnTo>
                <a:lnTo>
                  <a:pt x="1230685" y="139794"/>
                </a:lnTo>
                <a:lnTo>
                  <a:pt x="1270166" y="139794"/>
                </a:lnTo>
                <a:lnTo>
                  <a:pt x="1251527" y="43086"/>
                </a:lnTo>
                <a:close/>
                <a:moveTo>
                  <a:pt x="842073" y="37641"/>
                </a:moveTo>
                <a:lnTo>
                  <a:pt x="842073" y="113930"/>
                </a:lnTo>
                <a:lnTo>
                  <a:pt x="842133" y="113930"/>
                </a:lnTo>
                <a:lnTo>
                  <a:pt x="861725" y="113930"/>
                </a:lnTo>
                <a:cubicBezTo>
                  <a:pt x="866190" y="113930"/>
                  <a:pt x="870001" y="113575"/>
                  <a:pt x="873098" y="112805"/>
                </a:cubicBezTo>
                <a:cubicBezTo>
                  <a:pt x="876195" y="112037"/>
                  <a:pt x="878636" y="110439"/>
                  <a:pt x="880303" y="108012"/>
                </a:cubicBezTo>
                <a:cubicBezTo>
                  <a:pt x="882030" y="105585"/>
                  <a:pt x="883221" y="101738"/>
                  <a:pt x="883995" y="96530"/>
                </a:cubicBezTo>
                <a:cubicBezTo>
                  <a:pt x="884769" y="91321"/>
                  <a:pt x="885126" y="84456"/>
                  <a:pt x="885126" y="75934"/>
                </a:cubicBezTo>
                <a:cubicBezTo>
                  <a:pt x="885126" y="67411"/>
                  <a:pt x="884829" y="60901"/>
                  <a:pt x="884173" y="55810"/>
                </a:cubicBezTo>
                <a:cubicBezTo>
                  <a:pt x="883519" y="50720"/>
                  <a:pt x="882387" y="46874"/>
                  <a:pt x="880780" y="44328"/>
                </a:cubicBezTo>
                <a:cubicBezTo>
                  <a:pt x="879172" y="41784"/>
                  <a:pt x="876790" y="40008"/>
                  <a:pt x="873693" y="39061"/>
                </a:cubicBezTo>
                <a:cubicBezTo>
                  <a:pt x="870596" y="38114"/>
                  <a:pt x="866548" y="37641"/>
                  <a:pt x="861665" y="37641"/>
                </a:cubicBezTo>
                <a:close/>
                <a:moveTo>
                  <a:pt x="1752032" y="37582"/>
                </a:moveTo>
                <a:lnTo>
                  <a:pt x="1752032" y="108427"/>
                </a:lnTo>
                <a:lnTo>
                  <a:pt x="1752032" y="108544"/>
                </a:lnTo>
                <a:lnTo>
                  <a:pt x="1773886" y="108544"/>
                </a:lnTo>
                <a:cubicBezTo>
                  <a:pt x="1779246" y="108544"/>
                  <a:pt x="1783473" y="107952"/>
                  <a:pt x="1786569" y="106769"/>
                </a:cubicBezTo>
                <a:cubicBezTo>
                  <a:pt x="1789666" y="105585"/>
                  <a:pt x="1792048" y="103691"/>
                  <a:pt x="1793656" y="101028"/>
                </a:cubicBezTo>
                <a:cubicBezTo>
                  <a:pt x="1795264" y="98364"/>
                  <a:pt x="1796276" y="94695"/>
                  <a:pt x="1796693" y="90020"/>
                </a:cubicBezTo>
                <a:cubicBezTo>
                  <a:pt x="1797109" y="85344"/>
                  <a:pt x="1797348" y="79722"/>
                  <a:pt x="1797348" y="73093"/>
                </a:cubicBezTo>
                <a:cubicBezTo>
                  <a:pt x="1797348" y="66049"/>
                  <a:pt x="1797109" y="60250"/>
                  <a:pt x="1796693" y="55692"/>
                </a:cubicBezTo>
                <a:cubicBezTo>
                  <a:pt x="1796276" y="51135"/>
                  <a:pt x="1795323" y="47524"/>
                  <a:pt x="1793775" y="44979"/>
                </a:cubicBezTo>
                <a:cubicBezTo>
                  <a:pt x="1792286" y="42435"/>
                  <a:pt x="1789964" y="40540"/>
                  <a:pt x="1786868" y="39357"/>
                </a:cubicBezTo>
                <a:cubicBezTo>
                  <a:pt x="1783771" y="38174"/>
                  <a:pt x="1779423" y="37582"/>
                  <a:pt x="1773886" y="37582"/>
                </a:cubicBezTo>
                <a:close/>
                <a:moveTo>
                  <a:pt x="518369" y="37582"/>
                </a:moveTo>
                <a:lnTo>
                  <a:pt x="518369" y="108427"/>
                </a:lnTo>
                <a:lnTo>
                  <a:pt x="518369" y="108544"/>
                </a:lnTo>
                <a:lnTo>
                  <a:pt x="540223" y="108544"/>
                </a:lnTo>
                <a:cubicBezTo>
                  <a:pt x="545583" y="108544"/>
                  <a:pt x="549810" y="107952"/>
                  <a:pt x="552906" y="106769"/>
                </a:cubicBezTo>
                <a:cubicBezTo>
                  <a:pt x="556003" y="105585"/>
                  <a:pt x="558386" y="103691"/>
                  <a:pt x="559993" y="101028"/>
                </a:cubicBezTo>
                <a:cubicBezTo>
                  <a:pt x="561600" y="98364"/>
                  <a:pt x="562613" y="94695"/>
                  <a:pt x="563030" y="90020"/>
                </a:cubicBezTo>
                <a:cubicBezTo>
                  <a:pt x="563446" y="85344"/>
                  <a:pt x="563685" y="79722"/>
                  <a:pt x="563685" y="73093"/>
                </a:cubicBezTo>
                <a:cubicBezTo>
                  <a:pt x="563685" y="66049"/>
                  <a:pt x="563446" y="60250"/>
                  <a:pt x="563030" y="55692"/>
                </a:cubicBezTo>
                <a:cubicBezTo>
                  <a:pt x="562613" y="51135"/>
                  <a:pt x="561660" y="47524"/>
                  <a:pt x="560112" y="44979"/>
                </a:cubicBezTo>
                <a:cubicBezTo>
                  <a:pt x="558623" y="42435"/>
                  <a:pt x="556301" y="40540"/>
                  <a:pt x="553205" y="39357"/>
                </a:cubicBezTo>
                <a:cubicBezTo>
                  <a:pt x="550108" y="38174"/>
                  <a:pt x="545760" y="37582"/>
                  <a:pt x="540223" y="37582"/>
                </a:cubicBezTo>
                <a:close/>
                <a:moveTo>
                  <a:pt x="700466" y="35451"/>
                </a:moveTo>
                <a:cubicBezTo>
                  <a:pt x="695524" y="35451"/>
                  <a:pt x="691176" y="35748"/>
                  <a:pt x="687961" y="36399"/>
                </a:cubicBezTo>
                <a:cubicBezTo>
                  <a:pt x="684746" y="37049"/>
                  <a:pt x="682185" y="38647"/>
                  <a:pt x="680280" y="41193"/>
                </a:cubicBezTo>
                <a:cubicBezTo>
                  <a:pt x="678374" y="43737"/>
                  <a:pt x="676885" y="47821"/>
                  <a:pt x="675932" y="53325"/>
                </a:cubicBezTo>
                <a:cubicBezTo>
                  <a:pt x="674980" y="58889"/>
                  <a:pt x="674384" y="66405"/>
                  <a:pt x="674146" y="75993"/>
                </a:cubicBezTo>
                <a:cubicBezTo>
                  <a:pt x="673908" y="85582"/>
                  <a:pt x="673848" y="97714"/>
                  <a:pt x="673848" y="112392"/>
                </a:cubicBezTo>
                <a:cubicBezTo>
                  <a:pt x="673848" y="127071"/>
                  <a:pt x="673967" y="139203"/>
                  <a:pt x="674146" y="148792"/>
                </a:cubicBezTo>
                <a:cubicBezTo>
                  <a:pt x="674384" y="158380"/>
                  <a:pt x="674920" y="165896"/>
                  <a:pt x="675932" y="171460"/>
                </a:cubicBezTo>
                <a:cubicBezTo>
                  <a:pt x="676885" y="177022"/>
                  <a:pt x="678315" y="181048"/>
                  <a:pt x="680280" y="183592"/>
                </a:cubicBezTo>
                <a:cubicBezTo>
                  <a:pt x="682185" y="186137"/>
                  <a:pt x="684746" y="187735"/>
                  <a:pt x="687961" y="188386"/>
                </a:cubicBezTo>
                <a:cubicBezTo>
                  <a:pt x="691176" y="189037"/>
                  <a:pt x="695345" y="189333"/>
                  <a:pt x="700466" y="189333"/>
                </a:cubicBezTo>
                <a:cubicBezTo>
                  <a:pt x="705409" y="189333"/>
                  <a:pt x="709518" y="189037"/>
                  <a:pt x="712852" y="188386"/>
                </a:cubicBezTo>
                <a:cubicBezTo>
                  <a:pt x="716187" y="187735"/>
                  <a:pt x="718867" y="186137"/>
                  <a:pt x="720892" y="183592"/>
                </a:cubicBezTo>
                <a:cubicBezTo>
                  <a:pt x="722916" y="181048"/>
                  <a:pt x="724345" y="177022"/>
                  <a:pt x="725238" y="171460"/>
                </a:cubicBezTo>
                <a:cubicBezTo>
                  <a:pt x="726073" y="165896"/>
                  <a:pt x="726608" y="158380"/>
                  <a:pt x="726847" y="148792"/>
                </a:cubicBezTo>
                <a:cubicBezTo>
                  <a:pt x="727085" y="139203"/>
                  <a:pt x="727145" y="127071"/>
                  <a:pt x="727145" y="112392"/>
                </a:cubicBezTo>
                <a:cubicBezTo>
                  <a:pt x="727145" y="97714"/>
                  <a:pt x="727025" y="85582"/>
                  <a:pt x="726847" y="75993"/>
                </a:cubicBezTo>
                <a:cubicBezTo>
                  <a:pt x="726608" y="66405"/>
                  <a:pt x="726073" y="58889"/>
                  <a:pt x="725238" y="53325"/>
                </a:cubicBezTo>
                <a:cubicBezTo>
                  <a:pt x="724405" y="47821"/>
                  <a:pt x="722916" y="43737"/>
                  <a:pt x="720892" y="41193"/>
                </a:cubicBezTo>
                <a:cubicBezTo>
                  <a:pt x="718867" y="38647"/>
                  <a:pt x="716187" y="37049"/>
                  <a:pt x="712852" y="36399"/>
                </a:cubicBezTo>
                <a:cubicBezTo>
                  <a:pt x="709518" y="35748"/>
                  <a:pt x="705409" y="35451"/>
                  <a:pt x="700466" y="35451"/>
                </a:cubicBezTo>
                <a:close/>
                <a:moveTo>
                  <a:pt x="311497" y="2604"/>
                </a:moveTo>
                <a:lnTo>
                  <a:pt x="353895" y="2604"/>
                </a:lnTo>
                <a:lnTo>
                  <a:pt x="353895" y="138256"/>
                </a:lnTo>
                <a:cubicBezTo>
                  <a:pt x="353895" y="149738"/>
                  <a:pt x="354133" y="158912"/>
                  <a:pt x="354551" y="165718"/>
                </a:cubicBezTo>
                <a:cubicBezTo>
                  <a:pt x="354967" y="172525"/>
                  <a:pt x="355860" y="177614"/>
                  <a:pt x="357290" y="181047"/>
                </a:cubicBezTo>
                <a:cubicBezTo>
                  <a:pt x="358660" y="184479"/>
                  <a:pt x="360982" y="186669"/>
                  <a:pt x="364197" y="187734"/>
                </a:cubicBezTo>
                <a:cubicBezTo>
                  <a:pt x="367413" y="188801"/>
                  <a:pt x="371819" y="189332"/>
                  <a:pt x="377357" y="189332"/>
                </a:cubicBezTo>
                <a:cubicBezTo>
                  <a:pt x="382896" y="189332"/>
                  <a:pt x="387242" y="188801"/>
                  <a:pt x="390339" y="187734"/>
                </a:cubicBezTo>
                <a:cubicBezTo>
                  <a:pt x="393436" y="186669"/>
                  <a:pt x="395817" y="184421"/>
                  <a:pt x="397426" y="181047"/>
                </a:cubicBezTo>
                <a:cubicBezTo>
                  <a:pt x="399033" y="177673"/>
                  <a:pt x="399986" y="172525"/>
                  <a:pt x="400343" y="165718"/>
                </a:cubicBezTo>
                <a:cubicBezTo>
                  <a:pt x="400642" y="158912"/>
                  <a:pt x="400819" y="149738"/>
                  <a:pt x="400819" y="138256"/>
                </a:cubicBezTo>
                <a:lnTo>
                  <a:pt x="400819" y="2604"/>
                </a:lnTo>
                <a:lnTo>
                  <a:pt x="443218" y="2604"/>
                </a:lnTo>
                <a:lnTo>
                  <a:pt x="443218" y="125177"/>
                </a:lnTo>
                <a:cubicBezTo>
                  <a:pt x="443218" y="141333"/>
                  <a:pt x="442861" y="155183"/>
                  <a:pt x="442087" y="166664"/>
                </a:cubicBezTo>
                <a:cubicBezTo>
                  <a:pt x="441313" y="178147"/>
                  <a:pt x="439764" y="187676"/>
                  <a:pt x="437442" y="195252"/>
                </a:cubicBezTo>
                <a:cubicBezTo>
                  <a:pt x="435060" y="202828"/>
                  <a:pt x="431547" y="208745"/>
                  <a:pt x="426843" y="212948"/>
                </a:cubicBezTo>
                <a:cubicBezTo>
                  <a:pt x="422139" y="217209"/>
                  <a:pt x="415766" y="220227"/>
                  <a:pt x="407727" y="222063"/>
                </a:cubicBezTo>
                <a:cubicBezTo>
                  <a:pt x="399689" y="223837"/>
                  <a:pt x="389565" y="224785"/>
                  <a:pt x="377357" y="224785"/>
                </a:cubicBezTo>
                <a:cubicBezTo>
                  <a:pt x="365150" y="224785"/>
                  <a:pt x="355027" y="223897"/>
                  <a:pt x="346987" y="222063"/>
                </a:cubicBezTo>
                <a:cubicBezTo>
                  <a:pt x="338949" y="220287"/>
                  <a:pt x="332577" y="217209"/>
                  <a:pt x="327873" y="212948"/>
                </a:cubicBezTo>
                <a:cubicBezTo>
                  <a:pt x="323168" y="208687"/>
                  <a:pt x="319656" y="202768"/>
                  <a:pt x="317273" y="195252"/>
                </a:cubicBezTo>
                <a:cubicBezTo>
                  <a:pt x="314891" y="187676"/>
                  <a:pt x="313343" y="178206"/>
                  <a:pt x="312629" y="166664"/>
                </a:cubicBezTo>
                <a:cubicBezTo>
                  <a:pt x="311855" y="155183"/>
                  <a:pt x="311497" y="141333"/>
                  <a:pt x="311497" y="125177"/>
                </a:cubicBezTo>
                <a:close/>
                <a:moveTo>
                  <a:pt x="2109083" y="2544"/>
                </a:moveTo>
                <a:lnTo>
                  <a:pt x="2169167" y="2544"/>
                </a:lnTo>
                <a:lnTo>
                  <a:pt x="2217342" y="222180"/>
                </a:lnTo>
                <a:lnTo>
                  <a:pt x="2174646" y="222180"/>
                </a:lnTo>
                <a:lnTo>
                  <a:pt x="2165000" y="174300"/>
                </a:lnTo>
                <a:lnTo>
                  <a:pt x="2112299" y="174300"/>
                </a:lnTo>
                <a:lnTo>
                  <a:pt x="2102354" y="222180"/>
                </a:lnTo>
                <a:lnTo>
                  <a:pt x="2060611" y="222180"/>
                </a:lnTo>
                <a:close/>
                <a:moveTo>
                  <a:pt x="1869521" y="2544"/>
                </a:moveTo>
                <a:lnTo>
                  <a:pt x="1911919" y="2544"/>
                </a:lnTo>
                <a:lnTo>
                  <a:pt x="1911919" y="222180"/>
                </a:lnTo>
                <a:lnTo>
                  <a:pt x="1869521" y="222180"/>
                </a:lnTo>
                <a:close/>
                <a:moveTo>
                  <a:pt x="1709931" y="2544"/>
                </a:moveTo>
                <a:lnTo>
                  <a:pt x="1784426" y="2544"/>
                </a:lnTo>
                <a:cubicBezTo>
                  <a:pt x="1796634" y="2544"/>
                  <a:pt x="1806400" y="4083"/>
                  <a:pt x="1813843" y="7160"/>
                </a:cubicBezTo>
                <a:cubicBezTo>
                  <a:pt x="1821226" y="10237"/>
                  <a:pt x="1826825" y="14854"/>
                  <a:pt x="1830516" y="21068"/>
                </a:cubicBezTo>
                <a:cubicBezTo>
                  <a:pt x="1834268" y="27224"/>
                  <a:pt x="1836710" y="34622"/>
                  <a:pt x="1837900" y="43263"/>
                </a:cubicBezTo>
                <a:cubicBezTo>
                  <a:pt x="1839091" y="51904"/>
                  <a:pt x="1839686" y="61729"/>
                  <a:pt x="1839686" y="72797"/>
                </a:cubicBezTo>
                <a:cubicBezTo>
                  <a:pt x="1839686" y="81496"/>
                  <a:pt x="1839210" y="89961"/>
                  <a:pt x="1838258" y="98188"/>
                </a:cubicBezTo>
                <a:cubicBezTo>
                  <a:pt x="1837305" y="106354"/>
                  <a:pt x="1835221" y="113694"/>
                  <a:pt x="1832005" y="120086"/>
                </a:cubicBezTo>
                <a:cubicBezTo>
                  <a:pt x="1828790" y="126478"/>
                  <a:pt x="1823847" y="131449"/>
                  <a:pt x="1817238" y="135119"/>
                </a:cubicBezTo>
                <a:lnTo>
                  <a:pt x="1844213" y="222240"/>
                </a:lnTo>
                <a:lnTo>
                  <a:pt x="1800504" y="222240"/>
                </a:lnTo>
                <a:lnTo>
                  <a:pt x="1778059" y="142623"/>
                </a:lnTo>
                <a:lnTo>
                  <a:pt x="1781269" y="142458"/>
                </a:lnTo>
                <a:cubicBezTo>
                  <a:pt x="1782937" y="142221"/>
                  <a:pt x="1784426" y="142043"/>
                  <a:pt x="1785736" y="141807"/>
                </a:cubicBezTo>
                <a:lnTo>
                  <a:pt x="1776744" y="137960"/>
                </a:lnTo>
                <a:lnTo>
                  <a:pt x="1778059" y="142623"/>
                </a:lnTo>
                <a:lnTo>
                  <a:pt x="1775493" y="142754"/>
                </a:lnTo>
                <a:lnTo>
                  <a:pt x="1752032" y="142754"/>
                </a:lnTo>
                <a:lnTo>
                  <a:pt x="1752032" y="222240"/>
                </a:lnTo>
                <a:lnTo>
                  <a:pt x="1709931" y="222240"/>
                </a:lnTo>
                <a:lnTo>
                  <a:pt x="1709931" y="222180"/>
                </a:lnTo>
                <a:close/>
                <a:moveTo>
                  <a:pt x="1572434" y="2544"/>
                </a:moveTo>
                <a:lnTo>
                  <a:pt x="1680990" y="2544"/>
                </a:lnTo>
                <a:lnTo>
                  <a:pt x="1680990" y="37996"/>
                </a:lnTo>
                <a:lnTo>
                  <a:pt x="1614534" y="37996"/>
                </a:lnTo>
                <a:lnTo>
                  <a:pt x="1614534" y="93511"/>
                </a:lnTo>
                <a:lnTo>
                  <a:pt x="1671998" y="93511"/>
                </a:lnTo>
                <a:lnTo>
                  <a:pt x="1671998" y="128608"/>
                </a:lnTo>
                <a:lnTo>
                  <a:pt x="1614534" y="128608"/>
                </a:lnTo>
                <a:lnTo>
                  <a:pt x="1614534" y="186729"/>
                </a:lnTo>
                <a:lnTo>
                  <a:pt x="1680990" y="186729"/>
                </a:lnTo>
                <a:lnTo>
                  <a:pt x="1680990" y="222180"/>
                </a:lnTo>
                <a:lnTo>
                  <a:pt x="1572434" y="222180"/>
                </a:lnTo>
                <a:close/>
                <a:moveTo>
                  <a:pt x="1349544" y="2544"/>
                </a:moveTo>
                <a:lnTo>
                  <a:pt x="1411832" y="2544"/>
                </a:lnTo>
                <a:lnTo>
                  <a:pt x="1442975" y="156426"/>
                </a:lnTo>
                <a:lnTo>
                  <a:pt x="1445238" y="156426"/>
                </a:lnTo>
                <a:lnTo>
                  <a:pt x="1476381" y="2544"/>
                </a:lnTo>
                <a:lnTo>
                  <a:pt x="1538074" y="2544"/>
                </a:lnTo>
                <a:lnTo>
                  <a:pt x="1538074" y="222180"/>
                </a:lnTo>
                <a:lnTo>
                  <a:pt x="1497283" y="222180"/>
                </a:lnTo>
                <a:lnTo>
                  <a:pt x="1497283" y="60012"/>
                </a:lnTo>
                <a:lnTo>
                  <a:pt x="1495378" y="60012"/>
                </a:lnTo>
                <a:lnTo>
                  <a:pt x="1461673" y="222180"/>
                </a:lnTo>
                <a:lnTo>
                  <a:pt x="1424753" y="222180"/>
                </a:lnTo>
                <a:lnTo>
                  <a:pt x="1391644" y="60012"/>
                </a:lnTo>
                <a:lnTo>
                  <a:pt x="1389084" y="60012"/>
                </a:lnTo>
                <a:lnTo>
                  <a:pt x="1389084" y="222180"/>
                </a:lnTo>
                <a:lnTo>
                  <a:pt x="1349604" y="222180"/>
                </a:lnTo>
                <a:lnTo>
                  <a:pt x="1349544" y="222180"/>
                </a:lnTo>
                <a:close/>
                <a:moveTo>
                  <a:pt x="1221038" y="2544"/>
                </a:moveTo>
                <a:lnTo>
                  <a:pt x="1281122" y="2544"/>
                </a:lnTo>
                <a:lnTo>
                  <a:pt x="1329297" y="222180"/>
                </a:lnTo>
                <a:lnTo>
                  <a:pt x="1286601" y="222180"/>
                </a:lnTo>
                <a:lnTo>
                  <a:pt x="1276955" y="174300"/>
                </a:lnTo>
                <a:lnTo>
                  <a:pt x="1224254" y="174300"/>
                </a:lnTo>
                <a:lnTo>
                  <a:pt x="1214309" y="222180"/>
                </a:lnTo>
                <a:lnTo>
                  <a:pt x="1172566" y="222180"/>
                </a:lnTo>
                <a:close/>
                <a:moveTo>
                  <a:pt x="951940" y="2544"/>
                </a:moveTo>
                <a:lnTo>
                  <a:pt x="1060496" y="2544"/>
                </a:lnTo>
                <a:lnTo>
                  <a:pt x="1060496" y="37996"/>
                </a:lnTo>
                <a:lnTo>
                  <a:pt x="994040" y="37996"/>
                </a:lnTo>
                <a:lnTo>
                  <a:pt x="994040" y="93511"/>
                </a:lnTo>
                <a:lnTo>
                  <a:pt x="1051504" y="93511"/>
                </a:lnTo>
                <a:lnTo>
                  <a:pt x="1051504" y="128608"/>
                </a:lnTo>
                <a:lnTo>
                  <a:pt x="994040" y="128608"/>
                </a:lnTo>
                <a:lnTo>
                  <a:pt x="994040" y="186729"/>
                </a:lnTo>
                <a:lnTo>
                  <a:pt x="1060496" y="186729"/>
                </a:lnTo>
                <a:lnTo>
                  <a:pt x="1060496" y="222180"/>
                </a:lnTo>
                <a:lnTo>
                  <a:pt x="951940" y="222180"/>
                </a:lnTo>
                <a:close/>
                <a:moveTo>
                  <a:pt x="800032" y="2544"/>
                </a:moveTo>
                <a:lnTo>
                  <a:pt x="872919" y="2544"/>
                </a:lnTo>
                <a:cubicBezTo>
                  <a:pt x="884055" y="2544"/>
                  <a:pt x="893285" y="4023"/>
                  <a:pt x="900550" y="6983"/>
                </a:cubicBezTo>
                <a:cubicBezTo>
                  <a:pt x="907814" y="9942"/>
                  <a:pt x="913412" y="14440"/>
                  <a:pt x="917224" y="20418"/>
                </a:cubicBezTo>
                <a:cubicBezTo>
                  <a:pt x="921093" y="26396"/>
                  <a:pt x="923774" y="33912"/>
                  <a:pt x="925262" y="43086"/>
                </a:cubicBezTo>
                <a:cubicBezTo>
                  <a:pt x="926751" y="52260"/>
                  <a:pt x="927525" y="63208"/>
                  <a:pt x="927525" y="75934"/>
                </a:cubicBezTo>
                <a:cubicBezTo>
                  <a:pt x="927525" y="88658"/>
                  <a:pt x="926811" y="98720"/>
                  <a:pt x="925441" y="107835"/>
                </a:cubicBezTo>
                <a:cubicBezTo>
                  <a:pt x="924071" y="116949"/>
                  <a:pt x="921451" y="124642"/>
                  <a:pt x="917580" y="130798"/>
                </a:cubicBezTo>
                <a:cubicBezTo>
                  <a:pt x="913710" y="136954"/>
                  <a:pt x="908172" y="141570"/>
                  <a:pt x="900907" y="144529"/>
                </a:cubicBezTo>
                <a:cubicBezTo>
                  <a:pt x="893642" y="147488"/>
                  <a:pt x="884233" y="149027"/>
                  <a:pt x="872621" y="149027"/>
                </a:cubicBezTo>
                <a:lnTo>
                  <a:pt x="842133" y="149027"/>
                </a:lnTo>
                <a:lnTo>
                  <a:pt x="842133" y="222121"/>
                </a:lnTo>
                <a:lnTo>
                  <a:pt x="800032" y="222121"/>
                </a:lnTo>
                <a:close/>
                <a:moveTo>
                  <a:pt x="476268" y="2544"/>
                </a:moveTo>
                <a:lnTo>
                  <a:pt x="550763" y="2544"/>
                </a:lnTo>
                <a:cubicBezTo>
                  <a:pt x="562971" y="2544"/>
                  <a:pt x="572736" y="4083"/>
                  <a:pt x="580180" y="7160"/>
                </a:cubicBezTo>
                <a:cubicBezTo>
                  <a:pt x="587564" y="10237"/>
                  <a:pt x="593162" y="14854"/>
                  <a:pt x="596853" y="21068"/>
                </a:cubicBezTo>
                <a:cubicBezTo>
                  <a:pt x="600605" y="27224"/>
                  <a:pt x="603047" y="34622"/>
                  <a:pt x="604237" y="43263"/>
                </a:cubicBezTo>
                <a:cubicBezTo>
                  <a:pt x="605428" y="51904"/>
                  <a:pt x="606024" y="61729"/>
                  <a:pt x="606024" y="72797"/>
                </a:cubicBezTo>
                <a:cubicBezTo>
                  <a:pt x="606024" y="81496"/>
                  <a:pt x="605547" y="89961"/>
                  <a:pt x="604595" y="98188"/>
                </a:cubicBezTo>
                <a:cubicBezTo>
                  <a:pt x="603642" y="106354"/>
                  <a:pt x="601557" y="113694"/>
                  <a:pt x="598343" y="120086"/>
                </a:cubicBezTo>
                <a:cubicBezTo>
                  <a:pt x="595127" y="126478"/>
                  <a:pt x="590184" y="131449"/>
                  <a:pt x="583574" y="135119"/>
                </a:cubicBezTo>
                <a:lnTo>
                  <a:pt x="610550" y="222240"/>
                </a:lnTo>
                <a:lnTo>
                  <a:pt x="566841" y="222240"/>
                </a:lnTo>
                <a:lnTo>
                  <a:pt x="544396" y="142623"/>
                </a:lnTo>
                <a:lnTo>
                  <a:pt x="547607" y="142458"/>
                </a:lnTo>
                <a:cubicBezTo>
                  <a:pt x="549274" y="142221"/>
                  <a:pt x="550763" y="142043"/>
                  <a:pt x="552073" y="141807"/>
                </a:cubicBezTo>
                <a:lnTo>
                  <a:pt x="543081" y="137960"/>
                </a:lnTo>
                <a:lnTo>
                  <a:pt x="544396" y="142623"/>
                </a:lnTo>
                <a:lnTo>
                  <a:pt x="541831" y="142754"/>
                </a:lnTo>
                <a:lnTo>
                  <a:pt x="518369" y="142754"/>
                </a:lnTo>
                <a:lnTo>
                  <a:pt x="518369" y="222240"/>
                </a:lnTo>
                <a:lnTo>
                  <a:pt x="476268" y="222240"/>
                </a:lnTo>
                <a:lnTo>
                  <a:pt x="476268" y="222180"/>
                </a:lnTo>
                <a:close/>
                <a:moveTo>
                  <a:pt x="175667" y="2544"/>
                </a:moveTo>
                <a:lnTo>
                  <a:pt x="284223" y="2544"/>
                </a:lnTo>
                <a:lnTo>
                  <a:pt x="284223" y="37996"/>
                </a:lnTo>
                <a:lnTo>
                  <a:pt x="217767" y="37996"/>
                </a:lnTo>
                <a:lnTo>
                  <a:pt x="217767" y="93511"/>
                </a:lnTo>
                <a:lnTo>
                  <a:pt x="275231" y="93511"/>
                </a:lnTo>
                <a:lnTo>
                  <a:pt x="275231" y="128608"/>
                </a:lnTo>
                <a:lnTo>
                  <a:pt x="217767" y="128608"/>
                </a:lnTo>
                <a:lnTo>
                  <a:pt x="217767" y="186729"/>
                </a:lnTo>
                <a:lnTo>
                  <a:pt x="284223" y="186729"/>
                </a:lnTo>
                <a:lnTo>
                  <a:pt x="284223" y="222180"/>
                </a:lnTo>
                <a:lnTo>
                  <a:pt x="175667" y="222180"/>
                </a:lnTo>
                <a:close/>
                <a:moveTo>
                  <a:pt x="700466" y="118"/>
                </a:moveTo>
                <a:cubicBezTo>
                  <a:pt x="712673" y="118"/>
                  <a:pt x="722559" y="887"/>
                  <a:pt x="730836" y="2367"/>
                </a:cubicBezTo>
                <a:cubicBezTo>
                  <a:pt x="739053" y="3847"/>
                  <a:pt x="745782" y="6805"/>
                  <a:pt x="750904" y="11126"/>
                </a:cubicBezTo>
                <a:cubicBezTo>
                  <a:pt x="756025" y="15506"/>
                  <a:pt x="759955" y="21839"/>
                  <a:pt x="762635" y="30125"/>
                </a:cubicBezTo>
                <a:cubicBezTo>
                  <a:pt x="765314" y="38411"/>
                  <a:pt x="767160" y="49301"/>
                  <a:pt x="768113" y="62677"/>
                </a:cubicBezTo>
                <a:cubicBezTo>
                  <a:pt x="769066" y="76112"/>
                  <a:pt x="769543" y="92683"/>
                  <a:pt x="769543" y="112452"/>
                </a:cubicBezTo>
                <a:cubicBezTo>
                  <a:pt x="769543" y="132219"/>
                  <a:pt x="769066" y="148850"/>
                  <a:pt x="768113" y="162227"/>
                </a:cubicBezTo>
                <a:cubicBezTo>
                  <a:pt x="767160" y="175662"/>
                  <a:pt x="765314" y="186493"/>
                  <a:pt x="762635" y="194778"/>
                </a:cubicBezTo>
                <a:cubicBezTo>
                  <a:pt x="759955" y="203064"/>
                  <a:pt x="756025" y="209397"/>
                  <a:pt x="750904" y="213777"/>
                </a:cubicBezTo>
                <a:cubicBezTo>
                  <a:pt x="745782" y="218156"/>
                  <a:pt x="739053" y="221057"/>
                  <a:pt x="730836" y="222536"/>
                </a:cubicBezTo>
                <a:cubicBezTo>
                  <a:pt x="722618" y="224016"/>
                  <a:pt x="712496" y="224785"/>
                  <a:pt x="700466" y="224785"/>
                </a:cubicBezTo>
                <a:cubicBezTo>
                  <a:pt x="688260" y="224785"/>
                  <a:pt x="678017" y="224016"/>
                  <a:pt x="669800" y="222536"/>
                </a:cubicBezTo>
                <a:cubicBezTo>
                  <a:pt x="661581" y="221057"/>
                  <a:pt x="654912" y="218156"/>
                  <a:pt x="649910" y="213777"/>
                </a:cubicBezTo>
                <a:cubicBezTo>
                  <a:pt x="644848" y="209397"/>
                  <a:pt x="641037" y="203064"/>
                  <a:pt x="638358" y="194778"/>
                </a:cubicBezTo>
                <a:cubicBezTo>
                  <a:pt x="635677" y="186493"/>
                  <a:pt x="633831" y="175602"/>
                  <a:pt x="632879" y="162227"/>
                </a:cubicBezTo>
                <a:cubicBezTo>
                  <a:pt x="631926" y="148850"/>
                  <a:pt x="631450" y="132219"/>
                  <a:pt x="631450" y="112452"/>
                </a:cubicBezTo>
                <a:cubicBezTo>
                  <a:pt x="631450" y="92683"/>
                  <a:pt x="631926" y="76052"/>
                  <a:pt x="632879" y="62677"/>
                </a:cubicBezTo>
                <a:cubicBezTo>
                  <a:pt x="633831" y="49301"/>
                  <a:pt x="635677" y="38411"/>
                  <a:pt x="638358" y="30125"/>
                </a:cubicBezTo>
                <a:cubicBezTo>
                  <a:pt x="641037" y="21839"/>
                  <a:pt x="644908" y="15506"/>
                  <a:pt x="649910" y="11126"/>
                </a:cubicBezTo>
                <a:cubicBezTo>
                  <a:pt x="654912" y="6746"/>
                  <a:pt x="661581" y="3847"/>
                  <a:pt x="669800" y="2367"/>
                </a:cubicBezTo>
                <a:cubicBezTo>
                  <a:pt x="678017" y="887"/>
                  <a:pt x="688260" y="118"/>
                  <a:pt x="700466" y="118"/>
                </a:cubicBezTo>
                <a:close/>
                <a:moveTo>
                  <a:pt x="2010472" y="0"/>
                </a:moveTo>
                <a:cubicBezTo>
                  <a:pt x="2014997" y="0"/>
                  <a:pt x="2019643" y="236"/>
                  <a:pt x="2024466" y="651"/>
                </a:cubicBezTo>
                <a:cubicBezTo>
                  <a:pt x="2029289" y="1065"/>
                  <a:pt x="2033755" y="1657"/>
                  <a:pt x="2037983" y="2426"/>
                </a:cubicBezTo>
                <a:cubicBezTo>
                  <a:pt x="2042152" y="3196"/>
                  <a:pt x="2045546" y="4083"/>
                  <a:pt x="2048107" y="5149"/>
                </a:cubicBezTo>
                <a:lnTo>
                  <a:pt x="2048107" y="37701"/>
                </a:lnTo>
                <a:cubicBezTo>
                  <a:pt x="2044235" y="37287"/>
                  <a:pt x="2040544" y="36872"/>
                  <a:pt x="2037031" y="36458"/>
                </a:cubicBezTo>
                <a:cubicBezTo>
                  <a:pt x="2033518" y="36044"/>
                  <a:pt x="2030242" y="35747"/>
                  <a:pt x="2027205" y="35689"/>
                </a:cubicBezTo>
                <a:cubicBezTo>
                  <a:pt x="2024227" y="35570"/>
                  <a:pt x="2021548" y="35511"/>
                  <a:pt x="2019166" y="35511"/>
                </a:cubicBezTo>
                <a:cubicBezTo>
                  <a:pt x="2012496" y="35511"/>
                  <a:pt x="2007138" y="35984"/>
                  <a:pt x="2002969" y="36931"/>
                </a:cubicBezTo>
                <a:cubicBezTo>
                  <a:pt x="1998800" y="37879"/>
                  <a:pt x="1995405" y="39772"/>
                  <a:pt x="1992845" y="42554"/>
                </a:cubicBezTo>
                <a:cubicBezTo>
                  <a:pt x="1990285" y="45336"/>
                  <a:pt x="1988439" y="49538"/>
                  <a:pt x="1987367" y="55160"/>
                </a:cubicBezTo>
                <a:cubicBezTo>
                  <a:pt x="1986295" y="60783"/>
                  <a:pt x="1985581" y="68240"/>
                  <a:pt x="1985283" y="77532"/>
                </a:cubicBezTo>
                <a:cubicBezTo>
                  <a:pt x="1984985" y="86765"/>
                  <a:pt x="1984806" y="98424"/>
                  <a:pt x="1984806" y="112511"/>
                </a:cubicBezTo>
                <a:cubicBezTo>
                  <a:pt x="1984806" y="126597"/>
                  <a:pt x="1984985" y="138198"/>
                  <a:pt x="1985283" y="147489"/>
                </a:cubicBezTo>
                <a:cubicBezTo>
                  <a:pt x="1985581" y="156722"/>
                  <a:pt x="1986295" y="164179"/>
                  <a:pt x="1987367" y="169861"/>
                </a:cubicBezTo>
                <a:cubicBezTo>
                  <a:pt x="1988439" y="175483"/>
                  <a:pt x="1990225" y="179745"/>
                  <a:pt x="1992666" y="182645"/>
                </a:cubicBezTo>
                <a:cubicBezTo>
                  <a:pt x="1995108" y="185486"/>
                  <a:pt x="1998443" y="187380"/>
                  <a:pt x="2002611" y="188209"/>
                </a:cubicBezTo>
                <a:cubicBezTo>
                  <a:pt x="2006780" y="189037"/>
                  <a:pt x="2012318" y="189451"/>
                  <a:pt x="2019166" y="189451"/>
                </a:cubicBezTo>
                <a:cubicBezTo>
                  <a:pt x="2024942" y="189451"/>
                  <a:pt x="2030302" y="189215"/>
                  <a:pt x="2035244" y="188801"/>
                </a:cubicBezTo>
                <a:cubicBezTo>
                  <a:pt x="2040187" y="188386"/>
                  <a:pt x="2044653" y="187853"/>
                  <a:pt x="2048762" y="187203"/>
                </a:cubicBezTo>
                <a:lnTo>
                  <a:pt x="2048762" y="219754"/>
                </a:lnTo>
                <a:cubicBezTo>
                  <a:pt x="2045784" y="220819"/>
                  <a:pt x="2042092" y="221708"/>
                  <a:pt x="2037685" y="222477"/>
                </a:cubicBezTo>
                <a:cubicBezTo>
                  <a:pt x="2033279" y="223187"/>
                  <a:pt x="2028753" y="223779"/>
                  <a:pt x="2024049" y="224193"/>
                </a:cubicBezTo>
                <a:cubicBezTo>
                  <a:pt x="2019344" y="224607"/>
                  <a:pt x="2014819" y="224844"/>
                  <a:pt x="2010531" y="224844"/>
                </a:cubicBezTo>
                <a:lnTo>
                  <a:pt x="2010531" y="224785"/>
                </a:lnTo>
                <a:cubicBezTo>
                  <a:pt x="1998323" y="224785"/>
                  <a:pt x="1988081" y="223601"/>
                  <a:pt x="1979863" y="221293"/>
                </a:cubicBezTo>
                <a:cubicBezTo>
                  <a:pt x="1971646" y="218985"/>
                  <a:pt x="1965037" y="215197"/>
                  <a:pt x="1960094" y="210107"/>
                </a:cubicBezTo>
                <a:cubicBezTo>
                  <a:pt x="1955151" y="205018"/>
                  <a:pt x="1951400" y="198151"/>
                  <a:pt x="1948839" y="189510"/>
                </a:cubicBezTo>
                <a:cubicBezTo>
                  <a:pt x="1946279" y="180869"/>
                  <a:pt x="1944552" y="170216"/>
                  <a:pt x="1943717" y="157432"/>
                </a:cubicBezTo>
                <a:cubicBezTo>
                  <a:pt x="1942884" y="144649"/>
                  <a:pt x="1942408" y="129674"/>
                  <a:pt x="1942408" y="112392"/>
                </a:cubicBezTo>
                <a:cubicBezTo>
                  <a:pt x="1942408" y="95110"/>
                  <a:pt x="1942824" y="79900"/>
                  <a:pt x="1943717" y="67234"/>
                </a:cubicBezTo>
                <a:cubicBezTo>
                  <a:pt x="1944552" y="54569"/>
                  <a:pt x="1946279" y="43915"/>
                  <a:pt x="1948839" y="35333"/>
                </a:cubicBezTo>
                <a:cubicBezTo>
                  <a:pt x="1951400" y="26692"/>
                  <a:pt x="1955211" y="19827"/>
                  <a:pt x="1960212" y="14560"/>
                </a:cubicBezTo>
                <a:cubicBezTo>
                  <a:pt x="1965214" y="9351"/>
                  <a:pt x="1971825" y="5622"/>
                  <a:pt x="1979983" y="3374"/>
                </a:cubicBezTo>
                <a:cubicBezTo>
                  <a:pt x="1988141" y="1125"/>
                  <a:pt x="1998265" y="0"/>
                  <a:pt x="2010472" y="0"/>
                </a:cubicBezTo>
                <a:close/>
              </a:path>
            </a:pathLst>
          </a:custGeom>
          <a:solidFill>
            <a:schemeClr val="bg1"/>
          </a:solidFill>
          <a:ln w="5161" cap="flat">
            <a:noFill/>
            <a:prstDash val="solid"/>
            <a:miter/>
          </a:ln>
          <a:effectLst>
            <a:outerShdw blurRad="166676" sx="102000" sy="102000" algn="ctr" rotWithShape="0">
              <a:prstClr val="black"/>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291" name="Forma libre 290">
            <a:extLst>
              <a:ext uri="{FF2B5EF4-FFF2-40B4-BE49-F238E27FC236}">
                <a16:creationId xmlns:a16="http://schemas.microsoft.com/office/drawing/2014/main" id="{495E3723-977D-426D-018C-F18ABCABA24F}"/>
              </a:ext>
            </a:extLst>
          </p:cNvPr>
          <p:cNvSpPr/>
          <p:nvPr/>
        </p:nvSpPr>
        <p:spPr>
          <a:xfrm>
            <a:off x="9901827" y="2827804"/>
            <a:ext cx="1553294" cy="823120"/>
          </a:xfrm>
          <a:custGeom>
            <a:avLst/>
            <a:gdLst>
              <a:gd name="connsiteX0" fmla="*/ 1036260 w 1707029"/>
              <a:gd name="connsiteY0" fmla="*/ 827646 h 904588"/>
              <a:gd name="connsiteX1" fmla="*/ 1046741 w 1707029"/>
              <a:gd name="connsiteY1" fmla="*/ 831967 h 904588"/>
              <a:gd name="connsiteX2" fmla="*/ 1051028 w 1707029"/>
              <a:gd name="connsiteY2" fmla="*/ 842443 h 904588"/>
              <a:gd name="connsiteX3" fmla="*/ 1046741 w 1707029"/>
              <a:gd name="connsiteY3" fmla="*/ 852741 h 904588"/>
              <a:gd name="connsiteX4" fmla="*/ 1036260 w 1707029"/>
              <a:gd name="connsiteY4" fmla="*/ 857062 h 904588"/>
              <a:gd name="connsiteX5" fmla="*/ 1025898 w 1707029"/>
              <a:gd name="connsiteY5" fmla="*/ 852741 h 904588"/>
              <a:gd name="connsiteX6" fmla="*/ 1021552 w 1707029"/>
              <a:gd name="connsiteY6" fmla="*/ 842443 h 904588"/>
              <a:gd name="connsiteX7" fmla="*/ 1025898 w 1707029"/>
              <a:gd name="connsiteY7" fmla="*/ 831967 h 904588"/>
              <a:gd name="connsiteX8" fmla="*/ 1036260 w 1707029"/>
              <a:gd name="connsiteY8" fmla="*/ 827646 h 904588"/>
              <a:gd name="connsiteX9" fmla="*/ 373965 w 1707029"/>
              <a:gd name="connsiteY9" fmla="*/ 755973 h 904588"/>
              <a:gd name="connsiteX10" fmla="*/ 354671 w 1707029"/>
              <a:gd name="connsiteY10" fmla="*/ 761181 h 904588"/>
              <a:gd name="connsiteX11" fmla="*/ 341034 w 1707029"/>
              <a:gd name="connsiteY11" fmla="*/ 775386 h 904588"/>
              <a:gd name="connsiteX12" fmla="*/ 336031 w 1707029"/>
              <a:gd name="connsiteY12" fmla="*/ 795864 h 904588"/>
              <a:gd name="connsiteX13" fmla="*/ 341034 w 1707029"/>
              <a:gd name="connsiteY13" fmla="*/ 816106 h 904588"/>
              <a:gd name="connsiteX14" fmla="*/ 354671 w 1707029"/>
              <a:gd name="connsiteY14" fmla="*/ 830310 h 904588"/>
              <a:gd name="connsiteX15" fmla="*/ 373965 w 1707029"/>
              <a:gd name="connsiteY15" fmla="*/ 835519 h 904588"/>
              <a:gd name="connsiteX16" fmla="*/ 393377 w 1707029"/>
              <a:gd name="connsiteY16" fmla="*/ 830310 h 904588"/>
              <a:gd name="connsiteX17" fmla="*/ 406835 w 1707029"/>
              <a:gd name="connsiteY17" fmla="*/ 816106 h 904588"/>
              <a:gd name="connsiteX18" fmla="*/ 411718 w 1707029"/>
              <a:gd name="connsiteY18" fmla="*/ 795864 h 904588"/>
              <a:gd name="connsiteX19" fmla="*/ 406835 w 1707029"/>
              <a:gd name="connsiteY19" fmla="*/ 775386 h 904588"/>
              <a:gd name="connsiteX20" fmla="*/ 393377 w 1707029"/>
              <a:gd name="connsiteY20" fmla="*/ 761181 h 904588"/>
              <a:gd name="connsiteX21" fmla="*/ 1133741 w 1707029"/>
              <a:gd name="connsiteY21" fmla="*/ 755914 h 904588"/>
              <a:gd name="connsiteX22" fmla="*/ 1114091 w 1707029"/>
              <a:gd name="connsiteY22" fmla="*/ 761004 h 904588"/>
              <a:gd name="connsiteX23" fmla="*/ 1100632 w 1707029"/>
              <a:gd name="connsiteY23" fmla="*/ 775091 h 904588"/>
              <a:gd name="connsiteX24" fmla="*/ 1095749 w 1707029"/>
              <a:gd name="connsiteY24" fmla="*/ 795745 h 904588"/>
              <a:gd name="connsiteX25" fmla="*/ 1100632 w 1707029"/>
              <a:gd name="connsiteY25" fmla="*/ 816342 h 904588"/>
              <a:gd name="connsiteX26" fmla="*/ 1114091 w 1707029"/>
              <a:gd name="connsiteY26" fmla="*/ 830369 h 904588"/>
              <a:gd name="connsiteX27" fmla="*/ 1133741 w 1707029"/>
              <a:gd name="connsiteY27" fmla="*/ 835459 h 904588"/>
              <a:gd name="connsiteX28" fmla="*/ 1153392 w 1707029"/>
              <a:gd name="connsiteY28" fmla="*/ 830369 h 904588"/>
              <a:gd name="connsiteX29" fmla="*/ 1166731 w 1707029"/>
              <a:gd name="connsiteY29" fmla="*/ 816342 h 904588"/>
              <a:gd name="connsiteX30" fmla="*/ 1171554 w 1707029"/>
              <a:gd name="connsiteY30" fmla="*/ 795745 h 904588"/>
              <a:gd name="connsiteX31" fmla="*/ 1166731 w 1707029"/>
              <a:gd name="connsiteY31" fmla="*/ 775091 h 904588"/>
              <a:gd name="connsiteX32" fmla="*/ 1153392 w 1707029"/>
              <a:gd name="connsiteY32" fmla="*/ 761004 h 904588"/>
              <a:gd name="connsiteX33" fmla="*/ 1133741 w 1707029"/>
              <a:gd name="connsiteY33" fmla="*/ 755914 h 904588"/>
              <a:gd name="connsiteX34" fmla="*/ 1500023 w 1707029"/>
              <a:gd name="connsiteY34" fmla="*/ 755028 h 904588"/>
              <a:gd name="connsiteX35" fmla="*/ 1479181 w 1707029"/>
              <a:gd name="connsiteY35" fmla="*/ 760354 h 904588"/>
              <a:gd name="connsiteX36" fmla="*/ 1479241 w 1707029"/>
              <a:gd name="connsiteY36" fmla="*/ 760354 h 904588"/>
              <a:gd name="connsiteX37" fmla="*/ 1466139 w 1707029"/>
              <a:gd name="connsiteY37" fmla="*/ 774855 h 904588"/>
              <a:gd name="connsiteX38" fmla="*/ 1462626 w 1707029"/>
              <a:gd name="connsiteY38" fmla="*/ 786218 h 904588"/>
              <a:gd name="connsiteX39" fmla="*/ 1533310 w 1707029"/>
              <a:gd name="connsiteY39" fmla="*/ 786218 h 904588"/>
              <a:gd name="connsiteX40" fmla="*/ 1529737 w 1707029"/>
              <a:gd name="connsiteY40" fmla="*/ 773138 h 904588"/>
              <a:gd name="connsiteX41" fmla="*/ 1518185 w 1707029"/>
              <a:gd name="connsiteY41" fmla="*/ 759880 h 904588"/>
              <a:gd name="connsiteX42" fmla="*/ 1500023 w 1707029"/>
              <a:gd name="connsiteY42" fmla="*/ 755028 h 904588"/>
              <a:gd name="connsiteX43" fmla="*/ 1371756 w 1707029"/>
              <a:gd name="connsiteY43" fmla="*/ 755028 h 904588"/>
              <a:gd name="connsiteX44" fmla="*/ 1350913 w 1707029"/>
              <a:gd name="connsiteY44" fmla="*/ 760354 h 904588"/>
              <a:gd name="connsiteX45" fmla="*/ 1350973 w 1707029"/>
              <a:gd name="connsiteY45" fmla="*/ 760354 h 904588"/>
              <a:gd name="connsiteX46" fmla="*/ 1337872 w 1707029"/>
              <a:gd name="connsiteY46" fmla="*/ 774855 h 904588"/>
              <a:gd name="connsiteX47" fmla="*/ 1334359 w 1707029"/>
              <a:gd name="connsiteY47" fmla="*/ 786218 h 904588"/>
              <a:gd name="connsiteX48" fmla="*/ 1405042 w 1707029"/>
              <a:gd name="connsiteY48" fmla="*/ 786218 h 904588"/>
              <a:gd name="connsiteX49" fmla="*/ 1401470 w 1707029"/>
              <a:gd name="connsiteY49" fmla="*/ 773138 h 904588"/>
              <a:gd name="connsiteX50" fmla="*/ 1389918 w 1707029"/>
              <a:gd name="connsiteY50" fmla="*/ 759880 h 904588"/>
              <a:gd name="connsiteX51" fmla="*/ 1371756 w 1707029"/>
              <a:gd name="connsiteY51" fmla="*/ 755028 h 904588"/>
              <a:gd name="connsiteX52" fmla="*/ 602391 w 1707029"/>
              <a:gd name="connsiteY52" fmla="*/ 755028 h 904588"/>
              <a:gd name="connsiteX53" fmla="*/ 581549 w 1707029"/>
              <a:gd name="connsiteY53" fmla="*/ 760354 h 904588"/>
              <a:gd name="connsiteX54" fmla="*/ 581609 w 1707029"/>
              <a:gd name="connsiteY54" fmla="*/ 760354 h 904588"/>
              <a:gd name="connsiteX55" fmla="*/ 568508 w 1707029"/>
              <a:gd name="connsiteY55" fmla="*/ 774855 h 904588"/>
              <a:gd name="connsiteX56" fmla="*/ 564994 w 1707029"/>
              <a:gd name="connsiteY56" fmla="*/ 786218 h 904588"/>
              <a:gd name="connsiteX57" fmla="*/ 635679 w 1707029"/>
              <a:gd name="connsiteY57" fmla="*/ 786218 h 904588"/>
              <a:gd name="connsiteX58" fmla="*/ 632105 w 1707029"/>
              <a:gd name="connsiteY58" fmla="*/ 773138 h 904588"/>
              <a:gd name="connsiteX59" fmla="*/ 620553 w 1707029"/>
              <a:gd name="connsiteY59" fmla="*/ 759880 h 904588"/>
              <a:gd name="connsiteX60" fmla="*/ 795923 w 1707029"/>
              <a:gd name="connsiteY60" fmla="*/ 738218 h 904588"/>
              <a:gd name="connsiteX61" fmla="*/ 801460 w 1707029"/>
              <a:gd name="connsiteY61" fmla="*/ 743604 h 904588"/>
              <a:gd name="connsiteX62" fmla="*/ 840584 w 1707029"/>
              <a:gd name="connsiteY62" fmla="*/ 820840 h 904588"/>
              <a:gd name="connsiteX63" fmla="*/ 874884 w 1707029"/>
              <a:gd name="connsiteY63" fmla="*/ 743841 h 904588"/>
              <a:gd name="connsiteX64" fmla="*/ 888343 w 1707029"/>
              <a:gd name="connsiteY64" fmla="*/ 738750 h 904588"/>
              <a:gd name="connsiteX65" fmla="*/ 888343 w 1707029"/>
              <a:gd name="connsiteY65" fmla="*/ 738691 h 904588"/>
              <a:gd name="connsiteX66" fmla="*/ 893701 w 1707029"/>
              <a:gd name="connsiteY66" fmla="*/ 752068 h 904588"/>
              <a:gd name="connsiteX67" fmla="*/ 828377 w 1707029"/>
              <a:gd name="connsiteY67" fmla="*/ 898019 h 904588"/>
              <a:gd name="connsiteX68" fmla="*/ 820039 w 1707029"/>
              <a:gd name="connsiteY68" fmla="*/ 904588 h 904588"/>
              <a:gd name="connsiteX69" fmla="*/ 814919 w 1707029"/>
              <a:gd name="connsiteY69" fmla="*/ 903346 h 904588"/>
              <a:gd name="connsiteX70" fmla="*/ 809798 w 1707029"/>
              <a:gd name="connsiteY70" fmla="*/ 889969 h 904588"/>
              <a:gd name="connsiteX71" fmla="*/ 831057 w 1707029"/>
              <a:gd name="connsiteY71" fmla="*/ 842207 h 904588"/>
              <a:gd name="connsiteX72" fmla="*/ 783120 w 1707029"/>
              <a:gd name="connsiteY72" fmla="*/ 751653 h 904588"/>
              <a:gd name="connsiteX73" fmla="*/ 782584 w 1707029"/>
              <a:gd name="connsiteY73" fmla="*/ 743900 h 904588"/>
              <a:gd name="connsiteX74" fmla="*/ 788241 w 1707029"/>
              <a:gd name="connsiteY74" fmla="*/ 738514 h 904588"/>
              <a:gd name="connsiteX75" fmla="*/ 795923 w 1707029"/>
              <a:gd name="connsiteY75" fmla="*/ 738218 h 904588"/>
              <a:gd name="connsiteX76" fmla="*/ 1133741 w 1707029"/>
              <a:gd name="connsiteY76" fmla="*/ 736856 h 904588"/>
              <a:gd name="connsiteX77" fmla="*/ 1164051 w 1707029"/>
              <a:gd name="connsiteY77" fmla="*/ 744372 h 904588"/>
              <a:gd name="connsiteX78" fmla="*/ 1184834 w 1707029"/>
              <a:gd name="connsiteY78" fmla="*/ 765147 h 904588"/>
              <a:gd name="connsiteX79" fmla="*/ 1192396 w 1707029"/>
              <a:gd name="connsiteY79" fmla="*/ 795805 h 904588"/>
              <a:gd name="connsiteX80" fmla="*/ 1192396 w 1707029"/>
              <a:gd name="connsiteY80" fmla="*/ 841615 h 904588"/>
              <a:gd name="connsiteX81" fmla="*/ 1184953 w 1707029"/>
              <a:gd name="connsiteY81" fmla="*/ 872036 h 904588"/>
              <a:gd name="connsiteX82" fmla="*/ 1164170 w 1707029"/>
              <a:gd name="connsiteY82" fmla="*/ 893757 h 904588"/>
              <a:gd name="connsiteX83" fmla="*/ 1133324 w 1707029"/>
              <a:gd name="connsiteY83" fmla="*/ 901806 h 904588"/>
              <a:gd name="connsiteX84" fmla="*/ 1104920 w 1707029"/>
              <a:gd name="connsiteY84" fmla="*/ 895887 h 904588"/>
              <a:gd name="connsiteX85" fmla="*/ 1082530 w 1707029"/>
              <a:gd name="connsiteY85" fmla="*/ 878488 h 904588"/>
              <a:gd name="connsiteX86" fmla="*/ 1080505 w 1707029"/>
              <a:gd name="connsiteY86" fmla="*/ 871089 h 904588"/>
              <a:gd name="connsiteX87" fmla="*/ 1084674 w 1707029"/>
              <a:gd name="connsiteY87" fmla="*/ 864934 h 904588"/>
              <a:gd name="connsiteX88" fmla="*/ 1092653 w 1707029"/>
              <a:gd name="connsiteY88" fmla="*/ 863218 h 904588"/>
              <a:gd name="connsiteX89" fmla="*/ 1099382 w 1707029"/>
              <a:gd name="connsiteY89" fmla="*/ 867479 h 904588"/>
              <a:gd name="connsiteX90" fmla="*/ 1113912 w 1707029"/>
              <a:gd name="connsiteY90" fmla="*/ 878724 h 904588"/>
              <a:gd name="connsiteX91" fmla="*/ 1133741 w 1707029"/>
              <a:gd name="connsiteY91" fmla="*/ 882749 h 904588"/>
              <a:gd name="connsiteX92" fmla="*/ 1152618 w 1707029"/>
              <a:gd name="connsiteY92" fmla="*/ 877896 h 904588"/>
              <a:gd name="connsiteX93" fmla="*/ 1166374 w 1707029"/>
              <a:gd name="connsiteY93" fmla="*/ 863454 h 904588"/>
              <a:gd name="connsiteX94" fmla="*/ 1171494 w 1707029"/>
              <a:gd name="connsiteY94" fmla="*/ 840135 h 904588"/>
              <a:gd name="connsiteX95" fmla="*/ 1171494 w 1707029"/>
              <a:gd name="connsiteY95" fmla="*/ 829422 h 904588"/>
              <a:gd name="connsiteX96" fmla="*/ 1155477 w 1707029"/>
              <a:gd name="connsiteY96" fmla="*/ 847001 h 904588"/>
              <a:gd name="connsiteX97" fmla="*/ 1129454 w 1707029"/>
              <a:gd name="connsiteY97" fmla="*/ 854517 h 904588"/>
              <a:gd name="connsiteX98" fmla="*/ 1101169 w 1707029"/>
              <a:gd name="connsiteY98" fmla="*/ 847001 h 904588"/>
              <a:gd name="connsiteX99" fmla="*/ 1081875 w 1707029"/>
              <a:gd name="connsiteY99" fmla="*/ 826226 h 904588"/>
              <a:gd name="connsiteX100" fmla="*/ 1074848 w 1707029"/>
              <a:gd name="connsiteY100" fmla="*/ 795805 h 904588"/>
              <a:gd name="connsiteX101" fmla="*/ 1082411 w 1707029"/>
              <a:gd name="connsiteY101" fmla="*/ 765147 h 904588"/>
              <a:gd name="connsiteX102" fmla="*/ 1103193 w 1707029"/>
              <a:gd name="connsiteY102" fmla="*/ 744372 h 904588"/>
              <a:gd name="connsiteX103" fmla="*/ 1133741 w 1707029"/>
              <a:gd name="connsiteY103" fmla="*/ 736856 h 904588"/>
              <a:gd name="connsiteX104" fmla="*/ 955096 w 1707029"/>
              <a:gd name="connsiteY104" fmla="*/ 736856 h 904588"/>
              <a:gd name="connsiteX105" fmla="*/ 980046 w 1707029"/>
              <a:gd name="connsiteY105" fmla="*/ 741295 h 904588"/>
              <a:gd name="connsiteX106" fmla="*/ 997315 w 1707029"/>
              <a:gd name="connsiteY106" fmla="*/ 753605 h 904588"/>
              <a:gd name="connsiteX107" fmla="*/ 1000115 w 1707029"/>
              <a:gd name="connsiteY107" fmla="*/ 760708 h 904588"/>
              <a:gd name="connsiteX108" fmla="*/ 996482 w 1707029"/>
              <a:gd name="connsiteY108" fmla="*/ 766981 h 904588"/>
              <a:gd name="connsiteX109" fmla="*/ 988384 w 1707029"/>
              <a:gd name="connsiteY109" fmla="*/ 768461 h 904588"/>
              <a:gd name="connsiteX110" fmla="*/ 980464 w 1707029"/>
              <a:gd name="connsiteY110" fmla="*/ 764614 h 904588"/>
              <a:gd name="connsiteX111" fmla="*/ 968971 w 1707029"/>
              <a:gd name="connsiteY111" fmla="*/ 757630 h 904588"/>
              <a:gd name="connsiteX112" fmla="*/ 954680 w 1707029"/>
              <a:gd name="connsiteY112" fmla="*/ 755736 h 904588"/>
              <a:gd name="connsiteX113" fmla="*/ 938780 w 1707029"/>
              <a:gd name="connsiteY113" fmla="*/ 758932 h 904588"/>
              <a:gd name="connsiteX114" fmla="*/ 932290 w 1707029"/>
              <a:gd name="connsiteY114" fmla="*/ 768284 h 904588"/>
              <a:gd name="connsiteX115" fmla="*/ 934313 w 1707029"/>
              <a:gd name="connsiteY115" fmla="*/ 775149 h 904588"/>
              <a:gd name="connsiteX116" fmla="*/ 942293 w 1707029"/>
              <a:gd name="connsiteY116" fmla="*/ 780653 h 904588"/>
              <a:gd name="connsiteX117" fmla="*/ 959801 w 1707029"/>
              <a:gd name="connsiteY117" fmla="*/ 785447 h 904588"/>
              <a:gd name="connsiteX118" fmla="*/ 985109 w 1707029"/>
              <a:gd name="connsiteY118" fmla="*/ 793496 h 904588"/>
              <a:gd name="connsiteX119" fmla="*/ 985168 w 1707029"/>
              <a:gd name="connsiteY119" fmla="*/ 793437 h 904588"/>
              <a:gd name="connsiteX120" fmla="*/ 998507 w 1707029"/>
              <a:gd name="connsiteY120" fmla="*/ 804801 h 904588"/>
              <a:gd name="connsiteX121" fmla="*/ 1002556 w 1707029"/>
              <a:gd name="connsiteY121" fmla="*/ 819775 h 904588"/>
              <a:gd name="connsiteX122" fmla="*/ 997315 w 1707029"/>
              <a:gd name="connsiteY122" fmla="*/ 837353 h 904588"/>
              <a:gd name="connsiteX123" fmla="*/ 981952 w 1707029"/>
              <a:gd name="connsiteY123" fmla="*/ 849841 h 904588"/>
              <a:gd name="connsiteX124" fmla="*/ 956644 w 1707029"/>
              <a:gd name="connsiteY124" fmla="*/ 854516 h 904588"/>
              <a:gd name="connsiteX125" fmla="*/ 929014 w 1707029"/>
              <a:gd name="connsiteY125" fmla="*/ 849960 h 904588"/>
              <a:gd name="connsiteX126" fmla="*/ 909243 w 1707029"/>
              <a:gd name="connsiteY126" fmla="*/ 838418 h 904588"/>
              <a:gd name="connsiteX127" fmla="*/ 906564 w 1707029"/>
              <a:gd name="connsiteY127" fmla="*/ 830664 h 904588"/>
              <a:gd name="connsiteX128" fmla="*/ 910733 w 1707029"/>
              <a:gd name="connsiteY128" fmla="*/ 823563 h 904588"/>
              <a:gd name="connsiteX129" fmla="*/ 919188 w 1707029"/>
              <a:gd name="connsiteY129" fmla="*/ 820722 h 904588"/>
              <a:gd name="connsiteX130" fmla="*/ 926335 w 1707029"/>
              <a:gd name="connsiteY130" fmla="*/ 824450 h 904588"/>
              <a:gd name="connsiteX131" fmla="*/ 937947 w 1707029"/>
              <a:gd name="connsiteY131" fmla="*/ 831967 h 904588"/>
              <a:gd name="connsiteX132" fmla="*/ 955751 w 1707029"/>
              <a:gd name="connsiteY132" fmla="*/ 835459 h 904588"/>
              <a:gd name="connsiteX133" fmla="*/ 974628 w 1707029"/>
              <a:gd name="connsiteY133" fmla="*/ 831434 h 904588"/>
              <a:gd name="connsiteX134" fmla="*/ 981357 w 1707029"/>
              <a:gd name="connsiteY134" fmla="*/ 821017 h 904588"/>
              <a:gd name="connsiteX135" fmla="*/ 975283 w 1707029"/>
              <a:gd name="connsiteY135" fmla="*/ 810010 h 904588"/>
              <a:gd name="connsiteX136" fmla="*/ 952357 w 1707029"/>
              <a:gd name="connsiteY136" fmla="*/ 802374 h 904588"/>
              <a:gd name="connsiteX137" fmla="*/ 921094 w 1707029"/>
              <a:gd name="connsiteY137" fmla="*/ 789649 h 904588"/>
              <a:gd name="connsiteX138" fmla="*/ 911388 w 1707029"/>
              <a:gd name="connsiteY138" fmla="*/ 768876 h 904588"/>
              <a:gd name="connsiteX139" fmla="*/ 917760 w 1707029"/>
              <a:gd name="connsiteY139" fmla="*/ 750942 h 904588"/>
              <a:gd name="connsiteX140" fmla="*/ 934195 w 1707029"/>
              <a:gd name="connsiteY140" fmla="*/ 740348 h 904588"/>
              <a:gd name="connsiteX141" fmla="*/ 955096 w 1707029"/>
              <a:gd name="connsiteY141" fmla="*/ 736856 h 904588"/>
              <a:gd name="connsiteX142" fmla="*/ 724167 w 1707029"/>
              <a:gd name="connsiteY142" fmla="*/ 736856 h 904588"/>
              <a:gd name="connsiteX143" fmla="*/ 749118 w 1707029"/>
              <a:gd name="connsiteY143" fmla="*/ 741295 h 904588"/>
              <a:gd name="connsiteX144" fmla="*/ 766386 w 1707029"/>
              <a:gd name="connsiteY144" fmla="*/ 753605 h 904588"/>
              <a:gd name="connsiteX145" fmla="*/ 769186 w 1707029"/>
              <a:gd name="connsiteY145" fmla="*/ 760708 h 904588"/>
              <a:gd name="connsiteX146" fmla="*/ 765553 w 1707029"/>
              <a:gd name="connsiteY146" fmla="*/ 766981 h 904588"/>
              <a:gd name="connsiteX147" fmla="*/ 757455 w 1707029"/>
              <a:gd name="connsiteY147" fmla="*/ 768461 h 904588"/>
              <a:gd name="connsiteX148" fmla="*/ 749535 w 1707029"/>
              <a:gd name="connsiteY148" fmla="*/ 764614 h 904588"/>
              <a:gd name="connsiteX149" fmla="*/ 738042 w 1707029"/>
              <a:gd name="connsiteY149" fmla="*/ 757630 h 904588"/>
              <a:gd name="connsiteX150" fmla="*/ 723751 w 1707029"/>
              <a:gd name="connsiteY150" fmla="*/ 755736 h 904588"/>
              <a:gd name="connsiteX151" fmla="*/ 707851 w 1707029"/>
              <a:gd name="connsiteY151" fmla="*/ 758932 h 904588"/>
              <a:gd name="connsiteX152" fmla="*/ 701361 w 1707029"/>
              <a:gd name="connsiteY152" fmla="*/ 768284 h 904588"/>
              <a:gd name="connsiteX153" fmla="*/ 703385 w 1707029"/>
              <a:gd name="connsiteY153" fmla="*/ 775149 h 904588"/>
              <a:gd name="connsiteX154" fmla="*/ 711364 w 1707029"/>
              <a:gd name="connsiteY154" fmla="*/ 780653 h 904588"/>
              <a:gd name="connsiteX155" fmla="*/ 728872 w 1707029"/>
              <a:gd name="connsiteY155" fmla="*/ 785447 h 904588"/>
              <a:gd name="connsiteX156" fmla="*/ 754180 w 1707029"/>
              <a:gd name="connsiteY156" fmla="*/ 793496 h 904588"/>
              <a:gd name="connsiteX157" fmla="*/ 754239 w 1707029"/>
              <a:gd name="connsiteY157" fmla="*/ 793437 h 904588"/>
              <a:gd name="connsiteX158" fmla="*/ 767578 w 1707029"/>
              <a:gd name="connsiteY158" fmla="*/ 804801 h 904588"/>
              <a:gd name="connsiteX159" fmla="*/ 771627 w 1707029"/>
              <a:gd name="connsiteY159" fmla="*/ 819775 h 904588"/>
              <a:gd name="connsiteX160" fmla="*/ 766386 w 1707029"/>
              <a:gd name="connsiteY160" fmla="*/ 837353 h 904588"/>
              <a:gd name="connsiteX161" fmla="*/ 751023 w 1707029"/>
              <a:gd name="connsiteY161" fmla="*/ 849841 h 904588"/>
              <a:gd name="connsiteX162" fmla="*/ 725715 w 1707029"/>
              <a:gd name="connsiteY162" fmla="*/ 854516 h 904588"/>
              <a:gd name="connsiteX163" fmla="*/ 698085 w 1707029"/>
              <a:gd name="connsiteY163" fmla="*/ 849960 h 904588"/>
              <a:gd name="connsiteX164" fmla="*/ 678316 w 1707029"/>
              <a:gd name="connsiteY164" fmla="*/ 838418 h 904588"/>
              <a:gd name="connsiteX165" fmla="*/ 675635 w 1707029"/>
              <a:gd name="connsiteY165" fmla="*/ 830664 h 904588"/>
              <a:gd name="connsiteX166" fmla="*/ 679804 w 1707029"/>
              <a:gd name="connsiteY166" fmla="*/ 823563 h 904588"/>
              <a:gd name="connsiteX167" fmla="*/ 688259 w 1707029"/>
              <a:gd name="connsiteY167" fmla="*/ 820722 h 904588"/>
              <a:gd name="connsiteX168" fmla="*/ 688259 w 1707029"/>
              <a:gd name="connsiteY168" fmla="*/ 820722 h 904588"/>
              <a:gd name="connsiteX169" fmla="*/ 695406 w 1707029"/>
              <a:gd name="connsiteY169" fmla="*/ 824450 h 904588"/>
              <a:gd name="connsiteX170" fmla="*/ 707018 w 1707029"/>
              <a:gd name="connsiteY170" fmla="*/ 831967 h 904588"/>
              <a:gd name="connsiteX171" fmla="*/ 724822 w 1707029"/>
              <a:gd name="connsiteY171" fmla="*/ 835459 h 904588"/>
              <a:gd name="connsiteX172" fmla="*/ 743699 w 1707029"/>
              <a:gd name="connsiteY172" fmla="*/ 831434 h 904588"/>
              <a:gd name="connsiteX173" fmla="*/ 750428 w 1707029"/>
              <a:gd name="connsiteY173" fmla="*/ 821017 h 904588"/>
              <a:gd name="connsiteX174" fmla="*/ 744354 w 1707029"/>
              <a:gd name="connsiteY174" fmla="*/ 810010 h 904588"/>
              <a:gd name="connsiteX175" fmla="*/ 721428 w 1707029"/>
              <a:gd name="connsiteY175" fmla="*/ 802374 h 904588"/>
              <a:gd name="connsiteX176" fmla="*/ 690165 w 1707029"/>
              <a:gd name="connsiteY176" fmla="*/ 789649 h 904588"/>
              <a:gd name="connsiteX177" fmla="*/ 680459 w 1707029"/>
              <a:gd name="connsiteY177" fmla="*/ 768876 h 904588"/>
              <a:gd name="connsiteX178" fmla="*/ 686831 w 1707029"/>
              <a:gd name="connsiteY178" fmla="*/ 750942 h 904588"/>
              <a:gd name="connsiteX179" fmla="*/ 703266 w 1707029"/>
              <a:gd name="connsiteY179" fmla="*/ 740348 h 904588"/>
              <a:gd name="connsiteX180" fmla="*/ 724167 w 1707029"/>
              <a:gd name="connsiteY180" fmla="*/ 736856 h 904588"/>
              <a:gd name="connsiteX181" fmla="*/ 373965 w 1707029"/>
              <a:gd name="connsiteY181" fmla="*/ 736856 h 904588"/>
              <a:gd name="connsiteX182" fmla="*/ 403857 w 1707029"/>
              <a:gd name="connsiteY182" fmla="*/ 744610 h 904588"/>
              <a:gd name="connsiteX183" fmla="*/ 403738 w 1707029"/>
              <a:gd name="connsiteY183" fmla="*/ 744610 h 904588"/>
              <a:gd name="connsiteX184" fmla="*/ 424758 w 1707029"/>
              <a:gd name="connsiteY184" fmla="*/ 765739 h 904588"/>
              <a:gd name="connsiteX185" fmla="*/ 432559 w 1707029"/>
              <a:gd name="connsiteY185" fmla="*/ 795864 h 904588"/>
              <a:gd name="connsiteX186" fmla="*/ 432559 w 1707029"/>
              <a:gd name="connsiteY186" fmla="*/ 843154 h 904588"/>
              <a:gd name="connsiteX187" fmla="*/ 429462 w 1707029"/>
              <a:gd name="connsiteY187" fmla="*/ 850906 h 904588"/>
              <a:gd name="connsiteX188" fmla="*/ 421663 w 1707029"/>
              <a:gd name="connsiteY188" fmla="*/ 853985 h 904588"/>
              <a:gd name="connsiteX189" fmla="*/ 421663 w 1707029"/>
              <a:gd name="connsiteY189" fmla="*/ 853985 h 904588"/>
              <a:gd name="connsiteX190" fmla="*/ 413862 w 1707029"/>
              <a:gd name="connsiteY190" fmla="*/ 850906 h 904588"/>
              <a:gd name="connsiteX191" fmla="*/ 410765 w 1707029"/>
              <a:gd name="connsiteY191" fmla="*/ 843154 h 904588"/>
              <a:gd name="connsiteX192" fmla="*/ 410765 w 1707029"/>
              <a:gd name="connsiteY192" fmla="*/ 835105 h 904588"/>
              <a:gd name="connsiteX193" fmla="*/ 397545 w 1707029"/>
              <a:gd name="connsiteY193" fmla="*/ 846882 h 904588"/>
              <a:gd name="connsiteX194" fmla="*/ 369617 w 1707029"/>
              <a:gd name="connsiteY194" fmla="*/ 854635 h 904588"/>
              <a:gd name="connsiteX195" fmla="*/ 369617 w 1707029"/>
              <a:gd name="connsiteY195" fmla="*/ 854635 h 904588"/>
              <a:gd name="connsiteX196" fmla="*/ 369617 w 1707029"/>
              <a:gd name="connsiteY196" fmla="*/ 854635 h 904588"/>
              <a:gd name="connsiteX197" fmla="*/ 341689 w 1707029"/>
              <a:gd name="connsiteY197" fmla="*/ 846882 h 904588"/>
              <a:gd name="connsiteX198" fmla="*/ 322157 w 1707029"/>
              <a:gd name="connsiteY198" fmla="*/ 825872 h 904588"/>
              <a:gd name="connsiteX199" fmla="*/ 315011 w 1707029"/>
              <a:gd name="connsiteY199" fmla="*/ 795864 h 904588"/>
              <a:gd name="connsiteX200" fmla="*/ 322812 w 1707029"/>
              <a:gd name="connsiteY200" fmla="*/ 765739 h 904588"/>
              <a:gd name="connsiteX201" fmla="*/ 343952 w 1707029"/>
              <a:gd name="connsiteY201" fmla="*/ 744610 h 904588"/>
              <a:gd name="connsiteX202" fmla="*/ 373965 w 1707029"/>
              <a:gd name="connsiteY202" fmla="*/ 736856 h 904588"/>
              <a:gd name="connsiteX203" fmla="*/ 65383 w 1707029"/>
              <a:gd name="connsiteY203" fmla="*/ 736856 h 904588"/>
              <a:gd name="connsiteX204" fmla="*/ 65384 w 1707029"/>
              <a:gd name="connsiteY204" fmla="*/ 736856 h 904588"/>
              <a:gd name="connsiteX205" fmla="*/ 65384 w 1707029"/>
              <a:gd name="connsiteY205" fmla="*/ 736856 h 904588"/>
              <a:gd name="connsiteX206" fmla="*/ 90335 w 1707029"/>
              <a:gd name="connsiteY206" fmla="*/ 741295 h 904588"/>
              <a:gd name="connsiteX207" fmla="*/ 107604 w 1707029"/>
              <a:gd name="connsiteY207" fmla="*/ 753605 h 904588"/>
              <a:gd name="connsiteX208" fmla="*/ 110402 w 1707029"/>
              <a:gd name="connsiteY208" fmla="*/ 760708 h 904588"/>
              <a:gd name="connsiteX209" fmla="*/ 106770 w 1707029"/>
              <a:gd name="connsiteY209" fmla="*/ 766981 h 904588"/>
              <a:gd name="connsiteX210" fmla="*/ 98671 w 1707029"/>
              <a:gd name="connsiteY210" fmla="*/ 768461 h 904588"/>
              <a:gd name="connsiteX211" fmla="*/ 98671 w 1707029"/>
              <a:gd name="connsiteY211" fmla="*/ 768461 h 904588"/>
              <a:gd name="connsiteX212" fmla="*/ 90751 w 1707029"/>
              <a:gd name="connsiteY212" fmla="*/ 764614 h 904588"/>
              <a:gd name="connsiteX213" fmla="*/ 79259 w 1707029"/>
              <a:gd name="connsiteY213" fmla="*/ 757630 h 904588"/>
              <a:gd name="connsiteX214" fmla="*/ 64967 w 1707029"/>
              <a:gd name="connsiteY214" fmla="*/ 755736 h 904588"/>
              <a:gd name="connsiteX215" fmla="*/ 49068 w 1707029"/>
              <a:gd name="connsiteY215" fmla="*/ 758932 h 904588"/>
              <a:gd name="connsiteX216" fmla="*/ 42577 w 1707029"/>
              <a:gd name="connsiteY216" fmla="*/ 768284 h 904588"/>
              <a:gd name="connsiteX217" fmla="*/ 44601 w 1707029"/>
              <a:gd name="connsiteY217" fmla="*/ 775149 h 904588"/>
              <a:gd name="connsiteX218" fmla="*/ 52581 w 1707029"/>
              <a:gd name="connsiteY218" fmla="*/ 780653 h 904588"/>
              <a:gd name="connsiteX219" fmla="*/ 70089 w 1707029"/>
              <a:gd name="connsiteY219" fmla="*/ 785447 h 904588"/>
              <a:gd name="connsiteX220" fmla="*/ 95397 w 1707029"/>
              <a:gd name="connsiteY220" fmla="*/ 793496 h 904588"/>
              <a:gd name="connsiteX221" fmla="*/ 95455 w 1707029"/>
              <a:gd name="connsiteY221" fmla="*/ 793437 h 904588"/>
              <a:gd name="connsiteX222" fmla="*/ 95456 w 1707029"/>
              <a:gd name="connsiteY222" fmla="*/ 793437 h 904588"/>
              <a:gd name="connsiteX223" fmla="*/ 108795 w 1707029"/>
              <a:gd name="connsiteY223" fmla="*/ 804801 h 904588"/>
              <a:gd name="connsiteX224" fmla="*/ 112844 w 1707029"/>
              <a:gd name="connsiteY224" fmla="*/ 819775 h 904588"/>
              <a:gd name="connsiteX225" fmla="*/ 107604 w 1707029"/>
              <a:gd name="connsiteY225" fmla="*/ 837353 h 904588"/>
              <a:gd name="connsiteX226" fmla="*/ 92240 w 1707029"/>
              <a:gd name="connsiteY226" fmla="*/ 849841 h 904588"/>
              <a:gd name="connsiteX227" fmla="*/ 66932 w 1707029"/>
              <a:gd name="connsiteY227" fmla="*/ 854516 h 904588"/>
              <a:gd name="connsiteX228" fmla="*/ 66932 w 1707029"/>
              <a:gd name="connsiteY228" fmla="*/ 854516 h 904588"/>
              <a:gd name="connsiteX229" fmla="*/ 66932 w 1707029"/>
              <a:gd name="connsiteY229" fmla="*/ 854516 h 904588"/>
              <a:gd name="connsiteX230" fmla="*/ 39301 w 1707029"/>
              <a:gd name="connsiteY230" fmla="*/ 849960 h 904588"/>
              <a:gd name="connsiteX231" fmla="*/ 19532 w 1707029"/>
              <a:gd name="connsiteY231" fmla="*/ 838418 h 904588"/>
              <a:gd name="connsiteX232" fmla="*/ 16852 w 1707029"/>
              <a:gd name="connsiteY232" fmla="*/ 830664 h 904588"/>
              <a:gd name="connsiteX233" fmla="*/ 21020 w 1707029"/>
              <a:gd name="connsiteY233" fmla="*/ 823563 h 904588"/>
              <a:gd name="connsiteX234" fmla="*/ 29476 w 1707029"/>
              <a:gd name="connsiteY234" fmla="*/ 820722 h 904588"/>
              <a:gd name="connsiteX235" fmla="*/ 29476 w 1707029"/>
              <a:gd name="connsiteY235" fmla="*/ 820722 h 904588"/>
              <a:gd name="connsiteX236" fmla="*/ 29476 w 1707029"/>
              <a:gd name="connsiteY236" fmla="*/ 820722 h 904588"/>
              <a:gd name="connsiteX237" fmla="*/ 36623 w 1707029"/>
              <a:gd name="connsiteY237" fmla="*/ 824450 h 904588"/>
              <a:gd name="connsiteX238" fmla="*/ 48235 w 1707029"/>
              <a:gd name="connsiteY238" fmla="*/ 831967 h 904588"/>
              <a:gd name="connsiteX239" fmla="*/ 66039 w 1707029"/>
              <a:gd name="connsiteY239" fmla="*/ 835459 h 904588"/>
              <a:gd name="connsiteX240" fmla="*/ 84915 w 1707029"/>
              <a:gd name="connsiteY240" fmla="*/ 831434 h 904588"/>
              <a:gd name="connsiteX241" fmla="*/ 91644 w 1707029"/>
              <a:gd name="connsiteY241" fmla="*/ 821017 h 904588"/>
              <a:gd name="connsiteX242" fmla="*/ 85570 w 1707029"/>
              <a:gd name="connsiteY242" fmla="*/ 810010 h 904588"/>
              <a:gd name="connsiteX243" fmla="*/ 62644 w 1707029"/>
              <a:gd name="connsiteY243" fmla="*/ 802374 h 904588"/>
              <a:gd name="connsiteX244" fmla="*/ 31382 w 1707029"/>
              <a:gd name="connsiteY244" fmla="*/ 789649 h 904588"/>
              <a:gd name="connsiteX245" fmla="*/ 21676 w 1707029"/>
              <a:gd name="connsiteY245" fmla="*/ 768876 h 904588"/>
              <a:gd name="connsiteX246" fmla="*/ 28047 w 1707029"/>
              <a:gd name="connsiteY246" fmla="*/ 750942 h 904588"/>
              <a:gd name="connsiteX247" fmla="*/ 44482 w 1707029"/>
              <a:gd name="connsiteY247" fmla="*/ 740348 h 904588"/>
              <a:gd name="connsiteX248" fmla="*/ 65383 w 1707029"/>
              <a:gd name="connsiteY248" fmla="*/ 736856 h 904588"/>
              <a:gd name="connsiteX249" fmla="*/ 1500023 w 1707029"/>
              <a:gd name="connsiteY249" fmla="*/ 736798 h 904588"/>
              <a:gd name="connsiteX250" fmla="*/ 1528606 w 1707029"/>
              <a:gd name="connsiteY250" fmla="*/ 744138 h 904588"/>
              <a:gd name="connsiteX251" fmla="*/ 1528606 w 1707029"/>
              <a:gd name="connsiteY251" fmla="*/ 743960 h 904588"/>
              <a:gd name="connsiteX252" fmla="*/ 1546888 w 1707029"/>
              <a:gd name="connsiteY252" fmla="*/ 764083 h 904588"/>
              <a:gd name="connsiteX253" fmla="*/ 1553199 w 1707029"/>
              <a:gd name="connsiteY253" fmla="*/ 793675 h 904588"/>
              <a:gd name="connsiteX254" fmla="*/ 1550401 w 1707029"/>
              <a:gd name="connsiteY254" fmla="*/ 800364 h 904588"/>
              <a:gd name="connsiteX255" fmla="*/ 1543374 w 1707029"/>
              <a:gd name="connsiteY255" fmla="*/ 803027 h 904588"/>
              <a:gd name="connsiteX256" fmla="*/ 1462270 w 1707029"/>
              <a:gd name="connsiteY256" fmla="*/ 803027 h 904588"/>
              <a:gd name="connsiteX257" fmla="*/ 1466974 w 1707029"/>
              <a:gd name="connsiteY257" fmla="*/ 816403 h 904588"/>
              <a:gd name="connsiteX258" fmla="*/ 1481681 w 1707029"/>
              <a:gd name="connsiteY258" fmla="*/ 830844 h 904588"/>
              <a:gd name="connsiteX259" fmla="*/ 1503238 w 1707029"/>
              <a:gd name="connsiteY259" fmla="*/ 836170 h 904588"/>
              <a:gd name="connsiteX260" fmla="*/ 1516815 w 1707029"/>
              <a:gd name="connsiteY260" fmla="*/ 833744 h 904588"/>
              <a:gd name="connsiteX261" fmla="*/ 1528011 w 1707029"/>
              <a:gd name="connsiteY261" fmla="*/ 828121 h 904588"/>
              <a:gd name="connsiteX262" fmla="*/ 1534918 w 1707029"/>
              <a:gd name="connsiteY262" fmla="*/ 825695 h 904588"/>
              <a:gd name="connsiteX263" fmla="*/ 1541409 w 1707029"/>
              <a:gd name="connsiteY263" fmla="*/ 827943 h 904588"/>
              <a:gd name="connsiteX264" fmla="*/ 1545279 w 1707029"/>
              <a:gd name="connsiteY264" fmla="*/ 834927 h 904588"/>
              <a:gd name="connsiteX265" fmla="*/ 1541886 w 1707029"/>
              <a:gd name="connsiteY265" fmla="*/ 841497 h 904588"/>
              <a:gd name="connsiteX266" fmla="*/ 1523842 w 1707029"/>
              <a:gd name="connsiteY266" fmla="*/ 850848 h 904588"/>
              <a:gd name="connsiteX267" fmla="*/ 1503238 w 1707029"/>
              <a:gd name="connsiteY267" fmla="*/ 854458 h 904588"/>
              <a:gd name="connsiteX268" fmla="*/ 1471738 w 1707029"/>
              <a:gd name="connsiteY268" fmla="*/ 846942 h 904588"/>
              <a:gd name="connsiteX269" fmla="*/ 1450181 w 1707029"/>
              <a:gd name="connsiteY269" fmla="*/ 826168 h 904588"/>
              <a:gd name="connsiteX270" fmla="*/ 1442380 w 1707029"/>
              <a:gd name="connsiteY270" fmla="*/ 795747 h 904588"/>
              <a:gd name="connsiteX271" fmla="*/ 1449764 w 1707029"/>
              <a:gd name="connsiteY271" fmla="*/ 765089 h 904588"/>
              <a:gd name="connsiteX272" fmla="*/ 1470129 w 1707029"/>
              <a:gd name="connsiteY272" fmla="*/ 744314 h 904588"/>
              <a:gd name="connsiteX273" fmla="*/ 1500023 w 1707029"/>
              <a:gd name="connsiteY273" fmla="*/ 736798 h 904588"/>
              <a:gd name="connsiteX274" fmla="*/ 1371756 w 1707029"/>
              <a:gd name="connsiteY274" fmla="*/ 736798 h 904588"/>
              <a:gd name="connsiteX275" fmla="*/ 1400339 w 1707029"/>
              <a:gd name="connsiteY275" fmla="*/ 744138 h 904588"/>
              <a:gd name="connsiteX276" fmla="*/ 1400339 w 1707029"/>
              <a:gd name="connsiteY276" fmla="*/ 743960 h 904588"/>
              <a:gd name="connsiteX277" fmla="*/ 1418619 w 1707029"/>
              <a:gd name="connsiteY277" fmla="*/ 764083 h 904588"/>
              <a:gd name="connsiteX278" fmla="*/ 1424932 w 1707029"/>
              <a:gd name="connsiteY278" fmla="*/ 793675 h 904588"/>
              <a:gd name="connsiteX279" fmla="*/ 1422133 w 1707029"/>
              <a:gd name="connsiteY279" fmla="*/ 800364 h 904588"/>
              <a:gd name="connsiteX280" fmla="*/ 1415107 w 1707029"/>
              <a:gd name="connsiteY280" fmla="*/ 803027 h 904588"/>
              <a:gd name="connsiteX281" fmla="*/ 1334001 w 1707029"/>
              <a:gd name="connsiteY281" fmla="*/ 803027 h 904588"/>
              <a:gd name="connsiteX282" fmla="*/ 1338707 w 1707029"/>
              <a:gd name="connsiteY282" fmla="*/ 816403 h 904588"/>
              <a:gd name="connsiteX283" fmla="*/ 1353414 w 1707029"/>
              <a:gd name="connsiteY283" fmla="*/ 830844 h 904588"/>
              <a:gd name="connsiteX284" fmla="*/ 1374971 w 1707029"/>
              <a:gd name="connsiteY284" fmla="*/ 836170 h 904588"/>
              <a:gd name="connsiteX285" fmla="*/ 1388548 w 1707029"/>
              <a:gd name="connsiteY285" fmla="*/ 833744 h 904588"/>
              <a:gd name="connsiteX286" fmla="*/ 1399744 w 1707029"/>
              <a:gd name="connsiteY286" fmla="*/ 828121 h 904588"/>
              <a:gd name="connsiteX287" fmla="*/ 1406651 w 1707029"/>
              <a:gd name="connsiteY287" fmla="*/ 825695 h 904588"/>
              <a:gd name="connsiteX288" fmla="*/ 1413142 w 1707029"/>
              <a:gd name="connsiteY288" fmla="*/ 827943 h 904588"/>
              <a:gd name="connsiteX289" fmla="*/ 1417012 w 1707029"/>
              <a:gd name="connsiteY289" fmla="*/ 834927 h 904588"/>
              <a:gd name="connsiteX290" fmla="*/ 1413618 w 1707029"/>
              <a:gd name="connsiteY290" fmla="*/ 841497 h 904588"/>
              <a:gd name="connsiteX291" fmla="*/ 1395575 w 1707029"/>
              <a:gd name="connsiteY291" fmla="*/ 850848 h 904588"/>
              <a:gd name="connsiteX292" fmla="*/ 1374971 w 1707029"/>
              <a:gd name="connsiteY292" fmla="*/ 854458 h 904588"/>
              <a:gd name="connsiteX293" fmla="*/ 1343470 w 1707029"/>
              <a:gd name="connsiteY293" fmla="*/ 846942 h 904588"/>
              <a:gd name="connsiteX294" fmla="*/ 1321914 w 1707029"/>
              <a:gd name="connsiteY294" fmla="*/ 826168 h 904588"/>
              <a:gd name="connsiteX295" fmla="*/ 1314113 w 1707029"/>
              <a:gd name="connsiteY295" fmla="*/ 795747 h 904588"/>
              <a:gd name="connsiteX296" fmla="*/ 1321497 w 1707029"/>
              <a:gd name="connsiteY296" fmla="*/ 765089 h 904588"/>
              <a:gd name="connsiteX297" fmla="*/ 1341862 w 1707029"/>
              <a:gd name="connsiteY297" fmla="*/ 744314 h 904588"/>
              <a:gd name="connsiteX298" fmla="*/ 1371756 w 1707029"/>
              <a:gd name="connsiteY298" fmla="*/ 736798 h 904588"/>
              <a:gd name="connsiteX299" fmla="*/ 602391 w 1707029"/>
              <a:gd name="connsiteY299" fmla="*/ 736798 h 904588"/>
              <a:gd name="connsiteX300" fmla="*/ 602391 w 1707029"/>
              <a:gd name="connsiteY300" fmla="*/ 736798 h 904588"/>
              <a:gd name="connsiteX301" fmla="*/ 630975 w 1707029"/>
              <a:gd name="connsiteY301" fmla="*/ 744138 h 904588"/>
              <a:gd name="connsiteX302" fmla="*/ 630975 w 1707029"/>
              <a:gd name="connsiteY302" fmla="*/ 743960 h 904588"/>
              <a:gd name="connsiteX303" fmla="*/ 630975 w 1707029"/>
              <a:gd name="connsiteY303" fmla="*/ 743961 h 904588"/>
              <a:gd name="connsiteX304" fmla="*/ 630975 w 1707029"/>
              <a:gd name="connsiteY304" fmla="*/ 743960 h 904588"/>
              <a:gd name="connsiteX305" fmla="*/ 649256 w 1707029"/>
              <a:gd name="connsiteY305" fmla="*/ 764083 h 904588"/>
              <a:gd name="connsiteX306" fmla="*/ 655567 w 1707029"/>
              <a:gd name="connsiteY306" fmla="*/ 793675 h 904588"/>
              <a:gd name="connsiteX307" fmla="*/ 652769 w 1707029"/>
              <a:gd name="connsiteY307" fmla="*/ 800364 h 904588"/>
              <a:gd name="connsiteX308" fmla="*/ 645743 w 1707029"/>
              <a:gd name="connsiteY308" fmla="*/ 803027 h 904588"/>
              <a:gd name="connsiteX309" fmla="*/ 645742 w 1707029"/>
              <a:gd name="connsiteY309" fmla="*/ 803027 h 904588"/>
              <a:gd name="connsiteX310" fmla="*/ 564637 w 1707029"/>
              <a:gd name="connsiteY310" fmla="*/ 803027 h 904588"/>
              <a:gd name="connsiteX311" fmla="*/ 569342 w 1707029"/>
              <a:gd name="connsiteY311" fmla="*/ 816403 h 904588"/>
              <a:gd name="connsiteX312" fmla="*/ 584050 w 1707029"/>
              <a:gd name="connsiteY312" fmla="*/ 830844 h 904588"/>
              <a:gd name="connsiteX313" fmla="*/ 605607 w 1707029"/>
              <a:gd name="connsiteY313" fmla="*/ 836170 h 904588"/>
              <a:gd name="connsiteX314" fmla="*/ 619184 w 1707029"/>
              <a:gd name="connsiteY314" fmla="*/ 833744 h 904588"/>
              <a:gd name="connsiteX315" fmla="*/ 630379 w 1707029"/>
              <a:gd name="connsiteY315" fmla="*/ 828121 h 904588"/>
              <a:gd name="connsiteX316" fmla="*/ 637286 w 1707029"/>
              <a:gd name="connsiteY316" fmla="*/ 825695 h 904588"/>
              <a:gd name="connsiteX317" fmla="*/ 637286 w 1707029"/>
              <a:gd name="connsiteY317" fmla="*/ 825695 h 904588"/>
              <a:gd name="connsiteX318" fmla="*/ 643778 w 1707029"/>
              <a:gd name="connsiteY318" fmla="*/ 827943 h 904588"/>
              <a:gd name="connsiteX319" fmla="*/ 647647 w 1707029"/>
              <a:gd name="connsiteY319" fmla="*/ 834927 h 904588"/>
              <a:gd name="connsiteX320" fmla="*/ 644253 w 1707029"/>
              <a:gd name="connsiteY320" fmla="*/ 841497 h 904588"/>
              <a:gd name="connsiteX321" fmla="*/ 626211 w 1707029"/>
              <a:gd name="connsiteY321" fmla="*/ 850848 h 904588"/>
              <a:gd name="connsiteX322" fmla="*/ 605607 w 1707029"/>
              <a:gd name="connsiteY322" fmla="*/ 854458 h 904588"/>
              <a:gd name="connsiteX323" fmla="*/ 605607 w 1707029"/>
              <a:gd name="connsiteY323" fmla="*/ 854458 h 904588"/>
              <a:gd name="connsiteX324" fmla="*/ 574106 w 1707029"/>
              <a:gd name="connsiteY324" fmla="*/ 846942 h 904588"/>
              <a:gd name="connsiteX325" fmla="*/ 552549 w 1707029"/>
              <a:gd name="connsiteY325" fmla="*/ 826168 h 904588"/>
              <a:gd name="connsiteX326" fmla="*/ 544748 w 1707029"/>
              <a:gd name="connsiteY326" fmla="*/ 795747 h 904588"/>
              <a:gd name="connsiteX327" fmla="*/ 552133 w 1707029"/>
              <a:gd name="connsiteY327" fmla="*/ 765089 h 904588"/>
              <a:gd name="connsiteX328" fmla="*/ 572498 w 1707029"/>
              <a:gd name="connsiteY328" fmla="*/ 744314 h 904588"/>
              <a:gd name="connsiteX329" fmla="*/ 602391 w 1707029"/>
              <a:gd name="connsiteY329" fmla="*/ 736798 h 904588"/>
              <a:gd name="connsiteX330" fmla="*/ 1638889 w 1707029"/>
              <a:gd name="connsiteY330" fmla="*/ 736620 h 904588"/>
              <a:gd name="connsiteX331" fmla="*/ 1665269 w 1707029"/>
              <a:gd name="connsiteY331" fmla="*/ 742894 h 904588"/>
              <a:gd name="connsiteX332" fmla="*/ 1683610 w 1707029"/>
              <a:gd name="connsiteY332" fmla="*/ 761242 h 904588"/>
              <a:gd name="connsiteX333" fmla="*/ 1683610 w 1707029"/>
              <a:gd name="connsiteY333" fmla="*/ 761182 h 904588"/>
              <a:gd name="connsiteX334" fmla="*/ 1690339 w 1707029"/>
              <a:gd name="connsiteY334" fmla="*/ 790893 h 904588"/>
              <a:gd name="connsiteX335" fmla="*/ 1690339 w 1707029"/>
              <a:gd name="connsiteY335" fmla="*/ 843095 h 904588"/>
              <a:gd name="connsiteX336" fmla="*/ 1687242 w 1707029"/>
              <a:gd name="connsiteY336" fmla="*/ 850848 h 904588"/>
              <a:gd name="connsiteX337" fmla="*/ 1679441 w 1707029"/>
              <a:gd name="connsiteY337" fmla="*/ 853925 h 904588"/>
              <a:gd name="connsiteX338" fmla="*/ 1671640 w 1707029"/>
              <a:gd name="connsiteY338" fmla="*/ 850848 h 904588"/>
              <a:gd name="connsiteX339" fmla="*/ 1668544 w 1707029"/>
              <a:gd name="connsiteY339" fmla="*/ 843095 h 904588"/>
              <a:gd name="connsiteX340" fmla="*/ 1668544 w 1707029"/>
              <a:gd name="connsiteY340" fmla="*/ 790893 h 904588"/>
              <a:gd name="connsiteX341" fmla="*/ 1664078 w 1707029"/>
              <a:gd name="connsiteY341" fmla="*/ 771184 h 904588"/>
              <a:gd name="connsiteX342" fmla="*/ 1651990 w 1707029"/>
              <a:gd name="connsiteY342" fmla="*/ 759821 h 904588"/>
              <a:gd name="connsiteX343" fmla="*/ 1634602 w 1707029"/>
              <a:gd name="connsiteY343" fmla="*/ 756092 h 904588"/>
              <a:gd name="connsiteX344" fmla="*/ 1618405 w 1707029"/>
              <a:gd name="connsiteY344" fmla="*/ 759703 h 904588"/>
              <a:gd name="connsiteX345" fmla="*/ 1606852 w 1707029"/>
              <a:gd name="connsiteY345" fmla="*/ 769350 h 904588"/>
              <a:gd name="connsiteX346" fmla="*/ 1602565 w 1707029"/>
              <a:gd name="connsiteY346" fmla="*/ 783258 h 904588"/>
              <a:gd name="connsiteX347" fmla="*/ 1602565 w 1707029"/>
              <a:gd name="connsiteY347" fmla="*/ 843095 h 904588"/>
              <a:gd name="connsiteX348" fmla="*/ 1599588 w 1707029"/>
              <a:gd name="connsiteY348" fmla="*/ 850848 h 904588"/>
              <a:gd name="connsiteX349" fmla="*/ 1591668 w 1707029"/>
              <a:gd name="connsiteY349" fmla="*/ 853925 h 904588"/>
              <a:gd name="connsiteX350" fmla="*/ 1583867 w 1707029"/>
              <a:gd name="connsiteY350" fmla="*/ 850848 h 904588"/>
              <a:gd name="connsiteX351" fmla="*/ 1580770 w 1707029"/>
              <a:gd name="connsiteY351" fmla="*/ 843095 h 904588"/>
              <a:gd name="connsiteX352" fmla="*/ 1580770 w 1707029"/>
              <a:gd name="connsiteY352" fmla="*/ 748457 h 904588"/>
              <a:gd name="connsiteX353" fmla="*/ 1583867 w 1707029"/>
              <a:gd name="connsiteY353" fmla="*/ 740586 h 904588"/>
              <a:gd name="connsiteX354" fmla="*/ 1591668 w 1707029"/>
              <a:gd name="connsiteY354" fmla="*/ 737626 h 904588"/>
              <a:gd name="connsiteX355" fmla="*/ 1599588 w 1707029"/>
              <a:gd name="connsiteY355" fmla="*/ 740586 h 904588"/>
              <a:gd name="connsiteX356" fmla="*/ 1602565 w 1707029"/>
              <a:gd name="connsiteY356" fmla="*/ 748457 h 904588"/>
              <a:gd name="connsiteX357" fmla="*/ 1602565 w 1707029"/>
              <a:gd name="connsiteY357" fmla="*/ 750943 h 904588"/>
              <a:gd name="connsiteX358" fmla="*/ 1613462 w 1707029"/>
              <a:gd name="connsiteY358" fmla="*/ 742776 h 904588"/>
              <a:gd name="connsiteX359" fmla="*/ 1638889 w 1707029"/>
              <a:gd name="connsiteY359" fmla="*/ 736620 h 904588"/>
              <a:gd name="connsiteX360" fmla="*/ 1282076 w 1707029"/>
              <a:gd name="connsiteY360" fmla="*/ 736383 h 904588"/>
              <a:gd name="connsiteX361" fmla="*/ 1301192 w 1707029"/>
              <a:gd name="connsiteY361" fmla="*/ 740527 h 904588"/>
              <a:gd name="connsiteX362" fmla="*/ 1301132 w 1707029"/>
              <a:gd name="connsiteY362" fmla="*/ 740644 h 904588"/>
              <a:gd name="connsiteX363" fmla="*/ 1305956 w 1707029"/>
              <a:gd name="connsiteY363" fmla="*/ 750528 h 904588"/>
              <a:gd name="connsiteX364" fmla="*/ 1303515 w 1707029"/>
              <a:gd name="connsiteY364" fmla="*/ 755086 h 904588"/>
              <a:gd name="connsiteX365" fmla="*/ 1299346 w 1707029"/>
              <a:gd name="connsiteY365" fmla="*/ 757098 h 904588"/>
              <a:gd name="connsiteX366" fmla="*/ 1294224 w 1707029"/>
              <a:gd name="connsiteY366" fmla="*/ 756861 h 904588"/>
              <a:gd name="connsiteX367" fmla="*/ 1269690 w 1707029"/>
              <a:gd name="connsiteY367" fmla="*/ 756447 h 904588"/>
              <a:gd name="connsiteX368" fmla="*/ 1252541 w 1707029"/>
              <a:gd name="connsiteY368" fmla="*/ 765147 h 904588"/>
              <a:gd name="connsiteX369" fmla="*/ 1246228 w 1707029"/>
              <a:gd name="connsiteY369" fmla="*/ 781246 h 904588"/>
              <a:gd name="connsiteX370" fmla="*/ 1246228 w 1707029"/>
              <a:gd name="connsiteY370" fmla="*/ 843154 h 904588"/>
              <a:gd name="connsiteX371" fmla="*/ 1243548 w 1707029"/>
              <a:gd name="connsiteY371" fmla="*/ 851025 h 904588"/>
              <a:gd name="connsiteX372" fmla="*/ 1235569 w 1707029"/>
              <a:gd name="connsiteY372" fmla="*/ 853807 h 904588"/>
              <a:gd name="connsiteX373" fmla="*/ 1227649 w 1707029"/>
              <a:gd name="connsiteY373" fmla="*/ 851144 h 904588"/>
              <a:gd name="connsiteX374" fmla="*/ 1224850 w 1707029"/>
              <a:gd name="connsiteY374" fmla="*/ 843154 h 904588"/>
              <a:gd name="connsiteX375" fmla="*/ 1224850 w 1707029"/>
              <a:gd name="connsiteY375" fmla="*/ 748339 h 904588"/>
              <a:gd name="connsiteX376" fmla="*/ 1227649 w 1707029"/>
              <a:gd name="connsiteY376" fmla="*/ 740467 h 904588"/>
              <a:gd name="connsiteX377" fmla="*/ 1235569 w 1707029"/>
              <a:gd name="connsiteY377" fmla="*/ 737685 h 904588"/>
              <a:gd name="connsiteX378" fmla="*/ 1243548 w 1707029"/>
              <a:gd name="connsiteY378" fmla="*/ 740349 h 904588"/>
              <a:gd name="connsiteX379" fmla="*/ 1246228 w 1707029"/>
              <a:gd name="connsiteY379" fmla="*/ 748279 h 904588"/>
              <a:gd name="connsiteX380" fmla="*/ 1246228 w 1707029"/>
              <a:gd name="connsiteY380" fmla="*/ 752718 h 904588"/>
              <a:gd name="connsiteX381" fmla="*/ 1258614 w 1707029"/>
              <a:gd name="connsiteY381" fmla="*/ 742301 h 904588"/>
              <a:gd name="connsiteX382" fmla="*/ 1282076 w 1707029"/>
              <a:gd name="connsiteY382" fmla="*/ 736383 h 904588"/>
              <a:gd name="connsiteX383" fmla="*/ 283093 w 1707029"/>
              <a:gd name="connsiteY383" fmla="*/ 736383 h 904588"/>
              <a:gd name="connsiteX384" fmla="*/ 283093 w 1707029"/>
              <a:gd name="connsiteY384" fmla="*/ 736383 h 904588"/>
              <a:gd name="connsiteX385" fmla="*/ 283093 w 1707029"/>
              <a:gd name="connsiteY385" fmla="*/ 736383 h 904588"/>
              <a:gd name="connsiteX386" fmla="*/ 302207 w 1707029"/>
              <a:gd name="connsiteY386" fmla="*/ 740527 h 904588"/>
              <a:gd name="connsiteX387" fmla="*/ 302149 w 1707029"/>
              <a:gd name="connsiteY387" fmla="*/ 740644 h 904588"/>
              <a:gd name="connsiteX388" fmla="*/ 306971 w 1707029"/>
              <a:gd name="connsiteY388" fmla="*/ 750528 h 904588"/>
              <a:gd name="connsiteX389" fmla="*/ 304530 w 1707029"/>
              <a:gd name="connsiteY389" fmla="*/ 755086 h 904588"/>
              <a:gd name="connsiteX390" fmla="*/ 300361 w 1707029"/>
              <a:gd name="connsiteY390" fmla="*/ 757098 h 904588"/>
              <a:gd name="connsiteX391" fmla="*/ 300361 w 1707029"/>
              <a:gd name="connsiteY391" fmla="*/ 757098 h 904588"/>
              <a:gd name="connsiteX392" fmla="*/ 300361 w 1707029"/>
              <a:gd name="connsiteY392" fmla="*/ 757098 h 904588"/>
              <a:gd name="connsiteX393" fmla="*/ 295240 w 1707029"/>
              <a:gd name="connsiteY393" fmla="*/ 756861 h 904588"/>
              <a:gd name="connsiteX394" fmla="*/ 270706 w 1707029"/>
              <a:gd name="connsiteY394" fmla="*/ 756447 h 904588"/>
              <a:gd name="connsiteX395" fmla="*/ 253556 w 1707029"/>
              <a:gd name="connsiteY395" fmla="*/ 765147 h 904588"/>
              <a:gd name="connsiteX396" fmla="*/ 247245 w 1707029"/>
              <a:gd name="connsiteY396" fmla="*/ 781246 h 904588"/>
              <a:gd name="connsiteX397" fmla="*/ 247245 w 1707029"/>
              <a:gd name="connsiteY397" fmla="*/ 843154 h 904588"/>
              <a:gd name="connsiteX398" fmla="*/ 244564 w 1707029"/>
              <a:gd name="connsiteY398" fmla="*/ 851025 h 904588"/>
              <a:gd name="connsiteX399" fmla="*/ 236584 w 1707029"/>
              <a:gd name="connsiteY399" fmla="*/ 853807 h 904588"/>
              <a:gd name="connsiteX400" fmla="*/ 236584 w 1707029"/>
              <a:gd name="connsiteY400" fmla="*/ 853807 h 904588"/>
              <a:gd name="connsiteX401" fmla="*/ 236584 w 1707029"/>
              <a:gd name="connsiteY401" fmla="*/ 853807 h 904588"/>
              <a:gd name="connsiteX402" fmla="*/ 228664 w 1707029"/>
              <a:gd name="connsiteY402" fmla="*/ 851144 h 904588"/>
              <a:gd name="connsiteX403" fmla="*/ 225866 w 1707029"/>
              <a:gd name="connsiteY403" fmla="*/ 843154 h 904588"/>
              <a:gd name="connsiteX404" fmla="*/ 225866 w 1707029"/>
              <a:gd name="connsiteY404" fmla="*/ 748339 h 904588"/>
              <a:gd name="connsiteX405" fmla="*/ 228664 w 1707029"/>
              <a:gd name="connsiteY405" fmla="*/ 740467 h 904588"/>
              <a:gd name="connsiteX406" fmla="*/ 236584 w 1707029"/>
              <a:gd name="connsiteY406" fmla="*/ 737685 h 904588"/>
              <a:gd name="connsiteX407" fmla="*/ 236584 w 1707029"/>
              <a:gd name="connsiteY407" fmla="*/ 737685 h 904588"/>
              <a:gd name="connsiteX408" fmla="*/ 236584 w 1707029"/>
              <a:gd name="connsiteY408" fmla="*/ 737685 h 904588"/>
              <a:gd name="connsiteX409" fmla="*/ 244564 w 1707029"/>
              <a:gd name="connsiteY409" fmla="*/ 740349 h 904588"/>
              <a:gd name="connsiteX410" fmla="*/ 247245 w 1707029"/>
              <a:gd name="connsiteY410" fmla="*/ 748279 h 904588"/>
              <a:gd name="connsiteX411" fmla="*/ 247245 w 1707029"/>
              <a:gd name="connsiteY411" fmla="*/ 752718 h 904588"/>
              <a:gd name="connsiteX412" fmla="*/ 259629 w 1707029"/>
              <a:gd name="connsiteY412" fmla="*/ 742301 h 904588"/>
              <a:gd name="connsiteX413" fmla="*/ 283093 w 1707029"/>
              <a:gd name="connsiteY413" fmla="*/ 736383 h 904588"/>
              <a:gd name="connsiteX414" fmla="*/ 480675 w 1707029"/>
              <a:gd name="connsiteY414" fmla="*/ 700812 h 904588"/>
              <a:gd name="connsiteX415" fmla="*/ 480675 w 1707029"/>
              <a:gd name="connsiteY415" fmla="*/ 700812 h 904588"/>
              <a:gd name="connsiteX416" fmla="*/ 480675 w 1707029"/>
              <a:gd name="connsiteY416" fmla="*/ 700812 h 904588"/>
              <a:gd name="connsiteX417" fmla="*/ 488357 w 1707029"/>
              <a:gd name="connsiteY417" fmla="*/ 703772 h 904588"/>
              <a:gd name="connsiteX418" fmla="*/ 491334 w 1707029"/>
              <a:gd name="connsiteY418" fmla="*/ 711407 h 904588"/>
              <a:gd name="connsiteX419" fmla="*/ 491334 w 1707029"/>
              <a:gd name="connsiteY419" fmla="*/ 741946 h 904588"/>
              <a:gd name="connsiteX420" fmla="*/ 509496 w 1707029"/>
              <a:gd name="connsiteY420" fmla="*/ 741946 h 904588"/>
              <a:gd name="connsiteX421" fmla="*/ 509497 w 1707029"/>
              <a:gd name="connsiteY421" fmla="*/ 741946 h 904588"/>
              <a:gd name="connsiteX422" fmla="*/ 516761 w 1707029"/>
              <a:gd name="connsiteY422" fmla="*/ 744491 h 904588"/>
              <a:gd name="connsiteX423" fmla="*/ 519560 w 1707029"/>
              <a:gd name="connsiteY423" fmla="*/ 751298 h 904588"/>
              <a:gd name="connsiteX424" fmla="*/ 516761 w 1707029"/>
              <a:gd name="connsiteY424" fmla="*/ 757630 h 904588"/>
              <a:gd name="connsiteX425" fmla="*/ 509497 w 1707029"/>
              <a:gd name="connsiteY425" fmla="*/ 760175 h 904588"/>
              <a:gd name="connsiteX426" fmla="*/ 509496 w 1707029"/>
              <a:gd name="connsiteY426" fmla="*/ 760175 h 904588"/>
              <a:gd name="connsiteX427" fmla="*/ 491334 w 1707029"/>
              <a:gd name="connsiteY427" fmla="*/ 760175 h 904588"/>
              <a:gd name="connsiteX428" fmla="*/ 491334 w 1707029"/>
              <a:gd name="connsiteY428" fmla="*/ 812555 h 904588"/>
              <a:gd name="connsiteX429" fmla="*/ 496038 w 1707029"/>
              <a:gd name="connsiteY429" fmla="*/ 826759 h 904588"/>
              <a:gd name="connsiteX430" fmla="*/ 507590 w 1707029"/>
              <a:gd name="connsiteY430" fmla="*/ 832500 h 904588"/>
              <a:gd name="connsiteX431" fmla="*/ 514856 w 1707029"/>
              <a:gd name="connsiteY431" fmla="*/ 832500 h 904588"/>
              <a:gd name="connsiteX432" fmla="*/ 514856 w 1707029"/>
              <a:gd name="connsiteY432" fmla="*/ 832500 h 904588"/>
              <a:gd name="connsiteX433" fmla="*/ 521346 w 1707029"/>
              <a:gd name="connsiteY433" fmla="*/ 835459 h 904588"/>
              <a:gd name="connsiteX434" fmla="*/ 524026 w 1707029"/>
              <a:gd name="connsiteY434" fmla="*/ 843094 h 904588"/>
              <a:gd name="connsiteX435" fmla="*/ 520513 w 1707029"/>
              <a:gd name="connsiteY435" fmla="*/ 850729 h 904588"/>
              <a:gd name="connsiteX436" fmla="*/ 511461 w 1707029"/>
              <a:gd name="connsiteY436" fmla="*/ 853688 h 904588"/>
              <a:gd name="connsiteX437" fmla="*/ 511461 w 1707029"/>
              <a:gd name="connsiteY437" fmla="*/ 853688 h 904588"/>
              <a:gd name="connsiteX438" fmla="*/ 507590 w 1707029"/>
              <a:gd name="connsiteY438" fmla="*/ 853688 h 904588"/>
              <a:gd name="connsiteX439" fmla="*/ 507590 w 1707029"/>
              <a:gd name="connsiteY439" fmla="*/ 853688 h 904588"/>
              <a:gd name="connsiteX440" fmla="*/ 488357 w 1707029"/>
              <a:gd name="connsiteY440" fmla="*/ 848302 h 904588"/>
              <a:gd name="connsiteX441" fmla="*/ 474899 w 1707029"/>
              <a:gd name="connsiteY441" fmla="*/ 833565 h 904588"/>
              <a:gd name="connsiteX442" fmla="*/ 470016 w 1707029"/>
              <a:gd name="connsiteY442" fmla="*/ 812555 h 904588"/>
              <a:gd name="connsiteX443" fmla="*/ 470016 w 1707029"/>
              <a:gd name="connsiteY443" fmla="*/ 760175 h 904588"/>
              <a:gd name="connsiteX444" fmla="*/ 460190 w 1707029"/>
              <a:gd name="connsiteY444" fmla="*/ 760175 h 904588"/>
              <a:gd name="connsiteX445" fmla="*/ 460190 w 1707029"/>
              <a:gd name="connsiteY445" fmla="*/ 760175 h 904588"/>
              <a:gd name="connsiteX446" fmla="*/ 452925 w 1707029"/>
              <a:gd name="connsiteY446" fmla="*/ 757630 h 904588"/>
              <a:gd name="connsiteX447" fmla="*/ 450126 w 1707029"/>
              <a:gd name="connsiteY447" fmla="*/ 751298 h 904588"/>
              <a:gd name="connsiteX448" fmla="*/ 452925 w 1707029"/>
              <a:gd name="connsiteY448" fmla="*/ 744491 h 904588"/>
              <a:gd name="connsiteX449" fmla="*/ 460190 w 1707029"/>
              <a:gd name="connsiteY449" fmla="*/ 741946 h 904588"/>
              <a:gd name="connsiteX450" fmla="*/ 460190 w 1707029"/>
              <a:gd name="connsiteY450" fmla="*/ 741946 h 904588"/>
              <a:gd name="connsiteX451" fmla="*/ 470016 w 1707029"/>
              <a:gd name="connsiteY451" fmla="*/ 741946 h 904588"/>
              <a:gd name="connsiteX452" fmla="*/ 470016 w 1707029"/>
              <a:gd name="connsiteY452" fmla="*/ 711407 h 904588"/>
              <a:gd name="connsiteX453" fmla="*/ 472994 w 1707029"/>
              <a:gd name="connsiteY453" fmla="*/ 703772 h 904588"/>
              <a:gd name="connsiteX454" fmla="*/ 480675 w 1707029"/>
              <a:gd name="connsiteY454" fmla="*/ 700812 h 904588"/>
              <a:gd name="connsiteX455" fmla="*/ 155839 w 1707029"/>
              <a:gd name="connsiteY455" fmla="*/ 700812 h 904588"/>
              <a:gd name="connsiteX456" fmla="*/ 155840 w 1707029"/>
              <a:gd name="connsiteY456" fmla="*/ 700812 h 904588"/>
              <a:gd name="connsiteX457" fmla="*/ 163520 w 1707029"/>
              <a:gd name="connsiteY457" fmla="*/ 703772 h 904588"/>
              <a:gd name="connsiteX458" fmla="*/ 166497 w 1707029"/>
              <a:gd name="connsiteY458" fmla="*/ 711407 h 904588"/>
              <a:gd name="connsiteX459" fmla="*/ 166497 w 1707029"/>
              <a:gd name="connsiteY459" fmla="*/ 741946 h 904588"/>
              <a:gd name="connsiteX460" fmla="*/ 184660 w 1707029"/>
              <a:gd name="connsiteY460" fmla="*/ 741946 h 904588"/>
              <a:gd name="connsiteX461" fmla="*/ 184661 w 1707029"/>
              <a:gd name="connsiteY461" fmla="*/ 741946 h 904588"/>
              <a:gd name="connsiteX462" fmla="*/ 191925 w 1707029"/>
              <a:gd name="connsiteY462" fmla="*/ 744491 h 904588"/>
              <a:gd name="connsiteX463" fmla="*/ 194723 w 1707029"/>
              <a:gd name="connsiteY463" fmla="*/ 751298 h 904588"/>
              <a:gd name="connsiteX464" fmla="*/ 191925 w 1707029"/>
              <a:gd name="connsiteY464" fmla="*/ 757630 h 904588"/>
              <a:gd name="connsiteX465" fmla="*/ 184661 w 1707029"/>
              <a:gd name="connsiteY465" fmla="*/ 760175 h 904588"/>
              <a:gd name="connsiteX466" fmla="*/ 184660 w 1707029"/>
              <a:gd name="connsiteY466" fmla="*/ 760175 h 904588"/>
              <a:gd name="connsiteX467" fmla="*/ 166497 w 1707029"/>
              <a:gd name="connsiteY467" fmla="*/ 760175 h 904588"/>
              <a:gd name="connsiteX468" fmla="*/ 166497 w 1707029"/>
              <a:gd name="connsiteY468" fmla="*/ 812555 h 904588"/>
              <a:gd name="connsiteX469" fmla="*/ 171203 w 1707029"/>
              <a:gd name="connsiteY469" fmla="*/ 826759 h 904588"/>
              <a:gd name="connsiteX470" fmla="*/ 182755 w 1707029"/>
              <a:gd name="connsiteY470" fmla="*/ 832500 h 904588"/>
              <a:gd name="connsiteX471" fmla="*/ 190020 w 1707029"/>
              <a:gd name="connsiteY471" fmla="*/ 832500 h 904588"/>
              <a:gd name="connsiteX472" fmla="*/ 190020 w 1707029"/>
              <a:gd name="connsiteY472" fmla="*/ 832500 h 904588"/>
              <a:gd name="connsiteX473" fmla="*/ 196510 w 1707029"/>
              <a:gd name="connsiteY473" fmla="*/ 835459 h 904588"/>
              <a:gd name="connsiteX474" fmla="*/ 199189 w 1707029"/>
              <a:gd name="connsiteY474" fmla="*/ 843094 h 904588"/>
              <a:gd name="connsiteX475" fmla="*/ 195676 w 1707029"/>
              <a:gd name="connsiteY475" fmla="*/ 850729 h 904588"/>
              <a:gd name="connsiteX476" fmla="*/ 186624 w 1707029"/>
              <a:gd name="connsiteY476" fmla="*/ 853688 h 904588"/>
              <a:gd name="connsiteX477" fmla="*/ 186624 w 1707029"/>
              <a:gd name="connsiteY477" fmla="*/ 853688 h 904588"/>
              <a:gd name="connsiteX478" fmla="*/ 182755 w 1707029"/>
              <a:gd name="connsiteY478" fmla="*/ 853688 h 904588"/>
              <a:gd name="connsiteX479" fmla="*/ 182754 w 1707029"/>
              <a:gd name="connsiteY479" fmla="*/ 853688 h 904588"/>
              <a:gd name="connsiteX480" fmla="*/ 163520 w 1707029"/>
              <a:gd name="connsiteY480" fmla="*/ 848302 h 904588"/>
              <a:gd name="connsiteX481" fmla="*/ 150062 w 1707029"/>
              <a:gd name="connsiteY481" fmla="*/ 833565 h 904588"/>
              <a:gd name="connsiteX482" fmla="*/ 145179 w 1707029"/>
              <a:gd name="connsiteY482" fmla="*/ 812555 h 904588"/>
              <a:gd name="connsiteX483" fmla="*/ 145179 w 1707029"/>
              <a:gd name="connsiteY483" fmla="*/ 760175 h 904588"/>
              <a:gd name="connsiteX484" fmla="*/ 135355 w 1707029"/>
              <a:gd name="connsiteY484" fmla="*/ 760175 h 904588"/>
              <a:gd name="connsiteX485" fmla="*/ 135354 w 1707029"/>
              <a:gd name="connsiteY485" fmla="*/ 760175 h 904588"/>
              <a:gd name="connsiteX486" fmla="*/ 128088 w 1707029"/>
              <a:gd name="connsiteY486" fmla="*/ 757630 h 904588"/>
              <a:gd name="connsiteX487" fmla="*/ 125290 w 1707029"/>
              <a:gd name="connsiteY487" fmla="*/ 751298 h 904588"/>
              <a:gd name="connsiteX488" fmla="*/ 128088 w 1707029"/>
              <a:gd name="connsiteY488" fmla="*/ 744491 h 904588"/>
              <a:gd name="connsiteX489" fmla="*/ 135354 w 1707029"/>
              <a:gd name="connsiteY489" fmla="*/ 741946 h 904588"/>
              <a:gd name="connsiteX490" fmla="*/ 135355 w 1707029"/>
              <a:gd name="connsiteY490" fmla="*/ 741946 h 904588"/>
              <a:gd name="connsiteX491" fmla="*/ 145179 w 1707029"/>
              <a:gd name="connsiteY491" fmla="*/ 741946 h 904588"/>
              <a:gd name="connsiteX492" fmla="*/ 145179 w 1707029"/>
              <a:gd name="connsiteY492" fmla="*/ 711407 h 904588"/>
              <a:gd name="connsiteX493" fmla="*/ 148157 w 1707029"/>
              <a:gd name="connsiteY493" fmla="*/ 703772 h 904588"/>
              <a:gd name="connsiteX494" fmla="*/ 155839 w 1707029"/>
              <a:gd name="connsiteY494" fmla="*/ 700812 h 904588"/>
              <a:gd name="connsiteX495" fmla="*/ 174835 w 1707029"/>
              <a:gd name="connsiteY495" fmla="*/ 424951 h 904588"/>
              <a:gd name="connsiteX496" fmla="*/ 94088 w 1707029"/>
              <a:gd name="connsiteY496" fmla="*/ 536042 h 904588"/>
              <a:gd name="connsiteX497" fmla="*/ 174835 w 1707029"/>
              <a:gd name="connsiteY497" fmla="*/ 536042 h 904588"/>
              <a:gd name="connsiteX498" fmla="*/ 1492163 w 1707029"/>
              <a:gd name="connsiteY498" fmla="*/ 388136 h 904588"/>
              <a:gd name="connsiteX499" fmla="*/ 1492163 w 1707029"/>
              <a:gd name="connsiteY499" fmla="*/ 580548 h 904588"/>
              <a:gd name="connsiteX500" fmla="*/ 1528310 w 1707029"/>
              <a:gd name="connsiteY500" fmla="*/ 580548 h 904588"/>
              <a:gd name="connsiteX501" fmla="*/ 1565349 w 1707029"/>
              <a:gd name="connsiteY501" fmla="*/ 575814 h 904588"/>
              <a:gd name="connsiteX502" fmla="*/ 1597445 w 1707029"/>
              <a:gd name="connsiteY502" fmla="*/ 559893 h 904588"/>
              <a:gd name="connsiteX503" fmla="*/ 1619657 w 1707029"/>
              <a:gd name="connsiteY503" fmla="*/ 530064 h 904588"/>
              <a:gd name="connsiteX504" fmla="*/ 1627875 w 1707029"/>
              <a:gd name="connsiteY504" fmla="*/ 484372 h 904588"/>
              <a:gd name="connsiteX505" fmla="*/ 1619657 w 1707029"/>
              <a:gd name="connsiteY505" fmla="*/ 438681 h 904588"/>
              <a:gd name="connsiteX506" fmla="*/ 1597445 w 1707029"/>
              <a:gd name="connsiteY506" fmla="*/ 408852 h 904588"/>
              <a:gd name="connsiteX507" fmla="*/ 1565349 w 1707029"/>
              <a:gd name="connsiteY507" fmla="*/ 392872 h 904588"/>
              <a:gd name="connsiteX508" fmla="*/ 1528310 w 1707029"/>
              <a:gd name="connsiteY508" fmla="*/ 388136 h 904588"/>
              <a:gd name="connsiteX509" fmla="*/ 1216216 w 1707029"/>
              <a:gd name="connsiteY509" fmla="*/ 383047 h 904588"/>
              <a:gd name="connsiteX510" fmla="*/ 1165660 w 1707029"/>
              <a:gd name="connsiteY510" fmla="*/ 396068 h 904588"/>
              <a:gd name="connsiteX511" fmla="*/ 1132193 w 1707029"/>
              <a:gd name="connsiteY511" fmla="*/ 431993 h 904588"/>
              <a:gd name="connsiteX512" fmla="*/ 1120403 w 1707029"/>
              <a:gd name="connsiteY512" fmla="*/ 484372 h 904588"/>
              <a:gd name="connsiteX513" fmla="*/ 1132193 w 1707029"/>
              <a:gd name="connsiteY513" fmla="*/ 536751 h 904588"/>
              <a:gd name="connsiteX514" fmla="*/ 1165660 w 1707029"/>
              <a:gd name="connsiteY514" fmla="*/ 572677 h 904588"/>
              <a:gd name="connsiteX515" fmla="*/ 1216216 w 1707029"/>
              <a:gd name="connsiteY515" fmla="*/ 585698 h 904588"/>
              <a:gd name="connsiteX516" fmla="*/ 1266296 w 1707029"/>
              <a:gd name="connsiteY516" fmla="*/ 572677 h 904588"/>
              <a:gd name="connsiteX517" fmla="*/ 1299763 w 1707029"/>
              <a:gd name="connsiteY517" fmla="*/ 536751 h 904588"/>
              <a:gd name="connsiteX518" fmla="*/ 1299763 w 1707029"/>
              <a:gd name="connsiteY518" fmla="*/ 536692 h 904588"/>
              <a:gd name="connsiteX519" fmla="*/ 1311553 w 1707029"/>
              <a:gd name="connsiteY519" fmla="*/ 484313 h 904588"/>
              <a:gd name="connsiteX520" fmla="*/ 1300001 w 1707029"/>
              <a:gd name="connsiteY520" fmla="*/ 431993 h 904588"/>
              <a:gd name="connsiteX521" fmla="*/ 1267012 w 1707029"/>
              <a:gd name="connsiteY521" fmla="*/ 396068 h 904588"/>
              <a:gd name="connsiteX522" fmla="*/ 1216216 w 1707029"/>
              <a:gd name="connsiteY522" fmla="*/ 383047 h 904588"/>
              <a:gd name="connsiteX523" fmla="*/ 842074 w 1707029"/>
              <a:gd name="connsiteY523" fmla="*/ 383047 h 904588"/>
              <a:gd name="connsiteX524" fmla="*/ 791518 w 1707029"/>
              <a:gd name="connsiteY524" fmla="*/ 396068 h 904588"/>
              <a:gd name="connsiteX525" fmla="*/ 758051 w 1707029"/>
              <a:gd name="connsiteY525" fmla="*/ 431993 h 904588"/>
              <a:gd name="connsiteX526" fmla="*/ 746260 w 1707029"/>
              <a:gd name="connsiteY526" fmla="*/ 484372 h 904588"/>
              <a:gd name="connsiteX527" fmla="*/ 758051 w 1707029"/>
              <a:gd name="connsiteY527" fmla="*/ 536751 h 904588"/>
              <a:gd name="connsiteX528" fmla="*/ 791518 w 1707029"/>
              <a:gd name="connsiteY528" fmla="*/ 572677 h 904588"/>
              <a:gd name="connsiteX529" fmla="*/ 842074 w 1707029"/>
              <a:gd name="connsiteY529" fmla="*/ 585698 h 904588"/>
              <a:gd name="connsiteX530" fmla="*/ 892153 w 1707029"/>
              <a:gd name="connsiteY530" fmla="*/ 572677 h 904588"/>
              <a:gd name="connsiteX531" fmla="*/ 925620 w 1707029"/>
              <a:gd name="connsiteY531" fmla="*/ 536751 h 904588"/>
              <a:gd name="connsiteX532" fmla="*/ 925620 w 1707029"/>
              <a:gd name="connsiteY532" fmla="*/ 536692 h 904588"/>
              <a:gd name="connsiteX533" fmla="*/ 937411 w 1707029"/>
              <a:gd name="connsiteY533" fmla="*/ 484313 h 904588"/>
              <a:gd name="connsiteX534" fmla="*/ 925858 w 1707029"/>
              <a:gd name="connsiteY534" fmla="*/ 431993 h 904588"/>
              <a:gd name="connsiteX535" fmla="*/ 892869 w 1707029"/>
              <a:gd name="connsiteY535" fmla="*/ 396068 h 904588"/>
              <a:gd name="connsiteX536" fmla="*/ 842074 w 1707029"/>
              <a:gd name="connsiteY536" fmla="*/ 383047 h 904588"/>
              <a:gd name="connsiteX537" fmla="*/ 1417966 w 1707029"/>
              <a:gd name="connsiteY537" fmla="*/ 325637 h 904588"/>
              <a:gd name="connsiteX538" fmla="*/ 1531108 w 1707029"/>
              <a:gd name="connsiteY538" fmla="*/ 325637 h 904588"/>
              <a:gd name="connsiteX539" fmla="*/ 1622336 w 1707029"/>
              <a:gd name="connsiteY539" fmla="*/ 345168 h 904588"/>
              <a:gd name="connsiteX540" fmla="*/ 1681588 w 1707029"/>
              <a:gd name="connsiteY540" fmla="*/ 399915 h 904588"/>
              <a:gd name="connsiteX541" fmla="*/ 1681528 w 1707029"/>
              <a:gd name="connsiteY541" fmla="*/ 399974 h 904588"/>
              <a:gd name="connsiteX542" fmla="*/ 1702489 w 1707029"/>
              <a:gd name="connsiteY542" fmla="*/ 484431 h 904588"/>
              <a:gd name="connsiteX543" fmla="*/ 1681528 w 1707029"/>
              <a:gd name="connsiteY543" fmla="*/ 568652 h 904588"/>
              <a:gd name="connsiteX544" fmla="*/ 1622336 w 1707029"/>
              <a:gd name="connsiteY544" fmla="*/ 623636 h 904588"/>
              <a:gd name="connsiteX545" fmla="*/ 1531108 w 1707029"/>
              <a:gd name="connsiteY545" fmla="*/ 643225 h 904588"/>
              <a:gd name="connsiteX546" fmla="*/ 1417966 w 1707029"/>
              <a:gd name="connsiteY546" fmla="*/ 643225 h 904588"/>
              <a:gd name="connsiteX547" fmla="*/ 187637 w 1707029"/>
              <a:gd name="connsiteY547" fmla="*/ 325578 h 904588"/>
              <a:gd name="connsiteX548" fmla="*/ 187638 w 1707029"/>
              <a:gd name="connsiteY548" fmla="*/ 325578 h 904588"/>
              <a:gd name="connsiteX549" fmla="*/ 241052 w 1707029"/>
              <a:gd name="connsiteY549" fmla="*/ 325578 h 904588"/>
              <a:gd name="connsiteX550" fmla="*/ 241053 w 1707029"/>
              <a:gd name="connsiteY550" fmla="*/ 325578 h 904588"/>
              <a:gd name="connsiteX551" fmla="*/ 241053 w 1707029"/>
              <a:gd name="connsiteY551" fmla="*/ 525861 h 904588"/>
              <a:gd name="connsiteX552" fmla="*/ 278091 w 1707029"/>
              <a:gd name="connsiteY552" fmla="*/ 525861 h 904588"/>
              <a:gd name="connsiteX553" fmla="*/ 278092 w 1707029"/>
              <a:gd name="connsiteY553" fmla="*/ 525861 h 904588"/>
              <a:gd name="connsiteX554" fmla="*/ 278092 w 1707029"/>
              <a:gd name="connsiteY554" fmla="*/ 585698 h 904588"/>
              <a:gd name="connsiteX555" fmla="*/ 278091 w 1707029"/>
              <a:gd name="connsiteY555" fmla="*/ 585698 h 904588"/>
              <a:gd name="connsiteX556" fmla="*/ 241053 w 1707029"/>
              <a:gd name="connsiteY556" fmla="*/ 585698 h 904588"/>
              <a:gd name="connsiteX557" fmla="*/ 241053 w 1707029"/>
              <a:gd name="connsiteY557" fmla="*/ 643166 h 904588"/>
              <a:gd name="connsiteX558" fmla="*/ 241052 w 1707029"/>
              <a:gd name="connsiteY558" fmla="*/ 643166 h 904588"/>
              <a:gd name="connsiteX559" fmla="*/ 165963 w 1707029"/>
              <a:gd name="connsiteY559" fmla="*/ 643166 h 904588"/>
              <a:gd name="connsiteX560" fmla="*/ 165962 w 1707029"/>
              <a:gd name="connsiteY560" fmla="*/ 643166 h 904588"/>
              <a:gd name="connsiteX561" fmla="*/ 165962 w 1707029"/>
              <a:gd name="connsiteY561" fmla="*/ 585698 h 904588"/>
              <a:gd name="connsiteX562" fmla="*/ 3158 w 1707029"/>
              <a:gd name="connsiteY562" fmla="*/ 585698 h 904588"/>
              <a:gd name="connsiteX563" fmla="*/ 3157 w 1707029"/>
              <a:gd name="connsiteY563" fmla="*/ 585698 h 904588"/>
              <a:gd name="connsiteX564" fmla="*/ 1216157 w 1707029"/>
              <a:gd name="connsiteY564" fmla="*/ 318180 h 904588"/>
              <a:gd name="connsiteX565" fmla="*/ 1284637 w 1707029"/>
              <a:gd name="connsiteY565" fmla="*/ 330254 h 904588"/>
              <a:gd name="connsiteX566" fmla="*/ 1339243 w 1707029"/>
              <a:gd name="connsiteY566" fmla="*/ 364522 h 904588"/>
              <a:gd name="connsiteX567" fmla="*/ 1375269 w 1707029"/>
              <a:gd name="connsiteY567" fmla="*/ 417138 h 904588"/>
              <a:gd name="connsiteX568" fmla="*/ 1388073 w 1707029"/>
              <a:gd name="connsiteY568" fmla="*/ 484431 h 904588"/>
              <a:gd name="connsiteX569" fmla="*/ 1375508 w 1707029"/>
              <a:gd name="connsiteY569" fmla="*/ 552199 h 904588"/>
              <a:gd name="connsiteX570" fmla="*/ 1339899 w 1707029"/>
              <a:gd name="connsiteY570" fmla="*/ 605703 h 904588"/>
              <a:gd name="connsiteX571" fmla="*/ 1285352 w 1707029"/>
              <a:gd name="connsiteY571" fmla="*/ 640858 h 904588"/>
              <a:gd name="connsiteX572" fmla="*/ 1216216 w 1707029"/>
              <a:gd name="connsiteY572" fmla="*/ 653346 h 904588"/>
              <a:gd name="connsiteX573" fmla="*/ 1146604 w 1707029"/>
              <a:gd name="connsiteY573" fmla="*/ 640858 h 904588"/>
              <a:gd name="connsiteX574" fmla="*/ 1091998 w 1707029"/>
              <a:gd name="connsiteY574" fmla="*/ 605703 h 904588"/>
              <a:gd name="connsiteX575" fmla="*/ 1056389 w 1707029"/>
              <a:gd name="connsiteY575" fmla="*/ 552199 h 904588"/>
              <a:gd name="connsiteX576" fmla="*/ 1043824 w 1707029"/>
              <a:gd name="connsiteY576" fmla="*/ 484431 h 904588"/>
              <a:gd name="connsiteX577" fmla="*/ 1056864 w 1707029"/>
              <a:gd name="connsiteY577" fmla="*/ 417138 h 904588"/>
              <a:gd name="connsiteX578" fmla="*/ 1093129 w 1707029"/>
              <a:gd name="connsiteY578" fmla="*/ 364522 h 904588"/>
              <a:gd name="connsiteX579" fmla="*/ 1147914 w 1707029"/>
              <a:gd name="connsiteY579" fmla="*/ 330254 h 904588"/>
              <a:gd name="connsiteX580" fmla="*/ 1216157 w 1707029"/>
              <a:gd name="connsiteY580" fmla="*/ 318180 h 904588"/>
              <a:gd name="connsiteX581" fmla="*/ 842014 w 1707029"/>
              <a:gd name="connsiteY581" fmla="*/ 318180 h 904588"/>
              <a:gd name="connsiteX582" fmla="*/ 910494 w 1707029"/>
              <a:gd name="connsiteY582" fmla="*/ 330254 h 904588"/>
              <a:gd name="connsiteX583" fmla="*/ 965100 w 1707029"/>
              <a:gd name="connsiteY583" fmla="*/ 364522 h 904588"/>
              <a:gd name="connsiteX584" fmla="*/ 965160 w 1707029"/>
              <a:gd name="connsiteY584" fmla="*/ 364522 h 904588"/>
              <a:gd name="connsiteX585" fmla="*/ 1001187 w 1707029"/>
              <a:gd name="connsiteY585" fmla="*/ 417138 h 904588"/>
              <a:gd name="connsiteX586" fmla="*/ 1013990 w 1707029"/>
              <a:gd name="connsiteY586" fmla="*/ 484431 h 904588"/>
              <a:gd name="connsiteX587" fmla="*/ 1001425 w 1707029"/>
              <a:gd name="connsiteY587" fmla="*/ 552199 h 904588"/>
              <a:gd name="connsiteX588" fmla="*/ 965814 w 1707029"/>
              <a:gd name="connsiteY588" fmla="*/ 605703 h 904588"/>
              <a:gd name="connsiteX589" fmla="*/ 911210 w 1707029"/>
              <a:gd name="connsiteY589" fmla="*/ 640858 h 904588"/>
              <a:gd name="connsiteX590" fmla="*/ 842074 w 1707029"/>
              <a:gd name="connsiteY590" fmla="*/ 653346 h 904588"/>
              <a:gd name="connsiteX591" fmla="*/ 772461 w 1707029"/>
              <a:gd name="connsiteY591" fmla="*/ 640858 h 904588"/>
              <a:gd name="connsiteX592" fmla="*/ 717857 w 1707029"/>
              <a:gd name="connsiteY592" fmla="*/ 605703 h 904588"/>
              <a:gd name="connsiteX593" fmla="*/ 682246 w 1707029"/>
              <a:gd name="connsiteY593" fmla="*/ 552199 h 904588"/>
              <a:gd name="connsiteX594" fmla="*/ 669681 w 1707029"/>
              <a:gd name="connsiteY594" fmla="*/ 484431 h 904588"/>
              <a:gd name="connsiteX595" fmla="*/ 682723 w 1707029"/>
              <a:gd name="connsiteY595" fmla="*/ 417138 h 904588"/>
              <a:gd name="connsiteX596" fmla="*/ 718987 w 1707029"/>
              <a:gd name="connsiteY596" fmla="*/ 364522 h 904588"/>
              <a:gd name="connsiteX597" fmla="*/ 773771 w 1707029"/>
              <a:gd name="connsiteY597" fmla="*/ 330254 h 904588"/>
              <a:gd name="connsiteX598" fmla="*/ 842014 w 1707029"/>
              <a:gd name="connsiteY598" fmla="*/ 318180 h 904588"/>
              <a:gd name="connsiteX599" fmla="*/ 478590 w 1707029"/>
              <a:gd name="connsiteY599" fmla="*/ 318061 h 904588"/>
              <a:gd name="connsiteX600" fmla="*/ 478590 w 1707029"/>
              <a:gd name="connsiteY600" fmla="*/ 318061 h 904588"/>
              <a:gd name="connsiteX601" fmla="*/ 478591 w 1707029"/>
              <a:gd name="connsiteY601" fmla="*/ 318061 h 904588"/>
              <a:gd name="connsiteX602" fmla="*/ 539449 w 1707029"/>
              <a:gd name="connsiteY602" fmla="*/ 327590 h 904588"/>
              <a:gd name="connsiteX603" fmla="*/ 587148 w 1707029"/>
              <a:gd name="connsiteY603" fmla="*/ 354164 h 904588"/>
              <a:gd name="connsiteX604" fmla="*/ 620853 w 1707029"/>
              <a:gd name="connsiteY604" fmla="*/ 390326 h 904588"/>
              <a:gd name="connsiteX605" fmla="*/ 557314 w 1707029"/>
              <a:gd name="connsiteY605" fmla="*/ 423175 h 904588"/>
              <a:gd name="connsiteX606" fmla="*/ 557313 w 1707029"/>
              <a:gd name="connsiteY606" fmla="*/ 423175 h 904588"/>
              <a:gd name="connsiteX607" fmla="*/ 557313 w 1707029"/>
              <a:gd name="connsiteY607" fmla="*/ 423175 h 904588"/>
              <a:gd name="connsiteX608" fmla="*/ 527896 w 1707029"/>
              <a:gd name="connsiteY608" fmla="*/ 392694 h 904588"/>
              <a:gd name="connsiteX609" fmla="*/ 478590 w 1707029"/>
              <a:gd name="connsiteY609" fmla="*/ 379378 h 904588"/>
              <a:gd name="connsiteX610" fmla="*/ 427261 w 1707029"/>
              <a:gd name="connsiteY610" fmla="*/ 391866 h 904588"/>
              <a:gd name="connsiteX611" fmla="*/ 389983 w 1707029"/>
              <a:gd name="connsiteY611" fmla="*/ 427672 h 904588"/>
              <a:gd name="connsiteX612" fmla="*/ 376228 w 1707029"/>
              <a:gd name="connsiteY612" fmla="*/ 484372 h 904588"/>
              <a:gd name="connsiteX613" fmla="*/ 389507 w 1707029"/>
              <a:gd name="connsiteY613" fmla="*/ 541427 h 904588"/>
              <a:gd name="connsiteX614" fmla="*/ 425831 w 1707029"/>
              <a:gd name="connsiteY614" fmla="*/ 578950 h 904588"/>
              <a:gd name="connsiteX615" fmla="*/ 478651 w 1707029"/>
              <a:gd name="connsiteY615" fmla="*/ 592149 h 904588"/>
              <a:gd name="connsiteX616" fmla="*/ 511878 w 1707029"/>
              <a:gd name="connsiteY616" fmla="*/ 587591 h 904588"/>
              <a:gd name="connsiteX617" fmla="*/ 537782 w 1707029"/>
              <a:gd name="connsiteY617" fmla="*/ 574452 h 904588"/>
              <a:gd name="connsiteX618" fmla="*/ 556003 w 1707029"/>
              <a:gd name="connsiteY618" fmla="*/ 554625 h 904588"/>
              <a:gd name="connsiteX619" fmla="*/ 567793 w 1707029"/>
              <a:gd name="connsiteY619" fmla="*/ 530418 h 904588"/>
              <a:gd name="connsiteX620" fmla="*/ 569342 w 1707029"/>
              <a:gd name="connsiteY620" fmla="*/ 525860 h 904588"/>
              <a:gd name="connsiteX621" fmla="*/ 481212 w 1707029"/>
              <a:gd name="connsiteY621" fmla="*/ 525860 h 904588"/>
              <a:gd name="connsiteX622" fmla="*/ 481212 w 1707029"/>
              <a:gd name="connsiteY622" fmla="*/ 525860 h 904588"/>
              <a:gd name="connsiteX623" fmla="*/ 481212 w 1707029"/>
              <a:gd name="connsiteY623" fmla="*/ 472535 h 904588"/>
              <a:gd name="connsiteX624" fmla="*/ 481212 w 1707029"/>
              <a:gd name="connsiteY624" fmla="*/ 472535 h 904588"/>
              <a:gd name="connsiteX625" fmla="*/ 639550 w 1707029"/>
              <a:gd name="connsiteY625" fmla="*/ 472535 h 904588"/>
              <a:gd name="connsiteX626" fmla="*/ 639550 w 1707029"/>
              <a:gd name="connsiteY626" fmla="*/ 472535 h 904588"/>
              <a:gd name="connsiteX627" fmla="*/ 631571 w 1707029"/>
              <a:gd name="connsiteY627" fmla="*/ 540835 h 904588"/>
              <a:gd name="connsiteX628" fmla="*/ 600486 w 1707029"/>
              <a:gd name="connsiteY628" fmla="*/ 599428 h 904588"/>
              <a:gd name="connsiteX629" fmla="*/ 548084 w 1707029"/>
              <a:gd name="connsiteY629" fmla="*/ 639023 h 904588"/>
              <a:gd name="connsiteX630" fmla="*/ 475853 w 1707029"/>
              <a:gd name="connsiteY630" fmla="*/ 653286 h 904588"/>
              <a:gd name="connsiteX631" fmla="*/ 475852 w 1707029"/>
              <a:gd name="connsiteY631" fmla="*/ 653286 h 904588"/>
              <a:gd name="connsiteX632" fmla="*/ 475852 w 1707029"/>
              <a:gd name="connsiteY632" fmla="*/ 653286 h 904588"/>
              <a:gd name="connsiteX633" fmla="*/ 405228 w 1707029"/>
              <a:gd name="connsiteY633" fmla="*/ 641213 h 904588"/>
              <a:gd name="connsiteX634" fmla="*/ 349967 w 1707029"/>
              <a:gd name="connsiteY634" fmla="*/ 606708 h 904588"/>
              <a:gd name="connsiteX635" fmla="*/ 313702 w 1707029"/>
              <a:gd name="connsiteY635" fmla="*/ 553145 h 904588"/>
              <a:gd name="connsiteX636" fmla="*/ 300660 w 1707029"/>
              <a:gd name="connsiteY636" fmla="*/ 484253 h 904588"/>
              <a:gd name="connsiteX637" fmla="*/ 313880 w 1707029"/>
              <a:gd name="connsiteY637" fmla="*/ 415835 h 904588"/>
              <a:gd name="connsiteX638" fmla="*/ 351276 w 1707029"/>
              <a:gd name="connsiteY638" fmla="*/ 363515 h 904588"/>
              <a:gd name="connsiteX639" fmla="*/ 407967 w 1707029"/>
              <a:gd name="connsiteY639" fmla="*/ 329898 h 904588"/>
              <a:gd name="connsiteX640" fmla="*/ 478590 w 1707029"/>
              <a:gd name="connsiteY640" fmla="*/ 318061 h 904588"/>
              <a:gd name="connsiteX641" fmla="*/ 255562 w 1707029"/>
              <a:gd name="connsiteY641" fmla="*/ 134765 h 904588"/>
              <a:gd name="connsiteX642" fmla="*/ 255581 w 1707029"/>
              <a:gd name="connsiteY642" fmla="*/ 134823 h 904588"/>
              <a:gd name="connsiteX643" fmla="*/ 255581 w 1707029"/>
              <a:gd name="connsiteY643" fmla="*/ 134765 h 904588"/>
              <a:gd name="connsiteX644" fmla="*/ 1446549 w 1707029"/>
              <a:gd name="connsiteY644" fmla="*/ 98484 h 904588"/>
              <a:gd name="connsiteX645" fmla="*/ 1420883 w 1707029"/>
              <a:gd name="connsiteY645" fmla="*/ 105113 h 904588"/>
              <a:gd name="connsiteX646" fmla="*/ 1403317 w 1707029"/>
              <a:gd name="connsiteY646" fmla="*/ 123461 h 904588"/>
              <a:gd name="connsiteX647" fmla="*/ 1396885 w 1707029"/>
              <a:gd name="connsiteY647" fmla="*/ 150568 h 904588"/>
              <a:gd name="connsiteX648" fmla="*/ 1403317 w 1707029"/>
              <a:gd name="connsiteY648" fmla="*/ 177497 h 904588"/>
              <a:gd name="connsiteX649" fmla="*/ 1420883 w 1707029"/>
              <a:gd name="connsiteY649" fmla="*/ 195726 h 904588"/>
              <a:gd name="connsiteX650" fmla="*/ 1446549 w 1707029"/>
              <a:gd name="connsiteY650" fmla="*/ 202355 h 904588"/>
              <a:gd name="connsiteX651" fmla="*/ 1472215 w 1707029"/>
              <a:gd name="connsiteY651" fmla="*/ 195726 h 904588"/>
              <a:gd name="connsiteX652" fmla="*/ 1489603 w 1707029"/>
              <a:gd name="connsiteY652" fmla="*/ 177556 h 904588"/>
              <a:gd name="connsiteX653" fmla="*/ 1495907 w 1707029"/>
              <a:gd name="connsiteY653" fmla="*/ 150597 h 904588"/>
              <a:gd name="connsiteX654" fmla="*/ 1495907 w 1707029"/>
              <a:gd name="connsiteY654" fmla="*/ 150597 h 904588"/>
              <a:gd name="connsiteX655" fmla="*/ 1495907 w 1707029"/>
              <a:gd name="connsiteY655" fmla="*/ 150597 h 904588"/>
              <a:gd name="connsiteX656" fmla="*/ 1495914 w 1707029"/>
              <a:gd name="connsiteY656" fmla="*/ 150626 h 904588"/>
              <a:gd name="connsiteX657" fmla="*/ 1495914 w 1707029"/>
              <a:gd name="connsiteY657" fmla="*/ 150568 h 904588"/>
              <a:gd name="connsiteX658" fmla="*/ 1495907 w 1707029"/>
              <a:gd name="connsiteY658" fmla="*/ 150597 h 904588"/>
              <a:gd name="connsiteX659" fmla="*/ 1495907 w 1707029"/>
              <a:gd name="connsiteY659" fmla="*/ 150597 h 904588"/>
              <a:gd name="connsiteX660" fmla="*/ 1495907 w 1707029"/>
              <a:gd name="connsiteY660" fmla="*/ 150597 h 904588"/>
              <a:gd name="connsiteX661" fmla="*/ 1489603 w 1707029"/>
              <a:gd name="connsiteY661" fmla="*/ 123461 h 904588"/>
              <a:gd name="connsiteX662" fmla="*/ 1472215 w 1707029"/>
              <a:gd name="connsiteY662" fmla="*/ 105113 h 904588"/>
              <a:gd name="connsiteX663" fmla="*/ 1446549 w 1707029"/>
              <a:gd name="connsiteY663" fmla="*/ 98484 h 904588"/>
              <a:gd name="connsiteX664" fmla="*/ 1247896 w 1707029"/>
              <a:gd name="connsiteY664" fmla="*/ 98484 h 904588"/>
              <a:gd name="connsiteX665" fmla="*/ 1222230 w 1707029"/>
              <a:gd name="connsiteY665" fmla="*/ 105113 h 904588"/>
              <a:gd name="connsiteX666" fmla="*/ 1204663 w 1707029"/>
              <a:gd name="connsiteY666" fmla="*/ 123461 h 904588"/>
              <a:gd name="connsiteX667" fmla="*/ 1198232 w 1707029"/>
              <a:gd name="connsiteY667" fmla="*/ 150568 h 904588"/>
              <a:gd name="connsiteX668" fmla="*/ 1204663 w 1707029"/>
              <a:gd name="connsiteY668" fmla="*/ 177497 h 904588"/>
              <a:gd name="connsiteX669" fmla="*/ 1222230 w 1707029"/>
              <a:gd name="connsiteY669" fmla="*/ 195726 h 904588"/>
              <a:gd name="connsiteX670" fmla="*/ 1247896 w 1707029"/>
              <a:gd name="connsiteY670" fmla="*/ 202355 h 904588"/>
              <a:gd name="connsiteX671" fmla="*/ 1273560 w 1707029"/>
              <a:gd name="connsiteY671" fmla="*/ 195726 h 904588"/>
              <a:gd name="connsiteX672" fmla="*/ 1290950 w 1707029"/>
              <a:gd name="connsiteY672" fmla="*/ 177556 h 904588"/>
              <a:gd name="connsiteX673" fmla="*/ 1297261 w 1707029"/>
              <a:gd name="connsiteY673" fmla="*/ 150568 h 904588"/>
              <a:gd name="connsiteX674" fmla="*/ 1297321 w 1707029"/>
              <a:gd name="connsiteY674" fmla="*/ 150626 h 904588"/>
              <a:gd name="connsiteX675" fmla="*/ 1291009 w 1707029"/>
              <a:gd name="connsiteY675" fmla="*/ 123461 h 904588"/>
              <a:gd name="connsiteX676" fmla="*/ 1273620 w 1707029"/>
              <a:gd name="connsiteY676" fmla="*/ 105113 h 904588"/>
              <a:gd name="connsiteX677" fmla="*/ 1247896 w 1707029"/>
              <a:gd name="connsiteY677" fmla="*/ 98484 h 904588"/>
              <a:gd name="connsiteX678" fmla="*/ 969806 w 1707029"/>
              <a:gd name="connsiteY678" fmla="*/ 98484 h 904588"/>
              <a:gd name="connsiteX679" fmla="*/ 944140 w 1707029"/>
              <a:gd name="connsiteY679" fmla="*/ 105113 h 904588"/>
              <a:gd name="connsiteX680" fmla="*/ 926573 w 1707029"/>
              <a:gd name="connsiteY680" fmla="*/ 123461 h 904588"/>
              <a:gd name="connsiteX681" fmla="*/ 920142 w 1707029"/>
              <a:gd name="connsiteY681" fmla="*/ 150568 h 904588"/>
              <a:gd name="connsiteX682" fmla="*/ 926573 w 1707029"/>
              <a:gd name="connsiteY682" fmla="*/ 177497 h 904588"/>
              <a:gd name="connsiteX683" fmla="*/ 944140 w 1707029"/>
              <a:gd name="connsiteY683" fmla="*/ 195726 h 904588"/>
              <a:gd name="connsiteX684" fmla="*/ 969806 w 1707029"/>
              <a:gd name="connsiteY684" fmla="*/ 202355 h 904588"/>
              <a:gd name="connsiteX685" fmla="*/ 995472 w 1707029"/>
              <a:gd name="connsiteY685" fmla="*/ 195726 h 904588"/>
              <a:gd name="connsiteX686" fmla="*/ 1012859 w 1707029"/>
              <a:gd name="connsiteY686" fmla="*/ 177556 h 904588"/>
              <a:gd name="connsiteX687" fmla="*/ 1019164 w 1707029"/>
              <a:gd name="connsiteY687" fmla="*/ 150597 h 904588"/>
              <a:gd name="connsiteX688" fmla="*/ 1019171 w 1707029"/>
              <a:gd name="connsiteY688" fmla="*/ 150626 h 904588"/>
              <a:gd name="connsiteX689" fmla="*/ 1019171 w 1707029"/>
              <a:gd name="connsiteY689" fmla="*/ 150568 h 904588"/>
              <a:gd name="connsiteX690" fmla="*/ 1019164 w 1707029"/>
              <a:gd name="connsiteY690" fmla="*/ 150597 h 904588"/>
              <a:gd name="connsiteX691" fmla="*/ 1012859 w 1707029"/>
              <a:gd name="connsiteY691" fmla="*/ 123461 h 904588"/>
              <a:gd name="connsiteX692" fmla="*/ 995472 w 1707029"/>
              <a:gd name="connsiteY692" fmla="*/ 105113 h 904588"/>
              <a:gd name="connsiteX693" fmla="*/ 969806 w 1707029"/>
              <a:gd name="connsiteY693" fmla="*/ 98484 h 904588"/>
              <a:gd name="connsiteX694" fmla="*/ 212588 w 1707029"/>
              <a:gd name="connsiteY694" fmla="*/ 97360 h 904588"/>
              <a:gd name="connsiteX695" fmla="*/ 185315 w 1707029"/>
              <a:gd name="connsiteY695" fmla="*/ 104225 h 904588"/>
              <a:gd name="connsiteX696" fmla="*/ 168225 w 1707029"/>
              <a:gd name="connsiteY696" fmla="*/ 123046 h 904588"/>
              <a:gd name="connsiteX697" fmla="*/ 164116 w 1707029"/>
              <a:gd name="connsiteY697" fmla="*/ 134765 h 904588"/>
              <a:gd name="connsiteX698" fmla="*/ 255562 w 1707029"/>
              <a:gd name="connsiteY698" fmla="*/ 134765 h 904588"/>
              <a:gd name="connsiteX699" fmla="*/ 251056 w 1707029"/>
              <a:gd name="connsiteY699" fmla="*/ 120738 h 904588"/>
              <a:gd name="connsiteX700" fmla="*/ 236109 w 1707029"/>
              <a:gd name="connsiteY700" fmla="*/ 103633 h 904588"/>
              <a:gd name="connsiteX701" fmla="*/ 1683254 w 1707029"/>
              <a:gd name="connsiteY701" fmla="*/ 68825 h 904588"/>
              <a:gd name="connsiteX702" fmla="*/ 1696235 w 1707029"/>
              <a:gd name="connsiteY702" fmla="*/ 69779 h 904588"/>
              <a:gd name="connsiteX703" fmla="*/ 1706180 w 1707029"/>
              <a:gd name="connsiteY703" fmla="*/ 78657 h 904588"/>
              <a:gd name="connsiteX704" fmla="*/ 1704989 w 1707029"/>
              <a:gd name="connsiteY704" fmla="*/ 91678 h 904588"/>
              <a:gd name="connsiteX705" fmla="*/ 1614952 w 1707029"/>
              <a:gd name="connsiteY705" fmla="*/ 291902 h 904588"/>
              <a:gd name="connsiteX706" fmla="*/ 1601017 w 1707029"/>
              <a:gd name="connsiteY706" fmla="*/ 302496 h 904588"/>
              <a:gd name="connsiteX707" fmla="*/ 1592919 w 1707029"/>
              <a:gd name="connsiteY707" fmla="*/ 300543 h 904588"/>
              <a:gd name="connsiteX708" fmla="*/ 1583154 w 1707029"/>
              <a:gd name="connsiteY708" fmla="*/ 291429 h 904588"/>
              <a:gd name="connsiteX709" fmla="*/ 1584463 w 1707029"/>
              <a:gd name="connsiteY709" fmla="*/ 278644 h 904588"/>
              <a:gd name="connsiteX710" fmla="*/ 1613226 w 1707029"/>
              <a:gd name="connsiteY710" fmla="*/ 214310 h 904588"/>
              <a:gd name="connsiteX711" fmla="*/ 1547722 w 1707029"/>
              <a:gd name="connsiteY711" fmla="*/ 91204 h 904588"/>
              <a:gd name="connsiteX712" fmla="*/ 1546889 w 1707029"/>
              <a:gd name="connsiteY712" fmla="*/ 78302 h 904588"/>
              <a:gd name="connsiteX713" fmla="*/ 1556118 w 1707029"/>
              <a:gd name="connsiteY713" fmla="*/ 69483 h 904588"/>
              <a:gd name="connsiteX714" fmla="*/ 1568742 w 1707029"/>
              <a:gd name="connsiteY714" fmla="*/ 69010 h 904588"/>
              <a:gd name="connsiteX715" fmla="*/ 1577853 w 1707029"/>
              <a:gd name="connsiteY715" fmla="*/ 77769 h 904588"/>
              <a:gd name="connsiteX716" fmla="*/ 1629184 w 1707029"/>
              <a:gd name="connsiteY716" fmla="*/ 178680 h 904588"/>
              <a:gd name="connsiteX717" fmla="*/ 1674203 w 1707029"/>
              <a:gd name="connsiteY717" fmla="*/ 78124 h 904588"/>
              <a:gd name="connsiteX718" fmla="*/ 1683254 w 1707029"/>
              <a:gd name="connsiteY718" fmla="*/ 68825 h 904588"/>
              <a:gd name="connsiteX719" fmla="*/ 1446549 w 1707029"/>
              <a:gd name="connsiteY719" fmla="*/ 66938 h 904588"/>
              <a:gd name="connsiteX720" fmla="*/ 1489663 w 1707029"/>
              <a:gd name="connsiteY720" fmla="*/ 77650 h 904588"/>
              <a:gd name="connsiteX721" fmla="*/ 1489722 w 1707029"/>
              <a:gd name="connsiteY721" fmla="*/ 77769 h 904588"/>
              <a:gd name="connsiteX722" fmla="*/ 1519436 w 1707029"/>
              <a:gd name="connsiteY722" fmla="*/ 107303 h 904588"/>
              <a:gd name="connsiteX723" fmla="*/ 1530214 w 1707029"/>
              <a:gd name="connsiteY723" fmla="*/ 150685 h 904588"/>
              <a:gd name="connsiteX724" fmla="*/ 1530214 w 1707029"/>
              <a:gd name="connsiteY724" fmla="*/ 213540 h 904588"/>
              <a:gd name="connsiteX725" fmla="*/ 1519556 w 1707029"/>
              <a:gd name="connsiteY725" fmla="*/ 256568 h 904588"/>
              <a:gd name="connsiteX726" fmla="*/ 1489900 w 1707029"/>
              <a:gd name="connsiteY726" fmla="*/ 287405 h 904588"/>
              <a:gd name="connsiteX727" fmla="*/ 1445953 w 1707029"/>
              <a:gd name="connsiteY727" fmla="*/ 298826 h 904588"/>
              <a:gd name="connsiteX728" fmla="*/ 1405699 w 1707029"/>
              <a:gd name="connsiteY728" fmla="*/ 290423 h 904588"/>
              <a:gd name="connsiteX729" fmla="*/ 1373781 w 1707029"/>
              <a:gd name="connsiteY729" fmla="*/ 265801 h 904588"/>
              <a:gd name="connsiteX730" fmla="*/ 1370446 w 1707029"/>
              <a:gd name="connsiteY730" fmla="*/ 253431 h 904588"/>
              <a:gd name="connsiteX731" fmla="*/ 1377294 w 1707029"/>
              <a:gd name="connsiteY731" fmla="*/ 243311 h 904588"/>
              <a:gd name="connsiteX732" fmla="*/ 1390394 w 1707029"/>
              <a:gd name="connsiteY732" fmla="*/ 240588 h 904588"/>
              <a:gd name="connsiteX733" fmla="*/ 1401292 w 1707029"/>
              <a:gd name="connsiteY733" fmla="*/ 247394 h 904588"/>
              <a:gd name="connsiteX734" fmla="*/ 1420288 w 1707029"/>
              <a:gd name="connsiteY734" fmla="*/ 262013 h 904588"/>
              <a:gd name="connsiteX735" fmla="*/ 1446549 w 1707029"/>
              <a:gd name="connsiteY735" fmla="*/ 267281 h 904588"/>
              <a:gd name="connsiteX736" fmla="*/ 1471262 w 1707029"/>
              <a:gd name="connsiteY736" fmla="*/ 260948 h 904588"/>
              <a:gd name="connsiteX737" fmla="*/ 1489185 w 1707029"/>
              <a:gd name="connsiteY737" fmla="*/ 242186 h 904588"/>
              <a:gd name="connsiteX738" fmla="*/ 1495914 w 1707029"/>
              <a:gd name="connsiteY738" fmla="*/ 211410 h 904588"/>
              <a:gd name="connsiteX739" fmla="*/ 1495914 w 1707029"/>
              <a:gd name="connsiteY739" fmla="*/ 205846 h 904588"/>
              <a:gd name="connsiteX740" fmla="*/ 1478049 w 1707029"/>
              <a:gd name="connsiteY740" fmla="*/ 223069 h 904588"/>
              <a:gd name="connsiteX741" fmla="*/ 1440654 w 1707029"/>
              <a:gd name="connsiteY741" fmla="*/ 233842 h 904588"/>
              <a:gd name="connsiteX742" fmla="*/ 1400220 w 1707029"/>
              <a:gd name="connsiteY742" fmla="*/ 223128 h 904588"/>
              <a:gd name="connsiteX743" fmla="*/ 1372650 w 1707029"/>
              <a:gd name="connsiteY743" fmla="*/ 193595 h 904588"/>
              <a:gd name="connsiteX744" fmla="*/ 1362645 w 1707029"/>
              <a:gd name="connsiteY744" fmla="*/ 150568 h 904588"/>
              <a:gd name="connsiteX745" fmla="*/ 1373424 w 1707029"/>
              <a:gd name="connsiteY745" fmla="*/ 107185 h 904588"/>
              <a:gd name="connsiteX746" fmla="*/ 1403138 w 1707029"/>
              <a:gd name="connsiteY746" fmla="*/ 77650 h 904588"/>
              <a:gd name="connsiteX747" fmla="*/ 1446549 w 1707029"/>
              <a:gd name="connsiteY747" fmla="*/ 66938 h 904588"/>
              <a:gd name="connsiteX748" fmla="*/ 1247896 w 1707029"/>
              <a:gd name="connsiteY748" fmla="*/ 66938 h 904588"/>
              <a:gd name="connsiteX749" fmla="*/ 1291009 w 1707029"/>
              <a:gd name="connsiteY749" fmla="*/ 77650 h 904588"/>
              <a:gd name="connsiteX750" fmla="*/ 1320723 w 1707029"/>
              <a:gd name="connsiteY750" fmla="*/ 107185 h 904588"/>
              <a:gd name="connsiteX751" fmla="*/ 1331501 w 1707029"/>
              <a:gd name="connsiteY751" fmla="*/ 150568 h 904588"/>
              <a:gd name="connsiteX752" fmla="*/ 1320843 w 1707029"/>
              <a:gd name="connsiteY752" fmla="*/ 193654 h 904588"/>
              <a:gd name="connsiteX753" fmla="*/ 1291306 w 1707029"/>
              <a:gd name="connsiteY753" fmla="*/ 223188 h 904588"/>
              <a:gd name="connsiteX754" fmla="*/ 1247896 w 1707029"/>
              <a:gd name="connsiteY754" fmla="*/ 233900 h 904588"/>
              <a:gd name="connsiteX755" fmla="*/ 1204484 w 1707029"/>
              <a:gd name="connsiteY755" fmla="*/ 223188 h 904588"/>
              <a:gd name="connsiteX756" fmla="*/ 1174770 w 1707029"/>
              <a:gd name="connsiteY756" fmla="*/ 193654 h 904588"/>
              <a:gd name="connsiteX757" fmla="*/ 1163932 w 1707029"/>
              <a:gd name="connsiteY757" fmla="*/ 150568 h 904588"/>
              <a:gd name="connsiteX758" fmla="*/ 1174770 w 1707029"/>
              <a:gd name="connsiteY758" fmla="*/ 107185 h 904588"/>
              <a:gd name="connsiteX759" fmla="*/ 1204484 w 1707029"/>
              <a:gd name="connsiteY759" fmla="*/ 77650 h 904588"/>
              <a:gd name="connsiteX760" fmla="*/ 1247896 w 1707029"/>
              <a:gd name="connsiteY760" fmla="*/ 66938 h 904588"/>
              <a:gd name="connsiteX761" fmla="*/ 969806 w 1707029"/>
              <a:gd name="connsiteY761" fmla="*/ 66938 h 904588"/>
              <a:gd name="connsiteX762" fmla="*/ 1012919 w 1707029"/>
              <a:gd name="connsiteY762" fmla="*/ 77650 h 904588"/>
              <a:gd name="connsiteX763" fmla="*/ 1042633 w 1707029"/>
              <a:gd name="connsiteY763" fmla="*/ 107185 h 904588"/>
              <a:gd name="connsiteX764" fmla="*/ 1053412 w 1707029"/>
              <a:gd name="connsiteY764" fmla="*/ 150568 h 904588"/>
              <a:gd name="connsiteX765" fmla="*/ 1042752 w 1707029"/>
              <a:gd name="connsiteY765" fmla="*/ 193654 h 904588"/>
              <a:gd name="connsiteX766" fmla="*/ 1013216 w 1707029"/>
              <a:gd name="connsiteY766" fmla="*/ 223188 h 904588"/>
              <a:gd name="connsiteX767" fmla="*/ 969806 w 1707029"/>
              <a:gd name="connsiteY767" fmla="*/ 233900 h 904588"/>
              <a:gd name="connsiteX768" fmla="*/ 926394 w 1707029"/>
              <a:gd name="connsiteY768" fmla="*/ 223188 h 904588"/>
              <a:gd name="connsiteX769" fmla="*/ 896680 w 1707029"/>
              <a:gd name="connsiteY769" fmla="*/ 193654 h 904588"/>
              <a:gd name="connsiteX770" fmla="*/ 885902 w 1707029"/>
              <a:gd name="connsiteY770" fmla="*/ 150568 h 904588"/>
              <a:gd name="connsiteX771" fmla="*/ 896680 w 1707029"/>
              <a:gd name="connsiteY771" fmla="*/ 107185 h 904588"/>
              <a:gd name="connsiteX772" fmla="*/ 926394 w 1707029"/>
              <a:gd name="connsiteY772" fmla="*/ 77650 h 904588"/>
              <a:gd name="connsiteX773" fmla="*/ 969806 w 1707029"/>
              <a:gd name="connsiteY773" fmla="*/ 66938 h 904588"/>
              <a:gd name="connsiteX774" fmla="*/ 389684 w 1707029"/>
              <a:gd name="connsiteY774" fmla="*/ 66938 h 904588"/>
              <a:gd name="connsiteX775" fmla="*/ 389685 w 1707029"/>
              <a:gd name="connsiteY775" fmla="*/ 66938 h 904588"/>
              <a:gd name="connsiteX776" fmla="*/ 389685 w 1707029"/>
              <a:gd name="connsiteY776" fmla="*/ 66938 h 904588"/>
              <a:gd name="connsiteX777" fmla="*/ 422615 w 1707029"/>
              <a:gd name="connsiteY777" fmla="*/ 73745 h 904588"/>
              <a:gd name="connsiteX778" fmla="*/ 422556 w 1707029"/>
              <a:gd name="connsiteY778" fmla="*/ 73804 h 904588"/>
              <a:gd name="connsiteX779" fmla="*/ 449352 w 1707029"/>
              <a:gd name="connsiteY779" fmla="*/ 94104 h 904588"/>
              <a:gd name="connsiteX780" fmla="*/ 452866 w 1707029"/>
              <a:gd name="connsiteY780" fmla="*/ 106060 h 904588"/>
              <a:gd name="connsiteX781" fmla="*/ 445364 w 1707029"/>
              <a:gd name="connsiteY781" fmla="*/ 116358 h 904588"/>
              <a:gd name="connsiteX782" fmla="*/ 434108 w 1707029"/>
              <a:gd name="connsiteY782" fmla="*/ 118667 h 904588"/>
              <a:gd name="connsiteX783" fmla="*/ 434108 w 1707029"/>
              <a:gd name="connsiteY783" fmla="*/ 118667 h 904588"/>
              <a:gd name="connsiteX784" fmla="*/ 434108 w 1707029"/>
              <a:gd name="connsiteY784" fmla="*/ 118667 h 904588"/>
              <a:gd name="connsiteX785" fmla="*/ 423628 w 1707029"/>
              <a:gd name="connsiteY785" fmla="*/ 112866 h 904588"/>
              <a:gd name="connsiteX786" fmla="*/ 389626 w 1707029"/>
              <a:gd name="connsiteY786" fmla="*/ 98484 h 904588"/>
              <a:gd name="connsiteX787" fmla="*/ 364555 w 1707029"/>
              <a:gd name="connsiteY787" fmla="*/ 104935 h 904588"/>
              <a:gd name="connsiteX788" fmla="*/ 347584 w 1707029"/>
              <a:gd name="connsiteY788" fmla="*/ 122928 h 904588"/>
              <a:gd name="connsiteX789" fmla="*/ 341391 w 1707029"/>
              <a:gd name="connsiteY789" fmla="*/ 150508 h 904588"/>
              <a:gd name="connsiteX790" fmla="*/ 347703 w 1707029"/>
              <a:gd name="connsiteY790" fmla="*/ 177200 h 904588"/>
              <a:gd name="connsiteX791" fmla="*/ 365151 w 1707029"/>
              <a:gd name="connsiteY791" fmla="*/ 195548 h 904588"/>
              <a:gd name="connsiteX792" fmla="*/ 391114 w 1707029"/>
              <a:gd name="connsiteY792" fmla="*/ 202295 h 904588"/>
              <a:gd name="connsiteX793" fmla="*/ 408383 w 1707029"/>
              <a:gd name="connsiteY793" fmla="*/ 199928 h 904588"/>
              <a:gd name="connsiteX794" fmla="*/ 421781 w 1707029"/>
              <a:gd name="connsiteY794" fmla="*/ 192708 h 904588"/>
              <a:gd name="connsiteX795" fmla="*/ 432976 w 1707029"/>
              <a:gd name="connsiteY795" fmla="*/ 187913 h 904588"/>
              <a:gd name="connsiteX796" fmla="*/ 432976 w 1707029"/>
              <a:gd name="connsiteY796" fmla="*/ 187913 h 904588"/>
              <a:gd name="connsiteX797" fmla="*/ 443815 w 1707029"/>
              <a:gd name="connsiteY797" fmla="*/ 191287 h 904588"/>
              <a:gd name="connsiteX798" fmla="*/ 450305 w 1707029"/>
              <a:gd name="connsiteY798" fmla="*/ 202177 h 904588"/>
              <a:gd name="connsiteX799" fmla="*/ 446018 w 1707029"/>
              <a:gd name="connsiteY799" fmla="*/ 213540 h 904588"/>
              <a:gd name="connsiteX800" fmla="*/ 391114 w 1707029"/>
              <a:gd name="connsiteY800" fmla="*/ 233841 h 904588"/>
              <a:gd name="connsiteX801" fmla="*/ 347823 w 1707029"/>
              <a:gd name="connsiteY801" fmla="*/ 222833 h 904588"/>
              <a:gd name="connsiteX802" fmla="*/ 317989 w 1707029"/>
              <a:gd name="connsiteY802" fmla="*/ 193062 h 904588"/>
              <a:gd name="connsiteX803" fmla="*/ 307210 w 1707029"/>
              <a:gd name="connsiteY803" fmla="*/ 150568 h 904588"/>
              <a:gd name="connsiteX804" fmla="*/ 317869 w 1707029"/>
              <a:gd name="connsiteY804" fmla="*/ 107361 h 904588"/>
              <a:gd name="connsiteX805" fmla="*/ 347108 w 1707029"/>
              <a:gd name="connsiteY805" fmla="*/ 77650 h 904588"/>
              <a:gd name="connsiteX806" fmla="*/ 389684 w 1707029"/>
              <a:gd name="connsiteY806" fmla="*/ 66938 h 904588"/>
              <a:gd name="connsiteX807" fmla="*/ 212587 w 1707029"/>
              <a:gd name="connsiteY807" fmla="*/ 66938 h 904588"/>
              <a:gd name="connsiteX808" fmla="*/ 212588 w 1707029"/>
              <a:gd name="connsiteY808" fmla="*/ 66938 h 904588"/>
              <a:gd name="connsiteX809" fmla="*/ 253439 w 1707029"/>
              <a:gd name="connsiteY809" fmla="*/ 77355 h 904588"/>
              <a:gd name="connsiteX810" fmla="*/ 253498 w 1707029"/>
              <a:gd name="connsiteY810" fmla="*/ 77414 h 904588"/>
              <a:gd name="connsiteX811" fmla="*/ 279638 w 1707029"/>
              <a:gd name="connsiteY811" fmla="*/ 106179 h 904588"/>
              <a:gd name="connsiteX812" fmla="*/ 288571 w 1707029"/>
              <a:gd name="connsiteY812" fmla="*/ 147963 h 904588"/>
              <a:gd name="connsiteX813" fmla="*/ 283927 w 1707029"/>
              <a:gd name="connsiteY813" fmla="*/ 159031 h 904588"/>
              <a:gd name="connsiteX814" fmla="*/ 272314 w 1707029"/>
              <a:gd name="connsiteY814" fmla="*/ 163411 h 904588"/>
              <a:gd name="connsiteX815" fmla="*/ 272314 w 1707029"/>
              <a:gd name="connsiteY815" fmla="*/ 163411 h 904588"/>
              <a:gd name="connsiteX816" fmla="*/ 163758 w 1707029"/>
              <a:gd name="connsiteY816" fmla="*/ 163411 h 904588"/>
              <a:gd name="connsiteX817" fmla="*/ 169296 w 1707029"/>
              <a:gd name="connsiteY817" fmla="*/ 177733 h 904588"/>
              <a:gd name="connsiteX818" fmla="*/ 188590 w 1707029"/>
              <a:gd name="connsiteY818" fmla="*/ 196554 h 904588"/>
              <a:gd name="connsiteX819" fmla="*/ 216994 w 1707029"/>
              <a:gd name="connsiteY819" fmla="*/ 203478 h 904588"/>
              <a:gd name="connsiteX820" fmla="*/ 234800 w 1707029"/>
              <a:gd name="connsiteY820" fmla="*/ 200282 h 904588"/>
              <a:gd name="connsiteX821" fmla="*/ 249567 w 1707029"/>
              <a:gd name="connsiteY821" fmla="*/ 192944 h 904588"/>
              <a:gd name="connsiteX822" fmla="*/ 260643 w 1707029"/>
              <a:gd name="connsiteY822" fmla="*/ 189037 h 904588"/>
              <a:gd name="connsiteX823" fmla="*/ 260643 w 1707029"/>
              <a:gd name="connsiteY823" fmla="*/ 189037 h 904588"/>
              <a:gd name="connsiteX824" fmla="*/ 260643 w 1707029"/>
              <a:gd name="connsiteY824" fmla="*/ 189037 h 904588"/>
              <a:gd name="connsiteX825" fmla="*/ 271421 w 1707029"/>
              <a:gd name="connsiteY825" fmla="*/ 192707 h 904588"/>
              <a:gd name="connsiteX826" fmla="*/ 277674 w 1707029"/>
              <a:gd name="connsiteY826" fmla="*/ 204189 h 904588"/>
              <a:gd name="connsiteX827" fmla="*/ 271897 w 1707029"/>
              <a:gd name="connsiteY827" fmla="*/ 215493 h 904588"/>
              <a:gd name="connsiteX828" fmla="*/ 246232 w 1707029"/>
              <a:gd name="connsiteY828" fmla="*/ 228692 h 904588"/>
              <a:gd name="connsiteX829" fmla="*/ 216994 w 1707029"/>
              <a:gd name="connsiteY829" fmla="*/ 233781 h 904588"/>
              <a:gd name="connsiteX830" fmla="*/ 216994 w 1707029"/>
              <a:gd name="connsiteY830" fmla="*/ 233781 h 904588"/>
              <a:gd name="connsiteX831" fmla="*/ 172274 w 1707029"/>
              <a:gd name="connsiteY831" fmla="*/ 223128 h 904588"/>
              <a:gd name="connsiteX832" fmla="*/ 141547 w 1707029"/>
              <a:gd name="connsiteY832" fmla="*/ 193595 h 904588"/>
              <a:gd name="connsiteX833" fmla="*/ 130411 w 1707029"/>
              <a:gd name="connsiteY833" fmla="*/ 150507 h 904588"/>
              <a:gd name="connsiteX834" fmla="*/ 140891 w 1707029"/>
              <a:gd name="connsiteY834" fmla="*/ 107185 h 904588"/>
              <a:gd name="connsiteX835" fmla="*/ 170010 w 1707029"/>
              <a:gd name="connsiteY835" fmla="*/ 77650 h 904588"/>
              <a:gd name="connsiteX836" fmla="*/ 212587 w 1707029"/>
              <a:gd name="connsiteY836" fmla="*/ 66938 h 904588"/>
              <a:gd name="connsiteX837" fmla="*/ 776154 w 1707029"/>
              <a:gd name="connsiteY837" fmla="*/ 66701 h 904588"/>
              <a:gd name="connsiteX838" fmla="*/ 813789 w 1707029"/>
              <a:gd name="connsiteY838" fmla="*/ 75579 h 904588"/>
              <a:gd name="connsiteX839" fmla="*/ 813729 w 1707029"/>
              <a:gd name="connsiteY839" fmla="*/ 75461 h 904588"/>
              <a:gd name="connsiteX840" fmla="*/ 840109 w 1707029"/>
              <a:gd name="connsiteY840" fmla="*/ 101679 h 904588"/>
              <a:gd name="connsiteX841" fmla="*/ 849696 w 1707029"/>
              <a:gd name="connsiteY841" fmla="*/ 143702 h 904588"/>
              <a:gd name="connsiteX842" fmla="*/ 849696 w 1707029"/>
              <a:gd name="connsiteY842" fmla="*/ 215316 h 904588"/>
              <a:gd name="connsiteX843" fmla="*/ 844634 w 1707029"/>
              <a:gd name="connsiteY843" fmla="*/ 227804 h 904588"/>
              <a:gd name="connsiteX844" fmla="*/ 832010 w 1707029"/>
              <a:gd name="connsiteY844" fmla="*/ 232776 h 904588"/>
              <a:gd name="connsiteX845" fmla="*/ 819386 w 1707029"/>
              <a:gd name="connsiteY845" fmla="*/ 227804 h 904588"/>
              <a:gd name="connsiteX846" fmla="*/ 814324 w 1707029"/>
              <a:gd name="connsiteY846" fmla="*/ 215316 h 904588"/>
              <a:gd name="connsiteX847" fmla="*/ 814324 w 1707029"/>
              <a:gd name="connsiteY847" fmla="*/ 143702 h 904588"/>
              <a:gd name="connsiteX848" fmla="*/ 808489 w 1707029"/>
              <a:gd name="connsiteY848" fmla="*/ 117955 h 904588"/>
              <a:gd name="connsiteX849" fmla="*/ 793006 w 1707029"/>
              <a:gd name="connsiteY849" fmla="*/ 103455 h 904588"/>
              <a:gd name="connsiteX850" fmla="*/ 770199 w 1707029"/>
              <a:gd name="connsiteY850" fmla="*/ 98661 h 904588"/>
              <a:gd name="connsiteX851" fmla="*/ 749060 w 1707029"/>
              <a:gd name="connsiteY851" fmla="*/ 103337 h 904588"/>
              <a:gd name="connsiteX852" fmla="*/ 734173 w 1707029"/>
              <a:gd name="connsiteY852" fmla="*/ 115765 h 904588"/>
              <a:gd name="connsiteX853" fmla="*/ 728813 w 1707029"/>
              <a:gd name="connsiteY853" fmla="*/ 133285 h 904588"/>
              <a:gd name="connsiteX854" fmla="*/ 728813 w 1707029"/>
              <a:gd name="connsiteY854" fmla="*/ 215375 h 904588"/>
              <a:gd name="connsiteX855" fmla="*/ 723931 w 1707029"/>
              <a:gd name="connsiteY855" fmla="*/ 227863 h 904588"/>
              <a:gd name="connsiteX856" fmla="*/ 711069 w 1707029"/>
              <a:gd name="connsiteY856" fmla="*/ 232893 h 904588"/>
              <a:gd name="connsiteX857" fmla="*/ 698444 w 1707029"/>
              <a:gd name="connsiteY857" fmla="*/ 227921 h 904588"/>
              <a:gd name="connsiteX858" fmla="*/ 693382 w 1707029"/>
              <a:gd name="connsiteY858" fmla="*/ 215434 h 904588"/>
              <a:gd name="connsiteX859" fmla="*/ 693382 w 1707029"/>
              <a:gd name="connsiteY859" fmla="*/ 85640 h 904588"/>
              <a:gd name="connsiteX860" fmla="*/ 698444 w 1707029"/>
              <a:gd name="connsiteY860" fmla="*/ 72975 h 904588"/>
              <a:gd name="connsiteX861" fmla="*/ 711069 w 1707029"/>
              <a:gd name="connsiteY861" fmla="*/ 68122 h 904588"/>
              <a:gd name="connsiteX862" fmla="*/ 723872 w 1707029"/>
              <a:gd name="connsiteY862" fmla="*/ 72975 h 904588"/>
              <a:gd name="connsiteX863" fmla="*/ 728635 w 1707029"/>
              <a:gd name="connsiteY863" fmla="*/ 82977 h 904588"/>
              <a:gd name="connsiteX864" fmla="*/ 739830 w 1707029"/>
              <a:gd name="connsiteY864" fmla="*/ 75461 h 904588"/>
              <a:gd name="connsiteX865" fmla="*/ 776154 w 1707029"/>
              <a:gd name="connsiteY865" fmla="*/ 66701 h 904588"/>
              <a:gd name="connsiteX866" fmla="*/ 44780 w 1707029"/>
              <a:gd name="connsiteY866" fmla="*/ 17400 h 904588"/>
              <a:gd name="connsiteX867" fmla="*/ 44780 w 1707029"/>
              <a:gd name="connsiteY867" fmla="*/ 17400 h 904588"/>
              <a:gd name="connsiteX868" fmla="*/ 44781 w 1707029"/>
              <a:gd name="connsiteY868" fmla="*/ 17400 h 904588"/>
              <a:gd name="connsiteX869" fmla="*/ 57286 w 1707029"/>
              <a:gd name="connsiteY869" fmla="*/ 22253 h 904588"/>
              <a:gd name="connsiteX870" fmla="*/ 62169 w 1707029"/>
              <a:gd name="connsiteY870" fmla="*/ 34623 h 904588"/>
              <a:gd name="connsiteX871" fmla="*/ 62169 w 1707029"/>
              <a:gd name="connsiteY871" fmla="*/ 73863 h 904588"/>
              <a:gd name="connsiteX872" fmla="*/ 84500 w 1707029"/>
              <a:gd name="connsiteY872" fmla="*/ 73863 h 904588"/>
              <a:gd name="connsiteX873" fmla="*/ 84500 w 1707029"/>
              <a:gd name="connsiteY873" fmla="*/ 73863 h 904588"/>
              <a:gd name="connsiteX874" fmla="*/ 96351 w 1707029"/>
              <a:gd name="connsiteY874" fmla="*/ 78065 h 904588"/>
              <a:gd name="connsiteX875" fmla="*/ 101054 w 1707029"/>
              <a:gd name="connsiteY875" fmla="*/ 89370 h 904588"/>
              <a:gd name="connsiteX876" fmla="*/ 96351 w 1707029"/>
              <a:gd name="connsiteY876" fmla="*/ 100082 h 904588"/>
              <a:gd name="connsiteX877" fmla="*/ 84500 w 1707029"/>
              <a:gd name="connsiteY877" fmla="*/ 104284 h 904588"/>
              <a:gd name="connsiteX878" fmla="*/ 84500 w 1707029"/>
              <a:gd name="connsiteY878" fmla="*/ 104284 h 904588"/>
              <a:gd name="connsiteX879" fmla="*/ 62169 w 1707029"/>
              <a:gd name="connsiteY879" fmla="*/ 104284 h 904588"/>
              <a:gd name="connsiteX880" fmla="*/ 62169 w 1707029"/>
              <a:gd name="connsiteY880" fmla="*/ 173531 h 904588"/>
              <a:gd name="connsiteX881" fmla="*/ 68065 w 1707029"/>
              <a:gd name="connsiteY881" fmla="*/ 191346 h 904588"/>
              <a:gd name="connsiteX882" fmla="*/ 81879 w 1707029"/>
              <a:gd name="connsiteY882" fmla="*/ 198211 h 904588"/>
              <a:gd name="connsiteX883" fmla="*/ 91884 w 1707029"/>
              <a:gd name="connsiteY883" fmla="*/ 198211 h 904588"/>
              <a:gd name="connsiteX884" fmla="*/ 91884 w 1707029"/>
              <a:gd name="connsiteY884" fmla="*/ 198211 h 904588"/>
              <a:gd name="connsiteX885" fmla="*/ 91884 w 1707029"/>
              <a:gd name="connsiteY885" fmla="*/ 198270 h 904588"/>
              <a:gd name="connsiteX886" fmla="*/ 102841 w 1707029"/>
              <a:gd name="connsiteY886" fmla="*/ 203242 h 904588"/>
              <a:gd name="connsiteX887" fmla="*/ 107188 w 1707029"/>
              <a:gd name="connsiteY887" fmla="*/ 215493 h 904588"/>
              <a:gd name="connsiteX888" fmla="*/ 101412 w 1707029"/>
              <a:gd name="connsiteY888" fmla="*/ 227981 h 904588"/>
              <a:gd name="connsiteX889" fmla="*/ 87179 w 1707029"/>
              <a:gd name="connsiteY889" fmla="*/ 232657 h 904588"/>
              <a:gd name="connsiteX890" fmla="*/ 87179 w 1707029"/>
              <a:gd name="connsiteY890" fmla="*/ 232657 h 904588"/>
              <a:gd name="connsiteX891" fmla="*/ 81879 w 1707029"/>
              <a:gd name="connsiteY891" fmla="*/ 232657 h 904588"/>
              <a:gd name="connsiteX892" fmla="*/ 81879 w 1707029"/>
              <a:gd name="connsiteY892" fmla="*/ 232657 h 904588"/>
              <a:gd name="connsiteX893" fmla="*/ 53952 w 1707029"/>
              <a:gd name="connsiteY893" fmla="*/ 224785 h 904588"/>
              <a:gd name="connsiteX894" fmla="*/ 34479 w 1707029"/>
              <a:gd name="connsiteY894" fmla="*/ 203537 h 904588"/>
              <a:gd name="connsiteX895" fmla="*/ 27392 w 1707029"/>
              <a:gd name="connsiteY895" fmla="*/ 173472 h 904588"/>
              <a:gd name="connsiteX896" fmla="*/ 27392 w 1707029"/>
              <a:gd name="connsiteY896" fmla="*/ 104225 h 904588"/>
              <a:gd name="connsiteX897" fmla="*/ 16556 w 1707029"/>
              <a:gd name="connsiteY897" fmla="*/ 104225 h 904588"/>
              <a:gd name="connsiteX898" fmla="*/ 16555 w 1707029"/>
              <a:gd name="connsiteY898" fmla="*/ 104225 h 904588"/>
              <a:gd name="connsiteX899" fmla="*/ 4704 w 1707029"/>
              <a:gd name="connsiteY899" fmla="*/ 100023 h 904588"/>
              <a:gd name="connsiteX900" fmla="*/ 0 w 1707029"/>
              <a:gd name="connsiteY900" fmla="*/ 89310 h 904588"/>
              <a:gd name="connsiteX901" fmla="*/ 4704 w 1707029"/>
              <a:gd name="connsiteY901" fmla="*/ 78065 h 904588"/>
              <a:gd name="connsiteX902" fmla="*/ 16555 w 1707029"/>
              <a:gd name="connsiteY902" fmla="*/ 73863 h 904588"/>
              <a:gd name="connsiteX903" fmla="*/ 16556 w 1707029"/>
              <a:gd name="connsiteY903" fmla="*/ 73863 h 904588"/>
              <a:gd name="connsiteX904" fmla="*/ 27392 w 1707029"/>
              <a:gd name="connsiteY904" fmla="*/ 73863 h 904588"/>
              <a:gd name="connsiteX905" fmla="*/ 27392 w 1707029"/>
              <a:gd name="connsiteY905" fmla="*/ 34623 h 904588"/>
              <a:gd name="connsiteX906" fmla="*/ 32276 w 1707029"/>
              <a:gd name="connsiteY906" fmla="*/ 22253 h 904588"/>
              <a:gd name="connsiteX907" fmla="*/ 44780 w 1707029"/>
              <a:gd name="connsiteY907" fmla="*/ 17400 h 904588"/>
              <a:gd name="connsiteX908" fmla="*/ 1104265 w 1707029"/>
              <a:gd name="connsiteY908" fmla="*/ 0 h 904588"/>
              <a:gd name="connsiteX909" fmla="*/ 1116770 w 1707029"/>
              <a:gd name="connsiteY909" fmla="*/ 4853 h 904588"/>
              <a:gd name="connsiteX910" fmla="*/ 1121653 w 1707029"/>
              <a:gd name="connsiteY910" fmla="*/ 17223 h 904588"/>
              <a:gd name="connsiteX911" fmla="*/ 1121653 w 1707029"/>
              <a:gd name="connsiteY911" fmla="*/ 176136 h 904588"/>
              <a:gd name="connsiteX912" fmla="*/ 1125404 w 1707029"/>
              <a:gd name="connsiteY912" fmla="*/ 192530 h 904588"/>
              <a:gd name="connsiteX913" fmla="*/ 1133682 w 1707029"/>
              <a:gd name="connsiteY913" fmla="*/ 198212 h 904588"/>
              <a:gd name="connsiteX914" fmla="*/ 1141066 w 1707029"/>
              <a:gd name="connsiteY914" fmla="*/ 198212 h 904588"/>
              <a:gd name="connsiteX915" fmla="*/ 1152618 w 1707029"/>
              <a:gd name="connsiteY915" fmla="*/ 203183 h 904588"/>
              <a:gd name="connsiteX916" fmla="*/ 1156966 w 1707029"/>
              <a:gd name="connsiteY916" fmla="*/ 215434 h 904588"/>
              <a:gd name="connsiteX917" fmla="*/ 1150296 w 1707029"/>
              <a:gd name="connsiteY917" fmla="*/ 228041 h 904588"/>
              <a:gd name="connsiteX918" fmla="*/ 1134277 w 1707029"/>
              <a:gd name="connsiteY918" fmla="*/ 232657 h 904588"/>
              <a:gd name="connsiteX919" fmla="*/ 1109208 w 1707029"/>
              <a:gd name="connsiteY919" fmla="*/ 225200 h 904588"/>
              <a:gd name="connsiteX920" fmla="*/ 1092713 w 1707029"/>
              <a:gd name="connsiteY920" fmla="*/ 205077 h 904588"/>
              <a:gd name="connsiteX921" fmla="*/ 1086877 w 1707029"/>
              <a:gd name="connsiteY921" fmla="*/ 176136 h 904588"/>
              <a:gd name="connsiteX922" fmla="*/ 1086877 w 1707029"/>
              <a:gd name="connsiteY922" fmla="*/ 17223 h 904588"/>
              <a:gd name="connsiteX923" fmla="*/ 1091760 w 1707029"/>
              <a:gd name="connsiteY923" fmla="*/ 4853 h 904588"/>
              <a:gd name="connsiteX924" fmla="*/ 1104265 w 1707029"/>
              <a:gd name="connsiteY924" fmla="*/ 0 h 904588"/>
              <a:gd name="connsiteX925" fmla="*/ 510092 w 1707029"/>
              <a:gd name="connsiteY925" fmla="*/ 0 h 904588"/>
              <a:gd name="connsiteX926" fmla="*/ 510092 w 1707029"/>
              <a:gd name="connsiteY926" fmla="*/ 0 h 904588"/>
              <a:gd name="connsiteX927" fmla="*/ 510092 w 1707029"/>
              <a:gd name="connsiteY927" fmla="*/ 0 h 904588"/>
              <a:gd name="connsiteX928" fmla="*/ 522895 w 1707029"/>
              <a:gd name="connsiteY928" fmla="*/ 4853 h 904588"/>
              <a:gd name="connsiteX929" fmla="*/ 527777 w 1707029"/>
              <a:gd name="connsiteY929" fmla="*/ 17518 h 904588"/>
              <a:gd name="connsiteX930" fmla="*/ 527777 w 1707029"/>
              <a:gd name="connsiteY930" fmla="*/ 82860 h 904588"/>
              <a:gd name="connsiteX931" fmla="*/ 538793 w 1707029"/>
              <a:gd name="connsiteY931" fmla="*/ 75462 h 904588"/>
              <a:gd name="connsiteX932" fmla="*/ 575118 w 1707029"/>
              <a:gd name="connsiteY932" fmla="*/ 66701 h 904588"/>
              <a:gd name="connsiteX933" fmla="*/ 575118 w 1707029"/>
              <a:gd name="connsiteY933" fmla="*/ 66701 h 904588"/>
              <a:gd name="connsiteX934" fmla="*/ 612752 w 1707029"/>
              <a:gd name="connsiteY934" fmla="*/ 75580 h 904588"/>
              <a:gd name="connsiteX935" fmla="*/ 612752 w 1707029"/>
              <a:gd name="connsiteY935" fmla="*/ 75462 h 904588"/>
              <a:gd name="connsiteX936" fmla="*/ 612752 w 1707029"/>
              <a:gd name="connsiteY936" fmla="*/ 75462 h 904588"/>
              <a:gd name="connsiteX937" fmla="*/ 639132 w 1707029"/>
              <a:gd name="connsiteY937" fmla="*/ 101681 h 904588"/>
              <a:gd name="connsiteX938" fmla="*/ 648719 w 1707029"/>
              <a:gd name="connsiteY938" fmla="*/ 143702 h 904588"/>
              <a:gd name="connsiteX939" fmla="*/ 648719 w 1707029"/>
              <a:gd name="connsiteY939" fmla="*/ 215317 h 904588"/>
              <a:gd name="connsiteX940" fmla="*/ 643657 w 1707029"/>
              <a:gd name="connsiteY940" fmla="*/ 227805 h 904588"/>
              <a:gd name="connsiteX941" fmla="*/ 631033 w 1707029"/>
              <a:gd name="connsiteY941" fmla="*/ 232777 h 904588"/>
              <a:gd name="connsiteX942" fmla="*/ 631033 w 1707029"/>
              <a:gd name="connsiteY942" fmla="*/ 232777 h 904588"/>
              <a:gd name="connsiteX943" fmla="*/ 631033 w 1707029"/>
              <a:gd name="connsiteY943" fmla="*/ 232777 h 904588"/>
              <a:gd name="connsiteX944" fmla="*/ 618409 w 1707029"/>
              <a:gd name="connsiteY944" fmla="*/ 227805 h 904588"/>
              <a:gd name="connsiteX945" fmla="*/ 613347 w 1707029"/>
              <a:gd name="connsiteY945" fmla="*/ 215317 h 904588"/>
              <a:gd name="connsiteX946" fmla="*/ 613347 w 1707029"/>
              <a:gd name="connsiteY946" fmla="*/ 143702 h 904588"/>
              <a:gd name="connsiteX947" fmla="*/ 607513 w 1707029"/>
              <a:gd name="connsiteY947" fmla="*/ 117957 h 904588"/>
              <a:gd name="connsiteX948" fmla="*/ 592029 w 1707029"/>
              <a:gd name="connsiteY948" fmla="*/ 103456 h 904588"/>
              <a:gd name="connsiteX949" fmla="*/ 569222 w 1707029"/>
              <a:gd name="connsiteY949" fmla="*/ 98663 h 904588"/>
              <a:gd name="connsiteX950" fmla="*/ 548083 w 1707029"/>
              <a:gd name="connsiteY950" fmla="*/ 103338 h 904588"/>
              <a:gd name="connsiteX951" fmla="*/ 533196 w 1707029"/>
              <a:gd name="connsiteY951" fmla="*/ 115767 h 904588"/>
              <a:gd name="connsiteX952" fmla="*/ 527777 w 1707029"/>
              <a:gd name="connsiteY952" fmla="*/ 133286 h 904588"/>
              <a:gd name="connsiteX953" fmla="*/ 527777 w 1707029"/>
              <a:gd name="connsiteY953" fmla="*/ 215376 h 904588"/>
              <a:gd name="connsiteX954" fmla="*/ 522895 w 1707029"/>
              <a:gd name="connsiteY954" fmla="*/ 227864 h 904588"/>
              <a:gd name="connsiteX955" fmla="*/ 510032 w 1707029"/>
              <a:gd name="connsiteY955" fmla="*/ 232894 h 904588"/>
              <a:gd name="connsiteX956" fmla="*/ 510032 w 1707029"/>
              <a:gd name="connsiteY956" fmla="*/ 232894 h 904588"/>
              <a:gd name="connsiteX957" fmla="*/ 497408 w 1707029"/>
              <a:gd name="connsiteY957" fmla="*/ 227924 h 904588"/>
              <a:gd name="connsiteX958" fmla="*/ 492346 w 1707029"/>
              <a:gd name="connsiteY958" fmla="*/ 215435 h 904588"/>
              <a:gd name="connsiteX959" fmla="*/ 492346 w 1707029"/>
              <a:gd name="connsiteY959" fmla="*/ 17518 h 904588"/>
              <a:gd name="connsiteX960" fmla="*/ 497467 w 1707029"/>
              <a:gd name="connsiteY960" fmla="*/ 4853 h 904588"/>
              <a:gd name="connsiteX961" fmla="*/ 510092 w 1707029"/>
              <a:gd name="connsiteY961" fmla="*/ 0 h 904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Lst>
            <a:rect l="l" t="t" r="r" b="b"/>
            <a:pathLst>
              <a:path w="1707029" h="904588">
                <a:moveTo>
                  <a:pt x="1036260" y="827646"/>
                </a:moveTo>
                <a:cubicBezTo>
                  <a:pt x="1040429" y="827646"/>
                  <a:pt x="1043883" y="829067"/>
                  <a:pt x="1046741" y="831967"/>
                </a:cubicBezTo>
                <a:cubicBezTo>
                  <a:pt x="1049599" y="834867"/>
                  <a:pt x="1051028" y="838477"/>
                  <a:pt x="1051028" y="842443"/>
                </a:cubicBezTo>
                <a:cubicBezTo>
                  <a:pt x="1051028" y="846408"/>
                  <a:pt x="1049599" y="849842"/>
                  <a:pt x="1046741" y="852741"/>
                </a:cubicBezTo>
                <a:cubicBezTo>
                  <a:pt x="1043883" y="855582"/>
                  <a:pt x="1040250" y="857062"/>
                  <a:pt x="1036260" y="857062"/>
                </a:cubicBezTo>
                <a:cubicBezTo>
                  <a:pt x="1032270" y="857062"/>
                  <a:pt x="1028817" y="855642"/>
                  <a:pt x="1025898" y="852741"/>
                </a:cubicBezTo>
                <a:cubicBezTo>
                  <a:pt x="1023040" y="849842"/>
                  <a:pt x="1021552" y="846527"/>
                  <a:pt x="1021552" y="842443"/>
                </a:cubicBezTo>
                <a:cubicBezTo>
                  <a:pt x="1021552" y="838359"/>
                  <a:pt x="1022982" y="834867"/>
                  <a:pt x="1025898" y="831967"/>
                </a:cubicBezTo>
                <a:cubicBezTo>
                  <a:pt x="1028817" y="829125"/>
                  <a:pt x="1032270" y="827646"/>
                  <a:pt x="1036260" y="827646"/>
                </a:cubicBezTo>
                <a:close/>
                <a:moveTo>
                  <a:pt x="373965" y="755973"/>
                </a:moveTo>
                <a:lnTo>
                  <a:pt x="354671" y="761181"/>
                </a:lnTo>
                <a:cubicBezTo>
                  <a:pt x="348953" y="764614"/>
                  <a:pt x="344368" y="769349"/>
                  <a:pt x="341034" y="775386"/>
                </a:cubicBezTo>
                <a:cubicBezTo>
                  <a:pt x="337699" y="781423"/>
                  <a:pt x="336031" y="788407"/>
                  <a:pt x="336031" y="795864"/>
                </a:cubicBezTo>
                <a:cubicBezTo>
                  <a:pt x="336031" y="803321"/>
                  <a:pt x="337699" y="810069"/>
                  <a:pt x="341034" y="816106"/>
                </a:cubicBezTo>
                <a:cubicBezTo>
                  <a:pt x="344368" y="822142"/>
                  <a:pt x="348894" y="826878"/>
                  <a:pt x="354671" y="830310"/>
                </a:cubicBezTo>
                <a:lnTo>
                  <a:pt x="373965" y="835519"/>
                </a:lnTo>
                <a:lnTo>
                  <a:pt x="393377" y="830310"/>
                </a:lnTo>
                <a:cubicBezTo>
                  <a:pt x="399094" y="826878"/>
                  <a:pt x="403559" y="822142"/>
                  <a:pt x="406835" y="816106"/>
                </a:cubicBezTo>
                <a:cubicBezTo>
                  <a:pt x="410109" y="810128"/>
                  <a:pt x="411718" y="803499"/>
                  <a:pt x="411718" y="795864"/>
                </a:cubicBezTo>
                <a:cubicBezTo>
                  <a:pt x="411718" y="788229"/>
                  <a:pt x="410109" y="781364"/>
                  <a:pt x="406835" y="775386"/>
                </a:cubicBezTo>
                <a:cubicBezTo>
                  <a:pt x="403559" y="769408"/>
                  <a:pt x="399094" y="764674"/>
                  <a:pt x="393377" y="761181"/>
                </a:cubicBezTo>
                <a:close/>
                <a:moveTo>
                  <a:pt x="1133741" y="755914"/>
                </a:moveTo>
                <a:cubicBezTo>
                  <a:pt x="1126357" y="755914"/>
                  <a:pt x="1119807" y="757630"/>
                  <a:pt x="1114091" y="761004"/>
                </a:cubicBezTo>
                <a:cubicBezTo>
                  <a:pt x="1108373" y="764377"/>
                  <a:pt x="1103907" y="769053"/>
                  <a:pt x="1100632" y="775091"/>
                </a:cubicBezTo>
                <a:cubicBezTo>
                  <a:pt x="1097358" y="781067"/>
                  <a:pt x="1095749" y="787934"/>
                  <a:pt x="1095749" y="795745"/>
                </a:cubicBezTo>
                <a:cubicBezTo>
                  <a:pt x="1095749" y="803558"/>
                  <a:pt x="1097358" y="810424"/>
                  <a:pt x="1100632" y="816342"/>
                </a:cubicBezTo>
                <a:cubicBezTo>
                  <a:pt x="1103907" y="822320"/>
                  <a:pt x="1108373" y="826996"/>
                  <a:pt x="1114091" y="830369"/>
                </a:cubicBezTo>
                <a:cubicBezTo>
                  <a:pt x="1119807" y="833743"/>
                  <a:pt x="1126357" y="835459"/>
                  <a:pt x="1133741" y="835459"/>
                </a:cubicBezTo>
                <a:cubicBezTo>
                  <a:pt x="1141125" y="835459"/>
                  <a:pt x="1147675" y="833743"/>
                  <a:pt x="1153392" y="830369"/>
                </a:cubicBezTo>
                <a:cubicBezTo>
                  <a:pt x="1159109" y="826937"/>
                  <a:pt x="1163516" y="822261"/>
                  <a:pt x="1166731" y="816342"/>
                </a:cubicBezTo>
                <a:cubicBezTo>
                  <a:pt x="1169946" y="810364"/>
                  <a:pt x="1171554" y="803499"/>
                  <a:pt x="1171554" y="795745"/>
                </a:cubicBezTo>
                <a:cubicBezTo>
                  <a:pt x="1171554" y="787993"/>
                  <a:pt x="1169946" y="781127"/>
                  <a:pt x="1166731" y="775091"/>
                </a:cubicBezTo>
                <a:cubicBezTo>
                  <a:pt x="1163516" y="769113"/>
                  <a:pt x="1159109" y="764377"/>
                  <a:pt x="1153392" y="761004"/>
                </a:cubicBezTo>
                <a:cubicBezTo>
                  <a:pt x="1147675" y="757630"/>
                  <a:pt x="1141125" y="755914"/>
                  <a:pt x="1133741" y="755914"/>
                </a:cubicBezTo>
                <a:close/>
                <a:moveTo>
                  <a:pt x="1500023" y="755028"/>
                </a:moveTo>
                <a:cubicBezTo>
                  <a:pt x="1491865" y="755028"/>
                  <a:pt x="1484957" y="756803"/>
                  <a:pt x="1479181" y="760354"/>
                </a:cubicBezTo>
                <a:lnTo>
                  <a:pt x="1479241" y="760354"/>
                </a:lnTo>
                <a:cubicBezTo>
                  <a:pt x="1473524" y="763846"/>
                  <a:pt x="1469117" y="768699"/>
                  <a:pt x="1466139" y="774855"/>
                </a:cubicBezTo>
                <a:cubicBezTo>
                  <a:pt x="1464473" y="778346"/>
                  <a:pt x="1463341" y="782193"/>
                  <a:pt x="1462626" y="786218"/>
                </a:cubicBezTo>
                <a:lnTo>
                  <a:pt x="1533310" y="786218"/>
                </a:lnTo>
                <a:cubicBezTo>
                  <a:pt x="1532655" y="781542"/>
                  <a:pt x="1531643" y="777104"/>
                  <a:pt x="1529737" y="773138"/>
                </a:cubicBezTo>
                <a:cubicBezTo>
                  <a:pt x="1526999" y="767574"/>
                  <a:pt x="1523188" y="763135"/>
                  <a:pt x="1518185" y="759880"/>
                </a:cubicBezTo>
                <a:cubicBezTo>
                  <a:pt x="1513183" y="756626"/>
                  <a:pt x="1507109" y="755028"/>
                  <a:pt x="1500023" y="755028"/>
                </a:cubicBezTo>
                <a:close/>
                <a:moveTo>
                  <a:pt x="1371756" y="755028"/>
                </a:moveTo>
                <a:cubicBezTo>
                  <a:pt x="1363597" y="755028"/>
                  <a:pt x="1356689" y="756803"/>
                  <a:pt x="1350913" y="760354"/>
                </a:cubicBezTo>
                <a:lnTo>
                  <a:pt x="1350973" y="760354"/>
                </a:lnTo>
                <a:cubicBezTo>
                  <a:pt x="1345257" y="763846"/>
                  <a:pt x="1340850" y="768699"/>
                  <a:pt x="1337872" y="774855"/>
                </a:cubicBezTo>
                <a:cubicBezTo>
                  <a:pt x="1336205" y="778346"/>
                  <a:pt x="1335073" y="782193"/>
                  <a:pt x="1334359" y="786218"/>
                </a:cubicBezTo>
                <a:lnTo>
                  <a:pt x="1405042" y="786218"/>
                </a:lnTo>
                <a:cubicBezTo>
                  <a:pt x="1404388" y="781542"/>
                  <a:pt x="1403376" y="777104"/>
                  <a:pt x="1401470" y="773138"/>
                </a:cubicBezTo>
                <a:cubicBezTo>
                  <a:pt x="1398731" y="767574"/>
                  <a:pt x="1394920" y="763135"/>
                  <a:pt x="1389918" y="759880"/>
                </a:cubicBezTo>
                <a:cubicBezTo>
                  <a:pt x="1384915" y="756626"/>
                  <a:pt x="1378842" y="755028"/>
                  <a:pt x="1371756" y="755028"/>
                </a:cubicBezTo>
                <a:close/>
                <a:moveTo>
                  <a:pt x="602391" y="755028"/>
                </a:moveTo>
                <a:lnTo>
                  <a:pt x="581549" y="760354"/>
                </a:lnTo>
                <a:lnTo>
                  <a:pt x="581609" y="760354"/>
                </a:lnTo>
                <a:cubicBezTo>
                  <a:pt x="575892" y="763846"/>
                  <a:pt x="571486" y="768699"/>
                  <a:pt x="568508" y="774855"/>
                </a:cubicBezTo>
                <a:cubicBezTo>
                  <a:pt x="566840" y="778346"/>
                  <a:pt x="565710" y="782193"/>
                  <a:pt x="564994" y="786218"/>
                </a:cubicBezTo>
                <a:lnTo>
                  <a:pt x="635679" y="786218"/>
                </a:lnTo>
                <a:cubicBezTo>
                  <a:pt x="635023" y="781542"/>
                  <a:pt x="634012" y="777104"/>
                  <a:pt x="632105" y="773138"/>
                </a:cubicBezTo>
                <a:cubicBezTo>
                  <a:pt x="629366" y="767574"/>
                  <a:pt x="625556" y="763135"/>
                  <a:pt x="620553" y="759880"/>
                </a:cubicBezTo>
                <a:close/>
                <a:moveTo>
                  <a:pt x="795923" y="738218"/>
                </a:moveTo>
                <a:cubicBezTo>
                  <a:pt x="798305" y="739105"/>
                  <a:pt x="800151" y="740940"/>
                  <a:pt x="801460" y="743604"/>
                </a:cubicBezTo>
                <a:lnTo>
                  <a:pt x="840584" y="820840"/>
                </a:lnTo>
                <a:lnTo>
                  <a:pt x="874884" y="743841"/>
                </a:lnTo>
                <a:cubicBezTo>
                  <a:pt x="877742" y="737922"/>
                  <a:pt x="882209" y="736206"/>
                  <a:pt x="888343" y="738750"/>
                </a:cubicBezTo>
                <a:lnTo>
                  <a:pt x="888343" y="738691"/>
                </a:lnTo>
                <a:cubicBezTo>
                  <a:pt x="894774" y="741414"/>
                  <a:pt x="896560" y="745853"/>
                  <a:pt x="893701" y="752068"/>
                </a:cubicBezTo>
                <a:lnTo>
                  <a:pt x="828377" y="898019"/>
                </a:lnTo>
                <a:cubicBezTo>
                  <a:pt x="826650" y="902398"/>
                  <a:pt x="823910" y="904588"/>
                  <a:pt x="820039" y="904588"/>
                </a:cubicBezTo>
                <a:cubicBezTo>
                  <a:pt x="818611" y="904588"/>
                  <a:pt x="816885" y="904174"/>
                  <a:pt x="814919" y="903346"/>
                </a:cubicBezTo>
                <a:cubicBezTo>
                  <a:pt x="808666" y="900504"/>
                  <a:pt x="806940" y="896065"/>
                  <a:pt x="809798" y="889969"/>
                </a:cubicBezTo>
                <a:lnTo>
                  <a:pt x="831057" y="842207"/>
                </a:lnTo>
                <a:lnTo>
                  <a:pt x="783120" y="751653"/>
                </a:lnTo>
                <a:cubicBezTo>
                  <a:pt x="781691" y="748930"/>
                  <a:pt x="781512" y="746385"/>
                  <a:pt x="782584" y="743900"/>
                </a:cubicBezTo>
                <a:cubicBezTo>
                  <a:pt x="783656" y="741473"/>
                  <a:pt x="785562" y="739639"/>
                  <a:pt x="788241" y="738514"/>
                </a:cubicBezTo>
                <a:cubicBezTo>
                  <a:pt x="790920" y="737390"/>
                  <a:pt x="793482" y="737271"/>
                  <a:pt x="795923" y="738218"/>
                </a:cubicBezTo>
                <a:close/>
                <a:moveTo>
                  <a:pt x="1133741" y="736856"/>
                </a:moveTo>
                <a:cubicBezTo>
                  <a:pt x="1145116" y="736856"/>
                  <a:pt x="1155238" y="739342"/>
                  <a:pt x="1164051" y="744372"/>
                </a:cubicBezTo>
                <a:cubicBezTo>
                  <a:pt x="1172864" y="749404"/>
                  <a:pt x="1179772" y="756328"/>
                  <a:pt x="1184834" y="765147"/>
                </a:cubicBezTo>
                <a:cubicBezTo>
                  <a:pt x="1189894" y="773966"/>
                  <a:pt x="1192396" y="784205"/>
                  <a:pt x="1192396" y="795805"/>
                </a:cubicBezTo>
                <a:lnTo>
                  <a:pt x="1192396" y="841615"/>
                </a:lnTo>
                <a:cubicBezTo>
                  <a:pt x="1192396" y="852801"/>
                  <a:pt x="1189894" y="862921"/>
                  <a:pt x="1184953" y="872036"/>
                </a:cubicBezTo>
                <a:cubicBezTo>
                  <a:pt x="1180011" y="881151"/>
                  <a:pt x="1173043" y="888371"/>
                  <a:pt x="1164170" y="893757"/>
                </a:cubicBezTo>
                <a:cubicBezTo>
                  <a:pt x="1155298" y="899143"/>
                  <a:pt x="1144996" y="901806"/>
                  <a:pt x="1133324" y="901806"/>
                </a:cubicBezTo>
                <a:cubicBezTo>
                  <a:pt x="1123201" y="901806"/>
                  <a:pt x="1113733" y="899853"/>
                  <a:pt x="1104920" y="895887"/>
                </a:cubicBezTo>
                <a:cubicBezTo>
                  <a:pt x="1096106" y="891923"/>
                  <a:pt x="1088663" y="886122"/>
                  <a:pt x="1082530" y="878488"/>
                </a:cubicBezTo>
                <a:cubicBezTo>
                  <a:pt x="1080684" y="876120"/>
                  <a:pt x="1080029" y="873635"/>
                  <a:pt x="1080505" y="871089"/>
                </a:cubicBezTo>
                <a:cubicBezTo>
                  <a:pt x="1081042" y="868544"/>
                  <a:pt x="1082411" y="866473"/>
                  <a:pt x="1084674" y="864934"/>
                </a:cubicBezTo>
                <a:cubicBezTo>
                  <a:pt x="1087234" y="863218"/>
                  <a:pt x="1089855" y="862626"/>
                  <a:pt x="1092653" y="863218"/>
                </a:cubicBezTo>
                <a:cubicBezTo>
                  <a:pt x="1095452" y="863810"/>
                  <a:pt x="1097654" y="865230"/>
                  <a:pt x="1099382" y="867479"/>
                </a:cubicBezTo>
                <a:cubicBezTo>
                  <a:pt x="1103253" y="872273"/>
                  <a:pt x="1108076" y="876061"/>
                  <a:pt x="1113912" y="878724"/>
                </a:cubicBezTo>
                <a:cubicBezTo>
                  <a:pt x="1119748" y="881387"/>
                  <a:pt x="1126357" y="882749"/>
                  <a:pt x="1133741" y="882749"/>
                </a:cubicBezTo>
                <a:cubicBezTo>
                  <a:pt x="1140589" y="882749"/>
                  <a:pt x="1146842" y="881151"/>
                  <a:pt x="1152618" y="877896"/>
                </a:cubicBezTo>
                <a:cubicBezTo>
                  <a:pt x="1158394" y="874641"/>
                  <a:pt x="1162979" y="869847"/>
                  <a:pt x="1166374" y="863454"/>
                </a:cubicBezTo>
                <a:cubicBezTo>
                  <a:pt x="1169767" y="857121"/>
                  <a:pt x="1171494" y="849308"/>
                  <a:pt x="1171494" y="840135"/>
                </a:cubicBezTo>
                <a:lnTo>
                  <a:pt x="1171494" y="829422"/>
                </a:lnTo>
                <a:cubicBezTo>
                  <a:pt x="1167327" y="836702"/>
                  <a:pt x="1162086" y="842621"/>
                  <a:pt x="1155477" y="847001"/>
                </a:cubicBezTo>
                <a:cubicBezTo>
                  <a:pt x="1147974" y="851973"/>
                  <a:pt x="1139279" y="854517"/>
                  <a:pt x="1129454" y="854517"/>
                </a:cubicBezTo>
                <a:cubicBezTo>
                  <a:pt x="1118795" y="854517"/>
                  <a:pt x="1109326" y="852031"/>
                  <a:pt x="1101169" y="847001"/>
                </a:cubicBezTo>
                <a:cubicBezTo>
                  <a:pt x="1093010" y="841970"/>
                  <a:pt x="1086579" y="835045"/>
                  <a:pt x="1081875" y="826226"/>
                </a:cubicBezTo>
                <a:cubicBezTo>
                  <a:pt x="1077171" y="817407"/>
                  <a:pt x="1074848" y="807406"/>
                  <a:pt x="1074848" y="795805"/>
                </a:cubicBezTo>
                <a:cubicBezTo>
                  <a:pt x="1074848" y="784205"/>
                  <a:pt x="1077349" y="773966"/>
                  <a:pt x="1082411" y="765147"/>
                </a:cubicBezTo>
                <a:cubicBezTo>
                  <a:pt x="1087413" y="756328"/>
                  <a:pt x="1094380" y="749404"/>
                  <a:pt x="1103193" y="744372"/>
                </a:cubicBezTo>
                <a:cubicBezTo>
                  <a:pt x="1112066" y="739402"/>
                  <a:pt x="1122367" y="736856"/>
                  <a:pt x="1133741" y="736856"/>
                </a:cubicBezTo>
                <a:close/>
                <a:moveTo>
                  <a:pt x="955096" y="736856"/>
                </a:moveTo>
                <a:cubicBezTo>
                  <a:pt x="964445" y="736856"/>
                  <a:pt x="972782" y="738335"/>
                  <a:pt x="980046" y="741295"/>
                </a:cubicBezTo>
                <a:cubicBezTo>
                  <a:pt x="987252" y="744255"/>
                  <a:pt x="993028" y="748397"/>
                  <a:pt x="997315" y="753605"/>
                </a:cubicBezTo>
                <a:cubicBezTo>
                  <a:pt x="999340" y="755855"/>
                  <a:pt x="1000233" y="758222"/>
                  <a:pt x="1000115" y="760708"/>
                </a:cubicBezTo>
                <a:cubicBezTo>
                  <a:pt x="999996" y="763193"/>
                  <a:pt x="998745" y="765266"/>
                  <a:pt x="996482" y="766981"/>
                </a:cubicBezTo>
                <a:cubicBezTo>
                  <a:pt x="994219" y="768521"/>
                  <a:pt x="991481" y="769053"/>
                  <a:pt x="988384" y="768461"/>
                </a:cubicBezTo>
                <a:cubicBezTo>
                  <a:pt x="985227" y="767870"/>
                  <a:pt x="982608" y="766626"/>
                  <a:pt x="980464" y="764614"/>
                </a:cubicBezTo>
                <a:cubicBezTo>
                  <a:pt x="976951" y="761240"/>
                  <a:pt x="973079" y="758874"/>
                  <a:pt x="968971" y="757630"/>
                </a:cubicBezTo>
                <a:cubicBezTo>
                  <a:pt x="964862" y="756387"/>
                  <a:pt x="960098" y="755736"/>
                  <a:pt x="954680" y="755736"/>
                </a:cubicBezTo>
                <a:cubicBezTo>
                  <a:pt x="948427" y="755736"/>
                  <a:pt x="943127" y="756801"/>
                  <a:pt x="938780" y="758932"/>
                </a:cubicBezTo>
                <a:cubicBezTo>
                  <a:pt x="934433" y="761063"/>
                  <a:pt x="932290" y="764200"/>
                  <a:pt x="932290" y="768284"/>
                </a:cubicBezTo>
                <a:cubicBezTo>
                  <a:pt x="932290" y="770828"/>
                  <a:pt x="932945" y="773077"/>
                  <a:pt x="934313" y="775149"/>
                </a:cubicBezTo>
                <a:cubicBezTo>
                  <a:pt x="935624" y="777162"/>
                  <a:pt x="938303" y="779055"/>
                  <a:pt x="942293" y="780653"/>
                </a:cubicBezTo>
                <a:cubicBezTo>
                  <a:pt x="946283" y="782310"/>
                  <a:pt x="952119" y="783908"/>
                  <a:pt x="959801" y="785447"/>
                </a:cubicBezTo>
                <a:cubicBezTo>
                  <a:pt x="970459" y="787578"/>
                  <a:pt x="978915" y="790241"/>
                  <a:pt x="985109" y="793496"/>
                </a:cubicBezTo>
                <a:lnTo>
                  <a:pt x="985168" y="793437"/>
                </a:lnTo>
                <a:cubicBezTo>
                  <a:pt x="991361" y="796692"/>
                  <a:pt x="995827" y="800480"/>
                  <a:pt x="998507" y="804801"/>
                </a:cubicBezTo>
                <a:cubicBezTo>
                  <a:pt x="1001187" y="809121"/>
                  <a:pt x="1002556" y="814152"/>
                  <a:pt x="1002556" y="819775"/>
                </a:cubicBezTo>
                <a:cubicBezTo>
                  <a:pt x="1002556" y="826226"/>
                  <a:pt x="1000770" y="832145"/>
                  <a:pt x="997315" y="837353"/>
                </a:cubicBezTo>
                <a:cubicBezTo>
                  <a:pt x="993862" y="842561"/>
                  <a:pt x="988741" y="846764"/>
                  <a:pt x="981952" y="849841"/>
                </a:cubicBezTo>
                <a:cubicBezTo>
                  <a:pt x="975164" y="852978"/>
                  <a:pt x="966588" y="854516"/>
                  <a:pt x="956644" y="854516"/>
                </a:cubicBezTo>
                <a:cubicBezTo>
                  <a:pt x="946700" y="854516"/>
                  <a:pt x="937470" y="852978"/>
                  <a:pt x="929014" y="849960"/>
                </a:cubicBezTo>
                <a:cubicBezTo>
                  <a:pt x="920499" y="846941"/>
                  <a:pt x="913949" y="843093"/>
                  <a:pt x="909243" y="838418"/>
                </a:cubicBezTo>
                <a:cubicBezTo>
                  <a:pt x="907101" y="836169"/>
                  <a:pt x="906208" y="833565"/>
                  <a:pt x="906564" y="830664"/>
                </a:cubicBezTo>
                <a:cubicBezTo>
                  <a:pt x="906922" y="827765"/>
                  <a:pt x="908291" y="825397"/>
                  <a:pt x="910733" y="823563"/>
                </a:cubicBezTo>
                <a:cubicBezTo>
                  <a:pt x="913591" y="821314"/>
                  <a:pt x="916390" y="820367"/>
                  <a:pt x="919188" y="820722"/>
                </a:cubicBezTo>
                <a:cubicBezTo>
                  <a:pt x="921987" y="821077"/>
                  <a:pt x="924310" y="822320"/>
                  <a:pt x="926335" y="824450"/>
                </a:cubicBezTo>
                <a:cubicBezTo>
                  <a:pt x="928716" y="827114"/>
                  <a:pt x="932646" y="829658"/>
                  <a:pt x="937947" y="831967"/>
                </a:cubicBezTo>
                <a:cubicBezTo>
                  <a:pt x="943246" y="834275"/>
                  <a:pt x="949201" y="835459"/>
                  <a:pt x="955751" y="835459"/>
                </a:cubicBezTo>
                <a:cubicBezTo>
                  <a:pt x="963969" y="835459"/>
                  <a:pt x="970280" y="834097"/>
                  <a:pt x="974628" y="831434"/>
                </a:cubicBezTo>
                <a:cubicBezTo>
                  <a:pt x="978975" y="828712"/>
                  <a:pt x="981178" y="825280"/>
                  <a:pt x="981357" y="821017"/>
                </a:cubicBezTo>
                <a:cubicBezTo>
                  <a:pt x="981536" y="816815"/>
                  <a:pt x="979451" y="813146"/>
                  <a:pt x="975283" y="810010"/>
                </a:cubicBezTo>
                <a:cubicBezTo>
                  <a:pt x="971115" y="806931"/>
                  <a:pt x="963434" y="804387"/>
                  <a:pt x="952357" y="802374"/>
                </a:cubicBezTo>
                <a:cubicBezTo>
                  <a:pt x="938006" y="799533"/>
                  <a:pt x="927586" y="795272"/>
                  <a:pt x="921094" y="789649"/>
                </a:cubicBezTo>
                <a:cubicBezTo>
                  <a:pt x="914603" y="784027"/>
                  <a:pt x="911388" y="777043"/>
                  <a:pt x="911388" y="768876"/>
                </a:cubicBezTo>
                <a:cubicBezTo>
                  <a:pt x="911388" y="761655"/>
                  <a:pt x="913472" y="755677"/>
                  <a:pt x="917760" y="750942"/>
                </a:cubicBezTo>
                <a:cubicBezTo>
                  <a:pt x="922047" y="746208"/>
                  <a:pt x="927526" y="742657"/>
                  <a:pt x="934195" y="740348"/>
                </a:cubicBezTo>
                <a:cubicBezTo>
                  <a:pt x="940864" y="738040"/>
                  <a:pt x="947832" y="736856"/>
                  <a:pt x="955096" y="736856"/>
                </a:cubicBezTo>
                <a:close/>
                <a:moveTo>
                  <a:pt x="724167" y="736856"/>
                </a:moveTo>
                <a:cubicBezTo>
                  <a:pt x="733516" y="736856"/>
                  <a:pt x="741853" y="738335"/>
                  <a:pt x="749118" y="741295"/>
                </a:cubicBezTo>
                <a:cubicBezTo>
                  <a:pt x="756323" y="744255"/>
                  <a:pt x="762099" y="748397"/>
                  <a:pt x="766386" y="753605"/>
                </a:cubicBezTo>
                <a:cubicBezTo>
                  <a:pt x="768411" y="755855"/>
                  <a:pt x="769304" y="758222"/>
                  <a:pt x="769186" y="760708"/>
                </a:cubicBezTo>
                <a:cubicBezTo>
                  <a:pt x="769067" y="763193"/>
                  <a:pt x="767816" y="765266"/>
                  <a:pt x="765553" y="766981"/>
                </a:cubicBezTo>
                <a:cubicBezTo>
                  <a:pt x="763291" y="768521"/>
                  <a:pt x="760552" y="769053"/>
                  <a:pt x="757455" y="768461"/>
                </a:cubicBezTo>
                <a:cubicBezTo>
                  <a:pt x="754299" y="767870"/>
                  <a:pt x="751679" y="766626"/>
                  <a:pt x="749535" y="764614"/>
                </a:cubicBezTo>
                <a:cubicBezTo>
                  <a:pt x="746022" y="761240"/>
                  <a:pt x="742150" y="758874"/>
                  <a:pt x="738042" y="757630"/>
                </a:cubicBezTo>
                <a:cubicBezTo>
                  <a:pt x="733933" y="756387"/>
                  <a:pt x="729169" y="755736"/>
                  <a:pt x="723751" y="755736"/>
                </a:cubicBezTo>
                <a:cubicBezTo>
                  <a:pt x="717498" y="755736"/>
                  <a:pt x="712198" y="756801"/>
                  <a:pt x="707851" y="758932"/>
                </a:cubicBezTo>
                <a:cubicBezTo>
                  <a:pt x="703505" y="761063"/>
                  <a:pt x="701361" y="764200"/>
                  <a:pt x="701361" y="768284"/>
                </a:cubicBezTo>
                <a:cubicBezTo>
                  <a:pt x="701361" y="770828"/>
                  <a:pt x="702016" y="773077"/>
                  <a:pt x="703385" y="775149"/>
                </a:cubicBezTo>
                <a:cubicBezTo>
                  <a:pt x="704696" y="777162"/>
                  <a:pt x="707376" y="779055"/>
                  <a:pt x="711364" y="780653"/>
                </a:cubicBezTo>
                <a:cubicBezTo>
                  <a:pt x="715354" y="782310"/>
                  <a:pt x="721190" y="783908"/>
                  <a:pt x="728872" y="785447"/>
                </a:cubicBezTo>
                <a:cubicBezTo>
                  <a:pt x="739530" y="787578"/>
                  <a:pt x="747986" y="790241"/>
                  <a:pt x="754180" y="793496"/>
                </a:cubicBezTo>
                <a:lnTo>
                  <a:pt x="754239" y="793437"/>
                </a:lnTo>
                <a:cubicBezTo>
                  <a:pt x="760432" y="796692"/>
                  <a:pt x="764898" y="800480"/>
                  <a:pt x="767578" y="804801"/>
                </a:cubicBezTo>
                <a:cubicBezTo>
                  <a:pt x="770258" y="809121"/>
                  <a:pt x="771627" y="814152"/>
                  <a:pt x="771627" y="819775"/>
                </a:cubicBezTo>
                <a:cubicBezTo>
                  <a:pt x="771627" y="826226"/>
                  <a:pt x="769841" y="832145"/>
                  <a:pt x="766386" y="837353"/>
                </a:cubicBezTo>
                <a:cubicBezTo>
                  <a:pt x="762933" y="842561"/>
                  <a:pt x="757812" y="846764"/>
                  <a:pt x="751023" y="849841"/>
                </a:cubicBezTo>
                <a:cubicBezTo>
                  <a:pt x="744235" y="852978"/>
                  <a:pt x="735660" y="854516"/>
                  <a:pt x="725715" y="854516"/>
                </a:cubicBezTo>
                <a:cubicBezTo>
                  <a:pt x="715771" y="854516"/>
                  <a:pt x="706542" y="852978"/>
                  <a:pt x="698085" y="849960"/>
                </a:cubicBezTo>
                <a:cubicBezTo>
                  <a:pt x="689570" y="846941"/>
                  <a:pt x="683020" y="843093"/>
                  <a:pt x="678316" y="838418"/>
                </a:cubicBezTo>
                <a:cubicBezTo>
                  <a:pt x="676172" y="836169"/>
                  <a:pt x="675279" y="833565"/>
                  <a:pt x="675635" y="830664"/>
                </a:cubicBezTo>
                <a:cubicBezTo>
                  <a:pt x="675993" y="827765"/>
                  <a:pt x="677363" y="825397"/>
                  <a:pt x="679804" y="823563"/>
                </a:cubicBezTo>
                <a:cubicBezTo>
                  <a:pt x="682662" y="821314"/>
                  <a:pt x="685461" y="820367"/>
                  <a:pt x="688259" y="820722"/>
                </a:cubicBezTo>
                <a:lnTo>
                  <a:pt x="688259" y="820722"/>
                </a:lnTo>
                <a:cubicBezTo>
                  <a:pt x="691060" y="821077"/>
                  <a:pt x="693381" y="822320"/>
                  <a:pt x="695406" y="824450"/>
                </a:cubicBezTo>
                <a:cubicBezTo>
                  <a:pt x="697788" y="827114"/>
                  <a:pt x="701718" y="829658"/>
                  <a:pt x="707018" y="831967"/>
                </a:cubicBezTo>
                <a:cubicBezTo>
                  <a:pt x="712317" y="834275"/>
                  <a:pt x="718272" y="835459"/>
                  <a:pt x="724822" y="835459"/>
                </a:cubicBezTo>
                <a:cubicBezTo>
                  <a:pt x="733040" y="835459"/>
                  <a:pt x="739352" y="834097"/>
                  <a:pt x="743699" y="831434"/>
                </a:cubicBezTo>
                <a:cubicBezTo>
                  <a:pt x="748046" y="828712"/>
                  <a:pt x="750249" y="825280"/>
                  <a:pt x="750428" y="821017"/>
                </a:cubicBezTo>
                <a:cubicBezTo>
                  <a:pt x="750607" y="816815"/>
                  <a:pt x="748522" y="813146"/>
                  <a:pt x="744354" y="810010"/>
                </a:cubicBezTo>
                <a:cubicBezTo>
                  <a:pt x="740186" y="806931"/>
                  <a:pt x="732505" y="804387"/>
                  <a:pt x="721428" y="802374"/>
                </a:cubicBezTo>
                <a:cubicBezTo>
                  <a:pt x="707077" y="799533"/>
                  <a:pt x="696657" y="795331"/>
                  <a:pt x="690165" y="789649"/>
                </a:cubicBezTo>
                <a:cubicBezTo>
                  <a:pt x="683675" y="784027"/>
                  <a:pt x="680459" y="777043"/>
                  <a:pt x="680459" y="768876"/>
                </a:cubicBezTo>
                <a:cubicBezTo>
                  <a:pt x="680459" y="761655"/>
                  <a:pt x="682543" y="755677"/>
                  <a:pt x="686831" y="750942"/>
                </a:cubicBezTo>
                <a:cubicBezTo>
                  <a:pt x="691118" y="746208"/>
                  <a:pt x="696597" y="742657"/>
                  <a:pt x="703266" y="740348"/>
                </a:cubicBezTo>
                <a:cubicBezTo>
                  <a:pt x="709935" y="738040"/>
                  <a:pt x="716903" y="736856"/>
                  <a:pt x="724167" y="736856"/>
                </a:cubicBezTo>
                <a:close/>
                <a:moveTo>
                  <a:pt x="373965" y="736856"/>
                </a:moveTo>
                <a:cubicBezTo>
                  <a:pt x="385100" y="736856"/>
                  <a:pt x="395044" y="739460"/>
                  <a:pt x="403857" y="744610"/>
                </a:cubicBezTo>
                <a:lnTo>
                  <a:pt x="403738" y="744610"/>
                </a:lnTo>
                <a:cubicBezTo>
                  <a:pt x="412551" y="749818"/>
                  <a:pt x="419578" y="756801"/>
                  <a:pt x="424758" y="765739"/>
                </a:cubicBezTo>
                <a:cubicBezTo>
                  <a:pt x="429939" y="774675"/>
                  <a:pt x="432559" y="784678"/>
                  <a:pt x="432559" y="795864"/>
                </a:cubicBezTo>
                <a:lnTo>
                  <a:pt x="432559" y="843154"/>
                </a:lnTo>
                <a:cubicBezTo>
                  <a:pt x="432559" y="846290"/>
                  <a:pt x="431547" y="848835"/>
                  <a:pt x="429462" y="850906"/>
                </a:cubicBezTo>
                <a:cubicBezTo>
                  <a:pt x="427379" y="852979"/>
                  <a:pt x="424818" y="853985"/>
                  <a:pt x="421663" y="853985"/>
                </a:cubicBezTo>
                <a:lnTo>
                  <a:pt x="421663" y="853985"/>
                </a:lnTo>
                <a:cubicBezTo>
                  <a:pt x="418506" y="853985"/>
                  <a:pt x="415945" y="852979"/>
                  <a:pt x="413862" y="850906"/>
                </a:cubicBezTo>
                <a:cubicBezTo>
                  <a:pt x="411778" y="848835"/>
                  <a:pt x="410765" y="846290"/>
                  <a:pt x="410765" y="843154"/>
                </a:cubicBezTo>
                <a:lnTo>
                  <a:pt x="410765" y="835105"/>
                </a:lnTo>
                <a:lnTo>
                  <a:pt x="397545" y="846882"/>
                </a:lnTo>
                <a:cubicBezTo>
                  <a:pt x="389328" y="852031"/>
                  <a:pt x="379978" y="854635"/>
                  <a:pt x="369617" y="854635"/>
                </a:cubicBezTo>
                <a:lnTo>
                  <a:pt x="369617" y="854635"/>
                </a:lnTo>
                <a:lnTo>
                  <a:pt x="369617" y="854635"/>
                </a:lnTo>
                <a:cubicBezTo>
                  <a:pt x="359256" y="854635"/>
                  <a:pt x="349966" y="852031"/>
                  <a:pt x="341689" y="846882"/>
                </a:cubicBezTo>
                <a:cubicBezTo>
                  <a:pt x="333411" y="841733"/>
                  <a:pt x="326921" y="834689"/>
                  <a:pt x="322157" y="825872"/>
                </a:cubicBezTo>
                <a:cubicBezTo>
                  <a:pt x="317394" y="817053"/>
                  <a:pt x="315011" y="807050"/>
                  <a:pt x="315011" y="795864"/>
                </a:cubicBezTo>
                <a:cubicBezTo>
                  <a:pt x="315011" y="784678"/>
                  <a:pt x="317631" y="774616"/>
                  <a:pt x="322812" y="765739"/>
                </a:cubicBezTo>
                <a:cubicBezTo>
                  <a:pt x="327993" y="756801"/>
                  <a:pt x="335020" y="749758"/>
                  <a:pt x="343952" y="744610"/>
                </a:cubicBezTo>
                <a:cubicBezTo>
                  <a:pt x="352884" y="739460"/>
                  <a:pt x="362829" y="736856"/>
                  <a:pt x="373965" y="736856"/>
                </a:cubicBezTo>
                <a:close/>
                <a:moveTo>
                  <a:pt x="65383" y="736856"/>
                </a:moveTo>
                <a:lnTo>
                  <a:pt x="65384" y="736856"/>
                </a:lnTo>
                <a:lnTo>
                  <a:pt x="65384" y="736856"/>
                </a:lnTo>
                <a:cubicBezTo>
                  <a:pt x="74734" y="736856"/>
                  <a:pt x="83070" y="738335"/>
                  <a:pt x="90335" y="741295"/>
                </a:cubicBezTo>
                <a:cubicBezTo>
                  <a:pt x="97539" y="744255"/>
                  <a:pt x="103316" y="748397"/>
                  <a:pt x="107604" y="753605"/>
                </a:cubicBezTo>
                <a:cubicBezTo>
                  <a:pt x="109628" y="755855"/>
                  <a:pt x="110522" y="758222"/>
                  <a:pt x="110402" y="760708"/>
                </a:cubicBezTo>
                <a:cubicBezTo>
                  <a:pt x="110284" y="763193"/>
                  <a:pt x="109033" y="765266"/>
                  <a:pt x="106770" y="766981"/>
                </a:cubicBezTo>
                <a:cubicBezTo>
                  <a:pt x="104508" y="768521"/>
                  <a:pt x="101768" y="769053"/>
                  <a:pt x="98671" y="768461"/>
                </a:cubicBezTo>
                <a:lnTo>
                  <a:pt x="98671" y="768461"/>
                </a:lnTo>
                <a:cubicBezTo>
                  <a:pt x="95515" y="767870"/>
                  <a:pt x="92895" y="766626"/>
                  <a:pt x="90751" y="764614"/>
                </a:cubicBezTo>
                <a:cubicBezTo>
                  <a:pt x="87238" y="761240"/>
                  <a:pt x="83367" y="758874"/>
                  <a:pt x="79259" y="757630"/>
                </a:cubicBezTo>
                <a:lnTo>
                  <a:pt x="64967" y="755736"/>
                </a:lnTo>
                <a:lnTo>
                  <a:pt x="49068" y="758932"/>
                </a:lnTo>
                <a:cubicBezTo>
                  <a:pt x="44722" y="761063"/>
                  <a:pt x="42577" y="764200"/>
                  <a:pt x="42577" y="768284"/>
                </a:cubicBezTo>
                <a:cubicBezTo>
                  <a:pt x="42577" y="770828"/>
                  <a:pt x="43233" y="773077"/>
                  <a:pt x="44601" y="775149"/>
                </a:cubicBezTo>
                <a:cubicBezTo>
                  <a:pt x="45912" y="777162"/>
                  <a:pt x="48593" y="779055"/>
                  <a:pt x="52581" y="780653"/>
                </a:cubicBezTo>
                <a:cubicBezTo>
                  <a:pt x="56571" y="782310"/>
                  <a:pt x="62407" y="783908"/>
                  <a:pt x="70089" y="785447"/>
                </a:cubicBezTo>
                <a:lnTo>
                  <a:pt x="95397" y="793496"/>
                </a:lnTo>
                <a:lnTo>
                  <a:pt x="95455" y="793437"/>
                </a:lnTo>
                <a:lnTo>
                  <a:pt x="95456" y="793437"/>
                </a:lnTo>
                <a:cubicBezTo>
                  <a:pt x="101649" y="796692"/>
                  <a:pt x="106115" y="800480"/>
                  <a:pt x="108795" y="804801"/>
                </a:cubicBezTo>
                <a:cubicBezTo>
                  <a:pt x="111474" y="809121"/>
                  <a:pt x="112844" y="814152"/>
                  <a:pt x="112844" y="819775"/>
                </a:cubicBezTo>
                <a:cubicBezTo>
                  <a:pt x="112844" y="826226"/>
                  <a:pt x="111058" y="832145"/>
                  <a:pt x="107604" y="837353"/>
                </a:cubicBezTo>
                <a:cubicBezTo>
                  <a:pt x="104150" y="842561"/>
                  <a:pt x="99029" y="846764"/>
                  <a:pt x="92240" y="849841"/>
                </a:cubicBezTo>
                <a:cubicBezTo>
                  <a:pt x="85452" y="852978"/>
                  <a:pt x="76877" y="854516"/>
                  <a:pt x="66932" y="854516"/>
                </a:cubicBezTo>
                <a:lnTo>
                  <a:pt x="66932" y="854516"/>
                </a:lnTo>
                <a:lnTo>
                  <a:pt x="66932" y="854516"/>
                </a:lnTo>
                <a:cubicBezTo>
                  <a:pt x="56987" y="854516"/>
                  <a:pt x="47758" y="852978"/>
                  <a:pt x="39301" y="849960"/>
                </a:cubicBezTo>
                <a:cubicBezTo>
                  <a:pt x="30786" y="846941"/>
                  <a:pt x="24236" y="843093"/>
                  <a:pt x="19532" y="838418"/>
                </a:cubicBezTo>
                <a:cubicBezTo>
                  <a:pt x="17388" y="836169"/>
                  <a:pt x="16495" y="833565"/>
                  <a:pt x="16852" y="830664"/>
                </a:cubicBezTo>
                <a:cubicBezTo>
                  <a:pt x="17209" y="827765"/>
                  <a:pt x="18579" y="825397"/>
                  <a:pt x="21020" y="823563"/>
                </a:cubicBezTo>
                <a:cubicBezTo>
                  <a:pt x="23878" y="821314"/>
                  <a:pt x="26677" y="820367"/>
                  <a:pt x="29476" y="820722"/>
                </a:cubicBezTo>
                <a:lnTo>
                  <a:pt x="29476" y="820722"/>
                </a:lnTo>
                <a:lnTo>
                  <a:pt x="29476" y="820722"/>
                </a:lnTo>
                <a:cubicBezTo>
                  <a:pt x="32276" y="821077"/>
                  <a:pt x="34598" y="822320"/>
                  <a:pt x="36623" y="824450"/>
                </a:cubicBezTo>
                <a:cubicBezTo>
                  <a:pt x="39004" y="827114"/>
                  <a:pt x="42934" y="829658"/>
                  <a:pt x="48235" y="831967"/>
                </a:cubicBezTo>
                <a:lnTo>
                  <a:pt x="66039" y="835459"/>
                </a:lnTo>
                <a:lnTo>
                  <a:pt x="84915" y="831434"/>
                </a:lnTo>
                <a:cubicBezTo>
                  <a:pt x="89263" y="828712"/>
                  <a:pt x="91466" y="825280"/>
                  <a:pt x="91644" y="821017"/>
                </a:cubicBezTo>
                <a:cubicBezTo>
                  <a:pt x="91823" y="816815"/>
                  <a:pt x="89738" y="813146"/>
                  <a:pt x="85570" y="810010"/>
                </a:cubicBezTo>
                <a:cubicBezTo>
                  <a:pt x="81402" y="806931"/>
                  <a:pt x="73721" y="804387"/>
                  <a:pt x="62644" y="802374"/>
                </a:cubicBezTo>
                <a:cubicBezTo>
                  <a:pt x="48293" y="799533"/>
                  <a:pt x="37873" y="795331"/>
                  <a:pt x="31382" y="789649"/>
                </a:cubicBezTo>
                <a:cubicBezTo>
                  <a:pt x="24891" y="784027"/>
                  <a:pt x="21676" y="777043"/>
                  <a:pt x="21676" y="768876"/>
                </a:cubicBezTo>
                <a:cubicBezTo>
                  <a:pt x="21676" y="761655"/>
                  <a:pt x="23760" y="755677"/>
                  <a:pt x="28047" y="750942"/>
                </a:cubicBezTo>
                <a:cubicBezTo>
                  <a:pt x="32335" y="746208"/>
                  <a:pt x="37813" y="742657"/>
                  <a:pt x="44482" y="740348"/>
                </a:cubicBezTo>
                <a:cubicBezTo>
                  <a:pt x="51151" y="738040"/>
                  <a:pt x="58119" y="736856"/>
                  <a:pt x="65383" y="736856"/>
                </a:cubicBezTo>
                <a:close/>
                <a:moveTo>
                  <a:pt x="1500023" y="736798"/>
                </a:moveTo>
                <a:cubicBezTo>
                  <a:pt x="1511099" y="736798"/>
                  <a:pt x="1520626" y="739284"/>
                  <a:pt x="1528606" y="744138"/>
                </a:cubicBezTo>
                <a:lnTo>
                  <a:pt x="1528606" y="743960"/>
                </a:lnTo>
                <a:cubicBezTo>
                  <a:pt x="1536586" y="748813"/>
                  <a:pt x="1542719" y="755561"/>
                  <a:pt x="1546888" y="764083"/>
                </a:cubicBezTo>
                <a:cubicBezTo>
                  <a:pt x="1551115" y="772665"/>
                  <a:pt x="1553199" y="782490"/>
                  <a:pt x="1553199" y="793675"/>
                </a:cubicBezTo>
                <a:cubicBezTo>
                  <a:pt x="1553199" y="796398"/>
                  <a:pt x="1552247" y="798588"/>
                  <a:pt x="1550401" y="800364"/>
                </a:cubicBezTo>
                <a:cubicBezTo>
                  <a:pt x="1548555" y="802139"/>
                  <a:pt x="1546232" y="803027"/>
                  <a:pt x="1543374" y="803027"/>
                </a:cubicBezTo>
                <a:lnTo>
                  <a:pt x="1462270" y="803027"/>
                </a:lnTo>
                <a:cubicBezTo>
                  <a:pt x="1463103" y="807880"/>
                  <a:pt x="1464591" y="812318"/>
                  <a:pt x="1466974" y="816403"/>
                </a:cubicBezTo>
                <a:cubicBezTo>
                  <a:pt x="1470487" y="822498"/>
                  <a:pt x="1475430" y="827293"/>
                  <a:pt x="1481681" y="830844"/>
                </a:cubicBezTo>
                <a:cubicBezTo>
                  <a:pt x="1487934" y="834394"/>
                  <a:pt x="1495140" y="836170"/>
                  <a:pt x="1503238" y="836170"/>
                </a:cubicBezTo>
                <a:cubicBezTo>
                  <a:pt x="1507646" y="836170"/>
                  <a:pt x="1512170" y="835401"/>
                  <a:pt x="1516815" y="833744"/>
                </a:cubicBezTo>
                <a:cubicBezTo>
                  <a:pt x="1521401" y="832087"/>
                  <a:pt x="1525152" y="830252"/>
                  <a:pt x="1528011" y="828121"/>
                </a:cubicBezTo>
                <a:cubicBezTo>
                  <a:pt x="1530095" y="826582"/>
                  <a:pt x="1532417" y="825753"/>
                  <a:pt x="1534918" y="825695"/>
                </a:cubicBezTo>
                <a:cubicBezTo>
                  <a:pt x="1537360" y="825636"/>
                  <a:pt x="1539563" y="826405"/>
                  <a:pt x="1541409" y="827943"/>
                </a:cubicBezTo>
                <a:cubicBezTo>
                  <a:pt x="1543851" y="830074"/>
                  <a:pt x="1545100" y="832382"/>
                  <a:pt x="1545279" y="834927"/>
                </a:cubicBezTo>
                <a:cubicBezTo>
                  <a:pt x="1545458" y="837473"/>
                  <a:pt x="1544327" y="839663"/>
                  <a:pt x="1541886" y="841497"/>
                </a:cubicBezTo>
                <a:cubicBezTo>
                  <a:pt x="1537062" y="845344"/>
                  <a:pt x="1531048" y="848421"/>
                  <a:pt x="1523842" y="850848"/>
                </a:cubicBezTo>
                <a:cubicBezTo>
                  <a:pt x="1516637" y="853274"/>
                  <a:pt x="1509789" y="854458"/>
                  <a:pt x="1503238" y="854458"/>
                </a:cubicBezTo>
                <a:cubicBezTo>
                  <a:pt x="1491389" y="854458"/>
                  <a:pt x="1480907" y="851973"/>
                  <a:pt x="1471738" y="846942"/>
                </a:cubicBezTo>
                <a:cubicBezTo>
                  <a:pt x="1462567" y="841912"/>
                  <a:pt x="1455362" y="834986"/>
                  <a:pt x="1450181" y="826168"/>
                </a:cubicBezTo>
                <a:cubicBezTo>
                  <a:pt x="1445000" y="817349"/>
                  <a:pt x="1442380" y="807348"/>
                  <a:pt x="1442380" y="795747"/>
                </a:cubicBezTo>
                <a:cubicBezTo>
                  <a:pt x="1442380" y="784147"/>
                  <a:pt x="1444881" y="773908"/>
                  <a:pt x="1449764" y="765089"/>
                </a:cubicBezTo>
                <a:cubicBezTo>
                  <a:pt x="1454647" y="756270"/>
                  <a:pt x="1461435" y="749346"/>
                  <a:pt x="1470129" y="744314"/>
                </a:cubicBezTo>
                <a:cubicBezTo>
                  <a:pt x="1478823" y="739344"/>
                  <a:pt x="1488947" y="736798"/>
                  <a:pt x="1500023" y="736798"/>
                </a:cubicBezTo>
                <a:close/>
                <a:moveTo>
                  <a:pt x="1371756" y="736798"/>
                </a:moveTo>
                <a:cubicBezTo>
                  <a:pt x="1382831" y="736798"/>
                  <a:pt x="1392358" y="739284"/>
                  <a:pt x="1400339" y="744138"/>
                </a:cubicBezTo>
                <a:lnTo>
                  <a:pt x="1400339" y="743960"/>
                </a:lnTo>
                <a:cubicBezTo>
                  <a:pt x="1408318" y="748813"/>
                  <a:pt x="1414452" y="755561"/>
                  <a:pt x="1418619" y="764083"/>
                </a:cubicBezTo>
                <a:cubicBezTo>
                  <a:pt x="1422847" y="772665"/>
                  <a:pt x="1424932" y="782490"/>
                  <a:pt x="1424932" y="793675"/>
                </a:cubicBezTo>
                <a:cubicBezTo>
                  <a:pt x="1424932" y="796398"/>
                  <a:pt x="1423979" y="798588"/>
                  <a:pt x="1422133" y="800364"/>
                </a:cubicBezTo>
                <a:cubicBezTo>
                  <a:pt x="1420288" y="802139"/>
                  <a:pt x="1417965" y="803027"/>
                  <a:pt x="1415107" y="803027"/>
                </a:cubicBezTo>
                <a:lnTo>
                  <a:pt x="1334001" y="803027"/>
                </a:lnTo>
                <a:cubicBezTo>
                  <a:pt x="1334836" y="807880"/>
                  <a:pt x="1336324" y="812318"/>
                  <a:pt x="1338707" y="816403"/>
                </a:cubicBezTo>
                <a:cubicBezTo>
                  <a:pt x="1342220" y="822498"/>
                  <a:pt x="1347162" y="827293"/>
                  <a:pt x="1353414" y="830844"/>
                </a:cubicBezTo>
                <a:cubicBezTo>
                  <a:pt x="1359667" y="834394"/>
                  <a:pt x="1366873" y="836170"/>
                  <a:pt x="1374971" y="836170"/>
                </a:cubicBezTo>
                <a:cubicBezTo>
                  <a:pt x="1379378" y="836170"/>
                  <a:pt x="1383903" y="835401"/>
                  <a:pt x="1388548" y="833744"/>
                </a:cubicBezTo>
                <a:cubicBezTo>
                  <a:pt x="1393133" y="832087"/>
                  <a:pt x="1396885" y="830252"/>
                  <a:pt x="1399744" y="828121"/>
                </a:cubicBezTo>
                <a:cubicBezTo>
                  <a:pt x="1401828" y="826582"/>
                  <a:pt x="1404150" y="825753"/>
                  <a:pt x="1406651" y="825695"/>
                </a:cubicBezTo>
                <a:cubicBezTo>
                  <a:pt x="1409092" y="825636"/>
                  <a:pt x="1411296" y="826405"/>
                  <a:pt x="1413142" y="827943"/>
                </a:cubicBezTo>
                <a:cubicBezTo>
                  <a:pt x="1415582" y="830074"/>
                  <a:pt x="1416833" y="832382"/>
                  <a:pt x="1417012" y="834927"/>
                </a:cubicBezTo>
                <a:cubicBezTo>
                  <a:pt x="1417191" y="837473"/>
                  <a:pt x="1416060" y="839663"/>
                  <a:pt x="1413618" y="841497"/>
                </a:cubicBezTo>
                <a:cubicBezTo>
                  <a:pt x="1408795" y="845344"/>
                  <a:pt x="1402780" y="848421"/>
                  <a:pt x="1395575" y="850848"/>
                </a:cubicBezTo>
                <a:cubicBezTo>
                  <a:pt x="1388370" y="853274"/>
                  <a:pt x="1381522" y="854458"/>
                  <a:pt x="1374971" y="854458"/>
                </a:cubicBezTo>
                <a:cubicBezTo>
                  <a:pt x="1363122" y="854458"/>
                  <a:pt x="1352640" y="851973"/>
                  <a:pt x="1343470" y="846942"/>
                </a:cubicBezTo>
                <a:cubicBezTo>
                  <a:pt x="1334299" y="841912"/>
                  <a:pt x="1327095" y="834986"/>
                  <a:pt x="1321914" y="826168"/>
                </a:cubicBezTo>
                <a:cubicBezTo>
                  <a:pt x="1316733" y="817349"/>
                  <a:pt x="1314113" y="807348"/>
                  <a:pt x="1314113" y="795747"/>
                </a:cubicBezTo>
                <a:cubicBezTo>
                  <a:pt x="1314113" y="784147"/>
                  <a:pt x="1316613" y="773908"/>
                  <a:pt x="1321497" y="765089"/>
                </a:cubicBezTo>
                <a:cubicBezTo>
                  <a:pt x="1326379" y="756270"/>
                  <a:pt x="1333168" y="749346"/>
                  <a:pt x="1341862" y="744314"/>
                </a:cubicBezTo>
                <a:cubicBezTo>
                  <a:pt x="1350556" y="739344"/>
                  <a:pt x="1360679" y="736798"/>
                  <a:pt x="1371756" y="736798"/>
                </a:cubicBezTo>
                <a:close/>
                <a:moveTo>
                  <a:pt x="602391" y="736798"/>
                </a:moveTo>
                <a:lnTo>
                  <a:pt x="602391" y="736798"/>
                </a:lnTo>
                <a:lnTo>
                  <a:pt x="630975" y="744138"/>
                </a:lnTo>
                <a:lnTo>
                  <a:pt x="630975" y="743960"/>
                </a:lnTo>
                <a:lnTo>
                  <a:pt x="630975" y="743961"/>
                </a:lnTo>
                <a:lnTo>
                  <a:pt x="630975" y="743960"/>
                </a:lnTo>
                <a:cubicBezTo>
                  <a:pt x="638955" y="748813"/>
                  <a:pt x="645087" y="755561"/>
                  <a:pt x="649256" y="764083"/>
                </a:cubicBezTo>
                <a:cubicBezTo>
                  <a:pt x="653483" y="772665"/>
                  <a:pt x="655567" y="782490"/>
                  <a:pt x="655567" y="793675"/>
                </a:cubicBezTo>
                <a:cubicBezTo>
                  <a:pt x="655567" y="796398"/>
                  <a:pt x="654616" y="798588"/>
                  <a:pt x="652769" y="800364"/>
                </a:cubicBezTo>
                <a:cubicBezTo>
                  <a:pt x="650923" y="802139"/>
                  <a:pt x="648601" y="803027"/>
                  <a:pt x="645743" y="803027"/>
                </a:cubicBezTo>
                <a:lnTo>
                  <a:pt x="645742" y="803027"/>
                </a:lnTo>
                <a:lnTo>
                  <a:pt x="564637" y="803027"/>
                </a:lnTo>
                <a:cubicBezTo>
                  <a:pt x="565471" y="807880"/>
                  <a:pt x="566960" y="812318"/>
                  <a:pt x="569342" y="816403"/>
                </a:cubicBezTo>
                <a:cubicBezTo>
                  <a:pt x="572855" y="822498"/>
                  <a:pt x="577799" y="827293"/>
                  <a:pt x="584050" y="830844"/>
                </a:cubicBezTo>
                <a:lnTo>
                  <a:pt x="605607" y="836170"/>
                </a:lnTo>
                <a:lnTo>
                  <a:pt x="619184" y="833744"/>
                </a:lnTo>
                <a:cubicBezTo>
                  <a:pt x="623769" y="832087"/>
                  <a:pt x="627520" y="830252"/>
                  <a:pt x="630379" y="828121"/>
                </a:cubicBezTo>
                <a:cubicBezTo>
                  <a:pt x="632463" y="826582"/>
                  <a:pt x="634786" y="825753"/>
                  <a:pt x="637286" y="825695"/>
                </a:cubicBezTo>
                <a:lnTo>
                  <a:pt x="637286" y="825695"/>
                </a:lnTo>
                <a:cubicBezTo>
                  <a:pt x="639729" y="825636"/>
                  <a:pt x="641932" y="826405"/>
                  <a:pt x="643778" y="827943"/>
                </a:cubicBezTo>
                <a:cubicBezTo>
                  <a:pt x="646219" y="830074"/>
                  <a:pt x="647469" y="832382"/>
                  <a:pt x="647647" y="834927"/>
                </a:cubicBezTo>
                <a:cubicBezTo>
                  <a:pt x="647826" y="837473"/>
                  <a:pt x="646696" y="839663"/>
                  <a:pt x="644253" y="841497"/>
                </a:cubicBezTo>
                <a:cubicBezTo>
                  <a:pt x="639430" y="845344"/>
                  <a:pt x="633416" y="848421"/>
                  <a:pt x="626211" y="850848"/>
                </a:cubicBezTo>
                <a:cubicBezTo>
                  <a:pt x="619005" y="853274"/>
                  <a:pt x="612157" y="854458"/>
                  <a:pt x="605607" y="854458"/>
                </a:cubicBezTo>
                <a:lnTo>
                  <a:pt x="605607" y="854458"/>
                </a:lnTo>
                <a:cubicBezTo>
                  <a:pt x="593757" y="854458"/>
                  <a:pt x="583275" y="851973"/>
                  <a:pt x="574106" y="846942"/>
                </a:cubicBezTo>
                <a:cubicBezTo>
                  <a:pt x="564935" y="841912"/>
                  <a:pt x="557730" y="834986"/>
                  <a:pt x="552549" y="826168"/>
                </a:cubicBezTo>
                <a:cubicBezTo>
                  <a:pt x="547368" y="817349"/>
                  <a:pt x="544748" y="807348"/>
                  <a:pt x="544748" y="795747"/>
                </a:cubicBezTo>
                <a:cubicBezTo>
                  <a:pt x="544748" y="784147"/>
                  <a:pt x="547250" y="773908"/>
                  <a:pt x="552133" y="765089"/>
                </a:cubicBezTo>
                <a:cubicBezTo>
                  <a:pt x="557015" y="756270"/>
                  <a:pt x="563804" y="749346"/>
                  <a:pt x="572498" y="744314"/>
                </a:cubicBezTo>
                <a:cubicBezTo>
                  <a:pt x="581192" y="739344"/>
                  <a:pt x="591315" y="736798"/>
                  <a:pt x="602391" y="736798"/>
                </a:cubicBezTo>
                <a:close/>
                <a:moveTo>
                  <a:pt x="1638889" y="736620"/>
                </a:moveTo>
                <a:cubicBezTo>
                  <a:pt x="1648715" y="736620"/>
                  <a:pt x="1657528" y="738751"/>
                  <a:pt x="1665269" y="742894"/>
                </a:cubicBezTo>
                <a:cubicBezTo>
                  <a:pt x="1673010" y="747096"/>
                  <a:pt x="1679144" y="753193"/>
                  <a:pt x="1683610" y="761242"/>
                </a:cubicBezTo>
                <a:lnTo>
                  <a:pt x="1683610" y="761182"/>
                </a:lnTo>
                <a:cubicBezTo>
                  <a:pt x="1688077" y="769232"/>
                  <a:pt x="1690339" y="779175"/>
                  <a:pt x="1690339" y="790893"/>
                </a:cubicBezTo>
                <a:lnTo>
                  <a:pt x="1690339" y="843095"/>
                </a:lnTo>
                <a:cubicBezTo>
                  <a:pt x="1690339" y="846232"/>
                  <a:pt x="1689326" y="848777"/>
                  <a:pt x="1687242" y="850848"/>
                </a:cubicBezTo>
                <a:cubicBezTo>
                  <a:pt x="1685159" y="852919"/>
                  <a:pt x="1682598" y="853925"/>
                  <a:pt x="1679441" y="853925"/>
                </a:cubicBezTo>
                <a:cubicBezTo>
                  <a:pt x="1676286" y="853925"/>
                  <a:pt x="1673724" y="852919"/>
                  <a:pt x="1671640" y="850848"/>
                </a:cubicBezTo>
                <a:cubicBezTo>
                  <a:pt x="1669557" y="848777"/>
                  <a:pt x="1668544" y="846232"/>
                  <a:pt x="1668544" y="843095"/>
                </a:cubicBezTo>
                <a:lnTo>
                  <a:pt x="1668544" y="790893"/>
                </a:lnTo>
                <a:cubicBezTo>
                  <a:pt x="1668544" y="782844"/>
                  <a:pt x="1667055" y="776275"/>
                  <a:pt x="1664078" y="771184"/>
                </a:cubicBezTo>
                <a:cubicBezTo>
                  <a:pt x="1661041" y="766095"/>
                  <a:pt x="1657051" y="762307"/>
                  <a:pt x="1651990" y="759821"/>
                </a:cubicBezTo>
                <a:cubicBezTo>
                  <a:pt x="1646928" y="757335"/>
                  <a:pt x="1641152" y="756092"/>
                  <a:pt x="1634602" y="756092"/>
                </a:cubicBezTo>
                <a:cubicBezTo>
                  <a:pt x="1628647" y="756092"/>
                  <a:pt x="1623228" y="757276"/>
                  <a:pt x="1618405" y="759703"/>
                </a:cubicBezTo>
                <a:cubicBezTo>
                  <a:pt x="1613521" y="762129"/>
                  <a:pt x="1609710" y="765325"/>
                  <a:pt x="1606852" y="769350"/>
                </a:cubicBezTo>
                <a:cubicBezTo>
                  <a:pt x="1603994" y="773374"/>
                  <a:pt x="1602565" y="778050"/>
                  <a:pt x="1602565" y="783258"/>
                </a:cubicBezTo>
                <a:lnTo>
                  <a:pt x="1602565" y="843095"/>
                </a:lnTo>
                <a:cubicBezTo>
                  <a:pt x="1602565" y="846232"/>
                  <a:pt x="1601612" y="848777"/>
                  <a:pt x="1599588" y="850848"/>
                </a:cubicBezTo>
                <a:cubicBezTo>
                  <a:pt x="1597563" y="852919"/>
                  <a:pt x="1594824" y="853925"/>
                  <a:pt x="1591668" y="853925"/>
                </a:cubicBezTo>
                <a:cubicBezTo>
                  <a:pt x="1588511" y="853925"/>
                  <a:pt x="1585951" y="852919"/>
                  <a:pt x="1583867" y="850848"/>
                </a:cubicBezTo>
                <a:cubicBezTo>
                  <a:pt x="1581783" y="848777"/>
                  <a:pt x="1580770" y="846232"/>
                  <a:pt x="1580770" y="843095"/>
                </a:cubicBezTo>
                <a:lnTo>
                  <a:pt x="1580770" y="748457"/>
                </a:lnTo>
                <a:cubicBezTo>
                  <a:pt x="1580770" y="745202"/>
                  <a:pt x="1581783" y="742538"/>
                  <a:pt x="1583867" y="740586"/>
                </a:cubicBezTo>
                <a:cubicBezTo>
                  <a:pt x="1585951" y="738633"/>
                  <a:pt x="1588392" y="737626"/>
                  <a:pt x="1591668" y="737626"/>
                </a:cubicBezTo>
                <a:cubicBezTo>
                  <a:pt x="1594942" y="737626"/>
                  <a:pt x="1597623" y="738574"/>
                  <a:pt x="1599588" y="740586"/>
                </a:cubicBezTo>
                <a:cubicBezTo>
                  <a:pt x="1601553" y="742598"/>
                  <a:pt x="1602565" y="745202"/>
                  <a:pt x="1602565" y="748457"/>
                </a:cubicBezTo>
                <a:lnTo>
                  <a:pt x="1602565" y="750943"/>
                </a:lnTo>
                <a:cubicBezTo>
                  <a:pt x="1605780" y="747807"/>
                  <a:pt x="1609294" y="745025"/>
                  <a:pt x="1613462" y="742776"/>
                </a:cubicBezTo>
                <a:cubicBezTo>
                  <a:pt x="1621025" y="738691"/>
                  <a:pt x="1629063" y="736620"/>
                  <a:pt x="1638889" y="736620"/>
                </a:cubicBezTo>
                <a:close/>
                <a:moveTo>
                  <a:pt x="1282076" y="736383"/>
                </a:moveTo>
                <a:cubicBezTo>
                  <a:pt x="1290652" y="736383"/>
                  <a:pt x="1296964" y="737745"/>
                  <a:pt x="1301192" y="740527"/>
                </a:cubicBezTo>
                <a:lnTo>
                  <a:pt x="1301132" y="740644"/>
                </a:lnTo>
                <a:cubicBezTo>
                  <a:pt x="1305359" y="743426"/>
                  <a:pt x="1306968" y="746681"/>
                  <a:pt x="1305956" y="750528"/>
                </a:cubicBezTo>
                <a:cubicBezTo>
                  <a:pt x="1305538" y="752481"/>
                  <a:pt x="1304705" y="754021"/>
                  <a:pt x="1303515" y="755086"/>
                </a:cubicBezTo>
                <a:cubicBezTo>
                  <a:pt x="1302263" y="756152"/>
                  <a:pt x="1300894" y="756803"/>
                  <a:pt x="1299346" y="757098"/>
                </a:cubicBezTo>
                <a:cubicBezTo>
                  <a:pt x="1297797" y="757334"/>
                  <a:pt x="1296070" y="757276"/>
                  <a:pt x="1294224" y="756861"/>
                </a:cubicBezTo>
                <a:cubicBezTo>
                  <a:pt x="1285113" y="755027"/>
                  <a:pt x="1276955" y="754908"/>
                  <a:pt x="1269690" y="756447"/>
                </a:cubicBezTo>
                <a:cubicBezTo>
                  <a:pt x="1262486" y="757986"/>
                  <a:pt x="1256709" y="760886"/>
                  <a:pt x="1252541" y="765147"/>
                </a:cubicBezTo>
                <a:cubicBezTo>
                  <a:pt x="1248312" y="769349"/>
                  <a:pt x="1246228" y="774735"/>
                  <a:pt x="1246228" y="781246"/>
                </a:cubicBezTo>
                <a:lnTo>
                  <a:pt x="1246228" y="843154"/>
                </a:lnTo>
                <a:cubicBezTo>
                  <a:pt x="1246228" y="846587"/>
                  <a:pt x="1245335" y="849191"/>
                  <a:pt x="1243548" y="851025"/>
                </a:cubicBezTo>
                <a:cubicBezTo>
                  <a:pt x="1241822" y="852860"/>
                  <a:pt x="1239022" y="853807"/>
                  <a:pt x="1235569" y="853807"/>
                </a:cubicBezTo>
                <a:cubicBezTo>
                  <a:pt x="1232116" y="853807"/>
                  <a:pt x="1229495" y="852920"/>
                  <a:pt x="1227649" y="851144"/>
                </a:cubicBezTo>
                <a:cubicBezTo>
                  <a:pt x="1225803" y="849368"/>
                  <a:pt x="1224850" y="846705"/>
                  <a:pt x="1224850" y="843154"/>
                </a:cubicBezTo>
                <a:lnTo>
                  <a:pt x="1224850" y="748339"/>
                </a:lnTo>
                <a:cubicBezTo>
                  <a:pt x="1224850" y="744905"/>
                  <a:pt x="1225803" y="742301"/>
                  <a:pt x="1227649" y="740467"/>
                </a:cubicBezTo>
                <a:cubicBezTo>
                  <a:pt x="1229495" y="738632"/>
                  <a:pt x="1232056" y="737685"/>
                  <a:pt x="1235569" y="737685"/>
                </a:cubicBezTo>
                <a:cubicBezTo>
                  <a:pt x="1239082" y="737685"/>
                  <a:pt x="1241763" y="738573"/>
                  <a:pt x="1243548" y="740349"/>
                </a:cubicBezTo>
                <a:cubicBezTo>
                  <a:pt x="1245335" y="742125"/>
                  <a:pt x="1246228" y="744729"/>
                  <a:pt x="1246228" y="748279"/>
                </a:cubicBezTo>
                <a:lnTo>
                  <a:pt x="1246228" y="752718"/>
                </a:lnTo>
                <a:cubicBezTo>
                  <a:pt x="1249741" y="748635"/>
                  <a:pt x="1253731" y="745024"/>
                  <a:pt x="1258614" y="742301"/>
                </a:cubicBezTo>
                <a:cubicBezTo>
                  <a:pt x="1265701" y="738396"/>
                  <a:pt x="1273501" y="736383"/>
                  <a:pt x="1282076" y="736383"/>
                </a:cubicBezTo>
                <a:close/>
                <a:moveTo>
                  <a:pt x="283093" y="736383"/>
                </a:moveTo>
                <a:lnTo>
                  <a:pt x="283093" y="736383"/>
                </a:lnTo>
                <a:lnTo>
                  <a:pt x="283093" y="736383"/>
                </a:lnTo>
                <a:cubicBezTo>
                  <a:pt x="291667" y="736383"/>
                  <a:pt x="297980" y="737745"/>
                  <a:pt x="302207" y="740527"/>
                </a:cubicBezTo>
                <a:lnTo>
                  <a:pt x="302149" y="740644"/>
                </a:lnTo>
                <a:cubicBezTo>
                  <a:pt x="306376" y="743426"/>
                  <a:pt x="307983" y="746681"/>
                  <a:pt x="306971" y="750528"/>
                </a:cubicBezTo>
                <a:cubicBezTo>
                  <a:pt x="306555" y="752481"/>
                  <a:pt x="305720" y="754021"/>
                  <a:pt x="304530" y="755086"/>
                </a:cubicBezTo>
                <a:cubicBezTo>
                  <a:pt x="303279" y="756152"/>
                  <a:pt x="301909" y="756803"/>
                  <a:pt x="300361" y="757098"/>
                </a:cubicBezTo>
                <a:lnTo>
                  <a:pt x="300361" y="757098"/>
                </a:lnTo>
                <a:lnTo>
                  <a:pt x="300361" y="757098"/>
                </a:lnTo>
                <a:cubicBezTo>
                  <a:pt x="298813" y="757334"/>
                  <a:pt x="297086" y="757276"/>
                  <a:pt x="295240" y="756861"/>
                </a:cubicBezTo>
                <a:lnTo>
                  <a:pt x="270706" y="756447"/>
                </a:lnTo>
                <a:lnTo>
                  <a:pt x="253556" y="765147"/>
                </a:lnTo>
                <a:cubicBezTo>
                  <a:pt x="249328" y="769349"/>
                  <a:pt x="247245" y="774735"/>
                  <a:pt x="247245" y="781246"/>
                </a:cubicBezTo>
                <a:lnTo>
                  <a:pt x="247245" y="843154"/>
                </a:lnTo>
                <a:cubicBezTo>
                  <a:pt x="247245" y="846587"/>
                  <a:pt x="246350" y="849191"/>
                  <a:pt x="244564" y="851025"/>
                </a:cubicBezTo>
                <a:cubicBezTo>
                  <a:pt x="242838" y="852860"/>
                  <a:pt x="240039" y="853807"/>
                  <a:pt x="236584" y="853807"/>
                </a:cubicBezTo>
                <a:lnTo>
                  <a:pt x="236584" y="853807"/>
                </a:lnTo>
                <a:lnTo>
                  <a:pt x="236584" y="853807"/>
                </a:lnTo>
                <a:cubicBezTo>
                  <a:pt x="233131" y="853807"/>
                  <a:pt x="230510" y="852920"/>
                  <a:pt x="228664" y="851144"/>
                </a:cubicBezTo>
                <a:cubicBezTo>
                  <a:pt x="226818" y="849368"/>
                  <a:pt x="225866" y="846705"/>
                  <a:pt x="225866" y="843154"/>
                </a:cubicBezTo>
                <a:lnTo>
                  <a:pt x="225866" y="748339"/>
                </a:lnTo>
                <a:cubicBezTo>
                  <a:pt x="225866" y="744905"/>
                  <a:pt x="226818" y="742301"/>
                  <a:pt x="228664" y="740467"/>
                </a:cubicBezTo>
                <a:cubicBezTo>
                  <a:pt x="230510" y="738632"/>
                  <a:pt x="233072" y="737685"/>
                  <a:pt x="236584" y="737685"/>
                </a:cubicBezTo>
                <a:lnTo>
                  <a:pt x="236584" y="737685"/>
                </a:lnTo>
                <a:lnTo>
                  <a:pt x="236584" y="737685"/>
                </a:lnTo>
                <a:cubicBezTo>
                  <a:pt x="240098" y="737685"/>
                  <a:pt x="242778" y="738573"/>
                  <a:pt x="244564" y="740349"/>
                </a:cubicBezTo>
                <a:cubicBezTo>
                  <a:pt x="246350" y="742125"/>
                  <a:pt x="247245" y="744729"/>
                  <a:pt x="247245" y="748279"/>
                </a:cubicBezTo>
                <a:lnTo>
                  <a:pt x="247245" y="752718"/>
                </a:lnTo>
                <a:lnTo>
                  <a:pt x="259629" y="742301"/>
                </a:lnTo>
                <a:cubicBezTo>
                  <a:pt x="266716" y="738396"/>
                  <a:pt x="274517" y="736383"/>
                  <a:pt x="283093" y="736383"/>
                </a:cubicBezTo>
                <a:close/>
                <a:moveTo>
                  <a:pt x="480675" y="700812"/>
                </a:moveTo>
                <a:lnTo>
                  <a:pt x="480675" y="700812"/>
                </a:lnTo>
                <a:lnTo>
                  <a:pt x="480675" y="700812"/>
                </a:lnTo>
                <a:cubicBezTo>
                  <a:pt x="483772" y="700812"/>
                  <a:pt x="486332" y="701818"/>
                  <a:pt x="488357" y="703772"/>
                </a:cubicBezTo>
                <a:cubicBezTo>
                  <a:pt x="490321" y="705724"/>
                  <a:pt x="491334" y="708269"/>
                  <a:pt x="491334" y="711407"/>
                </a:cubicBezTo>
                <a:lnTo>
                  <a:pt x="491334" y="741946"/>
                </a:lnTo>
                <a:lnTo>
                  <a:pt x="509496" y="741946"/>
                </a:lnTo>
                <a:lnTo>
                  <a:pt x="509497" y="741946"/>
                </a:lnTo>
                <a:cubicBezTo>
                  <a:pt x="512474" y="741946"/>
                  <a:pt x="514915" y="742775"/>
                  <a:pt x="516761" y="744491"/>
                </a:cubicBezTo>
                <a:cubicBezTo>
                  <a:pt x="518607" y="746207"/>
                  <a:pt x="519560" y="748456"/>
                  <a:pt x="519560" y="751298"/>
                </a:cubicBezTo>
                <a:cubicBezTo>
                  <a:pt x="519560" y="753783"/>
                  <a:pt x="518607" y="755914"/>
                  <a:pt x="516761" y="757630"/>
                </a:cubicBezTo>
                <a:cubicBezTo>
                  <a:pt x="514915" y="759347"/>
                  <a:pt x="512474" y="760175"/>
                  <a:pt x="509497" y="760175"/>
                </a:cubicBezTo>
                <a:lnTo>
                  <a:pt x="509496" y="760175"/>
                </a:lnTo>
                <a:lnTo>
                  <a:pt x="491334" y="760175"/>
                </a:lnTo>
                <a:lnTo>
                  <a:pt x="491334" y="812555"/>
                </a:lnTo>
                <a:cubicBezTo>
                  <a:pt x="491334" y="818236"/>
                  <a:pt x="492942" y="822971"/>
                  <a:pt x="496038" y="826759"/>
                </a:cubicBezTo>
                <a:cubicBezTo>
                  <a:pt x="499194" y="830606"/>
                  <a:pt x="503065" y="832500"/>
                  <a:pt x="507590" y="832500"/>
                </a:cubicBezTo>
                <a:lnTo>
                  <a:pt x="514856" y="832500"/>
                </a:lnTo>
                <a:lnTo>
                  <a:pt x="514856" y="832500"/>
                </a:lnTo>
                <a:cubicBezTo>
                  <a:pt x="517416" y="832500"/>
                  <a:pt x="519560" y="833506"/>
                  <a:pt x="521346" y="835459"/>
                </a:cubicBezTo>
                <a:cubicBezTo>
                  <a:pt x="523132" y="837413"/>
                  <a:pt x="524026" y="839957"/>
                  <a:pt x="524026" y="843094"/>
                </a:cubicBezTo>
                <a:cubicBezTo>
                  <a:pt x="524026" y="846231"/>
                  <a:pt x="522836" y="848717"/>
                  <a:pt x="520513" y="850729"/>
                </a:cubicBezTo>
                <a:cubicBezTo>
                  <a:pt x="518191" y="852682"/>
                  <a:pt x="515154" y="853688"/>
                  <a:pt x="511461" y="853688"/>
                </a:cubicBezTo>
                <a:lnTo>
                  <a:pt x="511461" y="853688"/>
                </a:lnTo>
                <a:lnTo>
                  <a:pt x="507590" y="853688"/>
                </a:lnTo>
                <a:lnTo>
                  <a:pt x="507590" y="853688"/>
                </a:lnTo>
                <a:cubicBezTo>
                  <a:pt x="500445" y="853688"/>
                  <a:pt x="494073" y="851913"/>
                  <a:pt x="488357" y="848302"/>
                </a:cubicBezTo>
                <a:cubicBezTo>
                  <a:pt x="482640" y="844692"/>
                  <a:pt x="478174" y="839779"/>
                  <a:pt x="474899" y="833565"/>
                </a:cubicBezTo>
                <a:cubicBezTo>
                  <a:pt x="471623" y="827350"/>
                  <a:pt x="470016" y="820307"/>
                  <a:pt x="470016" y="812555"/>
                </a:cubicBezTo>
                <a:lnTo>
                  <a:pt x="470016" y="760175"/>
                </a:lnTo>
                <a:lnTo>
                  <a:pt x="460190" y="760175"/>
                </a:lnTo>
                <a:lnTo>
                  <a:pt x="460190" y="760175"/>
                </a:lnTo>
                <a:cubicBezTo>
                  <a:pt x="457213" y="760175"/>
                  <a:pt x="454771" y="759287"/>
                  <a:pt x="452925" y="757630"/>
                </a:cubicBezTo>
                <a:cubicBezTo>
                  <a:pt x="451079" y="755973"/>
                  <a:pt x="450126" y="753842"/>
                  <a:pt x="450126" y="751298"/>
                </a:cubicBezTo>
                <a:cubicBezTo>
                  <a:pt x="450126" y="748456"/>
                  <a:pt x="451079" y="746207"/>
                  <a:pt x="452925" y="744491"/>
                </a:cubicBezTo>
                <a:cubicBezTo>
                  <a:pt x="454771" y="742775"/>
                  <a:pt x="457213" y="741946"/>
                  <a:pt x="460190" y="741946"/>
                </a:cubicBezTo>
                <a:lnTo>
                  <a:pt x="460190" y="741946"/>
                </a:lnTo>
                <a:lnTo>
                  <a:pt x="470016" y="741946"/>
                </a:lnTo>
                <a:lnTo>
                  <a:pt x="470016" y="711407"/>
                </a:lnTo>
                <a:cubicBezTo>
                  <a:pt x="470016" y="708269"/>
                  <a:pt x="471028" y="705724"/>
                  <a:pt x="472994" y="703772"/>
                </a:cubicBezTo>
                <a:cubicBezTo>
                  <a:pt x="474958" y="701818"/>
                  <a:pt x="477578" y="700812"/>
                  <a:pt x="480675" y="700812"/>
                </a:cubicBezTo>
                <a:close/>
                <a:moveTo>
                  <a:pt x="155839" y="700812"/>
                </a:moveTo>
                <a:lnTo>
                  <a:pt x="155840" y="700812"/>
                </a:lnTo>
                <a:cubicBezTo>
                  <a:pt x="158935" y="700812"/>
                  <a:pt x="161496" y="701818"/>
                  <a:pt x="163520" y="703772"/>
                </a:cubicBezTo>
                <a:cubicBezTo>
                  <a:pt x="165485" y="705724"/>
                  <a:pt x="166497" y="708269"/>
                  <a:pt x="166497" y="711407"/>
                </a:cubicBezTo>
                <a:lnTo>
                  <a:pt x="166497" y="741946"/>
                </a:lnTo>
                <a:lnTo>
                  <a:pt x="184660" y="741946"/>
                </a:lnTo>
                <a:lnTo>
                  <a:pt x="184661" y="741946"/>
                </a:lnTo>
                <a:cubicBezTo>
                  <a:pt x="187637" y="741946"/>
                  <a:pt x="190079" y="742775"/>
                  <a:pt x="191925" y="744491"/>
                </a:cubicBezTo>
                <a:cubicBezTo>
                  <a:pt x="193771" y="746207"/>
                  <a:pt x="194723" y="748456"/>
                  <a:pt x="194723" y="751298"/>
                </a:cubicBezTo>
                <a:cubicBezTo>
                  <a:pt x="194723" y="753783"/>
                  <a:pt x="193771" y="755914"/>
                  <a:pt x="191925" y="757630"/>
                </a:cubicBezTo>
                <a:cubicBezTo>
                  <a:pt x="190079" y="759347"/>
                  <a:pt x="187637" y="760175"/>
                  <a:pt x="184661" y="760175"/>
                </a:cubicBezTo>
                <a:lnTo>
                  <a:pt x="184660" y="760175"/>
                </a:lnTo>
                <a:lnTo>
                  <a:pt x="166497" y="760175"/>
                </a:lnTo>
                <a:lnTo>
                  <a:pt x="166497" y="812555"/>
                </a:lnTo>
                <a:cubicBezTo>
                  <a:pt x="166497" y="818236"/>
                  <a:pt x="168106" y="822971"/>
                  <a:pt x="171203" y="826759"/>
                </a:cubicBezTo>
                <a:cubicBezTo>
                  <a:pt x="174358" y="830606"/>
                  <a:pt x="178229" y="832500"/>
                  <a:pt x="182755" y="832500"/>
                </a:cubicBezTo>
                <a:lnTo>
                  <a:pt x="190020" y="832500"/>
                </a:lnTo>
                <a:lnTo>
                  <a:pt x="190020" y="832500"/>
                </a:lnTo>
                <a:cubicBezTo>
                  <a:pt x="192579" y="832500"/>
                  <a:pt x="194723" y="833506"/>
                  <a:pt x="196510" y="835459"/>
                </a:cubicBezTo>
                <a:cubicBezTo>
                  <a:pt x="198297" y="837413"/>
                  <a:pt x="199189" y="839957"/>
                  <a:pt x="199189" y="843094"/>
                </a:cubicBezTo>
                <a:cubicBezTo>
                  <a:pt x="199189" y="846231"/>
                  <a:pt x="197999" y="848717"/>
                  <a:pt x="195676" y="850729"/>
                </a:cubicBezTo>
                <a:cubicBezTo>
                  <a:pt x="193353" y="852682"/>
                  <a:pt x="190316" y="853688"/>
                  <a:pt x="186624" y="853688"/>
                </a:cubicBezTo>
                <a:lnTo>
                  <a:pt x="186624" y="853688"/>
                </a:lnTo>
                <a:lnTo>
                  <a:pt x="182755" y="853688"/>
                </a:lnTo>
                <a:lnTo>
                  <a:pt x="182754" y="853688"/>
                </a:lnTo>
                <a:cubicBezTo>
                  <a:pt x="175609" y="853688"/>
                  <a:pt x="169237" y="851913"/>
                  <a:pt x="163520" y="848302"/>
                </a:cubicBezTo>
                <a:cubicBezTo>
                  <a:pt x="157804" y="844692"/>
                  <a:pt x="153337" y="839779"/>
                  <a:pt x="150062" y="833565"/>
                </a:cubicBezTo>
                <a:cubicBezTo>
                  <a:pt x="146787" y="827350"/>
                  <a:pt x="145179" y="820307"/>
                  <a:pt x="145179" y="812555"/>
                </a:cubicBezTo>
                <a:lnTo>
                  <a:pt x="145179" y="760175"/>
                </a:lnTo>
                <a:lnTo>
                  <a:pt x="135355" y="760175"/>
                </a:lnTo>
                <a:lnTo>
                  <a:pt x="135354" y="760175"/>
                </a:lnTo>
                <a:cubicBezTo>
                  <a:pt x="132376" y="760175"/>
                  <a:pt x="129934" y="759287"/>
                  <a:pt x="128088" y="757630"/>
                </a:cubicBezTo>
                <a:cubicBezTo>
                  <a:pt x="126242" y="755973"/>
                  <a:pt x="125290" y="753842"/>
                  <a:pt x="125290" y="751298"/>
                </a:cubicBezTo>
                <a:cubicBezTo>
                  <a:pt x="125290" y="748456"/>
                  <a:pt x="126242" y="746207"/>
                  <a:pt x="128088" y="744491"/>
                </a:cubicBezTo>
                <a:cubicBezTo>
                  <a:pt x="129934" y="742775"/>
                  <a:pt x="132376" y="741946"/>
                  <a:pt x="135354" y="741946"/>
                </a:cubicBezTo>
                <a:lnTo>
                  <a:pt x="135355" y="741946"/>
                </a:lnTo>
                <a:lnTo>
                  <a:pt x="145179" y="741946"/>
                </a:lnTo>
                <a:lnTo>
                  <a:pt x="145179" y="711407"/>
                </a:lnTo>
                <a:cubicBezTo>
                  <a:pt x="145179" y="708269"/>
                  <a:pt x="146192" y="705724"/>
                  <a:pt x="148157" y="703772"/>
                </a:cubicBezTo>
                <a:cubicBezTo>
                  <a:pt x="150122" y="701818"/>
                  <a:pt x="152742" y="700812"/>
                  <a:pt x="155839" y="700812"/>
                </a:cubicBezTo>
                <a:close/>
                <a:moveTo>
                  <a:pt x="174835" y="424951"/>
                </a:moveTo>
                <a:lnTo>
                  <a:pt x="94088" y="536042"/>
                </a:lnTo>
                <a:lnTo>
                  <a:pt x="174835" y="536042"/>
                </a:lnTo>
                <a:close/>
                <a:moveTo>
                  <a:pt x="1492163" y="388136"/>
                </a:moveTo>
                <a:lnTo>
                  <a:pt x="1492163" y="580548"/>
                </a:lnTo>
                <a:lnTo>
                  <a:pt x="1528310" y="580548"/>
                </a:lnTo>
                <a:cubicBezTo>
                  <a:pt x="1541053" y="580548"/>
                  <a:pt x="1553498" y="578950"/>
                  <a:pt x="1565349" y="575814"/>
                </a:cubicBezTo>
                <a:cubicBezTo>
                  <a:pt x="1577438" y="572618"/>
                  <a:pt x="1588274" y="567291"/>
                  <a:pt x="1597445" y="559893"/>
                </a:cubicBezTo>
                <a:cubicBezTo>
                  <a:pt x="1606675" y="552494"/>
                  <a:pt x="1614178" y="542433"/>
                  <a:pt x="1619657" y="530064"/>
                </a:cubicBezTo>
                <a:cubicBezTo>
                  <a:pt x="1625076" y="517753"/>
                  <a:pt x="1627875" y="502424"/>
                  <a:pt x="1627875" y="484372"/>
                </a:cubicBezTo>
                <a:cubicBezTo>
                  <a:pt x="1627875" y="466321"/>
                  <a:pt x="1625136" y="450992"/>
                  <a:pt x="1619657" y="438681"/>
                </a:cubicBezTo>
                <a:cubicBezTo>
                  <a:pt x="1614178" y="426312"/>
                  <a:pt x="1606675" y="416251"/>
                  <a:pt x="1597445" y="408852"/>
                </a:cubicBezTo>
                <a:cubicBezTo>
                  <a:pt x="1588274" y="401454"/>
                  <a:pt x="1577438" y="396068"/>
                  <a:pt x="1565349" y="392872"/>
                </a:cubicBezTo>
                <a:cubicBezTo>
                  <a:pt x="1553439" y="389735"/>
                  <a:pt x="1540994" y="388136"/>
                  <a:pt x="1528310" y="388136"/>
                </a:cubicBezTo>
                <a:close/>
                <a:moveTo>
                  <a:pt x="1216216" y="383047"/>
                </a:moveTo>
                <a:cubicBezTo>
                  <a:pt x="1196983" y="383047"/>
                  <a:pt x="1179951" y="387427"/>
                  <a:pt x="1165660" y="396068"/>
                </a:cubicBezTo>
                <a:cubicBezTo>
                  <a:pt x="1151368" y="404709"/>
                  <a:pt x="1140113" y="416783"/>
                  <a:pt x="1132193" y="431993"/>
                </a:cubicBezTo>
                <a:cubicBezTo>
                  <a:pt x="1124392" y="447145"/>
                  <a:pt x="1120403" y="464723"/>
                  <a:pt x="1120403" y="484372"/>
                </a:cubicBezTo>
                <a:cubicBezTo>
                  <a:pt x="1120403" y="504022"/>
                  <a:pt x="1124333" y="521659"/>
                  <a:pt x="1132193" y="536751"/>
                </a:cubicBezTo>
                <a:cubicBezTo>
                  <a:pt x="1140054" y="551962"/>
                  <a:pt x="1151308" y="564036"/>
                  <a:pt x="1165660" y="572677"/>
                </a:cubicBezTo>
                <a:cubicBezTo>
                  <a:pt x="1180011" y="581318"/>
                  <a:pt x="1197339" y="585698"/>
                  <a:pt x="1216216" y="585698"/>
                </a:cubicBezTo>
                <a:cubicBezTo>
                  <a:pt x="1235093" y="585698"/>
                  <a:pt x="1251945" y="581318"/>
                  <a:pt x="1266296" y="572677"/>
                </a:cubicBezTo>
                <a:cubicBezTo>
                  <a:pt x="1280589" y="564036"/>
                  <a:pt x="1291842" y="551962"/>
                  <a:pt x="1299763" y="536751"/>
                </a:cubicBezTo>
                <a:lnTo>
                  <a:pt x="1299763" y="536692"/>
                </a:lnTo>
                <a:cubicBezTo>
                  <a:pt x="1307563" y="521540"/>
                  <a:pt x="1311553" y="503903"/>
                  <a:pt x="1311553" y="484313"/>
                </a:cubicBezTo>
                <a:cubicBezTo>
                  <a:pt x="1311553" y="464723"/>
                  <a:pt x="1307683" y="447085"/>
                  <a:pt x="1300001" y="431993"/>
                </a:cubicBezTo>
                <a:cubicBezTo>
                  <a:pt x="1292320" y="416843"/>
                  <a:pt x="1281184" y="404709"/>
                  <a:pt x="1267012" y="396068"/>
                </a:cubicBezTo>
                <a:cubicBezTo>
                  <a:pt x="1252838" y="387427"/>
                  <a:pt x="1235450" y="383047"/>
                  <a:pt x="1216216" y="383047"/>
                </a:cubicBezTo>
                <a:close/>
                <a:moveTo>
                  <a:pt x="842074" y="383047"/>
                </a:moveTo>
                <a:cubicBezTo>
                  <a:pt x="822840" y="383047"/>
                  <a:pt x="805808" y="387427"/>
                  <a:pt x="791518" y="396068"/>
                </a:cubicBezTo>
                <a:cubicBezTo>
                  <a:pt x="777225" y="404709"/>
                  <a:pt x="765971" y="416783"/>
                  <a:pt x="758051" y="431993"/>
                </a:cubicBezTo>
                <a:cubicBezTo>
                  <a:pt x="750250" y="447145"/>
                  <a:pt x="746260" y="464723"/>
                  <a:pt x="746260" y="484372"/>
                </a:cubicBezTo>
                <a:cubicBezTo>
                  <a:pt x="746260" y="504022"/>
                  <a:pt x="750190" y="521659"/>
                  <a:pt x="758051" y="536751"/>
                </a:cubicBezTo>
                <a:cubicBezTo>
                  <a:pt x="765911" y="551962"/>
                  <a:pt x="777167" y="564036"/>
                  <a:pt x="791518" y="572677"/>
                </a:cubicBezTo>
                <a:cubicBezTo>
                  <a:pt x="805868" y="581318"/>
                  <a:pt x="823197" y="585698"/>
                  <a:pt x="842074" y="585698"/>
                </a:cubicBezTo>
                <a:cubicBezTo>
                  <a:pt x="860950" y="585698"/>
                  <a:pt x="877803" y="581318"/>
                  <a:pt x="892153" y="572677"/>
                </a:cubicBezTo>
                <a:cubicBezTo>
                  <a:pt x="906446" y="564036"/>
                  <a:pt x="917700" y="551962"/>
                  <a:pt x="925620" y="536751"/>
                </a:cubicBezTo>
                <a:lnTo>
                  <a:pt x="925620" y="536692"/>
                </a:lnTo>
                <a:cubicBezTo>
                  <a:pt x="933421" y="521540"/>
                  <a:pt x="937411" y="503903"/>
                  <a:pt x="937411" y="484313"/>
                </a:cubicBezTo>
                <a:cubicBezTo>
                  <a:pt x="937411" y="464723"/>
                  <a:pt x="933540" y="447085"/>
                  <a:pt x="925858" y="431993"/>
                </a:cubicBezTo>
                <a:cubicBezTo>
                  <a:pt x="918118" y="416783"/>
                  <a:pt x="907041" y="404709"/>
                  <a:pt x="892869" y="396068"/>
                </a:cubicBezTo>
                <a:cubicBezTo>
                  <a:pt x="878696" y="387427"/>
                  <a:pt x="861308" y="383047"/>
                  <a:pt x="842074" y="383047"/>
                </a:cubicBezTo>
                <a:close/>
                <a:moveTo>
                  <a:pt x="1417966" y="325637"/>
                </a:moveTo>
                <a:lnTo>
                  <a:pt x="1531108" y="325637"/>
                </a:lnTo>
                <a:cubicBezTo>
                  <a:pt x="1566123" y="325637"/>
                  <a:pt x="1596850" y="332207"/>
                  <a:pt x="1622336" y="345168"/>
                </a:cubicBezTo>
                <a:cubicBezTo>
                  <a:pt x="1647763" y="358071"/>
                  <a:pt x="1667713" y="376477"/>
                  <a:pt x="1681588" y="399915"/>
                </a:cubicBezTo>
                <a:lnTo>
                  <a:pt x="1681528" y="399974"/>
                </a:lnTo>
                <a:cubicBezTo>
                  <a:pt x="1695461" y="423411"/>
                  <a:pt x="1702489" y="452176"/>
                  <a:pt x="1702489" y="484431"/>
                </a:cubicBezTo>
                <a:cubicBezTo>
                  <a:pt x="1702489" y="516688"/>
                  <a:pt x="1695461" y="545037"/>
                  <a:pt x="1681528" y="568652"/>
                </a:cubicBezTo>
                <a:cubicBezTo>
                  <a:pt x="1667653" y="592208"/>
                  <a:pt x="1647703" y="610734"/>
                  <a:pt x="1622336" y="623636"/>
                </a:cubicBezTo>
                <a:cubicBezTo>
                  <a:pt x="1596850" y="636657"/>
                  <a:pt x="1566182" y="643225"/>
                  <a:pt x="1531108" y="643225"/>
                </a:cubicBezTo>
                <a:lnTo>
                  <a:pt x="1417966" y="643225"/>
                </a:lnTo>
                <a:close/>
                <a:moveTo>
                  <a:pt x="187637" y="325578"/>
                </a:moveTo>
                <a:lnTo>
                  <a:pt x="187638" y="325578"/>
                </a:lnTo>
                <a:lnTo>
                  <a:pt x="241052" y="325578"/>
                </a:lnTo>
                <a:lnTo>
                  <a:pt x="241053" y="325578"/>
                </a:lnTo>
                <a:lnTo>
                  <a:pt x="241053" y="525861"/>
                </a:lnTo>
                <a:lnTo>
                  <a:pt x="278091" y="525861"/>
                </a:lnTo>
                <a:lnTo>
                  <a:pt x="278092" y="525861"/>
                </a:lnTo>
                <a:lnTo>
                  <a:pt x="278092" y="585698"/>
                </a:lnTo>
                <a:lnTo>
                  <a:pt x="278091" y="585698"/>
                </a:lnTo>
                <a:lnTo>
                  <a:pt x="241053" y="585698"/>
                </a:lnTo>
                <a:lnTo>
                  <a:pt x="241053" y="643166"/>
                </a:lnTo>
                <a:lnTo>
                  <a:pt x="241052" y="643166"/>
                </a:lnTo>
                <a:lnTo>
                  <a:pt x="165963" y="643166"/>
                </a:lnTo>
                <a:lnTo>
                  <a:pt x="165962" y="643166"/>
                </a:lnTo>
                <a:lnTo>
                  <a:pt x="165962" y="585698"/>
                </a:lnTo>
                <a:lnTo>
                  <a:pt x="3158" y="585698"/>
                </a:lnTo>
                <a:lnTo>
                  <a:pt x="3157" y="585698"/>
                </a:lnTo>
                <a:close/>
                <a:moveTo>
                  <a:pt x="1216157" y="318180"/>
                </a:moveTo>
                <a:cubicBezTo>
                  <a:pt x="1240809" y="318180"/>
                  <a:pt x="1263855" y="322264"/>
                  <a:pt x="1284637" y="330254"/>
                </a:cubicBezTo>
                <a:cubicBezTo>
                  <a:pt x="1305419" y="338244"/>
                  <a:pt x="1323761" y="349785"/>
                  <a:pt x="1339243" y="364522"/>
                </a:cubicBezTo>
                <a:cubicBezTo>
                  <a:pt x="1354666" y="379259"/>
                  <a:pt x="1366755" y="396956"/>
                  <a:pt x="1375269" y="417138"/>
                </a:cubicBezTo>
                <a:cubicBezTo>
                  <a:pt x="1383785" y="437379"/>
                  <a:pt x="1388073" y="459989"/>
                  <a:pt x="1388073" y="484431"/>
                </a:cubicBezTo>
                <a:cubicBezTo>
                  <a:pt x="1388073" y="508875"/>
                  <a:pt x="1383844" y="531662"/>
                  <a:pt x="1375508" y="552199"/>
                </a:cubicBezTo>
                <a:cubicBezTo>
                  <a:pt x="1367172" y="572677"/>
                  <a:pt x="1355202" y="590669"/>
                  <a:pt x="1339899" y="605703"/>
                </a:cubicBezTo>
                <a:cubicBezTo>
                  <a:pt x="1324653" y="620736"/>
                  <a:pt x="1306253" y="632573"/>
                  <a:pt x="1285352" y="640858"/>
                </a:cubicBezTo>
                <a:cubicBezTo>
                  <a:pt x="1264390" y="649144"/>
                  <a:pt x="1241465" y="653346"/>
                  <a:pt x="1216216" y="653346"/>
                </a:cubicBezTo>
                <a:cubicBezTo>
                  <a:pt x="1190968" y="653346"/>
                  <a:pt x="1167565" y="649144"/>
                  <a:pt x="1146604" y="640858"/>
                </a:cubicBezTo>
                <a:cubicBezTo>
                  <a:pt x="1125643" y="632573"/>
                  <a:pt x="1107302" y="620736"/>
                  <a:pt x="1091998" y="605703"/>
                </a:cubicBezTo>
                <a:cubicBezTo>
                  <a:pt x="1076695" y="590669"/>
                  <a:pt x="1064725" y="572677"/>
                  <a:pt x="1056389" y="552199"/>
                </a:cubicBezTo>
                <a:cubicBezTo>
                  <a:pt x="1048052" y="531721"/>
                  <a:pt x="1043824" y="508875"/>
                  <a:pt x="1043824" y="484431"/>
                </a:cubicBezTo>
                <a:cubicBezTo>
                  <a:pt x="1043824" y="459989"/>
                  <a:pt x="1048230" y="437379"/>
                  <a:pt x="1056864" y="417138"/>
                </a:cubicBezTo>
                <a:cubicBezTo>
                  <a:pt x="1065500" y="396956"/>
                  <a:pt x="1077707" y="379259"/>
                  <a:pt x="1093129" y="364522"/>
                </a:cubicBezTo>
                <a:cubicBezTo>
                  <a:pt x="1108553" y="349785"/>
                  <a:pt x="1127012" y="338244"/>
                  <a:pt x="1147914" y="330254"/>
                </a:cubicBezTo>
                <a:cubicBezTo>
                  <a:pt x="1168875" y="322264"/>
                  <a:pt x="1191503" y="318180"/>
                  <a:pt x="1216157" y="318180"/>
                </a:cubicBezTo>
                <a:close/>
                <a:moveTo>
                  <a:pt x="842014" y="318180"/>
                </a:moveTo>
                <a:cubicBezTo>
                  <a:pt x="866668" y="318180"/>
                  <a:pt x="889713" y="322264"/>
                  <a:pt x="910494" y="330254"/>
                </a:cubicBezTo>
                <a:cubicBezTo>
                  <a:pt x="931277" y="338244"/>
                  <a:pt x="949618" y="349785"/>
                  <a:pt x="965100" y="364522"/>
                </a:cubicBezTo>
                <a:lnTo>
                  <a:pt x="965160" y="364522"/>
                </a:lnTo>
                <a:cubicBezTo>
                  <a:pt x="980583" y="379259"/>
                  <a:pt x="992671" y="396956"/>
                  <a:pt x="1001187" y="417138"/>
                </a:cubicBezTo>
                <a:cubicBezTo>
                  <a:pt x="1009702" y="437379"/>
                  <a:pt x="1013990" y="459989"/>
                  <a:pt x="1013990" y="484431"/>
                </a:cubicBezTo>
                <a:cubicBezTo>
                  <a:pt x="1013990" y="508875"/>
                  <a:pt x="1009761" y="531662"/>
                  <a:pt x="1001425" y="552199"/>
                </a:cubicBezTo>
                <a:cubicBezTo>
                  <a:pt x="993089" y="572677"/>
                  <a:pt x="981119" y="590669"/>
                  <a:pt x="965814" y="605703"/>
                </a:cubicBezTo>
                <a:cubicBezTo>
                  <a:pt x="950511" y="620736"/>
                  <a:pt x="932111" y="632573"/>
                  <a:pt x="911210" y="640858"/>
                </a:cubicBezTo>
                <a:cubicBezTo>
                  <a:pt x="890248" y="649144"/>
                  <a:pt x="867322" y="653346"/>
                  <a:pt x="842074" y="653346"/>
                </a:cubicBezTo>
                <a:cubicBezTo>
                  <a:pt x="816826" y="653346"/>
                  <a:pt x="793423" y="649144"/>
                  <a:pt x="772461" y="640858"/>
                </a:cubicBezTo>
                <a:cubicBezTo>
                  <a:pt x="751500" y="632573"/>
                  <a:pt x="733160" y="620736"/>
                  <a:pt x="717857" y="605703"/>
                </a:cubicBezTo>
                <a:cubicBezTo>
                  <a:pt x="702552" y="590669"/>
                  <a:pt x="690583" y="572677"/>
                  <a:pt x="682246" y="552199"/>
                </a:cubicBezTo>
                <a:cubicBezTo>
                  <a:pt x="673910" y="531721"/>
                  <a:pt x="669681" y="508875"/>
                  <a:pt x="669681" y="484431"/>
                </a:cubicBezTo>
                <a:cubicBezTo>
                  <a:pt x="669681" y="459989"/>
                  <a:pt x="674088" y="437321"/>
                  <a:pt x="682723" y="417138"/>
                </a:cubicBezTo>
                <a:cubicBezTo>
                  <a:pt x="691357" y="396956"/>
                  <a:pt x="703564" y="379259"/>
                  <a:pt x="718987" y="364522"/>
                </a:cubicBezTo>
                <a:cubicBezTo>
                  <a:pt x="734410" y="349785"/>
                  <a:pt x="752870" y="338244"/>
                  <a:pt x="773771" y="330254"/>
                </a:cubicBezTo>
                <a:cubicBezTo>
                  <a:pt x="794732" y="322264"/>
                  <a:pt x="817361" y="318180"/>
                  <a:pt x="842014" y="318180"/>
                </a:cubicBezTo>
                <a:close/>
                <a:moveTo>
                  <a:pt x="478590" y="318061"/>
                </a:moveTo>
                <a:lnTo>
                  <a:pt x="478590" y="318061"/>
                </a:lnTo>
                <a:lnTo>
                  <a:pt x="478591" y="318061"/>
                </a:lnTo>
                <a:cubicBezTo>
                  <a:pt x="501101" y="318061"/>
                  <a:pt x="521584" y="321257"/>
                  <a:pt x="539449" y="327590"/>
                </a:cubicBezTo>
                <a:cubicBezTo>
                  <a:pt x="557314" y="333982"/>
                  <a:pt x="573392" y="342860"/>
                  <a:pt x="587148" y="354164"/>
                </a:cubicBezTo>
                <a:cubicBezTo>
                  <a:pt x="599951" y="364640"/>
                  <a:pt x="611265" y="376832"/>
                  <a:pt x="620853" y="390326"/>
                </a:cubicBezTo>
                <a:lnTo>
                  <a:pt x="557314" y="423175"/>
                </a:lnTo>
                <a:lnTo>
                  <a:pt x="557313" y="423175"/>
                </a:lnTo>
                <a:lnTo>
                  <a:pt x="557313" y="423175"/>
                </a:lnTo>
                <a:cubicBezTo>
                  <a:pt x="549810" y="411101"/>
                  <a:pt x="539926" y="400862"/>
                  <a:pt x="527896" y="392694"/>
                </a:cubicBezTo>
                <a:lnTo>
                  <a:pt x="478590" y="379378"/>
                </a:lnTo>
                <a:lnTo>
                  <a:pt x="427261" y="391866"/>
                </a:lnTo>
                <a:cubicBezTo>
                  <a:pt x="411659" y="400151"/>
                  <a:pt x="399154" y="412225"/>
                  <a:pt x="389983" y="427672"/>
                </a:cubicBezTo>
                <a:cubicBezTo>
                  <a:pt x="380872" y="443120"/>
                  <a:pt x="376228" y="462592"/>
                  <a:pt x="376228" y="484372"/>
                </a:cubicBezTo>
                <a:cubicBezTo>
                  <a:pt x="376228" y="506152"/>
                  <a:pt x="380694" y="525387"/>
                  <a:pt x="389507" y="541427"/>
                </a:cubicBezTo>
                <a:cubicBezTo>
                  <a:pt x="398379" y="557583"/>
                  <a:pt x="410587" y="570190"/>
                  <a:pt x="425831" y="578950"/>
                </a:cubicBezTo>
                <a:lnTo>
                  <a:pt x="478651" y="592149"/>
                </a:lnTo>
                <a:lnTo>
                  <a:pt x="511878" y="587591"/>
                </a:lnTo>
                <a:cubicBezTo>
                  <a:pt x="521942" y="584514"/>
                  <a:pt x="530636" y="580075"/>
                  <a:pt x="537782" y="574452"/>
                </a:cubicBezTo>
                <a:cubicBezTo>
                  <a:pt x="544868" y="568830"/>
                  <a:pt x="551002" y="562141"/>
                  <a:pt x="556003" y="554625"/>
                </a:cubicBezTo>
                <a:cubicBezTo>
                  <a:pt x="560945" y="547168"/>
                  <a:pt x="564935" y="539000"/>
                  <a:pt x="567793" y="530418"/>
                </a:cubicBezTo>
                <a:lnTo>
                  <a:pt x="569342" y="525860"/>
                </a:lnTo>
                <a:lnTo>
                  <a:pt x="481212" y="525860"/>
                </a:lnTo>
                <a:lnTo>
                  <a:pt x="481212" y="525860"/>
                </a:lnTo>
                <a:lnTo>
                  <a:pt x="481212" y="472535"/>
                </a:lnTo>
                <a:lnTo>
                  <a:pt x="481212" y="472535"/>
                </a:lnTo>
                <a:lnTo>
                  <a:pt x="639550" y="472535"/>
                </a:lnTo>
                <a:lnTo>
                  <a:pt x="639550" y="472535"/>
                </a:lnTo>
                <a:cubicBezTo>
                  <a:pt x="640622" y="496741"/>
                  <a:pt x="637942" y="519706"/>
                  <a:pt x="631571" y="540835"/>
                </a:cubicBezTo>
                <a:cubicBezTo>
                  <a:pt x="624901" y="562852"/>
                  <a:pt x="614421" y="582560"/>
                  <a:pt x="600486" y="599428"/>
                </a:cubicBezTo>
                <a:cubicBezTo>
                  <a:pt x="586611" y="616237"/>
                  <a:pt x="568925" y="629553"/>
                  <a:pt x="548084" y="639023"/>
                </a:cubicBezTo>
                <a:cubicBezTo>
                  <a:pt x="527243" y="648492"/>
                  <a:pt x="502887" y="653286"/>
                  <a:pt x="475853" y="653286"/>
                </a:cubicBezTo>
                <a:lnTo>
                  <a:pt x="475852" y="653286"/>
                </a:lnTo>
                <a:lnTo>
                  <a:pt x="475852" y="653286"/>
                </a:lnTo>
                <a:cubicBezTo>
                  <a:pt x="450245" y="653286"/>
                  <a:pt x="426546" y="649203"/>
                  <a:pt x="405228" y="641213"/>
                </a:cubicBezTo>
                <a:cubicBezTo>
                  <a:pt x="383969" y="633222"/>
                  <a:pt x="365390" y="621623"/>
                  <a:pt x="349967" y="606708"/>
                </a:cubicBezTo>
                <a:cubicBezTo>
                  <a:pt x="334543" y="591793"/>
                  <a:pt x="322336" y="573800"/>
                  <a:pt x="313702" y="553145"/>
                </a:cubicBezTo>
                <a:cubicBezTo>
                  <a:pt x="305067" y="532489"/>
                  <a:pt x="300660" y="509348"/>
                  <a:pt x="300660" y="484253"/>
                </a:cubicBezTo>
                <a:cubicBezTo>
                  <a:pt x="300660" y="459159"/>
                  <a:pt x="305126" y="436135"/>
                  <a:pt x="313880" y="415835"/>
                </a:cubicBezTo>
                <a:cubicBezTo>
                  <a:pt x="322692" y="395535"/>
                  <a:pt x="335257" y="377956"/>
                  <a:pt x="351276" y="363515"/>
                </a:cubicBezTo>
                <a:cubicBezTo>
                  <a:pt x="367294" y="349075"/>
                  <a:pt x="386410" y="337770"/>
                  <a:pt x="407967" y="329898"/>
                </a:cubicBezTo>
                <a:cubicBezTo>
                  <a:pt x="429523" y="322027"/>
                  <a:pt x="453282" y="318061"/>
                  <a:pt x="478590" y="318061"/>
                </a:cubicBezTo>
                <a:close/>
                <a:moveTo>
                  <a:pt x="255562" y="134765"/>
                </a:moveTo>
                <a:lnTo>
                  <a:pt x="255581" y="134823"/>
                </a:lnTo>
                <a:lnTo>
                  <a:pt x="255581" y="134765"/>
                </a:lnTo>
                <a:close/>
                <a:moveTo>
                  <a:pt x="1446549" y="98484"/>
                </a:moveTo>
                <a:cubicBezTo>
                  <a:pt x="1436903" y="98484"/>
                  <a:pt x="1428268" y="100733"/>
                  <a:pt x="1420883" y="105113"/>
                </a:cubicBezTo>
                <a:cubicBezTo>
                  <a:pt x="1413500" y="109493"/>
                  <a:pt x="1407545" y="115648"/>
                  <a:pt x="1403317" y="123461"/>
                </a:cubicBezTo>
                <a:cubicBezTo>
                  <a:pt x="1399029" y="131273"/>
                  <a:pt x="1396885" y="140446"/>
                  <a:pt x="1396885" y="150568"/>
                </a:cubicBezTo>
                <a:cubicBezTo>
                  <a:pt x="1396885" y="160688"/>
                  <a:pt x="1399029" y="169803"/>
                  <a:pt x="1403317" y="177497"/>
                </a:cubicBezTo>
                <a:cubicBezTo>
                  <a:pt x="1407545" y="185190"/>
                  <a:pt x="1413500" y="191346"/>
                  <a:pt x="1420883" y="195726"/>
                </a:cubicBezTo>
                <a:cubicBezTo>
                  <a:pt x="1428208" y="200106"/>
                  <a:pt x="1436903" y="202355"/>
                  <a:pt x="1446549" y="202355"/>
                </a:cubicBezTo>
                <a:cubicBezTo>
                  <a:pt x="1456196" y="202355"/>
                  <a:pt x="1464830" y="200106"/>
                  <a:pt x="1472215" y="195726"/>
                </a:cubicBezTo>
                <a:cubicBezTo>
                  <a:pt x="1479598" y="191346"/>
                  <a:pt x="1485434" y="185250"/>
                  <a:pt x="1489603" y="177556"/>
                </a:cubicBezTo>
                <a:lnTo>
                  <a:pt x="1495907" y="150597"/>
                </a:lnTo>
                <a:lnTo>
                  <a:pt x="1495907" y="150597"/>
                </a:lnTo>
                <a:lnTo>
                  <a:pt x="1495907" y="150597"/>
                </a:lnTo>
                <a:lnTo>
                  <a:pt x="1495914" y="150626"/>
                </a:lnTo>
                <a:lnTo>
                  <a:pt x="1495914" y="150568"/>
                </a:lnTo>
                <a:lnTo>
                  <a:pt x="1495907" y="150597"/>
                </a:lnTo>
                <a:lnTo>
                  <a:pt x="1495907" y="150597"/>
                </a:lnTo>
                <a:lnTo>
                  <a:pt x="1495907" y="150597"/>
                </a:lnTo>
                <a:lnTo>
                  <a:pt x="1489603" y="123461"/>
                </a:lnTo>
                <a:cubicBezTo>
                  <a:pt x="1485434" y="115648"/>
                  <a:pt x="1479598" y="109493"/>
                  <a:pt x="1472215" y="105113"/>
                </a:cubicBezTo>
                <a:cubicBezTo>
                  <a:pt x="1464830" y="100733"/>
                  <a:pt x="1456196" y="98484"/>
                  <a:pt x="1446549" y="98484"/>
                </a:cubicBezTo>
                <a:close/>
                <a:moveTo>
                  <a:pt x="1247896" y="98484"/>
                </a:moveTo>
                <a:cubicBezTo>
                  <a:pt x="1238249" y="98484"/>
                  <a:pt x="1229613" y="100733"/>
                  <a:pt x="1222230" y="105113"/>
                </a:cubicBezTo>
                <a:cubicBezTo>
                  <a:pt x="1214846" y="109493"/>
                  <a:pt x="1208891" y="115648"/>
                  <a:pt x="1204663" y="123461"/>
                </a:cubicBezTo>
                <a:cubicBezTo>
                  <a:pt x="1200376" y="131273"/>
                  <a:pt x="1198232" y="140446"/>
                  <a:pt x="1198232" y="150568"/>
                </a:cubicBezTo>
                <a:cubicBezTo>
                  <a:pt x="1198232" y="160688"/>
                  <a:pt x="1200376" y="169803"/>
                  <a:pt x="1204663" y="177497"/>
                </a:cubicBezTo>
                <a:cubicBezTo>
                  <a:pt x="1208891" y="185190"/>
                  <a:pt x="1214846" y="191346"/>
                  <a:pt x="1222230" y="195726"/>
                </a:cubicBezTo>
                <a:cubicBezTo>
                  <a:pt x="1229613" y="200106"/>
                  <a:pt x="1238249" y="202355"/>
                  <a:pt x="1247896" y="202355"/>
                </a:cubicBezTo>
                <a:cubicBezTo>
                  <a:pt x="1257543" y="202355"/>
                  <a:pt x="1266177" y="200106"/>
                  <a:pt x="1273560" y="195726"/>
                </a:cubicBezTo>
                <a:cubicBezTo>
                  <a:pt x="1280945" y="191346"/>
                  <a:pt x="1286781" y="185250"/>
                  <a:pt x="1290950" y="177556"/>
                </a:cubicBezTo>
                <a:cubicBezTo>
                  <a:pt x="1295117" y="169803"/>
                  <a:pt x="1297261" y="160747"/>
                  <a:pt x="1297261" y="150568"/>
                </a:cubicBezTo>
                <a:lnTo>
                  <a:pt x="1297321" y="150626"/>
                </a:lnTo>
                <a:cubicBezTo>
                  <a:pt x="1297321" y="140387"/>
                  <a:pt x="1295177" y="131273"/>
                  <a:pt x="1291009" y="123461"/>
                </a:cubicBezTo>
                <a:cubicBezTo>
                  <a:pt x="1286840" y="115648"/>
                  <a:pt x="1281005" y="109493"/>
                  <a:pt x="1273620" y="105113"/>
                </a:cubicBezTo>
                <a:cubicBezTo>
                  <a:pt x="1266177" y="100733"/>
                  <a:pt x="1257543" y="98484"/>
                  <a:pt x="1247896" y="98484"/>
                </a:cubicBezTo>
                <a:close/>
                <a:moveTo>
                  <a:pt x="969806" y="98484"/>
                </a:moveTo>
                <a:cubicBezTo>
                  <a:pt x="960159" y="98484"/>
                  <a:pt x="951525" y="100733"/>
                  <a:pt x="944140" y="105113"/>
                </a:cubicBezTo>
                <a:cubicBezTo>
                  <a:pt x="936757" y="109493"/>
                  <a:pt x="930802" y="115648"/>
                  <a:pt x="926573" y="123461"/>
                </a:cubicBezTo>
                <a:cubicBezTo>
                  <a:pt x="922286" y="131273"/>
                  <a:pt x="920142" y="140446"/>
                  <a:pt x="920142" y="150568"/>
                </a:cubicBezTo>
                <a:cubicBezTo>
                  <a:pt x="920142" y="160688"/>
                  <a:pt x="922286" y="169743"/>
                  <a:pt x="926573" y="177497"/>
                </a:cubicBezTo>
                <a:cubicBezTo>
                  <a:pt x="930802" y="185190"/>
                  <a:pt x="936757" y="191346"/>
                  <a:pt x="944140" y="195726"/>
                </a:cubicBezTo>
                <a:cubicBezTo>
                  <a:pt x="951465" y="200106"/>
                  <a:pt x="960159" y="202355"/>
                  <a:pt x="969806" y="202355"/>
                </a:cubicBezTo>
                <a:cubicBezTo>
                  <a:pt x="979452" y="202355"/>
                  <a:pt x="988087" y="200106"/>
                  <a:pt x="995472" y="195726"/>
                </a:cubicBezTo>
                <a:cubicBezTo>
                  <a:pt x="1002855" y="191346"/>
                  <a:pt x="1008691" y="185250"/>
                  <a:pt x="1012859" y="177556"/>
                </a:cubicBezTo>
                <a:lnTo>
                  <a:pt x="1019164" y="150597"/>
                </a:lnTo>
                <a:lnTo>
                  <a:pt x="1019171" y="150626"/>
                </a:lnTo>
                <a:lnTo>
                  <a:pt x="1019171" y="150568"/>
                </a:lnTo>
                <a:lnTo>
                  <a:pt x="1019164" y="150597"/>
                </a:lnTo>
                <a:lnTo>
                  <a:pt x="1012859" y="123461"/>
                </a:lnTo>
                <a:cubicBezTo>
                  <a:pt x="1008691" y="115648"/>
                  <a:pt x="1002855" y="109493"/>
                  <a:pt x="995472" y="105113"/>
                </a:cubicBezTo>
                <a:cubicBezTo>
                  <a:pt x="988087" y="100733"/>
                  <a:pt x="979452" y="98484"/>
                  <a:pt x="969806" y="98484"/>
                </a:cubicBezTo>
                <a:close/>
                <a:moveTo>
                  <a:pt x="212588" y="97360"/>
                </a:moveTo>
                <a:lnTo>
                  <a:pt x="185315" y="104225"/>
                </a:lnTo>
                <a:cubicBezTo>
                  <a:pt x="177872" y="108782"/>
                  <a:pt x="172096" y="115115"/>
                  <a:pt x="168225" y="123046"/>
                </a:cubicBezTo>
                <a:cubicBezTo>
                  <a:pt x="166437" y="126597"/>
                  <a:pt x="165128" y="130444"/>
                  <a:pt x="164116" y="134765"/>
                </a:cubicBezTo>
                <a:lnTo>
                  <a:pt x="255562" y="134765"/>
                </a:lnTo>
                <a:lnTo>
                  <a:pt x="251056" y="120738"/>
                </a:lnTo>
                <a:cubicBezTo>
                  <a:pt x="247542" y="113576"/>
                  <a:pt x="242541" y="107836"/>
                  <a:pt x="236109" y="103633"/>
                </a:cubicBezTo>
                <a:close/>
                <a:moveTo>
                  <a:pt x="1683254" y="68825"/>
                </a:moveTo>
                <a:cubicBezTo>
                  <a:pt x="1686960" y="67426"/>
                  <a:pt x="1691322" y="67737"/>
                  <a:pt x="1696235" y="69779"/>
                </a:cubicBezTo>
                <a:cubicBezTo>
                  <a:pt x="1701356" y="71910"/>
                  <a:pt x="1704691" y="74928"/>
                  <a:pt x="1706180" y="78657"/>
                </a:cubicBezTo>
                <a:cubicBezTo>
                  <a:pt x="1707609" y="82385"/>
                  <a:pt x="1707252" y="86765"/>
                  <a:pt x="1704989" y="91678"/>
                </a:cubicBezTo>
                <a:lnTo>
                  <a:pt x="1614952" y="291902"/>
                </a:lnTo>
                <a:cubicBezTo>
                  <a:pt x="1611557" y="300662"/>
                  <a:pt x="1605483" y="302496"/>
                  <a:pt x="1601017" y="302496"/>
                </a:cubicBezTo>
                <a:cubicBezTo>
                  <a:pt x="1598696" y="302496"/>
                  <a:pt x="1596075" y="301845"/>
                  <a:pt x="1592919" y="300543"/>
                </a:cubicBezTo>
                <a:cubicBezTo>
                  <a:pt x="1587858" y="298294"/>
                  <a:pt x="1584582" y="295217"/>
                  <a:pt x="1583154" y="291429"/>
                </a:cubicBezTo>
                <a:cubicBezTo>
                  <a:pt x="1581784" y="287700"/>
                  <a:pt x="1582200" y="283438"/>
                  <a:pt x="1584463" y="278644"/>
                </a:cubicBezTo>
                <a:lnTo>
                  <a:pt x="1613226" y="214310"/>
                </a:lnTo>
                <a:lnTo>
                  <a:pt x="1547722" y="91204"/>
                </a:lnTo>
                <a:cubicBezTo>
                  <a:pt x="1545399" y="86824"/>
                  <a:pt x="1545101" y="82445"/>
                  <a:pt x="1546889" y="78302"/>
                </a:cubicBezTo>
                <a:cubicBezTo>
                  <a:pt x="1548615" y="74277"/>
                  <a:pt x="1551712" y="71318"/>
                  <a:pt x="1556118" y="69483"/>
                </a:cubicBezTo>
                <a:cubicBezTo>
                  <a:pt x="1560466" y="67648"/>
                  <a:pt x="1564752" y="67470"/>
                  <a:pt x="1568742" y="69010"/>
                </a:cubicBezTo>
                <a:cubicBezTo>
                  <a:pt x="1572732" y="70489"/>
                  <a:pt x="1575769" y="73449"/>
                  <a:pt x="1577853" y="77769"/>
                </a:cubicBezTo>
                <a:lnTo>
                  <a:pt x="1629184" y="178680"/>
                </a:lnTo>
                <a:lnTo>
                  <a:pt x="1674203" y="78124"/>
                </a:lnTo>
                <a:cubicBezTo>
                  <a:pt x="1676495" y="73330"/>
                  <a:pt x="1679547" y="70223"/>
                  <a:pt x="1683254" y="68825"/>
                </a:cubicBezTo>
                <a:close/>
                <a:moveTo>
                  <a:pt x="1446549" y="66938"/>
                </a:moveTo>
                <a:cubicBezTo>
                  <a:pt x="1462627" y="66938"/>
                  <a:pt x="1477158" y="70549"/>
                  <a:pt x="1489663" y="77650"/>
                </a:cubicBezTo>
                <a:lnTo>
                  <a:pt x="1489722" y="77769"/>
                </a:lnTo>
                <a:cubicBezTo>
                  <a:pt x="1502227" y="84871"/>
                  <a:pt x="1512230" y="94815"/>
                  <a:pt x="1519436" y="107303"/>
                </a:cubicBezTo>
                <a:cubicBezTo>
                  <a:pt x="1526582" y="119790"/>
                  <a:pt x="1530214" y="134409"/>
                  <a:pt x="1530214" y="150685"/>
                </a:cubicBezTo>
                <a:lnTo>
                  <a:pt x="1530214" y="213540"/>
                </a:lnTo>
                <a:cubicBezTo>
                  <a:pt x="1530214" y="229225"/>
                  <a:pt x="1526642" y="243725"/>
                  <a:pt x="1519556" y="256568"/>
                </a:cubicBezTo>
                <a:cubicBezTo>
                  <a:pt x="1512528" y="269412"/>
                  <a:pt x="1502524" y="279768"/>
                  <a:pt x="1489900" y="287405"/>
                </a:cubicBezTo>
                <a:cubicBezTo>
                  <a:pt x="1477275" y="294979"/>
                  <a:pt x="1462449" y="298826"/>
                  <a:pt x="1445953" y="298826"/>
                </a:cubicBezTo>
                <a:cubicBezTo>
                  <a:pt x="1431722" y="298826"/>
                  <a:pt x="1418204" y="295986"/>
                  <a:pt x="1405699" y="290423"/>
                </a:cubicBezTo>
                <a:cubicBezTo>
                  <a:pt x="1393194" y="284859"/>
                  <a:pt x="1382416" y="276574"/>
                  <a:pt x="1373781" y="265801"/>
                </a:cubicBezTo>
                <a:cubicBezTo>
                  <a:pt x="1370744" y="261836"/>
                  <a:pt x="1369613" y="257692"/>
                  <a:pt x="1370446" y="253431"/>
                </a:cubicBezTo>
                <a:cubicBezTo>
                  <a:pt x="1371280" y="249229"/>
                  <a:pt x="1373603" y="245855"/>
                  <a:pt x="1377294" y="243311"/>
                </a:cubicBezTo>
                <a:cubicBezTo>
                  <a:pt x="1381463" y="240588"/>
                  <a:pt x="1385869" y="239642"/>
                  <a:pt x="1390394" y="240588"/>
                </a:cubicBezTo>
                <a:cubicBezTo>
                  <a:pt x="1394861" y="241476"/>
                  <a:pt x="1398553" y="243784"/>
                  <a:pt x="1401292" y="247394"/>
                </a:cubicBezTo>
                <a:cubicBezTo>
                  <a:pt x="1406294" y="253609"/>
                  <a:pt x="1412666" y="258522"/>
                  <a:pt x="1420288" y="262013"/>
                </a:cubicBezTo>
                <a:cubicBezTo>
                  <a:pt x="1427970" y="265505"/>
                  <a:pt x="1436783" y="267281"/>
                  <a:pt x="1446549" y="267281"/>
                </a:cubicBezTo>
                <a:cubicBezTo>
                  <a:pt x="1455422" y="267281"/>
                  <a:pt x="1463759" y="265151"/>
                  <a:pt x="1471262" y="260948"/>
                </a:cubicBezTo>
                <a:cubicBezTo>
                  <a:pt x="1478705" y="256746"/>
                  <a:pt x="1484779" y="250413"/>
                  <a:pt x="1489185" y="242186"/>
                </a:cubicBezTo>
                <a:cubicBezTo>
                  <a:pt x="1493651" y="233900"/>
                  <a:pt x="1495914" y="223543"/>
                  <a:pt x="1495914" y="211410"/>
                </a:cubicBezTo>
                <a:lnTo>
                  <a:pt x="1495914" y="205846"/>
                </a:lnTo>
                <a:cubicBezTo>
                  <a:pt x="1490853" y="212772"/>
                  <a:pt x="1484839" y="218572"/>
                  <a:pt x="1478049" y="223069"/>
                </a:cubicBezTo>
                <a:cubicBezTo>
                  <a:pt x="1467272" y="230231"/>
                  <a:pt x="1454648" y="233842"/>
                  <a:pt x="1440654" y="233842"/>
                </a:cubicBezTo>
                <a:cubicBezTo>
                  <a:pt x="1425468" y="233842"/>
                  <a:pt x="1411891" y="230231"/>
                  <a:pt x="1400220" y="223128"/>
                </a:cubicBezTo>
                <a:cubicBezTo>
                  <a:pt x="1388608" y="216026"/>
                  <a:pt x="1379319" y="206083"/>
                  <a:pt x="1372650" y="193595"/>
                </a:cubicBezTo>
                <a:cubicBezTo>
                  <a:pt x="1366039" y="181166"/>
                  <a:pt x="1362645" y="166843"/>
                  <a:pt x="1362645" y="150568"/>
                </a:cubicBezTo>
                <a:cubicBezTo>
                  <a:pt x="1362645" y="134292"/>
                  <a:pt x="1366218" y="119673"/>
                  <a:pt x="1373424" y="107185"/>
                </a:cubicBezTo>
                <a:cubicBezTo>
                  <a:pt x="1380628" y="94696"/>
                  <a:pt x="1390633" y="84753"/>
                  <a:pt x="1403138" y="77650"/>
                </a:cubicBezTo>
                <a:cubicBezTo>
                  <a:pt x="1415644" y="70549"/>
                  <a:pt x="1430470" y="66938"/>
                  <a:pt x="1446549" y="66938"/>
                </a:cubicBezTo>
                <a:close/>
                <a:moveTo>
                  <a:pt x="1247896" y="66938"/>
                </a:moveTo>
                <a:cubicBezTo>
                  <a:pt x="1263973" y="66938"/>
                  <a:pt x="1278503" y="70549"/>
                  <a:pt x="1291009" y="77650"/>
                </a:cubicBezTo>
                <a:cubicBezTo>
                  <a:pt x="1303514" y="84753"/>
                  <a:pt x="1313517" y="94696"/>
                  <a:pt x="1320723" y="107185"/>
                </a:cubicBezTo>
                <a:cubicBezTo>
                  <a:pt x="1327869" y="119673"/>
                  <a:pt x="1331501" y="134409"/>
                  <a:pt x="1331501" y="150568"/>
                </a:cubicBezTo>
                <a:cubicBezTo>
                  <a:pt x="1331501" y="166725"/>
                  <a:pt x="1327929" y="181166"/>
                  <a:pt x="1320843" y="193654"/>
                </a:cubicBezTo>
                <a:cubicBezTo>
                  <a:pt x="1313815" y="206143"/>
                  <a:pt x="1303870" y="216085"/>
                  <a:pt x="1291306" y="223188"/>
                </a:cubicBezTo>
                <a:cubicBezTo>
                  <a:pt x="1278801" y="230290"/>
                  <a:pt x="1264152" y="233900"/>
                  <a:pt x="1247896" y="233900"/>
                </a:cubicBezTo>
                <a:cubicBezTo>
                  <a:pt x="1231638" y="233900"/>
                  <a:pt x="1216989" y="230290"/>
                  <a:pt x="1204484" y="223188"/>
                </a:cubicBezTo>
                <a:cubicBezTo>
                  <a:pt x="1191920" y="216085"/>
                  <a:pt x="1181915" y="206143"/>
                  <a:pt x="1174770" y="193654"/>
                </a:cubicBezTo>
                <a:cubicBezTo>
                  <a:pt x="1167564" y="181166"/>
                  <a:pt x="1163932" y="166843"/>
                  <a:pt x="1163932" y="150568"/>
                </a:cubicBezTo>
                <a:cubicBezTo>
                  <a:pt x="1163932" y="134292"/>
                  <a:pt x="1167564" y="119673"/>
                  <a:pt x="1174770" y="107185"/>
                </a:cubicBezTo>
                <a:cubicBezTo>
                  <a:pt x="1181975" y="94696"/>
                  <a:pt x="1191980" y="84753"/>
                  <a:pt x="1204484" y="77650"/>
                </a:cubicBezTo>
                <a:cubicBezTo>
                  <a:pt x="1216989" y="70549"/>
                  <a:pt x="1231817" y="66938"/>
                  <a:pt x="1247896" y="66938"/>
                </a:cubicBezTo>
                <a:close/>
                <a:moveTo>
                  <a:pt x="969806" y="66938"/>
                </a:moveTo>
                <a:cubicBezTo>
                  <a:pt x="985884" y="66938"/>
                  <a:pt x="1000413" y="70549"/>
                  <a:pt x="1012919" y="77650"/>
                </a:cubicBezTo>
                <a:cubicBezTo>
                  <a:pt x="1025484" y="84753"/>
                  <a:pt x="1035429" y="94696"/>
                  <a:pt x="1042633" y="107185"/>
                </a:cubicBezTo>
                <a:cubicBezTo>
                  <a:pt x="1049780" y="119673"/>
                  <a:pt x="1053412" y="134409"/>
                  <a:pt x="1053412" y="150568"/>
                </a:cubicBezTo>
                <a:cubicBezTo>
                  <a:pt x="1053412" y="166725"/>
                  <a:pt x="1049839" y="181225"/>
                  <a:pt x="1042752" y="193654"/>
                </a:cubicBezTo>
                <a:cubicBezTo>
                  <a:pt x="1035726" y="206143"/>
                  <a:pt x="1025781" y="216085"/>
                  <a:pt x="1013216" y="223188"/>
                </a:cubicBezTo>
                <a:cubicBezTo>
                  <a:pt x="1000711" y="230290"/>
                  <a:pt x="986062" y="233900"/>
                  <a:pt x="969806" y="233900"/>
                </a:cubicBezTo>
                <a:cubicBezTo>
                  <a:pt x="953548" y="233900"/>
                  <a:pt x="938901" y="230290"/>
                  <a:pt x="926394" y="223188"/>
                </a:cubicBezTo>
                <a:cubicBezTo>
                  <a:pt x="913830" y="216085"/>
                  <a:pt x="903827" y="206143"/>
                  <a:pt x="896680" y="193654"/>
                </a:cubicBezTo>
                <a:cubicBezTo>
                  <a:pt x="889534" y="181166"/>
                  <a:pt x="885902" y="166843"/>
                  <a:pt x="885902" y="150568"/>
                </a:cubicBezTo>
                <a:cubicBezTo>
                  <a:pt x="885902" y="134292"/>
                  <a:pt x="889534" y="119673"/>
                  <a:pt x="896680" y="107185"/>
                </a:cubicBezTo>
                <a:cubicBezTo>
                  <a:pt x="903885" y="94696"/>
                  <a:pt x="913889" y="84753"/>
                  <a:pt x="926394" y="77650"/>
                </a:cubicBezTo>
                <a:cubicBezTo>
                  <a:pt x="938901" y="70549"/>
                  <a:pt x="953727" y="66938"/>
                  <a:pt x="969806" y="66938"/>
                </a:cubicBezTo>
                <a:close/>
                <a:moveTo>
                  <a:pt x="389684" y="66938"/>
                </a:moveTo>
                <a:lnTo>
                  <a:pt x="389685" y="66938"/>
                </a:lnTo>
                <a:lnTo>
                  <a:pt x="389685" y="66938"/>
                </a:lnTo>
                <a:cubicBezTo>
                  <a:pt x="401594" y="66938"/>
                  <a:pt x="412671" y="69246"/>
                  <a:pt x="422615" y="73745"/>
                </a:cubicBezTo>
                <a:lnTo>
                  <a:pt x="422556" y="73804"/>
                </a:lnTo>
                <a:cubicBezTo>
                  <a:pt x="432441" y="78302"/>
                  <a:pt x="441493" y="85109"/>
                  <a:pt x="449352" y="94104"/>
                </a:cubicBezTo>
                <a:cubicBezTo>
                  <a:pt x="452687" y="97833"/>
                  <a:pt x="453878" y="101858"/>
                  <a:pt x="452866" y="106060"/>
                </a:cubicBezTo>
                <a:cubicBezTo>
                  <a:pt x="451973" y="110026"/>
                  <a:pt x="449412" y="113458"/>
                  <a:pt x="445364" y="116358"/>
                </a:cubicBezTo>
                <a:cubicBezTo>
                  <a:pt x="441968" y="118667"/>
                  <a:pt x="438157" y="119495"/>
                  <a:pt x="434108" y="118667"/>
                </a:cubicBezTo>
                <a:lnTo>
                  <a:pt x="434108" y="118667"/>
                </a:lnTo>
                <a:lnTo>
                  <a:pt x="434108" y="118667"/>
                </a:lnTo>
                <a:cubicBezTo>
                  <a:pt x="430238" y="117897"/>
                  <a:pt x="426724" y="115944"/>
                  <a:pt x="423628" y="112866"/>
                </a:cubicBezTo>
                <a:lnTo>
                  <a:pt x="389626" y="98484"/>
                </a:lnTo>
                <a:lnTo>
                  <a:pt x="364555" y="104935"/>
                </a:lnTo>
                <a:cubicBezTo>
                  <a:pt x="357350" y="109197"/>
                  <a:pt x="351633" y="115293"/>
                  <a:pt x="347584" y="122928"/>
                </a:cubicBezTo>
                <a:cubicBezTo>
                  <a:pt x="343476" y="130621"/>
                  <a:pt x="341391" y="139914"/>
                  <a:pt x="341391" y="150508"/>
                </a:cubicBezTo>
                <a:cubicBezTo>
                  <a:pt x="341391" y="160510"/>
                  <a:pt x="343535" y="169506"/>
                  <a:pt x="347703" y="177200"/>
                </a:cubicBezTo>
                <a:cubicBezTo>
                  <a:pt x="351871" y="184895"/>
                  <a:pt x="357766" y="191049"/>
                  <a:pt x="365151" y="195548"/>
                </a:cubicBezTo>
                <a:lnTo>
                  <a:pt x="391114" y="202295"/>
                </a:lnTo>
                <a:lnTo>
                  <a:pt x="408383" y="199928"/>
                </a:lnTo>
                <a:cubicBezTo>
                  <a:pt x="413266" y="198389"/>
                  <a:pt x="417733" y="195962"/>
                  <a:pt x="421781" y="192708"/>
                </a:cubicBezTo>
                <a:cubicBezTo>
                  <a:pt x="425355" y="189867"/>
                  <a:pt x="429106" y="188269"/>
                  <a:pt x="432976" y="187913"/>
                </a:cubicBezTo>
                <a:lnTo>
                  <a:pt x="432976" y="187913"/>
                </a:lnTo>
                <a:cubicBezTo>
                  <a:pt x="437086" y="187558"/>
                  <a:pt x="440658" y="188683"/>
                  <a:pt x="443815" y="191287"/>
                </a:cubicBezTo>
                <a:cubicBezTo>
                  <a:pt x="447626" y="194423"/>
                  <a:pt x="449829" y="198094"/>
                  <a:pt x="450305" y="202177"/>
                </a:cubicBezTo>
                <a:cubicBezTo>
                  <a:pt x="450782" y="206438"/>
                  <a:pt x="449352" y="210226"/>
                  <a:pt x="446018" y="213540"/>
                </a:cubicBezTo>
                <a:cubicBezTo>
                  <a:pt x="431369" y="227035"/>
                  <a:pt x="412909" y="233841"/>
                  <a:pt x="391114" y="233841"/>
                </a:cubicBezTo>
                <a:cubicBezTo>
                  <a:pt x="374977" y="233841"/>
                  <a:pt x="360387" y="230112"/>
                  <a:pt x="347823" y="222833"/>
                </a:cubicBezTo>
                <a:cubicBezTo>
                  <a:pt x="335198" y="215552"/>
                  <a:pt x="325135" y="205551"/>
                  <a:pt x="317989" y="193062"/>
                </a:cubicBezTo>
                <a:cubicBezTo>
                  <a:pt x="310842" y="180574"/>
                  <a:pt x="307210" y="166666"/>
                  <a:pt x="307210" y="150568"/>
                </a:cubicBezTo>
                <a:cubicBezTo>
                  <a:pt x="307210" y="134468"/>
                  <a:pt x="310782" y="119909"/>
                  <a:pt x="317869" y="107361"/>
                </a:cubicBezTo>
                <a:cubicBezTo>
                  <a:pt x="324897" y="94756"/>
                  <a:pt x="334781" y="84753"/>
                  <a:pt x="347108" y="77650"/>
                </a:cubicBezTo>
                <a:cubicBezTo>
                  <a:pt x="359434" y="70549"/>
                  <a:pt x="373786" y="66938"/>
                  <a:pt x="389684" y="66938"/>
                </a:cubicBezTo>
                <a:close/>
                <a:moveTo>
                  <a:pt x="212587" y="66938"/>
                </a:moveTo>
                <a:lnTo>
                  <a:pt x="212588" y="66938"/>
                </a:lnTo>
                <a:cubicBezTo>
                  <a:pt x="228308" y="66938"/>
                  <a:pt x="242064" y="70430"/>
                  <a:pt x="253439" y="77355"/>
                </a:cubicBezTo>
                <a:lnTo>
                  <a:pt x="253498" y="77414"/>
                </a:lnTo>
                <a:cubicBezTo>
                  <a:pt x="264871" y="84339"/>
                  <a:pt x="273684" y="94045"/>
                  <a:pt x="279638" y="106179"/>
                </a:cubicBezTo>
                <a:cubicBezTo>
                  <a:pt x="285535" y="118252"/>
                  <a:pt x="288571" y="132279"/>
                  <a:pt x="288571" y="147963"/>
                </a:cubicBezTo>
                <a:cubicBezTo>
                  <a:pt x="288571" y="152343"/>
                  <a:pt x="287023" y="156071"/>
                  <a:pt x="283927" y="159031"/>
                </a:cubicBezTo>
                <a:cubicBezTo>
                  <a:pt x="280830" y="161930"/>
                  <a:pt x="276959" y="163411"/>
                  <a:pt x="272314" y="163411"/>
                </a:cubicBezTo>
                <a:lnTo>
                  <a:pt x="272314" y="163411"/>
                </a:lnTo>
                <a:lnTo>
                  <a:pt x="163758" y="163411"/>
                </a:lnTo>
                <a:cubicBezTo>
                  <a:pt x="164949" y="168678"/>
                  <a:pt x="166795" y="173472"/>
                  <a:pt x="169296" y="177733"/>
                </a:cubicBezTo>
                <a:cubicBezTo>
                  <a:pt x="173940" y="185664"/>
                  <a:pt x="180432" y="191997"/>
                  <a:pt x="188590" y="196554"/>
                </a:cubicBezTo>
                <a:lnTo>
                  <a:pt x="216994" y="203478"/>
                </a:lnTo>
                <a:lnTo>
                  <a:pt x="234800" y="200282"/>
                </a:lnTo>
                <a:cubicBezTo>
                  <a:pt x="240872" y="198152"/>
                  <a:pt x="245875" y="195666"/>
                  <a:pt x="249567" y="192944"/>
                </a:cubicBezTo>
                <a:cubicBezTo>
                  <a:pt x="252961" y="190457"/>
                  <a:pt x="256653" y="189156"/>
                  <a:pt x="260643" y="189037"/>
                </a:cubicBezTo>
                <a:lnTo>
                  <a:pt x="260643" y="189037"/>
                </a:lnTo>
                <a:lnTo>
                  <a:pt x="260643" y="189037"/>
                </a:lnTo>
                <a:cubicBezTo>
                  <a:pt x="264692" y="188859"/>
                  <a:pt x="268325" y="190162"/>
                  <a:pt x="271421" y="192707"/>
                </a:cubicBezTo>
                <a:cubicBezTo>
                  <a:pt x="275352" y="196140"/>
                  <a:pt x="277436" y="199987"/>
                  <a:pt x="277674" y="204189"/>
                </a:cubicBezTo>
                <a:cubicBezTo>
                  <a:pt x="277912" y="208628"/>
                  <a:pt x="275946" y="212416"/>
                  <a:pt x="271897" y="215493"/>
                </a:cubicBezTo>
                <a:cubicBezTo>
                  <a:pt x="265050" y="220879"/>
                  <a:pt x="256416" y="225318"/>
                  <a:pt x="246232" y="228692"/>
                </a:cubicBezTo>
                <a:cubicBezTo>
                  <a:pt x="236109" y="232066"/>
                  <a:pt x="226283" y="233781"/>
                  <a:pt x="216994" y="233781"/>
                </a:cubicBezTo>
                <a:lnTo>
                  <a:pt x="216994" y="233781"/>
                </a:lnTo>
                <a:cubicBezTo>
                  <a:pt x="200321" y="233781"/>
                  <a:pt x="185255" y="230231"/>
                  <a:pt x="172274" y="223128"/>
                </a:cubicBezTo>
                <a:cubicBezTo>
                  <a:pt x="159292" y="216026"/>
                  <a:pt x="148930" y="206083"/>
                  <a:pt x="141547" y="193595"/>
                </a:cubicBezTo>
                <a:cubicBezTo>
                  <a:pt x="134162" y="181107"/>
                  <a:pt x="130411" y="166784"/>
                  <a:pt x="130411" y="150507"/>
                </a:cubicBezTo>
                <a:cubicBezTo>
                  <a:pt x="130411" y="134232"/>
                  <a:pt x="133925" y="119673"/>
                  <a:pt x="140891" y="107185"/>
                </a:cubicBezTo>
                <a:cubicBezTo>
                  <a:pt x="147858" y="94696"/>
                  <a:pt x="157684" y="84753"/>
                  <a:pt x="170010" y="77650"/>
                </a:cubicBezTo>
                <a:cubicBezTo>
                  <a:pt x="182337" y="70549"/>
                  <a:pt x="196867" y="66938"/>
                  <a:pt x="212587" y="66938"/>
                </a:cubicBezTo>
                <a:close/>
                <a:moveTo>
                  <a:pt x="776154" y="66701"/>
                </a:moveTo>
                <a:cubicBezTo>
                  <a:pt x="790090" y="66701"/>
                  <a:pt x="802772" y="69661"/>
                  <a:pt x="813789" y="75579"/>
                </a:cubicBezTo>
                <a:lnTo>
                  <a:pt x="813729" y="75461"/>
                </a:lnTo>
                <a:cubicBezTo>
                  <a:pt x="824806" y="81379"/>
                  <a:pt x="833677" y="90198"/>
                  <a:pt x="840109" y="101679"/>
                </a:cubicBezTo>
                <a:cubicBezTo>
                  <a:pt x="846481" y="113043"/>
                  <a:pt x="849696" y="127188"/>
                  <a:pt x="849696" y="143702"/>
                </a:cubicBezTo>
                <a:lnTo>
                  <a:pt x="849696" y="215316"/>
                </a:lnTo>
                <a:cubicBezTo>
                  <a:pt x="849696" y="220287"/>
                  <a:pt x="847970" y="224489"/>
                  <a:pt x="844634" y="227804"/>
                </a:cubicBezTo>
                <a:cubicBezTo>
                  <a:pt x="841301" y="231118"/>
                  <a:pt x="837013" y="232776"/>
                  <a:pt x="832010" y="232776"/>
                </a:cubicBezTo>
                <a:cubicBezTo>
                  <a:pt x="827008" y="232776"/>
                  <a:pt x="822721" y="231118"/>
                  <a:pt x="819386" y="227804"/>
                </a:cubicBezTo>
                <a:cubicBezTo>
                  <a:pt x="815993" y="224489"/>
                  <a:pt x="814324" y="220287"/>
                  <a:pt x="814324" y="215316"/>
                </a:cubicBezTo>
                <a:lnTo>
                  <a:pt x="814324" y="143702"/>
                </a:lnTo>
                <a:cubicBezTo>
                  <a:pt x="814324" y="133166"/>
                  <a:pt x="812359" y="124525"/>
                  <a:pt x="808489" y="117955"/>
                </a:cubicBezTo>
                <a:cubicBezTo>
                  <a:pt x="804678" y="111504"/>
                  <a:pt x="799438" y="106592"/>
                  <a:pt x="793006" y="103455"/>
                </a:cubicBezTo>
                <a:cubicBezTo>
                  <a:pt x="786456" y="100259"/>
                  <a:pt x="778775" y="98661"/>
                  <a:pt x="770199" y="98661"/>
                </a:cubicBezTo>
                <a:cubicBezTo>
                  <a:pt x="762399" y="98661"/>
                  <a:pt x="755312" y="100259"/>
                  <a:pt x="749060" y="103337"/>
                </a:cubicBezTo>
                <a:cubicBezTo>
                  <a:pt x="742807" y="106474"/>
                  <a:pt x="737805" y="110617"/>
                  <a:pt x="734173" y="115765"/>
                </a:cubicBezTo>
                <a:cubicBezTo>
                  <a:pt x="730600" y="120797"/>
                  <a:pt x="728813" y="126715"/>
                  <a:pt x="728813" y="133285"/>
                </a:cubicBezTo>
                <a:lnTo>
                  <a:pt x="728813" y="215375"/>
                </a:lnTo>
                <a:cubicBezTo>
                  <a:pt x="728813" y="220347"/>
                  <a:pt x="727146" y="224549"/>
                  <a:pt x="723931" y="227863"/>
                </a:cubicBezTo>
                <a:cubicBezTo>
                  <a:pt x="720656" y="231178"/>
                  <a:pt x="716071" y="232893"/>
                  <a:pt x="711069" y="232893"/>
                </a:cubicBezTo>
                <a:cubicBezTo>
                  <a:pt x="706066" y="232893"/>
                  <a:pt x="701778" y="231236"/>
                  <a:pt x="698444" y="227921"/>
                </a:cubicBezTo>
                <a:cubicBezTo>
                  <a:pt x="695109" y="224608"/>
                  <a:pt x="693382" y="220405"/>
                  <a:pt x="693382" y="215434"/>
                </a:cubicBezTo>
                <a:lnTo>
                  <a:pt x="693382" y="85640"/>
                </a:lnTo>
                <a:cubicBezTo>
                  <a:pt x="693382" y="80492"/>
                  <a:pt x="695049" y="76171"/>
                  <a:pt x="698444" y="72975"/>
                </a:cubicBezTo>
                <a:cubicBezTo>
                  <a:pt x="701838" y="69720"/>
                  <a:pt x="705828" y="68122"/>
                  <a:pt x="711069" y="68122"/>
                </a:cubicBezTo>
                <a:cubicBezTo>
                  <a:pt x="716308" y="68122"/>
                  <a:pt x="720596" y="69778"/>
                  <a:pt x="723872" y="72975"/>
                </a:cubicBezTo>
                <a:cubicBezTo>
                  <a:pt x="726551" y="75639"/>
                  <a:pt x="728158" y="79011"/>
                  <a:pt x="728635" y="82977"/>
                </a:cubicBezTo>
                <a:cubicBezTo>
                  <a:pt x="732148" y="80136"/>
                  <a:pt x="735840" y="77591"/>
                  <a:pt x="739830" y="75461"/>
                </a:cubicBezTo>
                <a:cubicBezTo>
                  <a:pt x="750608" y="69661"/>
                  <a:pt x="762220" y="66701"/>
                  <a:pt x="776154" y="66701"/>
                </a:cubicBezTo>
                <a:close/>
                <a:moveTo>
                  <a:pt x="44780" y="17400"/>
                </a:moveTo>
                <a:lnTo>
                  <a:pt x="44780" y="17400"/>
                </a:lnTo>
                <a:lnTo>
                  <a:pt x="44781" y="17400"/>
                </a:lnTo>
                <a:cubicBezTo>
                  <a:pt x="49842" y="17400"/>
                  <a:pt x="54070" y="18998"/>
                  <a:pt x="57286" y="22253"/>
                </a:cubicBezTo>
                <a:cubicBezTo>
                  <a:pt x="60501" y="25508"/>
                  <a:pt x="62169" y="29651"/>
                  <a:pt x="62169" y="34623"/>
                </a:cubicBezTo>
                <a:lnTo>
                  <a:pt x="62169" y="73863"/>
                </a:lnTo>
                <a:lnTo>
                  <a:pt x="84500" y="73863"/>
                </a:lnTo>
                <a:lnTo>
                  <a:pt x="84500" y="73863"/>
                </a:lnTo>
                <a:cubicBezTo>
                  <a:pt x="89323" y="73863"/>
                  <a:pt x="93313" y="75283"/>
                  <a:pt x="96351" y="78065"/>
                </a:cubicBezTo>
                <a:cubicBezTo>
                  <a:pt x="99505" y="80965"/>
                  <a:pt x="101054" y="84753"/>
                  <a:pt x="101054" y="89370"/>
                </a:cubicBezTo>
                <a:cubicBezTo>
                  <a:pt x="101054" y="93631"/>
                  <a:pt x="99447" y="97241"/>
                  <a:pt x="96351" y="100082"/>
                </a:cubicBezTo>
                <a:cubicBezTo>
                  <a:pt x="93313" y="102864"/>
                  <a:pt x="89323" y="104284"/>
                  <a:pt x="84500" y="104284"/>
                </a:cubicBezTo>
                <a:lnTo>
                  <a:pt x="84500" y="104284"/>
                </a:lnTo>
                <a:lnTo>
                  <a:pt x="62169" y="104284"/>
                </a:lnTo>
                <a:lnTo>
                  <a:pt x="62169" y="173531"/>
                </a:lnTo>
                <a:cubicBezTo>
                  <a:pt x="62169" y="180633"/>
                  <a:pt x="64194" y="186611"/>
                  <a:pt x="68065" y="191346"/>
                </a:cubicBezTo>
                <a:cubicBezTo>
                  <a:pt x="71875" y="195962"/>
                  <a:pt x="76401" y="198211"/>
                  <a:pt x="81879" y="198211"/>
                </a:cubicBezTo>
                <a:lnTo>
                  <a:pt x="91884" y="198211"/>
                </a:lnTo>
                <a:lnTo>
                  <a:pt x="91884" y="198211"/>
                </a:lnTo>
                <a:lnTo>
                  <a:pt x="91884" y="198270"/>
                </a:lnTo>
                <a:cubicBezTo>
                  <a:pt x="96172" y="198270"/>
                  <a:pt x="99863" y="199927"/>
                  <a:pt x="102841" y="203242"/>
                </a:cubicBezTo>
                <a:cubicBezTo>
                  <a:pt x="105699" y="206438"/>
                  <a:pt x="107188" y="210462"/>
                  <a:pt x="107188" y="215493"/>
                </a:cubicBezTo>
                <a:cubicBezTo>
                  <a:pt x="107188" y="220524"/>
                  <a:pt x="105282" y="224726"/>
                  <a:pt x="101412" y="227981"/>
                </a:cubicBezTo>
                <a:cubicBezTo>
                  <a:pt x="97719" y="231059"/>
                  <a:pt x="92896" y="232657"/>
                  <a:pt x="87179" y="232657"/>
                </a:cubicBezTo>
                <a:lnTo>
                  <a:pt x="87179" y="232657"/>
                </a:lnTo>
                <a:lnTo>
                  <a:pt x="81879" y="232657"/>
                </a:lnTo>
                <a:lnTo>
                  <a:pt x="81879" y="232657"/>
                </a:lnTo>
                <a:cubicBezTo>
                  <a:pt x="71578" y="232657"/>
                  <a:pt x="62228" y="229993"/>
                  <a:pt x="53952" y="224785"/>
                </a:cubicBezTo>
                <a:cubicBezTo>
                  <a:pt x="45733" y="219637"/>
                  <a:pt x="39183" y="212475"/>
                  <a:pt x="34479" y="203537"/>
                </a:cubicBezTo>
                <a:cubicBezTo>
                  <a:pt x="29775" y="194660"/>
                  <a:pt x="27392" y="184540"/>
                  <a:pt x="27392" y="173472"/>
                </a:cubicBezTo>
                <a:lnTo>
                  <a:pt x="27392" y="104225"/>
                </a:lnTo>
                <a:lnTo>
                  <a:pt x="16556" y="104225"/>
                </a:lnTo>
                <a:lnTo>
                  <a:pt x="16555" y="104225"/>
                </a:lnTo>
                <a:cubicBezTo>
                  <a:pt x="11731" y="104225"/>
                  <a:pt x="7741" y="102805"/>
                  <a:pt x="4704" y="100023"/>
                </a:cubicBezTo>
                <a:cubicBezTo>
                  <a:pt x="1549" y="97122"/>
                  <a:pt x="0" y="93572"/>
                  <a:pt x="0" y="89310"/>
                </a:cubicBezTo>
                <a:cubicBezTo>
                  <a:pt x="0" y="84693"/>
                  <a:pt x="1609" y="80905"/>
                  <a:pt x="4704" y="78065"/>
                </a:cubicBezTo>
                <a:cubicBezTo>
                  <a:pt x="7741" y="75283"/>
                  <a:pt x="11731" y="73863"/>
                  <a:pt x="16555" y="73863"/>
                </a:cubicBezTo>
                <a:lnTo>
                  <a:pt x="16556" y="73863"/>
                </a:lnTo>
                <a:lnTo>
                  <a:pt x="27392" y="73863"/>
                </a:lnTo>
                <a:lnTo>
                  <a:pt x="27392" y="34623"/>
                </a:lnTo>
                <a:cubicBezTo>
                  <a:pt x="27392" y="29651"/>
                  <a:pt x="29001" y="25449"/>
                  <a:pt x="32276" y="22253"/>
                </a:cubicBezTo>
                <a:cubicBezTo>
                  <a:pt x="35551" y="19057"/>
                  <a:pt x="39720" y="17400"/>
                  <a:pt x="44780" y="17400"/>
                </a:cubicBezTo>
                <a:close/>
                <a:moveTo>
                  <a:pt x="1104265" y="0"/>
                </a:moveTo>
                <a:cubicBezTo>
                  <a:pt x="1109327" y="0"/>
                  <a:pt x="1113555" y="1598"/>
                  <a:pt x="1116770" y="4853"/>
                </a:cubicBezTo>
                <a:cubicBezTo>
                  <a:pt x="1119986" y="8108"/>
                  <a:pt x="1121653" y="12251"/>
                  <a:pt x="1121653" y="17223"/>
                </a:cubicBezTo>
                <a:lnTo>
                  <a:pt x="1121653" y="176136"/>
                </a:lnTo>
                <a:cubicBezTo>
                  <a:pt x="1121653" y="182824"/>
                  <a:pt x="1122903" y="188327"/>
                  <a:pt x="1125404" y="192530"/>
                </a:cubicBezTo>
                <a:cubicBezTo>
                  <a:pt x="1127667" y="196376"/>
                  <a:pt x="1130347" y="198212"/>
                  <a:pt x="1133682" y="198212"/>
                </a:cubicBezTo>
                <a:lnTo>
                  <a:pt x="1141066" y="198212"/>
                </a:lnTo>
                <a:cubicBezTo>
                  <a:pt x="1145711" y="198212"/>
                  <a:pt x="1149642" y="199869"/>
                  <a:pt x="1152618" y="203183"/>
                </a:cubicBezTo>
                <a:cubicBezTo>
                  <a:pt x="1155476" y="206379"/>
                  <a:pt x="1156966" y="210286"/>
                  <a:pt x="1156966" y="215434"/>
                </a:cubicBezTo>
                <a:cubicBezTo>
                  <a:pt x="1156966" y="220584"/>
                  <a:pt x="1154702" y="224786"/>
                  <a:pt x="1150296" y="228041"/>
                </a:cubicBezTo>
                <a:cubicBezTo>
                  <a:pt x="1146127" y="231119"/>
                  <a:pt x="1140709" y="232657"/>
                  <a:pt x="1134277" y="232657"/>
                </a:cubicBezTo>
                <a:cubicBezTo>
                  <a:pt x="1124511" y="232657"/>
                  <a:pt x="1116294" y="230172"/>
                  <a:pt x="1109208" y="225200"/>
                </a:cubicBezTo>
                <a:cubicBezTo>
                  <a:pt x="1102180" y="220288"/>
                  <a:pt x="1096643" y="213541"/>
                  <a:pt x="1092713" y="205077"/>
                </a:cubicBezTo>
                <a:cubicBezTo>
                  <a:pt x="1088842" y="196673"/>
                  <a:pt x="1086877" y="186967"/>
                  <a:pt x="1086877" y="176136"/>
                </a:cubicBezTo>
                <a:lnTo>
                  <a:pt x="1086877" y="17223"/>
                </a:lnTo>
                <a:cubicBezTo>
                  <a:pt x="1086877" y="12251"/>
                  <a:pt x="1088485" y="8049"/>
                  <a:pt x="1091760" y="4853"/>
                </a:cubicBezTo>
                <a:cubicBezTo>
                  <a:pt x="1095034" y="1657"/>
                  <a:pt x="1099203" y="0"/>
                  <a:pt x="1104265" y="0"/>
                </a:cubicBezTo>
                <a:close/>
                <a:moveTo>
                  <a:pt x="510092" y="0"/>
                </a:moveTo>
                <a:lnTo>
                  <a:pt x="510092" y="0"/>
                </a:lnTo>
                <a:lnTo>
                  <a:pt x="510092" y="0"/>
                </a:lnTo>
                <a:cubicBezTo>
                  <a:pt x="515331" y="0"/>
                  <a:pt x="519619" y="1657"/>
                  <a:pt x="522895" y="4853"/>
                </a:cubicBezTo>
                <a:cubicBezTo>
                  <a:pt x="526109" y="8108"/>
                  <a:pt x="527777" y="12370"/>
                  <a:pt x="527777" y="17518"/>
                </a:cubicBezTo>
                <a:lnTo>
                  <a:pt x="527777" y="82860"/>
                </a:lnTo>
                <a:lnTo>
                  <a:pt x="538793" y="75462"/>
                </a:lnTo>
                <a:cubicBezTo>
                  <a:pt x="549572" y="69661"/>
                  <a:pt x="561183" y="66701"/>
                  <a:pt x="575118" y="66701"/>
                </a:cubicBezTo>
                <a:lnTo>
                  <a:pt x="575118" y="66701"/>
                </a:lnTo>
                <a:lnTo>
                  <a:pt x="612752" y="75580"/>
                </a:lnTo>
                <a:lnTo>
                  <a:pt x="612752" y="75462"/>
                </a:lnTo>
                <a:lnTo>
                  <a:pt x="612752" y="75462"/>
                </a:lnTo>
                <a:cubicBezTo>
                  <a:pt x="623829" y="81380"/>
                  <a:pt x="632701" y="90198"/>
                  <a:pt x="639132" y="101681"/>
                </a:cubicBezTo>
                <a:cubicBezTo>
                  <a:pt x="645505" y="113044"/>
                  <a:pt x="648719" y="127190"/>
                  <a:pt x="648719" y="143702"/>
                </a:cubicBezTo>
                <a:lnTo>
                  <a:pt x="648719" y="215317"/>
                </a:lnTo>
                <a:cubicBezTo>
                  <a:pt x="648719" y="220289"/>
                  <a:pt x="646993" y="224491"/>
                  <a:pt x="643657" y="227805"/>
                </a:cubicBezTo>
                <a:cubicBezTo>
                  <a:pt x="640324" y="231120"/>
                  <a:pt x="636036" y="232777"/>
                  <a:pt x="631033" y="232777"/>
                </a:cubicBezTo>
                <a:lnTo>
                  <a:pt x="631033" y="232777"/>
                </a:lnTo>
                <a:lnTo>
                  <a:pt x="631033" y="232777"/>
                </a:lnTo>
                <a:cubicBezTo>
                  <a:pt x="626031" y="232777"/>
                  <a:pt x="621744" y="231120"/>
                  <a:pt x="618409" y="227805"/>
                </a:cubicBezTo>
                <a:cubicBezTo>
                  <a:pt x="615016" y="224491"/>
                  <a:pt x="613347" y="220289"/>
                  <a:pt x="613347" y="215317"/>
                </a:cubicBezTo>
                <a:lnTo>
                  <a:pt x="613347" y="143702"/>
                </a:lnTo>
                <a:cubicBezTo>
                  <a:pt x="613347" y="133168"/>
                  <a:pt x="611383" y="124526"/>
                  <a:pt x="607513" y="117957"/>
                </a:cubicBezTo>
                <a:cubicBezTo>
                  <a:pt x="603701" y="111506"/>
                  <a:pt x="598461" y="106593"/>
                  <a:pt x="592029" y="103456"/>
                </a:cubicBezTo>
                <a:lnTo>
                  <a:pt x="569222" y="98663"/>
                </a:lnTo>
                <a:lnTo>
                  <a:pt x="548083" y="103338"/>
                </a:lnTo>
                <a:cubicBezTo>
                  <a:pt x="541830" y="106475"/>
                  <a:pt x="536828" y="110618"/>
                  <a:pt x="533196" y="115767"/>
                </a:cubicBezTo>
                <a:cubicBezTo>
                  <a:pt x="529564" y="120798"/>
                  <a:pt x="527777" y="126716"/>
                  <a:pt x="527777" y="133286"/>
                </a:cubicBezTo>
                <a:lnTo>
                  <a:pt x="527777" y="215376"/>
                </a:lnTo>
                <a:cubicBezTo>
                  <a:pt x="527777" y="220348"/>
                  <a:pt x="526109" y="224550"/>
                  <a:pt x="522895" y="227864"/>
                </a:cubicBezTo>
                <a:cubicBezTo>
                  <a:pt x="519619" y="231179"/>
                  <a:pt x="515034" y="232894"/>
                  <a:pt x="510032" y="232894"/>
                </a:cubicBezTo>
                <a:lnTo>
                  <a:pt x="510032" y="232894"/>
                </a:lnTo>
                <a:cubicBezTo>
                  <a:pt x="505030" y="232894"/>
                  <a:pt x="500741" y="231237"/>
                  <a:pt x="497408" y="227924"/>
                </a:cubicBezTo>
                <a:cubicBezTo>
                  <a:pt x="494072" y="224609"/>
                  <a:pt x="492346" y="220406"/>
                  <a:pt x="492346" y="215435"/>
                </a:cubicBezTo>
                <a:lnTo>
                  <a:pt x="492346" y="17518"/>
                </a:lnTo>
                <a:cubicBezTo>
                  <a:pt x="492346" y="12370"/>
                  <a:pt x="494072" y="8108"/>
                  <a:pt x="497467" y="4853"/>
                </a:cubicBezTo>
                <a:cubicBezTo>
                  <a:pt x="500801" y="1598"/>
                  <a:pt x="504851" y="0"/>
                  <a:pt x="510092" y="0"/>
                </a:cubicBezTo>
                <a:close/>
              </a:path>
            </a:pathLst>
          </a:custGeom>
          <a:solidFill>
            <a:schemeClr val="bg1"/>
          </a:solidFill>
          <a:ln w="5161" cap="flat">
            <a:noFill/>
            <a:prstDash val="solid"/>
            <a:miter/>
          </a:ln>
          <a:effectLst>
            <a:outerShdw blurRad="144365" sx="102000" sy="102000" algn="ctr" rotWithShape="0">
              <a:prstClr val="black"/>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1309968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3335">
          <a:extLst>
            <a:ext uri="{FF2B5EF4-FFF2-40B4-BE49-F238E27FC236}">
              <a16:creationId xmlns:a16="http://schemas.microsoft.com/office/drawing/2014/main" id="{E634B145-D118-E2AC-B605-7AE2E9274CB6}"/>
            </a:ext>
          </a:extLst>
        </p:cNvPr>
        <p:cNvGrpSpPr/>
        <p:nvPr/>
      </p:nvGrpSpPr>
      <p:grpSpPr>
        <a:xfrm>
          <a:off x="0" y="0"/>
          <a:ext cx="0" cy="0"/>
          <a:chOff x="0" y="0"/>
          <a:chExt cx="0" cy="0"/>
        </a:xfrm>
      </p:grpSpPr>
      <p:sp>
        <p:nvSpPr>
          <p:cNvPr id="3" name="Rectángulo: esquinas redondeadas 2">
            <a:extLst>
              <a:ext uri="{FF2B5EF4-FFF2-40B4-BE49-F238E27FC236}">
                <a16:creationId xmlns:a16="http://schemas.microsoft.com/office/drawing/2014/main" id="{FE81F6DC-8527-C474-E86C-5CA74D0B2DB2}"/>
              </a:ext>
            </a:extLst>
          </p:cNvPr>
          <p:cNvSpPr/>
          <p:nvPr/>
        </p:nvSpPr>
        <p:spPr>
          <a:xfrm>
            <a:off x="571017" y="1299818"/>
            <a:ext cx="2483893" cy="1372669"/>
          </a:xfrm>
          <a:prstGeom prst="roundRect">
            <a:avLst>
              <a:gd name="adj" fmla="val 8936"/>
            </a:avLst>
          </a:prstGeom>
          <a:noFill/>
          <a:ln w="38100" cap="flat" cmpd="sng">
            <a:solidFill>
              <a:srgbClr val="3CA5CE"/>
            </a:solidFill>
            <a:prstDash val="solid"/>
            <a:round/>
            <a:headEnd type="none" w="med" len="med"/>
            <a:tailEnd type="none" w="med" len="med"/>
          </a:ln>
        </p:spPr>
        <p:txBody>
          <a:bodyPr lIns="0" tIns="0" rIns="0" bIns="0" rtlCol="0" anchor="ctr"/>
          <a:lstStyle/>
          <a:p>
            <a:pPr algn="ctr"/>
            <a:endParaRPr lang="en-GB" noProof="0">
              <a:solidFill>
                <a:schemeClr val="tx2"/>
              </a:solidFill>
              <a:sym typeface="Calibri"/>
            </a:endParaRPr>
          </a:p>
        </p:txBody>
      </p:sp>
      <p:sp>
        <p:nvSpPr>
          <p:cNvPr id="3346" name="Google Shape;3346;g30e148d11da_7_119">
            <a:extLst>
              <a:ext uri="{FF2B5EF4-FFF2-40B4-BE49-F238E27FC236}">
                <a16:creationId xmlns:a16="http://schemas.microsoft.com/office/drawing/2014/main" id="{8CEDB451-BEB2-F91E-DD99-C09FD97655D2}"/>
              </a:ext>
            </a:extLst>
          </p:cNvPr>
          <p:cNvSpPr/>
          <p:nvPr/>
        </p:nvSpPr>
        <p:spPr>
          <a:xfrm>
            <a:off x="9715795" y="165608"/>
            <a:ext cx="1488000" cy="1488000"/>
          </a:xfrm>
          <a:prstGeom prst="rect">
            <a:avLst/>
          </a:prstGeom>
          <a:noFill/>
          <a:ln>
            <a:noFill/>
          </a:ln>
        </p:spPr>
        <p:txBody>
          <a:bodyPr spcFirstLastPara="1" wrap="square" lIns="108000" tIns="0" rIns="0" bIns="1080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1" i="0" u="none" strike="noStrike" kern="0" cap="none" spc="0" normalizeH="0" baseline="0" noProof="0">
              <a:ln>
                <a:noFill/>
              </a:ln>
              <a:solidFill>
                <a:schemeClr val="tx2"/>
              </a:solidFill>
              <a:effectLst/>
              <a:uLnTx/>
              <a:uFillTx/>
              <a:latin typeface="Quattrocento Sans"/>
              <a:ea typeface="Quattrocento Sans"/>
              <a:cs typeface="Quattrocento Sans"/>
              <a:sym typeface="Quattrocento Sans"/>
            </a:endParaRPr>
          </a:p>
        </p:txBody>
      </p:sp>
      <p:sp>
        <p:nvSpPr>
          <p:cNvPr id="3347" name="Google Shape;3347;g30e148d11da_7_119">
            <a:extLst>
              <a:ext uri="{FF2B5EF4-FFF2-40B4-BE49-F238E27FC236}">
                <a16:creationId xmlns:a16="http://schemas.microsoft.com/office/drawing/2014/main" id="{B195FD52-6AC1-CD5E-16F8-443F4682B06C}"/>
              </a:ext>
            </a:extLst>
          </p:cNvPr>
          <p:cNvSpPr/>
          <p:nvPr/>
        </p:nvSpPr>
        <p:spPr>
          <a:xfrm>
            <a:off x="10186647" y="659263"/>
            <a:ext cx="1324655" cy="305618"/>
          </a:xfrm>
          <a:custGeom>
            <a:avLst/>
            <a:gdLst/>
            <a:ahLst/>
            <a:cxnLst/>
            <a:rect l="l" t="t" r="r" b="b"/>
            <a:pathLst>
              <a:path w="1926771" h="444535" extrusionOk="0">
                <a:moveTo>
                  <a:pt x="725088" y="204891"/>
                </a:moveTo>
                <a:cubicBezTo>
                  <a:pt x="712077" y="210871"/>
                  <a:pt x="698448" y="215412"/>
                  <a:pt x="684445" y="218434"/>
                </a:cubicBezTo>
                <a:lnTo>
                  <a:pt x="660458" y="223662"/>
                </a:lnTo>
                <a:cubicBezTo>
                  <a:pt x="650420" y="225838"/>
                  <a:pt x="641095" y="230493"/>
                  <a:pt x="633330" y="237205"/>
                </a:cubicBezTo>
                <a:cubicBezTo>
                  <a:pt x="628707" y="243967"/>
                  <a:pt x="626164" y="251923"/>
                  <a:pt x="625999" y="260109"/>
                </a:cubicBezTo>
                <a:cubicBezTo>
                  <a:pt x="625595" y="269345"/>
                  <a:pt x="629001" y="278343"/>
                  <a:pt x="635424" y="285005"/>
                </a:cubicBezTo>
                <a:cubicBezTo>
                  <a:pt x="643129" y="291029"/>
                  <a:pt x="652794" y="293992"/>
                  <a:pt x="662553" y="293320"/>
                </a:cubicBezTo>
                <a:cubicBezTo>
                  <a:pt x="682002" y="293320"/>
                  <a:pt x="697296" y="287758"/>
                  <a:pt x="708432" y="276640"/>
                </a:cubicBezTo>
                <a:cubicBezTo>
                  <a:pt x="719567" y="265521"/>
                  <a:pt x="725123" y="250250"/>
                  <a:pt x="725088" y="230832"/>
                </a:cubicBezTo>
                <a:close/>
                <a:moveTo>
                  <a:pt x="1067435" y="121590"/>
                </a:moveTo>
                <a:cubicBezTo>
                  <a:pt x="1053442" y="121087"/>
                  <a:pt x="1039857" y="126360"/>
                  <a:pt x="1029884" y="136178"/>
                </a:cubicBezTo>
                <a:cubicBezTo>
                  <a:pt x="1020109" y="146137"/>
                  <a:pt x="1014923" y="159779"/>
                  <a:pt x="1014225" y="177804"/>
                </a:cubicBezTo>
                <a:lnTo>
                  <a:pt x="1120595" y="177804"/>
                </a:lnTo>
                <a:cubicBezTo>
                  <a:pt x="1119198" y="159082"/>
                  <a:pt x="1114361" y="145191"/>
                  <a:pt x="1105983" y="136178"/>
                </a:cubicBezTo>
                <a:cubicBezTo>
                  <a:pt x="1097605" y="127166"/>
                  <a:pt x="1084091" y="121590"/>
                  <a:pt x="1067435" y="121590"/>
                </a:cubicBezTo>
                <a:close/>
                <a:moveTo>
                  <a:pt x="1431974" y="67417"/>
                </a:moveTo>
                <a:lnTo>
                  <a:pt x="1512312" y="67417"/>
                </a:lnTo>
                <a:lnTo>
                  <a:pt x="1568614" y="263246"/>
                </a:lnTo>
                <a:lnTo>
                  <a:pt x="1617635" y="92412"/>
                </a:lnTo>
                <a:cubicBezTo>
                  <a:pt x="1621823" y="75782"/>
                  <a:pt x="1632944" y="67517"/>
                  <a:pt x="1651047" y="67517"/>
                </a:cubicBezTo>
                <a:lnTo>
                  <a:pt x="1700915" y="67517"/>
                </a:lnTo>
                <a:lnTo>
                  <a:pt x="1594496" y="383093"/>
                </a:lnTo>
                <a:cubicBezTo>
                  <a:pt x="1586153" y="405997"/>
                  <a:pt x="1575730" y="422313"/>
                  <a:pt x="1563228" y="432038"/>
                </a:cubicBezTo>
                <a:cubicBezTo>
                  <a:pt x="1550726" y="440338"/>
                  <a:pt x="1530200" y="444500"/>
                  <a:pt x="1501640" y="444535"/>
                </a:cubicBezTo>
                <a:lnTo>
                  <a:pt x="1494459" y="444535"/>
                </a:lnTo>
                <a:lnTo>
                  <a:pt x="1471470" y="444187"/>
                </a:lnTo>
                <a:lnTo>
                  <a:pt x="1471470" y="385134"/>
                </a:lnTo>
                <a:lnTo>
                  <a:pt x="1491417" y="385134"/>
                </a:lnTo>
                <a:cubicBezTo>
                  <a:pt x="1503206" y="385777"/>
                  <a:pt x="1514841" y="382251"/>
                  <a:pt x="1524281" y="375176"/>
                </a:cubicBezTo>
                <a:cubicBezTo>
                  <a:pt x="1532260" y="368554"/>
                  <a:pt x="1533856" y="357998"/>
                  <a:pt x="1528968" y="343409"/>
                </a:cubicBezTo>
                <a:close/>
                <a:moveTo>
                  <a:pt x="541522" y="67318"/>
                </a:moveTo>
                <a:lnTo>
                  <a:pt x="551945" y="67318"/>
                </a:lnTo>
                <a:lnTo>
                  <a:pt x="551945" y="141158"/>
                </a:lnTo>
                <a:lnTo>
                  <a:pt x="527958" y="141158"/>
                </a:lnTo>
                <a:cubicBezTo>
                  <a:pt x="508011" y="141158"/>
                  <a:pt x="493050" y="146137"/>
                  <a:pt x="483076" y="155747"/>
                </a:cubicBezTo>
                <a:cubicBezTo>
                  <a:pt x="473103" y="165356"/>
                  <a:pt x="468515" y="180642"/>
                  <a:pt x="468515" y="201555"/>
                </a:cubicBezTo>
                <a:lnTo>
                  <a:pt x="468515" y="344256"/>
                </a:lnTo>
                <a:lnTo>
                  <a:pt x="395357" y="344455"/>
                </a:lnTo>
                <a:lnTo>
                  <a:pt x="395357" y="210019"/>
                </a:lnTo>
                <a:cubicBezTo>
                  <a:pt x="394679" y="186702"/>
                  <a:pt x="398769" y="163489"/>
                  <a:pt x="407376" y="141805"/>
                </a:cubicBezTo>
                <a:cubicBezTo>
                  <a:pt x="414502" y="124568"/>
                  <a:pt x="425792" y="109361"/>
                  <a:pt x="440239" y="97541"/>
                </a:cubicBezTo>
                <a:cubicBezTo>
                  <a:pt x="453998" y="86841"/>
                  <a:pt x="469796" y="79048"/>
                  <a:pt x="486667" y="74637"/>
                </a:cubicBezTo>
                <a:cubicBezTo>
                  <a:pt x="504535" y="69733"/>
                  <a:pt x="522991" y="67268"/>
                  <a:pt x="541522" y="67318"/>
                </a:cubicBezTo>
                <a:close/>
                <a:moveTo>
                  <a:pt x="1798307" y="61542"/>
                </a:moveTo>
                <a:cubicBezTo>
                  <a:pt x="1834477" y="61542"/>
                  <a:pt x="1863336" y="69524"/>
                  <a:pt x="1884929" y="85492"/>
                </a:cubicBezTo>
                <a:cubicBezTo>
                  <a:pt x="1904876" y="102420"/>
                  <a:pt x="1916596" y="127037"/>
                  <a:pt x="1917244" y="153158"/>
                </a:cubicBezTo>
                <a:lnTo>
                  <a:pt x="1872362" y="153158"/>
                </a:lnTo>
                <a:cubicBezTo>
                  <a:pt x="1859745" y="153511"/>
                  <a:pt x="1847981" y="146655"/>
                  <a:pt x="1842092" y="135482"/>
                </a:cubicBezTo>
                <a:lnTo>
                  <a:pt x="1833764" y="127117"/>
                </a:lnTo>
                <a:cubicBezTo>
                  <a:pt x="1823591" y="120360"/>
                  <a:pt x="1811502" y="117079"/>
                  <a:pt x="1799305" y="117756"/>
                </a:cubicBezTo>
                <a:cubicBezTo>
                  <a:pt x="1788513" y="117074"/>
                  <a:pt x="1777726" y="119240"/>
                  <a:pt x="1768037" y="124030"/>
                </a:cubicBezTo>
                <a:cubicBezTo>
                  <a:pt x="1761784" y="128148"/>
                  <a:pt x="1758208" y="135288"/>
                  <a:pt x="1758662" y="142751"/>
                </a:cubicBezTo>
                <a:cubicBezTo>
                  <a:pt x="1758662" y="153870"/>
                  <a:pt x="1776729" y="163250"/>
                  <a:pt x="1812869" y="170883"/>
                </a:cubicBezTo>
                <a:cubicBezTo>
                  <a:pt x="1816470" y="172113"/>
                  <a:pt x="1820130" y="173159"/>
                  <a:pt x="1823840" y="174020"/>
                </a:cubicBezTo>
                <a:cubicBezTo>
                  <a:pt x="1826752" y="174692"/>
                  <a:pt x="1829730" y="175041"/>
                  <a:pt x="1832717" y="175066"/>
                </a:cubicBezTo>
                <a:cubicBezTo>
                  <a:pt x="1868173" y="184093"/>
                  <a:pt x="1892858" y="194499"/>
                  <a:pt x="1906771" y="206285"/>
                </a:cubicBezTo>
                <a:cubicBezTo>
                  <a:pt x="1920236" y="219290"/>
                  <a:pt x="1927467" y="237399"/>
                  <a:pt x="1926719" y="256076"/>
                </a:cubicBezTo>
                <a:cubicBezTo>
                  <a:pt x="1926719" y="286648"/>
                  <a:pt x="1915598" y="310249"/>
                  <a:pt x="1893357" y="326879"/>
                </a:cubicBezTo>
                <a:cubicBezTo>
                  <a:pt x="1872512" y="342180"/>
                  <a:pt x="1841209" y="349833"/>
                  <a:pt x="1799454" y="349833"/>
                </a:cubicBezTo>
                <a:cubicBezTo>
                  <a:pt x="1759859" y="349833"/>
                  <a:pt x="1730322" y="341831"/>
                  <a:pt x="1710838" y="325833"/>
                </a:cubicBezTo>
                <a:cubicBezTo>
                  <a:pt x="1690656" y="309900"/>
                  <a:pt x="1680568" y="286663"/>
                  <a:pt x="1680568" y="256126"/>
                </a:cubicBezTo>
                <a:lnTo>
                  <a:pt x="1680468" y="252790"/>
                </a:lnTo>
                <a:lnTo>
                  <a:pt x="1751281" y="252790"/>
                </a:lnTo>
                <a:cubicBezTo>
                  <a:pt x="1751187" y="265113"/>
                  <a:pt x="1757006" y="276739"/>
                  <a:pt x="1766940" y="284059"/>
                </a:cubicBezTo>
                <a:cubicBezTo>
                  <a:pt x="1779522" y="291562"/>
                  <a:pt x="1794044" y="295182"/>
                  <a:pt x="1808680" y="294465"/>
                </a:cubicBezTo>
                <a:cubicBezTo>
                  <a:pt x="1819890" y="294759"/>
                  <a:pt x="1830996" y="292259"/>
                  <a:pt x="1840995" y="287195"/>
                </a:cubicBezTo>
                <a:cubicBezTo>
                  <a:pt x="1848625" y="283476"/>
                  <a:pt x="1853477" y="275758"/>
                  <a:pt x="1853512" y="267279"/>
                </a:cubicBezTo>
                <a:cubicBezTo>
                  <a:pt x="1853512" y="254766"/>
                  <a:pt x="1838915" y="245386"/>
                  <a:pt x="1809727" y="239147"/>
                </a:cubicBezTo>
                <a:cubicBezTo>
                  <a:pt x="1800192" y="237778"/>
                  <a:pt x="1790772" y="235696"/>
                  <a:pt x="1781552" y="232923"/>
                </a:cubicBezTo>
                <a:cubicBezTo>
                  <a:pt x="1744749" y="223996"/>
                  <a:pt x="1720099" y="213320"/>
                  <a:pt x="1707596" y="200907"/>
                </a:cubicBezTo>
                <a:cubicBezTo>
                  <a:pt x="1693628" y="188196"/>
                  <a:pt x="1685998" y="169972"/>
                  <a:pt x="1686751" y="151116"/>
                </a:cubicBezTo>
                <a:cubicBezTo>
                  <a:pt x="1686248" y="125778"/>
                  <a:pt x="1697384" y="101604"/>
                  <a:pt x="1716972" y="85492"/>
                </a:cubicBezTo>
                <a:cubicBezTo>
                  <a:pt x="1737817" y="69524"/>
                  <a:pt x="1764930" y="61542"/>
                  <a:pt x="1798307" y="61542"/>
                </a:cubicBezTo>
                <a:close/>
                <a:moveTo>
                  <a:pt x="117839" y="61542"/>
                </a:moveTo>
                <a:cubicBezTo>
                  <a:pt x="154009" y="61542"/>
                  <a:pt x="182868" y="69524"/>
                  <a:pt x="204411" y="85492"/>
                </a:cubicBezTo>
                <a:cubicBezTo>
                  <a:pt x="224343" y="102426"/>
                  <a:pt x="236112" y="127032"/>
                  <a:pt x="236776" y="153158"/>
                </a:cubicBezTo>
                <a:lnTo>
                  <a:pt x="191894" y="153158"/>
                </a:lnTo>
                <a:cubicBezTo>
                  <a:pt x="179267" y="153516"/>
                  <a:pt x="167538" y="146655"/>
                  <a:pt x="161674" y="135482"/>
                </a:cubicBezTo>
                <a:lnTo>
                  <a:pt x="153296" y="127117"/>
                </a:lnTo>
                <a:cubicBezTo>
                  <a:pt x="143142" y="120355"/>
                  <a:pt x="131069" y="117069"/>
                  <a:pt x="118886" y="117756"/>
                </a:cubicBezTo>
                <a:cubicBezTo>
                  <a:pt x="108095" y="117074"/>
                  <a:pt x="97308" y="119240"/>
                  <a:pt x="87619" y="124030"/>
                </a:cubicBezTo>
                <a:cubicBezTo>
                  <a:pt x="81355" y="128143"/>
                  <a:pt x="77760" y="135278"/>
                  <a:pt x="78194" y="142751"/>
                </a:cubicBezTo>
                <a:cubicBezTo>
                  <a:pt x="78194" y="153870"/>
                  <a:pt x="96281" y="163250"/>
                  <a:pt x="132451" y="170883"/>
                </a:cubicBezTo>
                <a:cubicBezTo>
                  <a:pt x="136051" y="172113"/>
                  <a:pt x="139712" y="173159"/>
                  <a:pt x="143422" y="174020"/>
                </a:cubicBezTo>
                <a:cubicBezTo>
                  <a:pt x="146314" y="174697"/>
                  <a:pt x="149276" y="175046"/>
                  <a:pt x="152248" y="175066"/>
                </a:cubicBezTo>
                <a:cubicBezTo>
                  <a:pt x="187655" y="183864"/>
                  <a:pt x="212340" y="194136"/>
                  <a:pt x="226303" y="205886"/>
                </a:cubicBezTo>
                <a:cubicBezTo>
                  <a:pt x="239748" y="218892"/>
                  <a:pt x="246999" y="237001"/>
                  <a:pt x="246251" y="255678"/>
                </a:cubicBezTo>
                <a:cubicBezTo>
                  <a:pt x="246251" y="286249"/>
                  <a:pt x="235115" y="309850"/>
                  <a:pt x="212839" y="326481"/>
                </a:cubicBezTo>
                <a:cubicBezTo>
                  <a:pt x="191994" y="341781"/>
                  <a:pt x="160711" y="349434"/>
                  <a:pt x="118986" y="349434"/>
                </a:cubicBezTo>
                <a:cubicBezTo>
                  <a:pt x="79356" y="349434"/>
                  <a:pt x="49804" y="341433"/>
                  <a:pt x="30320" y="325435"/>
                </a:cubicBezTo>
                <a:cubicBezTo>
                  <a:pt x="10173" y="309502"/>
                  <a:pt x="100" y="286264"/>
                  <a:pt x="100" y="255727"/>
                </a:cubicBezTo>
                <a:lnTo>
                  <a:pt x="0" y="252790"/>
                </a:lnTo>
                <a:lnTo>
                  <a:pt x="70714" y="252790"/>
                </a:lnTo>
                <a:cubicBezTo>
                  <a:pt x="70594" y="265123"/>
                  <a:pt x="76418" y="276754"/>
                  <a:pt x="86372" y="284059"/>
                </a:cubicBezTo>
                <a:cubicBezTo>
                  <a:pt x="98939" y="291552"/>
                  <a:pt x="113441" y="295177"/>
                  <a:pt x="128062" y="294465"/>
                </a:cubicBezTo>
                <a:cubicBezTo>
                  <a:pt x="139288" y="294754"/>
                  <a:pt x="150408" y="292254"/>
                  <a:pt x="160427" y="287195"/>
                </a:cubicBezTo>
                <a:cubicBezTo>
                  <a:pt x="168057" y="283476"/>
                  <a:pt x="172909" y="275758"/>
                  <a:pt x="172944" y="267279"/>
                </a:cubicBezTo>
                <a:cubicBezTo>
                  <a:pt x="172944" y="254766"/>
                  <a:pt x="158332" y="245386"/>
                  <a:pt x="129110" y="239147"/>
                </a:cubicBezTo>
                <a:cubicBezTo>
                  <a:pt x="119575" y="237773"/>
                  <a:pt x="110159" y="235691"/>
                  <a:pt x="100934" y="232923"/>
                </a:cubicBezTo>
                <a:cubicBezTo>
                  <a:pt x="64166" y="223996"/>
                  <a:pt x="39546" y="213320"/>
                  <a:pt x="27079" y="200907"/>
                </a:cubicBezTo>
                <a:cubicBezTo>
                  <a:pt x="13110" y="188196"/>
                  <a:pt x="5481" y="169972"/>
                  <a:pt x="6234" y="151116"/>
                </a:cubicBezTo>
                <a:cubicBezTo>
                  <a:pt x="5745" y="125773"/>
                  <a:pt x="16895" y="101594"/>
                  <a:pt x="36504" y="85492"/>
                </a:cubicBezTo>
                <a:cubicBezTo>
                  <a:pt x="57349" y="69524"/>
                  <a:pt x="84462" y="61542"/>
                  <a:pt x="117839" y="61542"/>
                </a:cubicBezTo>
                <a:close/>
                <a:moveTo>
                  <a:pt x="674970" y="61293"/>
                </a:moveTo>
                <a:cubicBezTo>
                  <a:pt x="713867" y="61293"/>
                  <a:pt x="743056" y="67930"/>
                  <a:pt x="762539" y="81209"/>
                </a:cubicBezTo>
                <a:cubicBezTo>
                  <a:pt x="782168" y="94006"/>
                  <a:pt x="793652" y="116128"/>
                  <a:pt x="792809" y="139515"/>
                </a:cubicBezTo>
                <a:lnTo>
                  <a:pt x="792809" y="234118"/>
                </a:lnTo>
                <a:cubicBezTo>
                  <a:pt x="792809" y="261902"/>
                  <a:pt x="787822" y="283596"/>
                  <a:pt x="777849" y="299195"/>
                </a:cubicBezTo>
                <a:cubicBezTo>
                  <a:pt x="769137" y="313535"/>
                  <a:pt x="756670" y="325221"/>
                  <a:pt x="741794" y="333003"/>
                </a:cubicBezTo>
                <a:cubicBezTo>
                  <a:pt x="727347" y="340572"/>
                  <a:pt x="711593" y="345337"/>
                  <a:pt x="695366" y="347044"/>
                </a:cubicBezTo>
                <a:cubicBezTo>
                  <a:pt x="680994" y="348678"/>
                  <a:pt x="666547" y="349559"/>
                  <a:pt x="652081" y="349683"/>
                </a:cubicBezTo>
                <a:cubicBezTo>
                  <a:pt x="628567" y="350156"/>
                  <a:pt x="605533" y="343031"/>
                  <a:pt x="586404" y="329369"/>
                </a:cubicBezTo>
                <a:cubicBezTo>
                  <a:pt x="567618" y="315825"/>
                  <a:pt x="558228" y="293434"/>
                  <a:pt x="558228" y="262200"/>
                </a:cubicBezTo>
                <a:cubicBezTo>
                  <a:pt x="558228" y="233023"/>
                  <a:pt x="566740" y="212195"/>
                  <a:pt x="583761" y="199712"/>
                </a:cubicBezTo>
                <a:cubicBezTo>
                  <a:pt x="603185" y="186304"/>
                  <a:pt x="625561" y="177764"/>
                  <a:pt x="648989" y="174817"/>
                </a:cubicBezTo>
                <a:cubicBezTo>
                  <a:pt x="653202" y="174717"/>
                  <a:pt x="657396" y="174179"/>
                  <a:pt x="661505" y="173224"/>
                </a:cubicBezTo>
                <a:cubicBezTo>
                  <a:pt x="666492" y="172178"/>
                  <a:pt x="671928" y="171331"/>
                  <a:pt x="678162" y="170634"/>
                </a:cubicBezTo>
                <a:cubicBezTo>
                  <a:pt x="708781" y="166452"/>
                  <a:pt x="724091" y="157425"/>
                  <a:pt x="724091" y="143548"/>
                </a:cubicBezTo>
                <a:cubicBezTo>
                  <a:pt x="724460" y="133709"/>
                  <a:pt x="717573" y="125071"/>
                  <a:pt x="707883" y="123233"/>
                </a:cubicBezTo>
                <a:cubicBezTo>
                  <a:pt x="698179" y="120286"/>
                  <a:pt x="688106" y="118712"/>
                  <a:pt x="677962" y="118553"/>
                </a:cubicBezTo>
                <a:cubicBezTo>
                  <a:pt x="669091" y="118413"/>
                  <a:pt x="660264" y="119828"/>
                  <a:pt x="651881" y="122735"/>
                </a:cubicBezTo>
                <a:cubicBezTo>
                  <a:pt x="644371" y="125374"/>
                  <a:pt x="638327" y="131050"/>
                  <a:pt x="635225" y="138370"/>
                </a:cubicBezTo>
                <a:lnTo>
                  <a:pt x="565409" y="138370"/>
                </a:lnTo>
                <a:cubicBezTo>
                  <a:pt x="567823" y="117527"/>
                  <a:pt x="578310" y="98457"/>
                  <a:pt x="594632" y="85243"/>
                </a:cubicBezTo>
                <a:cubicBezTo>
                  <a:pt x="613418" y="69275"/>
                  <a:pt x="640197" y="61293"/>
                  <a:pt x="674970" y="61293"/>
                </a:cubicBezTo>
                <a:close/>
                <a:moveTo>
                  <a:pt x="1318972" y="61193"/>
                </a:moveTo>
                <a:cubicBezTo>
                  <a:pt x="1355141" y="61193"/>
                  <a:pt x="1384000" y="69175"/>
                  <a:pt x="1405543" y="85143"/>
                </a:cubicBezTo>
                <a:cubicBezTo>
                  <a:pt x="1425511" y="102052"/>
                  <a:pt x="1437290" y="126673"/>
                  <a:pt x="1437908" y="152809"/>
                </a:cubicBezTo>
                <a:lnTo>
                  <a:pt x="1393026" y="152809"/>
                </a:lnTo>
                <a:cubicBezTo>
                  <a:pt x="1380400" y="153167"/>
                  <a:pt x="1368671" y="146306"/>
                  <a:pt x="1362806" y="135133"/>
                </a:cubicBezTo>
                <a:lnTo>
                  <a:pt x="1354478" y="126768"/>
                </a:lnTo>
                <a:cubicBezTo>
                  <a:pt x="1344305" y="120011"/>
                  <a:pt x="1332217" y="116730"/>
                  <a:pt x="1320019" y="117407"/>
                </a:cubicBezTo>
                <a:cubicBezTo>
                  <a:pt x="1309227" y="116725"/>
                  <a:pt x="1298441" y="118891"/>
                  <a:pt x="1288751" y="123681"/>
                </a:cubicBezTo>
                <a:cubicBezTo>
                  <a:pt x="1282488" y="127794"/>
                  <a:pt x="1278892" y="134929"/>
                  <a:pt x="1279326" y="142402"/>
                </a:cubicBezTo>
                <a:cubicBezTo>
                  <a:pt x="1279326" y="153521"/>
                  <a:pt x="1297414" y="162901"/>
                  <a:pt x="1333583" y="170534"/>
                </a:cubicBezTo>
                <a:cubicBezTo>
                  <a:pt x="1337184" y="171764"/>
                  <a:pt x="1340844" y="172810"/>
                  <a:pt x="1344554" y="173671"/>
                </a:cubicBezTo>
                <a:cubicBezTo>
                  <a:pt x="1347466" y="174343"/>
                  <a:pt x="1350444" y="174692"/>
                  <a:pt x="1353431" y="174717"/>
                </a:cubicBezTo>
                <a:cubicBezTo>
                  <a:pt x="1388773" y="183744"/>
                  <a:pt x="1413338" y="194135"/>
                  <a:pt x="1427136" y="205886"/>
                </a:cubicBezTo>
                <a:cubicBezTo>
                  <a:pt x="1440561" y="218902"/>
                  <a:pt x="1447812" y="237006"/>
                  <a:pt x="1447084" y="255677"/>
                </a:cubicBezTo>
                <a:cubicBezTo>
                  <a:pt x="1447084" y="286249"/>
                  <a:pt x="1435963" y="309850"/>
                  <a:pt x="1413722" y="326480"/>
                </a:cubicBezTo>
                <a:cubicBezTo>
                  <a:pt x="1392842" y="341781"/>
                  <a:pt x="1361544" y="349434"/>
                  <a:pt x="1319819" y="349434"/>
                </a:cubicBezTo>
                <a:cubicBezTo>
                  <a:pt x="1280159" y="349434"/>
                  <a:pt x="1250602" y="341432"/>
                  <a:pt x="1231153" y="325435"/>
                </a:cubicBezTo>
                <a:cubicBezTo>
                  <a:pt x="1211006" y="309501"/>
                  <a:pt x="1200933" y="286264"/>
                  <a:pt x="1200933" y="255727"/>
                </a:cubicBezTo>
                <a:lnTo>
                  <a:pt x="1200933" y="252789"/>
                </a:lnTo>
                <a:lnTo>
                  <a:pt x="1271846" y="252789"/>
                </a:lnTo>
                <a:cubicBezTo>
                  <a:pt x="1271726" y="265123"/>
                  <a:pt x="1277551" y="276754"/>
                  <a:pt x="1287505" y="284058"/>
                </a:cubicBezTo>
                <a:cubicBezTo>
                  <a:pt x="1300087" y="291562"/>
                  <a:pt x="1314608" y="295181"/>
                  <a:pt x="1329245" y="294465"/>
                </a:cubicBezTo>
                <a:cubicBezTo>
                  <a:pt x="1340455" y="294753"/>
                  <a:pt x="1351556" y="292254"/>
                  <a:pt x="1361559" y="287195"/>
                </a:cubicBezTo>
                <a:cubicBezTo>
                  <a:pt x="1369189" y="283476"/>
                  <a:pt x="1374042" y="275758"/>
                  <a:pt x="1374076" y="267278"/>
                </a:cubicBezTo>
                <a:cubicBezTo>
                  <a:pt x="1374076" y="254766"/>
                  <a:pt x="1359465" y="245385"/>
                  <a:pt x="1330242" y="239147"/>
                </a:cubicBezTo>
                <a:cubicBezTo>
                  <a:pt x="1320722" y="237777"/>
                  <a:pt x="1311322" y="235696"/>
                  <a:pt x="1302116" y="232923"/>
                </a:cubicBezTo>
                <a:cubicBezTo>
                  <a:pt x="1265214" y="223925"/>
                  <a:pt x="1240529" y="213171"/>
                  <a:pt x="1228061" y="200658"/>
                </a:cubicBezTo>
                <a:cubicBezTo>
                  <a:pt x="1214063" y="187961"/>
                  <a:pt x="1206414" y="169733"/>
                  <a:pt x="1207167" y="150867"/>
                </a:cubicBezTo>
                <a:cubicBezTo>
                  <a:pt x="1206693" y="125453"/>
                  <a:pt x="1217923" y="101230"/>
                  <a:pt x="1237636" y="85143"/>
                </a:cubicBezTo>
                <a:cubicBezTo>
                  <a:pt x="1258481" y="69175"/>
                  <a:pt x="1285595" y="61193"/>
                  <a:pt x="1318972" y="61193"/>
                </a:cubicBezTo>
                <a:close/>
                <a:moveTo>
                  <a:pt x="1065340" y="61193"/>
                </a:moveTo>
                <a:cubicBezTo>
                  <a:pt x="1107030" y="61193"/>
                  <a:pt x="1139360" y="73691"/>
                  <a:pt x="1162334" y="98686"/>
                </a:cubicBezTo>
                <a:cubicBezTo>
                  <a:pt x="1184576" y="124378"/>
                  <a:pt x="1195696" y="160128"/>
                  <a:pt x="1195696" y="205936"/>
                </a:cubicBezTo>
                <a:lnTo>
                  <a:pt x="1195696" y="217388"/>
                </a:lnTo>
                <a:cubicBezTo>
                  <a:pt x="1195861" y="219872"/>
                  <a:pt x="1195502" y="222367"/>
                  <a:pt x="1194649" y="224707"/>
                </a:cubicBezTo>
                <a:lnTo>
                  <a:pt x="1014225" y="224707"/>
                </a:lnTo>
                <a:cubicBezTo>
                  <a:pt x="1014923" y="246217"/>
                  <a:pt x="1020144" y="262185"/>
                  <a:pt x="1029884" y="272606"/>
                </a:cubicBezTo>
                <a:cubicBezTo>
                  <a:pt x="1038895" y="283725"/>
                  <a:pt x="1052439" y="289271"/>
                  <a:pt x="1070526" y="289236"/>
                </a:cubicBezTo>
                <a:cubicBezTo>
                  <a:pt x="1081088" y="289570"/>
                  <a:pt x="1091541" y="287056"/>
                  <a:pt x="1100797" y="281967"/>
                </a:cubicBezTo>
                <a:cubicBezTo>
                  <a:pt x="1102971" y="281225"/>
                  <a:pt x="1104936" y="279980"/>
                  <a:pt x="1106532" y="278332"/>
                </a:cubicBezTo>
                <a:lnTo>
                  <a:pt x="1112266" y="272606"/>
                </a:lnTo>
                <a:cubicBezTo>
                  <a:pt x="1114117" y="269195"/>
                  <a:pt x="1116809" y="266313"/>
                  <a:pt x="1120096" y="264241"/>
                </a:cubicBezTo>
                <a:cubicBezTo>
                  <a:pt x="1125786" y="260452"/>
                  <a:pt x="1132568" y="258630"/>
                  <a:pt x="1139395" y="259063"/>
                </a:cubicBezTo>
                <a:lnTo>
                  <a:pt x="1191557" y="259063"/>
                </a:lnTo>
                <a:cubicBezTo>
                  <a:pt x="1183877" y="288241"/>
                  <a:pt x="1169266" y="310447"/>
                  <a:pt x="1147723" y="325684"/>
                </a:cubicBezTo>
                <a:cubicBezTo>
                  <a:pt x="1126180" y="341652"/>
                  <a:pt x="1099066" y="349648"/>
                  <a:pt x="1066387" y="349683"/>
                </a:cubicBezTo>
                <a:cubicBezTo>
                  <a:pt x="1026757" y="349683"/>
                  <a:pt x="995809" y="336837"/>
                  <a:pt x="973532" y="311145"/>
                </a:cubicBezTo>
                <a:cubicBezTo>
                  <a:pt x="951291" y="286149"/>
                  <a:pt x="940170" y="250384"/>
                  <a:pt x="940170" y="203845"/>
                </a:cubicBezTo>
                <a:cubicBezTo>
                  <a:pt x="940170" y="159431"/>
                  <a:pt x="950942" y="124727"/>
                  <a:pt x="972485" y="99731"/>
                </a:cubicBezTo>
                <a:cubicBezTo>
                  <a:pt x="994726" y="74039"/>
                  <a:pt x="1025680" y="61193"/>
                  <a:pt x="1065340" y="61193"/>
                </a:cubicBezTo>
                <a:close/>
                <a:moveTo>
                  <a:pt x="810064" y="0"/>
                </a:moveTo>
                <a:lnTo>
                  <a:pt x="880578" y="0"/>
                </a:lnTo>
                <a:lnTo>
                  <a:pt x="880578" y="69708"/>
                </a:lnTo>
                <a:lnTo>
                  <a:pt x="930446" y="69708"/>
                </a:lnTo>
                <a:lnTo>
                  <a:pt x="930446" y="132096"/>
                </a:lnTo>
                <a:lnTo>
                  <a:pt x="880578" y="132096"/>
                </a:lnTo>
                <a:lnTo>
                  <a:pt x="880578" y="229288"/>
                </a:lnTo>
                <a:cubicBezTo>
                  <a:pt x="880578" y="248458"/>
                  <a:pt x="884916" y="262001"/>
                  <a:pt x="893643" y="269818"/>
                </a:cubicBezTo>
                <a:cubicBezTo>
                  <a:pt x="902370" y="277636"/>
                  <a:pt x="915635" y="281021"/>
                  <a:pt x="933538" y="279776"/>
                </a:cubicBezTo>
                <a:lnTo>
                  <a:pt x="933438" y="343908"/>
                </a:lnTo>
                <a:cubicBezTo>
                  <a:pt x="915565" y="346233"/>
                  <a:pt x="897403" y="344963"/>
                  <a:pt x="880029" y="340173"/>
                </a:cubicBezTo>
                <a:cubicBezTo>
                  <a:pt x="865537" y="336060"/>
                  <a:pt x="852312" y="328373"/>
                  <a:pt x="841580" y="317817"/>
                </a:cubicBezTo>
                <a:cubicBezTo>
                  <a:pt x="830973" y="307032"/>
                  <a:pt x="822945" y="293997"/>
                  <a:pt x="818092" y="279677"/>
                </a:cubicBezTo>
                <a:cubicBezTo>
                  <a:pt x="812542" y="263276"/>
                  <a:pt x="809824" y="246053"/>
                  <a:pt x="810064" y="228741"/>
                </a:cubicBezTo>
                <a:close/>
                <a:moveTo>
                  <a:pt x="259216" y="0"/>
                </a:moveTo>
                <a:lnTo>
                  <a:pt x="329681" y="0"/>
                </a:lnTo>
                <a:lnTo>
                  <a:pt x="329681" y="69708"/>
                </a:lnTo>
                <a:lnTo>
                  <a:pt x="379549" y="69708"/>
                </a:lnTo>
                <a:lnTo>
                  <a:pt x="379549" y="132096"/>
                </a:lnTo>
                <a:lnTo>
                  <a:pt x="329681" y="132096"/>
                </a:lnTo>
                <a:lnTo>
                  <a:pt x="329681" y="229288"/>
                </a:lnTo>
                <a:cubicBezTo>
                  <a:pt x="329681" y="248458"/>
                  <a:pt x="334069" y="262001"/>
                  <a:pt x="342796" y="269818"/>
                </a:cubicBezTo>
                <a:cubicBezTo>
                  <a:pt x="351523" y="277636"/>
                  <a:pt x="364738" y="281021"/>
                  <a:pt x="382691" y="279776"/>
                </a:cubicBezTo>
                <a:lnTo>
                  <a:pt x="382541" y="343908"/>
                </a:lnTo>
                <a:cubicBezTo>
                  <a:pt x="364683" y="346238"/>
                  <a:pt x="346541" y="344968"/>
                  <a:pt x="329182" y="340173"/>
                </a:cubicBezTo>
                <a:cubicBezTo>
                  <a:pt x="314690" y="336060"/>
                  <a:pt x="301465" y="328373"/>
                  <a:pt x="290733" y="317817"/>
                </a:cubicBezTo>
                <a:cubicBezTo>
                  <a:pt x="280086" y="307052"/>
                  <a:pt x="272038" y="294012"/>
                  <a:pt x="267196" y="279677"/>
                </a:cubicBezTo>
                <a:cubicBezTo>
                  <a:pt x="261660" y="263276"/>
                  <a:pt x="258962" y="246048"/>
                  <a:pt x="259216" y="22874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800" b="0" i="0" u="none" strike="noStrike" kern="0" cap="none" spc="0" normalizeH="0" baseline="0" noProof="0">
              <a:ln>
                <a:noFill/>
              </a:ln>
              <a:solidFill>
                <a:schemeClr val="tx2"/>
              </a:solidFill>
              <a:effectLst/>
              <a:uLnTx/>
              <a:uFillTx/>
              <a:latin typeface="Arial"/>
              <a:ea typeface="Arial"/>
              <a:cs typeface="Arial"/>
              <a:sym typeface="Arial"/>
            </a:endParaRPr>
          </a:p>
        </p:txBody>
      </p:sp>
      <p:sp>
        <p:nvSpPr>
          <p:cNvPr id="4" name="CuadroTexto 3">
            <a:extLst>
              <a:ext uri="{FF2B5EF4-FFF2-40B4-BE49-F238E27FC236}">
                <a16:creationId xmlns:a16="http://schemas.microsoft.com/office/drawing/2014/main" id="{EDD1D027-117E-6115-4340-F9F1E1A4E803}"/>
              </a:ext>
            </a:extLst>
          </p:cNvPr>
          <p:cNvSpPr txBox="1"/>
          <p:nvPr/>
        </p:nvSpPr>
        <p:spPr>
          <a:xfrm>
            <a:off x="544086" y="4886456"/>
            <a:ext cx="5712069" cy="1569660"/>
          </a:xfrm>
          <a:prstGeom prst="rect">
            <a:avLst/>
          </a:prstGeom>
          <a:noFill/>
        </p:spPr>
        <p:txBody>
          <a:bodyPr wrap="square">
            <a:spAutoFit/>
          </a:bodyPr>
          <a:lstStyle/>
          <a:p>
            <a:r>
              <a:rPr lang="en-GB" sz="1800" b="1" noProof="0">
                <a:latin typeface="Quattrocento Sans" panose="020B0502050000020003" pitchFamily="34" charset="0"/>
              </a:rPr>
              <a:t>DATA QUALITY DASHBOARD</a:t>
            </a:r>
          </a:p>
          <a:p>
            <a:pPr marL="342900" indent="-342900">
              <a:buFont typeface="+mj-lt"/>
              <a:buAutoNum type="arabicPeriod"/>
            </a:pPr>
            <a:endParaRPr lang="en-GB" sz="800" noProof="0">
              <a:latin typeface="Quattrocento Sans" panose="020B0502050000020003" pitchFamily="34" charset="0"/>
            </a:endParaRPr>
          </a:p>
          <a:p>
            <a:r>
              <a:rPr lang="en-GB" sz="1400" noProof="0">
                <a:latin typeface="Quattrocento Sans" panose="020B0502050000020003" pitchFamily="34" charset="0"/>
              </a:rPr>
              <a:t>- Identification of duplications
- Master data grouping 
- Field cleanup and exclusion filters
- Enrichment with the generation of additional fields, groupings or rankings.</a:t>
            </a:r>
          </a:p>
        </p:txBody>
      </p:sp>
      <p:pic>
        <p:nvPicPr>
          <p:cNvPr id="6" name="Imagen 5">
            <a:extLst>
              <a:ext uri="{FF2B5EF4-FFF2-40B4-BE49-F238E27FC236}">
                <a16:creationId xmlns:a16="http://schemas.microsoft.com/office/drawing/2014/main" id="{A2C546CC-231C-6CD9-095F-299124333503}"/>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773892" y="3794069"/>
            <a:ext cx="1223914" cy="854431"/>
          </a:xfrm>
          <a:prstGeom prst="rect">
            <a:avLst/>
          </a:prstGeom>
        </p:spPr>
      </p:pic>
      <p:pic>
        <p:nvPicPr>
          <p:cNvPr id="9" name="Picture 2" descr="شاشة الكمبيوتر PNG صورة مجانية - PNG All">
            <a:extLst>
              <a:ext uri="{FF2B5EF4-FFF2-40B4-BE49-F238E27FC236}">
                <a16:creationId xmlns:a16="http://schemas.microsoft.com/office/drawing/2014/main" id="{9D5219C9-19E1-2E16-EEAE-7B6A4A253F9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83654" y="2298700"/>
            <a:ext cx="4048848" cy="2882900"/>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n 10">
            <a:extLst>
              <a:ext uri="{FF2B5EF4-FFF2-40B4-BE49-F238E27FC236}">
                <a16:creationId xmlns:a16="http://schemas.microsoft.com/office/drawing/2014/main" id="{B0FCD9AA-4891-C67D-B913-2453310C02CC}"/>
              </a:ext>
            </a:extLst>
          </p:cNvPr>
          <p:cNvPicPr>
            <a:picLocks noChangeAspect="1"/>
          </p:cNvPicPr>
          <p:nvPr/>
        </p:nvPicPr>
        <p:blipFill>
          <a:blip r:embed="rId5"/>
          <a:stretch>
            <a:fillRect/>
          </a:stretch>
        </p:blipFill>
        <p:spPr>
          <a:xfrm>
            <a:off x="2343809" y="2442357"/>
            <a:ext cx="3752191" cy="1973285"/>
          </a:xfrm>
          <a:prstGeom prst="rect">
            <a:avLst/>
          </a:prstGeom>
        </p:spPr>
      </p:pic>
      <p:cxnSp>
        <p:nvCxnSpPr>
          <p:cNvPr id="30" name="Straight Arrow Connector 70">
            <a:extLst>
              <a:ext uri="{FF2B5EF4-FFF2-40B4-BE49-F238E27FC236}">
                <a16:creationId xmlns:a16="http://schemas.microsoft.com/office/drawing/2014/main" id="{B1074F81-A558-613B-DAF6-7415BBEFF66E}"/>
              </a:ext>
            </a:extLst>
          </p:cNvPr>
          <p:cNvCxnSpPr>
            <a:cxnSpLocks/>
          </p:cNvCxnSpPr>
          <p:nvPr/>
        </p:nvCxnSpPr>
        <p:spPr>
          <a:xfrm>
            <a:off x="6269620" y="1127676"/>
            <a:ext cx="0" cy="5416684"/>
          </a:xfrm>
          <a:prstGeom prst="straightConnector1">
            <a:avLst/>
          </a:prstGeom>
          <a:noFill/>
          <a:ln w="28575">
            <a:solidFill>
              <a:srgbClr val="C72EC9"/>
            </a:solidFill>
          </a:ln>
        </p:spPr>
      </p:cxnSp>
      <p:sp>
        <p:nvSpPr>
          <p:cNvPr id="34" name="Rectángulo: esquinas redondeadas 33">
            <a:extLst>
              <a:ext uri="{FF2B5EF4-FFF2-40B4-BE49-F238E27FC236}">
                <a16:creationId xmlns:a16="http://schemas.microsoft.com/office/drawing/2014/main" id="{6CF66ED9-E533-B305-EFC3-685CC1E3CFF6}"/>
              </a:ext>
            </a:extLst>
          </p:cNvPr>
          <p:cNvSpPr/>
          <p:nvPr/>
        </p:nvSpPr>
        <p:spPr>
          <a:xfrm>
            <a:off x="6256155" y="2636258"/>
            <a:ext cx="5712069" cy="4056133"/>
          </a:xfrm>
          <a:prstGeom prst="roundRect">
            <a:avLst/>
          </a:prstGeom>
          <a:noFill/>
          <a:ln>
            <a:noFill/>
          </a:ln>
        </p:spPr>
        <p:txBody>
          <a:bodyPr spcFirstLastPara="1" wrap="square" lIns="91425" tIns="45700" rIns="91425" bIns="45700" anchor="t" anchorCtr="0">
            <a:noAutofit/>
          </a:bodyPr>
          <a:lstStyle/>
          <a:p>
            <a:r>
              <a:rPr lang="en-GB" sz="1400" b="1" i="0" noProof="0">
                <a:effectLst/>
                <a:latin typeface="Quattrocento Sans" panose="020B0502050000020003" pitchFamily="34" charset="0"/>
              </a:rPr>
              <a:t>1. </a:t>
            </a:r>
            <a:r>
              <a:rPr lang="en-GB" sz="1400" b="1" noProof="0">
                <a:latin typeface="Quattrocento Sans" panose="020B0502050000020003" pitchFamily="34" charset="0"/>
              </a:rPr>
              <a:t>Format correction and adaptation</a:t>
            </a:r>
            <a:endParaRPr lang="en-GB" sz="1400" i="0" noProof="0">
              <a:effectLst/>
              <a:latin typeface="Quattrocento Sans" panose="020B0502050000020003" pitchFamily="34" charset="0"/>
            </a:endParaRPr>
          </a:p>
          <a:p>
            <a:pPr lvl="1"/>
            <a:r>
              <a:rPr lang="en-GB" sz="1400" noProof="0">
                <a:latin typeface="Quattrocento Sans" panose="020B0502050000020003" pitchFamily="34" charset="0"/>
              </a:rPr>
              <a:t>HANA SQL, </a:t>
            </a:r>
            <a:r>
              <a:rPr lang="en-GB" sz="1400" noProof="0" err="1">
                <a:latin typeface="Quattrocento Sans" panose="020B0502050000020003" pitchFamily="34" charset="0"/>
              </a:rPr>
              <a:t>SQLScript</a:t>
            </a:r>
            <a:r>
              <a:rPr lang="en-GB" sz="1400" noProof="0">
                <a:latin typeface="Quattrocento Sans" panose="020B0502050000020003" pitchFamily="34" charset="0"/>
              </a:rPr>
              <a:t>, and Python have hundreds of formatting and syntax adaptation functions that allow you to automatically correct typos and enrich data using custom logic.</a:t>
            </a:r>
          </a:p>
          <a:p>
            <a:pPr lvl="1"/>
            <a:endParaRPr lang="en-GB" sz="1400" noProof="0">
              <a:latin typeface="Quattrocento Sans" panose="020B0502050000020003" pitchFamily="34" charset="0"/>
            </a:endParaRPr>
          </a:p>
          <a:p>
            <a:r>
              <a:rPr lang="en-GB" sz="1400" b="1" i="0" noProof="0">
                <a:effectLst/>
                <a:latin typeface="Quattrocento Sans" panose="020B0502050000020003" pitchFamily="34" charset="0"/>
              </a:rPr>
              <a:t>2. </a:t>
            </a:r>
            <a:r>
              <a:rPr lang="en-GB" sz="1400" b="1" noProof="0">
                <a:latin typeface="Quattrocento Sans" panose="020B0502050000020003" pitchFamily="34" charset="0"/>
              </a:rPr>
              <a:t>Data error detection and alerting</a:t>
            </a:r>
          </a:p>
          <a:p>
            <a:pPr lvl="1"/>
            <a:r>
              <a:rPr lang="en-GB" sz="1400" noProof="0">
                <a:latin typeface="Quattrocento Sans" panose="020B0502050000020003" pitchFamily="34" charset="0"/>
              </a:rPr>
              <a:t>Using SAP Analytics Cloud, you can create alerts associated with data that allow you to automate the detection and notification of errors graphically or by e-mail.</a:t>
            </a:r>
          </a:p>
          <a:p>
            <a:pPr lvl="1"/>
            <a:endParaRPr lang="en-GB" sz="1400" b="1" noProof="0">
              <a:latin typeface="Quattrocento Sans" panose="020B0502050000020003" pitchFamily="34" charset="0"/>
            </a:endParaRPr>
          </a:p>
          <a:p>
            <a:r>
              <a:rPr lang="en-GB" sz="1400" b="1" i="0" noProof="0">
                <a:effectLst/>
                <a:latin typeface="Quattrocento Sans" panose="020B0502050000020003" pitchFamily="34" charset="0"/>
              </a:rPr>
              <a:t>3. </a:t>
            </a:r>
            <a:r>
              <a:rPr lang="en-GB" sz="1400" b="1" noProof="0">
                <a:latin typeface="Quattrocento Sans" panose="020B0502050000020003" pitchFamily="34" charset="0"/>
              </a:rPr>
              <a:t>Correction in external systems</a:t>
            </a:r>
          </a:p>
          <a:p>
            <a:pPr lvl="1"/>
            <a:r>
              <a:rPr lang="en-GB" sz="1400" noProof="0">
                <a:latin typeface="Quattrocento Sans" panose="020B0502050000020003" pitchFamily="34" charset="0"/>
              </a:rPr>
              <a:t>Through direct integration of SAP Datasphere with external systems with ODATA or replication flow, correction of data at transactional source is possible.
(External system must be supported)</a:t>
            </a:r>
            <a:endParaRPr lang="en-GB" sz="1400" i="0" noProof="0">
              <a:effectLst/>
              <a:latin typeface="Quattrocento Sans" panose="020B0502050000020003" pitchFamily="34" charset="0"/>
            </a:endParaRPr>
          </a:p>
        </p:txBody>
      </p:sp>
      <p:sp>
        <p:nvSpPr>
          <p:cNvPr id="5" name="TextBox 32">
            <a:extLst>
              <a:ext uri="{FF2B5EF4-FFF2-40B4-BE49-F238E27FC236}">
                <a16:creationId xmlns:a16="http://schemas.microsoft.com/office/drawing/2014/main" id="{61C5AB24-4BE6-0A98-DCF6-B0FCD815A730}"/>
              </a:ext>
            </a:extLst>
          </p:cNvPr>
          <p:cNvSpPr txBox="1"/>
          <p:nvPr/>
        </p:nvSpPr>
        <p:spPr>
          <a:xfrm>
            <a:off x="571015" y="1455536"/>
            <a:ext cx="2483893" cy="996033"/>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RPr/>
            </a:defPPr>
            <a:lvl1pPr algn="ctr">
              <a:defRPr sz="3200" b="1">
                <a:solidFill>
                  <a:srgbClr val="FFFFFF"/>
                </a:solidFill>
                <a:latin typeface="Quattrocento Sans"/>
              </a:defRPr>
            </a:lvl1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3200" b="1" i="0" u="none" strike="noStrike" kern="0" cap="none" spc="0" normalizeH="0" baseline="0" noProof="0">
                <a:ln>
                  <a:noFill/>
                </a:ln>
                <a:solidFill>
                  <a:schemeClr val="tx1"/>
                </a:solidFill>
                <a:effectLst/>
                <a:uLnTx/>
                <a:uFillTx/>
                <a:latin typeface="Quattrocento Sans"/>
                <a:cs typeface="Arial"/>
                <a:sym typeface="DM Sans Bold"/>
              </a:rPr>
              <a:t>1st Phase</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400" b="1" i="0" u="none" strike="noStrike" kern="0" cap="none" spc="0" normalizeH="0" baseline="0" noProof="0">
                <a:ln>
                  <a:noFill/>
                </a:ln>
                <a:solidFill>
                  <a:schemeClr val="tx1"/>
                </a:solidFill>
                <a:effectLst/>
                <a:uLnTx/>
                <a:uFillTx/>
                <a:latin typeface="Quattrocento Sans"/>
                <a:cs typeface="Arial"/>
                <a:sym typeface="DM Sans Bold"/>
              </a:rPr>
              <a:t>Data Health </a:t>
            </a:r>
          </a:p>
          <a:p>
            <a:pPr lvl="0">
              <a:buClr>
                <a:srgbClr val="000000"/>
              </a:buClr>
              <a:defRPr/>
            </a:pPr>
            <a:r>
              <a:rPr kumimoji="0" lang="en-GB" sz="1400" b="1" i="0" u="none" strike="noStrike" kern="0" cap="none" spc="0" normalizeH="0" baseline="0" noProof="0">
                <a:ln>
                  <a:noFill/>
                </a:ln>
                <a:solidFill>
                  <a:schemeClr val="tx1"/>
                </a:solidFill>
                <a:effectLst/>
                <a:uLnTx/>
                <a:uFillTx/>
                <a:latin typeface="Quattrocento Sans"/>
                <a:cs typeface="Arial"/>
                <a:sym typeface="DM Sans Bold"/>
              </a:rPr>
              <a:t>(</a:t>
            </a:r>
            <a:r>
              <a:rPr lang="en-GB" sz="1400" kern="0" noProof="0">
                <a:solidFill>
                  <a:schemeClr val="tx1"/>
                </a:solidFill>
                <a:cs typeface="Arial"/>
                <a:sym typeface="DM Sans Bold"/>
              </a:rPr>
              <a:t>Monitoring</a:t>
            </a:r>
            <a:r>
              <a:rPr kumimoji="0" lang="en-GB" sz="1400" b="1" i="0" u="none" strike="noStrike" kern="0" cap="none" spc="0" normalizeH="0" baseline="0" noProof="0">
                <a:ln>
                  <a:noFill/>
                </a:ln>
                <a:solidFill>
                  <a:schemeClr val="tx1"/>
                </a:solidFill>
                <a:effectLst/>
                <a:uLnTx/>
                <a:uFillTx/>
                <a:latin typeface="Quattrocento Sans"/>
                <a:cs typeface="Arial"/>
                <a:sym typeface="DM Sans Bold"/>
              </a:rPr>
              <a:t>) </a:t>
            </a:r>
          </a:p>
        </p:txBody>
      </p:sp>
      <p:sp>
        <p:nvSpPr>
          <p:cNvPr id="7" name="Rectángulo: esquinas redondeadas 6">
            <a:extLst>
              <a:ext uri="{FF2B5EF4-FFF2-40B4-BE49-F238E27FC236}">
                <a16:creationId xmlns:a16="http://schemas.microsoft.com/office/drawing/2014/main" id="{DF1AE749-95B6-A85F-3592-7C0AFC6A9A7F}"/>
              </a:ext>
            </a:extLst>
          </p:cNvPr>
          <p:cNvSpPr/>
          <p:nvPr/>
        </p:nvSpPr>
        <p:spPr>
          <a:xfrm>
            <a:off x="6646855" y="1219632"/>
            <a:ext cx="2483892" cy="1372670"/>
          </a:xfrm>
          <a:prstGeom prst="roundRect">
            <a:avLst>
              <a:gd name="adj" fmla="val 5327"/>
            </a:avLst>
          </a:prstGeom>
          <a:noFill/>
          <a:ln w="38100" cap="flat" cmpd="sng">
            <a:solidFill>
              <a:srgbClr val="9659E5"/>
            </a:solidFill>
            <a:prstDash val="solid"/>
            <a:round/>
            <a:headEnd type="none" w="med" len="med"/>
            <a:tailEnd type="none" w="med" len="med"/>
          </a:ln>
        </p:spPr>
        <p:txBody>
          <a:bodyPr lIns="0" tIns="0" rIns="0" bIns="0" rtlCol="0" anchor="ctr"/>
          <a:lstStyle/>
          <a:p>
            <a:pPr algn="ctr"/>
            <a:endParaRPr lang="en-GB" noProof="0">
              <a:solidFill>
                <a:schemeClr val="tx2"/>
              </a:solidFill>
              <a:sym typeface="Calibri"/>
            </a:endParaRPr>
          </a:p>
        </p:txBody>
      </p:sp>
      <p:sp>
        <p:nvSpPr>
          <p:cNvPr id="8" name="TextBox 32">
            <a:extLst>
              <a:ext uri="{FF2B5EF4-FFF2-40B4-BE49-F238E27FC236}">
                <a16:creationId xmlns:a16="http://schemas.microsoft.com/office/drawing/2014/main" id="{E83962A8-5550-AA04-E722-C5AF22BE3173}"/>
              </a:ext>
            </a:extLst>
          </p:cNvPr>
          <p:cNvSpPr txBox="1"/>
          <p:nvPr/>
        </p:nvSpPr>
        <p:spPr>
          <a:xfrm>
            <a:off x="6646854" y="1295721"/>
            <a:ext cx="2460241" cy="1211476"/>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algn="ctr">
              <a:defRPr sz="1800">
                <a:latin typeface="Quattrocento Sans"/>
              </a:defRPr>
            </a:lvl1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3200" b="1" i="0" u="none" strike="noStrike" kern="0" cap="none" spc="0" normalizeH="0" baseline="0" noProof="0">
                <a:ln>
                  <a:noFill/>
                </a:ln>
                <a:effectLst/>
                <a:uLnTx/>
                <a:uFillTx/>
                <a:latin typeface="Quattrocento Sans"/>
                <a:cs typeface="Arial"/>
                <a:sym typeface="DM Sans Bold"/>
              </a:rPr>
              <a:t>2nd Phase</a:t>
            </a:r>
          </a:p>
          <a:p>
            <a:pPr lvl="0">
              <a:buClr>
                <a:srgbClr val="000000"/>
              </a:buClr>
              <a:defRPr/>
            </a:pPr>
            <a:r>
              <a:rPr lang="en-GB" sz="1400" b="1" kern="0" noProof="0">
                <a:cs typeface="Arial"/>
                <a:sym typeface="DM Sans Bold"/>
              </a:rPr>
              <a:t>Definition of corrective actions and remediation plans</a:t>
            </a:r>
            <a:endParaRPr kumimoji="0" lang="en-GB" sz="1400" b="1" i="0" u="none" strike="noStrike" kern="0" cap="none" spc="0" normalizeH="0" baseline="0" noProof="0">
              <a:ln>
                <a:noFill/>
              </a:ln>
              <a:effectLst/>
              <a:uLnTx/>
              <a:uFillTx/>
              <a:latin typeface="Quattrocento Sans"/>
              <a:cs typeface="Arial"/>
              <a:sym typeface="DM Sans Bold"/>
            </a:endParaRPr>
          </a:p>
        </p:txBody>
      </p:sp>
      <p:sp>
        <p:nvSpPr>
          <p:cNvPr id="10" name="Rectángulo: esquinas redondeadas 9">
            <a:extLst>
              <a:ext uri="{FF2B5EF4-FFF2-40B4-BE49-F238E27FC236}">
                <a16:creationId xmlns:a16="http://schemas.microsoft.com/office/drawing/2014/main" id="{CD77EF99-95F1-B18D-2776-2A441DEF3511}"/>
              </a:ext>
            </a:extLst>
          </p:cNvPr>
          <p:cNvSpPr/>
          <p:nvPr/>
        </p:nvSpPr>
        <p:spPr>
          <a:xfrm>
            <a:off x="9484329" y="1219633"/>
            <a:ext cx="2483894" cy="1372669"/>
          </a:xfrm>
          <a:prstGeom prst="roundRect">
            <a:avLst>
              <a:gd name="adj" fmla="val 6981"/>
            </a:avLst>
          </a:prstGeom>
          <a:noFill/>
          <a:ln w="38100" cap="flat" cmpd="sng">
            <a:solidFill>
              <a:srgbClr val="FC03FE"/>
            </a:solidFill>
            <a:prstDash val="solid"/>
            <a:round/>
            <a:headEnd type="none" w="med" len="med"/>
            <a:tailEnd type="none" w="med" len="med"/>
          </a:ln>
        </p:spPr>
        <p:txBody>
          <a:bodyPr lIns="0" tIns="0" rIns="0" bIns="0" rtlCol="0" anchor="ctr"/>
          <a:lstStyle/>
          <a:p>
            <a:pPr algn="ctr"/>
            <a:endParaRPr lang="en-GB" noProof="0">
              <a:solidFill>
                <a:schemeClr val="tx2"/>
              </a:solidFill>
              <a:sym typeface="Calibri"/>
            </a:endParaRPr>
          </a:p>
        </p:txBody>
      </p:sp>
      <p:sp>
        <p:nvSpPr>
          <p:cNvPr id="12" name="TextBox 32">
            <a:extLst>
              <a:ext uri="{FF2B5EF4-FFF2-40B4-BE49-F238E27FC236}">
                <a16:creationId xmlns:a16="http://schemas.microsoft.com/office/drawing/2014/main" id="{3428ADD2-56E1-326C-74EF-B0136DDC6DDB}"/>
              </a:ext>
            </a:extLst>
          </p:cNvPr>
          <p:cNvSpPr txBox="1"/>
          <p:nvPr/>
        </p:nvSpPr>
        <p:spPr>
          <a:xfrm>
            <a:off x="9824502" y="1518111"/>
            <a:ext cx="1803547" cy="780589"/>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algn="ctr">
              <a:defRPr sz="1800">
                <a:latin typeface="Quattrocento Sans"/>
              </a:defRPr>
            </a:lvl1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3200" b="1" kern="0" noProof="0">
                <a:cs typeface="Arial"/>
                <a:sym typeface="DM Sans Bold"/>
              </a:rPr>
              <a:t>3rd Phase</a:t>
            </a:r>
            <a:endParaRPr kumimoji="0" lang="en-GB" sz="3200" b="1" i="0" u="none" strike="noStrike" kern="0" cap="none" spc="0" normalizeH="0" baseline="0" noProof="0">
              <a:ln>
                <a:noFill/>
              </a:ln>
              <a:effectLst/>
              <a:uLnTx/>
              <a:uFillTx/>
              <a:latin typeface="Quattrocento Sans"/>
              <a:cs typeface="Arial"/>
              <a:sym typeface="DM Sans Bold"/>
            </a:endParaRPr>
          </a:p>
          <a:p>
            <a:pPr lvl="0">
              <a:buClr>
                <a:srgbClr val="000000"/>
              </a:buClr>
              <a:defRPr/>
            </a:pPr>
            <a:r>
              <a:rPr lang="en-GB" sz="1400" b="1" kern="0" noProof="0">
                <a:cs typeface="Arial"/>
                <a:sym typeface="DM Sans Bold"/>
              </a:rPr>
              <a:t>Implementation</a:t>
            </a:r>
            <a:endParaRPr kumimoji="0" lang="en-GB" sz="1400" b="1" i="0" u="none" strike="noStrike" kern="0" cap="none" spc="0" normalizeH="0" baseline="0" noProof="0">
              <a:ln>
                <a:noFill/>
              </a:ln>
              <a:effectLst/>
              <a:uLnTx/>
              <a:uFillTx/>
              <a:latin typeface="Quattrocento Sans"/>
              <a:cs typeface="Arial"/>
              <a:sym typeface="DM Sans Bold"/>
            </a:endParaRPr>
          </a:p>
        </p:txBody>
      </p:sp>
      <p:sp>
        <p:nvSpPr>
          <p:cNvPr id="15" name="Rectangle 57">
            <a:extLst>
              <a:ext uri="{FF2B5EF4-FFF2-40B4-BE49-F238E27FC236}">
                <a16:creationId xmlns:a16="http://schemas.microsoft.com/office/drawing/2014/main" id="{7AB13E0F-B352-7FA5-B1B9-363630B6B266}"/>
              </a:ext>
            </a:extLst>
          </p:cNvPr>
          <p:cNvSpPr>
            <a:spLocks noChangeArrowheads="1"/>
          </p:cNvSpPr>
          <p:nvPr/>
        </p:nvSpPr>
        <p:spPr bwMode="gray">
          <a:xfrm>
            <a:off x="226219" y="198916"/>
            <a:ext cx="9409394" cy="830942"/>
          </a:xfrm>
          <a:prstGeom prst="rect">
            <a:avLst/>
          </a:prstGeom>
          <a:noFill/>
          <a:ln w="9525">
            <a:noFill/>
            <a:miter lim="800000"/>
            <a:headEnd/>
            <a:tailEnd/>
          </a:ln>
          <a:effectLst/>
        </p:spPr>
        <p:txBody>
          <a:bodyPr wrap="square" lIns="91386" tIns="45693" rIns="91386" bIns="45693">
            <a:spAutoFit/>
          </a:bodyPr>
          <a:lstStyle/>
          <a:p>
            <a:pPr hangingPunct="1"/>
            <a:r>
              <a:rPr lang="en-GB" sz="3000" noProof="0">
                <a:solidFill>
                  <a:srgbClr val="00456E"/>
                </a:solidFill>
                <a:latin typeface="DM Sans Bold" pitchFamily="2" charset="0"/>
              </a:rPr>
              <a:t>	 </a:t>
            </a:r>
            <a:r>
              <a:rPr lang="en-GB" sz="4800" b="1" noProof="0">
                <a:solidFill>
                  <a:schemeClr val="tx1">
                    <a:lumMod val="95000"/>
                    <a:lumOff val="5000"/>
                  </a:schemeClr>
                </a:solidFill>
                <a:latin typeface="Quattrocento Sans" panose="020B0502050000020003" pitchFamily="34" charset="0"/>
                <a:ea typeface="Lato"/>
                <a:cs typeface="Lato"/>
              </a:rPr>
              <a:t>Datasphere Data Quality</a:t>
            </a:r>
          </a:p>
        </p:txBody>
      </p:sp>
      <p:pic>
        <p:nvPicPr>
          <p:cNvPr id="16" name="Picture 6" descr="SAP Datasphere. Evolución desde SAP BW y SAP BW/4HANA. - ABAST">
            <a:extLst>
              <a:ext uri="{FF2B5EF4-FFF2-40B4-BE49-F238E27FC236}">
                <a16:creationId xmlns:a16="http://schemas.microsoft.com/office/drawing/2014/main" id="{F062F6FA-A555-5BE6-0393-F2401240B9C6}"/>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9443" b="18729"/>
          <a:stretch/>
        </p:blipFill>
        <p:spPr bwMode="auto">
          <a:xfrm>
            <a:off x="341700" y="404530"/>
            <a:ext cx="1002325" cy="419713"/>
          </a:xfrm>
          <a:prstGeom prst="rect">
            <a:avLst/>
          </a:prstGeom>
          <a:noFill/>
          <a:extLst>
            <a:ext uri="{909E8E84-426E-40DD-AFC4-6F175D3DCCD1}">
              <a14:hiddenFill xmlns:a14="http://schemas.microsoft.com/office/drawing/2010/main">
                <a:solidFill>
                  <a:srgbClr val="FFFFFF"/>
                </a:solidFill>
              </a14:hiddenFill>
            </a:ext>
          </a:extLst>
        </p:spPr>
      </p:pic>
      <p:pic>
        <p:nvPicPr>
          <p:cNvPr id="13" name="Imagen 12" descr="Logotipo&#10;&#10;Descripción generada automáticamente">
            <a:extLst>
              <a:ext uri="{FF2B5EF4-FFF2-40B4-BE49-F238E27FC236}">
                <a16:creationId xmlns:a16="http://schemas.microsoft.com/office/drawing/2014/main" id="{71FDC5E5-F48E-F171-7BF3-E5FEED53390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675643" y="422965"/>
            <a:ext cx="1935381" cy="446626"/>
          </a:xfrm>
          <a:prstGeom prst="rect">
            <a:avLst/>
          </a:prstGeom>
        </p:spPr>
      </p:pic>
      <p:pic>
        <p:nvPicPr>
          <p:cNvPr id="14" name="Picture 2" descr="AstraZeneca Logo, symbol, meaning, history, PNG, brand">
            <a:extLst>
              <a:ext uri="{FF2B5EF4-FFF2-40B4-BE49-F238E27FC236}">
                <a16:creationId xmlns:a16="http://schemas.microsoft.com/office/drawing/2014/main" id="{299E16A2-2C9D-EE0F-DA16-06FE2578584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075018" y="213658"/>
            <a:ext cx="1267373" cy="7128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00030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3335">
          <a:extLst>
            <a:ext uri="{FF2B5EF4-FFF2-40B4-BE49-F238E27FC236}">
              <a16:creationId xmlns:a16="http://schemas.microsoft.com/office/drawing/2014/main" id="{2DE55C7D-13FE-5457-F1D7-1A965D27124A}"/>
            </a:ext>
          </a:extLst>
        </p:cNvPr>
        <p:cNvGrpSpPr/>
        <p:nvPr/>
      </p:nvGrpSpPr>
      <p:grpSpPr>
        <a:xfrm>
          <a:off x="0" y="0"/>
          <a:ext cx="0" cy="0"/>
          <a:chOff x="0" y="0"/>
          <a:chExt cx="0" cy="0"/>
        </a:xfrm>
      </p:grpSpPr>
      <p:pic>
        <p:nvPicPr>
          <p:cNvPr id="5" name="Demo DataQuality">
            <a:hlinkClick r:id="" action="ppaction://media"/>
            <a:extLst>
              <a:ext uri="{FF2B5EF4-FFF2-40B4-BE49-F238E27FC236}">
                <a16:creationId xmlns:a16="http://schemas.microsoft.com/office/drawing/2014/main" id="{847A7F1E-4499-525B-1DC3-9FE133267934}"/>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75732" y="1189807"/>
            <a:ext cx="11137847" cy="5326501"/>
          </a:xfrm>
          <a:prstGeom prst="rect">
            <a:avLst/>
          </a:prstGeom>
        </p:spPr>
      </p:pic>
      <p:sp>
        <p:nvSpPr>
          <p:cNvPr id="4" name="Google Shape;3347;g30e148d11da_7_119">
            <a:extLst>
              <a:ext uri="{FF2B5EF4-FFF2-40B4-BE49-F238E27FC236}">
                <a16:creationId xmlns:a16="http://schemas.microsoft.com/office/drawing/2014/main" id="{E3660CE1-0A8A-0EFC-9AA3-B1E9F8A56127}"/>
              </a:ext>
            </a:extLst>
          </p:cNvPr>
          <p:cNvSpPr/>
          <p:nvPr/>
        </p:nvSpPr>
        <p:spPr>
          <a:xfrm>
            <a:off x="10186647" y="659263"/>
            <a:ext cx="1324655" cy="305618"/>
          </a:xfrm>
          <a:custGeom>
            <a:avLst/>
            <a:gdLst/>
            <a:ahLst/>
            <a:cxnLst/>
            <a:rect l="l" t="t" r="r" b="b"/>
            <a:pathLst>
              <a:path w="1926771" h="444535" extrusionOk="0">
                <a:moveTo>
                  <a:pt x="725088" y="204891"/>
                </a:moveTo>
                <a:cubicBezTo>
                  <a:pt x="712077" y="210871"/>
                  <a:pt x="698448" y="215412"/>
                  <a:pt x="684445" y="218434"/>
                </a:cubicBezTo>
                <a:lnTo>
                  <a:pt x="660458" y="223662"/>
                </a:lnTo>
                <a:cubicBezTo>
                  <a:pt x="650420" y="225838"/>
                  <a:pt x="641095" y="230493"/>
                  <a:pt x="633330" y="237205"/>
                </a:cubicBezTo>
                <a:cubicBezTo>
                  <a:pt x="628707" y="243967"/>
                  <a:pt x="626164" y="251923"/>
                  <a:pt x="625999" y="260109"/>
                </a:cubicBezTo>
                <a:cubicBezTo>
                  <a:pt x="625595" y="269345"/>
                  <a:pt x="629001" y="278343"/>
                  <a:pt x="635424" y="285005"/>
                </a:cubicBezTo>
                <a:cubicBezTo>
                  <a:pt x="643129" y="291029"/>
                  <a:pt x="652794" y="293992"/>
                  <a:pt x="662553" y="293320"/>
                </a:cubicBezTo>
                <a:cubicBezTo>
                  <a:pt x="682002" y="293320"/>
                  <a:pt x="697296" y="287758"/>
                  <a:pt x="708432" y="276640"/>
                </a:cubicBezTo>
                <a:cubicBezTo>
                  <a:pt x="719567" y="265521"/>
                  <a:pt x="725123" y="250250"/>
                  <a:pt x="725088" y="230832"/>
                </a:cubicBezTo>
                <a:close/>
                <a:moveTo>
                  <a:pt x="1067435" y="121590"/>
                </a:moveTo>
                <a:cubicBezTo>
                  <a:pt x="1053442" y="121087"/>
                  <a:pt x="1039857" y="126360"/>
                  <a:pt x="1029884" y="136178"/>
                </a:cubicBezTo>
                <a:cubicBezTo>
                  <a:pt x="1020109" y="146137"/>
                  <a:pt x="1014923" y="159779"/>
                  <a:pt x="1014225" y="177804"/>
                </a:cubicBezTo>
                <a:lnTo>
                  <a:pt x="1120595" y="177804"/>
                </a:lnTo>
                <a:cubicBezTo>
                  <a:pt x="1119198" y="159082"/>
                  <a:pt x="1114361" y="145191"/>
                  <a:pt x="1105983" y="136178"/>
                </a:cubicBezTo>
                <a:cubicBezTo>
                  <a:pt x="1097605" y="127166"/>
                  <a:pt x="1084091" y="121590"/>
                  <a:pt x="1067435" y="121590"/>
                </a:cubicBezTo>
                <a:close/>
                <a:moveTo>
                  <a:pt x="1431974" y="67417"/>
                </a:moveTo>
                <a:lnTo>
                  <a:pt x="1512312" y="67417"/>
                </a:lnTo>
                <a:lnTo>
                  <a:pt x="1568614" y="263246"/>
                </a:lnTo>
                <a:lnTo>
                  <a:pt x="1617635" y="92412"/>
                </a:lnTo>
                <a:cubicBezTo>
                  <a:pt x="1621823" y="75782"/>
                  <a:pt x="1632944" y="67517"/>
                  <a:pt x="1651047" y="67517"/>
                </a:cubicBezTo>
                <a:lnTo>
                  <a:pt x="1700915" y="67517"/>
                </a:lnTo>
                <a:lnTo>
                  <a:pt x="1594496" y="383093"/>
                </a:lnTo>
                <a:cubicBezTo>
                  <a:pt x="1586153" y="405997"/>
                  <a:pt x="1575730" y="422313"/>
                  <a:pt x="1563228" y="432038"/>
                </a:cubicBezTo>
                <a:cubicBezTo>
                  <a:pt x="1550726" y="440338"/>
                  <a:pt x="1530200" y="444500"/>
                  <a:pt x="1501640" y="444535"/>
                </a:cubicBezTo>
                <a:lnTo>
                  <a:pt x="1494459" y="444535"/>
                </a:lnTo>
                <a:lnTo>
                  <a:pt x="1471470" y="444187"/>
                </a:lnTo>
                <a:lnTo>
                  <a:pt x="1471470" y="385134"/>
                </a:lnTo>
                <a:lnTo>
                  <a:pt x="1491417" y="385134"/>
                </a:lnTo>
                <a:cubicBezTo>
                  <a:pt x="1503206" y="385777"/>
                  <a:pt x="1514841" y="382251"/>
                  <a:pt x="1524281" y="375176"/>
                </a:cubicBezTo>
                <a:cubicBezTo>
                  <a:pt x="1532260" y="368554"/>
                  <a:pt x="1533856" y="357998"/>
                  <a:pt x="1528968" y="343409"/>
                </a:cubicBezTo>
                <a:close/>
                <a:moveTo>
                  <a:pt x="541522" y="67318"/>
                </a:moveTo>
                <a:lnTo>
                  <a:pt x="551945" y="67318"/>
                </a:lnTo>
                <a:lnTo>
                  <a:pt x="551945" y="141158"/>
                </a:lnTo>
                <a:lnTo>
                  <a:pt x="527958" y="141158"/>
                </a:lnTo>
                <a:cubicBezTo>
                  <a:pt x="508011" y="141158"/>
                  <a:pt x="493050" y="146137"/>
                  <a:pt x="483076" y="155747"/>
                </a:cubicBezTo>
                <a:cubicBezTo>
                  <a:pt x="473103" y="165356"/>
                  <a:pt x="468515" y="180642"/>
                  <a:pt x="468515" y="201555"/>
                </a:cubicBezTo>
                <a:lnTo>
                  <a:pt x="468515" y="344256"/>
                </a:lnTo>
                <a:lnTo>
                  <a:pt x="395357" y="344455"/>
                </a:lnTo>
                <a:lnTo>
                  <a:pt x="395357" y="210019"/>
                </a:lnTo>
                <a:cubicBezTo>
                  <a:pt x="394679" y="186702"/>
                  <a:pt x="398769" y="163489"/>
                  <a:pt x="407376" y="141805"/>
                </a:cubicBezTo>
                <a:cubicBezTo>
                  <a:pt x="414502" y="124568"/>
                  <a:pt x="425792" y="109361"/>
                  <a:pt x="440239" y="97541"/>
                </a:cubicBezTo>
                <a:cubicBezTo>
                  <a:pt x="453998" y="86841"/>
                  <a:pt x="469796" y="79048"/>
                  <a:pt x="486667" y="74637"/>
                </a:cubicBezTo>
                <a:cubicBezTo>
                  <a:pt x="504535" y="69733"/>
                  <a:pt x="522991" y="67268"/>
                  <a:pt x="541522" y="67318"/>
                </a:cubicBezTo>
                <a:close/>
                <a:moveTo>
                  <a:pt x="1798307" y="61542"/>
                </a:moveTo>
                <a:cubicBezTo>
                  <a:pt x="1834477" y="61542"/>
                  <a:pt x="1863336" y="69524"/>
                  <a:pt x="1884929" y="85492"/>
                </a:cubicBezTo>
                <a:cubicBezTo>
                  <a:pt x="1904876" y="102420"/>
                  <a:pt x="1916596" y="127037"/>
                  <a:pt x="1917244" y="153158"/>
                </a:cubicBezTo>
                <a:lnTo>
                  <a:pt x="1872362" y="153158"/>
                </a:lnTo>
                <a:cubicBezTo>
                  <a:pt x="1859745" y="153511"/>
                  <a:pt x="1847981" y="146655"/>
                  <a:pt x="1842092" y="135482"/>
                </a:cubicBezTo>
                <a:lnTo>
                  <a:pt x="1833764" y="127117"/>
                </a:lnTo>
                <a:cubicBezTo>
                  <a:pt x="1823591" y="120360"/>
                  <a:pt x="1811502" y="117079"/>
                  <a:pt x="1799305" y="117756"/>
                </a:cubicBezTo>
                <a:cubicBezTo>
                  <a:pt x="1788513" y="117074"/>
                  <a:pt x="1777726" y="119240"/>
                  <a:pt x="1768037" y="124030"/>
                </a:cubicBezTo>
                <a:cubicBezTo>
                  <a:pt x="1761784" y="128148"/>
                  <a:pt x="1758208" y="135288"/>
                  <a:pt x="1758662" y="142751"/>
                </a:cubicBezTo>
                <a:cubicBezTo>
                  <a:pt x="1758662" y="153870"/>
                  <a:pt x="1776729" y="163250"/>
                  <a:pt x="1812869" y="170883"/>
                </a:cubicBezTo>
                <a:cubicBezTo>
                  <a:pt x="1816470" y="172113"/>
                  <a:pt x="1820130" y="173159"/>
                  <a:pt x="1823840" y="174020"/>
                </a:cubicBezTo>
                <a:cubicBezTo>
                  <a:pt x="1826752" y="174692"/>
                  <a:pt x="1829730" y="175041"/>
                  <a:pt x="1832717" y="175066"/>
                </a:cubicBezTo>
                <a:cubicBezTo>
                  <a:pt x="1868173" y="184093"/>
                  <a:pt x="1892858" y="194499"/>
                  <a:pt x="1906771" y="206285"/>
                </a:cubicBezTo>
                <a:cubicBezTo>
                  <a:pt x="1920236" y="219290"/>
                  <a:pt x="1927467" y="237399"/>
                  <a:pt x="1926719" y="256076"/>
                </a:cubicBezTo>
                <a:cubicBezTo>
                  <a:pt x="1926719" y="286648"/>
                  <a:pt x="1915598" y="310249"/>
                  <a:pt x="1893357" y="326879"/>
                </a:cubicBezTo>
                <a:cubicBezTo>
                  <a:pt x="1872512" y="342180"/>
                  <a:pt x="1841209" y="349833"/>
                  <a:pt x="1799454" y="349833"/>
                </a:cubicBezTo>
                <a:cubicBezTo>
                  <a:pt x="1759859" y="349833"/>
                  <a:pt x="1730322" y="341831"/>
                  <a:pt x="1710838" y="325833"/>
                </a:cubicBezTo>
                <a:cubicBezTo>
                  <a:pt x="1690656" y="309900"/>
                  <a:pt x="1680568" y="286663"/>
                  <a:pt x="1680568" y="256126"/>
                </a:cubicBezTo>
                <a:lnTo>
                  <a:pt x="1680468" y="252790"/>
                </a:lnTo>
                <a:lnTo>
                  <a:pt x="1751281" y="252790"/>
                </a:lnTo>
                <a:cubicBezTo>
                  <a:pt x="1751187" y="265113"/>
                  <a:pt x="1757006" y="276739"/>
                  <a:pt x="1766940" y="284059"/>
                </a:cubicBezTo>
                <a:cubicBezTo>
                  <a:pt x="1779522" y="291562"/>
                  <a:pt x="1794044" y="295182"/>
                  <a:pt x="1808680" y="294465"/>
                </a:cubicBezTo>
                <a:cubicBezTo>
                  <a:pt x="1819890" y="294759"/>
                  <a:pt x="1830996" y="292259"/>
                  <a:pt x="1840995" y="287195"/>
                </a:cubicBezTo>
                <a:cubicBezTo>
                  <a:pt x="1848625" y="283476"/>
                  <a:pt x="1853477" y="275758"/>
                  <a:pt x="1853512" y="267279"/>
                </a:cubicBezTo>
                <a:cubicBezTo>
                  <a:pt x="1853512" y="254766"/>
                  <a:pt x="1838915" y="245386"/>
                  <a:pt x="1809727" y="239147"/>
                </a:cubicBezTo>
                <a:cubicBezTo>
                  <a:pt x="1800192" y="237778"/>
                  <a:pt x="1790772" y="235696"/>
                  <a:pt x="1781552" y="232923"/>
                </a:cubicBezTo>
                <a:cubicBezTo>
                  <a:pt x="1744749" y="223996"/>
                  <a:pt x="1720099" y="213320"/>
                  <a:pt x="1707596" y="200907"/>
                </a:cubicBezTo>
                <a:cubicBezTo>
                  <a:pt x="1693628" y="188196"/>
                  <a:pt x="1685998" y="169972"/>
                  <a:pt x="1686751" y="151116"/>
                </a:cubicBezTo>
                <a:cubicBezTo>
                  <a:pt x="1686248" y="125778"/>
                  <a:pt x="1697384" y="101604"/>
                  <a:pt x="1716972" y="85492"/>
                </a:cubicBezTo>
                <a:cubicBezTo>
                  <a:pt x="1737817" y="69524"/>
                  <a:pt x="1764930" y="61542"/>
                  <a:pt x="1798307" y="61542"/>
                </a:cubicBezTo>
                <a:close/>
                <a:moveTo>
                  <a:pt x="117839" y="61542"/>
                </a:moveTo>
                <a:cubicBezTo>
                  <a:pt x="154009" y="61542"/>
                  <a:pt x="182868" y="69524"/>
                  <a:pt x="204411" y="85492"/>
                </a:cubicBezTo>
                <a:cubicBezTo>
                  <a:pt x="224343" y="102426"/>
                  <a:pt x="236112" y="127032"/>
                  <a:pt x="236776" y="153158"/>
                </a:cubicBezTo>
                <a:lnTo>
                  <a:pt x="191894" y="153158"/>
                </a:lnTo>
                <a:cubicBezTo>
                  <a:pt x="179267" y="153516"/>
                  <a:pt x="167538" y="146655"/>
                  <a:pt x="161674" y="135482"/>
                </a:cubicBezTo>
                <a:lnTo>
                  <a:pt x="153296" y="127117"/>
                </a:lnTo>
                <a:cubicBezTo>
                  <a:pt x="143142" y="120355"/>
                  <a:pt x="131069" y="117069"/>
                  <a:pt x="118886" y="117756"/>
                </a:cubicBezTo>
                <a:cubicBezTo>
                  <a:pt x="108095" y="117074"/>
                  <a:pt x="97308" y="119240"/>
                  <a:pt x="87619" y="124030"/>
                </a:cubicBezTo>
                <a:cubicBezTo>
                  <a:pt x="81355" y="128143"/>
                  <a:pt x="77760" y="135278"/>
                  <a:pt x="78194" y="142751"/>
                </a:cubicBezTo>
                <a:cubicBezTo>
                  <a:pt x="78194" y="153870"/>
                  <a:pt x="96281" y="163250"/>
                  <a:pt x="132451" y="170883"/>
                </a:cubicBezTo>
                <a:cubicBezTo>
                  <a:pt x="136051" y="172113"/>
                  <a:pt x="139712" y="173159"/>
                  <a:pt x="143422" y="174020"/>
                </a:cubicBezTo>
                <a:cubicBezTo>
                  <a:pt x="146314" y="174697"/>
                  <a:pt x="149276" y="175046"/>
                  <a:pt x="152248" y="175066"/>
                </a:cubicBezTo>
                <a:cubicBezTo>
                  <a:pt x="187655" y="183864"/>
                  <a:pt x="212340" y="194136"/>
                  <a:pt x="226303" y="205886"/>
                </a:cubicBezTo>
                <a:cubicBezTo>
                  <a:pt x="239748" y="218892"/>
                  <a:pt x="246999" y="237001"/>
                  <a:pt x="246251" y="255678"/>
                </a:cubicBezTo>
                <a:cubicBezTo>
                  <a:pt x="246251" y="286249"/>
                  <a:pt x="235115" y="309850"/>
                  <a:pt x="212839" y="326481"/>
                </a:cubicBezTo>
                <a:cubicBezTo>
                  <a:pt x="191994" y="341781"/>
                  <a:pt x="160711" y="349434"/>
                  <a:pt x="118986" y="349434"/>
                </a:cubicBezTo>
                <a:cubicBezTo>
                  <a:pt x="79356" y="349434"/>
                  <a:pt x="49804" y="341433"/>
                  <a:pt x="30320" y="325435"/>
                </a:cubicBezTo>
                <a:cubicBezTo>
                  <a:pt x="10173" y="309502"/>
                  <a:pt x="100" y="286264"/>
                  <a:pt x="100" y="255727"/>
                </a:cubicBezTo>
                <a:lnTo>
                  <a:pt x="0" y="252790"/>
                </a:lnTo>
                <a:lnTo>
                  <a:pt x="70714" y="252790"/>
                </a:lnTo>
                <a:cubicBezTo>
                  <a:pt x="70594" y="265123"/>
                  <a:pt x="76418" y="276754"/>
                  <a:pt x="86372" y="284059"/>
                </a:cubicBezTo>
                <a:cubicBezTo>
                  <a:pt x="98939" y="291552"/>
                  <a:pt x="113441" y="295177"/>
                  <a:pt x="128062" y="294465"/>
                </a:cubicBezTo>
                <a:cubicBezTo>
                  <a:pt x="139288" y="294754"/>
                  <a:pt x="150408" y="292254"/>
                  <a:pt x="160427" y="287195"/>
                </a:cubicBezTo>
                <a:cubicBezTo>
                  <a:pt x="168057" y="283476"/>
                  <a:pt x="172909" y="275758"/>
                  <a:pt x="172944" y="267279"/>
                </a:cubicBezTo>
                <a:cubicBezTo>
                  <a:pt x="172944" y="254766"/>
                  <a:pt x="158332" y="245386"/>
                  <a:pt x="129110" y="239147"/>
                </a:cubicBezTo>
                <a:cubicBezTo>
                  <a:pt x="119575" y="237773"/>
                  <a:pt x="110159" y="235691"/>
                  <a:pt x="100934" y="232923"/>
                </a:cubicBezTo>
                <a:cubicBezTo>
                  <a:pt x="64166" y="223996"/>
                  <a:pt x="39546" y="213320"/>
                  <a:pt x="27079" y="200907"/>
                </a:cubicBezTo>
                <a:cubicBezTo>
                  <a:pt x="13110" y="188196"/>
                  <a:pt x="5481" y="169972"/>
                  <a:pt x="6234" y="151116"/>
                </a:cubicBezTo>
                <a:cubicBezTo>
                  <a:pt x="5745" y="125773"/>
                  <a:pt x="16895" y="101594"/>
                  <a:pt x="36504" y="85492"/>
                </a:cubicBezTo>
                <a:cubicBezTo>
                  <a:pt x="57349" y="69524"/>
                  <a:pt x="84462" y="61542"/>
                  <a:pt x="117839" y="61542"/>
                </a:cubicBezTo>
                <a:close/>
                <a:moveTo>
                  <a:pt x="674970" y="61293"/>
                </a:moveTo>
                <a:cubicBezTo>
                  <a:pt x="713867" y="61293"/>
                  <a:pt x="743056" y="67930"/>
                  <a:pt x="762539" y="81209"/>
                </a:cubicBezTo>
                <a:cubicBezTo>
                  <a:pt x="782168" y="94006"/>
                  <a:pt x="793652" y="116128"/>
                  <a:pt x="792809" y="139515"/>
                </a:cubicBezTo>
                <a:lnTo>
                  <a:pt x="792809" y="234118"/>
                </a:lnTo>
                <a:cubicBezTo>
                  <a:pt x="792809" y="261902"/>
                  <a:pt x="787822" y="283596"/>
                  <a:pt x="777849" y="299195"/>
                </a:cubicBezTo>
                <a:cubicBezTo>
                  <a:pt x="769137" y="313535"/>
                  <a:pt x="756670" y="325221"/>
                  <a:pt x="741794" y="333003"/>
                </a:cubicBezTo>
                <a:cubicBezTo>
                  <a:pt x="727347" y="340572"/>
                  <a:pt x="711593" y="345337"/>
                  <a:pt x="695366" y="347044"/>
                </a:cubicBezTo>
                <a:cubicBezTo>
                  <a:pt x="680994" y="348678"/>
                  <a:pt x="666547" y="349559"/>
                  <a:pt x="652081" y="349683"/>
                </a:cubicBezTo>
                <a:cubicBezTo>
                  <a:pt x="628567" y="350156"/>
                  <a:pt x="605533" y="343031"/>
                  <a:pt x="586404" y="329369"/>
                </a:cubicBezTo>
                <a:cubicBezTo>
                  <a:pt x="567618" y="315825"/>
                  <a:pt x="558228" y="293434"/>
                  <a:pt x="558228" y="262200"/>
                </a:cubicBezTo>
                <a:cubicBezTo>
                  <a:pt x="558228" y="233023"/>
                  <a:pt x="566740" y="212195"/>
                  <a:pt x="583761" y="199712"/>
                </a:cubicBezTo>
                <a:cubicBezTo>
                  <a:pt x="603185" y="186304"/>
                  <a:pt x="625561" y="177764"/>
                  <a:pt x="648989" y="174817"/>
                </a:cubicBezTo>
                <a:cubicBezTo>
                  <a:pt x="653202" y="174717"/>
                  <a:pt x="657396" y="174179"/>
                  <a:pt x="661505" y="173224"/>
                </a:cubicBezTo>
                <a:cubicBezTo>
                  <a:pt x="666492" y="172178"/>
                  <a:pt x="671928" y="171331"/>
                  <a:pt x="678162" y="170634"/>
                </a:cubicBezTo>
                <a:cubicBezTo>
                  <a:pt x="708781" y="166452"/>
                  <a:pt x="724091" y="157425"/>
                  <a:pt x="724091" y="143548"/>
                </a:cubicBezTo>
                <a:cubicBezTo>
                  <a:pt x="724460" y="133709"/>
                  <a:pt x="717573" y="125071"/>
                  <a:pt x="707883" y="123233"/>
                </a:cubicBezTo>
                <a:cubicBezTo>
                  <a:pt x="698179" y="120286"/>
                  <a:pt x="688106" y="118712"/>
                  <a:pt x="677962" y="118553"/>
                </a:cubicBezTo>
                <a:cubicBezTo>
                  <a:pt x="669091" y="118413"/>
                  <a:pt x="660264" y="119828"/>
                  <a:pt x="651881" y="122735"/>
                </a:cubicBezTo>
                <a:cubicBezTo>
                  <a:pt x="644371" y="125374"/>
                  <a:pt x="638327" y="131050"/>
                  <a:pt x="635225" y="138370"/>
                </a:cubicBezTo>
                <a:lnTo>
                  <a:pt x="565409" y="138370"/>
                </a:lnTo>
                <a:cubicBezTo>
                  <a:pt x="567823" y="117527"/>
                  <a:pt x="578310" y="98457"/>
                  <a:pt x="594632" y="85243"/>
                </a:cubicBezTo>
                <a:cubicBezTo>
                  <a:pt x="613418" y="69275"/>
                  <a:pt x="640197" y="61293"/>
                  <a:pt x="674970" y="61293"/>
                </a:cubicBezTo>
                <a:close/>
                <a:moveTo>
                  <a:pt x="1318972" y="61193"/>
                </a:moveTo>
                <a:cubicBezTo>
                  <a:pt x="1355141" y="61193"/>
                  <a:pt x="1384000" y="69175"/>
                  <a:pt x="1405543" y="85143"/>
                </a:cubicBezTo>
                <a:cubicBezTo>
                  <a:pt x="1425511" y="102052"/>
                  <a:pt x="1437290" y="126673"/>
                  <a:pt x="1437908" y="152809"/>
                </a:cubicBezTo>
                <a:lnTo>
                  <a:pt x="1393026" y="152809"/>
                </a:lnTo>
                <a:cubicBezTo>
                  <a:pt x="1380400" y="153167"/>
                  <a:pt x="1368671" y="146306"/>
                  <a:pt x="1362806" y="135133"/>
                </a:cubicBezTo>
                <a:lnTo>
                  <a:pt x="1354478" y="126768"/>
                </a:lnTo>
                <a:cubicBezTo>
                  <a:pt x="1344305" y="120011"/>
                  <a:pt x="1332217" y="116730"/>
                  <a:pt x="1320019" y="117407"/>
                </a:cubicBezTo>
                <a:cubicBezTo>
                  <a:pt x="1309227" y="116725"/>
                  <a:pt x="1298441" y="118891"/>
                  <a:pt x="1288751" y="123681"/>
                </a:cubicBezTo>
                <a:cubicBezTo>
                  <a:pt x="1282488" y="127794"/>
                  <a:pt x="1278892" y="134929"/>
                  <a:pt x="1279326" y="142402"/>
                </a:cubicBezTo>
                <a:cubicBezTo>
                  <a:pt x="1279326" y="153521"/>
                  <a:pt x="1297414" y="162901"/>
                  <a:pt x="1333583" y="170534"/>
                </a:cubicBezTo>
                <a:cubicBezTo>
                  <a:pt x="1337184" y="171764"/>
                  <a:pt x="1340844" y="172810"/>
                  <a:pt x="1344554" y="173671"/>
                </a:cubicBezTo>
                <a:cubicBezTo>
                  <a:pt x="1347466" y="174343"/>
                  <a:pt x="1350444" y="174692"/>
                  <a:pt x="1353431" y="174717"/>
                </a:cubicBezTo>
                <a:cubicBezTo>
                  <a:pt x="1388773" y="183744"/>
                  <a:pt x="1413338" y="194135"/>
                  <a:pt x="1427136" y="205886"/>
                </a:cubicBezTo>
                <a:cubicBezTo>
                  <a:pt x="1440561" y="218902"/>
                  <a:pt x="1447812" y="237006"/>
                  <a:pt x="1447084" y="255677"/>
                </a:cubicBezTo>
                <a:cubicBezTo>
                  <a:pt x="1447084" y="286249"/>
                  <a:pt x="1435963" y="309850"/>
                  <a:pt x="1413722" y="326480"/>
                </a:cubicBezTo>
                <a:cubicBezTo>
                  <a:pt x="1392842" y="341781"/>
                  <a:pt x="1361544" y="349434"/>
                  <a:pt x="1319819" y="349434"/>
                </a:cubicBezTo>
                <a:cubicBezTo>
                  <a:pt x="1280159" y="349434"/>
                  <a:pt x="1250602" y="341432"/>
                  <a:pt x="1231153" y="325435"/>
                </a:cubicBezTo>
                <a:cubicBezTo>
                  <a:pt x="1211006" y="309501"/>
                  <a:pt x="1200933" y="286264"/>
                  <a:pt x="1200933" y="255727"/>
                </a:cubicBezTo>
                <a:lnTo>
                  <a:pt x="1200933" y="252789"/>
                </a:lnTo>
                <a:lnTo>
                  <a:pt x="1271846" y="252789"/>
                </a:lnTo>
                <a:cubicBezTo>
                  <a:pt x="1271726" y="265123"/>
                  <a:pt x="1277551" y="276754"/>
                  <a:pt x="1287505" y="284058"/>
                </a:cubicBezTo>
                <a:cubicBezTo>
                  <a:pt x="1300087" y="291562"/>
                  <a:pt x="1314608" y="295181"/>
                  <a:pt x="1329245" y="294465"/>
                </a:cubicBezTo>
                <a:cubicBezTo>
                  <a:pt x="1340455" y="294753"/>
                  <a:pt x="1351556" y="292254"/>
                  <a:pt x="1361559" y="287195"/>
                </a:cubicBezTo>
                <a:cubicBezTo>
                  <a:pt x="1369189" y="283476"/>
                  <a:pt x="1374042" y="275758"/>
                  <a:pt x="1374076" y="267278"/>
                </a:cubicBezTo>
                <a:cubicBezTo>
                  <a:pt x="1374076" y="254766"/>
                  <a:pt x="1359465" y="245385"/>
                  <a:pt x="1330242" y="239147"/>
                </a:cubicBezTo>
                <a:cubicBezTo>
                  <a:pt x="1320722" y="237777"/>
                  <a:pt x="1311322" y="235696"/>
                  <a:pt x="1302116" y="232923"/>
                </a:cubicBezTo>
                <a:cubicBezTo>
                  <a:pt x="1265214" y="223925"/>
                  <a:pt x="1240529" y="213171"/>
                  <a:pt x="1228061" y="200658"/>
                </a:cubicBezTo>
                <a:cubicBezTo>
                  <a:pt x="1214063" y="187961"/>
                  <a:pt x="1206414" y="169733"/>
                  <a:pt x="1207167" y="150867"/>
                </a:cubicBezTo>
                <a:cubicBezTo>
                  <a:pt x="1206693" y="125453"/>
                  <a:pt x="1217923" y="101230"/>
                  <a:pt x="1237636" y="85143"/>
                </a:cubicBezTo>
                <a:cubicBezTo>
                  <a:pt x="1258481" y="69175"/>
                  <a:pt x="1285595" y="61193"/>
                  <a:pt x="1318972" y="61193"/>
                </a:cubicBezTo>
                <a:close/>
                <a:moveTo>
                  <a:pt x="1065340" y="61193"/>
                </a:moveTo>
                <a:cubicBezTo>
                  <a:pt x="1107030" y="61193"/>
                  <a:pt x="1139360" y="73691"/>
                  <a:pt x="1162334" y="98686"/>
                </a:cubicBezTo>
                <a:cubicBezTo>
                  <a:pt x="1184576" y="124378"/>
                  <a:pt x="1195696" y="160128"/>
                  <a:pt x="1195696" y="205936"/>
                </a:cubicBezTo>
                <a:lnTo>
                  <a:pt x="1195696" y="217388"/>
                </a:lnTo>
                <a:cubicBezTo>
                  <a:pt x="1195861" y="219872"/>
                  <a:pt x="1195502" y="222367"/>
                  <a:pt x="1194649" y="224707"/>
                </a:cubicBezTo>
                <a:lnTo>
                  <a:pt x="1014225" y="224707"/>
                </a:lnTo>
                <a:cubicBezTo>
                  <a:pt x="1014923" y="246217"/>
                  <a:pt x="1020144" y="262185"/>
                  <a:pt x="1029884" y="272606"/>
                </a:cubicBezTo>
                <a:cubicBezTo>
                  <a:pt x="1038895" y="283725"/>
                  <a:pt x="1052439" y="289271"/>
                  <a:pt x="1070526" y="289236"/>
                </a:cubicBezTo>
                <a:cubicBezTo>
                  <a:pt x="1081088" y="289570"/>
                  <a:pt x="1091541" y="287056"/>
                  <a:pt x="1100797" y="281967"/>
                </a:cubicBezTo>
                <a:cubicBezTo>
                  <a:pt x="1102971" y="281225"/>
                  <a:pt x="1104936" y="279980"/>
                  <a:pt x="1106532" y="278332"/>
                </a:cubicBezTo>
                <a:lnTo>
                  <a:pt x="1112266" y="272606"/>
                </a:lnTo>
                <a:cubicBezTo>
                  <a:pt x="1114117" y="269195"/>
                  <a:pt x="1116809" y="266313"/>
                  <a:pt x="1120096" y="264241"/>
                </a:cubicBezTo>
                <a:cubicBezTo>
                  <a:pt x="1125786" y="260452"/>
                  <a:pt x="1132568" y="258630"/>
                  <a:pt x="1139395" y="259063"/>
                </a:cubicBezTo>
                <a:lnTo>
                  <a:pt x="1191557" y="259063"/>
                </a:lnTo>
                <a:cubicBezTo>
                  <a:pt x="1183877" y="288241"/>
                  <a:pt x="1169266" y="310447"/>
                  <a:pt x="1147723" y="325684"/>
                </a:cubicBezTo>
                <a:cubicBezTo>
                  <a:pt x="1126180" y="341652"/>
                  <a:pt x="1099066" y="349648"/>
                  <a:pt x="1066387" y="349683"/>
                </a:cubicBezTo>
                <a:cubicBezTo>
                  <a:pt x="1026757" y="349683"/>
                  <a:pt x="995809" y="336837"/>
                  <a:pt x="973532" y="311145"/>
                </a:cubicBezTo>
                <a:cubicBezTo>
                  <a:pt x="951291" y="286149"/>
                  <a:pt x="940170" y="250384"/>
                  <a:pt x="940170" y="203845"/>
                </a:cubicBezTo>
                <a:cubicBezTo>
                  <a:pt x="940170" y="159431"/>
                  <a:pt x="950942" y="124727"/>
                  <a:pt x="972485" y="99731"/>
                </a:cubicBezTo>
                <a:cubicBezTo>
                  <a:pt x="994726" y="74039"/>
                  <a:pt x="1025680" y="61193"/>
                  <a:pt x="1065340" y="61193"/>
                </a:cubicBezTo>
                <a:close/>
                <a:moveTo>
                  <a:pt x="810064" y="0"/>
                </a:moveTo>
                <a:lnTo>
                  <a:pt x="880578" y="0"/>
                </a:lnTo>
                <a:lnTo>
                  <a:pt x="880578" y="69708"/>
                </a:lnTo>
                <a:lnTo>
                  <a:pt x="930446" y="69708"/>
                </a:lnTo>
                <a:lnTo>
                  <a:pt x="930446" y="132096"/>
                </a:lnTo>
                <a:lnTo>
                  <a:pt x="880578" y="132096"/>
                </a:lnTo>
                <a:lnTo>
                  <a:pt x="880578" y="229288"/>
                </a:lnTo>
                <a:cubicBezTo>
                  <a:pt x="880578" y="248458"/>
                  <a:pt x="884916" y="262001"/>
                  <a:pt x="893643" y="269818"/>
                </a:cubicBezTo>
                <a:cubicBezTo>
                  <a:pt x="902370" y="277636"/>
                  <a:pt x="915635" y="281021"/>
                  <a:pt x="933538" y="279776"/>
                </a:cubicBezTo>
                <a:lnTo>
                  <a:pt x="933438" y="343908"/>
                </a:lnTo>
                <a:cubicBezTo>
                  <a:pt x="915565" y="346233"/>
                  <a:pt x="897403" y="344963"/>
                  <a:pt x="880029" y="340173"/>
                </a:cubicBezTo>
                <a:cubicBezTo>
                  <a:pt x="865537" y="336060"/>
                  <a:pt x="852312" y="328373"/>
                  <a:pt x="841580" y="317817"/>
                </a:cubicBezTo>
                <a:cubicBezTo>
                  <a:pt x="830973" y="307032"/>
                  <a:pt x="822945" y="293997"/>
                  <a:pt x="818092" y="279677"/>
                </a:cubicBezTo>
                <a:cubicBezTo>
                  <a:pt x="812542" y="263276"/>
                  <a:pt x="809824" y="246053"/>
                  <a:pt x="810064" y="228741"/>
                </a:cubicBezTo>
                <a:close/>
                <a:moveTo>
                  <a:pt x="259216" y="0"/>
                </a:moveTo>
                <a:lnTo>
                  <a:pt x="329681" y="0"/>
                </a:lnTo>
                <a:lnTo>
                  <a:pt x="329681" y="69708"/>
                </a:lnTo>
                <a:lnTo>
                  <a:pt x="379549" y="69708"/>
                </a:lnTo>
                <a:lnTo>
                  <a:pt x="379549" y="132096"/>
                </a:lnTo>
                <a:lnTo>
                  <a:pt x="329681" y="132096"/>
                </a:lnTo>
                <a:lnTo>
                  <a:pt x="329681" y="229288"/>
                </a:lnTo>
                <a:cubicBezTo>
                  <a:pt x="329681" y="248458"/>
                  <a:pt x="334069" y="262001"/>
                  <a:pt x="342796" y="269818"/>
                </a:cubicBezTo>
                <a:cubicBezTo>
                  <a:pt x="351523" y="277636"/>
                  <a:pt x="364738" y="281021"/>
                  <a:pt x="382691" y="279776"/>
                </a:cubicBezTo>
                <a:lnTo>
                  <a:pt x="382541" y="343908"/>
                </a:lnTo>
                <a:cubicBezTo>
                  <a:pt x="364683" y="346238"/>
                  <a:pt x="346541" y="344968"/>
                  <a:pt x="329182" y="340173"/>
                </a:cubicBezTo>
                <a:cubicBezTo>
                  <a:pt x="314690" y="336060"/>
                  <a:pt x="301465" y="328373"/>
                  <a:pt x="290733" y="317817"/>
                </a:cubicBezTo>
                <a:cubicBezTo>
                  <a:pt x="280086" y="307052"/>
                  <a:pt x="272038" y="294012"/>
                  <a:pt x="267196" y="279677"/>
                </a:cubicBezTo>
                <a:cubicBezTo>
                  <a:pt x="261660" y="263276"/>
                  <a:pt x="258962" y="246048"/>
                  <a:pt x="259216" y="22874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800" b="0" i="0" u="none" strike="noStrike" kern="0" cap="none" spc="0" normalizeH="0" baseline="0" noProof="0">
              <a:ln>
                <a:noFill/>
              </a:ln>
              <a:solidFill>
                <a:schemeClr val="tx2"/>
              </a:solidFill>
              <a:effectLst/>
              <a:uLnTx/>
              <a:uFillTx/>
              <a:latin typeface="Arial"/>
              <a:ea typeface="Arial"/>
              <a:cs typeface="Arial"/>
              <a:sym typeface="Arial"/>
            </a:endParaRPr>
          </a:p>
        </p:txBody>
      </p:sp>
      <p:sp>
        <p:nvSpPr>
          <p:cNvPr id="2" name="Rectangle 57">
            <a:extLst>
              <a:ext uri="{FF2B5EF4-FFF2-40B4-BE49-F238E27FC236}">
                <a16:creationId xmlns:a16="http://schemas.microsoft.com/office/drawing/2014/main" id="{A5B118EF-063F-464D-F7CA-00C03B244A60}"/>
              </a:ext>
            </a:extLst>
          </p:cNvPr>
          <p:cNvSpPr>
            <a:spLocks noChangeArrowheads="1"/>
          </p:cNvSpPr>
          <p:nvPr/>
        </p:nvSpPr>
        <p:spPr bwMode="gray">
          <a:xfrm>
            <a:off x="226219" y="198916"/>
            <a:ext cx="9409394" cy="830942"/>
          </a:xfrm>
          <a:prstGeom prst="rect">
            <a:avLst/>
          </a:prstGeom>
          <a:noFill/>
          <a:ln w="9525">
            <a:noFill/>
            <a:miter lim="800000"/>
            <a:headEnd/>
            <a:tailEnd/>
          </a:ln>
          <a:effectLst/>
        </p:spPr>
        <p:txBody>
          <a:bodyPr wrap="square" lIns="91386" tIns="45693" rIns="91386" bIns="45693">
            <a:spAutoFit/>
          </a:bodyPr>
          <a:lstStyle/>
          <a:p>
            <a:pPr hangingPunct="1"/>
            <a:r>
              <a:rPr lang="en-GB" sz="3000" noProof="0">
                <a:solidFill>
                  <a:srgbClr val="00456E"/>
                </a:solidFill>
                <a:latin typeface="DM Sans Bold" pitchFamily="2" charset="0"/>
              </a:rPr>
              <a:t>	 </a:t>
            </a:r>
            <a:r>
              <a:rPr lang="en-GB" sz="4800" b="1" noProof="0">
                <a:solidFill>
                  <a:schemeClr val="tx1">
                    <a:lumMod val="95000"/>
                    <a:lumOff val="5000"/>
                  </a:schemeClr>
                </a:solidFill>
                <a:latin typeface="Quattrocento Sans" panose="020B0502050000020003" pitchFamily="34" charset="0"/>
                <a:ea typeface="Lato"/>
                <a:cs typeface="Lato"/>
              </a:rPr>
              <a:t>Datasphere Data Quality</a:t>
            </a:r>
          </a:p>
        </p:txBody>
      </p:sp>
      <p:pic>
        <p:nvPicPr>
          <p:cNvPr id="3" name="Picture 6" descr="SAP Datasphere. Evolución desde SAP BW y SAP BW/4HANA. - ABAST">
            <a:extLst>
              <a:ext uri="{FF2B5EF4-FFF2-40B4-BE49-F238E27FC236}">
                <a16:creationId xmlns:a16="http://schemas.microsoft.com/office/drawing/2014/main" id="{6821C2BB-32FD-A317-ED5A-C7C95646A9B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9443" b="18729"/>
          <a:stretch/>
        </p:blipFill>
        <p:spPr bwMode="auto">
          <a:xfrm>
            <a:off x="341700" y="404530"/>
            <a:ext cx="1002325" cy="419713"/>
          </a:xfrm>
          <a:prstGeom prst="rect">
            <a:avLst/>
          </a:prstGeom>
          <a:noFill/>
          <a:extLst>
            <a:ext uri="{909E8E84-426E-40DD-AFC4-6F175D3DCCD1}">
              <a14:hiddenFill xmlns:a14="http://schemas.microsoft.com/office/drawing/2010/main">
                <a:solidFill>
                  <a:srgbClr val="FFFFFF"/>
                </a:solidFill>
              </a14:hiddenFill>
            </a:ext>
          </a:extLst>
        </p:spPr>
      </p:pic>
      <p:pic>
        <p:nvPicPr>
          <p:cNvPr id="7" name="Imagen 6" descr="Logotipo&#10;&#10;Descripción generada automáticamente">
            <a:extLst>
              <a:ext uri="{FF2B5EF4-FFF2-40B4-BE49-F238E27FC236}">
                <a16:creationId xmlns:a16="http://schemas.microsoft.com/office/drawing/2014/main" id="{B9FC91EF-0389-3FEB-B57D-3B91B9694CD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675643" y="422965"/>
            <a:ext cx="1935381" cy="446626"/>
          </a:xfrm>
          <a:prstGeom prst="rect">
            <a:avLst/>
          </a:prstGeom>
        </p:spPr>
      </p:pic>
      <p:pic>
        <p:nvPicPr>
          <p:cNvPr id="8" name="Picture 2" descr="AstraZeneca Logo, symbol, meaning, history, PNG, brand">
            <a:extLst>
              <a:ext uri="{FF2B5EF4-FFF2-40B4-BE49-F238E27FC236}">
                <a16:creationId xmlns:a16="http://schemas.microsoft.com/office/drawing/2014/main" id="{4F97C578-B2E0-72FC-A090-C029C2C4BCA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075018" y="213658"/>
            <a:ext cx="1267373" cy="7128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76004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55946"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23C127-8E25-9DA0-5606-9440A7C4F472}"/>
            </a:ext>
          </a:extLst>
        </p:cNvPr>
        <p:cNvGrpSpPr/>
        <p:nvPr/>
      </p:nvGrpSpPr>
      <p:grpSpPr>
        <a:xfrm>
          <a:off x="0" y="0"/>
          <a:ext cx="0" cy="0"/>
          <a:chOff x="0" y="0"/>
          <a:chExt cx="0" cy="0"/>
        </a:xfrm>
      </p:grpSpPr>
      <p:sp>
        <p:nvSpPr>
          <p:cNvPr id="2" name="Rectangle 57">
            <a:extLst>
              <a:ext uri="{FF2B5EF4-FFF2-40B4-BE49-F238E27FC236}">
                <a16:creationId xmlns:a16="http://schemas.microsoft.com/office/drawing/2014/main" id="{65674FF8-2873-1827-1DE1-DE8FD310BF31}"/>
              </a:ext>
            </a:extLst>
          </p:cNvPr>
          <p:cNvSpPr>
            <a:spLocks noChangeArrowheads="1"/>
          </p:cNvSpPr>
          <p:nvPr/>
        </p:nvSpPr>
        <p:spPr bwMode="gray">
          <a:xfrm>
            <a:off x="580976" y="213658"/>
            <a:ext cx="6355089" cy="830942"/>
          </a:xfrm>
          <a:prstGeom prst="rect">
            <a:avLst/>
          </a:prstGeom>
          <a:noFill/>
          <a:ln w="9525">
            <a:noFill/>
            <a:miter lim="800000"/>
            <a:headEnd/>
            <a:tailEnd/>
          </a:ln>
          <a:effectLst/>
        </p:spPr>
        <p:txBody>
          <a:bodyPr wrap="square" lIns="91386" tIns="45693" rIns="91386" bIns="45693">
            <a:spAutoFit/>
          </a:bodyPr>
          <a:lstStyle/>
          <a:p>
            <a:pPr defTabSz="914446">
              <a:buClr>
                <a:srgbClr val="000000"/>
              </a:buClr>
            </a:pPr>
            <a:r>
              <a:rPr lang="en-GB" sz="4800" b="1" noProof="0">
                <a:latin typeface="Quattrocento Sans" panose="020B0502050000020003" pitchFamily="34" charset="0"/>
                <a:ea typeface="Lato"/>
                <a:cs typeface="Lato"/>
                <a:sym typeface="Arial"/>
              </a:rPr>
              <a:t>Security</a:t>
            </a:r>
          </a:p>
        </p:txBody>
      </p:sp>
      <p:sp>
        <p:nvSpPr>
          <p:cNvPr id="6" name="CuadroTexto 5">
            <a:extLst>
              <a:ext uri="{FF2B5EF4-FFF2-40B4-BE49-F238E27FC236}">
                <a16:creationId xmlns:a16="http://schemas.microsoft.com/office/drawing/2014/main" id="{22AE9AA9-AACA-201E-43C3-EE0F686DA35F}"/>
              </a:ext>
            </a:extLst>
          </p:cNvPr>
          <p:cNvSpPr txBox="1"/>
          <p:nvPr/>
        </p:nvSpPr>
        <p:spPr>
          <a:xfrm>
            <a:off x="317424" y="6239896"/>
            <a:ext cx="6355089" cy="4001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GB" sz="1000" noProof="0">
                <a:hlinkClick r:id="rId3"/>
              </a:rPr>
              <a:t>https://stratesys-ts.eu10.hcs.cloud.sap/sap/fpa/ui/tenants/6bdd2/bo/story/8A8032065263163B58BDCEE7CB7C1A84</a:t>
            </a:r>
            <a:endParaRPr lang="en-GB" sz="1000" noProof="0"/>
          </a:p>
          <a:p>
            <a:endParaRPr lang="en-GB" sz="1000" noProof="0"/>
          </a:p>
        </p:txBody>
      </p:sp>
      <p:sp>
        <p:nvSpPr>
          <p:cNvPr id="5" name="CuadroTexto 1352">
            <a:extLst>
              <a:ext uri="{FF2B5EF4-FFF2-40B4-BE49-F238E27FC236}">
                <a16:creationId xmlns:a16="http://schemas.microsoft.com/office/drawing/2014/main" id="{C77E35CA-1C4F-DA57-328C-CFC61B3BCDA8}"/>
              </a:ext>
            </a:extLst>
          </p:cNvPr>
          <p:cNvSpPr txBox="1"/>
          <p:nvPr/>
        </p:nvSpPr>
        <p:spPr>
          <a:xfrm>
            <a:off x="2516061" y="640145"/>
            <a:ext cx="2902139"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noProof="0">
                <a:latin typeface="Quattrocento Sans" panose="020B0502050000020003" pitchFamily="34" charset="0"/>
                <a:ea typeface="Lato"/>
                <a:cs typeface="Lato"/>
              </a:rPr>
              <a:t>Admin Monitor</a:t>
            </a:r>
          </a:p>
        </p:txBody>
      </p:sp>
      <p:pic>
        <p:nvPicPr>
          <p:cNvPr id="7" name="Imagen 6" descr="Logotipo&#10;&#10;Descripción generada automáticamente">
            <a:extLst>
              <a:ext uri="{FF2B5EF4-FFF2-40B4-BE49-F238E27FC236}">
                <a16:creationId xmlns:a16="http://schemas.microsoft.com/office/drawing/2014/main" id="{C16A4D03-6801-8FAC-F440-6E8461AED4D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75643" y="422965"/>
            <a:ext cx="1935381" cy="446626"/>
          </a:xfrm>
          <a:prstGeom prst="rect">
            <a:avLst/>
          </a:prstGeom>
        </p:spPr>
      </p:pic>
      <p:pic>
        <p:nvPicPr>
          <p:cNvPr id="8" name="Picture 2" descr="AstraZeneca Logo, symbol, meaning, history, PNG, brand">
            <a:extLst>
              <a:ext uri="{FF2B5EF4-FFF2-40B4-BE49-F238E27FC236}">
                <a16:creationId xmlns:a16="http://schemas.microsoft.com/office/drawing/2014/main" id="{8D8E13D6-95AC-3371-B7C2-CD09878BF9F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75018" y="213658"/>
            <a:ext cx="1267373" cy="712897"/>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a:extLst>
              <a:ext uri="{FF2B5EF4-FFF2-40B4-BE49-F238E27FC236}">
                <a16:creationId xmlns:a16="http://schemas.microsoft.com/office/drawing/2014/main" id="{60F49377-2BF8-6BED-86A5-6BD03BC1DDAC}"/>
              </a:ext>
            </a:extLst>
          </p:cNvPr>
          <p:cNvGrpSpPr/>
          <p:nvPr/>
        </p:nvGrpSpPr>
        <p:grpSpPr>
          <a:xfrm>
            <a:off x="317423" y="1564849"/>
            <a:ext cx="10253557" cy="4525273"/>
            <a:chOff x="317423" y="1564849"/>
            <a:chExt cx="10253557" cy="4525273"/>
          </a:xfrm>
        </p:grpSpPr>
        <p:pic>
          <p:nvPicPr>
            <p:cNvPr id="11" name="Imagen 10">
              <a:extLst>
                <a:ext uri="{FF2B5EF4-FFF2-40B4-BE49-F238E27FC236}">
                  <a16:creationId xmlns:a16="http://schemas.microsoft.com/office/drawing/2014/main" id="{9308EA78-24AA-1CBF-F915-651F51ABCB94}"/>
                </a:ext>
              </a:extLst>
            </p:cNvPr>
            <p:cNvPicPr>
              <a:picLocks noChangeAspect="1"/>
            </p:cNvPicPr>
            <p:nvPr/>
          </p:nvPicPr>
          <p:blipFill>
            <a:blip r:embed="rId6"/>
            <a:srcRect t="8195"/>
            <a:stretch/>
          </p:blipFill>
          <p:spPr>
            <a:xfrm>
              <a:off x="317423" y="1564849"/>
              <a:ext cx="10253557" cy="4525273"/>
            </a:xfrm>
            <a:prstGeom prst="rect">
              <a:avLst/>
            </a:prstGeom>
            <a:ln>
              <a:noFill/>
            </a:ln>
            <a:effectLst>
              <a:outerShdw blurRad="292100" dist="139700" dir="2700000" algn="tl" rotWithShape="0">
                <a:srgbClr val="333333">
                  <a:alpha val="65000"/>
                </a:srgbClr>
              </a:outerShdw>
            </a:effectLst>
          </p:spPr>
        </p:pic>
        <p:sp>
          <p:nvSpPr>
            <p:cNvPr id="3" name="Rectangle 2">
              <a:extLst>
                <a:ext uri="{FF2B5EF4-FFF2-40B4-BE49-F238E27FC236}">
                  <a16:creationId xmlns:a16="http://schemas.microsoft.com/office/drawing/2014/main" id="{B86E4D20-3FF6-9204-8C07-9D90A8A5675D}"/>
                </a:ext>
              </a:extLst>
            </p:cNvPr>
            <p:cNvSpPr/>
            <p:nvPr/>
          </p:nvSpPr>
          <p:spPr>
            <a:xfrm>
              <a:off x="607328" y="1814297"/>
              <a:ext cx="261381" cy="222943"/>
            </a:xfrm>
            <a:prstGeom prst="rect">
              <a:avLst/>
            </a:prstGeom>
            <a:solidFill>
              <a:srgbClr val="00402A"/>
            </a:solidFill>
            <a:ln>
              <a:solidFill>
                <a:srgbClr val="00402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3226484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277E85-02DC-0337-D36F-0F8D42B391C4}"/>
            </a:ext>
          </a:extLst>
        </p:cNvPr>
        <p:cNvGrpSpPr/>
        <p:nvPr/>
      </p:nvGrpSpPr>
      <p:grpSpPr>
        <a:xfrm>
          <a:off x="0" y="0"/>
          <a:ext cx="0" cy="0"/>
          <a:chOff x="0" y="0"/>
          <a:chExt cx="0" cy="0"/>
        </a:xfrm>
      </p:grpSpPr>
      <p:sp>
        <p:nvSpPr>
          <p:cNvPr id="49" name="Rectangle 57">
            <a:extLst>
              <a:ext uri="{FF2B5EF4-FFF2-40B4-BE49-F238E27FC236}">
                <a16:creationId xmlns:a16="http://schemas.microsoft.com/office/drawing/2014/main" id="{4F5865DE-9541-12C3-B732-4FBCB1026C55}"/>
              </a:ext>
            </a:extLst>
          </p:cNvPr>
          <p:cNvSpPr>
            <a:spLocks noChangeArrowheads="1"/>
          </p:cNvSpPr>
          <p:nvPr/>
        </p:nvSpPr>
        <p:spPr bwMode="gray">
          <a:xfrm>
            <a:off x="2861535" y="355058"/>
            <a:ext cx="615335" cy="553943"/>
          </a:xfrm>
          <a:prstGeom prst="rect">
            <a:avLst/>
          </a:prstGeom>
          <a:noFill/>
          <a:ln w="9525">
            <a:noFill/>
            <a:miter lim="800000"/>
            <a:headEnd/>
            <a:tailEnd/>
          </a:ln>
          <a:effectLst/>
        </p:spPr>
        <p:txBody>
          <a:bodyPr wrap="square" lIns="91386" tIns="45693" rIns="91386" bIns="45693">
            <a:spAutoFit/>
          </a:bodyPr>
          <a:lstStyle/>
          <a:p>
            <a:pPr algn="ctr" defTabSz="609630"/>
            <a:r>
              <a:rPr lang="en-GB" sz="3000" kern="0" noProof="0">
                <a:solidFill>
                  <a:srgbClr val="595959"/>
                </a:solidFill>
                <a:latin typeface="DM Sans Bold" pitchFamily="2" charset="0"/>
                <a:cs typeface="Calibri"/>
                <a:sym typeface="Calibri"/>
              </a:rPr>
              <a:t>+</a:t>
            </a:r>
            <a:endParaRPr lang="en-GB" kern="0" noProof="0">
              <a:solidFill>
                <a:srgbClr val="91ACB9"/>
              </a:solidFill>
              <a:latin typeface="DM Sans" pitchFamily="2" charset="0"/>
              <a:cs typeface="Calibri"/>
              <a:sym typeface="Calibri"/>
            </a:endParaRPr>
          </a:p>
        </p:txBody>
      </p:sp>
      <p:sp>
        <p:nvSpPr>
          <p:cNvPr id="2065" name="CuadroTexto 2064">
            <a:extLst>
              <a:ext uri="{FF2B5EF4-FFF2-40B4-BE49-F238E27FC236}">
                <a16:creationId xmlns:a16="http://schemas.microsoft.com/office/drawing/2014/main" id="{D7908722-0A1B-2C46-6325-5A7654DAD193}"/>
              </a:ext>
            </a:extLst>
          </p:cNvPr>
          <p:cNvSpPr txBox="1"/>
          <p:nvPr/>
        </p:nvSpPr>
        <p:spPr>
          <a:xfrm>
            <a:off x="440282" y="991835"/>
            <a:ext cx="10646236" cy="738664"/>
          </a:xfrm>
          <a:prstGeom prst="rect">
            <a:avLst/>
          </a:prstGeom>
          <a:noFill/>
        </p:spPr>
        <p:txBody>
          <a:bodyPr wrap="square">
            <a:spAutoFit/>
          </a:bodyPr>
          <a:lstStyle/>
          <a:p>
            <a:pPr marL="285764" indent="-285764" defTabSz="609630" hangingPunct="0">
              <a:buFont typeface="Arial" panose="020B0604020202020204" pitchFamily="34" charset="0"/>
              <a:buChar char="•"/>
            </a:pPr>
            <a:r>
              <a:rPr lang="en-GB" sz="1400" kern="0" noProof="0">
                <a:solidFill>
                  <a:srgbClr val="111111"/>
                </a:solidFill>
                <a:latin typeface="Quattrocento Sans" panose="020B0502050000020003" pitchFamily="34" charset="0"/>
                <a:cs typeface="Calibri"/>
                <a:sym typeface="Calibri"/>
              </a:rPr>
              <a:t>Essential for collaboration and democratization of data. It enables users to discover, understand, and prepare business data. 
Improve productivity by building trust in metadata through consistent data quality and governance. 
Users can search and filter data, view asset lineage and details, enrich and classify assets, and share them with other users.</a:t>
            </a:r>
          </a:p>
        </p:txBody>
      </p:sp>
      <p:pic>
        <p:nvPicPr>
          <p:cNvPr id="2066" name="Picture 2">
            <a:extLst>
              <a:ext uri="{FF2B5EF4-FFF2-40B4-BE49-F238E27FC236}">
                <a16:creationId xmlns:a16="http://schemas.microsoft.com/office/drawing/2014/main" id="{2BA55DC6-B357-751A-9123-06088B1F4838}"/>
              </a:ext>
            </a:extLst>
          </p:cNvPr>
          <p:cNvPicPr>
            <a:picLocks noChangeAspect="1" noChangeArrowheads="1"/>
          </p:cNvPicPr>
          <p:nvPr/>
        </p:nvPicPr>
        <p:blipFill>
          <a:blip r:embed="rId4" cstate="print">
            <a:clrChange>
              <a:clrFrom>
                <a:srgbClr val="FFFFFF"/>
              </a:clrFrom>
              <a:clrTo>
                <a:srgbClr val="FFFFFF">
                  <a:alpha val="0"/>
                </a:srgbClr>
              </a:clrTo>
            </a:clrChange>
            <a:alphaModFix amt="5000"/>
            <a:extLst>
              <a:ext uri="{28A0092B-C50C-407E-A947-70E740481C1C}">
                <a14:useLocalDpi xmlns:a14="http://schemas.microsoft.com/office/drawing/2010/main" val="0"/>
              </a:ext>
            </a:extLst>
          </a:blip>
          <a:srcRect/>
          <a:stretch>
            <a:fillRect/>
          </a:stretch>
        </p:blipFill>
        <p:spPr bwMode="auto">
          <a:xfrm>
            <a:off x="1339586" y="3702110"/>
            <a:ext cx="3011310" cy="3011310"/>
          </a:xfrm>
          <a:prstGeom prst="rect">
            <a:avLst/>
          </a:prstGeom>
          <a:noFill/>
          <a:extLst>
            <a:ext uri="{909E8E84-426E-40DD-AFC4-6F175D3DCCD1}">
              <a14:hiddenFill xmlns:a14="http://schemas.microsoft.com/office/drawing/2010/main">
                <a:solidFill>
                  <a:srgbClr val="FFFFFF"/>
                </a:solidFill>
              </a14:hiddenFill>
            </a:ext>
          </a:extLst>
        </p:spPr>
      </p:pic>
      <p:pic>
        <p:nvPicPr>
          <p:cNvPr id="2067" name="Imagen 2066">
            <a:extLst>
              <a:ext uri="{FF2B5EF4-FFF2-40B4-BE49-F238E27FC236}">
                <a16:creationId xmlns:a16="http://schemas.microsoft.com/office/drawing/2014/main" id="{1617D024-77EB-AED0-45B5-BF0C1153A000}"/>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1687694" y="4034614"/>
            <a:ext cx="2346302" cy="2346302"/>
          </a:xfrm>
          <a:prstGeom prst="rect">
            <a:avLst/>
          </a:prstGeom>
        </p:spPr>
      </p:pic>
      <p:sp>
        <p:nvSpPr>
          <p:cNvPr id="2068" name="Rectangle 152">
            <a:extLst>
              <a:ext uri="{FF2B5EF4-FFF2-40B4-BE49-F238E27FC236}">
                <a16:creationId xmlns:a16="http://schemas.microsoft.com/office/drawing/2014/main" id="{201A6993-4728-F28B-A1AA-8372D2FA5E5B}"/>
              </a:ext>
            </a:extLst>
          </p:cNvPr>
          <p:cNvSpPr/>
          <p:nvPr/>
        </p:nvSpPr>
        <p:spPr>
          <a:xfrm>
            <a:off x="1272807" y="2568660"/>
            <a:ext cx="3541512" cy="615553"/>
          </a:xfrm>
          <a:prstGeom prst="rect">
            <a:avLst/>
          </a:prstGeom>
          <a:noFill/>
        </p:spPr>
        <p:txBody>
          <a:bodyPr wrap="square">
            <a:spAutoFit/>
          </a:bodyPr>
          <a:lstStyle/>
          <a:p>
            <a:pPr defTabSz="609630" hangingPunct="0">
              <a:spcBef>
                <a:spcPts val="386"/>
              </a:spcBef>
            </a:pPr>
            <a:r>
              <a:rPr lang="en-GB" sz="1100" b="1" kern="0" noProof="0">
                <a:solidFill>
                  <a:srgbClr val="A7A7A7"/>
                </a:solidFill>
                <a:latin typeface="Quattrocento Sans" panose="020B0502050000020003" pitchFamily="34" charset="0"/>
                <a:cs typeface="Calibri"/>
                <a:sym typeface="Calibri"/>
              </a:rPr>
              <a:t>Organize</a:t>
            </a:r>
          </a:p>
          <a:p>
            <a:pPr defTabSz="609630" hangingPunct="0"/>
            <a:r>
              <a:rPr lang="en-GB" sz="1100" b="1" kern="0" noProof="0">
                <a:solidFill>
                  <a:srgbClr val="000000"/>
                </a:solidFill>
                <a:latin typeface="Quattrocento Sans" panose="020B0502050000020003" pitchFamily="34" charset="0"/>
                <a:cs typeface="Calibri"/>
                <a:sym typeface="Calibri"/>
              </a:rPr>
              <a:t>Sort, organize, and understand data</a:t>
            </a:r>
          </a:p>
          <a:p>
            <a:pPr defTabSz="609630" hangingPunct="0"/>
            <a:r>
              <a:rPr lang="en-GB" sz="1100" kern="0" noProof="0">
                <a:solidFill>
                  <a:srgbClr val="000000"/>
                </a:solidFill>
                <a:latin typeface="Quattrocento Sans" panose="020B0502050000020003" pitchFamily="34" charset="0"/>
                <a:cs typeface="Calibri"/>
                <a:sym typeface="Calibri"/>
              </a:rPr>
              <a:t>(</a:t>
            </a:r>
            <a:r>
              <a:rPr lang="en-GB" sz="1100" i="1" kern="0" noProof="0">
                <a:solidFill>
                  <a:srgbClr val="000000"/>
                </a:solidFill>
                <a:latin typeface="Quattrocento Sans" panose="020B0502050000020003" pitchFamily="34" charset="0"/>
                <a:cs typeface="Calibri"/>
                <a:sym typeface="Calibri"/>
              </a:rPr>
              <a:t>location, attributes, quality, lineage, sensitivity</a:t>
            </a:r>
            <a:r>
              <a:rPr lang="en-GB" sz="1200" kern="0" noProof="0">
                <a:solidFill>
                  <a:srgbClr val="000000"/>
                </a:solidFill>
                <a:latin typeface="Quattrocento Sans" panose="020B0502050000020003" pitchFamily="34" charset="0"/>
                <a:cs typeface="Calibri"/>
                <a:sym typeface="Calibri"/>
              </a:rPr>
              <a:t>)</a:t>
            </a:r>
          </a:p>
        </p:txBody>
      </p:sp>
      <p:sp>
        <p:nvSpPr>
          <p:cNvPr id="2069" name="Rectangle 156">
            <a:extLst>
              <a:ext uri="{FF2B5EF4-FFF2-40B4-BE49-F238E27FC236}">
                <a16:creationId xmlns:a16="http://schemas.microsoft.com/office/drawing/2014/main" id="{2E8D7950-77FC-3874-07DE-43EA7073CF86}"/>
              </a:ext>
            </a:extLst>
          </p:cNvPr>
          <p:cNvSpPr/>
          <p:nvPr/>
        </p:nvSpPr>
        <p:spPr>
          <a:xfrm>
            <a:off x="1272807" y="1833982"/>
            <a:ext cx="4259948" cy="600164"/>
          </a:xfrm>
          <a:prstGeom prst="rect">
            <a:avLst/>
          </a:prstGeom>
        </p:spPr>
        <p:txBody>
          <a:bodyPr wrap="square">
            <a:spAutoFit/>
          </a:bodyPr>
          <a:lstStyle/>
          <a:p>
            <a:pPr defTabSz="609630" hangingPunct="0">
              <a:spcBef>
                <a:spcPts val="386"/>
              </a:spcBef>
            </a:pPr>
            <a:r>
              <a:rPr lang="en-GB" sz="1100" b="1" kern="0" noProof="0">
                <a:solidFill>
                  <a:srgbClr val="A7A7A7"/>
                </a:solidFill>
                <a:latin typeface="Quattrocento Sans" panose="020B0502050000020003" pitchFamily="34" charset="0"/>
                <a:cs typeface="Calibri"/>
                <a:sym typeface="Calibri"/>
              </a:rPr>
              <a:t>Discover</a:t>
            </a:r>
          </a:p>
          <a:p>
            <a:pPr defTabSz="609630" hangingPunct="0"/>
            <a:r>
              <a:rPr lang="en-GB" sz="1100" b="1" kern="0" noProof="0">
                <a:solidFill>
                  <a:srgbClr val="000000"/>
                </a:solidFill>
                <a:latin typeface="Quattrocento Sans" panose="020B0502050000020003" pitchFamily="34" charset="0"/>
                <a:cs typeface="Calibri"/>
                <a:sym typeface="Calibri"/>
              </a:rPr>
              <a:t>Discover data </a:t>
            </a:r>
            <a:r>
              <a:rPr lang="en-GB" sz="1100" kern="0" noProof="0">
                <a:solidFill>
                  <a:srgbClr val="000000"/>
                </a:solidFill>
                <a:latin typeface="Quattrocento Sans" panose="020B0502050000020003" pitchFamily="34" charset="0"/>
                <a:cs typeface="Calibri"/>
                <a:sym typeface="Calibri"/>
              </a:rPr>
              <a:t>(Track, profile, organize, link, and enrich) and create accessible data (</a:t>
            </a:r>
            <a:r>
              <a:rPr lang="en-GB" sz="1100" i="1" kern="0" noProof="0">
                <a:solidFill>
                  <a:srgbClr val="000000"/>
                </a:solidFill>
                <a:latin typeface="Quattrocento Sans" panose="020B0502050000020003" pitchFamily="34" charset="0"/>
                <a:cs typeface="Calibri"/>
                <a:sym typeface="Calibri"/>
              </a:rPr>
              <a:t>browse, search)</a:t>
            </a:r>
            <a:endParaRPr lang="en-GB" sz="1100" kern="0" noProof="0">
              <a:solidFill>
                <a:srgbClr val="000000"/>
              </a:solidFill>
              <a:latin typeface="Quattrocento Sans" panose="020B0502050000020003" pitchFamily="34" charset="0"/>
              <a:cs typeface="Calibri"/>
              <a:sym typeface="Calibri"/>
            </a:endParaRPr>
          </a:p>
        </p:txBody>
      </p:sp>
      <p:sp>
        <p:nvSpPr>
          <p:cNvPr id="2070" name="Rectangle 14">
            <a:extLst>
              <a:ext uri="{FF2B5EF4-FFF2-40B4-BE49-F238E27FC236}">
                <a16:creationId xmlns:a16="http://schemas.microsoft.com/office/drawing/2014/main" id="{88F667D2-E583-244C-FCF2-076FC3CFC316}"/>
              </a:ext>
            </a:extLst>
          </p:cNvPr>
          <p:cNvSpPr/>
          <p:nvPr/>
        </p:nvSpPr>
        <p:spPr>
          <a:xfrm>
            <a:off x="1254956" y="3235509"/>
            <a:ext cx="4244153" cy="622543"/>
          </a:xfrm>
          <a:prstGeom prst="rect">
            <a:avLst/>
          </a:prstGeom>
          <a:noFill/>
        </p:spPr>
        <p:txBody>
          <a:bodyPr wrap="square">
            <a:spAutoFit/>
          </a:bodyPr>
          <a:lstStyle/>
          <a:p>
            <a:pPr marL="7346" defTabSz="609630" hangingPunct="0">
              <a:lnSpc>
                <a:spcPts val="1859"/>
              </a:lnSpc>
              <a:spcBef>
                <a:spcPts val="386"/>
              </a:spcBef>
            </a:pPr>
            <a:r>
              <a:rPr lang="en-GB" sz="1100" b="1" kern="0" noProof="0">
                <a:solidFill>
                  <a:srgbClr val="A7A7A7"/>
                </a:solidFill>
                <a:latin typeface="Quattrocento Sans" panose="020B0502050000020003" pitchFamily="34" charset="0"/>
                <a:cs typeface="Calibri"/>
                <a:sym typeface="Calibri"/>
              </a:rPr>
              <a:t>Control</a:t>
            </a:r>
          </a:p>
          <a:p>
            <a:pPr defTabSz="609630" hangingPunct="0">
              <a:lnSpc>
                <a:spcPts val="1100"/>
              </a:lnSpc>
            </a:pPr>
            <a:r>
              <a:rPr lang="en-GB" sz="1100" kern="0" noProof="0">
                <a:solidFill>
                  <a:srgbClr val="000000"/>
                </a:solidFill>
                <a:latin typeface="Quattrocento Sans" panose="020B0502050000020003" pitchFamily="34" charset="0"/>
                <a:cs typeface="Calibri"/>
                <a:sym typeface="Calibri"/>
              </a:rPr>
              <a:t>Apply </a:t>
            </a:r>
            <a:r>
              <a:rPr lang="en-GB" sz="1100" b="1" kern="0" noProof="0">
                <a:solidFill>
                  <a:srgbClr val="000000"/>
                </a:solidFill>
                <a:latin typeface="Quattrocento Sans" panose="020B0502050000020003" pitchFamily="34" charset="0"/>
                <a:cs typeface="Calibri"/>
                <a:sym typeface="Calibri"/>
              </a:rPr>
              <a:t>centralized authorization and security </a:t>
            </a:r>
            <a:r>
              <a:rPr lang="en-GB" sz="1100" kern="0" noProof="0">
                <a:solidFill>
                  <a:srgbClr val="000000"/>
                </a:solidFill>
                <a:latin typeface="Quattrocento Sans" panose="020B0502050000020003" pitchFamily="34" charset="0"/>
                <a:cs typeface="Calibri"/>
                <a:sym typeface="Calibri"/>
              </a:rPr>
              <a:t>for orchestration and control of data quality standards</a:t>
            </a:r>
            <a:endParaRPr lang="en-GB" sz="1100" b="1" kern="0" noProof="0">
              <a:solidFill>
                <a:srgbClr val="000000"/>
              </a:solidFill>
              <a:latin typeface="Quattrocento Sans" panose="020B0502050000020003" pitchFamily="34" charset="0"/>
              <a:cs typeface="Calibri"/>
              <a:sym typeface="Calibri"/>
            </a:endParaRPr>
          </a:p>
        </p:txBody>
      </p:sp>
      <p:sp>
        <p:nvSpPr>
          <p:cNvPr id="2071" name="Oval 84">
            <a:extLst>
              <a:ext uri="{FF2B5EF4-FFF2-40B4-BE49-F238E27FC236}">
                <a16:creationId xmlns:a16="http://schemas.microsoft.com/office/drawing/2014/main" id="{DF92B226-EF53-2AD5-A3A6-F7A36F9BAE99}"/>
              </a:ext>
            </a:extLst>
          </p:cNvPr>
          <p:cNvSpPr>
            <a:spLocks noChangeAspect="1"/>
          </p:cNvSpPr>
          <p:nvPr/>
        </p:nvSpPr>
        <p:spPr bwMode="gray">
          <a:xfrm>
            <a:off x="624267" y="2642208"/>
            <a:ext cx="577522" cy="577522"/>
          </a:xfrm>
          <a:prstGeom prst="ellipse">
            <a:avLst/>
          </a:prstGeom>
          <a:solidFill>
            <a:schemeClr val="bg1"/>
          </a:solidFill>
          <a:ln>
            <a:noFill/>
            <a:headEnd type="none" w="med" len="med"/>
            <a:tailEnd type="none" w="med" len="med"/>
          </a:ln>
          <a:effectLst>
            <a:outerShdw blurRad="508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239" fontAlgn="base" hangingPunct="0">
              <a:lnSpc>
                <a:spcPct val="90000"/>
              </a:lnSpc>
              <a:spcBef>
                <a:spcPct val="0"/>
              </a:spcBef>
              <a:spcAft>
                <a:spcPct val="0"/>
              </a:spcAft>
            </a:pPr>
            <a:endParaRPr lang="en-GB" sz="1999" kern="0" noProof="0">
              <a:gradFill>
                <a:gsLst>
                  <a:gs pos="0">
                    <a:srgbClr val="FFFFFF"/>
                  </a:gs>
                  <a:gs pos="100000">
                    <a:srgbClr val="FFFFFF"/>
                  </a:gs>
                </a:gsLst>
                <a:lin ang="5400000" scaled="1"/>
              </a:gradFill>
              <a:latin typeface="Helvetica"/>
              <a:cs typeface="Segoe UI" pitchFamily="34" charset="0"/>
              <a:sym typeface="Calibri"/>
            </a:endParaRPr>
          </a:p>
        </p:txBody>
      </p:sp>
      <p:pic>
        <p:nvPicPr>
          <p:cNvPr id="2072" name="Picture 5">
            <a:extLst>
              <a:ext uri="{FF2B5EF4-FFF2-40B4-BE49-F238E27FC236}">
                <a16:creationId xmlns:a16="http://schemas.microsoft.com/office/drawing/2014/main" id="{CB2E36E2-D806-0FAB-15C9-B9F63E4A11C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6264" y="2744869"/>
            <a:ext cx="520850" cy="389549"/>
          </a:xfrm>
          <a:prstGeom prst="rect">
            <a:avLst/>
          </a:prstGeom>
        </p:spPr>
      </p:pic>
      <p:sp>
        <p:nvSpPr>
          <p:cNvPr id="2073" name="Oval 81">
            <a:extLst>
              <a:ext uri="{FF2B5EF4-FFF2-40B4-BE49-F238E27FC236}">
                <a16:creationId xmlns:a16="http://schemas.microsoft.com/office/drawing/2014/main" id="{E06F0CE7-3A7D-B08B-5D2C-27C122653A19}"/>
              </a:ext>
            </a:extLst>
          </p:cNvPr>
          <p:cNvSpPr>
            <a:spLocks noChangeAspect="1"/>
          </p:cNvSpPr>
          <p:nvPr/>
        </p:nvSpPr>
        <p:spPr bwMode="gray">
          <a:xfrm>
            <a:off x="624268" y="1921474"/>
            <a:ext cx="577521" cy="577521"/>
          </a:xfrm>
          <a:prstGeom prst="ellipse">
            <a:avLst/>
          </a:prstGeom>
          <a:solidFill>
            <a:schemeClr val="bg1"/>
          </a:solidFill>
          <a:ln>
            <a:noFill/>
            <a:headEnd type="none" w="med" len="med"/>
            <a:tailEnd type="none" w="med" len="med"/>
          </a:ln>
          <a:effectLst>
            <a:outerShdw blurRad="508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239" fontAlgn="base" hangingPunct="0">
              <a:lnSpc>
                <a:spcPct val="90000"/>
              </a:lnSpc>
              <a:spcBef>
                <a:spcPct val="0"/>
              </a:spcBef>
              <a:spcAft>
                <a:spcPct val="0"/>
              </a:spcAft>
            </a:pPr>
            <a:endParaRPr lang="en-GB" sz="1999" kern="0" noProof="0">
              <a:gradFill>
                <a:gsLst>
                  <a:gs pos="0">
                    <a:srgbClr val="FFFFFF"/>
                  </a:gs>
                  <a:gs pos="100000">
                    <a:srgbClr val="FFFFFF"/>
                  </a:gs>
                </a:gsLst>
                <a:lin ang="5400000" scaled="1"/>
              </a:gradFill>
              <a:latin typeface="Helvetica"/>
              <a:cs typeface="Segoe UI" pitchFamily="34" charset="0"/>
              <a:sym typeface="Calibri"/>
            </a:endParaRPr>
          </a:p>
        </p:txBody>
      </p:sp>
      <p:pic>
        <p:nvPicPr>
          <p:cNvPr id="2074" name="Picture 82">
            <a:extLst>
              <a:ext uri="{FF2B5EF4-FFF2-40B4-BE49-F238E27FC236}">
                <a16:creationId xmlns:a16="http://schemas.microsoft.com/office/drawing/2014/main" id="{635C5077-7B42-9112-BEDF-FB46A80617D3}"/>
              </a:ext>
            </a:extLst>
          </p:cNvPr>
          <p:cNvPicPr>
            <a:picLocks noChangeAspect="1"/>
          </p:cNvPicPr>
          <p:nvPr>
            <p:custDataLst>
              <p:tags r:id="rId1"/>
            </p:custDataLst>
          </p:nvPr>
        </p:nvPicPr>
        <p:blipFill rotWithShape="1">
          <a:blip r:embed="rId7" cstate="email">
            <a:extLst>
              <a:ext uri="{28A0092B-C50C-407E-A947-70E740481C1C}">
                <a14:useLocalDpi xmlns:a14="http://schemas.microsoft.com/office/drawing/2010/main"/>
              </a:ext>
            </a:extLst>
          </a:blip>
          <a:srcRect/>
          <a:stretch/>
        </p:blipFill>
        <p:spPr>
          <a:xfrm>
            <a:off x="705115" y="2013256"/>
            <a:ext cx="415825" cy="415825"/>
          </a:xfrm>
          <a:prstGeom prst="rect">
            <a:avLst/>
          </a:prstGeom>
        </p:spPr>
      </p:pic>
      <p:sp>
        <p:nvSpPr>
          <p:cNvPr id="2075" name="Oval 83">
            <a:extLst>
              <a:ext uri="{FF2B5EF4-FFF2-40B4-BE49-F238E27FC236}">
                <a16:creationId xmlns:a16="http://schemas.microsoft.com/office/drawing/2014/main" id="{B04D3D36-3786-4A93-CA0C-9790CBA993EC}"/>
              </a:ext>
            </a:extLst>
          </p:cNvPr>
          <p:cNvSpPr>
            <a:spLocks noChangeAspect="1"/>
          </p:cNvSpPr>
          <p:nvPr/>
        </p:nvSpPr>
        <p:spPr bwMode="gray">
          <a:xfrm>
            <a:off x="646263" y="3348920"/>
            <a:ext cx="618984" cy="618984"/>
          </a:xfrm>
          <a:prstGeom prst="ellipse">
            <a:avLst/>
          </a:prstGeom>
          <a:solidFill>
            <a:schemeClr val="bg1"/>
          </a:solidFill>
          <a:ln>
            <a:noFill/>
            <a:headEnd type="none" w="med" len="med"/>
            <a:tailEnd type="none" w="med" len="med"/>
          </a:ln>
          <a:effectLst>
            <a:outerShdw blurRad="508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239" fontAlgn="base" hangingPunct="0">
              <a:lnSpc>
                <a:spcPct val="90000"/>
              </a:lnSpc>
              <a:spcBef>
                <a:spcPct val="0"/>
              </a:spcBef>
              <a:spcAft>
                <a:spcPct val="0"/>
              </a:spcAft>
            </a:pPr>
            <a:endParaRPr lang="en-GB" sz="1999" kern="0" noProof="0">
              <a:gradFill>
                <a:gsLst>
                  <a:gs pos="0">
                    <a:srgbClr val="FFFFFF"/>
                  </a:gs>
                  <a:gs pos="100000">
                    <a:srgbClr val="FFFFFF"/>
                  </a:gs>
                </a:gsLst>
                <a:lin ang="5400000" scaled="1"/>
              </a:gradFill>
              <a:latin typeface="Helvetica"/>
              <a:cs typeface="Segoe UI" pitchFamily="34" charset="0"/>
              <a:sym typeface="Calibri"/>
            </a:endParaRPr>
          </a:p>
        </p:txBody>
      </p:sp>
      <p:pic>
        <p:nvPicPr>
          <p:cNvPr id="2076" name="Picture 7">
            <a:extLst>
              <a:ext uri="{FF2B5EF4-FFF2-40B4-BE49-F238E27FC236}">
                <a16:creationId xmlns:a16="http://schemas.microsoft.com/office/drawing/2014/main" id="{FD32AFF0-931D-237D-C93B-D361E93A0D98}"/>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05115" y="3405298"/>
            <a:ext cx="468712" cy="468712"/>
          </a:xfrm>
          <a:prstGeom prst="rect">
            <a:avLst/>
          </a:prstGeom>
        </p:spPr>
      </p:pic>
      <p:grpSp>
        <p:nvGrpSpPr>
          <p:cNvPr id="2077" name="Group 8">
            <a:extLst>
              <a:ext uri="{FF2B5EF4-FFF2-40B4-BE49-F238E27FC236}">
                <a16:creationId xmlns:a16="http://schemas.microsoft.com/office/drawing/2014/main" id="{432A9F25-FB3D-ECFC-4E12-ADF75E96810B}"/>
              </a:ext>
            </a:extLst>
          </p:cNvPr>
          <p:cNvGrpSpPr/>
          <p:nvPr/>
        </p:nvGrpSpPr>
        <p:grpSpPr>
          <a:xfrm>
            <a:off x="5532128" y="1962553"/>
            <a:ext cx="6571218" cy="4010702"/>
            <a:chOff x="4778930" y="2049243"/>
            <a:chExt cx="6571218" cy="4010702"/>
          </a:xfrm>
        </p:grpSpPr>
        <p:pic>
          <p:nvPicPr>
            <p:cNvPr id="2078" name="Picture 31">
              <a:extLst>
                <a:ext uri="{FF2B5EF4-FFF2-40B4-BE49-F238E27FC236}">
                  <a16:creationId xmlns:a16="http://schemas.microsoft.com/office/drawing/2014/main" id="{1C281C85-C72F-4D54-E637-944BCD3A37E8}"/>
                </a:ext>
              </a:extLst>
            </p:cNvPr>
            <p:cNvPicPr>
              <a:picLocks noChangeAspect="1"/>
            </p:cNvPicPr>
            <p:nvPr/>
          </p:nvPicPr>
          <p:blipFill>
            <a:blip r:embed="rId9">
              <a:alphaModFix amt="20000"/>
              <a:extLst>
                <a:ext uri="{28A0092B-C50C-407E-A947-70E740481C1C}">
                  <a14:useLocalDpi xmlns:a14="http://schemas.microsoft.com/office/drawing/2010/main"/>
                </a:ext>
              </a:extLst>
            </a:blip>
            <a:srcRect l="9801" t="5630" r="12618" b="14764"/>
            <a:stretch>
              <a:fillRect/>
            </a:stretch>
          </p:blipFill>
          <p:spPr>
            <a:xfrm>
              <a:off x="4778930" y="2049243"/>
              <a:ext cx="6266649" cy="4010702"/>
            </a:xfrm>
            <a:custGeom>
              <a:avLst/>
              <a:gdLst>
                <a:gd name="connsiteX0" fmla="*/ 1796625 w 5614387"/>
                <a:gd name="connsiteY0" fmla="*/ 0 h 3593250"/>
                <a:gd name="connsiteX1" fmla="*/ 2801136 w 5614387"/>
                <a:gd name="connsiteY1" fmla="*/ 306835 h 3593250"/>
                <a:gd name="connsiteX2" fmla="*/ 2807194 w 5614387"/>
                <a:gd name="connsiteY2" fmla="*/ 311366 h 3593250"/>
                <a:gd name="connsiteX3" fmla="*/ 2813252 w 5614387"/>
                <a:gd name="connsiteY3" fmla="*/ 306835 h 3593250"/>
                <a:gd name="connsiteX4" fmla="*/ 3817762 w 5614387"/>
                <a:gd name="connsiteY4" fmla="*/ 0 h 3593250"/>
                <a:gd name="connsiteX5" fmla="*/ 5614387 w 5614387"/>
                <a:gd name="connsiteY5" fmla="*/ 1796625 h 3593250"/>
                <a:gd name="connsiteX6" fmla="*/ 3817762 w 5614387"/>
                <a:gd name="connsiteY6" fmla="*/ 3593250 h 3593250"/>
                <a:gd name="connsiteX7" fmla="*/ 2813252 w 5614387"/>
                <a:gd name="connsiteY7" fmla="*/ 3286415 h 3593250"/>
                <a:gd name="connsiteX8" fmla="*/ 2807194 w 5614387"/>
                <a:gd name="connsiteY8" fmla="*/ 3281885 h 3593250"/>
                <a:gd name="connsiteX9" fmla="*/ 2801136 w 5614387"/>
                <a:gd name="connsiteY9" fmla="*/ 3286415 h 3593250"/>
                <a:gd name="connsiteX10" fmla="*/ 1796625 w 5614387"/>
                <a:gd name="connsiteY10" fmla="*/ 3593250 h 3593250"/>
                <a:gd name="connsiteX11" fmla="*/ 0 w 5614387"/>
                <a:gd name="connsiteY11" fmla="*/ 1796625 h 3593250"/>
                <a:gd name="connsiteX12" fmla="*/ 1796625 w 5614387"/>
                <a:gd name="connsiteY12" fmla="*/ 0 h 359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14387" h="3593250">
                  <a:moveTo>
                    <a:pt x="1796625" y="0"/>
                  </a:moveTo>
                  <a:cubicBezTo>
                    <a:pt x="2168719" y="0"/>
                    <a:pt x="2514392" y="113116"/>
                    <a:pt x="2801136" y="306835"/>
                  </a:cubicBezTo>
                  <a:lnTo>
                    <a:pt x="2807194" y="311366"/>
                  </a:lnTo>
                  <a:lnTo>
                    <a:pt x="2813252" y="306835"/>
                  </a:lnTo>
                  <a:cubicBezTo>
                    <a:pt x="3099995" y="113116"/>
                    <a:pt x="3445669" y="0"/>
                    <a:pt x="3817762" y="0"/>
                  </a:cubicBezTo>
                  <a:cubicBezTo>
                    <a:pt x="4810011" y="0"/>
                    <a:pt x="5614387" y="804376"/>
                    <a:pt x="5614387" y="1796625"/>
                  </a:cubicBezTo>
                  <a:cubicBezTo>
                    <a:pt x="5614387" y="2788874"/>
                    <a:pt x="4810011" y="3593250"/>
                    <a:pt x="3817762" y="3593250"/>
                  </a:cubicBezTo>
                  <a:cubicBezTo>
                    <a:pt x="3445669" y="3593250"/>
                    <a:pt x="3099995" y="3480135"/>
                    <a:pt x="2813252" y="3286415"/>
                  </a:cubicBezTo>
                  <a:lnTo>
                    <a:pt x="2807194" y="3281885"/>
                  </a:lnTo>
                  <a:lnTo>
                    <a:pt x="2801136" y="3286415"/>
                  </a:lnTo>
                  <a:cubicBezTo>
                    <a:pt x="2514392" y="3480135"/>
                    <a:pt x="2168719" y="3593250"/>
                    <a:pt x="1796625" y="3593250"/>
                  </a:cubicBezTo>
                  <a:cubicBezTo>
                    <a:pt x="804376" y="3593250"/>
                    <a:pt x="0" y="2788874"/>
                    <a:pt x="0" y="1796625"/>
                  </a:cubicBezTo>
                  <a:cubicBezTo>
                    <a:pt x="0" y="804376"/>
                    <a:pt x="804376" y="0"/>
                    <a:pt x="1796625" y="0"/>
                  </a:cubicBezTo>
                  <a:close/>
                </a:path>
              </a:pathLst>
            </a:custGeom>
          </p:spPr>
        </p:pic>
        <p:sp>
          <p:nvSpPr>
            <p:cNvPr id="2079" name="Freeform: Shape 20">
              <a:extLst>
                <a:ext uri="{FF2B5EF4-FFF2-40B4-BE49-F238E27FC236}">
                  <a16:creationId xmlns:a16="http://schemas.microsoft.com/office/drawing/2014/main" id="{9B604AA4-C1A2-F897-F48A-330222522EDF}"/>
                </a:ext>
              </a:extLst>
            </p:cNvPr>
            <p:cNvSpPr/>
            <p:nvPr/>
          </p:nvSpPr>
          <p:spPr bwMode="gray">
            <a:xfrm>
              <a:off x="4876263" y="2049243"/>
              <a:ext cx="6266649" cy="4010702"/>
            </a:xfrm>
            <a:custGeom>
              <a:avLst/>
              <a:gdLst>
                <a:gd name="connsiteX0" fmla="*/ 1796625 w 5614387"/>
                <a:gd name="connsiteY0" fmla="*/ 0 h 3593250"/>
                <a:gd name="connsiteX1" fmla="*/ 2801136 w 5614387"/>
                <a:gd name="connsiteY1" fmla="*/ 306835 h 3593250"/>
                <a:gd name="connsiteX2" fmla="*/ 2807194 w 5614387"/>
                <a:gd name="connsiteY2" fmla="*/ 311366 h 3593250"/>
                <a:gd name="connsiteX3" fmla="*/ 2813252 w 5614387"/>
                <a:gd name="connsiteY3" fmla="*/ 306835 h 3593250"/>
                <a:gd name="connsiteX4" fmla="*/ 3817762 w 5614387"/>
                <a:gd name="connsiteY4" fmla="*/ 0 h 3593250"/>
                <a:gd name="connsiteX5" fmla="*/ 5614387 w 5614387"/>
                <a:gd name="connsiteY5" fmla="*/ 1796625 h 3593250"/>
                <a:gd name="connsiteX6" fmla="*/ 3817762 w 5614387"/>
                <a:gd name="connsiteY6" fmla="*/ 3593250 h 3593250"/>
                <a:gd name="connsiteX7" fmla="*/ 2813252 w 5614387"/>
                <a:gd name="connsiteY7" fmla="*/ 3286415 h 3593250"/>
                <a:gd name="connsiteX8" fmla="*/ 2807194 w 5614387"/>
                <a:gd name="connsiteY8" fmla="*/ 3281885 h 3593250"/>
                <a:gd name="connsiteX9" fmla="*/ 2801136 w 5614387"/>
                <a:gd name="connsiteY9" fmla="*/ 3286415 h 3593250"/>
                <a:gd name="connsiteX10" fmla="*/ 1796625 w 5614387"/>
                <a:gd name="connsiteY10" fmla="*/ 3593250 h 3593250"/>
                <a:gd name="connsiteX11" fmla="*/ 0 w 5614387"/>
                <a:gd name="connsiteY11" fmla="*/ 1796625 h 3593250"/>
                <a:gd name="connsiteX12" fmla="*/ 1796625 w 5614387"/>
                <a:gd name="connsiteY12" fmla="*/ 0 h 359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14387" h="3593250">
                  <a:moveTo>
                    <a:pt x="1796625" y="0"/>
                  </a:moveTo>
                  <a:cubicBezTo>
                    <a:pt x="2168719" y="0"/>
                    <a:pt x="2514392" y="113116"/>
                    <a:pt x="2801136" y="306835"/>
                  </a:cubicBezTo>
                  <a:lnTo>
                    <a:pt x="2807194" y="311366"/>
                  </a:lnTo>
                  <a:lnTo>
                    <a:pt x="2813252" y="306835"/>
                  </a:lnTo>
                  <a:cubicBezTo>
                    <a:pt x="3099995" y="113116"/>
                    <a:pt x="3445669" y="0"/>
                    <a:pt x="3817762" y="0"/>
                  </a:cubicBezTo>
                  <a:cubicBezTo>
                    <a:pt x="4810011" y="0"/>
                    <a:pt x="5614387" y="804376"/>
                    <a:pt x="5614387" y="1796625"/>
                  </a:cubicBezTo>
                  <a:cubicBezTo>
                    <a:pt x="5614387" y="2788874"/>
                    <a:pt x="4810011" y="3593250"/>
                    <a:pt x="3817762" y="3593250"/>
                  </a:cubicBezTo>
                  <a:cubicBezTo>
                    <a:pt x="3445669" y="3593250"/>
                    <a:pt x="3099995" y="3480135"/>
                    <a:pt x="2813252" y="3286415"/>
                  </a:cubicBezTo>
                  <a:lnTo>
                    <a:pt x="2807194" y="3281885"/>
                  </a:lnTo>
                  <a:lnTo>
                    <a:pt x="2801136" y="3286415"/>
                  </a:lnTo>
                  <a:cubicBezTo>
                    <a:pt x="2514392" y="3480135"/>
                    <a:pt x="2168719" y="3593250"/>
                    <a:pt x="1796625" y="3593250"/>
                  </a:cubicBezTo>
                  <a:cubicBezTo>
                    <a:pt x="804376" y="3593250"/>
                    <a:pt x="0" y="2788874"/>
                    <a:pt x="0" y="1796625"/>
                  </a:cubicBezTo>
                  <a:cubicBezTo>
                    <a:pt x="0" y="804376"/>
                    <a:pt x="804376" y="0"/>
                    <a:pt x="1796625" y="0"/>
                  </a:cubicBezTo>
                  <a:close/>
                </a:path>
              </a:pathLst>
            </a:custGeom>
            <a:noFill/>
            <a:ln w="25400" algn="ctr">
              <a:gradFill>
                <a:gsLst>
                  <a:gs pos="0">
                    <a:srgbClr val="0076CB"/>
                  </a:gs>
                  <a:gs pos="100000">
                    <a:schemeClr val="accent3"/>
                  </a:gs>
                </a:gsLst>
                <a:lin ang="0" scaled="0"/>
              </a:gradFill>
              <a:miter lim="800000"/>
              <a:headEnd/>
              <a:tailEnd/>
            </a:ln>
          </p:spPr>
          <p:txBody>
            <a:bodyPr lIns="89931" tIns="71943" rIns="89931" bIns="71943" rtlCol="0" anchor="ctr"/>
            <a:lstStyle/>
            <a:p>
              <a:pPr algn="ctr" defTabSz="913624" fontAlgn="base" hangingPunct="0">
                <a:spcBef>
                  <a:spcPct val="50000"/>
                </a:spcBef>
                <a:spcAft>
                  <a:spcPct val="0"/>
                </a:spcAft>
                <a:buClr>
                  <a:srgbClr val="F0AB00"/>
                </a:buClr>
                <a:buSzPct val="80000"/>
                <a:defRPr/>
              </a:pPr>
              <a:endParaRPr lang="en-GB" sz="1797" kern="0" noProof="0">
                <a:solidFill>
                  <a:srgbClr val="FFFFFF"/>
                </a:solidFill>
                <a:latin typeface="Quattrocento Sans" panose="020B0502050000020003" pitchFamily="34" charset="0"/>
                <a:ea typeface="Arial Unicode MS" pitchFamily="34" charset="-128"/>
                <a:cs typeface="Arial Unicode MS" pitchFamily="34" charset="-128"/>
                <a:sym typeface="Calibri"/>
              </a:endParaRPr>
            </a:p>
          </p:txBody>
        </p:sp>
        <p:sp>
          <p:nvSpPr>
            <p:cNvPr id="2080" name="Freeform: Shape 29">
              <a:extLst>
                <a:ext uri="{FF2B5EF4-FFF2-40B4-BE49-F238E27FC236}">
                  <a16:creationId xmlns:a16="http://schemas.microsoft.com/office/drawing/2014/main" id="{00B8E7E4-B353-68E8-CA48-36A81002A9E3}"/>
                </a:ext>
              </a:extLst>
            </p:cNvPr>
            <p:cNvSpPr/>
            <p:nvPr/>
          </p:nvSpPr>
          <p:spPr>
            <a:xfrm>
              <a:off x="7326489" y="2243525"/>
              <a:ext cx="3622144" cy="3622141"/>
            </a:xfrm>
            <a:custGeom>
              <a:avLst/>
              <a:gdLst>
                <a:gd name="connsiteX0" fmla="*/ 959777 w 959777"/>
                <a:gd name="connsiteY0" fmla="*/ 479889 h 959777"/>
                <a:gd name="connsiteX1" fmla="*/ 479888 w 959777"/>
                <a:gd name="connsiteY1" fmla="*/ 959777 h 959777"/>
                <a:gd name="connsiteX2" fmla="*/ 0 w 959777"/>
                <a:gd name="connsiteY2" fmla="*/ 479889 h 959777"/>
                <a:gd name="connsiteX3" fmla="*/ 479888 w 959777"/>
                <a:gd name="connsiteY3" fmla="*/ 0 h 959777"/>
                <a:gd name="connsiteX4" fmla="*/ 959777 w 959777"/>
                <a:gd name="connsiteY4" fmla="*/ 479889 h 959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9777" h="959777">
                  <a:moveTo>
                    <a:pt x="959777" y="479889"/>
                  </a:moveTo>
                  <a:cubicBezTo>
                    <a:pt x="959777" y="744924"/>
                    <a:pt x="744924" y="959777"/>
                    <a:pt x="479888" y="959777"/>
                  </a:cubicBezTo>
                  <a:cubicBezTo>
                    <a:pt x="214853" y="959777"/>
                    <a:pt x="0" y="744924"/>
                    <a:pt x="0" y="479889"/>
                  </a:cubicBezTo>
                  <a:cubicBezTo>
                    <a:pt x="0" y="214853"/>
                    <a:pt x="214853" y="0"/>
                    <a:pt x="479888" y="0"/>
                  </a:cubicBezTo>
                  <a:cubicBezTo>
                    <a:pt x="744924" y="0"/>
                    <a:pt x="959777" y="214853"/>
                    <a:pt x="959777" y="479889"/>
                  </a:cubicBezTo>
                  <a:close/>
                </a:path>
              </a:pathLst>
            </a:custGeom>
            <a:solidFill>
              <a:srgbClr val="0078D2">
                <a:alpha val="10000"/>
              </a:srgbClr>
            </a:solidFill>
            <a:ln w="18826" cap="flat">
              <a:noFill/>
              <a:prstDash val="solid"/>
              <a:miter/>
            </a:ln>
          </p:spPr>
          <p:txBody>
            <a:bodyPr rtlCol="0" anchor="ctr"/>
            <a:lstStyle/>
            <a:p>
              <a:pPr defTabSz="913624" hangingPunct="0">
                <a:defRPr/>
              </a:pPr>
              <a:endParaRPr lang="en-GB" sz="1797" kern="0" noProof="0">
                <a:solidFill>
                  <a:srgbClr val="FFFFFF"/>
                </a:solidFill>
                <a:latin typeface="Quattrocento Sans" panose="020B0502050000020003" pitchFamily="34" charset="0"/>
                <a:cs typeface="Calibri"/>
                <a:sym typeface="Calibri"/>
              </a:endParaRPr>
            </a:p>
          </p:txBody>
        </p:sp>
        <p:sp>
          <p:nvSpPr>
            <p:cNvPr id="2081" name="Freeform: Shape 30">
              <a:extLst>
                <a:ext uri="{FF2B5EF4-FFF2-40B4-BE49-F238E27FC236}">
                  <a16:creationId xmlns:a16="http://schemas.microsoft.com/office/drawing/2014/main" id="{A805C425-B5CA-527D-75B0-5285013578B6}"/>
                </a:ext>
              </a:extLst>
            </p:cNvPr>
            <p:cNvSpPr/>
            <p:nvPr/>
          </p:nvSpPr>
          <p:spPr>
            <a:xfrm>
              <a:off x="5070543" y="2243525"/>
              <a:ext cx="3622144" cy="3622141"/>
            </a:xfrm>
            <a:custGeom>
              <a:avLst/>
              <a:gdLst>
                <a:gd name="connsiteX0" fmla="*/ 959777 w 959777"/>
                <a:gd name="connsiteY0" fmla="*/ 479889 h 959777"/>
                <a:gd name="connsiteX1" fmla="*/ 479889 w 959777"/>
                <a:gd name="connsiteY1" fmla="*/ 959777 h 959777"/>
                <a:gd name="connsiteX2" fmla="*/ 0 w 959777"/>
                <a:gd name="connsiteY2" fmla="*/ 479889 h 959777"/>
                <a:gd name="connsiteX3" fmla="*/ 479889 w 959777"/>
                <a:gd name="connsiteY3" fmla="*/ 0 h 959777"/>
                <a:gd name="connsiteX4" fmla="*/ 959777 w 959777"/>
                <a:gd name="connsiteY4" fmla="*/ 479889 h 959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9777" h="959777">
                  <a:moveTo>
                    <a:pt x="959777" y="479889"/>
                  </a:moveTo>
                  <a:cubicBezTo>
                    <a:pt x="959777" y="744924"/>
                    <a:pt x="744924" y="959777"/>
                    <a:pt x="479889" y="959777"/>
                  </a:cubicBezTo>
                  <a:cubicBezTo>
                    <a:pt x="214853" y="959777"/>
                    <a:pt x="0" y="744924"/>
                    <a:pt x="0" y="479889"/>
                  </a:cubicBezTo>
                  <a:cubicBezTo>
                    <a:pt x="0" y="214853"/>
                    <a:pt x="214853" y="0"/>
                    <a:pt x="479889" y="0"/>
                  </a:cubicBezTo>
                  <a:cubicBezTo>
                    <a:pt x="744924" y="0"/>
                    <a:pt x="959777" y="214853"/>
                    <a:pt x="959777" y="479889"/>
                  </a:cubicBezTo>
                  <a:close/>
                </a:path>
              </a:pathLst>
            </a:custGeom>
            <a:solidFill>
              <a:srgbClr val="5C9A00">
                <a:alpha val="10000"/>
              </a:srgbClr>
            </a:solidFill>
            <a:ln w="18826" cap="flat">
              <a:noFill/>
              <a:prstDash val="solid"/>
              <a:miter/>
            </a:ln>
          </p:spPr>
          <p:txBody>
            <a:bodyPr rtlCol="0" anchor="ctr"/>
            <a:lstStyle/>
            <a:p>
              <a:pPr defTabSz="913624" hangingPunct="0">
                <a:defRPr/>
              </a:pPr>
              <a:endParaRPr lang="en-GB" sz="1797" kern="0" noProof="0">
                <a:solidFill>
                  <a:srgbClr val="FFFFFF"/>
                </a:solidFill>
                <a:latin typeface="Quattrocento Sans" panose="020B0502050000020003" pitchFamily="34" charset="0"/>
                <a:cs typeface="Calibri"/>
                <a:sym typeface="Calibri"/>
              </a:endParaRPr>
            </a:p>
          </p:txBody>
        </p:sp>
        <p:pic>
          <p:nvPicPr>
            <p:cNvPr id="2082" name="Picture 2">
              <a:extLst>
                <a:ext uri="{FF2B5EF4-FFF2-40B4-BE49-F238E27FC236}">
                  <a16:creationId xmlns:a16="http://schemas.microsoft.com/office/drawing/2014/main" id="{1E24AD27-9826-3D5F-2533-E78DE54DE304}"/>
                </a:ext>
              </a:extLst>
            </p:cNvPr>
            <p:cNvPicPr>
              <a:picLocks noChangeAspect="1"/>
            </p:cNvPicPr>
            <p:nvPr/>
          </p:nvPicPr>
          <p:blipFill>
            <a:blip r:embed="rId10"/>
            <a:stretch>
              <a:fillRect/>
            </a:stretch>
          </p:blipFill>
          <p:spPr>
            <a:xfrm>
              <a:off x="8858446" y="3871037"/>
              <a:ext cx="779155" cy="385926"/>
            </a:xfrm>
            <a:prstGeom prst="rect">
              <a:avLst/>
            </a:prstGeom>
          </p:spPr>
        </p:pic>
        <p:grpSp>
          <p:nvGrpSpPr>
            <p:cNvPr id="2084" name="Group 39">
              <a:extLst>
                <a:ext uri="{FF2B5EF4-FFF2-40B4-BE49-F238E27FC236}">
                  <a16:creationId xmlns:a16="http://schemas.microsoft.com/office/drawing/2014/main" id="{4EB43BD8-49CE-D6CF-E9BF-AFFF2C45BE1B}"/>
                </a:ext>
              </a:extLst>
            </p:cNvPr>
            <p:cNvGrpSpPr>
              <a:grpSpLocks/>
            </p:cNvGrpSpPr>
            <p:nvPr/>
          </p:nvGrpSpPr>
          <p:grpSpPr>
            <a:xfrm>
              <a:off x="8509884" y="2668743"/>
              <a:ext cx="2840264" cy="3060284"/>
              <a:chOff x="6630801" y="2297982"/>
              <a:chExt cx="2543311" cy="2740328"/>
            </a:xfrm>
          </p:grpSpPr>
          <p:sp>
            <p:nvSpPr>
              <p:cNvPr id="2099" name="TextBox 17">
                <a:extLst>
                  <a:ext uri="{FF2B5EF4-FFF2-40B4-BE49-F238E27FC236}">
                    <a16:creationId xmlns:a16="http://schemas.microsoft.com/office/drawing/2014/main" id="{826D5D9E-5AF0-1837-8B16-653553965378}"/>
                  </a:ext>
                </a:extLst>
              </p:cNvPr>
              <p:cNvSpPr txBox="1">
                <a:spLocks/>
              </p:cNvSpPr>
              <p:nvPr/>
            </p:nvSpPr>
            <p:spPr>
              <a:xfrm>
                <a:off x="6630801" y="4886731"/>
                <a:ext cx="1773620" cy="151579"/>
              </a:xfrm>
              <a:prstGeom prst="rect">
                <a:avLst/>
              </a:prstGeom>
              <a:noFill/>
            </p:spPr>
            <p:txBody>
              <a:bodyPr wrap="square" lIns="0" tIns="0" rIns="0" bIns="0" rtlCol="0">
                <a:spAutoFit/>
              </a:bodyPr>
              <a:lstStyle/>
              <a:p>
                <a:pPr defTabSz="609630" fontAlgn="base" hangingPunct="0">
                  <a:spcBef>
                    <a:spcPct val="50000"/>
                  </a:spcBef>
                  <a:spcAft>
                    <a:spcPct val="0"/>
                  </a:spcAft>
                  <a:buClr>
                    <a:srgbClr val="F0AB00"/>
                  </a:buClr>
                  <a:buSzPct val="80000"/>
                </a:pPr>
                <a:r>
                  <a:rPr lang="en-GB" sz="1100" b="1" i="1" kern="0" noProof="0">
                    <a:solidFill>
                      <a:srgbClr val="FFFFFF">
                        <a:lumMod val="50000"/>
                      </a:srgbClr>
                    </a:solidFill>
                    <a:latin typeface="Quattrocento Sans" panose="020B0502050000020003" pitchFamily="34" charset="0"/>
                    <a:ea typeface="Arial Unicode MS" pitchFamily="34" charset="-128"/>
                    <a:cs typeface="Arial Unicode MS" pitchFamily="34" charset="-128"/>
                    <a:sym typeface="Calibri"/>
                  </a:rPr>
                  <a:t>SAP data landscape</a:t>
                </a:r>
              </a:p>
            </p:txBody>
          </p:sp>
          <p:sp>
            <p:nvSpPr>
              <p:cNvPr id="2100" name="TextBox 19">
                <a:extLst>
                  <a:ext uri="{FF2B5EF4-FFF2-40B4-BE49-F238E27FC236}">
                    <a16:creationId xmlns:a16="http://schemas.microsoft.com/office/drawing/2014/main" id="{A3D9AE8D-4C10-B86B-F2AB-755506FD9A63}"/>
                  </a:ext>
                </a:extLst>
              </p:cNvPr>
              <p:cNvSpPr txBox="1"/>
              <p:nvPr/>
            </p:nvSpPr>
            <p:spPr>
              <a:xfrm>
                <a:off x="6661609" y="2297982"/>
                <a:ext cx="1742811" cy="151579"/>
              </a:xfrm>
              <a:prstGeom prst="rect">
                <a:avLst/>
              </a:prstGeom>
              <a:noFill/>
            </p:spPr>
            <p:txBody>
              <a:bodyPr wrap="square" lIns="0" tIns="0" rIns="0" bIns="0" rtlCol="0">
                <a:spAutoFit/>
              </a:bodyPr>
              <a:lstStyle/>
              <a:p>
                <a:pPr defTabSz="609630" fontAlgn="base" hangingPunct="0">
                  <a:spcBef>
                    <a:spcPct val="50000"/>
                  </a:spcBef>
                  <a:spcAft>
                    <a:spcPct val="0"/>
                  </a:spcAft>
                  <a:buClr>
                    <a:srgbClr val="F0AB00"/>
                  </a:buClr>
                  <a:buSzPct val="80000"/>
                </a:pPr>
                <a:r>
                  <a:rPr lang="en-GB" sz="1100" kern="0" noProof="0">
                    <a:solidFill>
                      <a:srgbClr val="000000"/>
                    </a:solidFill>
                    <a:latin typeface="Quattrocento Sans" panose="020B0502050000020003" pitchFamily="34" charset="0"/>
                    <a:ea typeface="Arial Unicode MS" pitchFamily="34" charset="-128"/>
                    <a:cs typeface="Arial Unicode MS" pitchFamily="34" charset="-128"/>
                    <a:sym typeface="Calibri"/>
                  </a:rPr>
                  <a:t>SAP Analytics Cloud*</a:t>
                </a:r>
              </a:p>
            </p:txBody>
          </p:sp>
          <p:sp>
            <p:nvSpPr>
              <p:cNvPr id="2101" name="TextBox 22">
                <a:extLst>
                  <a:ext uri="{FF2B5EF4-FFF2-40B4-BE49-F238E27FC236}">
                    <a16:creationId xmlns:a16="http://schemas.microsoft.com/office/drawing/2014/main" id="{D5023F8B-F544-46A7-1AF4-C63C9B9D3CD1}"/>
                  </a:ext>
                </a:extLst>
              </p:cNvPr>
              <p:cNvSpPr txBox="1"/>
              <p:nvPr/>
            </p:nvSpPr>
            <p:spPr>
              <a:xfrm>
                <a:off x="6968460" y="2668863"/>
                <a:ext cx="1307020" cy="151579"/>
              </a:xfrm>
              <a:prstGeom prst="rect">
                <a:avLst/>
              </a:prstGeom>
              <a:noFill/>
            </p:spPr>
            <p:txBody>
              <a:bodyPr wrap="square" lIns="0" tIns="0" rIns="0" bIns="0" rtlCol="0">
                <a:spAutoFit/>
              </a:bodyPr>
              <a:lstStyle/>
              <a:p>
                <a:pPr defTabSz="609630" fontAlgn="base" hangingPunct="0">
                  <a:spcBef>
                    <a:spcPct val="50000"/>
                  </a:spcBef>
                  <a:spcAft>
                    <a:spcPct val="0"/>
                  </a:spcAft>
                  <a:buClr>
                    <a:srgbClr val="F0AB00"/>
                  </a:buClr>
                  <a:buSzPct val="80000"/>
                </a:pPr>
                <a:r>
                  <a:rPr lang="en-GB" sz="1100" kern="0" noProof="0">
                    <a:solidFill>
                      <a:srgbClr val="000000"/>
                    </a:solidFill>
                    <a:latin typeface="Quattrocento Sans" panose="020B0502050000020003" pitchFamily="34" charset="0"/>
                    <a:ea typeface="Arial Unicode MS" pitchFamily="34" charset="-128"/>
                    <a:cs typeface="Arial Unicode MS" pitchFamily="34" charset="-128"/>
                    <a:sym typeface="Calibri"/>
                  </a:rPr>
                  <a:t>SAP Datasphere**</a:t>
                </a:r>
              </a:p>
            </p:txBody>
          </p:sp>
          <p:sp>
            <p:nvSpPr>
              <p:cNvPr id="2102" name="TextBox 23">
                <a:extLst>
                  <a:ext uri="{FF2B5EF4-FFF2-40B4-BE49-F238E27FC236}">
                    <a16:creationId xmlns:a16="http://schemas.microsoft.com/office/drawing/2014/main" id="{CC9EFA63-5629-BFD5-5031-1F5F4DD18F1A}"/>
                  </a:ext>
                </a:extLst>
              </p:cNvPr>
              <p:cNvSpPr txBox="1"/>
              <p:nvPr/>
            </p:nvSpPr>
            <p:spPr>
              <a:xfrm>
                <a:off x="7235386" y="3039743"/>
                <a:ext cx="1307020" cy="151579"/>
              </a:xfrm>
              <a:prstGeom prst="rect">
                <a:avLst/>
              </a:prstGeom>
              <a:noFill/>
            </p:spPr>
            <p:txBody>
              <a:bodyPr wrap="square" lIns="0" tIns="0" rIns="0" bIns="0" rtlCol="0">
                <a:spAutoFit/>
              </a:bodyPr>
              <a:lstStyle/>
              <a:p>
                <a:pPr defTabSz="609630" fontAlgn="base" hangingPunct="0">
                  <a:spcBef>
                    <a:spcPct val="50000"/>
                  </a:spcBef>
                  <a:spcAft>
                    <a:spcPct val="0"/>
                  </a:spcAft>
                  <a:buClr>
                    <a:srgbClr val="F0AB00"/>
                  </a:buClr>
                  <a:buSzPct val="80000"/>
                </a:pPr>
                <a:r>
                  <a:rPr lang="en-GB" sz="1100" kern="0" noProof="0">
                    <a:solidFill>
                      <a:srgbClr val="000000"/>
                    </a:solidFill>
                    <a:latin typeface="Quattrocento Sans" panose="020B0502050000020003" pitchFamily="34" charset="0"/>
                    <a:ea typeface="Arial Unicode MS" pitchFamily="34" charset="-128"/>
                    <a:cs typeface="Arial Unicode MS" pitchFamily="34" charset="-128"/>
                    <a:sym typeface="Calibri"/>
                  </a:rPr>
                  <a:t>SAP BW4/HANA**</a:t>
                </a:r>
              </a:p>
            </p:txBody>
          </p:sp>
          <p:sp>
            <p:nvSpPr>
              <p:cNvPr id="2103" name="TextBox 24">
                <a:extLst>
                  <a:ext uri="{FF2B5EF4-FFF2-40B4-BE49-F238E27FC236}">
                    <a16:creationId xmlns:a16="http://schemas.microsoft.com/office/drawing/2014/main" id="{7C29DEB2-46B3-1AB7-73D8-CCD67E923A98}"/>
                  </a:ext>
                </a:extLst>
              </p:cNvPr>
              <p:cNvSpPr txBox="1"/>
              <p:nvPr/>
            </p:nvSpPr>
            <p:spPr>
              <a:xfrm>
                <a:off x="6848875" y="4341390"/>
                <a:ext cx="1307020" cy="151579"/>
              </a:xfrm>
              <a:prstGeom prst="rect">
                <a:avLst/>
              </a:prstGeom>
              <a:noFill/>
            </p:spPr>
            <p:txBody>
              <a:bodyPr wrap="square" lIns="0" tIns="0" rIns="0" bIns="0" rtlCol="0">
                <a:spAutoFit/>
              </a:bodyPr>
              <a:lstStyle/>
              <a:p>
                <a:pPr defTabSz="609630" fontAlgn="base" hangingPunct="0">
                  <a:spcBef>
                    <a:spcPct val="50000"/>
                  </a:spcBef>
                  <a:spcAft>
                    <a:spcPct val="0"/>
                  </a:spcAft>
                  <a:buClr>
                    <a:srgbClr val="F0AB00"/>
                  </a:buClr>
                  <a:buSzPct val="80000"/>
                </a:pPr>
                <a:r>
                  <a:rPr lang="en-GB" sz="1100" kern="0" noProof="0">
                    <a:solidFill>
                      <a:srgbClr val="000000"/>
                    </a:solidFill>
                    <a:latin typeface="Quattrocento Sans" panose="020B0502050000020003" pitchFamily="34" charset="0"/>
                    <a:ea typeface="Arial Unicode MS" pitchFamily="34" charset="-128"/>
                    <a:cs typeface="Arial Unicode MS" pitchFamily="34" charset="-128"/>
                    <a:sym typeface="Calibri"/>
                  </a:rPr>
                  <a:t>SAP S/4HANA**</a:t>
                </a:r>
              </a:p>
            </p:txBody>
          </p:sp>
          <p:sp>
            <p:nvSpPr>
              <p:cNvPr id="2104" name="TextBox 25">
                <a:extLst>
                  <a:ext uri="{FF2B5EF4-FFF2-40B4-BE49-F238E27FC236}">
                    <a16:creationId xmlns:a16="http://schemas.microsoft.com/office/drawing/2014/main" id="{5CE4C9AB-F605-219F-1CCC-2D0509C31B07}"/>
                  </a:ext>
                </a:extLst>
              </p:cNvPr>
              <p:cNvSpPr txBox="1"/>
              <p:nvPr/>
            </p:nvSpPr>
            <p:spPr>
              <a:xfrm>
                <a:off x="7867092" y="3508331"/>
                <a:ext cx="1307020" cy="151579"/>
              </a:xfrm>
              <a:prstGeom prst="rect">
                <a:avLst/>
              </a:prstGeom>
              <a:noFill/>
            </p:spPr>
            <p:txBody>
              <a:bodyPr wrap="square" lIns="0" tIns="0" rIns="0" bIns="0" rtlCol="0">
                <a:spAutoFit/>
              </a:bodyPr>
              <a:lstStyle/>
              <a:p>
                <a:pPr defTabSz="609630" fontAlgn="base" hangingPunct="0">
                  <a:spcBef>
                    <a:spcPct val="50000"/>
                  </a:spcBef>
                  <a:spcAft>
                    <a:spcPct val="0"/>
                  </a:spcAft>
                  <a:buClr>
                    <a:srgbClr val="F0AB00"/>
                  </a:buClr>
                  <a:buSzPct val="80000"/>
                </a:pPr>
                <a:r>
                  <a:rPr lang="en-GB" sz="1100" kern="0" noProof="0">
                    <a:solidFill>
                      <a:srgbClr val="000000"/>
                    </a:solidFill>
                    <a:latin typeface="Quattrocento Sans" panose="020B0502050000020003" pitchFamily="34" charset="0"/>
                    <a:ea typeface="Arial Unicode MS" pitchFamily="34" charset="-128"/>
                    <a:cs typeface="Arial Unicode MS" pitchFamily="34" charset="-128"/>
                    <a:sym typeface="Calibri"/>
                  </a:rPr>
                  <a:t>SAP ECC*</a:t>
                </a:r>
              </a:p>
            </p:txBody>
          </p:sp>
          <p:sp>
            <p:nvSpPr>
              <p:cNvPr id="2105" name="TextBox 3">
                <a:extLst>
                  <a:ext uri="{FF2B5EF4-FFF2-40B4-BE49-F238E27FC236}">
                    <a16:creationId xmlns:a16="http://schemas.microsoft.com/office/drawing/2014/main" id="{DC8C0C1A-F207-2D9B-296F-E01BC8FEF39B}"/>
                  </a:ext>
                </a:extLst>
              </p:cNvPr>
              <p:cNvSpPr txBox="1"/>
              <p:nvPr/>
            </p:nvSpPr>
            <p:spPr>
              <a:xfrm>
                <a:off x="7291767" y="3954017"/>
                <a:ext cx="1307020" cy="151579"/>
              </a:xfrm>
              <a:prstGeom prst="rect">
                <a:avLst/>
              </a:prstGeom>
              <a:noFill/>
            </p:spPr>
            <p:txBody>
              <a:bodyPr wrap="square" lIns="0" tIns="0" rIns="0" bIns="0" rtlCol="0">
                <a:spAutoFit/>
              </a:bodyPr>
              <a:lstStyle/>
              <a:p>
                <a:pPr defTabSz="609630" fontAlgn="base" hangingPunct="0">
                  <a:spcBef>
                    <a:spcPct val="50000"/>
                  </a:spcBef>
                  <a:spcAft>
                    <a:spcPct val="0"/>
                  </a:spcAft>
                  <a:buClr>
                    <a:srgbClr val="F0AB00"/>
                  </a:buClr>
                  <a:buSzPct val="80000"/>
                </a:pPr>
                <a:r>
                  <a:rPr lang="en-GB" sz="1100" kern="0" noProof="0">
                    <a:solidFill>
                      <a:srgbClr val="000000"/>
                    </a:solidFill>
                    <a:latin typeface="Quattrocento Sans" panose="020B0502050000020003" pitchFamily="34" charset="0"/>
                    <a:ea typeface="Arial Unicode MS" pitchFamily="34" charset="-128"/>
                    <a:cs typeface="Arial Unicode MS" pitchFamily="34" charset="-128"/>
                    <a:sym typeface="Calibri"/>
                  </a:rPr>
                  <a:t>SAP HANA Cloud**</a:t>
                </a:r>
              </a:p>
            </p:txBody>
          </p:sp>
        </p:grpSp>
        <p:grpSp>
          <p:nvGrpSpPr>
            <p:cNvPr id="2085" name="Group 11">
              <a:extLst>
                <a:ext uri="{FF2B5EF4-FFF2-40B4-BE49-F238E27FC236}">
                  <a16:creationId xmlns:a16="http://schemas.microsoft.com/office/drawing/2014/main" id="{5F69DFFF-5EAF-67D0-1F78-32029E1C3417}"/>
                </a:ext>
              </a:extLst>
            </p:cNvPr>
            <p:cNvGrpSpPr/>
            <p:nvPr/>
          </p:nvGrpSpPr>
          <p:grpSpPr>
            <a:xfrm>
              <a:off x="5323653" y="2275749"/>
              <a:ext cx="2605664" cy="3453279"/>
              <a:chOff x="3457144" y="1553982"/>
              <a:chExt cx="2605664" cy="3453279"/>
            </a:xfrm>
          </p:grpSpPr>
          <p:pic>
            <p:nvPicPr>
              <p:cNvPr id="2087" name="Picture 2" descr="Tableau Logo, symbol, meaning, history, PNG, brand">
                <a:extLst>
                  <a:ext uri="{FF2B5EF4-FFF2-40B4-BE49-F238E27FC236}">
                    <a16:creationId xmlns:a16="http://schemas.microsoft.com/office/drawing/2014/main" id="{CC74E5CB-9409-A7C7-A171-746C4A1706BC}"/>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799388" y="2205055"/>
                <a:ext cx="409613" cy="230405"/>
              </a:xfrm>
              <a:prstGeom prst="rect">
                <a:avLst/>
              </a:prstGeom>
              <a:noFill/>
              <a:extLst>
                <a:ext uri="{909E8E84-426E-40DD-AFC4-6F175D3DCCD1}">
                  <a14:hiddenFill xmlns:a14="http://schemas.microsoft.com/office/drawing/2010/main">
                    <a:solidFill>
                      <a:srgbClr val="FFFFFF"/>
                    </a:solidFill>
                  </a14:hiddenFill>
                </a:ext>
              </a:extLst>
            </p:spPr>
          </p:pic>
          <p:grpSp>
            <p:nvGrpSpPr>
              <p:cNvPr id="2088" name="Group 38">
                <a:extLst>
                  <a:ext uri="{FF2B5EF4-FFF2-40B4-BE49-F238E27FC236}">
                    <a16:creationId xmlns:a16="http://schemas.microsoft.com/office/drawing/2014/main" id="{850F2866-ABFB-1BE2-7237-E1B5896735AD}"/>
                  </a:ext>
                </a:extLst>
              </p:cNvPr>
              <p:cNvGrpSpPr/>
              <p:nvPr/>
            </p:nvGrpSpPr>
            <p:grpSpPr>
              <a:xfrm>
                <a:off x="3457144" y="1553982"/>
                <a:ext cx="2605664" cy="3453279"/>
                <a:chOff x="3777694" y="1950119"/>
                <a:chExt cx="2333239" cy="3092235"/>
              </a:xfrm>
            </p:grpSpPr>
            <p:pic>
              <p:nvPicPr>
                <p:cNvPr id="2089" name="Picture 10">
                  <a:extLst>
                    <a:ext uri="{FF2B5EF4-FFF2-40B4-BE49-F238E27FC236}">
                      <a16:creationId xmlns:a16="http://schemas.microsoft.com/office/drawing/2014/main" id="{8882FC47-8F33-5F5F-0F9C-5760FE439E34}"/>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161843" y="2110977"/>
                  <a:ext cx="408018" cy="117823"/>
                </a:xfrm>
                <a:prstGeom prst="rect">
                  <a:avLst/>
                </a:prstGeom>
                <a:noFill/>
                <a:extLst>
                  <a:ext uri="{909E8E84-426E-40DD-AFC4-6F175D3DCCD1}">
                    <a14:hiddenFill xmlns:a14="http://schemas.microsoft.com/office/drawing/2010/main">
                      <a:solidFill>
                        <a:srgbClr val="FFFFFF"/>
                      </a:solidFill>
                    </a14:hiddenFill>
                  </a:ext>
                </a:extLst>
              </p:spPr>
            </p:pic>
            <p:pic>
              <p:nvPicPr>
                <p:cNvPr id="2090" name="Picture 12" descr="Logo Google Cloud">
                  <a:extLst>
                    <a:ext uri="{FF2B5EF4-FFF2-40B4-BE49-F238E27FC236}">
                      <a16:creationId xmlns:a16="http://schemas.microsoft.com/office/drawing/2014/main" id="{4CA1F300-296C-F4A0-EE31-8D8204B8E30A}"/>
                    </a:ext>
                  </a:extLst>
                </p:cNvPr>
                <p:cNvPicPr>
                  <a:picLocks noChangeAspect="1" noChangeArrowheads="1"/>
                </p:cNvPicPr>
                <p:nvPr/>
              </p:nvPicPr>
              <p:blipFill rotWithShape="1">
                <a:blip r:embed="rId13">
                  <a:alphaModFix amt="84000"/>
                  <a:extLst>
                    <a:ext uri="{28A0092B-C50C-407E-A947-70E740481C1C}">
                      <a14:useLocalDpi xmlns:a14="http://schemas.microsoft.com/office/drawing/2010/main" val="0"/>
                    </a:ext>
                  </a:extLst>
                </a:blip>
                <a:srcRect/>
                <a:stretch/>
              </p:blipFill>
              <p:spPr bwMode="auto">
                <a:xfrm>
                  <a:off x="4450944" y="1950119"/>
                  <a:ext cx="654836" cy="741539"/>
                </a:xfrm>
                <a:prstGeom prst="rect">
                  <a:avLst/>
                </a:prstGeom>
                <a:noFill/>
                <a:extLst>
                  <a:ext uri="{909E8E84-426E-40DD-AFC4-6F175D3DCCD1}">
                    <a14:hiddenFill xmlns:a14="http://schemas.microsoft.com/office/drawing/2010/main">
                      <a:solidFill>
                        <a:srgbClr val="FFFFFF"/>
                      </a:solidFill>
                    </a14:hiddenFill>
                  </a:ext>
                </a:extLst>
              </p:spPr>
            </p:pic>
            <p:sp>
              <p:nvSpPr>
                <p:cNvPr id="2091" name="TextBox 16">
                  <a:extLst>
                    <a:ext uri="{FF2B5EF4-FFF2-40B4-BE49-F238E27FC236}">
                      <a16:creationId xmlns:a16="http://schemas.microsoft.com/office/drawing/2014/main" id="{84F51F8D-AA8C-AF87-7319-0D83A7E5C0CC}"/>
                    </a:ext>
                  </a:extLst>
                </p:cNvPr>
                <p:cNvSpPr txBox="1">
                  <a:spLocks/>
                </p:cNvSpPr>
                <p:nvPr/>
              </p:nvSpPr>
              <p:spPr>
                <a:xfrm>
                  <a:off x="4337313" y="4890775"/>
                  <a:ext cx="1773620" cy="151579"/>
                </a:xfrm>
                <a:prstGeom prst="rect">
                  <a:avLst/>
                </a:prstGeom>
                <a:noFill/>
              </p:spPr>
              <p:txBody>
                <a:bodyPr wrap="square" lIns="0" tIns="0" rIns="0" bIns="0" rtlCol="0">
                  <a:spAutoFit/>
                </a:bodyPr>
                <a:lstStyle/>
                <a:p>
                  <a:pPr defTabSz="609630" fontAlgn="base" hangingPunct="0">
                    <a:spcBef>
                      <a:spcPct val="50000"/>
                    </a:spcBef>
                    <a:spcAft>
                      <a:spcPct val="0"/>
                    </a:spcAft>
                    <a:buClr>
                      <a:srgbClr val="F0AB00"/>
                    </a:buClr>
                    <a:buSzPct val="80000"/>
                  </a:pPr>
                  <a:r>
                    <a:rPr lang="en-GB" sz="1100" b="1" i="1" kern="0" noProof="0">
                      <a:solidFill>
                        <a:srgbClr val="FFFFFF">
                          <a:lumMod val="50000"/>
                        </a:srgbClr>
                      </a:solidFill>
                      <a:latin typeface="Quattrocento Sans" panose="020B0502050000020003" pitchFamily="34" charset="0"/>
                      <a:ea typeface="Arial Unicode MS" pitchFamily="34" charset="-128"/>
                      <a:cs typeface="Arial Unicode MS" pitchFamily="34" charset="-128"/>
                      <a:sym typeface="Calibri"/>
                    </a:rPr>
                    <a:t>Non-SAP data landscape</a:t>
                  </a:r>
                </a:p>
              </p:txBody>
            </p:sp>
            <p:pic>
              <p:nvPicPr>
                <p:cNvPr id="2092" name="Picture 26">
                  <a:extLst>
                    <a:ext uri="{FF2B5EF4-FFF2-40B4-BE49-F238E27FC236}">
                      <a16:creationId xmlns:a16="http://schemas.microsoft.com/office/drawing/2014/main" id="{A159CA59-D9E8-C1D7-C314-ADB093700D7E}"/>
                    </a:ext>
                  </a:extLst>
                </p:cNvPr>
                <p:cNvPicPr>
                  <a:picLocks noChangeAspect="1"/>
                </p:cNvPicPr>
                <p:nvPr/>
              </p:nvPicPr>
              <p:blipFill>
                <a:blip r:embed="rId14">
                  <a:alphaModFix amt="74000"/>
                </a:blip>
                <a:srcRect/>
                <a:stretch/>
              </p:blipFill>
              <p:spPr>
                <a:xfrm>
                  <a:off x="4300323" y="2990927"/>
                  <a:ext cx="454556" cy="255563"/>
                </a:xfrm>
                <a:prstGeom prst="rect">
                  <a:avLst/>
                </a:prstGeom>
              </p:spPr>
            </p:pic>
            <p:pic>
              <p:nvPicPr>
                <p:cNvPr id="2093" name="Picture 27">
                  <a:extLst>
                    <a:ext uri="{FF2B5EF4-FFF2-40B4-BE49-F238E27FC236}">
                      <a16:creationId xmlns:a16="http://schemas.microsoft.com/office/drawing/2014/main" id="{B0855F11-6C23-E223-7D02-75BA3EED7F1A}"/>
                    </a:ext>
                  </a:extLst>
                </p:cNvPr>
                <p:cNvPicPr>
                  <a:picLocks noChangeAspect="1"/>
                </p:cNvPicPr>
                <p:nvPr/>
              </p:nvPicPr>
              <p:blipFill>
                <a:blip r:embed="rId15">
                  <a:alphaModFix amt="56000"/>
                </a:blip>
                <a:stretch>
                  <a:fillRect/>
                </a:stretch>
              </p:blipFill>
              <p:spPr>
                <a:xfrm>
                  <a:off x="4664508" y="2632719"/>
                  <a:ext cx="777153" cy="122593"/>
                </a:xfrm>
                <a:prstGeom prst="rect">
                  <a:avLst/>
                </a:prstGeom>
              </p:spPr>
            </p:pic>
            <p:sp>
              <p:nvSpPr>
                <p:cNvPr id="2094" name="TextBox 6">
                  <a:extLst>
                    <a:ext uri="{FF2B5EF4-FFF2-40B4-BE49-F238E27FC236}">
                      <a16:creationId xmlns:a16="http://schemas.microsoft.com/office/drawing/2014/main" id="{94C97770-97A6-D772-7A32-2E0D18FD83B4}"/>
                    </a:ext>
                  </a:extLst>
                </p:cNvPr>
                <p:cNvSpPr txBox="1">
                  <a:spLocks/>
                </p:cNvSpPr>
                <p:nvPr/>
              </p:nvSpPr>
              <p:spPr>
                <a:xfrm>
                  <a:off x="4176954" y="4059053"/>
                  <a:ext cx="1307020" cy="151579"/>
                </a:xfrm>
                <a:prstGeom prst="rect">
                  <a:avLst/>
                </a:prstGeom>
                <a:noFill/>
              </p:spPr>
              <p:txBody>
                <a:bodyPr wrap="square" lIns="0" tIns="0" rIns="0" bIns="0" rtlCol="0">
                  <a:spAutoFit/>
                </a:bodyPr>
                <a:lstStyle>
                  <a:defPPr>
                    <a:defRPr lang="en-US"/>
                  </a:defPPr>
                  <a:lvl1pPr fontAlgn="base">
                    <a:spcBef>
                      <a:spcPct val="50000"/>
                    </a:spcBef>
                    <a:spcAft>
                      <a:spcPct val="0"/>
                    </a:spcAft>
                    <a:buClr>
                      <a:srgbClr val="F0AB00"/>
                    </a:buClr>
                    <a:buSzPct val="80000"/>
                    <a:defRPr sz="1100" kern="0" baseline="30000">
                      <a:ea typeface="Arial Unicode MS" pitchFamily="34" charset="-128"/>
                      <a:cs typeface="Arial Unicode MS" pitchFamily="34" charset="-128"/>
                    </a:defRPr>
                  </a:lvl1pPr>
                </a:lstStyle>
                <a:p>
                  <a:pPr defTabSz="609630" hangingPunct="0"/>
                  <a:r>
                    <a:rPr lang="en-GB" baseline="0" noProof="0">
                      <a:solidFill>
                        <a:srgbClr val="000000"/>
                      </a:solidFill>
                      <a:latin typeface="Quattrocento Sans" panose="020B0502050000020003" pitchFamily="34" charset="0"/>
                      <a:sym typeface="Calibri"/>
                    </a:rPr>
                    <a:t>Cloud applications</a:t>
                  </a:r>
                </a:p>
              </p:txBody>
            </p:sp>
            <p:sp>
              <p:nvSpPr>
                <p:cNvPr id="2095" name="TextBox 7">
                  <a:extLst>
                    <a:ext uri="{FF2B5EF4-FFF2-40B4-BE49-F238E27FC236}">
                      <a16:creationId xmlns:a16="http://schemas.microsoft.com/office/drawing/2014/main" id="{5447495A-D5A5-4B8C-D920-F8BEE4C12A5B}"/>
                    </a:ext>
                  </a:extLst>
                </p:cNvPr>
                <p:cNvSpPr txBox="1">
                  <a:spLocks/>
                </p:cNvSpPr>
                <p:nvPr/>
              </p:nvSpPr>
              <p:spPr>
                <a:xfrm>
                  <a:off x="4541006" y="4417671"/>
                  <a:ext cx="1307020" cy="151579"/>
                </a:xfrm>
                <a:prstGeom prst="rect">
                  <a:avLst/>
                </a:prstGeom>
                <a:noFill/>
              </p:spPr>
              <p:txBody>
                <a:bodyPr wrap="square" lIns="0" tIns="0" rIns="0" bIns="0" rtlCol="0">
                  <a:spAutoFit/>
                </a:bodyPr>
                <a:lstStyle/>
                <a:p>
                  <a:pPr defTabSz="609630" fontAlgn="base" hangingPunct="0">
                    <a:spcBef>
                      <a:spcPct val="50000"/>
                    </a:spcBef>
                    <a:spcAft>
                      <a:spcPct val="0"/>
                    </a:spcAft>
                    <a:buClr>
                      <a:srgbClr val="F0AB00"/>
                    </a:buClr>
                    <a:buSzPct val="80000"/>
                  </a:pPr>
                  <a:r>
                    <a:rPr lang="en-GB" sz="1100" kern="0" noProof="0">
                      <a:solidFill>
                        <a:srgbClr val="000000"/>
                      </a:solidFill>
                      <a:latin typeface="Quattrocento Sans" panose="020B0502050000020003" pitchFamily="34" charset="0"/>
                      <a:ea typeface="Arial Unicode MS" pitchFamily="34" charset="-128"/>
                      <a:cs typeface="Arial Unicode MS" pitchFamily="34" charset="-128"/>
                      <a:sym typeface="Calibri"/>
                    </a:rPr>
                    <a:t>On-premise sources</a:t>
                  </a:r>
                </a:p>
              </p:txBody>
            </p:sp>
            <p:pic>
              <p:nvPicPr>
                <p:cNvPr id="2096" name="Picture 6" descr="MongoDB Logo transparent PNG - StickPNG">
                  <a:extLst>
                    <a:ext uri="{FF2B5EF4-FFF2-40B4-BE49-F238E27FC236}">
                      <a16:creationId xmlns:a16="http://schemas.microsoft.com/office/drawing/2014/main" id="{F6FBDA20-2D3A-F4A1-DA7F-B42491CD7634}"/>
                    </a:ext>
                  </a:extLst>
                </p:cNvPr>
                <p:cNvPicPr>
                  <a:picLocks noChangeAspect="1" noChangeArrowheads="1"/>
                </p:cNvPicPr>
                <p:nvPr/>
              </p:nvPicPr>
              <p:blipFill rotWithShape="1">
                <a:blip r:embed="rId16" cstate="print">
                  <a:alphaModFix amt="76000"/>
                  <a:extLst>
                    <a:ext uri="{28A0092B-C50C-407E-A947-70E740481C1C}">
                      <a14:useLocalDpi xmlns:a14="http://schemas.microsoft.com/office/drawing/2010/main" val="0"/>
                    </a:ext>
                  </a:extLst>
                </a:blip>
                <a:srcRect t="27701" b="29258"/>
                <a:stretch/>
              </p:blipFill>
              <p:spPr bwMode="auto">
                <a:xfrm>
                  <a:off x="4810044" y="2733874"/>
                  <a:ext cx="834641" cy="359238"/>
                </a:xfrm>
                <a:prstGeom prst="rect">
                  <a:avLst/>
                </a:prstGeom>
                <a:noFill/>
                <a:extLst>
                  <a:ext uri="{909E8E84-426E-40DD-AFC4-6F175D3DCCD1}">
                    <a14:hiddenFill xmlns:a14="http://schemas.microsoft.com/office/drawing/2010/main">
                      <a:solidFill>
                        <a:srgbClr val="FFFFFF"/>
                      </a:solidFill>
                    </a14:hiddenFill>
                  </a:ext>
                </a:extLst>
              </p:spPr>
            </p:pic>
            <p:pic>
              <p:nvPicPr>
                <p:cNvPr id="2097" name="Picture 10" descr="ServiceNow Logo and symbol, meaning, history, PNG">
                  <a:extLst>
                    <a:ext uri="{FF2B5EF4-FFF2-40B4-BE49-F238E27FC236}">
                      <a16:creationId xmlns:a16="http://schemas.microsoft.com/office/drawing/2014/main" id="{A4B44D28-BA00-69A6-F3A6-1C70E22B530F}"/>
                    </a:ext>
                  </a:extLst>
                </p:cNvPr>
                <p:cNvPicPr>
                  <a:picLocks noChangeAspect="1" noChangeArrowheads="1"/>
                </p:cNvPicPr>
                <p:nvPr/>
              </p:nvPicPr>
              <p:blipFill>
                <a:blip r:embed="rId17" cstate="print">
                  <a:alphaModFix amt="64000"/>
                  <a:extLst>
                    <a:ext uri="{28A0092B-C50C-407E-A947-70E740481C1C}">
                      <a14:useLocalDpi xmlns:a14="http://schemas.microsoft.com/office/drawing/2010/main" val="0"/>
                    </a:ext>
                  </a:extLst>
                </a:blip>
                <a:srcRect/>
                <a:stretch>
                  <a:fillRect/>
                </a:stretch>
              </p:blipFill>
              <p:spPr bwMode="auto">
                <a:xfrm>
                  <a:off x="5163837" y="2177201"/>
                  <a:ext cx="779722" cy="490448"/>
                </a:xfrm>
                <a:prstGeom prst="rect">
                  <a:avLst/>
                </a:prstGeom>
                <a:noFill/>
                <a:extLst>
                  <a:ext uri="{909E8E84-426E-40DD-AFC4-6F175D3DCCD1}">
                    <a14:hiddenFill xmlns:a14="http://schemas.microsoft.com/office/drawing/2010/main">
                      <a:solidFill>
                        <a:srgbClr val="FFFFFF"/>
                      </a:solidFill>
                    </a14:hiddenFill>
                  </a:ext>
                </a:extLst>
              </p:spPr>
            </p:pic>
            <p:pic>
              <p:nvPicPr>
                <p:cNvPr id="2098" name="Picture 14" descr="Salesforce Logo PNG Transparent – Brands Logos">
                  <a:extLst>
                    <a:ext uri="{FF2B5EF4-FFF2-40B4-BE49-F238E27FC236}">
                      <a16:creationId xmlns:a16="http://schemas.microsoft.com/office/drawing/2014/main" id="{28FB6210-56C2-ECFF-3B62-0FE79DA8AE8E}"/>
                    </a:ext>
                  </a:extLst>
                </p:cNvPr>
                <p:cNvPicPr>
                  <a:picLocks noChangeAspect="1" noChangeArrowheads="1"/>
                </p:cNvPicPr>
                <p:nvPr/>
              </p:nvPicPr>
              <p:blipFill>
                <a:blip r:embed="rId18" cstate="print">
                  <a:alphaModFix amt="64000"/>
                  <a:extLst>
                    <a:ext uri="{28A0092B-C50C-407E-A947-70E740481C1C}">
                      <a14:useLocalDpi xmlns:a14="http://schemas.microsoft.com/office/drawing/2010/main" val="0"/>
                    </a:ext>
                  </a:extLst>
                </a:blip>
                <a:srcRect/>
                <a:stretch>
                  <a:fillRect/>
                </a:stretch>
              </p:blipFill>
              <p:spPr bwMode="auto">
                <a:xfrm>
                  <a:off x="3777694" y="2816584"/>
                  <a:ext cx="417790" cy="292473"/>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2086" name="TextBox 1">
              <a:extLst>
                <a:ext uri="{FF2B5EF4-FFF2-40B4-BE49-F238E27FC236}">
                  <a16:creationId xmlns:a16="http://schemas.microsoft.com/office/drawing/2014/main" id="{ECC942F7-B672-419A-3472-A9D7798732D7}"/>
                </a:ext>
              </a:extLst>
            </p:cNvPr>
            <p:cNvSpPr txBox="1"/>
            <p:nvPr/>
          </p:nvSpPr>
          <p:spPr>
            <a:xfrm>
              <a:off x="7516724" y="3541716"/>
              <a:ext cx="993160" cy="1015663"/>
            </a:xfrm>
            <a:prstGeom prst="rect">
              <a:avLst/>
            </a:prstGeom>
            <a:noFill/>
          </p:spPr>
          <p:txBody>
            <a:bodyPr wrap="square" lIns="0" tIns="0" rIns="0" bIns="0" rtlCol="0">
              <a:spAutoFit/>
            </a:bodyPr>
            <a:lstStyle/>
            <a:p>
              <a:pPr algn="ctr" defTabSz="912984" fontAlgn="base" hangingPunct="0">
                <a:spcBef>
                  <a:spcPct val="50000"/>
                </a:spcBef>
                <a:spcAft>
                  <a:spcPct val="0"/>
                </a:spcAft>
                <a:buClr>
                  <a:srgbClr val="F0AB00"/>
                </a:buClr>
                <a:buSzPct val="80000"/>
              </a:pPr>
              <a:r>
                <a:rPr lang="en-GB" sz="1200" b="1" kern="0" noProof="0">
                  <a:solidFill>
                    <a:srgbClr val="0070F2"/>
                  </a:solidFill>
                  <a:latin typeface="Quattrocento Sans" panose="020B0502050000020003" pitchFamily="34" charset="0"/>
                  <a:ea typeface="Arial Unicode MS" pitchFamily="34" charset="-128"/>
                  <a:cs typeface="Arial Unicode MS" pitchFamily="34" charset="-128"/>
                  <a:sym typeface="Calibri"/>
                </a:rPr>
                <a:t>Metadata</a:t>
              </a:r>
            </a:p>
            <a:p>
              <a:pPr algn="ctr" defTabSz="912984" fontAlgn="base" hangingPunct="0">
                <a:spcBef>
                  <a:spcPct val="50000"/>
                </a:spcBef>
                <a:spcAft>
                  <a:spcPct val="0"/>
                </a:spcAft>
                <a:buClr>
                  <a:srgbClr val="F0AB00"/>
                </a:buClr>
                <a:buSzPct val="80000"/>
              </a:pPr>
              <a:r>
                <a:rPr lang="en-GB" sz="1200" b="1" kern="0" noProof="0">
                  <a:solidFill>
                    <a:srgbClr val="0070F2"/>
                  </a:solidFill>
                  <a:latin typeface="Quattrocento Sans" panose="020B0502050000020003" pitchFamily="34" charset="0"/>
                  <a:ea typeface="Arial Unicode MS" pitchFamily="34" charset="-128"/>
                  <a:cs typeface="Arial Unicode MS" pitchFamily="34" charset="-128"/>
                  <a:sym typeface="Calibri"/>
                </a:rPr>
                <a:t>Data Lineage</a:t>
              </a:r>
            </a:p>
            <a:p>
              <a:pPr algn="ctr" defTabSz="912984" fontAlgn="base" hangingPunct="0">
                <a:spcBef>
                  <a:spcPct val="50000"/>
                </a:spcBef>
                <a:spcAft>
                  <a:spcPct val="0"/>
                </a:spcAft>
                <a:buClr>
                  <a:srgbClr val="F0AB00"/>
                </a:buClr>
                <a:buSzPct val="80000"/>
              </a:pPr>
              <a:r>
                <a:rPr lang="en-GB" sz="1200" b="1" kern="0" noProof="0">
                  <a:solidFill>
                    <a:srgbClr val="0070F2"/>
                  </a:solidFill>
                  <a:latin typeface="Quattrocento Sans" panose="020B0502050000020003" pitchFamily="34" charset="0"/>
                  <a:ea typeface="Arial Unicode MS" pitchFamily="34" charset="-128"/>
                  <a:cs typeface="Arial Unicode MS" pitchFamily="34" charset="-128"/>
                  <a:sym typeface="Calibri"/>
                </a:rPr>
                <a:t>Glossary</a:t>
              </a:r>
            </a:p>
            <a:p>
              <a:pPr algn="ctr" defTabSz="912984" fontAlgn="base" hangingPunct="0">
                <a:spcBef>
                  <a:spcPct val="50000"/>
                </a:spcBef>
                <a:spcAft>
                  <a:spcPct val="0"/>
                </a:spcAft>
                <a:buClr>
                  <a:srgbClr val="F0AB00"/>
                </a:buClr>
                <a:buSzPct val="80000"/>
              </a:pPr>
              <a:r>
                <a:rPr lang="en-GB" sz="1200" b="1" kern="0" noProof="0">
                  <a:solidFill>
                    <a:srgbClr val="0070F2"/>
                  </a:solidFill>
                  <a:latin typeface="Quattrocento Sans" panose="020B0502050000020003" pitchFamily="34" charset="0"/>
                  <a:ea typeface="Arial Unicode MS" pitchFamily="34" charset="-128"/>
                  <a:cs typeface="Arial Unicode MS" pitchFamily="34" charset="-128"/>
                  <a:sym typeface="Calibri"/>
                </a:rPr>
                <a:t>Classification</a:t>
              </a:r>
              <a:endParaRPr lang="en-GB" sz="1200" b="1" kern="0" noProof="0">
                <a:solidFill>
                  <a:srgbClr val="0070F2"/>
                </a:solidFill>
                <a:latin typeface="Quattrocento Sans" panose="020B0502050000020003" pitchFamily="34" charset="0"/>
                <a:cs typeface="Calibri"/>
                <a:sym typeface="Calibri"/>
              </a:endParaRPr>
            </a:p>
          </p:txBody>
        </p:sp>
      </p:grpSp>
      <p:pic>
        <p:nvPicPr>
          <p:cNvPr id="2" name="Picture 4">
            <a:extLst>
              <a:ext uri="{FF2B5EF4-FFF2-40B4-BE49-F238E27FC236}">
                <a16:creationId xmlns:a16="http://schemas.microsoft.com/office/drawing/2014/main" id="{290A49A7-2FD4-F58C-7F7B-0AD222F9AA51}"/>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2601" y="303742"/>
            <a:ext cx="2214875" cy="58140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4">
            <a:extLst>
              <a:ext uri="{FF2B5EF4-FFF2-40B4-BE49-F238E27FC236}">
                <a16:creationId xmlns:a16="http://schemas.microsoft.com/office/drawing/2014/main" id="{2C239704-F5F8-85A3-8EC8-E8716F762BF5}"/>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953959" y="3752666"/>
            <a:ext cx="2028588" cy="53250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10" descr="SAP Datasphere. Evolución desde SAP BW y SAP BW/4HANA. - ABAST">
            <a:extLst>
              <a:ext uri="{FF2B5EF4-FFF2-40B4-BE49-F238E27FC236}">
                <a16:creationId xmlns:a16="http://schemas.microsoft.com/office/drawing/2014/main" id="{8AB9CF85-C8D0-9D8A-CC3E-76E635609CAA}"/>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a:stretch/>
        </p:blipFill>
        <p:spPr bwMode="auto">
          <a:xfrm>
            <a:off x="3640929" y="303742"/>
            <a:ext cx="1371445" cy="522427"/>
          </a:xfrm>
          <a:prstGeom prst="rect">
            <a:avLst/>
          </a:prstGeom>
          <a:noFill/>
          <a:extLst>
            <a:ext uri="{909E8E84-426E-40DD-AFC4-6F175D3DCCD1}">
              <a14:hiddenFill xmlns:a14="http://schemas.microsoft.com/office/drawing/2010/main">
                <a:solidFill>
                  <a:srgbClr val="FFFFFF"/>
                </a:solidFill>
              </a14:hiddenFill>
            </a:ext>
          </a:extLst>
        </p:spPr>
      </p:pic>
      <p:pic>
        <p:nvPicPr>
          <p:cNvPr id="5" name="Imagen 4" descr="Logotipo&#10;&#10;Descripción generada automáticamente">
            <a:extLst>
              <a:ext uri="{FF2B5EF4-FFF2-40B4-BE49-F238E27FC236}">
                <a16:creationId xmlns:a16="http://schemas.microsoft.com/office/drawing/2014/main" id="{08A495CD-F595-B6B7-3E7A-4F0C37314E25}"/>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9675643" y="422965"/>
            <a:ext cx="1935381" cy="446626"/>
          </a:xfrm>
          <a:prstGeom prst="rect">
            <a:avLst/>
          </a:prstGeom>
        </p:spPr>
      </p:pic>
      <p:pic>
        <p:nvPicPr>
          <p:cNvPr id="7" name="Picture 2" descr="AstraZeneca Logo, symbol, meaning, history, PNG, brand">
            <a:extLst>
              <a:ext uri="{FF2B5EF4-FFF2-40B4-BE49-F238E27FC236}">
                <a16:creationId xmlns:a16="http://schemas.microsoft.com/office/drawing/2014/main" id="{EF916770-2166-3212-6EBC-8CCAC4BDC59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075018" y="213658"/>
            <a:ext cx="1267373" cy="7128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85026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585FBF-F495-A5A2-D9AF-4580511940FE}"/>
            </a:ext>
          </a:extLst>
        </p:cNvPr>
        <p:cNvGrpSpPr/>
        <p:nvPr/>
      </p:nvGrpSpPr>
      <p:grpSpPr>
        <a:xfrm>
          <a:off x="0" y="0"/>
          <a:ext cx="0" cy="0"/>
          <a:chOff x="0" y="0"/>
          <a:chExt cx="0" cy="0"/>
        </a:xfrm>
      </p:grpSpPr>
      <p:sp>
        <p:nvSpPr>
          <p:cNvPr id="2" name="Rectangle 57">
            <a:extLst>
              <a:ext uri="{FF2B5EF4-FFF2-40B4-BE49-F238E27FC236}">
                <a16:creationId xmlns:a16="http://schemas.microsoft.com/office/drawing/2014/main" id="{5FCA9E8B-313B-12BE-319E-32D1C8C1A0CA}"/>
              </a:ext>
            </a:extLst>
          </p:cNvPr>
          <p:cNvSpPr>
            <a:spLocks noChangeArrowheads="1"/>
          </p:cNvSpPr>
          <p:nvPr/>
        </p:nvSpPr>
        <p:spPr bwMode="gray">
          <a:xfrm>
            <a:off x="226220" y="198916"/>
            <a:ext cx="7407741" cy="984830"/>
          </a:xfrm>
          <a:prstGeom prst="rect">
            <a:avLst/>
          </a:prstGeom>
          <a:noFill/>
          <a:ln w="9525">
            <a:noFill/>
            <a:miter lim="800000"/>
            <a:headEnd/>
            <a:tailEnd/>
          </a:ln>
          <a:effectLst/>
        </p:spPr>
        <p:txBody>
          <a:bodyPr wrap="square" lIns="91386" tIns="45693" rIns="91386" bIns="45693" anchor="t">
            <a:spAutoFit/>
          </a:bodyPr>
          <a:lstStyle/>
          <a:p>
            <a:pPr defTabSz="609630"/>
            <a:r>
              <a:rPr lang="en-GB" sz="4000" b="1" kern="0" noProof="0" dirty="0">
                <a:solidFill>
                  <a:srgbClr val="000000">
                    <a:lumMod val="95000"/>
                    <a:lumOff val="5000"/>
                  </a:srgbClr>
                </a:solidFill>
                <a:latin typeface="Quattrocento Sans"/>
                <a:ea typeface="Lato"/>
                <a:cs typeface="Lato"/>
                <a:sym typeface="Calibri"/>
              </a:rPr>
              <a:t>Data Governance</a:t>
            </a:r>
          </a:p>
          <a:p>
            <a:pPr defTabSz="609630" hangingPunct="0"/>
            <a:r>
              <a:rPr lang="en-GB" kern="0" dirty="0" err="1">
                <a:solidFill>
                  <a:srgbClr val="8A0051"/>
                </a:solidFill>
                <a:latin typeface="Quattrocento Sans"/>
                <a:cs typeface="Calibri"/>
                <a:sym typeface="Calibri"/>
              </a:rPr>
              <a:t>Actionables</a:t>
            </a:r>
            <a:endParaRPr lang="en-GB" kern="0" noProof="0" dirty="0" err="1">
              <a:solidFill>
                <a:srgbClr val="8A0051"/>
              </a:solidFill>
              <a:latin typeface="Quattrocento Sans" panose="020B0502050000020003" pitchFamily="34" charset="0"/>
              <a:cs typeface="Calibri"/>
            </a:endParaRPr>
          </a:p>
        </p:txBody>
      </p:sp>
      <p:pic>
        <p:nvPicPr>
          <p:cNvPr id="11" name="Imagen 10" descr="Logotipo&#10;&#10;Descripción generada automáticamente">
            <a:extLst>
              <a:ext uri="{FF2B5EF4-FFF2-40B4-BE49-F238E27FC236}">
                <a16:creationId xmlns:a16="http://schemas.microsoft.com/office/drawing/2014/main" id="{9DAA8C19-B29A-3B91-00D1-4C095848C4A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75643" y="422965"/>
            <a:ext cx="1935381" cy="446626"/>
          </a:xfrm>
          <a:prstGeom prst="rect">
            <a:avLst/>
          </a:prstGeom>
        </p:spPr>
      </p:pic>
      <p:pic>
        <p:nvPicPr>
          <p:cNvPr id="1026" name="Picture 2" descr="AstraZeneca Logo, symbol, meaning, history, PNG, brand">
            <a:extLst>
              <a:ext uri="{FF2B5EF4-FFF2-40B4-BE49-F238E27FC236}">
                <a16:creationId xmlns:a16="http://schemas.microsoft.com/office/drawing/2014/main" id="{D4BDB62C-39FD-0987-4650-24393342E69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75018" y="213658"/>
            <a:ext cx="1267373" cy="712897"/>
          </a:xfrm>
          <a:prstGeom prst="rect">
            <a:avLst/>
          </a:prstGeom>
          <a:noFill/>
          <a:extLst>
            <a:ext uri="{909E8E84-426E-40DD-AFC4-6F175D3DCCD1}">
              <a14:hiddenFill xmlns:a14="http://schemas.microsoft.com/office/drawing/2010/main">
                <a:solidFill>
                  <a:srgbClr val="FFFFFF"/>
                </a:solidFill>
              </a14:hiddenFill>
            </a:ext>
          </a:extLst>
        </p:spPr>
      </p:pic>
      <p:sp>
        <p:nvSpPr>
          <p:cNvPr id="21" name="Rectángulo: esquinas redondeadas 20">
            <a:extLst>
              <a:ext uri="{FF2B5EF4-FFF2-40B4-BE49-F238E27FC236}">
                <a16:creationId xmlns:a16="http://schemas.microsoft.com/office/drawing/2014/main" id="{C762BFBC-28DA-7F1C-0CD1-F6BC9D0813CA}"/>
              </a:ext>
            </a:extLst>
          </p:cNvPr>
          <p:cNvSpPr/>
          <p:nvPr/>
        </p:nvSpPr>
        <p:spPr>
          <a:xfrm>
            <a:off x="2301211" y="1390448"/>
            <a:ext cx="3794789" cy="2368062"/>
          </a:xfrm>
          <a:prstGeom prst="roundRect">
            <a:avLst>
              <a:gd name="adj" fmla="val 6271"/>
            </a:avLst>
          </a:prstGeom>
          <a:noFill/>
          <a:ln w="57150">
            <a:solidFill>
              <a:srgbClr val="8A00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4" name="Group 27">
            <a:extLst>
              <a:ext uri="{FF2B5EF4-FFF2-40B4-BE49-F238E27FC236}">
                <a16:creationId xmlns:a16="http://schemas.microsoft.com/office/drawing/2014/main" id="{80E72452-43DE-2ABB-5C9F-25F801BEC7BC}"/>
              </a:ext>
            </a:extLst>
          </p:cNvPr>
          <p:cNvGrpSpPr/>
          <p:nvPr/>
        </p:nvGrpSpPr>
        <p:grpSpPr>
          <a:xfrm>
            <a:off x="2442376" y="1487214"/>
            <a:ext cx="3512457" cy="2271257"/>
            <a:chOff x="609809" y="3300210"/>
            <a:chExt cx="2439179" cy="1394810"/>
          </a:xfrm>
        </p:grpSpPr>
        <p:sp>
          <p:nvSpPr>
            <p:cNvPr id="25" name="TextBox 28">
              <a:extLst>
                <a:ext uri="{FF2B5EF4-FFF2-40B4-BE49-F238E27FC236}">
                  <a16:creationId xmlns:a16="http://schemas.microsoft.com/office/drawing/2014/main" id="{20D37F77-CF0C-F34E-DA20-9687577A17A5}"/>
                </a:ext>
              </a:extLst>
            </p:cNvPr>
            <p:cNvSpPr txBox="1"/>
            <p:nvPr/>
          </p:nvSpPr>
          <p:spPr>
            <a:xfrm>
              <a:off x="609809" y="3579862"/>
              <a:ext cx="2439179" cy="1115158"/>
            </a:xfrm>
            <a:prstGeom prst="rect">
              <a:avLst/>
            </a:prstGeom>
            <a:noFill/>
          </p:spPr>
          <p:txBody>
            <a:bodyPr wrap="square" lIns="91440" tIns="45720" rIns="91440" bIns="45720" rtlCol="0" anchor="t">
              <a:spAutoFit/>
            </a:bodyPr>
            <a:lstStyle/>
            <a:p>
              <a:pPr algn="ctr"/>
              <a:r>
                <a:rPr lang="en-GB" sz="1600" noProof="0" dirty="0"/>
                <a:t>Review one (1) dataflow with up to ten (10) associated tables, ensuring alignment with architecture, naming conventions, and best practices.</a:t>
              </a:r>
            </a:p>
            <a:p>
              <a:pPr algn="ctr" latinLnBrk="1"/>
              <a:endParaRPr lang="en-GB" sz="1600" noProof="0">
                <a:latin typeface="Quattrocento Sans" panose="020B0502050000020003" pitchFamily="34" charset="0"/>
                <a:cs typeface="Arial" pitchFamily="34" charset="0"/>
              </a:endParaRPr>
            </a:p>
            <a:p>
              <a:pPr algn="ctr" latinLnBrk="1"/>
              <a:endParaRPr lang="en-GB" sz="1600">
                <a:latin typeface="Quattrocento Sans" panose="020B0502050000020003" pitchFamily="34" charset="0"/>
                <a:cs typeface="Arial" pitchFamily="34" charset="0"/>
              </a:endParaRPr>
            </a:p>
            <a:p>
              <a:pPr algn="ctr" latinLnBrk="1"/>
              <a:r>
                <a:rPr lang="en-GB" sz="1600" b="1" i="1" noProof="0" dirty="0">
                  <a:latin typeface="Quattrocento Sans"/>
                  <a:cs typeface="Arial"/>
                </a:rPr>
                <a:t>2 </a:t>
              </a:r>
              <a:r>
                <a:rPr lang="en-GB" sz="1600" b="1" i="1" dirty="0">
                  <a:latin typeface="Quattrocento Sans"/>
                  <a:cs typeface="Arial"/>
                </a:rPr>
                <a:t>- 4 weeks</a:t>
              </a:r>
              <a:endParaRPr lang="en-GB" sz="1600" b="1" i="1" noProof="0" dirty="0">
                <a:latin typeface="Quattrocento Sans"/>
                <a:cs typeface="Arial"/>
              </a:endParaRPr>
            </a:p>
          </p:txBody>
        </p:sp>
        <p:sp>
          <p:nvSpPr>
            <p:cNvPr id="26" name="TextBox 29">
              <a:extLst>
                <a:ext uri="{FF2B5EF4-FFF2-40B4-BE49-F238E27FC236}">
                  <a16:creationId xmlns:a16="http://schemas.microsoft.com/office/drawing/2014/main" id="{6B3E8EF2-420F-96BB-0CC4-0BC0A7D99EC5}"/>
                </a:ext>
              </a:extLst>
            </p:cNvPr>
            <p:cNvSpPr txBox="1"/>
            <p:nvPr/>
          </p:nvSpPr>
          <p:spPr>
            <a:xfrm>
              <a:off x="654272" y="3300210"/>
              <a:ext cx="2255547" cy="283515"/>
            </a:xfrm>
            <a:prstGeom prst="rect">
              <a:avLst/>
            </a:prstGeom>
            <a:noFill/>
          </p:spPr>
          <p:txBody>
            <a:bodyPr wrap="square" rtlCol="0">
              <a:spAutoFit/>
            </a:bodyPr>
            <a:lstStyle/>
            <a:p>
              <a:pPr algn="ctr" latinLnBrk="1"/>
              <a:r>
                <a:rPr lang="en-GB" sz="2400" b="1" noProof="0">
                  <a:latin typeface="Quattrocento Sans" panose="020B0502050000020003" pitchFamily="34" charset="0"/>
                  <a:cs typeface="Arial" pitchFamily="34" charset="0"/>
                </a:rPr>
                <a:t>1. Catalogue &amp; Lineage</a:t>
              </a:r>
            </a:p>
          </p:txBody>
        </p:sp>
      </p:grpSp>
      <p:sp>
        <p:nvSpPr>
          <p:cNvPr id="27" name="Rectángulo: esquinas redondeadas 26">
            <a:extLst>
              <a:ext uri="{FF2B5EF4-FFF2-40B4-BE49-F238E27FC236}">
                <a16:creationId xmlns:a16="http://schemas.microsoft.com/office/drawing/2014/main" id="{16074027-ECA3-D108-EF32-7D2D2A091051}"/>
              </a:ext>
            </a:extLst>
          </p:cNvPr>
          <p:cNvSpPr/>
          <p:nvPr/>
        </p:nvSpPr>
        <p:spPr>
          <a:xfrm>
            <a:off x="6417721" y="1390409"/>
            <a:ext cx="3794789" cy="2368062"/>
          </a:xfrm>
          <a:prstGeom prst="roundRect">
            <a:avLst>
              <a:gd name="adj" fmla="val 6271"/>
            </a:avLst>
          </a:prstGeom>
          <a:noFill/>
          <a:ln w="57150">
            <a:solidFill>
              <a:srgbClr val="8A00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0" name="Group 27">
            <a:extLst>
              <a:ext uri="{FF2B5EF4-FFF2-40B4-BE49-F238E27FC236}">
                <a16:creationId xmlns:a16="http://schemas.microsoft.com/office/drawing/2014/main" id="{16B5E7F8-164F-53E0-DA60-409E8C58ED8F}"/>
              </a:ext>
            </a:extLst>
          </p:cNvPr>
          <p:cNvGrpSpPr/>
          <p:nvPr/>
        </p:nvGrpSpPr>
        <p:grpSpPr>
          <a:xfrm>
            <a:off x="6417723" y="1487171"/>
            <a:ext cx="3792690" cy="2271257"/>
            <a:chOff x="511780" y="3300210"/>
            <a:chExt cx="2633783" cy="1394811"/>
          </a:xfrm>
        </p:grpSpPr>
        <p:sp>
          <p:nvSpPr>
            <p:cNvPr id="31" name="TextBox 28">
              <a:extLst>
                <a:ext uri="{FF2B5EF4-FFF2-40B4-BE49-F238E27FC236}">
                  <a16:creationId xmlns:a16="http://schemas.microsoft.com/office/drawing/2014/main" id="{F306251D-95F6-7473-B311-D3EEB558DFBC}"/>
                </a:ext>
              </a:extLst>
            </p:cNvPr>
            <p:cNvSpPr txBox="1"/>
            <p:nvPr/>
          </p:nvSpPr>
          <p:spPr>
            <a:xfrm>
              <a:off x="511780" y="3579862"/>
              <a:ext cx="2633783" cy="1115159"/>
            </a:xfrm>
            <a:prstGeom prst="rect">
              <a:avLst/>
            </a:prstGeom>
            <a:noFill/>
          </p:spPr>
          <p:txBody>
            <a:bodyPr wrap="square" lIns="91440" tIns="45720" rIns="91440" bIns="45720" rtlCol="0" anchor="t">
              <a:spAutoFit/>
            </a:bodyPr>
            <a:lstStyle/>
            <a:p>
              <a:pPr algn="ctr"/>
              <a:r>
                <a:rPr lang="en-GB" sz="1600" dirty="0"/>
                <a:t>Configure the Data Quality Rules available for the assets of one (1) business area and up to ten (10) unique assets with up to ten (10) rules per asset. Also, plug-in the Data Quality Monitor.</a:t>
              </a:r>
            </a:p>
            <a:p>
              <a:pPr algn="ctr"/>
              <a:endParaRPr lang="en-GB" sz="1600">
                <a:latin typeface="Quattrocento Sans" panose="020B0502050000020003" pitchFamily="34" charset="0"/>
                <a:cs typeface="Arial" pitchFamily="34" charset="0"/>
              </a:endParaRPr>
            </a:p>
            <a:p>
              <a:pPr algn="ctr" latinLnBrk="1"/>
              <a:r>
                <a:rPr lang="en-GB" sz="1600" b="1" i="1" noProof="0" dirty="0">
                  <a:latin typeface="Quattrocento Sans"/>
                  <a:cs typeface="Arial"/>
                </a:rPr>
                <a:t>4 </a:t>
              </a:r>
              <a:r>
                <a:rPr lang="en-GB" sz="1600" b="1" i="1" dirty="0">
                  <a:latin typeface="Quattrocento Sans"/>
                  <a:cs typeface="Arial"/>
                </a:rPr>
                <a:t>- 5 </a:t>
              </a:r>
              <a:r>
                <a:rPr lang="en-GB" sz="1600" b="1" i="1" noProof="0" dirty="0">
                  <a:latin typeface="Quattrocento Sans"/>
                  <a:cs typeface="Arial"/>
                </a:rPr>
                <a:t>weeks</a:t>
              </a:r>
            </a:p>
          </p:txBody>
        </p:sp>
        <p:sp>
          <p:nvSpPr>
            <p:cNvPr id="32" name="TextBox 29">
              <a:extLst>
                <a:ext uri="{FF2B5EF4-FFF2-40B4-BE49-F238E27FC236}">
                  <a16:creationId xmlns:a16="http://schemas.microsoft.com/office/drawing/2014/main" id="{419AC1C3-8035-462E-B63B-2EF969A1D3FF}"/>
                </a:ext>
              </a:extLst>
            </p:cNvPr>
            <p:cNvSpPr txBox="1"/>
            <p:nvPr/>
          </p:nvSpPr>
          <p:spPr>
            <a:xfrm>
              <a:off x="804416" y="3300210"/>
              <a:ext cx="2059657" cy="283515"/>
            </a:xfrm>
            <a:prstGeom prst="rect">
              <a:avLst/>
            </a:prstGeom>
            <a:noFill/>
          </p:spPr>
          <p:txBody>
            <a:bodyPr wrap="square" rtlCol="0">
              <a:spAutoFit/>
            </a:bodyPr>
            <a:lstStyle/>
            <a:p>
              <a:pPr algn="ctr" latinLnBrk="1"/>
              <a:r>
                <a:rPr lang="en-GB" sz="2400" b="1" noProof="0">
                  <a:latin typeface="Quattrocento Sans" panose="020B0502050000020003" pitchFamily="34" charset="0"/>
                  <a:cs typeface="Arial" pitchFamily="34" charset="0"/>
                </a:rPr>
                <a:t>2. Data Quality</a:t>
              </a:r>
            </a:p>
          </p:txBody>
        </p:sp>
      </p:grpSp>
      <p:sp>
        <p:nvSpPr>
          <p:cNvPr id="3" name="Rectángulo: esquinas redondeadas 2">
            <a:extLst>
              <a:ext uri="{FF2B5EF4-FFF2-40B4-BE49-F238E27FC236}">
                <a16:creationId xmlns:a16="http://schemas.microsoft.com/office/drawing/2014/main" id="{8BFB1F3B-E504-DE46-159A-BF30D5177B55}"/>
              </a:ext>
            </a:extLst>
          </p:cNvPr>
          <p:cNvSpPr/>
          <p:nvPr/>
        </p:nvSpPr>
        <p:spPr>
          <a:xfrm>
            <a:off x="2301211" y="4000298"/>
            <a:ext cx="3794789" cy="2121765"/>
          </a:xfrm>
          <a:prstGeom prst="roundRect">
            <a:avLst>
              <a:gd name="adj" fmla="val 6271"/>
            </a:avLst>
          </a:prstGeom>
          <a:noFill/>
          <a:ln w="57150">
            <a:solidFill>
              <a:srgbClr val="8A00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Group 27">
            <a:extLst>
              <a:ext uri="{FF2B5EF4-FFF2-40B4-BE49-F238E27FC236}">
                <a16:creationId xmlns:a16="http://schemas.microsoft.com/office/drawing/2014/main" id="{3F26563C-7405-A1EF-9C2B-AD922E91836D}"/>
              </a:ext>
            </a:extLst>
          </p:cNvPr>
          <p:cNvGrpSpPr/>
          <p:nvPr/>
        </p:nvGrpSpPr>
        <p:grpSpPr>
          <a:xfrm>
            <a:off x="2442376" y="4097067"/>
            <a:ext cx="3512457" cy="2025035"/>
            <a:chOff x="609809" y="3300210"/>
            <a:chExt cx="2439179" cy="1243601"/>
          </a:xfrm>
        </p:grpSpPr>
        <p:sp>
          <p:nvSpPr>
            <p:cNvPr id="5" name="TextBox 28">
              <a:extLst>
                <a:ext uri="{FF2B5EF4-FFF2-40B4-BE49-F238E27FC236}">
                  <a16:creationId xmlns:a16="http://schemas.microsoft.com/office/drawing/2014/main" id="{2E825777-0D2D-DD3A-7753-3BD4FEAE61A4}"/>
                </a:ext>
              </a:extLst>
            </p:cNvPr>
            <p:cNvSpPr txBox="1"/>
            <p:nvPr/>
          </p:nvSpPr>
          <p:spPr>
            <a:xfrm>
              <a:off x="609809" y="3579862"/>
              <a:ext cx="2439179" cy="963949"/>
            </a:xfrm>
            <a:prstGeom prst="rect">
              <a:avLst/>
            </a:prstGeom>
            <a:noFill/>
          </p:spPr>
          <p:txBody>
            <a:bodyPr wrap="square" lIns="91440" tIns="45720" rIns="91440" bIns="45720" rtlCol="0" anchor="t">
              <a:spAutoFit/>
            </a:bodyPr>
            <a:lstStyle/>
            <a:p>
              <a:pPr algn="ctr"/>
              <a:r>
                <a:rPr lang="en-GB" sz="1600" noProof="0" dirty="0"/>
                <a:t>Configure “Admin Monitor” for SAC and Datasphere.</a:t>
              </a:r>
            </a:p>
            <a:p>
              <a:pPr algn="ctr" latinLnBrk="1"/>
              <a:endParaRPr lang="en-GB" sz="1600">
                <a:latin typeface="Quattrocento Sans" panose="020B0502050000020003" pitchFamily="34" charset="0"/>
                <a:cs typeface="Arial" pitchFamily="34" charset="0"/>
              </a:endParaRPr>
            </a:p>
            <a:p>
              <a:pPr algn="ctr" latinLnBrk="1"/>
              <a:endParaRPr lang="en-GB" sz="1600" noProof="0">
                <a:latin typeface="Quattrocento Sans" panose="020B0502050000020003" pitchFamily="34" charset="0"/>
                <a:cs typeface="Arial" pitchFamily="34" charset="0"/>
              </a:endParaRPr>
            </a:p>
            <a:p>
              <a:pPr algn="ctr" latinLnBrk="1"/>
              <a:endParaRPr lang="en-GB" sz="1600">
                <a:latin typeface="Quattrocento Sans" panose="020B0502050000020003" pitchFamily="34" charset="0"/>
                <a:cs typeface="Arial" pitchFamily="34" charset="0"/>
              </a:endParaRPr>
            </a:p>
            <a:p>
              <a:pPr algn="ctr" latinLnBrk="1"/>
              <a:r>
                <a:rPr lang="en-GB" sz="1600" b="1" i="1" noProof="0" dirty="0">
                  <a:latin typeface="Quattrocento Sans"/>
                  <a:cs typeface="Arial"/>
                </a:rPr>
                <a:t>1 </a:t>
              </a:r>
              <a:r>
                <a:rPr lang="en-GB" sz="1600" b="1" i="1" dirty="0">
                  <a:latin typeface="Quattrocento Sans"/>
                  <a:cs typeface="Arial"/>
                </a:rPr>
                <a:t>- 3 weeks</a:t>
              </a:r>
              <a:endParaRPr lang="en-GB" sz="1600" b="1" i="1" noProof="0" dirty="0">
                <a:latin typeface="Quattrocento Sans"/>
                <a:cs typeface="Arial"/>
              </a:endParaRPr>
            </a:p>
          </p:txBody>
        </p:sp>
        <p:sp>
          <p:nvSpPr>
            <p:cNvPr id="6" name="TextBox 29">
              <a:extLst>
                <a:ext uri="{FF2B5EF4-FFF2-40B4-BE49-F238E27FC236}">
                  <a16:creationId xmlns:a16="http://schemas.microsoft.com/office/drawing/2014/main" id="{90514DD8-CC7F-22EE-BA74-60D2D75C7D31}"/>
                </a:ext>
              </a:extLst>
            </p:cNvPr>
            <p:cNvSpPr txBox="1"/>
            <p:nvPr/>
          </p:nvSpPr>
          <p:spPr>
            <a:xfrm>
              <a:off x="654272" y="3300210"/>
              <a:ext cx="2255547" cy="283515"/>
            </a:xfrm>
            <a:prstGeom prst="rect">
              <a:avLst/>
            </a:prstGeom>
            <a:noFill/>
          </p:spPr>
          <p:txBody>
            <a:bodyPr wrap="square" rtlCol="0">
              <a:spAutoFit/>
            </a:bodyPr>
            <a:lstStyle/>
            <a:p>
              <a:pPr algn="ctr" latinLnBrk="1"/>
              <a:r>
                <a:rPr lang="en-GB" sz="2400" b="1" noProof="0">
                  <a:latin typeface="Quattrocento Sans" panose="020B0502050000020003" pitchFamily="34" charset="0"/>
                  <a:cs typeface="Arial" pitchFamily="34" charset="0"/>
                </a:rPr>
                <a:t>3. Security</a:t>
              </a:r>
            </a:p>
          </p:txBody>
        </p:sp>
      </p:grpSp>
      <p:sp>
        <p:nvSpPr>
          <p:cNvPr id="7" name="Rectángulo: esquinas redondeadas 6">
            <a:extLst>
              <a:ext uri="{FF2B5EF4-FFF2-40B4-BE49-F238E27FC236}">
                <a16:creationId xmlns:a16="http://schemas.microsoft.com/office/drawing/2014/main" id="{CEC3FED6-0681-1129-31B3-96E34B240C3A}"/>
              </a:ext>
            </a:extLst>
          </p:cNvPr>
          <p:cNvSpPr/>
          <p:nvPr/>
        </p:nvSpPr>
        <p:spPr>
          <a:xfrm>
            <a:off x="6417721" y="4000259"/>
            <a:ext cx="3794789" cy="2121765"/>
          </a:xfrm>
          <a:prstGeom prst="roundRect">
            <a:avLst>
              <a:gd name="adj" fmla="val 6271"/>
            </a:avLst>
          </a:prstGeom>
          <a:noFill/>
          <a:ln w="57150">
            <a:solidFill>
              <a:srgbClr val="8A00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8" name="Group 27">
            <a:extLst>
              <a:ext uri="{FF2B5EF4-FFF2-40B4-BE49-F238E27FC236}">
                <a16:creationId xmlns:a16="http://schemas.microsoft.com/office/drawing/2014/main" id="{65A2577C-7752-9037-938F-6E4261740F87}"/>
              </a:ext>
            </a:extLst>
          </p:cNvPr>
          <p:cNvGrpSpPr/>
          <p:nvPr/>
        </p:nvGrpSpPr>
        <p:grpSpPr>
          <a:xfrm>
            <a:off x="6558886" y="4097028"/>
            <a:ext cx="3512457" cy="2025035"/>
            <a:chOff x="609809" y="3300210"/>
            <a:chExt cx="2439179" cy="1243601"/>
          </a:xfrm>
        </p:grpSpPr>
        <p:sp>
          <p:nvSpPr>
            <p:cNvPr id="9" name="TextBox 28">
              <a:extLst>
                <a:ext uri="{FF2B5EF4-FFF2-40B4-BE49-F238E27FC236}">
                  <a16:creationId xmlns:a16="http://schemas.microsoft.com/office/drawing/2014/main" id="{C1C57CC7-311C-C6E8-E263-EBE9FC293E14}"/>
                </a:ext>
              </a:extLst>
            </p:cNvPr>
            <p:cNvSpPr txBox="1"/>
            <p:nvPr/>
          </p:nvSpPr>
          <p:spPr>
            <a:xfrm>
              <a:off x="609809" y="3579862"/>
              <a:ext cx="2439179" cy="963949"/>
            </a:xfrm>
            <a:prstGeom prst="rect">
              <a:avLst/>
            </a:prstGeom>
            <a:noFill/>
          </p:spPr>
          <p:txBody>
            <a:bodyPr wrap="square" lIns="91440" tIns="45720" rIns="91440" bIns="45720" rtlCol="0" anchor="t">
              <a:spAutoFit/>
            </a:bodyPr>
            <a:lstStyle/>
            <a:p>
              <a:pPr algn="ctr"/>
              <a:r>
                <a:rPr lang="en-GB" sz="1600" dirty="0"/>
                <a:t>Integrate Datasphere to Collibra.</a:t>
              </a:r>
              <a:endParaRPr lang="en-GB" sz="1600" noProof="0" dirty="0">
                <a:latin typeface="Quattrocento Sans" panose="020B0502050000020003" pitchFamily="34" charset="0"/>
                <a:cs typeface="Arial" pitchFamily="34" charset="0"/>
              </a:endParaRPr>
            </a:p>
            <a:p>
              <a:pPr algn="ctr" latinLnBrk="1"/>
              <a:endParaRPr lang="en-GB" sz="1600">
                <a:latin typeface="Quattrocento Sans" panose="020B0502050000020003" pitchFamily="34" charset="0"/>
                <a:cs typeface="Arial" pitchFamily="34" charset="0"/>
              </a:endParaRPr>
            </a:p>
            <a:p>
              <a:pPr algn="ctr" latinLnBrk="1"/>
              <a:endParaRPr lang="en-GB" sz="1600">
                <a:latin typeface="Quattrocento Sans" panose="020B0502050000020003" pitchFamily="34" charset="0"/>
                <a:cs typeface="Arial" pitchFamily="34" charset="0"/>
              </a:endParaRPr>
            </a:p>
            <a:p>
              <a:pPr algn="ctr" latinLnBrk="1"/>
              <a:endParaRPr lang="en-GB" sz="1600">
                <a:latin typeface="Quattrocento Sans" panose="020B0502050000020003" pitchFamily="34" charset="0"/>
                <a:cs typeface="Arial" pitchFamily="34" charset="0"/>
              </a:endParaRPr>
            </a:p>
            <a:p>
              <a:pPr algn="ctr" latinLnBrk="1"/>
              <a:endParaRPr lang="en-GB" sz="1600">
                <a:latin typeface="Quattrocento Sans" panose="020B0502050000020003" pitchFamily="34" charset="0"/>
                <a:cs typeface="Arial" pitchFamily="34" charset="0"/>
              </a:endParaRPr>
            </a:p>
            <a:p>
              <a:pPr algn="ctr" latinLnBrk="1"/>
              <a:r>
                <a:rPr lang="en-GB" sz="1600" b="1" i="1" noProof="0" dirty="0">
                  <a:latin typeface="Quattrocento Sans"/>
                  <a:cs typeface="Arial"/>
                </a:rPr>
                <a:t>3 </a:t>
              </a:r>
              <a:r>
                <a:rPr lang="en-GB" sz="1600" b="1" i="1" dirty="0">
                  <a:latin typeface="Quattrocento Sans"/>
                  <a:cs typeface="Arial"/>
                </a:rPr>
                <a:t>- 5 </a:t>
              </a:r>
              <a:r>
                <a:rPr lang="en-GB" sz="1600" b="1" i="1" noProof="0" dirty="0">
                  <a:latin typeface="Quattrocento Sans"/>
                  <a:cs typeface="Arial"/>
                </a:rPr>
                <a:t>weeks</a:t>
              </a:r>
            </a:p>
          </p:txBody>
        </p:sp>
        <p:sp>
          <p:nvSpPr>
            <p:cNvPr id="10" name="TextBox 29">
              <a:extLst>
                <a:ext uri="{FF2B5EF4-FFF2-40B4-BE49-F238E27FC236}">
                  <a16:creationId xmlns:a16="http://schemas.microsoft.com/office/drawing/2014/main" id="{AB1ACAEC-6F9E-2812-32D2-5CEAFE6BDCF0}"/>
                </a:ext>
              </a:extLst>
            </p:cNvPr>
            <p:cNvSpPr txBox="1"/>
            <p:nvPr/>
          </p:nvSpPr>
          <p:spPr>
            <a:xfrm>
              <a:off x="804416" y="3300210"/>
              <a:ext cx="2059657" cy="283515"/>
            </a:xfrm>
            <a:prstGeom prst="rect">
              <a:avLst/>
            </a:prstGeom>
            <a:noFill/>
          </p:spPr>
          <p:txBody>
            <a:bodyPr wrap="square" rtlCol="0">
              <a:spAutoFit/>
            </a:bodyPr>
            <a:lstStyle/>
            <a:p>
              <a:pPr algn="ctr" latinLnBrk="1"/>
              <a:r>
                <a:rPr lang="en-GB" sz="2400" b="1" noProof="0">
                  <a:latin typeface="Quattrocento Sans" panose="020B0502050000020003" pitchFamily="34" charset="0"/>
                  <a:cs typeface="Arial" pitchFamily="34" charset="0"/>
                </a:rPr>
                <a:t>4. Collibra</a:t>
              </a:r>
            </a:p>
          </p:txBody>
        </p:sp>
      </p:grpSp>
    </p:spTree>
    <p:extLst>
      <p:ext uri="{BB962C8B-B14F-4D97-AF65-F5344CB8AC3E}">
        <p14:creationId xmlns:p14="http://schemas.microsoft.com/office/powerpoint/2010/main" val="1995941214"/>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A9CE58-5C8F-8A5D-3305-E57111452C79}"/>
            </a:ext>
          </a:extLst>
        </p:cNvPr>
        <p:cNvGrpSpPr/>
        <p:nvPr/>
      </p:nvGrpSpPr>
      <p:grpSpPr>
        <a:xfrm>
          <a:off x="0" y="0"/>
          <a:ext cx="0" cy="0"/>
          <a:chOff x="0" y="0"/>
          <a:chExt cx="0" cy="0"/>
        </a:xfrm>
      </p:grpSpPr>
      <p:grpSp>
        <p:nvGrpSpPr>
          <p:cNvPr id="3" name="object 5">
            <a:extLst>
              <a:ext uri="{FF2B5EF4-FFF2-40B4-BE49-F238E27FC236}">
                <a16:creationId xmlns:a16="http://schemas.microsoft.com/office/drawing/2014/main" id="{C0AF7DE8-1EBE-B9CF-4F15-70793F8576BB}"/>
              </a:ext>
            </a:extLst>
          </p:cNvPr>
          <p:cNvGrpSpPr/>
          <p:nvPr/>
        </p:nvGrpSpPr>
        <p:grpSpPr>
          <a:xfrm>
            <a:off x="409099" y="1799324"/>
            <a:ext cx="1781175" cy="2667635"/>
            <a:chOff x="474116" y="2252878"/>
            <a:chExt cx="1781175" cy="2667635"/>
          </a:xfrm>
        </p:grpSpPr>
        <p:sp>
          <p:nvSpPr>
            <p:cNvPr id="29" name="object 6">
              <a:extLst>
                <a:ext uri="{FF2B5EF4-FFF2-40B4-BE49-F238E27FC236}">
                  <a16:creationId xmlns:a16="http://schemas.microsoft.com/office/drawing/2014/main" id="{F83675E4-3B62-42EB-31BD-A46A4EC75873}"/>
                </a:ext>
              </a:extLst>
            </p:cNvPr>
            <p:cNvSpPr/>
            <p:nvPr/>
          </p:nvSpPr>
          <p:spPr>
            <a:xfrm>
              <a:off x="474116" y="2252878"/>
              <a:ext cx="1781175" cy="2667635"/>
            </a:xfrm>
            <a:custGeom>
              <a:avLst/>
              <a:gdLst/>
              <a:ahLst/>
              <a:cxnLst/>
              <a:rect l="l" t="t" r="r" b="b"/>
              <a:pathLst>
                <a:path w="1781175" h="2667635">
                  <a:moveTo>
                    <a:pt x="1665008" y="0"/>
                  </a:moveTo>
                  <a:lnTo>
                    <a:pt x="115557" y="0"/>
                  </a:lnTo>
                  <a:lnTo>
                    <a:pt x="100485" y="1000"/>
                  </a:lnTo>
                  <a:lnTo>
                    <a:pt x="57962" y="15481"/>
                  </a:lnTo>
                  <a:lnTo>
                    <a:pt x="23892" y="45151"/>
                  </a:lnTo>
                  <a:lnTo>
                    <a:pt x="3950" y="85683"/>
                  </a:lnTo>
                  <a:lnTo>
                    <a:pt x="0" y="115557"/>
                  </a:lnTo>
                  <a:lnTo>
                    <a:pt x="0" y="2552039"/>
                  </a:lnTo>
                  <a:lnTo>
                    <a:pt x="977" y="2566762"/>
                  </a:lnTo>
                  <a:lnTo>
                    <a:pt x="1000" y="2567118"/>
                  </a:lnTo>
                  <a:lnTo>
                    <a:pt x="15481" y="2609646"/>
                  </a:lnTo>
                  <a:lnTo>
                    <a:pt x="45151" y="2643711"/>
                  </a:lnTo>
                  <a:lnTo>
                    <a:pt x="85639" y="2663637"/>
                  </a:lnTo>
                  <a:lnTo>
                    <a:pt x="115557" y="2667596"/>
                  </a:lnTo>
                  <a:lnTo>
                    <a:pt x="1665363" y="2667241"/>
                  </a:lnTo>
                  <a:lnTo>
                    <a:pt x="1709506" y="2658433"/>
                  </a:lnTo>
                  <a:lnTo>
                    <a:pt x="1747037" y="2633398"/>
                  </a:lnTo>
                  <a:lnTo>
                    <a:pt x="1772011" y="2596189"/>
                  </a:lnTo>
                  <a:lnTo>
                    <a:pt x="1780897" y="2552039"/>
                  </a:lnTo>
                  <a:lnTo>
                    <a:pt x="1780921" y="2551684"/>
                  </a:lnTo>
                  <a:lnTo>
                    <a:pt x="1780565" y="115557"/>
                  </a:lnTo>
                  <a:lnTo>
                    <a:pt x="1771757" y="71419"/>
                  </a:lnTo>
                  <a:lnTo>
                    <a:pt x="1746721" y="33888"/>
                  </a:lnTo>
                  <a:lnTo>
                    <a:pt x="1709295" y="8808"/>
                  </a:lnTo>
                  <a:lnTo>
                    <a:pt x="1680084" y="1000"/>
                  </a:lnTo>
                  <a:lnTo>
                    <a:pt x="1665008" y="0"/>
                  </a:lnTo>
                  <a:close/>
                </a:path>
              </a:pathLst>
            </a:custGeom>
            <a:solidFill>
              <a:srgbClr val="2F4168"/>
            </a:solidFill>
          </p:spPr>
          <p:txBody>
            <a:bodyPr wrap="square" lIns="0" tIns="0" rIns="0" bIns="0" rtlCol="0" anchor="t"/>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lang="en-GB" sz="1800" b="0" i="0" u="none" strike="noStrike" kern="0" cap="none" spc="0" normalizeH="0" baseline="0" noProof="0">
                <a:ln>
                  <a:noFill/>
                </a:ln>
                <a:solidFill>
                  <a:sysClr val="windowText" lastClr="000000"/>
                </a:solidFill>
                <a:effectLst/>
                <a:uLnTx/>
                <a:uFillTx/>
                <a:ea typeface="Calibri"/>
                <a:cs typeface="Calibri"/>
              </a:endParaRPr>
            </a:p>
          </p:txBody>
        </p:sp>
        <p:sp>
          <p:nvSpPr>
            <p:cNvPr id="30" name="object 7">
              <a:extLst>
                <a:ext uri="{FF2B5EF4-FFF2-40B4-BE49-F238E27FC236}">
                  <a16:creationId xmlns:a16="http://schemas.microsoft.com/office/drawing/2014/main" id="{B3F52979-54BD-8249-CB8F-A2F28AA1C101}"/>
                </a:ext>
              </a:extLst>
            </p:cNvPr>
            <p:cNvSpPr/>
            <p:nvPr/>
          </p:nvSpPr>
          <p:spPr>
            <a:xfrm>
              <a:off x="474116" y="2252878"/>
              <a:ext cx="1781175" cy="2667635"/>
            </a:xfrm>
            <a:custGeom>
              <a:avLst/>
              <a:gdLst/>
              <a:ahLst/>
              <a:cxnLst/>
              <a:rect l="l" t="t" r="r" b="b"/>
              <a:pathLst>
                <a:path w="1781175" h="2667635">
                  <a:moveTo>
                    <a:pt x="0" y="115557"/>
                  </a:moveTo>
                  <a:lnTo>
                    <a:pt x="1000" y="100480"/>
                  </a:lnTo>
                  <a:lnTo>
                    <a:pt x="3959" y="85639"/>
                  </a:lnTo>
                  <a:lnTo>
                    <a:pt x="23892" y="45151"/>
                  </a:lnTo>
                  <a:lnTo>
                    <a:pt x="57962" y="15481"/>
                  </a:lnTo>
                  <a:lnTo>
                    <a:pt x="100485" y="1000"/>
                  </a:lnTo>
                  <a:lnTo>
                    <a:pt x="115557" y="0"/>
                  </a:lnTo>
                  <a:lnTo>
                    <a:pt x="1665008" y="0"/>
                  </a:lnTo>
                  <a:lnTo>
                    <a:pt x="1709295" y="8808"/>
                  </a:lnTo>
                  <a:lnTo>
                    <a:pt x="1746721" y="33888"/>
                  </a:lnTo>
                  <a:lnTo>
                    <a:pt x="1771757" y="71419"/>
                  </a:lnTo>
                  <a:lnTo>
                    <a:pt x="1780565" y="115557"/>
                  </a:lnTo>
                  <a:lnTo>
                    <a:pt x="1780921" y="2551684"/>
                  </a:lnTo>
                  <a:lnTo>
                    <a:pt x="1779920" y="2566762"/>
                  </a:lnTo>
                  <a:lnTo>
                    <a:pt x="1776961" y="2581608"/>
                  </a:lnTo>
                  <a:lnTo>
                    <a:pt x="1757033" y="2622095"/>
                  </a:lnTo>
                  <a:lnTo>
                    <a:pt x="1722958" y="2651760"/>
                  </a:lnTo>
                  <a:lnTo>
                    <a:pt x="1680436" y="2666240"/>
                  </a:lnTo>
                  <a:lnTo>
                    <a:pt x="115557" y="2667596"/>
                  </a:lnTo>
                  <a:lnTo>
                    <a:pt x="71269" y="2658788"/>
                  </a:lnTo>
                  <a:lnTo>
                    <a:pt x="33843" y="2633719"/>
                  </a:lnTo>
                  <a:lnTo>
                    <a:pt x="8808" y="2596189"/>
                  </a:lnTo>
                  <a:lnTo>
                    <a:pt x="0" y="2552039"/>
                  </a:lnTo>
                  <a:lnTo>
                    <a:pt x="0" y="115557"/>
                  </a:lnTo>
                  <a:close/>
                </a:path>
              </a:pathLst>
            </a:custGeom>
            <a:ln w="12599">
              <a:solidFill>
                <a:srgbClr val="D8D8D8"/>
              </a:solidFill>
            </a:ln>
          </p:spPr>
          <p:txBody>
            <a:bodyPr wrap="square" lIns="0" tIns="0" rIns="0" bIns="0" rtlCol="0"/>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grpSp>
        <p:nvGrpSpPr>
          <p:cNvPr id="5" name="object 10">
            <a:extLst>
              <a:ext uri="{FF2B5EF4-FFF2-40B4-BE49-F238E27FC236}">
                <a16:creationId xmlns:a16="http://schemas.microsoft.com/office/drawing/2014/main" id="{6299C28D-8C58-A28C-6443-641E9925B6AC}"/>
              </a:ext>
            </a:extLst>
          </p:cNvPr>
          <p:cNvGrpSpPr/>
          <p:nvPr/>
        </p:nvGrpSpPr>
        <p:grpSpPr>
          <a:xfrm>
            <a:off x="2301628" y="1799324"/>
            <a:ext cx="1781175" cy="2667635"/>
            <a:chOff x="2366645" y="2252878"/>
            <a:chExt cx="1781175" cy="2667635"/>
          </a:xfrm>
        </p:grpSpPr>
        <p:sp>
          <p:nvSpPr>
            <p:cNvPr id="27" name="object 11">
              <a:extLst>
                <a:ext uri="{FF2B5EF4-FFF2-40B4-BE49-F238E27FC236}">
                  <a16:creationId xmlns:a16="http://schemas.microsoft.com/office/drawing/2014/main" id="{1B4852A2-9AB0-5C5E-A4C8-0782FF9A5BE6}"/>
                </a:ext>
              </a:extLst>
            </p:cNvPr>
            <p:cNvSpPr/>
            <p:nvPr/>
          </p:nvSpPr>
          <p:spPr>
            <a:xfrm>
              <a:off x="2366645" y="2252878"/>
              <a:ext cx="1781175" cy="2667635"/>
            </a:xfrm>
            <a:custGeom>
              <a:avLst/>
              <a:gdLst/>
              <a:ahLst/>
              <a:cxnLst/>
              <a:rect l="l" t="t" r="r" b="b"/>
              <a:pathLst>
                <a:path w="1781175" h="2667635">
                  <a:moveTo>
                    <a:pt x="1664995" y="0"/>
                  </a:moveTo>
                  <a:lnTo>
                    <a:pt x="115557" y="0"/>
                  </a:lnTo>
                  <a:lnTo>
                    <a:pt x="100478" y="1000"/>
                  </a:lnTo>
                  <a:lnTo>
                    <a:pt x="57950" y="15481"/>
                  </a:lnTo>
                  <a:lnTo>
                    <a:pt x="23885" y="45151"/>
                  </a:lnTo>
                  <a:lnTo>
                    <a:pt x="3950" y="85683"/>
                  </a:lnTo>
                  <a:lnTo>
                    <a:pt x="0" y="115557"/>
                  </a:lnTo>
                  <a:lnTo>
                    <a:pt x="0" y="2552039"/>
                  </a:lnTo>
                  <a:lnTo>
                    <a:pt x="977" y="2566762"/>
                  </a:lnTo>
                  <a:lnTo>
                    <a:pt x="1000" y="2567118"/>
                  </a:lnTo>
                  <a:lnTo>
                    <a:pt x="3896" y="2581608"/>
                  </a:lnTo>
                  <a:lnTo>
                    <a:pt x="3959" y="2581924"/>
                  </a:lnTo>
                  <a:lnTo>
                    <a:pt x="8737" y="2595982"/>
                  </a:lnTo>
                  <a:lnTo>
                    <a:pt x="8808" y="2596189"/>
                  </a:lnTo>
                  <a:lnTo>
                    <a:pt x="15481" y="2609646"/>
                  </a:lnTo>
                  <a:lnTo>
                    <a:pt x="45138" y="2643711"/>
                  </a:lnTo>
                  <a:lnTo>
                    <a:pt x="85628" y="2663637"/>
                  </a:lnTo>
                  <a:lnTo>
                    <a:pt x="115557" y="2667596"/>
                  </a:lnTo>
                  <a:lnTo>
                    <a:pt x="1665351" y="2667241"/>
                  </a:lnTo>
                  <a:lnTo>
                    <a:pt x="1709501" y="2658433"/>
                  </a:lnTo>
                  <a:lnTo>
                    <a:pt x="1747032" y="2633398"/>
                  </a:lnTo>
                  <a:lnTo>
                    <a:pt x="1772006" y="2596189"/>
                  </a:lnTo>
                  <a:lnTo>
                    <a:pt x="1776850" y="2581924"/>
                  </a:lnTo>
                  <a:lnTo>
                    <a:pt x="1776957" y="2581608"/>
                  </a:lnTo>
                  <a:lnTo>
                    <a:pt x="1779847" y="2567118"/>
                  </a:lnTo>
                  <a:lnTo>
                    <a:pt x="1779918" y="2566762"/>
                  </a:lnTo>
                  <a:lnTo>
                    <a:pt x="1780897" y="2552039"/>
                  </a:lnTo>
                  <a:lnTo>
                    <a:pt x="1780552" y="115557"/>
                  </a:lnTo>
                  <a:lnTo>
                    <a:pt x="1771744" y="71419"/>
                  </a:lnTo>
                  <a:lnTo>
                    <a:pt x="1746715" y="33888"/>
                  </a:lnTo>
                  <a:lnTo>
                    <a:pt x="1709293" y="8808"/>
                  </a:lnTo>
                  <a:lnTo>
                    <a:pt x="1680074" y="1000"/>
                  </a:lnTo>
                  <a:lnTo>
                    <a:pt x="1664995" y="0"/>
                  </a:lnTo>
                  <a:close/>
                </a:path>
              </a:pathLst>
            </a:custGeom>
            <a:solidFill>
              <a:srgbClr val="90BDD3"/>
            </a:solidFill>
          </p:spPr>
          <p:txBody>
            <a:bodyPr wrap="square" lIns="0" tIns="0" rIns="0" bIns="0" rtlCol="0"/>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8" name="object 12">
              <a:extLst>
                <a:ext uri="{FF2B5EF4-FFF2-40B4-BE49-F238E27FC236}">
                  <a16:creationId xmlns:a16="http://schemas.microsoft.com/office/drawing/2014/main" id="{444CB630-A02D-0D82-34CF-C1D7C03030CD}"/>
                </a:ext>
              </a:extLst>
            </p:cNvPr>
            <p:cNvSpPr/>
            <p:nvPr/>
          </p:nvSpPr>
          <p:spPr>
            <a:xfrm>
              <a:off x="2366645" y="2252878"/>
              <a:ext cx="1781175" cy="2667635"/>
            </a:xfrm>
            <a:custGeom>
              <a:avLst/>
              <a:gdLst/>
              <a:ahLst/>
              <a:cxnLst/>
              <a:rect l="l" t="t" r="r" b="b"/>
              <a:pathLst>
                <a:path w="1781175" h="2667635">
                  <a:moveTo>
                    <a:pt x="0" y="115557"/>
                  </a:moveTo>
                  <a:lnTo>
                    <a:pt x="1000" y="100480"/>
                  </a:lnTo>
                  <a:lnTo>
                    <a:pt x="3959" y="85639"/>
                  </a:lnTo>
                  <a:lnTo>
                    <a:pt x="23885" y="45151"/>
                  </a:lnTo>
                  <a:lnTo>
                    <a:pt x="57950" y="15481"/>
                  </a:lnTo>
                  <a:lnTo>
                    <a:pt x="100478" y="1000"/>
                  </a:lnTo>
                  <a:lnTo>
                    <a:pt x="115557" y="0"/>
                  </a:lnTo>
                  <a:lnTo>
                    <a:pt x="1664995" y="0"/>
                  </a:lnTo>
                  <a:lnTo>
                    <a:pt x="1709293" y="8808"/>
                  </a:lnTo>
                  <a:lnTo>
                    <a:pt x="1746715" y="33888"/>
                  </a:lnTo>
                  <a:lnTo>
                    <a:pt x="1771744" y="71419"/>
                  </a:lnTo>
                  <a:lnTo>
                    <a:pt x="1780552" y="115557"/>
                  </a:lnTo>
                  <a:lnTo>
                    <a:pt x="1780920" y="2551684"/>
                  </a:lnTo>
                  <a:lnTo>
                    <a:pt x="1779918" y="2566762"/>
                  </a:lnTo>
                  <a:lnTo>
                    <a:pt x="1776957" y="2581608"/>
                  </a:lnTo>
                  <a:lnTo>
                    <a:pt x="1757028" y="2622095"/>
                  </a:lnTo>
                  <a:lnTo>
                    <a:pt x="1722958" y="2651760"/>
                  </a:lnTo>
                  <a:lnTo>
                    <a:pt x="1680429" y="2666240"/>
                  </a:lnTo>
                  <a:lnTo>
                    <a:pt x="115557" y="2667596"/>
                  </a:lnTo>
                  <a:lnTo>
                    <a:pt x="71257" y="2658788"/>
                  </a:lnTo>
                  <a:lnTo>
                    <a:pt x="33832" y="2633719"/>
                  </a:lnTo>
                  <a:lnTo>
                    <a:pt x="8808" y="2596189"/>
                  </a:lnTo>
                  <a:lnTo>
                    <a:pt x="0" y="2552039"/>
                  </a:lnTo>
                  <a:lnTo>
                    <a:pt x="0" y="115557"/>
                  </a:lnTo>
                  <a:close/>
                </a:path>
              </a:pathLst>
            </a:custGeom>
            <a:ln w="12599">
              <a:solidFill>
                <a:srgbClr val="D8D8D8"/>
              </a:solidFill>
            </a:ln>
          </p:spPr>
          <p:txBody>
            <a:bodyPr wrap="square" lIns="0" tIns="0" rIns="0" bIns="0" rtlCol="0"/>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sp>
        <p:nvSpPr>
          <p:cNvPr id="6" name="object 13">
            <a:extLst>
              <a:ext uri="{FF2B5EF4-FFF2-40B4-BE49-F238E27FC236}">
                <a16:creationId xmlns:a16="http://schemas.microsoft.com/office/drawing/2014/main" id="{40628BC6-95AE-C97E-5D18-46BEAE0A59C8}"/>
              </a:ext>
            </a:extLst>
          </p:cNvPr>
          <p:cNvSpPr txBox="1"/>
          <p:nvPr/>
        </p:nvSpPr>
        <p:spPr>
          <a:xfrm>
            <a:off x="2479922" y="3685842"/>
            <a:ext cx="1397370" cy="644407"/>
          </a:xfrm>
          <a:prstGeom prst="rect">
            <a:avLst/>
          </a:prstGeom>
        </p:spPr>
        <p:txBody>
          <a:bodyPr vert="horz" wrap="square" lIns="0" tIns="28575" rIns="0" bIns="0" rtlCol="0" anchor="t">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5080" algn="ctr">
              <a:lnSpc>
                <a:spcPts val="1590"/>
              </a:lnSpc>
              <a:spcBef>
                <a:spcPts val="225"/>
              </a:spcBef>
              <a:defRPr/>
            </a:pPr>
            <a:r>
              <a:rPr lang="en-GB" sz="1400" kern="0" spc="-20" noProof="0">
                <a:solidFill>
                  <a:srgbClr val="2F4168"/>
                </a:solidFill>
                <a:latin typeface="Arial Black"/>
                <a:cs typeface="Arial Black"/>
              </a:rPr>
              <a:t>Approval Workflow activation</a:t>
            </a:r>
            <a:endParaRPr lang="en-GB" sz="1400" b="0" i="0" u="none" strike="noStrike" kern="0" cap="none" spc="-20" normalizeH="0" baseline="0" noProof="0">
              <a:ln>
                <a:noFill/>
              </a:ln>
              <a:solidFill>
                <a:srgbClr val="2F4168"/>
              </a:solidFill>
              <a:effectLst/>
              <a:uLnTx/>
              <a:uFillTx/>
              <a:latin typeface="Arial Black"/>
              <a:cs typeface="Arial Black"/>
            </a:endParaRPr>
          </a:p>
        </p:txBody>
      </p:sp>
      <p:grpSp>
        <p:nvGrpSpPr>
          <p:cNvPr id="7" name="object 14">
            <a:extLst>
              <a:ext uri="{FF2B5EF4-FFF2-40B4-BE49-F238E27FC236}">
                <a16:creationId xmlns:a16="http://schemas.microsoft.com/office/drawing/2014/main" id="{F99D5CFE-9617-DDE3-99D8-E45B7C0648DB}"/>
              </a:ext>
            </a:extLst>
          </p:cNvPr>
          <p:cNvGrpSpPr/>
          <p:nvPr/>
        </p:nvGrpSpPr>
        <p:grpSpPr>
          <a:xfrm>
            <a:off x="4194143" y="1799324"/>
            <a:ext cx="1781175" cy="2667635"/>
            <a:chOff x="4259160" y="2252878"/>
            <a:chExt cx="1781175" cy="2667635"/>
          </a:xfrm>
        </p:grpSpPr>
        <p:sp>
          <p:nvSpPr>
            <p:cNvPr id="25" name="object 15">
              <a:extLst>
                <a:ext uri="{FF2B5EF4-FFF2-40B4-BE49-F238E27FC236}">
                  <a16:creationId xmlns:a16="http://schemas.microsoft.com/office/drawing/2014/main" id="{F04D6CA6-60F5-CF67-F2C1-D11F39522A21}"/>
                </a:ext>
              </a:extLst>
            </p:cNvPr>
            <p:cNvSpPr/>
            <p:nvPr/>
          </p:nvSpPr>
          <p:spPr>
            <a:xfrm>
              <a:off x="4259160" y="2252878"/>
              <a:ext cx="1781175" cy="2667635"/>
            </a:xfrm>
            <a:custGeom>
              <a:avLst/>
              <a:gdLst/>
              <a:ahLst/>
              <a:cxnLst/>
              <a:rect l="l" t="t" r="r" b="b"/>
              <a:pathLst>
                <a:path w="1781175" h="2667635">
                  <a:moveTo>
                    <a:pt x="1664995" y="0"/>
                  </a:moveTo>
                  <a:lnTo>
                    <a:pt x="115557" y="0"/>
                  </a:lnTo>
                  <a:lnTo>
                    <a:pt x="100484" y="1000"/>
                  </a:lnTo>
                  <a:lnTo>
                    <a:pt x="57962" y="15481"/>
                  </a:lnTo>
                  <a:lnTo>
                    <a:pt x="23892" y="45151"/>
                  </a:lnTo>
                  <a:lnTo>
                    <a:pt x="3950" y="85683"/>
                  </a:lnTo>
                  <a:lnTo>
                    <a:pt x="0" y="115557"/>
                  </a:lnTo>
                  <a:lnTo>
                    <a:pt x="0" y="2552039"/>
                  </a:lnTo>
                  <a:lnTo>
                    <a:pt x="977" y="2566762"/>
                  </a:lnTo>
                  <a:lnTo>
                    <a:pt x="1000" y="2567118"/>
                  </a:lnTo>
                  <a:lnTo>
                    <a:pt x="3896" y="2581608"/>
                  </a:lnTo>
                  <a:lnTo>
                    <a:pt x="3959" y="2581924"/>
                  </a:lnTo>
                  <a:lnTo>
                    <a:pt x="8737" y="2595982"/>
                  </a:lnTo>
                  <a:lnTo>
                    <a:pt x="33842" y="2633719"/>
                  </a:lnTo>
                  <a:lnTo>
                    <a:pt x="71258" y="2658788"/>
                  </a:lnTo>
                  <a:lnTo>
                    <a:pt x="115557" y="2667596"/>
                  </a:lnTo>
                  <a:lnTo>
                    <a:pt x="1665363" y="2667241"/>
                  </a:lnTo>
                  <a:lnTo>
                    <a:pt x="1709501" y="2658433"/>
                  </a:lnTo>
                  <a:lnTo>
                    <a:pt x="1747032" y="2633398"/>
                  </a:lnTo>
                  <a:lnTo>
                    <a:pt x="1772011" y="2596189"/>
                  </a:lnTo>
                  <a:lnTo>
                    <a:pt x="1772112" y="2595982"/>
                  </a:lnTo>
                  <a:lnTo>
                    <a:pt x="1776855" y="2581924"/>
                  </a:lnTo>
                  <a:lnTo>
                    <a:pt x="1776961" y="2581608"/>
                  </a:lnTo>
                  <a:lnTo>
                    <a:pt x="1779849" y="2567118"/>
                  </a:lnTo>
                  <a:lnTo>
                    <a:pt x="1779920" y="2566762"/>
                  </a:lnTo>
                  <a:lnTo>
                    <a:pt x="1780897" y="2552039"/>
                  </a:lnTo>
                  <a:lnTo>
                    <a:pt x="1780920" y="2551684"/>
                  </a:lnTo>
                  <a:lnTo>
                    <a:pt x="1780565" y="115557"/>
                  </a:lnTo>
                  <a:lnTo>
                    <a:pt x="1771751" y="71419"/>
                  </a:lnTo>
                  <a:lnTo>
                    <a:pt x="1746721" y="33888"/>
                  </a:lnTo>
                  <a:lnTo>
                    <a:pt x="1709295" y="8808"/>
                  </a:lnTo>
                  <a:lnTo>
                    <a:pt x="1680079" y="1000"/>
                  </a:lnTo>
                  <a:lnTo>
                    <a:pt x="1664995" y="0"/>
                  </a:lnTo>
                  <a:close/>
                </a:path>
              </a:pathLst>
            </a:custGeom>
            <a:solidFill>
              <a:srgbClr val="D8E7F4"/>
            </a:solidFill>
          </p:spPr>
          <p:txBody>
            <a:bodyPr wrap="square" lIns="0" tIns="0" rIns="0" bIns="0" rtlCol="0"/>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6" name="object 16">
              <a:extLst>
                <a:ext uri="{FF2B5EF4-FFF2-40B4-BE49-F238E27FC236}">
                  <a16:creationId xmlns:a16="http://schemas.microsoft.com/office/drawing/2014/main" id="{486E51F0-5FDC-E3D5-E160-CD0EEB33BF53}"/>
                </a:ext>
              </a:extLst>
            </p:cNvPr>
            <p:cNvSpPr/>
            <p:nvPr/>
          </p:nvSpPr>
          <p:spPr>
            <a:xfrm>
              <a:off x="4259160" y="2252878"/>
              <a:ext cx="1781175" cy="2667635"/>
            </a:xfrm>
            <a:custGeom>
              <a:avLst/>
              <a:gdLst/>
              <a:ahLst/>
              <a:cxnLst/>
              <a:rect l="l" t="t" r="r" b="b"/>
              <a:pathLst>
                <a:path w="1781175" h="2667635">
                  <a:moveTo>
                    <a:pt x="0" y="115557"/>
                  </a:moveTo>
                  <a:lnTo>
                    <a:pt x="1000" y="100480"/>
                  </a:lnTo>
                  <a:lnTo>
                    <a:pt x="3959" y="85639"/>
                  </a:lnTo>
                  <a:lnTo>
                    <a:pt x="23892" y="45151"/>
                  </a:lnTo>
                  <a:lnTo>
                    <a:pt x="57962" y="15481"/>
                  </a:lnTo>
                  <a:lnTo>
                    <a:pt x="100484" y="1000"/>
                  </a:lnTo>
                  <a:lnTo>
                    <a:pt x="115557" y="0"/>
                  </a:lnTo>
                  <a:lnTo>
                    <a:pt x="1664995" y="0"/>
                  </a:lnTo>
                  <a:lnTo>
                    <a:pt x="1709295" y="8808"/>
                  </a:lnTo>
                  <a:lnTo>
                    <a:pt x="1746721" y="33888"/>
                  </a:lnTo>
                  <a:lnTo>
                    <a:pt x="1771751" y="71419"/>
                  </a:lnTo>
                  <a:lnTo>
                    <a:pt x="1780565" y="115557"/>
                  </a:lnTo>
                  <a:lnTo>
                    <a:pt x="1780920" y="2551684"/>
                  </a:lnTo>
                  <a:lnTo>
                    <a:pt x="1779920" y="2566762"/>
                  </a:lnTo>
                  <a:lnTo>
                    <a:pt x="1776961" y="2581608"/>
                  </a:lnTo>
                  <a:lnTo>
                    <a:pt x="1757028" y="2622095"/>
                  </a:lnTo>
                  <a:lnTo>
                    <a:pt x="1722958" y="2651760"/>
                  </a:lnTo>
                  <a:lnTo>
                    <a:pt x="1680435" y="2666240"/>
                  </a:lnTo>
                  <a:lnTo>
                    <a:pt x="115557" y="2667596"/>
                  </a:lnTo>
                  <a:lnTo>
                    <a:pt x="71258" y="2658788"/>
                  </a:lnTo>
                  <a:lnTo>
                    <a:pt x="33842" y="2633719"/>
                  </a:lnTo>
                  <a:lnTo>
                    <a:pt x="8808" y="2596189"/>
                  </a:lnTo>
                  <a:lnTo>
                    <a:pt x="0" y="2552039"/>
                  </a:lnTo>
                  <a:lnTo>
                    <a:pt x="0" y="115557"/>
                  </a:lnTo>
                  <a:close/>
                </a:path>
              </a:pathLst>
            </a:custGeom>
            <a:ln w="12599">
              <a:solidFill>
                <a:srgbClr val="D8D8D8"/>
              </a:solidFill>
            </a:ln>
          </p:spPr>
          <p:txBody>
            <a:bodyPr wrap="square" lIns="0" tIns="0" rIns="0" bIns="0" rtlCol="0"/>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sp>
        <p:nvSpPr>
          <p:cNvPr id="8" name="object 17">
            <a:extLst>
              <a:ext uri="{FF2B5EF4-FFF2-40B4-BE49-F238E27FC236}">
                <a16:creationId xmlns:a16="http://schemas.microsoft.com/office/drawing/2014/main" id="{D18DA93B-9F96-099E-0898-0F7F35EC1948}"/>
              </a:ext>
            </a:extLst>
          </p:cNvPr>
          <p:cNvSpPr txBox="1"/>
          <p:nvPr/>
        </p:nvSpPr>
        <p:spPr>
          <a:xfrm>
            <a:off x="4279679" y="3685842"/>
            <a:ext cx="1566608" cy="644407"/>
          </a:xfrm>
          <a:prstGeom prst="rect">
            <a:avLst/>
          </a:prstGeom>
        </p:spPr>
        <p:txBody>
          <a:bodyPr vert="horz" wrap="square" lIns="0" tIns="28575" rIns="0" bIns="0" rtlCol="0" anchor="t">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5080" algn="ctr">
              <a:lnSpc>
                <a:spcPts val="1590"/>
              </a:lnSpc>
              <a:spcBef>
                <a:spcPts val="225"/>
              </a:spcBef>
              <a:defRPr/>
            </a:pPr>
            <a:r>
              <a:rPr lang="en-GB" sz="1400" kern="0" spc="-20" noProof="0">
                <a:solidFill>
                  <a:srgbClr val="2F4168"/>
                </a:solidFill>
                <a:latin typeface="Arial Black"/>
                <a:cs typeface="Arial Black"/>
              </a:rPr>
              <a:t>Approval process completion</a:t>
            </a:r>
            <a:endParaRPr lang="en-GB" sz="1400" b="0" i="0" u="none" strike="noStrike" kern="0" cap="none" spc="-20" normalizeH="0" baseline="0" noProof="0">
              <a:ln>
                <a:noFill/>
              </a:ln>
              <a:solidFill>
                <a:srgbClr val="2F4168"/>
              </a:solidFill>
              <a:effectLst/>
              <a:uLnTx/>
              <a:uFillTx/>
              <a:latin typeface="Arial Black"/>
              <a:cs typeface="Arial Black"/>
            </a:endParaRPr>
          </a:p>
        </p:txBody>
      </p:sp>
      <p:grpSp>
        <p:nvGrpSpPr>
          <p:cNvPr id="9" name="object 18">
            <a:extLst>
              <a:ext uri="{FF2B5EF4-FFF2-40B4-BE49-F238E27FC236}">
                <a16:creationId xmlns:a16="http://schemas.microsoft.com/office/drawing/2014/main" id="{A89C164D-CA88-C997-FE87-B2E98CFE7BDA}"/>
              </a:ext>
            </a:extLst>
          </p:cNvPr>
          <p:cNvGrpSpPr/>
          <p:nvPr/>
        </p:nvGrpSpPr>
        <p:grpSpPr>
          <a:xfrm>
            <a:off x="6087028" y="1799324"/>
            <a:ext cx="1781175" cy="2667635"/>
            <a:chOff x="6152045" y="2252878"/>
            <a:chExt cx="1781175" cy="2667635"/>
          </a:xfrm>
        </p:grpSpPr>
        <p:sp>
          <p:nvSpPr>
            <p:cNvPr id="23" name="object 19">
              <a:extLst>
                <a:ext uri="{FF2B5EF4-FFF2-40B4-BE49-F238E27FC236}">
                  <a16:creationId xmlns:a16="http://schemas.microsoft.com/office/drawing/2014/main" id="{40B5C717-F022-376A-1F27-0EA6BD5AB38F}"/>
                </a:ext>
              </a:extLst>
            </p:cNvPr>
            <p:cNvSpPr/>
            <p:nvPr/>
          </p:nvSpPr>
          <p:spPr>
            <a:xfrm>
              <a:off x="6152045" y="2252878"/>
              <a:ext cx="1781175" cy="2667635"/>
            </a:xfrm>
            <a:custGeom>
              <a:avLst/>
              <a:gdLst/>
              <a:ahLst/>
              <a:cxnLst/>
              <a:rect l="l" t="t" r="r" b="b"/>
              <a:pathLst>
                <a:path w="1781175" h="2667635">
                  <a:moveTo>
                    <a:pt x="1664995" y="0"/>
                  </a:moveTo>
                  <a:lnTo>
                    <a:pt x="115557" y="0"/>
                  </a:lnTo>
                  <a:lnTo>
                    <a:pt x="100478" y="1000"/>
                  </a:lnTo>
                  <a:lnTo>
                    <a:pt x="57950" y="15481"/>
                  </a:lnTo>
                  <a:lnTo>
                    <a:pt x="23879" y="45151"/>
                  </a:lnTo>
                  <a:lnTo>
                    <a:pt x="3948" y="85683"/>
                  </a:lnTo>
                  <a:lnTo>
                    <a:pt x="0" y="115557"/>
                  </a:lnTo>
                  <a:lnTo>
                    <a:pt x="0" y="2552039"/>
                  </a:lnTo>
                  <a:lnTo>
                    <a:pt x="977" y="2566762"/>
                  </a:lnTo>
                  <a:lnTo>
                    <a:pt x="1000" y="2567118"/>
                  </a:lnTo>
                  <a:lnTo>
                    <a:pt x="3894" y="2581608"/>
                  </a:lnTo>
                  <a:lnTo>
                    <a:pt x="3957" y="2581924"/>
                  </a:lnTo>
                  <a:lnTo>
                    <a:pt x="8732" y="2595982"/>
                  </a:lnTo>
                  <a:lnTo>
                    <a:pt x="33831" y="2633719"/>
                  </a:lnTo>
                  <a:lnTo>
                    <a:pt x="71257" y="2658788"/>
                  </a:lnTo>
                  <a:lnTo>
                    <a:pt x="115557" y="2667596"/>
                  </a:lnTo>
                  <a:lnTo>
                    <a:pt x="1665351" y="2667241"/>
                  </a:lnTo>
                  <a:lnTo>
                    <a:pt x="1709501" y="2658433"/>
                  </a:lnTo>
                  <a:lnTo>
                    <a:pt x="1747032" y="2633398"/>
                  </a:lnTo>
                  <a:lnTo>
                    <a:pt x="1772006" y="2596189"/>
                  </a:lnTo>
                  <a:lnTo>
                    <a:pt x="1779847" y="2567118"/>
                  </a:lnTo>
                  <a:lnTo>
                    <a:pt x="1779918" y="2566762"/>
                  </a:lnTo>
                  <a:lnTo>
                    <a:pt x="1780897" y="2552039"/>
                  </a:lnTo>
                  <a:lnTo>
                    <a:pt x="1780921" y="2551684"/>
                  </a:lnTo>
                  <a:lnTo>
                    <a:pt x="1780552" y="115557"/>
                  </a:lnTo>
                  <a:lnTo>
                    <a:pt x="1771744" y="71419"/>
                  </a:lnTo>
                  <a:lnTo>
                    <a:pt x="1746715" y="33888"/>
                  </a:lnTo>
                  <a:lnTo>
                    <a:pt x="1709293" y="8808"/>
                  </a:lnTo>
                  <a:lnTo>
                    <a:pt x="1680074" y="1000"/>
                  </a:lnTo>
                  <a:lnTo>
                    <a:pt x="1664995" y="0"/>
                  </a:lnTo>
                  <a:close/>
                </a:path>
              </a:pathLst>
            </a:custGeom>
            <a:solidFill>
              <a:srgbClr val="F1F1F1"/>
            </a:solidFill>
          </p:spPr>
          <p:txBody>
            <a:bodyPr wrap="square" lIns="0" tIns="0" rIns="0" bIns="0" rtlCol="0"/>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4" name="object 20">
              <a:extLst>
                <a:ext uri="{FF2B5EF4-FFF2-40B4-BE49-F238E27FC236}">
                  <a16:creationId xmlns:a16="http://schemas.microsoft.com/office/drawing/2014/main" id="{74960F8D-6F61-A40A-C171-7CBFEB558072}"/>
                </a:ext>
              </a:extLst>
            </p:cNvPr>
            <p:cNvSpPr/>
            <p:nvPr/>
          </p:nvSpPr>
          <p:spPr>
            <a:xfrm>
              <a:off x="6152045" y="2252878"/>
              <a:ext cx="1781175" cy="2667635"/>
            </a:xfrm>
            <a:custGeom>
              <a:avLst/>
              <a:gdLst/>
              <a:ahLst/>
              <a:cxnLst/>
              <a:rect l="l" t="t" r="r" b="b"/>
              <a:pathLst>
                <a:path w="1781175" h="2667635">
                  <a:moveTo>
                    <a:pt x="0" y="115557"/>
                  </a:moveTo>
                  <a:lnTo>
                    <a:pt x="1000" y="100480"/>
                  </a:lnTo>
                  <a:lnTo>
                    <a:pt x="3957" y="85639"/>
                  </a:lnTo>
                  <a:lnTo>
                    <a:pt x="23879" y="45151"/>
                  </a:lnTo>
                  <a:lnTo>
                    <a:pt x="57950" y="15481"/>
                  </a:lnTo>
                  <a:lnTo>
                    <a:pt x="100478" y="1000"/>
                  </a:lnTo>
                  <a:lnTo>
                    <a:pt x="115557" y="0"/>
                  </a:lnTo>
                  <a:lnTo>
                    <a:pt x="1664995" y="0"/>
                  </a:lnTo>
                  <a:lnTo>
                    <a:pt x="1709293" y="8808"/>
                  </a:lnTo>
                  <a:lnTo>
                    <a:pt x="1746715" y="33888"/>
                  </a:lnTo>
                  <a:lnTo>
                    <a:pt x="1771744" y="71419"/>
                  </a:lnTo>
                  <a:lnTo>
                    <a:pt x="1780552" y="115557"/>
                  </a:lnTo>
                  <a:lnTo>
                    <a:pt x="1780921" y="2551684"/>
                  </a:lnTo>
                  <a:lnTo>
                    <a:pt x="1779918" y="2566762"/>
                  </a:lnTo>
                  <a:lnTo>
                    <a:pt x="1776957" y="2581608"/>
                  </a:lnTo>
                  <a:lnTo>
                    <a:pt x="1757028" y="2622095"/>
                  </a:lnTo>
                  <a:lnTo>
                    <a:pt x="1722958" y="2651760"/>
                  </a:lnTo>
                  <a:lnTo>
                    <a:pt x="1680429" y="2666240"/>
                  </a:lnTo>
                  <a:lnTo>
                    <a:pt x="115557" y="2667596"/>
                  </a:lnTo>
                  <a:lnTo>
                    <a:pt x="71257" y="2658788"/>
                  </a:lnTo>
                  <a:lnTo>
                    <a:pt x="33831" y="2633719"/>
                  </a:lnTo>
                  <a:lnTo>
                    <a:pt x="8802" y="2596189"/>
                  </a:lnTo>
                  <a:lnTo>
                    <a:pt x="0" y="2552039"/>
                  </a:lnTo>
                  <a:lnTo>
                    <a:pt x="0" y="115557"/>
                  </a:lnTo>
                  <a:close/>
                </a:path>
              </a:pathLst>
            </a:custGeom>
            <a:ln w="12599">
              <a:solidFill>
                <a:srgbClr val="D8D8D8"/>
              </a:solidFill>
            </a:ln>
          </p:spPr>
          <p:txBody>
            <a:bodyPr wrap="square" lIns="0" tIns="0" rIns="0" bIns="0" rtlCol="0"/>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sp>
        <p:nvSpPr>
          <p:cNvPr id="10" name="object 21">
            <a:extLst>
              <a:ext uri="{FF2B5EF4-FFF2-40B4-BE49-F238E27FC236}">
                <a16:creationId xmlns:a16="http://schemas.microsoft.com/office/drawing/2014/main" id="{065BB3C9-D706-A575-98BF-C86313BFB31B}"/>
              </a:ext>
            </a:extLst>
          </p:cNvPr>
          <p:cNvSpPr txBox="1"/>
          <p:nvPr/>
        </p:nvSpPr>
        <p:spPr>
          <a:xfrm>
            <a:off x="6311481" y="3692830"/>
            <a:ext cx="1320481" cy="644407"/>
          </a:xfrm>
          <a:prstGeom prst="rect">
            <a:avLst/>
          </a:prstGeom>
        </p:spPr>
        <p:txBody>
          <a:bodyPr vert="horz" wrap="square" lIns="0" tIns="28575" rIns="0" bIns="0" rtlCol="0" anchor="t">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5080" algn="ctr">
              <a:lnSpc>
                <a:spcPts val="1590"/>
              </a:lnSpc>
              <a:spcBef>
                <a:spcPts val="225"/>
              </a:spcBef>
              <a:defRPr/>
            </a:pPr>
            <a:r>
              <a:rPr lang="en-GB" sz="1400" kern="0" spc="-20" noProof="0">
                <a:solidFill>
                  <a:srgbClr val="2F4168"/>
                </a:solidFill>
                <a:latin typeface="Arial Black"/>
                <a:cs typeface="Arial Black"/>
              </a:rPr>
              <a:t>System access provision</a:t>
            </a:r>
            <a:endParaRPr lang="en-GB" sz="1400" b="0" i="0" u="none" strike="noStrike" kern="0" cap="none" spc="-20" normalizeH="0" baseline="0" noProof="0">
              <a:ln>
                <a:noFill/>
              </a:ln>
              <a:solidFill>
                <a:srgbClr val="2F4168"/>
              </a:solidFill>
              <a:effectLst/>
              <a:uLnTx/>
              <a:uFillTx/>
              <a:latin typeface="Arial Black"/>
              <a:cs typeface="Arial Black"/>
            </a:endParaRPr>
          </a:p>
        </p:txBody>
      </p:sp>
      <p:sp>
        <p:nvSpPr>
          <p:cNvPr id="11" name="object 22">
            <a:extLst>
              <a:ext uri="{FF2B5EF4-FFF2-40B4-BE49-F238E27FC236}">
                <a16:creationId xmlns:a16="http://schemas.microsoft.com/office/drawing/2014/main" id="{13E3A7CD-D838-178C-3045-4E1CD344A220}"/>
              </a:ext>
            </a:extLst>
          </p:cNvPr>
          <p:cNvSpPr/>
          <p:nvPr/>
        </p:nvSpPr>
        <p:spPr>
          <a:xfrm>
            <a:off x="7979543" y="1799324"/>
            <a:ext cx="1781175" cy="2667635"/>
          </a:xfrm>
          <a:custGeom>
            <a:avLst/>
            <a:gdLst/>
            <a:ahLst/>
            <a:cxnLst/>
            <a:rect l="l" t="t" r="r" b="b"/>
            <a:pathLst>
              <a:path w="1781175" h="2667635">
                <a:moveTo>
                  <a:pt x="0" y="115557"/>
                </a:moveTo>
                <a:lnTo>
                  <a:pt x="1000" y="100480"/>
                </a:lnTo>
                <a:lnTo>
                  <a:pt x="3959" y="85639"/>
                </a:lnTo>
                <a:lnTo>
                  <a:pt x="23892" y="45151"/>
                </a:lnTo>
                <a:lnTo>
                  <a:pt x="57962" y="15481"/>
                </a:lnTo>
                <a:lnTo>
                  <a:pt x="100484" y="1000"/>
                </a:lnTo>
                <a:lnTo>
                  <a:pt x="115557" y="0"/>
                </a:lnTo>
                <a:lnTo>
                  <a:pt x="1664995" y="0"/>
                </a:lnTo>
                <a:lnTo>
                  <a:pt x="1709295" y="8808"/>
                </a:lnTo>
                <a:lnTo>
                  <a:pt x="1746721" y="33888"/>
                </a:lnTo>
                <a:lnTo>
                  <a:pt x="1771749" y="71419"/>
                </a:lnTo>
                <a:lnTo>
                  <a:pt x="1780552" y="115557"/>
                </a:lnTo>
                <a:lnTo>
                  <a:pt x="1780921" y="2551684"/>
                </a:lnTo>
                <a:lnTo>
                  <a:pt x="1779920" y="2566762"/>
                </a:lnTo>
                <a:lnTo>
                  <a:pt x="1776961" y="2581608"/>
                </a:lnTo>
                <a:lnTo>
                  <a:pt x="1757028" y="2622095"/>
                </a:lnTo>
                <a:lnTo>
                  <a:pt x="1722958" y="2651760"/>
                </a:lnTo>
                <a:lnTo>
                  <a:pt x="1680435" y="2666240"/>
                </a:lnTo>
                <a:lnTo>
                  <a:pt x="115557" y="2667596"/>
                </a:lnTo>
                <a:lnTo>
                  <a:pt x="71258" y="2658788"/>
                </a:lnTo>
                <a:lnTo>
                  <a:pt x="33842" y="2633719"/>
                </a:lnTo>
                <a:lnTo>
                  <a:pt x="8808" y="2596189"/>
                </a:lnTo>
                <a:lnTo>
                  <a:pt x="0" y="2552039"/>
                </a:lnTo>
                <a:lnTo>
                  <a:pt x="0" y="115557"/>
                </a:lnTo>
                <a:close/>
              </a:path>
            </a:pathLst>
          </a:custGeom>
          <a:ln w="12599">
            <a:solidFill>
              <a:srgbClr val="D8D8D8"/>
            </a:solidFill>
          </a:ln>
        </p:spPr>
        <p:txBody>
          <a:bodyPr wrap="square" lIns="0" tIns="0" rIns="0" bIns="0" rtlCol="0"/>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nvGrpSpPr>
          <p:cNvPr id="13" name="object 24">
            <a:extLst>
              <a:ext uri="{FF2B5EF4-FFF2-40B4-BE49-F238E27FC236}">
                <a16:creationId xmlns:a16="http://schemas.microsoft.com/office/drawing/2014/main" id="{627C105E-1765-5D02-8075-390ED80A2827}"/>
              </a:ext>
            </a:extLst>
          </p:cNvPr>
          <p:cNvGrpSpPr/>
          <p:nvPr/>
        </p:nvGrpSpPr>
        <p:grpSpPr>
          <a:xfrm>
            <a:off x="9872060" y="1799324"/>
            <a:ext cx="1781175" cy="2667635"/>
            <a:chOff x="9937077" y="2252878"/>
            <a:chExt cx="1781175" cy="2667635"/>
          </a:xfrm>
        </p:grpSpPr>
        <p:sp>
          <p:nvSpPr>
            <p:cNvPr id="21" name="object 25">
              <a:extLst>
                <a:ext uri="{FF2B5EF4-FFF2-40B4-BE49-F238E27FC236}">
                  <a16:creationId xmlns:a16="http://schemas.microsoft.com/office/drawing/2014/main" id="{843F4BAF-AFDF-2D20-1F6D-83A5B08B7ABD}"/>
                </a:ext>
              </a:extLst>
            </p:cNvPr>
            <p:cNvSpPr/>
            <p:nvPr/>
          </p:nvSpPr>
          <p:spPr>
            <a:xfrm>
              <a:off x="9937077" y="2252878"/>
              <a:ext cx="1781175" cy="2667635"/>
            </a:xfrm>
            <a:custGeom>
              <a:avLst/>
              <a:gdLst/>
              <a:ahLst/>
              <a:cxnLst/>
              <a:rect l="l" t="t" r="r" b="b"/>
              <a:pathLst>
                <a:path w="1781175" h="2667635">
                  <a:moveTo>
                    <a:pt x="1665008" y="0"/>
                  </a:moveTo>
                  <a:lnTo>
                    <a:pt x="115557" y="0"/>
                  </a:lnTo>
                  <a:lnTo>
                    <a:pt x="100485" y="1000"/>
                  </a:lnTo>
                  <a:lnTo>
                    <a:pt x="57962" y="15481"/>
                  </a:lnTo>
                  <a:lnTo>
                    <a:pt x="23892" y="45151"/>
                  </a:lnTo>
                  <a:lnTo>
                    <a:pt x="3950" y="85683"/>
                  </a:lnTo>
                  <a:lnTo>
                    <a:pt x="0" y="115557"/>
                  </a:lnTo>
                  <a:lnTo>
                    <a:pt x="0" y="2552039"/>
                  </a:lnTo>
                  <a:lnTo>
                    <a:pt x="977" y="2566762"/>
                  </a:lnTo>
                  <a:lnTo>
                    <a:pt x="1000" y="2567118"/>
                  </a:lnTo>
                  <a:lnTo>
                    <a:pt x="3896" y="2581608"/>
                  </a:lnTo>
                  <a:lnTo>
                    <a:pt x="3959" y="2581924"/>
                  </a:lnTo>
                  <a:lnTo>
                    <a:pt x="8737" y="2595982"/>
                  </a:lnTo>
                  <a:lnTo>
                    <a:pt x="8808" y="2596189"/>
                  </a:lnTo>
                  <a:lnTo>
                    <a:pt x="15481" y="2609646"/>
                  </a:lnTo>
                  <a:lnTo>
                    <a:pt x="45151" y="2643711"/>
                  </a:lnTo>
                  <a:lnTo>
                    <a:pt x="85639" y="2663637"/>
                  </a:lnTo>
                  <a:lnTo>
                    <a:pt x="115557" y="2667596"/>
                  </a:lnTo>
                  <a:lnTo>
                    <a:pt x="1665363" y="2667241"/>
                  </a:lnTo>
                  <a:lnTo>
                    <a:pt x="1709506" y="2658433"/>
                  </a:lnTo>
                  <a:lnTo>
                    <a:pt x="1747037" y="2633398"/>
                  </a:lnTo>
                  <a:lnTo>
                    <a:pt x="1772011" y="2596189"/>
                  </a:lnTo>
                  <a:lnTo>
                    <a:pt x="1772112" y="2595982"/>
                  </a:lnTo>
                  <a:lnTo>
                    <a:pt x="1776855" y="2581924"/>
                  </a:lnTo>
                  <a:lnTo>
                    <a:pt x="1776961" y="2581608"/>
                  </a:lnTo>
                  <a:lnTo>
                    <a:pt x="1779849" y="2567118"/>
                  </a:lnTo>
                  <a:lnTo>
                    <a:pt x="1779920" y="2566762"/>
                  </a:lnTo>
                  <a:lnTo>
                    <a:pt x="1780897" y="2552039"/>
                  </a:lnTo>
                  <a:lnTo>
                    <a:pt x="1780921" y="2551684"/>
                  </a:lnTo>
                  <a:lnTo>
                    <a:pt x="1780565" y="115557"/>
                  </a:lnTo>
                  <a:lnTo>
                    <a:pt x="1771757" y="71419"/>
                  </a:lnTo>
                  <a:lnTo>
                    <a:pt x="1746721" y="33888"/>
                  </a:lnTo>
                  <a:lnTo>
                    <a:pt x="1709295" y="8808"/>
                  </a:lnTo>
                  <a:lnTo>
                    <a:pt x="1680084" y="1000"/>
                  </a:lnTo>
                  <a:lnTo>
                    <a:pt x="1665008" y="0"/>
                  </a:lnTo>
                  <a:close/>
                </a:path>
              </a:pathLst>
            </a:custGeom>
            <a:solidFill>
              <a:srgbClr val="FCAF16"/>
            </a:solidFill>
          </p:spPr>
          <p:txBody>
            <a:bodyPr wrap="square" lIns="0" tIns="0" rIns="0" bIns="0" rtlCol="0"/>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2" name="object 26">
              <a:extLst>
                <a:ext uri="{FF2B5EF4-FFF2-40B4-BE49-F238E27FC236}">
                  <a16:creationId xmlns:a16="http://schemas.microsoft.com/office/drawing/2014/main" id="{3009269A-2660-7F84-A7E2-96809B69F7D7}"/>
                </a:ext>
              </a:extLst>
            </p:cNvPr>
            <p:cNvSpPr/>
            <p:nvPr/>
          </p:nvSpPr>
          <p:spPr>
            <a:xfrm>
              <a:off x="9937077" y="2252878"/>
              <a:ext cx="1781175" cy="2667635"/>
            </a:xfrm>
            <a:custGeom>
              <a:avLst/>
              <a:gdLst/>
              <a:ahLst/>
              <a:cxnLst/>
              <a:rect l="l" t="t" r="r" b="b"/>
              <a:pathLst>
                <a:path w="1781175" h="2667635">
                  <a:moveTo>
                    <a:pt x="0" y="115557"/>
                  </a:moveTo>
                  <a:lnTo>
                    <a:pt x="1000" y="100480"/>
                  </a:lnTo>
                  <a:lnTo>
                    <a:pt x="3959" y="85639"/>
                  </a:lnTo>
                  <a:lnTo>
                    <a:pt x="23892" y="45151"/>
                  </a:lnTo>
                  <a:lnTo>
                    <a:pt x="57962" y="15481"/>
                  </a:lnTo>
                  <a:lnTo>
                    <a:pt x="100485" y="1000"/>
                  </a:lnTo>
                  <a:lnTo>
                    <a:pt x="115557" y="0"/>
                  </a:lnTo>
                  <a:lnTo>
                    <a:pt x="1665008" y="0"/>
                  </a:lnTo>
                  <a:lnTo>
                    <a:pt x="1709295" y="8808"/>
                  </a:lnTo>
                  <a:lnTo>
                    <a:pt x="1746721" y="33888"/>
                  </a:lnTo>
                  <a:lnTo>
                    <a:pt x="1771757" y="71419"/>
                  </a:lnTo>
                  <a:lnTo>
                    <a:pt x="1780565" y="115557"/>
                  </a:lnTo>
                  <a:lnTo>
                    <a:pt x="1780921" y="2551684"/>
                  </a:lnTo>
                  <a:lnTo>
                    <a:pt x="1779920" y="2566762"/>
                  </a:lnTo>
                  <a:lnTo>
                    <a:pt x="1776961" y="2581608"/>
                  </a:lnTo>
                  <a:lnTo>
                    <a:pt x="1757033" y="2622095"/>
                  </a:lnTo>
                  <a:lnTo>
                    <a:pt x="1722958" y="2651760"/>
                  </a:lnTo>
                  <a:lnTo>
                    <a:pt x="1680436" y="2666240"/>
                  </a:lnTo>
                  <a:lnTo>
                    <a:pt x="115557" y="2667596"/>
                  </a:lnTo>
                  <a:lnTo>
                    <a:pt x="71269" y="2658788"/>
                  </a:lnTo>
                  <a:lnTo>
                    <a:pt x="33843" y="2633719"/>
                  </a:lnTo>
                  <a:lnTo>
                    <a:pt x="8808" y="2596189"/>
                  </a:lnTo>
                  <a:lnTo>
                    <a:pt x="0" y="2552039"/>
                  </a:lnTo>
                  <a:lnTo>
                    <a:pt x="0" y="115557"/>
                  </a:lnTo>
                  <a:close/>
                </a:path>
              </a:pathLst>
            </a:custGeom>
            <a:ln w="12599">
              <a:solidFill>
                <a:srgbClr val="D8D8D8"/>
              </a:solidFill>
            </a:ln>
          </p:spPr>
          <p:txBody>
            <a:bodyPr wrap="square" lIns="0" tIns="0" rIns="0" bIns="0" rtlCol="0"/>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sp>
        <p:nvSpPr>
          <p:cNvPr id="14" name="object 27">
            <a:extLst>
              <a:ext uri="{FF2B5EF4-FFF2-40B4-BE49-F238E27FC236}">
                <a16:creationId xmlns:a16="http://schemas.microsoft.com/office/drawing/2014/main" id="{DB04A9CB-878A-2C94-E2D3-E80DE7727AF0}"/>
              </a:ext>
            </a:extLst>
          </p:cNvPr>
          <p:cNvSpPr txBox="1"/>
          <p:nvPr/>
        </p:nvSpPr>
        <p:spPr>
          <a:xfrm>
            <a:off x="10148948" y="3643583"/>
            <a:ext cx="1226446" cy="439223"/>
          </a:xfrm>
          <a:prstGeom prst="rect">
            <a:avLst/>
          </a:prstGeom>
        </p:spPr>
        <p:txBody>
          <a:bodyPr vert="horz" wrap="square" lIns="0" tIns="28575" rIns="0" bIns="0" rtlCol="0" anchor="t">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5080" algn="ctr">
              <a:lnSpc>
                <a:spcPts val="1590"/>
              </a:lnSpc>
              <a:spcBef>
                <a:spcPts val="225"/>
              </a:spcBef>
              <a:defRPr/>
            </a:pPr>
            <a:r>
              <a:rPr lang="en-GB" sz="1400" kern="0" spc="-10" noProof="0">
                <a:solidFill>
                  <a:srgbClr val="FFFFFF"/>
                </a:solidFill>
                <a:latin typeface="Arial Black"/>
                <a:cs typeface="Arial Black"/>
              </a:rPr>
              <a:t>Access Allowed</a:t>
            </a:r>
            <a:endParaRPr lang="en-GB" sz="1400" b="0" i="0" u="none" strike="noStrike" kern="0" cap="none" spc="-10" normalizeH="0" baseline="0" noProof="0">
              <a:ln>
                <a:noFill/>
              </a:ln>
              <a:solidFill>
                <a:srgbClr val="FFFFFF"/>
              </a:solidFill>
              <a:effectLst/>
              <a:uLnTx/>
              <a:uFillTx/>
              <a:latin typeface="Arial Black"/>
              <a:cs typeface="Arial Black"/>
            </a:endParaRPr>
          </a:p>
        </p:txBody>
      </p:sp>
      <p:pic>
        <p:nvPicPr>
          <p:cNvPr id="15" name="object 28">
            <a:extLst>
              <a:ext uri="{FF2B5EF4-FFF2-40B4-BE49-F238E27FC236}">
                <a16:creationId xmlns:a16="http://schemas.microsoft.com/office/drawing/2014/main" id="{B39238C0-BED2-24CC-9E59-8C9AF9C4909A}"/>
              </a:ext>
            </a:extLst>
          </p:cNvPr>
          <p:cNvPicPr/>
          <p:nvPr/>
        </p:nvPicPr>
        <p:blipFill>
          <a:blip r:embed="rId3" cstate="print"/>
          <a:stretch>
            <a:fillRect/>
          </a:stretch>
        </p:blipFill>
        <p:spPr>
          <a:xfrm>
            <a:off x="817824" y="2161478"/>
            <a:ext cx="1006563" cy="1006563"/>
          </a:xfrm>
          <a:prstGeom prst="rect">
            <a:avLst/>
          </a:prstGeom>
        </p:spPr>
      </p:pic>
      <p:pic>
        <p:nvPicPr>
          <p:cNvPr id="16" name="object 29">
            <a:extLst>
              <a:ext uri="{FF2B5EF4-FFF2-40B4-BE49-F238E27FC236}">
                <a16:creationId xmlns:a16="http://schemas.microsoft.com/office/drawing/2014/main" id="{50BCEA13-2F4C-4C0D-5ECE-12AD5733DD44}"/>
              </a:ext>
            </a:extLst>
          </p:cNvPr>
          <p:cNvPicPr/>
          <p:nvPr/>
        </p:nvPicPr>
        <p:blipFill>
          <a:blip r:embed="rId4" cstate="print"/>
          <a:stretch>
            <a:fillRect/>
          </a:stretch>
        </p:blipFill>
        <p:spPr>
          <a:xfrm>
            <a:off x="2687428" y="2164694"/>
            <a:ext cx="971638" cy="971638"/>
          </a:xfrm>
          <a:prstGeom prst="rect">
            <a:avLst/>
          </a:prstGeom>
        </p:spPr>
      </p:pic>
      <p:pic>
        <p:nvPicPr>
          <p:cNvPr id="17" name="object 30">
            <a:extLst>
              <a:ext uri="{FF2B5EF4-FFF2-40B4-BE49-F238E27FC236}">
                <a16:creationId xmlns:a16="http://schemas.microsoft.com/office/drawing/2014/main" id="{B8CF650E-6394-5AF5-0DDD-829BCE8D3028}"/>
              </a:ext>
            </a:extLst>
          </p:cNvPr>
          <p:cNvPicPr/>
          <p:nvPr/>
        </p:nvPicPr>
        <p:blipFill>
          <a:blip r:embed="rId5" cstate="print"/>
          <a:stretch>
            <a:fillRect/>
          </a:stretch>
        </p:blipFill>
        <p:spPr>
          <a:xfrm>
            <a:off x="6584182" y="2278482"/>
            <a:ext cx="775080" cy="775081"/>
          </a:xfrm>
          <a:prstGeom prst="rect">
            <a:avLst/>
          </a:prstGeom>
        </p:spPr>
      </p:pic>
      <p:pic>
        <p:nvPicPr>
          <p:cNvPr id="18" name="object 31">
            <a:extLst>
              <a:ext uri="{FF2B5EF4-FFF2-40B4-BE49-F238E27FC236}">
                <a16:creationId xmlns:a16="http://schemas.microsoft.com/office/drawing/2014/main" id="{CF71D6DD-85F5-ED78-AA9D-993BD26BAA9D}"/>
              </a:ext>
            </a:extLst>
          </p:cNvPr>
          <p:cNvPicPr/>
          <p:nvPr/>
        </p:nvPicPr>
        <p:blipFill>
          <a:blip r:embed="rId6" cstate="print"/>
          <a:stretch>
            <a:fillRect/>
          </a:stretch>
        </p:blipFill>
        <p:spPr>
          <a:xfrm>
            <a:off x="8369421" y="2156080"/>
            <a:ext cx="1011961" cy="1011961"/>
          </a:xfrm>
          <a:prstGeom prst="rect">
            <a:avLst/>
          </a:prstGeom>
        </p:spPr>
      </p:pic>
      <p:pic>
        <p:nvPicPr>
          <p:cNvPr id="19" name="object 32">
            <a:extLst>
              <a:ext uri="{FF2B5EF4-FFF2-40B4-BE49-F238E27FC236}">
                <a16:creationId xmlns:a16="http://schemas.microsoft.com/office/drawing/2014/main" id="{5220E5CC-EDF9-C535-D162-9AE4D3E5E2C1}"/>
              </a:ext>
            </a:extLst>
          </p:cNvPr>
          <p:cNvPicPr/>
          <p:nvPr/>
        </p:nvPicPr>
        <p:blipFill>
          <a:blip r:embed="rId7" cstate="print"/>
          <a:stretch>
            <a:fillRect/>
          </a:stretch>
        </p:blipFill>
        <p:spPr>
          <a:xfrm>
            <a:off x="10348348" y="2251482"/>
            <a:ext cx="827646" cy="827646"/>
          </a:xfrm>
          <a:prstGeom prst="rect">
            <a:avLst/>
          </a:prstGeom>
        </p:spPr>
      </p:pic>
      <p:pic>
        <p:nvPicPr>
          <p:cNvPr id="20" name="object 9">
            <a:extLst>
              <a:ext uri="{FF2B5EF4-FFF2-40B4-BE49-F238E27FC236}">
                <a16:creationId xmlns:a16="http://schemas.microsoft.com/office/drawing/2014/main" id="{A812E96E-83C3-0AF0-94B1-502086142AC2}"/>
              </a:ext>
            </a:extLst>
          </p:cNvPr>
          <p:cNvPicPr/>
          <p:nvPr/>
        </p:nvPicPr>
        <p:blipFill>
          <a:blip r:embed="rId8" cstate="print">
            <a:duotone>
              <a:prstClr val="black"/>
              <a:srgbClr val="003B75">
                <a:tint val="45000"/>
                <a:satMod val="400000"/>
              </a:srgbClr>
            </a:duotone>
            <a:extLst>
              <a:ext uri="{BEBA8EAE-BF5A-486C-A8C5-ECC9F3942E4B}">
                <a14:imgProps xmlns:a14="http://schemas.microsoft.com/office/drawing/2010/main">
                  <a14:imgLayer r:embed="rId9">
                    <a14:imgEffect>
                      <a14:artisticGlowEdges/>
                    </a14:imgEffect>
                    <a14:imgEffect>
                      <a14:saturation sat="400000"/>
                    </a14:imgEffect>
                  </a14:imgLayer>
                </a14:imgProps>
              </a:ext>
            </a:extLst>
          </a:blip>
          <a:stretch>
            <a:fillRect/>
          </a:stretch>
        </p:blipFill>
        <p:spPr>
          <a:xfrm>
            <a:off x="4579957" y="2190792"/>
            <a:ext cx="919441" cy="919441"/>
          </a:xfrm>
          <a:prstGeom prst="rect">
            <a:avLst/>
          </a:prstGeom>
          <a:noFill/>
        </p:spPr>
      </p:pic>
      <p:sp>
        <p:nvSpPr>
          <p:cNvPr id="4" name="object 13">
            <a:extLst>
              <a:ext uri="{FF2B5EF4-FFF2-40B4-BE49-F238E27FC236}">
                <a16:creationId xmlns:a16="http://schemas.microsoft.com/office/drawing/2014/main" id="{C932F9A6-49EA-9C14-479E-F8B2E78022DE}"/>
              </a:ext>
            </a:extLst>
          </p:cNvPr>
          <p:cNvSpPr txBox="1"/>
          <p:nvPr/>
        </p:nvSpPr>
        <p:spPr>
          <a:xfrm>
            <a:off x="616111" y="3747626"/>
            <a:ext cx="1397370" cy="670055"/>
          </a:xfrm>
          <a:prstGeom prst="rect">
            <a:avLst/>
          </a:prstGeom>
        </p:spPr>
        <p:txBody>
          <a:bodyPr vert="horz" wrap="square" lIns="0" tIns="28575" rIns="0" bIns="0" rtlCol="0" anchor="t">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5080" algn="ctr">
              <a:lnSpc>
                <a:spcPts val="1590"/>
              </a:lnSpc>
              <a:spcBef>
                <a:spcPts val="225"/>
              </a:spcBef>
              <a:defRPr/>
            </a:pPr>
            <a:r>
              <a:rPr lang="en-GB" sz="1400" kern="0" spc="-20" noProof="0">
                <a:solidFill>
                  <a:schemeClr val="bg1"/>
                </a:solidFill>
                <a:latin typeface="Arial Black"/>
                <a:cs typeface="Arial Black"/>
              </a:rPr>
              <a:t>Chatbot User request</a:t>
            </a:r>
          </a:p>
          <a:p>
            <a:pPr marR="5080" algn="ctr">
              <a:lnSpc>
                <a:spcPts val="1590"/>
              </a:lnSpc>
              <a:spcBef>
                <a:spcPts val="225"/>
              </a:spcBef>
              <a:defRPr/>
            </a:pPr>
            <a:endParaRPr lang="en-GB" sz="1400" kern="0" spc="-20" noProof="0">
              <a:solidFill>
                <a:schemeClr val="bg1"/>
              </a:solidFill>
              <a:latin typeface="Arial Black"/>
              <a:cs typeface="Arial Black"/>
            </a:endParaRPr>
          </a:p>
        </p:txBody>
      </p:sp>
      <p:sp>
        <p:nvSpPr>
          <p:cNvPr id="31" name="object 21">
            <a:extLst>
              <a:ext uri="{FF2B5EF4-FFF2-40B4-BE49-F238E27FC236}">
                <a16:creationId xmlns:a16="http://schemas.microsoft.com/office/drawing/2014/main" id="{40A4B584-A19B-2949-F7FD-1BF1580C53C4}"/>
              </a:ext>
            </a:extLst>
          </p:cNvPr>
          <p:cNvSpPr txBox="1"/>
          <p:nvPr/>
        </p:nvSpPr>
        <p:spPr>
          <a:xfrm>
            <a:off x="8216481" y="3682533"/>
            <a:ext cx="1320481" cy="439223"/>
          </a:xfrm>
          <a:prstGeom prst="rect">
            <a:avLst/>
          </a:prstGeom>
        </p:spPr>
        <p:txBody>
          <a:bodyPr vert="horz" wrap="square" lIns="0" tIns="28575" rIns="0" bIns="0" rtlCol="0" anchor="t">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5080" algn="ctr">
              <a:lnSpc>
                <a:spcPts val="1590"/>
              </a:lnSpc>
              <a:spcBef>
                <a:spcPts val="225"/>
              </a:spcBef>
              <a:defRPr/>
            </a:pPr>
            <a:r>
              <a:rPr lang="en-GB" sz="1400" kern="0" spc="-20" noProof="0">
                <a:solidFill>
                  <a:srgbClr val="2F4168"/>
                </a:solidFill>
                <a:latin typeface="Arial Black"/>
                <a:cs typeface="Arial Black"/>
              </a:rPr>
              <a:t>User Notification</a:t>
            </a:r>
            <a:endParaRPr lang="en-GB" sz="1400" b="0" i="0" u="none" strike="noStrike" kern="0" cap="none" spc="-20" normalizeH="0" baseline="0" noProof="0">
              <a:ln>
                <a:noFill/>
              </a:ln>
              <a:solidFill>
                <a:srgbClr val="2F4168"/>
              </a:solidFill>
              <a:effectLst/>
              <a:uLnTx/>
              <a:uFillTx/>
              <a:latin typeface="Arial Black"/>
              <a:cs typeface="Arial Black"/>
            </a:endParaRPr>
          </a:p>
        </p:txBody>
      </p:sp>
      <p:pic>
        <p:nvPicPr>
          <p:cNvPr id="1026" name="Picture 2" descr="Microsoft Teams - Wikipedia">
            <a:extLst>
              <a:ext uri="{FF2B5EF4-FFF2-40B4-BE49-F238E27FC236}">
                <a16:creationId xmlns:a16="http://schemas.microsoft.com/office/drawing/2014/main" id="{41257F01-1714-FB35-B6A8-6BAE73C9998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6854" y="4768550"/>
            <a:ext cx="648456" cy="60392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P BTP, the SAP Cloud Platform - Conseils-Plus">
            <a:extLst>
              <a:ext uri="{FF2B5EF4-FFF2-40B4-BE49-F238E27FC236}">
                <a16:creationId xmlns:a16="http://schemas.microsoft.com/office/drawing/2014/main" id="{F8C61193-ECD7-4ADF-94EA-B2793347D7C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94075" y="4677028"/>
            <a:ext cx="887957" cy="79803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Automated data replication (ETL/ELT) from every SaaS API into SAP Datasphere  | Precog">
            <a:extLst>
              <a:ext uri="{FF2B5EF4-FFF2-40B4-BE49-F238E27FC236}">
                <a16:creationId xmlns:a16="http://schemas.microsoft.com/office/drawing/2014/main" id="{BCB404F8-A120-0584-E413-AF826D9BCCD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826948" y="4519086"/>
            <a:ext cx="1219719" cy="435846"/>
          </a:xfrm>
          <a:prstGeom prst="rect">
            <a:avLst/>
          </a:prstGeom>
          <a:noFill/>
          <a:extLst>
            <a:ext uri="{909E8E84-426E-40DD-AFC4-6F175D3DCCD1}">
              <a14:hiddenFill xmlns:a14="http://schemas.microsoft.com/office/drawing/2010/main">
                <a:solidFill>
                  <a:srgbClr val="FFFFFF"/>
                </a:solidFill>
              </a14:hiddenFill>
            </a:ext>
          </a:extLst>
        </p:spPr>
      </p:pic>
      <p:pic>
        <p:nvPicPr>
          <p:cNvPr id="32" name="Gráfico 31" descr="Mujer encogiéndose de hombros con relleno sólido">
            <a:extLst>
              <a:ext uri="{FF2B5EF4-FFF2-40B4-BE49-F238E27FC236}">
                <a16:creationId xmlns:a16="http://schemas.microsoft.com/office/drawing/2014/main" id="{F15FDA71-D54F-61B7-E090-A415A3210F1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144113" y="4693877"/>
            <a:ext cx="670403" cy="670403"/>
          </a:xfrm>
          <a:prstGeom prst="rect">
            <a:avLst/>
          </a:prstGeom>
        </p:spPr>
      </p:pic>
      <p:pic>
        <p:nvPicPr>
          <p:cNvPr id="1032" name="Picture 8" descr="Unleashing the Power of Data Insights with SAP Analytics Cloud">
            <a:extLst>
              <a:ext uri="{FF2B5EF4-FFF2-40B4-BE49-F238E27FC236}">
                <a16:creationId xmlns:a16="http://schemas.microsoft.com/office/drawing/2014/main" id="{9FEF0559-F985-88BC-8CEE-77BAD4BD9877}"/>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826948" y="5148619"/>
            <a:ext cx="1204792" cy="428481"/>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 descr="Microsoft Teams - Wikipedia">
            <a:extLst>
              <a:ext uri="{FF2B5EF4-FFF2-40B4-BE49-F238E27FC236}">
                <a16:creationId xmlns:a16="http://schemas.microsoft.com/office/drawing/2014/main" id="{6AA4CF58-B791-74A1-28C7-92B518E006A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552493" y="4665122"/>
            <a:ext cx="648456" cy="603927"/>
          </a:xfrm>
          <a:prstGeom prst="rect">
            <a:avLst/>
          </a:prstGeom>
          <a:noFill/>
          <a:extLst>
            <a:ext uri="{909E8E84-426E-40DD-AFC4-6F175D3DCCD1}">
              <a14:hiddenFill xmlns:a14="http://schemas.microsoft.com/office/drawing/2010/main">
                <a:solidFill>
                  <a:srgbClr val="FFFFFF"/>
                </a:solidFill>
              </a14:hiddenFill>
            </a:ext>
          </a:extLst>
        </p:spPr>
      </p:pic>
      <p:pic>
        <p:nvPicPr>
          <p:cNvPr id="35" name="Gráfico 34" descr="Aspiración con relleno sólido">
            <a:extLst>
              <a:ext uri="{FF2B5EF4-FFF2-40B4-BE49-F238E27FC236}">
                <a16:creationId xmlns:a16="http://schemas.microsoft.com/office/drawing/2014/main" id="{FB5B5438-27FE-263F-ABE3-19B33C90357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871251" y="4524263"/>
            <a:ext cx="914400" cy="914400"/>
          </a:xfrm>
          <a:prstGeom prst="rect">
            <a:avLst/>
          </a:prstGeom>
        </p:spPr>
      </p:pic>
      <p:pic>
        <p:nvPicPr>
          <p:cNvPr id="36" name="Picture 6" descr="Automated data replication (ETL/ELT) from every SaaS API into SAP Datasphere  | Precog">
            <a:extLst>
              <a:ext uri="{FF2B5EF4-FFF2-40B4-BE49-F238E27FC236}">
                <a16:creationId xmlns:a16="http://schemas.microsoft.com/office/drawing/2014/main" id="{4D825CEE-6CE1-B2F0-6420-A48DAE3C587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535496" y="4553613"/>
            <a:ext cx="1219719" cy="435846"/>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8" descr="Unleashing the Power of Data Insights with SAP Analytics Cloud">
            <a:extLst>
              <a:ext uri="{FF2B5EF4-FFF2-40B4-BE49-F238E27FC236}">
                <a16:creationId xmlns:a16="http://schemas.microsoft.com/office/drawing/2014/main" id="{7F16A014-34C9-24D0-C7CF-844CC3EC87B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0534138" y="5146861"/>
            <a:ext cx="1319810" cy="471612"/>
          </a:xfrm>
          <a:prstGeom prst="rect">
            <a:avLst/>
          </a:prstGeom>
          <a:noFill/>
          <a:extLst>
            <a:ext uri="{909E8E84-426E-40DD-AFC4-6F175D3DCCD1}">
              <a14:hiddenFill xmlns:a14="http://schemas.microsoft.com/office/drawing/2010/main">
                <a:solidFill>
                  <a:srgbClr val="FFFFFF"/>
                </a:solidFill>
              </a14:hiddenFill>
            </a:ext>
          </a:extLst>
        </p:spPr>
      </p:pic>
      <p:sp>
        <p:nvSpPr>
          <p:cNvPr id="12" name="Flecha: a la derecha 11">
            <a:extLst>
              <a:ext uri="{FF2B5EF4-FFF2-40B4-BE49-F238E27FC236}">
                <a16:creationId xmlns:a16="http://schemas.microsoft.com/office/drawing/2014/main" id="{1D4E1EAA-1D8F-485A-DFED-3BAB4EA9D7AE}"/>
              </a:ext>
            </a:extLst>
          </p:cNvPr>
          <p:cNvSpPr/>
          <p:nvPr/>
        </p:nvSpPr>
        <p:spPr>
          <a:xfrm>
            <a:off x="1911130" y="2902431"/>
            <a:ext cx="687076" cy="515757"/>
          </a:xfrm>
          <a:prstGeom prst="rightArrow">
            <a:avLst/>
          </a:prstGeom>
          <a:solidFill>
            <a:schemeClr val="bg1"/>
          </a:solidFill>
          <a:ln w="38100">
            <a:solidFill>
              <a:srgbClr val="8A00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4" name="Flecha: a la derecha 33">
            <a:extLst>
              <a:ext uri="{FF2B5EF4-FFF2-40B4-BE49-F238E27FC236}">
                <a16:creationId xmlns:a16="http://schemas.microsoft.com/office/drawing/2014/main" id="{5C2D589A-4D37-3CD4-BA64-4AF61194B79B}"/>
              </a:ext>
            </a:extLst>
          </p:cNvPr>
          <p:cNvSpPr/>
          <p:nvPr/>
        </p:nvSpPr>
        <p:spPr>
          <a:xfrm>
            <a:off x="3794750" y="2910162"/>
            <a:ext cx="687076" cy="515757"/>
          </a:xfrm>
          <a:prstGeom prst="rightArrow">
            <a:avLst/>
          </a:prstGeom>
          <a:solidFill>
            <a:schemeClr val="bg1"/>
          </a:solidFill>
          <a:ln w="38100">
            <a:solidFill>
              <a:srgbClr val="8A00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Flecha: a la derecha 37">
            <a:extLst>
              <a:ext uri="{FF2B5EF4-FFF2-40B4-BE49-F238E27FC236}">
                <a16:creationId xmlns:a16="http://schemas.microsoft.com/office/drawing/2014/main" id="{BCD57C35-2536-04E1-02FB-A6C5A73EA765}"/>
              </a:ext>
            </a:extLst>
          </p:cNvPr>
          <p:cNvSpPr/>
          <p:nvPr/>
        </p:nvSpPr>
        <p:spPr>
          <a:xfrm>
            <a:off x="5707692" y="2884792"/>
            <a:ext cx="687076" cy="515757"/>
          </a:xfrm>
          <a:prstGeom prst="rightArrow">
            <a:avLst/>
          </a:prstGeom>
          <a:solidFill>
            <a:schemeClr val="bg1"/>
          </a:solidFill>
          <a:ln w="38100">
            <a:solidFill>
              <a:srgbClr val="8A00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Flecha: a la derecha 38">
            <a:extLst>
              <a:ext uri="{FF2B5EF4-FFF2-40B4-BE49-F238E27FC236}">
                <a16:creationId xmlns:a16="http://schemas.microsoft.com/office/drawing/2014/main" id="{79277258-8482-FB9A-73E8-2BC0BC8690AB}"/>
              </a:ext>
            </a:extLst>
          </p:cNvPr>
          <p:cNvSpPr/>
          <p:nvPr/>
        </p:nvSpPr>
        <p:spPr>
          <a:xfrm>
            <a:off x="7620634" y="2959240"/>
            <a:ext cx="687076" cy="515757"/>
          </a:xfrm>
          <a:prstGeom prst="rightArrow">
            <a:avLst/>
          </a:prstGeom>
          <a:solidFill>
            <a:schemeClr val="bg1"/>
          </a:solidFill>
          <a:ln w="38100">
            <a:solidFill>
              <a:srgbClr val="8A00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Flecha: a la derecha 39">
            <a:extLst>
              <a:ext uri="{FF2B5EF4-FFF2-40B4-BE49-F238E27FC236}">
                <a16:creationId xmlns:a16="http://schemas.microsoft.com/office/drawing/2014/main" id="{211D47F2-2F75-97B0-EA81-130C470621E0}"/>
              </a:ext>
            </a:extLst>
          </p:cNvPr>
          <p:cNvSpPr/>
          <p:nvPr/>
        </p:nvSpPr>
        <p:spPr>
          <a:xfrm>
            <a:off x="9533576" y="2939516"/>
            <a:ext cx="687076" cy="515757"/>
          </a:xfrm>
          <a:prstGeom prst="rightArrow">
            <a:avLst/>
          </a:prstGeom>
          <a:solidFill>
            <a:schemeClr val="bg1"/>
          </a:solidFill>
          <a:ln w="38100">
            <a:solidFill>
              <a:srgbClr val="8A00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TextBox 43">
            <a:extLst>
              <a:ext uri="{FF2B5EF4-FFF2-40B4-BE49-F238E27FC236}">
                <a16:creationId xmlns:a16="http://schemas.microsoft.com/office/drawing/2014/main" id="{93222682-38FD-DC8B-8DCA-D1B7E56FBA66}"/>
              </a:ext>
            </a:extLst>
          </p:cNvPr>
          <p:cNvSpPr txBox="1"/>
          <p:nvPr/>
        </p:nvSpPr>
        <p:spPr>
          <a:xfrm>
            <a:off x="409099" y="5642346"/>
            <a:ext cx="1775548" cy="738664"/>
          </a:xfrm>
          <a:prstGeom prst="rect">
            <a:avLst/>
          </a:prstGeom>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400" noProof="0">
                <a:ea typeface="Calibri"/>
                <a:cs typeface="Calibri"/>
              </a:rPr>
              <a:t>Microsoft Teams using Auth2 connection</a:t>
            </a:r>
          </a:p>
        </p:txBody>
      </p:sp>
      <p:sp>
        <p:nvSpPr>
          <p:cNvPr id="47" name="TextBox 46">
            <a:extLst>
              <a:ext uri="{FF2B5EF4-FFF2-40B4-BE49-F238E27FC236}">
                <a16:creationId xmlns:a16="http://schemas.microsoft.com/office/drawing/2014/main" id="{CBE570C6-C1E8-F396-FFBD-AFD986E7FD26}"/>
              </a:ext>
            </a:extLst>
          </p:cNvPr>
          <p:cNvSpPr txBox="1"/>
          <p:nvPr/>
        </p:nvSpPr>
        <p:spPr>
          <a:xfrm>
            <a:off x="4193949" y="5642346"/>
            <a:ext cx="1852717" cy="523220"/>
          </a:xfrm>
          <a:prstGeom prst="rect">
            <a:avLst/>
          </a:prstGeom>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400" noProof="0">
                <a:ea typeface="Calibri"/>
                <a:cs typeface="Calibri"/>
              </a:rPr>
              <a:t>SAP Workflow Management</a:t>
            </a:r>
          </a:p>
        </p:txBody>
      </p:sp>
      <p:sp>
        <p:nvSpPr>
          <p:cNvPr id="48" name="TextBox 47">
            <a:extLst>
              <a:ext uri="{FF2B5EF4-FFF2-40B4-BE49-F238E27FC236}">
                <a16:creationId xmlns:a16="http://schemas.microsoft.com/office/drawing/2014/main" id="{1AA2D2E8-8F10-C334-D4CE-C53C4D4C69FB}"/>
              </a:ext>
            </a:extLst>
          </p:cNvPr>
          <p:cNvSpPr txBox="1"/>
          <p:nvPr/>
        </p:nvSpPr>
        <p:spPr>
          <a:xfrm>
            <a:off x="6130509" y="5642346"/>
            <a:ext cx="1852717" cy="954107"/>
          </a:xfrm>
          <a:prstGeom prst="rect">
            <a:avLst/>
          </a:prstGeom>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400" noProof="0">
                <a:ea typeface="Calibri"/>
                <a:cs typeface="Calibri"/>
              </a:rPr>
              <a:t>Access to SAC or datasphere leveraging SAP Integration Suite API Management</a:t>
            </a:r>
          </a:p>
        </p:txBody>
      </p:sp>
      <p:sp>
        <p:nvSpPr>
          <p:cNvPr id="51" name="TextBox 50">
            <a:extLst>
              <a:ext uri="{FF2B5EF4-FFF2-40B4-BE49-F238E27FC236}">
                <a16:creationId xmlns:a16="http://schemas.microsoft.com/office/drawing/2014/main" id="{B9419EB4-3AF7-A3EC-A517-3BD074F4A818}"/>
              </a:ext>
            </a:extLst>
          </p:cNvPr>
          <p:cNvSpPr txBox="1"/>
          <p:nvPr/>
        </p:nvSpPr>
        <p:spPr>
          <a:xfrm>
            <a:off x="10089979" y="5642346"/>
            <a:ext cx="1852717" cy="523220"/>
          </a:xfrm>
          <a:prstGeom prst="rect">
            <a:avLst/>
          </a:prstGeom>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400" noProof="0">
                <a:ea typeface="Calibri"/>
                <a:cs typeface="Calibri"/>
              </a:rPr>
              <a:t>SAP/Datasphere access</a:t>
            </a:r>
          </a:p>
        </p:txBody>
      </p:sp>
      <p:sp>
        <p:nvSpPr>
          <p:cNvPr id="2" name="TextBox 46">
            <a:extLst>
              <a:ext uri="{FF2B5EF4-FFF2-40B4-BE49-F238E27FC236}">
                <a16:creationId xmlns:a16="http://schemas.microsoft.com/office/drawing/2014/main" id="{D6CF10EA-6DA7-5F1A-5B1B-1617BAE7AAA7}"/>
              </a:ext>
            </a:extLst>
          </p:cNvPr>
          <p:cNvSpPr txBox="1"/>
          <p:nvPr/>
        </p:nvSpPr>
        <p:spPr>
          <a:xfrm>
            <a:off x="2246888" y="5642346"/>
            <a:ext cx="1852717" cy="307777"/>
          </a:xfrm>
          <a:prstGeom prst="rect">
            <a:avLst/>
          </a:prstGeom>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400" noProof="0">
                <a:ea typeface="Calibri"/>
                <a:cs typeface="Calibri"/>
              </a:rPr>
              <a:t>LLM Agentic Layer</a:t>
            </a:r>
          </a:p>
        </p:txBody>
      </p:sp>
      <p:sp>
        <p:nvSpPr>
          <p:cNvPr id="42" name="TextBox 43">
            <a:extLst>
              <a:ext uri="{FF2B5EF4-FFF2-40B4-BE49-F238E27FC236}">
                <a16:creationId xmlns:a16="http://schemas.microsoft.com/office/drawing/2014/main" id="{5492C537-6348-50B2-F06D-EDDF3FE79A41}"/>
              </a:ext>
            </a:extLst>
          </p:cNvPr>
          <p:cNvSpPr txBox="1"/>
          <p:nvPr/>
        </p:nvSpPr>
        <p:spPr>
          <a:xfrm>
            <a:off x="8095703" y="5642346"/>
            <a:ext cx="1775548" cy="738664"/>
          </a:xfrm>
          <a:prstGeom prst="rect">
            <a:avLst/>
          </a:prstGeom>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400" noProof="0">
                <a:ea typeface="Calibri"/>
                <a:cs typeface="Calibri"/>
              </a:rPr>
              <a:t>Microsoft Teams using Auth2 connection</a:t>
            </a:r>
          </a:p>
        </p:txBody>
      </p:sp>
      <p:sp>
        <p:nvSpPr>
          <p:cNvPr id="43" name="Rectangle 57">
            <a:extLst>
              <a:ext uri="{FF2B5EF4-FFF2-40B4-BE49-F238E27FC236}">
                <a16:creationId xmlns:a16="http://schemas.microsoft.com/office/drawing/2014/main" id="{A574FCD4-3585-7F9C-4586-C63599D2DA18}"/>
              </a:ext>
            </a:extLst>
          </p:cNvPr>
          <p:cNvSpPr>
            <a:spLocks noChangeArrowheads="1"/>
          </p:cNvSpPr>
          <p:nvPr/>
        </p:nvSpPr>
        <p:spPr bwMode="gray">
          <a:xfrm>
            <a:off x="226220" y="198916"/>
            <a:ext cx="7407741" cy="984830"/>
          </a:xfrm>
          <a:prstGeom prst="rect">
            <a:avLst/>
          </a:prstGeom>
          <a:noFill/>
          <a:ln w="9525">
            <a:noFill/>
            <a:miter lim="800000"/>
            <a:headEnd/>
            <a:tailEnd/>
          </a:ln>
          <a:effectLst/>
        </p:spPr>
        <p:txBody>
          <a:bodyPr wrap="square" lIns="91386" tIns="45693" rIns="91386" bIns="45693">
            <a:spAutoFit/>
          </a:bodyPr>
          <a:lstStyle/>
          <a:p>
            <a:pPr defTabSz="609630"/>
            <a:r>
              <a:rPr lang="en-GB" sz="4000" b="1" kern="0" noProof="0" dirty="0">
                <a:solidFill>
                  <a:srgbClr val="000000">
                    <a:lumMod val="95000"/>
                    <a:lumOff val="5000"/>
                  </a:srgbClr>
                </a:solidFill>
                <a:latin typeface="Quattrocento Sans" panose="020B0502050000020003" pitchFamily="34" charset="0"/>
                <a:ea typeface="Lato"/>
                <a:cs typeface="Lato"/>
                <a:sym typeface="Calibri"/>
              </a:rPr>
              <a:t>Access Automation</a:t>
            </a:r>
          </a:p>
          <a:p>
            <a:pPr defTabSz="609630" hangingPunct="0"/>
            <a:r>
              <a:rPr lang="en-GB" kern="0" noProof="0" dirty="0">
                <a:solidFill>
                  <a:srgbClr val="8A0051"/>
                </a:solidFill>
                <a:latin typeface="Quattrocento Sans" panose="020B0502050000020003" pitchFamily="34" charset="0"/>
                <a:cs typeface="Calibri"/>
                <a:sym typeface="Calibri"/>
              </a:rPr>
              <a:t>System Design Overview</a:t>
            </a:r>
          </a:p>
        </p:txBody>
      </p:sp>
      <p:pic>
        <p:nvPicPr>
          <p:cNvPr id="45" name="Imagen 44" descr="Logotipo&#10;&#10;Descripción generada automáticamente">
            <a:extLst>
              <a:ext uri="{FF2B5EF4-FFF2-40B4-BE49-F238E27FC236}">
                <a16:creationId xmlns:a16="http://schemas.microsoft.com/office/drawing/2014/main" id="{BE0F99E1-8E99-175C-3980-7BDD249A7A5A}"/>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675643" y="422965"/>
            <a:ext cx="1935381" cy="446626"/>
          </a:xfrm>
          <a:prstGeom prst="rect">
            <a:avLst/>
          </a:prstGeom>
        </p:spPr>
      </p:pic>
      <p:pic>
        <p:nvPicPr>
          <p:cNvPr id="46" name="Picture 2" descr="AstraZeneca Logo, symbol, meaning, history, PNG, brand">
            <a:extLst>
              <a:ext uri="{FF2B5EF4-FFF2-40B4-BE49-F238E27FC236}">
                <a16:creationId xmlns:a16="http://schemas.microsoft.com/office/drawing/2014/main" id="{DBB8EA55-53C1-8826-BD6D-5912398B026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075018" y="213658"/>
            <a:ext cx="1267373" cy="712897"/>
          </a:xfrm>
          <a:prstGeom prst="rect">
            <a:avLst/>
          </a:prstGeom>
          <a:noFill/>
          <a:extLst>
            <a:ext uri="{909E8E84-426E-40DD-AFC4-6F175D3DCCD1}">
              <a14:hiddenFill xmlns:a14="http://schemas.microsoft.com/office/drawing/2010/main">
                <a:solidFill>
                  <a:srgbClr val="FFFFFF"/>
                </a:solidFill>
              </a14:hiddenFill>
            </a:ext>
          </a:extLst>
        </p:spPr>
      </p:pic>
      <p:pic>
        <p:nvPicPr>
          <p:cNvPr id="49" name="Gráfico 48" descr="Vínculo con relleno sólido">
            <a:extLst>
              <a:ext uri="{FF2B5EF4-FFF2-40B4-BE49-F238E27FC236}">
                <a16:creationId xmlns:a16="http://schemas.microsoft.com/office/drawing/2014/main" id="{74AEE0F7-C264-A3C4-8D51-4CC019DDA1BE}"/>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6514521" y="4519304"/>
            <a:ext cx="914400" cy="914400"/>
          </a:xfrm>
          <a:prstGeom prst="rect">
            <a:avLst/>
          </a:prstGeom>
        </p:spPr>
      </p:pic>
    </p:spTree>
    <p:extLst>
      <p:ext uri="{BB962C8B-B14F-4D97-AF65-F5344CB8AC3E}">
        <p14:creationId xmlns:p14="http://schemas.microsoft.com/office/powerpoint/2010/main" val="24515848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45CC6A-CCBC-9963-7917-A3BBF44EC462}"/>
            </a:ext>
          </a:extLst>
        </p:cNvPr>
        <p:cNvGrpSpPr/>
        <p:nvPr/>
      </p:nvGrpSpPr>
      <p:grpSpPr>
        <a:xfrm>
          <a:off x="0" y="0"/>
          <a:ext cx="0" cy="0"/>
          <a:chOff x="0" y="0"/>
          <a:chExt cx="0" cy="0"/>
        </a:xfrm>
      </p:grpSpPr>
      <p:sp>
        <p:nvSpPr>
          <p:cNvPr id="2" name="Rectangle 57">
            <a:extLst>
              <a:ext uri="{FF2B5EF4-FFF2-40B4-BE49-F238E27FC236}">
                <a16:creationId xmlns:a16="http://schemas.microsoft.com/office/drawing/2014/main" id="{F65B455F-C606-B0E7-91A9-C9BA680C0FE3}"/>
              </a:ext>
            </a:extLst>
          </p:cNvPr>
          <p:cNvSpPr>
            <a:spLocks noChangeArrowheads="1"/>
          </p:cNvSpPr>
          <p:nvPr/>
        </p:nvSpPr>
        <p:spPr bwMode="gray">
          <a:xfrm>
            <a:off x="226220" y="198916"/>
            <a:ext cx="7407741" cy="984830"/>
          </a:xfrm>
          <a:prstGeom prst="rect">
            <a:avLst/>
          </a:prstGeom>
          <a:noFill/>
          <a:ln w="9525">
            <a:noFill/>
            <a:miter lim="800000"/>
            <a:headEnd/>
            <a:tailEnd/>
          </a:ln>
          <a:effectLst/>
        </p:spPr>
        <p:txBody>
          <a:bodyPr wrap="square" lIns="91386" tIns="45693" rIns="91386" bIns="45693">
            <a:spAutoFit/>
          </a:bodyPr>
          <a:lstStyle/>
          <a:p>
            <a:pPr defTabSz="609630"/>
            <a:r>
              <a:rPr lang="en-GB" sz="4000" b="1" kern="0" noProof="0">
                <a:solidFill>
                  <a:srgbClr val="000000">
                    <a:lumMod val="95000"/>
                    <a:lumOff val="5000"/>
                  </a:srgbClr>
                </a:solidFill>
                <a:latin typeface="Quattrocento Sans" panose="020B0502050000020003" pitchFamily="34" charset="0"/>
                <a:ea typeface="Lato"/>
                <a:cs typeface="Lato"/>
                <a:sym typeface="Calibri"/>
              </a:rPr>
              <a:t>Access Automation</a:t>
            </a:r>
          </a:p>
          <a:p>
            <a:pPr defTabSz="609630" hangingPunct="0"/>
            <a:r>
              <a:rPr lang="en-GB" kern="0" noProof="0">
                <a:solidFill>
                  <a:srgbClr val="8A0051"/>
                </a:solidFill>
                <a:latin typeface="Quattrocento Sans" panose="020B0502050000020003" pitchFamily="34" charset="0"/>
                <a:cs typeface="Calibri"/>
                <a:sym typeface="Calibri"/>
              </a:rPr>
              <a:t>Actionable</a:t>
            </a:r>
          </a:p>
        </p:txBody>
      </p:sp>
      <p:pic>
        <p:nvPicPr>
          <p:cNvPr id="11" name="Imagen 10" descr="Logotipo&#10;&#10;Descripción generada automáticamente">
            <a:extLst>
              <a:ext uri="{FF2B5EF4-FFF2-40B4-BE49-F238E27FC236}">
                <a16:creationId xmlns:a16="http://schemas.microsoft.com/office/drawing/2014/main" id="{C2738FA5-05F9-463B-4708-02F4C11A0A8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75643" y="422965"/>
            <a:ext cx="1935381" cy="446626"/>
          </a:xfrm>
          <a:prstGeom prst="rect">
            <a:avLst/>
          </a:prstGeom>
        </p:spPr>
      </p:pic>
      <p:pic>
        <p:nvPicPr>
          <p:cNvPr id="1026" name="Picture 2" descr="AstraZeneca Logo, symbol, meaning, history, PNG, brand">
            <a:extLst>
              <a:ext uri="{FF2B5EF4-FFF2-40B4-BE49-F238E27FC236}">
                <a16:creationId xmlns:a16="http://schemas.microsoft.com/office/drawing/2014/main" id="{0AC059B4-BBFA-E0E6-ACC5-B1E7B4FD5EF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75018" y="213658"/>
            <a:ext cx="1267373" cy="712897"/>
          </a:xfrm>
          <a:prstGeom prst="rect">
            <a:avLst/>
          </a:prstGeom>
          <a:noFill/>
          <a:extLst>
            <a:ext uri="{909E8E84-426E-40DD-AFC4-6F175D3DCCD1}">
              <a14:hiddenFill xmlns:a14="http://schemas.microsoft.com/office/drawing/2010/main">
                <a:solidFill>
                  <a:srgbClr val="FFFFFF"/>
                </a:solidFill>
              </a14:hiddenFill>
            </a:ext>
          </a:extLst>
        </p:spPr>
      </p:pic>
      <p:sp>
        <p:nvSpPr>
          <p:cNvPr id="21" name="Rectángulo: esquinas redondeadas 20">
            <a:extLst>
              <a:ext uri="{FF2B5EF4-FFF2-40B4-BE49-F238E27FC236}">
                <a16:creationId xmlns:a16="http://schemas.microsoft.com/office/drawing/2014/main" id="{F417B682-A9EA-990F-DCBB-08F8EE2ADDEF}"/>
              </a:ext>
            </a:extLst>
          </p:cNvPr>
          <p:cNvSpPr/>
          <p:nvPr/>
        </p:nvSpPr>
        <p:spPr>
          <a:xfrm>
            <a:off x="4198605" y="2244969"/>
            <a:ext cx="3794789" cy="2368062"/>
          </a:xfrm>
          <a:prstGeom prst="roundRect">
            <a:avLst>
              <a:gd name="adj" fmla="val 6271"/>
            </a:avLst>
          </a:prstGeom>
          <a:noFill/>
          <a:ln w="57150">
            <a:solidFill>
              <a:srgbClr val="8A00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4" name="Group 27">
            <a:extLst>
              <a:ext uri="{FF2B5EF4-FFF2-40B4-BE49-F238E27FC236}">
                <a16:creationId xmlns:a16="http://schemas.microsoft.com/office/drawing/2014/main" id="{FC0CF622-2A44-E04D-BD1F-C83799F9BF87}"/>
              </a:ext>
            </a:extLst>
          </p:cNvPr>
          <p:cNvGrpSpPr/>
          <p:nvPr/>
        </p:nvGrpSpPr>
        <p:grpSpPr>
          <a:xfrm>
            <a:off x="4339770" y="2341731"/>
            <a:ext cx="3512457" cy="2025034"/>
            <a:chOff x="609809" y="3300210"/>
            <a:chExt cx="2439179" cy="1243602"/>
          </a:xfrm>
        </p:grpSpPr>
        <p:sp>
          <p:nvSpPr>
            <p:cNvPr id="25" name="TextBox 28">
              <a:extLst>
                <a:ext uri="{FF2B5EF4-FFF2-40B4-BE49-F238E27FC236}">
                  <a16:creationId xmlns:a16="http://schemas.microsoft.com/office/drawing/2014/main" id="{C7C08D53-4B0E-23D2-A144-2A12AE398E88}"/>
                </a:ext>
              </a:extLst>
            </p:cNvPr>
            <p:cNvSpPr txBox="1"/>
            <p:nvPr/>
          </p:nvSpPr>
          <p:spPr>
            <a:xfrm>
              <a:off x="609809" y="3579862"/>
              <a:ext cx="2439179" cy="963950"/>
            </a:xfrm>
            <a:prstGeom prst="rect">
              <a:avLst/>
            </a:prstGeom>
            <a:noFill/>
          </p:spPr>
          <p:txBody>
            <a:bodyPr wrap="square" lIns="91440" tIns="45720" rIns="91440" bIns="45720" rtlCol="0" anchor="t">
              <a:spAutoFit/>
            </a:bodyPr>
            <a:lstStyle/>
            <a:p>
              <a:pPr algn="ctr"/>
              <a:endParaRPr lang="en-GB" sz="1600" dirty="0"/>
            </a:p>
            <a:p>
              <a:pPr algn="ctr"/>
              <a:r>
                <a:rPr lang="en-GB" sz="1600" dirty="0"/>
                <a:t>Build PoC App for 10 users and 1 approver. </a:t>
              </a:r>
            </a:p>
            <a:p>
              <a:pPr algn="ctr"/>
              <a:r>
                <a:rPr lang="en-GB" sz="1600" dirty="0"/>
                <a:t>1 Data Model/Dashboard</a:t>
              </a:r>
              <a:endParaRPr lang="en-GB" sz="1600" noProof="0" dirty="0">
                <a:ea typeface="Calibri"/>
                <a:cs typeface="Calibri"/>
              </a:endParaRPr>
            </a:p>
            <a:p>
              <a:pPr algn="ctr" latinLnBrk="1"/>
              <a:endParaRPr lang="en-GB" sz="1600" dirty="0">
                <a:latin typeface="Quattrocento Sans" panose="020B0502050000020003" pitchFamily="34" charset="0"/>
                <a:cs typeface="Arial" pitchFamily="34" charset="0"/>
              </a:endParaRPr>
            </a:p>
            <a:p>
              <a:pPr algn="ctr" latinLnBrk="1"/>
              <a:r>
                <a:rPr lang="en-GB" sz="1600" b="1" i="1" noProof="0" dirty="0">
                  <a:latin typeface="Quattrocento Sans"/>
                  <a:cs typeface="Arial"/>
                </a:rPr>
                <a:t>7 </a:t>
              </a:r>
              <a:r>
                <a:rPr lang="en-GB" sz="1600" b="1" i="1" dirty="0">
                  <a:latin typeface="Quattrocento Sans"/>
                  <a:cs typeface="Arial"/>
                </a:rPr>
                <a:t>- 9 </a:t>
              </a:r>
              <a:r>
                <a:rPr lang="en-GB" sz="1600" b="1" i="1" noProof="0" dirty="0">
                  <a:latin typeface="Quattrocento Sans"/>
                  <a:cs typeface="Arial"/>
                </a:rPr>
                <a:t>Weeks</a:t>
              </a:r>
            </a:p>
          </p:txBody>
        </p:sp>
        <p:sp>
          <p:nvSpPr>
            <p:cNvPr id="26" name="TextBox 29">
              <a:extLst>
                <a:ext uri="{FF2B5EF4-FFF2-40B4-BE49-F238E27FC236}">
                  <a16:creationId xmlns:a16="http://schemas.microsoft.com/office/drawing/2014/main" id="{98E39E1E-8985-6647-3964-E18FFA3AFF13}"/>
                </a:ext>
              </a:extLst>
            </p:cNvPr>
            <p:cNvSpPr txBox="1"/>
            <p:nvPr/>
          </p:nvSpPr>
          <p:spPr>
            <a:xfrm>
              <a:off x="654272" y="3300210"/>
              <a:ext cx="2255547" cy="283515"/>
            </a:xfrm>
            <a:prstGeom prst="rect">
              <a:avLst/>
            </a:prstGeom>
            <a:noFill/>
          </p:spPr>
          <p:txBody>
            <a:bodyPr wrap="square" rtlCol="0">
              <a:spAutoFit/>
            </a:bodyPr>
            <a:lstStyle/>
            <a:p>
              <a:pPr algn="ctr" latinLnBrk="1"/>
              <a:r>
                <a:rPr lang="en-GB" sz="2400" b="1" noProof="0">
                  <a:latin typeface="Quattrocento Sans" panose="020B0502050000020003" pitchFamily="34" charset="0"/>
                  <a:cs typeface="Arial" pitchFamily="34" charset="0"/>
                </a:rPr>
                <a:t>1. App</a:t>
              </a:r>
            </a:p>
          </p:txBody>
        </p:sp>
      </p:grpSp>
    </p:spTree>
    <p:extLst>
      <p:ext uri="{BB962C8B-B14F-4D97-AF65-F5344CB8AC3E}">
        <p14:creationId xmlns:p14="http://schemas.microsoft.com/office/powerpoint/2010/main" val="3920024040"/>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8955F7-464F-4181-D1B9-7851118D0BB4}"/>
            </a:ext>
          </a:extLst>
        </p:cNvPr>
        <p:cNvGrpSpPr/>
        <p:nvPr/>
      </p:nvGrpSpPr>
      <p:grpSpPr>
        <a:xfrm>
          <a:off x="0" y="0"/>
          <a:ext cx="0" cy="0"/>
          <a:chOff x="0" y="0"/>
          <a:chExt cx="0" cy="0"/>
        </a:xfrm>
      </p:grpSpPr>
      <p:sp>
        <p:nvSpPr>
          <p:cNvPr id="2" name="Rectangle 57">
            <a:extLst>
              <a:ext uri="{FF2B5EF4-FFF2-40B4-BE49-F238E27FC236}">
                <a16:creationId xmlns:a16="http://schemas.microsoft.com/office/drawing/2014/main" id="{EBF1E27F-D595-EE9E-B3EE-5C3FA4C88830}"/>
              </a:ext>
            </a:extLst>
          </p:cNvPr>
          <p:cNvSpPr>
            <a:spLocks noChangeArrowheads="1"/>
          </p:cNvSpPr>
          <p:nvPr/>
        </p:nvSpPr>
        <p:spPr bwMode="gray">
          <a:xfrm>
            <a:off x="226220" y="198916"/>
            <a:ext cx="7407741" cy="984830"/>
          </a:xfrm>
          <a:prstGeom prst="rect">
            <a:avLst/>
          </a:prstGeom>
          <a:noFill/>
          <a:ln w="9525">
            <a:noFill/>
            <a:miter lim="800000"/>
            <a:headEnd/>
            <a:tailEnd/>
          </a:ln>
          <a:effectLst/>
        </p:spPr>
        <p:txBody>
          <a:bodyPr wrap="square" lIns="91386" tIns="45693" rIns="91386" bIns="45693">
            <a:spAutoFit/>
          </a:bodyPr>
          <a:lstStyle/>
          <a:p>
            <a:pPr defTabSz="609630"/>
            <a:r>
              <a:rPr lang="en-GB" sz="4000" b="1" kern="0" noProof="0">
                <a:solidFill>
                  <a:srgbClr val="000000">
                    <a:lumMod val="95000"/>
                    <a:lumOff val="5000"/>
                  </a:srgbClr>
                </a:solidFill>
                <a:latin typeface="Quattrocento Sans" panose="020B0502050000020003" pitchFamily="34" charset="0"/>
                <a:ea typeface="Lato"/>
                <a:cs typeface="Lato"/>
                <a:sym typeface="Calibri"/>
              </a:rPr>
              <a:t>Advisory</a:t>
            </a:r>
          </a:p>
          <a:p>
            <a:pPr defTabSz="609630" hangingPunct="0"/>
            <a:r>
              <a:rPr lang="en-GB" kern="0" noProof="0">
                <a:solidFill>
                  <a:srgbClr val="8A0051"/>
                </a:solidFill>
                <a:latin typeface="Quattrocento Sans" panose="020B0502050000020003" pitchFamily="34" charset="0"/>
                <a:cs typeface="Calibri"/>
                <a:sym typeface="Calibri"/>
              </a:rPr>
              <a:t>Best Practices Datasphere</a:t>
            </a:r>
          </a:p>
        </p:txBody>
      </p:sp>
      <p:pic>
        <p:nvPicPr>
          <p:cNvPr id="11" name="Imagen 10" descr="Logotipo&#10;&#10;Descripción generada automáticamente">
            <a:extLst>
              <a:ext uri="{FF2B5EF4-FFF2-40B4-BE49-F238E27FC236}">
                <a16:creationId xmlns:a16="http://schemas.microsoft.com/office/drawing/2014/main" id="{C09A5A84-355E-1798-D761-2C651AE307B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675643" y="422965"/>
            <a:ext cx="1935381" cy="446626"/>
          </a:xfrm>
          <a:prstGeom prst="rect">
            <a:avLst/>
          </a:prstGeom>
        </p:spPr>
      </p:pic>
      <p:sp>
        <p:nvSpPr>
          <p:cNvPr id="20" name="Rectángulo 19">
            <a:extLst>
              <a:ext uri="{FF2B5EF4-FFF2-40B4-BE49-F238E27FC236}">
                <a16:creationId xmlns:a16="http://schemas.microsoft.com/office/drawing/2014/main" id="{DC4B03B6-679E-B439-674A-DDA4BD6DC953}"/>
              </a:ext>
            </a:extLst>
          </p:cNvPr>
          <p:cNvSpPr/>
          <p:nvPr/>
        </p:nvSpPr>
        <p:spPr bwMode="auto">
          <a:xfrm>
            <a:off x="8549686" y="2109678"/>
            <a:ext cx="2880000" cy="282272"/>
          </a:xfrm>
          <a:prstGeom prst="rect">
            <a:avLst/>
          </a:prstGeom>
          <a:solidFill>
            <a:schemeClr val="bg1">
              <a:lumMod val="50000"/>
            </a:schemeClr>
          </a:solidFill>
          <a:ln>
            <a:noFill/>
          </a:ln>
        </p:spPr>
        <p:txBody>
          <a:bodyPr lIns="0" tIns="0" rIns="0" bIns="0" rtlCol="0" anchor="ctr"/>
          <a:lstStyle/>
          <a:p>
            <a:pPr algn="ctr"/>
            <a:endParaRPr lang="en-GB" noProof="0">
              <a:latin typeface="Quattrocento Sans" panose="020B0502050000020003" pitchFamily="34" charset="0"/>
            </a:endParaRPr>
          </a:p>
        </p:txBody>
      </p:sp>
      <p:sp>
        <p:nvSpPr>
          <p:cNvPr id="21" name="Rectángulo 20">
            <a:extLst>
              <a:ext uri="{FF2B5EF4-FFF2-40B4-BE49-F238E27FC236}">
                <a16:creationId xmlns:a16="http://schemas.microsoft.com/office/drawing/2014/main" id="{CA6BC849-21FF-475B-85C6-4B5FB57B45B9}"/>
              </a:ext>
            </a:extLst>
          </p:cNvPr>
          <p:cNvSpPr/>
          <p:nvPr/>
        </p:nvSpPr>
        <p:spPr bwMode="auto">
          <a:xfrm>
            <a:off x="571324" y="4455907"/>
            <a:ext cx="2916000" cy="282272"/>
          </a:xfrm>
          <a:prstGeom prst="rect">
            <a:avLst/>
          </a:prstGeom>
          <a:solidFill>
            <a:schemeClr val="bg1">
              <a:lumMod val="50000"/>
            </a:schemeClr>
          </a:solidFill>
          <a:ln>
            <a:noFill/>
          </a:ln>
        </p:spPr>
        <p:txBody>
          <a:bodyPr lIns="0" tIns="0" rIns="0" bIns="0" rtlCol="0" anchor="ctr"/>
          <a:lstStyle/>
          <a:p>
            <a:pPr algn="ctr"/>
            <a:endParaRPr lang="en-GB" noProof="0">
              <a:latin typeface="Quattrocento Sans" panose="020B0502050000020003" pitchFamily="34" charset="0"/>
            </a:endParaRPr>
          </a:p>
        </p:txBody>
      </p:sp>
      <p:sp>
        <p:nvSpPr>
          <p:cNvPr id="22" name="Rectangle 33">
            <a:extLst>
              <a:ext uri="{FF2B5EF4-FFF2-40B4-BE49-F238E27FC236}">
                <a16:creationId xmlns:a16="http://schemas.microsoft.com/office/drawing/2014/main" id="{60B20C93-093C-48D0-D491-EC62F1C0A88B}"/>
              </a:ext>
            </a:extLst>
          </p:cNvPr>
          <p:cNvSpPr/>
          <p:nvPr>
            <p:custDataLst>
              <p:tags r:id="rId1"/>
            </p:custDataLst>
          </p:nvPr>
        </p:nvSpPr>
        <p:spPr>
          <a:xfrm>
            <a:off x="567034" y="4427904"/>
            <a:ext cx="2916000" cy="1541440"/>
          </a:xfrm>
          <a:prstGeom prst="rect">
            <a:avLst/>
          </a:prstGeom>
        </p:spPr>
        <p:txBody>
          <a:bodyPr wrap="square" lIns="91432" tIns="45716" rIns="91432" bIns="45716">
            <a:spAutoFit/>
          </a:bodyPr>
          <a:lstStyle/>
          <a:p>
            <a:pPr defTabSz="914422">
              <a:lnSpc>
                <a:spcPts val="2000"/>
              </a:lnSpc>
            </a:pPr>
            <a:r>
              <a:rPr lang="en-GB" sz="1600" b="1" noProof="0">
                <a:solidFill>
                  <a:schemeClr val="bg1"/>
                </a:solidFill>
                <a:latin typeface="Quattrocento Sans" panose="020B0502050000020003" pitchFamily="34" charset="0"/>
              </a:rPr>
              <a:t>Developments Review</a:t>
            </a:r>
          </a:p>
          <a:p>
            <a:pPr>
              <a:spcBef>
                <a:spcPts val="600"/>
              </a:spcBef>
            </a:pPr>
            <a:r>
              <a:rPr lang="en-GB" sz="1100" b="1" noProof="0">
                <a:latin typeface="Quattrocento Sans" panose="020B0502050000020003" pitchFamily="34" charset="0"/>
              </a:rPr>
              <a:t>Why and What: </a:t>
            </a:r>
          </a:p>
          <a:p>
            <a:pPr marL="171450" indent="-171450">
              <a:spcBef>
                <a:spcPts val="300"/>
              </a:spcBef>
              <a:spcAft>
                <a:spcPts val="600"/>
              </a:spcAft>
              <a:buFont typeface="Arial" panose="020B0604020202020204" pitchFamily="34" charset="0"/>
              <a:buChar char="•"/>
            </a:pPr>
            <a:r>
              <a:rPr lang="en-GB" sz="1100" noProof="0">
                <a:latin typeface="Quattrocento Sans" panose="020B0502050000020003" pitchFamily="34" charset="0"/>
              </a:rPr>
              <a:t>Ensures correct use of spaces and object structures.</a:t>
            </a:r>
          </a:p>
          <a:p>
            <a:pPr marL="171450" indent="-171450">
              <a:spcBef>
                <a:spcPts val="300"/>
              </a:spcBef>
              <a:spcAft>
                <a:spcPts val="600"/>
              </a:spcAft>
              <a:buFont typeface="Arial" panose="020B0604020202020204" pitchFamily="34" charset="0"/>
              <a:buChar char="•"/>
            </a:pPr>
            <a:r>
              <a:rPr lang="en-GB" sz="1100" noProof="0">
                <a:latin typeface="Quattrocento Sans" panose="020B0502050000020003" pitchFamily="34" charset="0"/>
              </a:rPr>
              <a:t>Queries, models, dataflows.</a:t>
            </a:r>
          </a:p>
          <a:p>
            <a:pPr marL="171450" indent="-171450">
              <a:spcBef>
                <a:spcPts val="300"/>
              </a:spcBef>
              <a:spcAft>
                <a:spcPts val="600"/>
              </a:spcAft>
              <a:buFont typeface="Arial" panose="020B0604020202020204" pitchFamily="34" charset="0"/>
              <a:buChar char="•"/>
            </a:pPr>
            <a:r>
              <a:rPr lang="en-GB" sz="1100" noProof="0">
                <a:latin typeface="Quattrocento Sans" panose="020B0502050000020003" pitchFamily="34" charset="0"/>
              </a:rPr>
              <a:t>Use of spaces and consistency checks.</a:t>
            </a:r>
          </a:p>
        </p:txBody>
      </p:sp>
      <p:sp>
        <p:nvSpPr>
          <p:cNvPr id="23" name="Rectangle 33">
            <a:extLst>
              <a:ext uri="{FF2B5EF4-FFF2-40B4-BE49-F238E27FC236}">
                <a16:creationId xmlns:a16="http://schemas.microsoft.com/office/drawing/2014/main" id="{940DF375-DA9E-B7A7-AEC0-6386A42B232C}"/>
              </a:ext>
            </a:extLst>
          </p:cNvPr>
          <p:cNvSpPr/>
          <p:nvPr>
            <p:custDataLst>
              <p:tags r:id="rId2"/>
            </p:custDataLst>
          </p:nvPr>
        </p:nvSpPr>
        <p:spPr>
          <a:xfrm>
            <a:off x="8549686" y="2098480"/>
            <a:ext cx="2879998" cy="1995410"/>
          </a:xfrm>
          <a:prstGeom prst="rect">
            <a:avLst/>
          </a:prstGeom>
        </p:spPr>
        <p:txBody>
          <a:bodyPr wrap="square" lIns="91432" tIns="45716" rIns="91432" bIns="45716">
            <a:spAutoFit/>
          </a:bodyPr>
          <a:lstStyle/>
          <a:p>
            <a:pPr defTabSz="914422">
              <a:lnSpc>
                <a:spcPts val="2000"/>
              </a:lnSpc>
            </a:pPr>
            <a:r>
              <a:rPr lang="en-GB" sz="1600" b="1" noProof="0">
                <a:solidFill>
                  <a:schemeClr val="bg1"/>
                </a:solidFill>
                <a:latin typeface="Quattrocento Sans" panose="020B0502050000020003" pitchFamily="34" charset="0"/>
              </a:rPr>
              <a:t>Best Practices &amp; Compliance</a:t>
            </a:r>
          </a:p>
          <a:p>
            <a:pPr>
              <a:spcBef>
                <a:spcPts val="600"/>
              </a:spcBef>
            </a:pPr>
            <a:r>
              <a:rPr lang="en-GB" sz="1100" b="1" noProof="0">
                <a:latin typeface="Quattrocento Sans" panose="020B0502050000020003" pitchFamily="34" charset="0"/>
              </a:rPr>
              <a:t>Why and What: </a:t>
            </a:r>
          </a:p>
          <a:p>
            <a:pPr marL="171450" indent="-171450">
              <a:spcBef>
                <a:spcPts val="300"/>
              </a:spcBef>
              <a:spcAft>
                <a:spcPts val="600"/>
              </a:spcAft>
              <a:buFont typeface="Arial" panose="020B0604020202020204" pitchFamily="34" charset="0"/>
              <a:buChar char="•"/>
            </a:pPr>
            <a:r>
              <a:rPr lang="en-GB" sz="1100" noProof="0">
                <a:latin typeface="Quattrocento Sans" panose="020B0502050000020003" pitchFamily="34" charset="0"/>
              </a:rPr>
              <a:t>Ensures developments meet standards and security.</a:t>
            </a:r>
          </a:p>
          <a:p>
            <a:pPr marL="171450" indent="-171450">
              <a:spcBef>
                <a:spcPts val="300"/>
              </a:spcBef>
              <a:spcAft>
                <a:spcPts val="600"/>
              </a:spcAft>
              <a:buFont typeface="Arial" panose="020B0604020202020204" pitchFamily="34" charset="0"/>
              <a:buChar char="•"/>
            </a:pPr>
            <a:r>
              <a:rPr lang="en-GB" sz="1100" noProof="0">
                <a:latin typeface="Quattrocento Sans" panose="020B0502050000020003" pitchFamily="34" charset="0"/>
              </a:rPr>
              <a:t>Roles &amp; authorizations.</a:t>
            </a:r>
          </a:p>
          <a:p>
            <a:pPr marL="171450" indent="-171450">
              <a:spcBef>
                <a:spcPts val="300"/>
              </a:spcBef>
              <a:spcAft>
                <a:spcPts val="600"/>
              </a:spcAft>
              <a:buFont typeface="Arial" panose="020B0604020202020204" pitchFamily="34" charset="0"/>
              <a:buChar char="•"/>
            </a:pPr>
            <a:r>
              <a:rPr lang="en-GB" sz="1100" noProof="0">
                <a:latin typeface="Quattrocento Sans" panose="020B0502050000020003" pitchFamily="34" charset="0"/>
              </a:rPr>
              <a:t>Technical names validation across the system.</a:t>
            </a:r>
          </a:p>
          <a:p>
            <a:pPr marL="171450" indent="-171450">
              <a:spcBef>
                <a:spcPts val="300"/>
              </a:spcBef>
              <a:spcAft>
                <a:spcPts val="600"/>
              </a:spcAft>
              <a:buFont typeface="Arial" panose="020B0604020202020204" pitchFamily="34" charset="0"/>
              <a:buChar char="•"/>
            </a:pPr>
            <a:r>
              <a:rPr lang="en-GB" sz="1100" noProof="0">
                <a:latin typeface="Quattrocento Sans" panose="020B0502050000020003" pitchFamily="34" charset="0"/>
              </a:rPr>
              <a:t>Versioning, security, governance.</a:t>
            </a:r>
          </a:p>
        </p:txBody>
      </p:sp>
      <p:sp>
        <p:nvSpPr>
          <p:cNvPr id="24" name="Rectángulo 23">
            <a:extLst>
              <a:ext uri="{FF2B5EF4-FFF2-40B4-BE49-F238E27FC236}">
                <a16:creationId xmlns:a16="http://schemas.microsoft.com/office/drawing/2014/main" id="{8A1CAC89-A07F-7002-5131-7B12AD653DAA}"/>
              </a:ext>
            </a:extLst>
          </p:cNvPr>
          <p:cNvSpPr/>
          <p:nvPr/>
        </p:nvSpPr>
        <p:spPr bwMode="auto">
          <a:xfrm>
            <a:off x="4591091" y="3382716"/>
            <a:ext cx="2879993" cy="282272"/>
          </a:xfrm>
          <a:prstGeom prst="rect">
            <a:avLst/>
          </a:prstGeom>
          <a:solidFill>
            <a:schemeClr val="tx1"/>
          </a:solidFill>
          <a:ln>
            <a:noFill/>
          </a:ln>
        </p:spPr>
        <p:txBody>
          <a:bodyPr lIns="0" tIns="0" rIns="0" bIns="0" rtlCol="0" anchor="ctr"/>
          <a:lstStyle/>
          <a:p>
            <a:pPr algn="ctr"/>
            <a:endParaRPr lang="en-GB" noProof="0">
              <a:solidFill>
                <a:schemeClr val="bg1"/>
              </a:solidFill>
              <a:latin typeface="Quattrocento Sans" panose="020B0502050000020003" pitchFamily="34" charset="0"/>
            </a:endParaRPr>
          </a:p>
        </p:txBody>
      </p:sp>
      <p:sp>
        <p:nvSpPr>
          <p:cNvPr id="25" name="Rectangle 33">
            <a:extLst>
              <a:ext uri="{FF2B5EF4-FFF2-40B4-BE49-F238E27FC236}">
                <a16:creationId xmlns:a16="http://schemas.microsoft.com/office/drawing/2014/main" id="{E3D69AB0-353F-2677-97D1-B9B9151209F3}"/>
              </a:ext>
            </a:extLst>
          </p:cNvPr>
          <p:cNvSpPr/>
          <p:nvPr>
            <p:custDataLst>
              <p:tags r:id="rId3"/>
            </p:custDataLst>
          </p:nvPr>
        </p:nvSpPr>
        <p:spPr>
          <a:xfrm>
            <a:off x="4591091" y="3382716"/>
            <a:ext cx="2879993" cy="1614473"/>
          </a:xfrm>
          <a:prstGeom prst="rect">
            <a:avLst/>
          </a:prstGeom>
        </p:spPr>
        <p:txBody>
          <a:bodyPr wrap="square" lIns="91432" tIns="45716" rIns="91432" bIns="45716">
            <a:spAutoFit/>
          </a:bodyPr>
          <a:lstStyle/>
          <a:p>
            <a:pPr algn="ctr" defTabSz="914422">
              <a:lnSpc>
                <a:spcPts val="2000"/>
              </a:lnSpc>
            </a:pPr>
            <a:r>
              <a:rPr lang="en-GB" sz="1600" b="1" noProof="0">
                <a:solidFill>
                  <a:schemeClr val="bg1"/>
                </a:solidFill>
                <a:latin typeface="Quattrocento Sans" panose="020B0502050000020003" pitchFamily="34" charset="0"/>
              </a:rPr>
              <a:t>SAP Datasphere Advisory</a:t>
            </a:r>
          </a:p>
          <a:p>
            <a:pPr algn="ctr" defTabSz="914422">
              <a:lnSpc>
                <a:spcPts val="2000"/>
              </a:lnSpc>
            </a:pPr>
            <a:endParaRPr lang="en-GB" sz="1600" b="1" noProof="0">
              <a:solidFill>
                <a:schemeClr val="bg1"/>
              </a:solidFill>
              <a:latin typeface="Quattrocento Sans" panose="020B0502050000020003" pitchFamily="34" charset="0"/>
            </a:endParaRPr>
          </a:p>
          <a:p>
            <a:pPr algn="ctr" defTabSz="914422">
              <a:lnSpc>
                <a:spcPts val="2000"/>
              </a:lnSpc>
            </a:pPr>
            <a:r>
              <a:rPr lang="en-GB" sz="1400" b="1" noProof="0">
                <a:latin typeface="Quattrocento Sans" panose="020B0502050000020003" pitchFamily="34" charset="0"/>
              </a:rPr>
              <a:t>Ensuring quality, compliance, risks and best practices in all developments (completed and ongoing).</a:t>
            </a:r>
          </a:p>
        </p:txBody>
      </p:sp>
      <p:sp>
        <p:nvSpPr>
          <p:cNvPr id="26" name="Rectángulo 25">
            <a:extLst>
              <a:ext uri="{FF2B5EF4-FFF2-40B4-BE49-F238E27FC236}">
                <a16:creationId xmlns:a16="http://schemas.microsoft.com/office/drawing/2014/main" id="{43232863-67CC-068F-9CAD-AD2E910DDA26}"/>
              </a:ext>
            </a:extLst>
          </p:cNvPr>
          <p:cNvSpPr/>
          <p:nvPr/>
        </p:nvSpPr>
        <p:spPr bwMode="auto">
          <a:xfrm>
            <a:off x="8549686" y="4463535"/>
            <a:ext cx="2880000" cy="282272"/>
          </a:xfrm>
          <a:prstGeom prst="rect">
            <a:avLst/>
          </a:prstGeom>
          <a:solidFill>
            <a:schemeClr val="bg1">
              <a:lumMod val="50000"/>
            </a:schemeClr>
          </a:solidFill>
          <a:ln>
            <a:noFill/>
          </a:ln>
        </p:spPr>
        <p:txBody>
          <a:bodyPr lIns="0" tIns="0" rIns="0" bIns="0" rtlCol="0" anchor="ctr"/>
          <a:lstStyle/>
          <a:p>
            <a:pPr algn="ctr"/>
            <a:endParaRPr lang="en-GB" noProof="0">
              <a:latin typeface="Quattrocento Sans" panose="020B0502050000020003" pitchFamily="34" charset="0"/>
            </a:endParaRPr>
          </a:p>
        </p:txBody>
      </p:sp>
      <p:sp>
        <p:nvSpPr>
          <p:cNvPr id="27" name="Rectangle 33">
            <a:extLst>
              <a:ext uri="{FF2B5EF4-FFF2-40B4-BE49-F238E27FC236}">
                <a16:creationId xmlns:a16="http://schemas.microsoft.com/office/drawing/2014/main" id="{A216E6C6-6386-B0F2-7452-59D2733AA483}"/>
              </a:ext>
            </a:extLst>
          </p:cNvPr>
          <p:cNvSpPr/>
          <p:nvPr>
            <p:custDataLst>
              <p:tags r:id="rId4"/>
            </p:custDataLst>
          </p:nvPr>
        </p:nvSpPr>
        <p:spPr>
          <a:xfrm>
            <a:off x="8513681" y="4429366"/>
            <a:ext cx="2814457" cy="2005669"/>
          </a:xfrm>
          <a:prstGeom prst="rect">
            <a:avLst/>
          </a:prstGeom>
        </p:spPr>
        <p:txBody>
          <a:bodyPr wrap="square" lIns="91432" tIns="45716" rIns="91432" bIns="45716">
            <a:spAutoFit/>
          </a:bodyPr>
          <a:lstStyle/>
          <a:p>
            <a:pPr defTabSz="914422">
              <a:lnSpc>
                <a:spcPts val="2000"/>
              </a:lnSpc>
            </a:pPr>
            <a:r>
              <a:rPr lang="en-GB" sz="1600" b="1" noProof="0">
                <a:solidFill>
                  <a:schemeClr val="bg1"/>
                </a:solidFill>
                <a:latin typeface="Quattrocento Sans" panose="020B0502050000020003" pitchFamily="34" charset="0"/>
              </a:rPr>
              <a:t>Architecture Review</a:t>
            </a:r>
          </a:p>
          <a:p>
            <a:pPr defTabSz="914422">
              <a:lnSpc>
                <a:spcPts val="2000"/>
              </a:lnSpc>
            </a:pPr>
            <a:r>
              <a:rPr lang="en-GB" sz="1100" b="1" noProof="0">
                <a:latin typeface="Quattrocento Sans" panose="020B0502050000020003" pitchFamily="34" charset="0"/>
              </a:rPr>
              <a:t>Why and What: </a:t>
            </a:r>
          </a:p>
          <a:p>
            <a:pPr marL="171450" indent="-171450">
              <a:spcBef>
                <a:spcPts val="300"/>
              </a:spcBef>
              <a:spcAft>
                <a:spcPts val="600"/>
              </a:spcAft>
              <a:buFont typeface="Arial" panose="020B0604020202020204" pitchFamily="34" charset="0"/>
              <a:buChar char="•"/>
            </a:pPr>
            <a:r>
              <a:rPr lang="en-GB" sz="1100" noProof="0">
                <a:latin typeface="Quattrocento Sans" panose="020B0502050000020003" pitchFamily="34" charset="0"/>
              </a:rPr>
              <a:t>Ensures a clear definition of architecture and responsibilities.</a:t>
            </a:r>
          </a:p>
          <a:p>
            <a:pPr marL="171450" indent="-171450">
              <a:spcBef>
                <a:spcPts val="300"/>
              </a:spcBef>
              <a:spcAft>
                <a:spcPts val="600"/>
              </a:spcAft>
              <a:buFont typeface="Arial" panose="020B0604020202020204" pitchFamily="34" charset="0"/>
              <a:buChar char="•"/>
            </a:pPr>
            <a:r>
              <a:rPr lang="en-GB" sz="1100" noProof="0">
                <a:latin typeface="Quattrocento Sans" panose="020B0502050000020003" pitchFamily="34" charset="0"/>
              </a:rPr>
              <a:t>Guarantees that developments are done in the right place (where they belong).</a:t>
            </a:r>
          </a:p>
          <a:p>
            <a:pPr marL="171450" indent="-171450">
              <a:spcBef>
                <a:spcPts val="300"/>
              </a:spcBef>
              <a:spcAft>
                <a:spcPts val="600"/>
              </a:spcAft>
              <a:buFont typeface="Arial" panose="020B0604020202020204" pitchFamily="34" charset="0"/>
              <a:buChar char="•"/>
            </a:pPr>
            <a:r>
              <a:rPr lang="en-GB" sz="1100" noProof="0">
                <a:latin typeface="Quattrocento Sans" panose="020B0502050000020003" pitchFamily="34" charset="0"/>
              </a:rPr>
              <a:t>Clear guidelines on “where to do what”</a:t>
            </a:r>
          </a:p>
          <a:p>
            <a:pPr marL="171450" indent="-171450">
              <a:spcBef>
                <a:spcPts val="300"/>
              </a:spcBef>
              <a:spcAft>
                <a:spcPts val="600"/>
              </a:spcAft>
              <a:buFont typeface="Arial" panose="020B0604020202020204" pitchFamily="34" charset="0"/>
              <a:buChar char="•"/>
            </a:pPr>
            <a:r>
              <a:rPr lang="en-GB" sz="1100" noProof="0">
                <a:latin typeface="Quattrocento Sans" panose="020B0502050000020003" pitchFamily="34" charset="0"/>
              </a:rPr>
              <a:t>Compliance with best practices</a:t>
            </a:r>
          </a:p>
        </p:txBody>
      </p:sp>
      <p:sp>
        <p:nvSpPr>
          <p:cNvPr id="30" name="Rectángulo 29">
            <a:extLst>
              <a:ext uri="{FF2B5EF4-FFF2-40B4-BE49-F238E27FC236}">
                <a16:creationId xmlns:a16="http://schemas.microsoft.com/office/drawing/2014/main" id="{93E952BD-C714-FC69-A5A1-A4B0EEEA49F0}"/>
              </a:ext>
            </a:extLst>
          </p:cNvPr>
          <p:cNvSpPr/>
          <p:nvPr/>
        </p:nvSpPr>
        <p:spPr bwMode="auto">
          <a:xfrm>
            <a:off x="571324" y="2109678"/>
            <a:ext cx="2880000" cy="282272"/>
          </a:xfrm>
          <a:prstGeom prst="rect">
            <a:avLst/>
          </a:prstGeom>
          <a:solidFill>
            <a:schemeClr val="bg1">
              <a:lumMod val="50000"/>
            </a:schemeClr>
          </a:solidFill>
          <a:ln>
            <a:noFill/>
          </a:ln>
        </p:spPr>
        <p:txBody>
          <a:bodyPr lIns="0" tIns="0" rIns="0" bIns="0" rtlCol="0" anchor="ctr"/>
          <a:lstStyle/>
          <a:p>
            <a:pPr algn="ctr"/>
            <a:endParaRPr lang="en-GB" noProof="0">
              <a:latin typeface="Quattrocento Sans" panose="020B0502050000020003" pitchFamily="34" charset="0"/>
            </a:endParaRPr>
          </a:p>
        </p:txBody>
      </p:sp>
      <p:sp>
        <p:nvSpPr>
          <p:cNvPr id="31" name="Rectangle 33">
            <a:extLst>
              <a:ext uri="{FF2B5EF4-FFF2-40B4-BE49-F238E27FC236}">
                <a16:creationId xmlns:a16="http://schemas.microsoft.com/office/drawing/2014/main" id="{E1477CE6-6D5D-2476-1A39-2DB518807C0D}"/>
              </a:ext>
            </a:extLst>
          </p:cNvPr>
          <p:cNvSpPr/>
          <p:nvPr>
            <p:custDataLst>
              <p:tags r:id="rId5"/>
            </p:custDataLst>
          </p:nvPr>
        </p:nvSpPr>
        <p:spPr>
          <a:xfrm>
            <a:off x="542749" y="2081675"/>
            <a:ext cx="2904283" cy="1995410"/>
          </a:xfrm>
          <a:prstGeom prst="rect">
            <a:avLst/>
          </a:prstGeom>
        </p:spPr>
        <p:txBody>
          <a:bodyPr wrap="square" lIns="91432" tIns="45716" rIns="91432" bIns="45716">
            <a:spAutoFit/>
          </a:bodyPr>
          <a:lstStyle/>
          <a:p>
            <a:pPr defTabSz="914422">
              <a:lnSpc>
                <a:spcPts val="2000"/>
              </a:lnSpc>
            </a:pPr>
            <a:r>
              <a:rPr lang="en-GB" sz="1600" b="1" noProof="0">
                <a:solidFill>
                  <a:schemeClr val="bg1"/>
                </a:solidFill>
                <a:latin typeface="Quattrocento Sans" panose="020B0502050000020003" pitchFamily="34" charset="0"/>
              </a:rPr>
              <a:t>Documentation Review</a:t>
            </a:r>
          </a:p>
          <a:p>
            <a:pPr>
              <a:spcBef>
                <a:spcPts val="600"/>
              </a:spcBef>
            </a:pPr>
            <a:r>
              <a:rPr lang="en-GB" sz="1100" b="1" noProof="0">
                <a:latin typeface="Quattrocento Sans" panose="020B0502050000020003" pitchFamily="34" charset="0"/>
              </a:rPr>
              <a:t>Why and What: </a:t>
            </a:r>
          </a:p>
          <a:p>
            <a:pPr marL="171450" indent="-171450">
              <a:spcBef>
                <a:spcPts val="300"/>
              </a:spcBef>
              <a:spcAft>
                <a:spcPts val="600"/>
              </a:spcAft>
              <a:buFont typeface="Arial" panose="020B0604020202020204" pitchFamily="34" charset="0"/>
              <a:buChar char="•"/>
            </a:pPr>
            <a:r>
              <a:rPr lang="en-GB" sz="1100" noProof="0">
                <a:latin typeface="Quattrocento Sans" panose="020B0502050000020003" pitchFamily="34" charset="0"/>
              </a:rPr>
              <a:t>Guarantees quality and alignment with actual developments.</a:t>
            </a:r>
          </a:p>
          <a:p>
            <a:pPr marL="171450" indent="-171450">
              <a:spcBef>
                <a:spcPts val="300"/>
              </a:spcBef>
              <a:spcAft>
                <a:spcPts val="600"/>
              </a:spcAft>
              <a:buFont typeface="Arial" panose="020B0604020202020204" pitchFamily="34" charset="0"/>
              <a:buChar char="•"/>
            </a:pPr>
            <a:r>
              <a:rPr lang="en-GB" sz="1100" noProof="0">
                <a:latin typeface="Quattrocento Sans" panose="020B0502050000020003" pitchFamily="34" charset="0"/>
              </a:rPr>
              <a:t>Functional &amp; technical designs.</a:t>
            </a:r>
          </a:p>
          <a:p>
            <a:pPr marL="171450" indent="-171450">
              <a:spcBef>
                <a:spcPts val="300"/>
              </a:spcBef>
              <a:spcAft>
                <a:spcPts val="600"/>
              </a:spcAft>
              <a:buFont typeface="Arial" panose="020B0604020202020204" pitchFamily="34" charset="0"/>
              <a:buChar char="•"/>
            </a:pPr>
            <a:r>
              <a:rPr lang="en-GB" sz="1100" noProof="0">
                <a:latin typeface="Quattrocento Sans" panose="020B0502050000020003" pitchFamily="34" charset="0"/>
              </a:rPr>
              <a:t>Test documents and KPIs.</a:t>
            </a:r>
          </a:p>
          <a:p>
            <a:pPr marL="171450" indent="-171450">
              <a:spcBef>
                <a:spcPts val="300"/>
              </a:spcBef>
              <a:spcAft>
                <a:spcPts val="600"/>
              </a:spcAft>
              <a:buFont typeface="Arial" panose="020B0604020202020204" pitchFamily="34" charset="0"/>
              <a:buChar char="•"/>
            </a:pPr>
            <a:r>
              <a:rPr lang="en-GB" sz="1100" noProof="0">
                <a:latin typeface="Quattrocento Sans" panose="020B0502050000020003" pitchFamily="34" charset="0"/>
              </a:rPr>
              <a:t>Reconciliation guides, GAPS, lessons learned.</a:t>
            </a:r>
          </a:p>
        </p:txBody>
      </p:sp>
      <p:sp>
        <p:nvSpPr>
          <p:cNvPr id="32" name="Rectángulo 31">
            <a:extLst>
              <a:ext uri="{FF2B5EF4-FFF2-40B4-BE49-F238E27FC236}">
                <a16:creationId xmlns:a16="http://schemas.microsoft.com/office/drawing/2014/main" id="{7FAD3FAC-6AE2-2490-45B9-F3ED3A228F9B}"/>
              </a:ext>
            </a:extLst>
          </p:cNvPr>
          <p:cNvSpPr/>
          <p:nvPr/>
        </p:nvSpPr>
        <p:spPr>
          <a:xfrm>
            <a:off x="4413665" y="2817746"/>
            <a:ext cx="3305175" cy="2518677"/>
          </a:xfrm>
          <a:prstGeom prst="rect">
            <a:avLst/>
          </a:prstGeom>
          <a:noFill/>
          <a:ln w="38100" cap="flat" cmpd="sng" algn="ctr">
            <a:solidFill>
              <a:srgbClr val="8A005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noProof="0">
              <a:latin typeface="Quattrocento Sans" panose="020B0502050000020003" pitchFamily="34" charset="0"/>
            </a:endParaRPr>
          </a:p>
        </p:txBody>
      </p:sp>
      <p:cxnSp>
        <p:nvCxnSpPr>
          <p:cNvPr id="33" name="Conector recto de flecha 32">
            <a:extLst>
              <a:ext uri="{FF2B5EF4-FFF2-40B4-BE49-F238E27FC236}">
                <a16:creationId xmlns:a16="http://schemas.microsoft.com/office/drawing/2014/main" id="{6D789A36-5676-3601-9F99-1D3565DC0119}"/>
              </a:ext>
            </a:extLst>
          </p:cNvPr>
          <p:cNvCxnSpPr>
            <a:cxnSpLocks/>
          </p:cNvCxnSpPr>
          <p:nvPr/>
        </p:nvCxnSpPr>
        <p:spPr>
          <a:xfrm>
            <a:off x="3543961" y="2251344"/>
            <a:ext cx="762000" cy="566402"/>
          </a:xfrm>
          <a:prstGeom prst="straightConnector1">
            <a:avLst/>
          </a:prstGeom>
          <a:ln>
            <a:solidFill>
              <a:srgbClr val="8A0051"/>
            </a:solidFill>
            <a:headEnd type="triangle"/>
            <a:tailEnd type="triangle"/>
          </a:ln>
        </p:spPr>
        <p:style>
          <a:lnRef idx="1">
            <a:schemeClr val="accent2"/>
          </a:lnRef>
          <a:fillRef idx="0">
            <a:schemeClr val="accent2"/>
          </a:fillRef>
          <a:effectRef idx="0">
            <a:schemeClr val="accent2"/>
          </a:effectRef>
          <a:fontRef idx="minor">
            <a:schemeClr val="tx1"/>
          </a:fontRef>
        </p:style>
      </p:cxnSp>
      <p:cxnSp>
        <p:nvCxnSpPr>
          <p:cNvPr id="34" name="Conector recto de flecha 33">
            <a:extLst>
              <a:ext uri="{FF2B5EF4-FFF2-40B4-BE49-F238E27FC236}">
                <a16:creationId xmlns:a16="http://schemas.microsoft.com/office/drawing/2014/main" id="{580725A2-6CFF-89CB-E3C0-23EF01B502F8}"/>
              </a:ext>
            </a:extLst>
          </p:cNvPr>
          <p:cNvCxnSpPr>
            <a:cxnSpLocks/>
          </p:cNvCxnSpPr>
          <p:nvPr/>
        </p:nvCxnSpPr>
        <p:spPr>
          <a:xfrm flipV="1">
            <a:off x="7718840" y="2232294"/>
            <a:ext cx="778121" cy="585452"/>
          </a:xfrm>
          <a:prstGeom prst="straightConnector1">
            <a:avLst/>
          </a:prstGeom>
          <a:ln>
            <a:solidFill>
              <a:srgbClr val="8A0051"/>
            </a:solidFill>
            <a:headEnd type="triangle"/>
            <a:tailEnd type="triangle"/>
          </a:ln>
        </p:spPr>
        <p:style>
          <a:lnRef idx="1">
            <a:schemeClr val="accent2"/>
          </a:lnRef>
          <a:fillRef idx="0">
            <a:schemeClr val="accent2"/>
          </a:fillRef>
          <a:effectRef idx="0">
            <a:schemeClr val="accent2"/>
          </a:effectRef>
          <a:fontRef idx="minor">
            <a:schemeClr val="tx1"/>
          </a:fontRef>
        </p:style>
      </p:cxnSp>
      <p:cxnSp>
        <p:nvCxnSpPr>
          <p:cNvPr id="36" name="Conector recto de flecha 35">
            <a:extLst>
              <a:ext uri="{FF2B5EF4-FFF2-40B4-BE49-F238E27FC236}">
                <a16:creationId xmlns:a16="http://schemas.microsoft.com/office/drawing/2014/main" id="{8ECC6A0F-14AB-CA9D-A6C3-FCBC207B77AB}"/>
              </a:ext>
            </a:extLst>
          </p:cNvPr>
          <p:cNvCxnSpPr>
            <a:cxnSpLocks/>
          </p:cNvCxnSpPr>
          <p:nvPr/>
        </p:nvCxnSpPr>
        <p:spPr>
          <a:xfrm flipH="1">
            <a:off x="3669392" y="4610656"/>
            <a:ext cx="636569" cy="0"/>
          </a:xfrm>
          <a:prstGeom prst="straightConnector1">
            <a:avLst/>
          </a:prstGeom>
          <a:ln>
            <a:solidFill>
              <a:srgbClr val="8A0051"/>
            </a:solidFill>
            <a:headEnd type="triangle"/>
            <a:tailEnd type="triangle"/>
          </a:ln>
        </p:spPr>
        <p:style>
          <a:lnRef idx="1">
            <a:schemeClr val="accent2"/>
          </a:lnRef>
          <a:fillRef idx="0">
            <a:schemeClr val="accent2"/>
          </a:fillRef>
          <a:effectRef idx="0">
            <a:schemeClr val="accent2"/>
          </a:effectRef>
          <a:fontRef idx="minor">
            <a:schemeClr val="tx1"/>
          </a:fontRef>
        </p:style>
      </p:cxnSp>
      <p:cxnSp>
        <p:nvCxnSpPr>
          <p:cNvPr id="37" name="Conector recto de flecha 36">
            <a:extLst>
              <a:ext uri="{FF2B5EF4-FFF2-40B4-BE49-F238E27FC236}">
                <a16:creationId xmlns:a16="http://schemas.microsoft.com/office/drawing/2014/main" id="{E66D2B17-679A-104F-C3CC-AF4CF1BA9282}"/>
              </a:ext>
            </a:extLst>
          </p:cNvPr>
          <p:cNvCxnSpPr>
            <a:cxnSpLocks/>
          </p:cNvCxnSpPr>
          <p:nvPr/>
        </p:nvCxnSpPr>
        <p:spPr>
          <a:xfrm>
            <a:off x="7844955" y="4610656"/>
            <a:ext cx="546592" cy="0"/>
          </a:xfrm>
          <a:prstGeom prst="straightConnector1">
            <a:avLst/>
          </a:prstGeom>
          <a:ln>
            <a:solidFill>
              <a:srgbClr val="8A0051"/>
            </a:solidFill>
            <a:headEnd type="triangle"/>
            <a:tailEnd type="triangle"/>
          </a:ln>
        </p:spPr>
        <p:style>
          <a:lnRef idx="1">
            <a:schemeClr val="accent2"/>
          </a:lnRef>
          <a:fillRef idx="0">
            <a:schemeClr val="accent2"/>
          </a:fillRef>
          <a:effectRef idx="0">
            <a:schemeClr val="accent2"/>
          </a:effectRef>
          <a:fontRef idx="minor">
            <a:schemeClr val="tx1"/>
          </a:fontRef>
        </p:style>
      </p:cxnSp>
      <p:sp>
        <p:nvSpPr>
          <p:cNvPr id="38" name="CuadroTexto 37">
            <a:extLst>
              <a:ext uri="{FF2B5EF4-FFF2-40B4-BE49-F238E27FC236}">
                <a16:creationId xmlns:a16="http://schemas.microsoft.com/office/drawing/2014/main" id="{ED0E16ED-BB9C-6148-1C47-32D6AAAE462A}"/>
              </a:ext>
            </a:extLst>
          </p:cNvPr>
          <p:cNvSpPr txBox="1"/>
          <p:nvPr/>
        </p:nvSpPr>
        <p:spPr>
          <a:xfrm>
            <a:off x="179184" y="1184753"/>
            <a:ext cx="10946766" cy="646331"/>
          </a:xfrm>
          <a:prstGeom prst="rect">
            <a:avLst/>
          </a:prstGeom>
          <a:noFill/>
        </p:spPr>
        <p:txBody>
          <a:bodyPr wrap="square">
            <a:spAutoFit/>
          </a:bodyPr>
          <a:lstStyle/>
          <a:p>
            <a:r>
              <a:rPr lang="en-GB" noProof="0">
                <a:latin typeface="Quattrocento Sans" panose="020B0502050000020003" pitchFamily="34" charset="0"/>
              </a:rPr>
              <a:t>A comprehensive review of SAP Datasphere developments and documentation to ensure alignment with best practices, standards, and project goals, covering both completed and ongoing workstreams:</a:t>
            </a:r>
          </a:p>
        </p:txBody>
      </p:sp>
      <p:pic>
        <p:nvPicPr>
          <p:cNvPr id="1026" name="Picture 2" descr="AstraZeneca Logo, symbol, meaning, history, PNG, brand">
            <a:extLst>
              <a:ext uri="{FF2B5EF4-FFF2-40B4-BE49-F238E27FC236}">
                <a16:creationId xmlns:a16="http://schemas.microsoft.com/office/drawing/2014/main" id="{3EEC39B1-EF9B-A344-E2D2-89F0A2A4999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075018" y="213658"/>
            <a:ext cx="1267373" cy="7128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4900243"/>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2D0E58-6720-85E0-5BFD-E6DCDFDE6A72}"/>
            </a:ext>
          </a:extLst>
        </p:cNvPr>
        <p:cNvGrpSpPr/>
        <p:nvPr/>
      </p:nvGrpSpPr>
      <p:grpSpPr>
        <a:xfrm>
          <a:off x="0" y="0"/>
          <a:ext cx="0" cy="0"/>
          <a:chOff x="0" y="0"/>
          <a:chExt cx="0" cy="0"/>
        </a:xfrm>
      </p:grpSpPr>
      <p:sp>
        <p:nvSpPr>
          <p:cNvPr id="2" name="Rectangle 57">
            <a:extLst>
              <a:ext uri="{FF2B5EF4-FFF2-40B4-BE49-F238E27FC236}">
                <a16:creationId xmlns:a16="http://schemas.microsoft.com/office/drawing/2014/main" id="{1790802D-06AA-7C22-DBD0-09E348998F22}"/>
              </a:ext>
            </a:extLst>
          </p:cNvPr>
          <p:cNvSpPr>
            <a:spLocks noChangeArrowheads="1"/>
          </p:cNvSpPr>
          <p:nvPr/>
        </p:nvSpPr>
        <p:spPr bwMode="gray">
          <a:xfrm>
            <a:off x="226220" y="198916"/>
            <a:ext cx="7407741" cy="984830"/>
          </a:xfrm>
          <a:prstGeom prst="rect">
            <a:avLst/>
          </a:prstGeom>
          <a:noFill/>
          <a:ln w="9525">
            <a:noFill/>
            <a:miter lim="800000"/>
            <a:headEnd/>
            <a:tailEnd/>
          </a:ln>
          <a:effectLst/>
        </p:spPr>
        <p:txBody>
          <a:bodyPr wrap="square" lIns="91386" tIns="45693" rIns="91386" bIns="45693">
            <a:spAutoFit/>
          </a:bodyPr>
          <a:lstStyle/>
          <a:p>
            <a:pPr defTabSz="609630"/>
            <a:r>
              <a:rPr lang="en-GB" sz="4000" b="1" kern="0" noProof="0">
                <a:solidFill>
                  <a:srgbClr val="000000">
                    <a:lumMod val="95000"/>
                    <a:lumOff val="5000"/>
                  </a:srgbClr>
                </a:solidFill>
                <a:latin typeface="Quattrocento Sans" panose="020B0502050000020003" pitchFamily="34" charset="0"/>
                <a:ea typeface="Lato"/>
                <a:cs typeface="Lato"/>
                <a:sym typeface="Calibri"/>
              </a:rPr>
              <a:t>Advisory Process</a:t>
            </a:r>
          </a:p>
          <a:p>
            <a:pPr defTabSz="609630" hangingPunct="0"/>
            <a:r>
              <a:rPr lang="en-GB" kern="0" noProof="0">
                <a:solidFill>
                  <a:srgbClr val="8A0051"/>
                </a:solidFill>
                <a:latin typeface="Quattrocento Sans" panose="020B0502050000020003" pitchFamily="34" charset="0"/>
                <a:cs typeface="Calibri"/>
                <a:sym typeface="Calibri"/>
              </a:rPr>
              <a:t>Best Practices Datasphere</a:t>
            </a:r>
          </a:p>
        </p:txBody>
      </p:sp>
      <p:pic>
        <p:nvPicPr>
          <p:cNvPr id="11" name="Imagen 10" descr="Logotipo&#10;&#10;Descripción generada automáticamente">
            <a:extLst>
              <a:ext uri="{FF2B5EF4-FFF2-40B4-BE49-F238E27FC236}">
                <a16:creationId xmlns:a16="http://schemas.microsoft.com/office/drawing/2014/main" id="{7690FB20-7DCE-30A9-EAB6-877B56C370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75643" y="422965"/>
            <a:ext cx="1935381" cy="446626"/>
          </a:xfrm>
          <a:prstGeom prst="rect">
            <a:avLst/>
          </a:prstGeom>
        </p:spPr>
      </p:pic>
      <p:pic>
        <p:nvPicPr>
          <p:cNvPr id="1026" name="Picture 2" descr="AstraZeneca Logo, symbol, meaning, history, PNG, brand">
            <a:extLst>
              <a:ext uri="{FF2B5EF4-FFF2-40B4-BE49-F238E27FC236}">
                <a16:creationId xmlns:a16="http://schemas.microsoft.com/office/drawing/2014/main" id="{EED4CFBB-C78F-77C2-1A9E-FB93A8039D3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75018" y="213658"/>
            <a:ext cx="1267373" cy="71289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2BCE53A1-613F-6472-6371-580AF973E46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2749" y="-1321411"/>
            <a:ext cx="5657850" cy="809625"/>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15">
            <a:extLst>
              <a:ext uri="{FF2B5EF4-FFF2-40B4-BE49-F238E27FC236}">
                <a16:creationId xmlns:a16="http://schemas.microsoft.com/office/drawing/2014/main" id="{FF26D3A9-7455-02D4-69B2-7909A4D3954D}"/>
              </a:ext>
            </a:extLst>
          </p:cNvPr>
          <p:cNvGrpSpPr/>
          <p:nvPr/>
        </p:nvGrpSpPr>
        <p:grpSpPr>
          <a:xfrm rot="13851310">
            <a:off x="3874617" y="3698779"/>
            <a:ext cx="2160000" cy="360040"/>
            <a:chOff x="3779912" y="1815666"/>
            <a:chExt cx="1772081" cy="360040"/>
          </a:xfrm>
          <a:solidFill>
            <a:schemeClr val="tx1"/>
          </a:solidFill>
        </p:grpSpPr>
        <p:sp>
          <p:nvSpPr>
            <p:cNvPr id="4" name="Pentagon 16">
              <a:extLst>
                <a:ext uri="{FF2B5EF4-FFF2-40B4-BE49-F238E27FC236}">
                  <a16:creationId xmlns:a16="http://schemas.microsoft.com/office/drawing/2014/main" id="{3E64D3DF-616E-31C1-529F-C3889A24774E}"/>
                </a:ext>
              </a:extLst>
            </p:cNvPr>
            <p:cNvSpPr/>
            <p:nvPr/>
          </p:nvSpPr>
          <p:spPr>
            <a:xfrm flipV="1">
              <a:off x="3779912" y="1815666"/>
              <a:ext cx="907986" cy="360040"/>
            </a:xfrm>
            <a:prstGeom prst="homePlate">
              <a:avLst/>
            </a:prstGeom>
            <a:grp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a:cs typeface="+mn-cs"/>
              </a:endParaRPr>
            </a:p>
          </p:txBody>
        </p:sp>
        <p:sp>
          <p:nvSpPr>
            <p:cNvPr id="5" name="Chevron 17">
              <a:extLst>
                <a:ext uri="{FF2B5EF4-FFF2-40B4-BE49-F238E27FC236}">
                  <a16:creationId xmlns:a16="http://schemas.microsoft.com/office/drawing/2014/main" id="{2B6230E6-325E-6D57-8BE8-D44B954433D9}"/>
                </a:ext>
              </a:extLst>
            </p:cNvPr>
            <p:cNvSpPr/>
            <p:nvPr/>
          </p:nvSpPr>
          <p:spPr>
            <a:xfrm>
              <a:off x="4560654" y="1815666"/>
              <a:ext cx="991339" cy="360040"/>
            </a:xfrm>
            <a:prstGeom prst="chevron">
              <a:avLst/>
            </a:prstGeom>
            <a:grp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a:cs typeface="+mn-cs"/>
              </a:endParaRPr>
            </a:p>
          </p:txBody>
        </p:sp>
      </p:grpSp>
      <p:grpSp>
        <p:nvGrpSpPr>
          <p:cNvPr id="6" name="Group 12">
            <a:extLst>
              <a:ext uri="{FF2B5EF4-FFF2-40B4-BE49-F238E27FC236}">
                <a16:creationId xmlns:a16="http://schemas.microsoft.com/office/drawing/2014/main" id="{D3B3492E-58F7-EEC9-6302-C2EE520CB260}"/>
              </a:ext>
            </a:extLst>
          </p:cNvPr>
          <p:cNvGrpSpPr/>
          <p:nvPr/>
        </p:nvGrpSpPr>
        <p:grpSpPr>
          <a:xfrm rot="7384107">
            <a:off x="5646493" y="3913073"/>
            <a:ext cx="2160000" cy="360040"/>
            <a:chOff x="3779912" y="1815666"/>
            <a:chExt cx="1772081" cy="360040"/>
          </a:xfrm>
          <a:solidFill>
            <a:schemeClr val="tx1"/>
          </a:solidFill>
        </p:grpSpPr>
        <p:sp>
          <p:nvSpPr>
            <p:cNvPr id="7" name="Pentagon 13">
              <a:extLst>
                <a:ext uri="{FF2B5EF4-FFF2-40B4-BE49-F238E27FC236}">
                  <a16:creationId xmlns:a16="http://schemas.microsoft.com/office/drawing/2014/main" id="{7431CED5-943A-2541-20E5-65FA49346762}"/>
                </a:ext>
              </a:extLst>
            </p:cNvPr>
            <p:cNvSpPr/>
            <p:nvPr/>
          </p:nvSpPr>
          <p:spPr>
            <a:xfrm flipV="1">
              <a:off x="3779912" y="1815666"/>
              <a:ext cx="907986" cy="360040"/>
            </a:xfrm>
            <a:prstGeom prst="homePlate">
              <a:avLst/>
            </a:prstGeom>
            <a:grp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a:cs typeface="+mn-cs"/>
              </a:endParaRPr>
            </a:p>
          </p:txBody>
        </p:sp>
        <p:sp>
          <p:nvSpPr>
            <p:cNvPr id="8" name="Chevron 14">
              <a:extLst>
                <a:ext uri="{FF2B5EF4-FFF2-40B4-BE49-F238E27FC236}">
                  <a16:creationId xmlns:a16="http://schemas.microsoft.com/office/drawing/2014/main" id="{895627C7-9EF5-0E8F-94F2-57933BA2A14E}"/>
                </a:ext>
              </a:extLst>
            </p:cNvPr>
            <p:cNvSpPr/>
            <p:nvPr/>
          </p:nvSpPr>
          <p:spPr>
            <a:xfrm>
              <a:off x="4560654" y="1815666"/>
              <a:ext cx="991339" cy="360040"/>
            </a:xfrm>
            <a:prstGeom prst="chevron">
              <a:avLst/>
            </a:prstGeom>
            <a:grp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a:cs typeface="+mn-cs"/>
              </a:endParaRPr>
            </a:p>
          </p:txBody>
        </p:sp>
      </p:grpSp>
      <p:grpSp>
        <p:nvGrpSpPr>
          <p:cNvPr id="9" name="Group 10">
            <a:extLst>
              <a:ext uri="{FF2B5EF4-FFF2-40B4-BE49-F238E27FC236}">
                <a16:creationId xmlns:a16="http://schemas.microsoft.com/office/drawing/2014/main" id="{3E24303E-45BD-5F1D-37C6-DB3FF1577C3C}"/>
              </a:ext>
            </a:extLst>
          </p:cNvPr>
          <p:cNvGrpSpPr/>
          <p:nvPr/>
        </p:nvGrpSpPr>
        <p:grpSpPr>
          <a:xfrm>
            <a:off x="4962126" y="2614485"/>
            <a:ext cx="2159999" cy="360040"/>
            <a:chOff x="3779912" y="1815666"/>
            <a:chExt cx="1772081" cy="360040"/>
          </a:xfrm>
          <a:solidFill>
            <a:schemeClr val="tx1"/>
          </a:solidFill>
        </p:grpSpPr>
        <p:sp>
          <p:nvSpPr>
            <p:cNvPr id="10" name="Pentagon 8">
              <a:extLst>
                <a:ext uri="{FF2B5EF4-FFF2-40B4-BE49-F238E27FC236}">
                  <a16:creationId xmlns:a16="http://schemas.microsoft.com/office/drawing/2014/main" id="{B2BA9D35-BD70-6C7C-D9DE-00EB7C62513C}"/>
                </a:ext>
              </a:extLst>
            </p:cNvPr>
            <p:cNvSpPr/>
            <p:nvPr/>
          </p:nvSpPr>
          <p:spPr>
            <a:xfrm flipV="1">
              <a:off x="3779912" y="1815666"/>
              <a:ext cx="907986" cy="360040"/>
            </a:xfrm>
            <a:prstGeom prst="homePlate">
              <a:avLst/>
            </a:prstGeom>
            <a:grp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a:cs typeface="+mn-cs"/>
              </a:endParaRPr>
            </a:p>
          </p:txBody>
        </p:sp>
        <p:sp>
          <p:nvSpPr>
            <p:cNvPr id="12" name="Chevron 9">
              <a:extLst>
                <a:ext uri="{FF2B5EF4-FFF2-40B4-BE49-F238E27FC236}">
                  <a16:creationId xmlns:a16="http://schemas.microsoft.com/office/drawing/2014/main" id="{189C892F-FE31-4E29-00EC-9D1E75535147}"/>
                </a:ext>
              </a:extLst>
            </p:cNvPr>
            <p:cNvSpPr/>
            <p:nvPr/>
          </p:nvSpPr>
          <p:spPr>
            <a:xfrm>
              <a:off x="4560654" y="1815666"/>
              <a:ext cx="991339" cy="360040"/>
            </a:xfrm>
            <a:prstGeom prst="chevron">
              <a:avLst/>
            </a:prstGeom>
            <a:grp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a:cs typeface="+mn-cs"/>
              </a:endParaRPr>
            </a:p>
          </p:txBody>
        </p:sp>
      </p:grpSp>
      <p:sp>
        <p:nvSpPr>
          <p:cNvPr id="13" name="Oval 3">
            <a:extLst>
              <a:ext uri="{FF2B5EF4-FFF2-40B4-BE49-F238E27FC236}">
                <a16:creationId xmlns:a16="http://schemas.microsoft.com/office/drawing/2014/main" id="{4F80B072-3D89-C380-2F0F-0B84404DC1C8}"/>
              </a:ext>
            </a:extLst>
          </p:cNvPr>
          <p:cNvSpPr/>
          <p:nvPr/>
        </p:nvSpPr>
        <p:spPr>
          <a:xfrm>
            <a:off x="3650377" y="2106119"/>
            <a:ext cx="1440000" cy="1440000"/>
          </a:xfrm>
          <a:prstGeom prst="ellipse">
            <a:avLst/>
          </a:prstGeom>
          <a:solidFill>
            <a:srgbClr val="FCAF16"/>
          </a:solidFill>
          <a:ln w="88900" cap="flat" cmpd="sng" algn="ctr">
            <a:solidFill>
              <a:schemeClr val="tx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a:cs typeface="+mn-cs"/>
            </a:endParaRPr>
          </a:p>
        </p:txBody>
      </p:sp>
      <p:sp>
        <p:nvSpPr>
          <p:cNvPr id="14" name="Oval 5">
            <a:extLst>
              <a:ext uri="{FF2B5EF4-FFF2-40B4-BE49-F238E27FC236}">
                <a16:creationId xmlns:a16="http://schemas.microsoft.com/office/drawing/2014/main" id="{ACDB8423-2176-D39F-E26B-7EFFCBD80CBB}"/>
              </a:ext>
            </a:extLst>
          </p:cNvPr>
          <p:cNvSpPr/>
          <p:nvPr/>
        </p:nvSpPr>
        <p:spPr>
          <a:xfrm>
            <a:off x="5248755" y="4281469"/>
            <a:ext cx="1440000" cy="1440000"/>
          </a:xfrm>
          <a:prstGeom prst="ellipse">
            <a:avLst/>
          </a:prstGeom>
          <a:solidFill>
            <a:srgbClr val="FCAF16"/>
          </a:solidFill>
          <a:ln w="88900" cap="flat" cmpd="sng" algn="ctr">
            <a:solidFill>
              <a:schemeClr val="tx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a:cs typeface="+mn-cs"/>
            </a:endParaRPr>
          </a:p>
        </p:txBody>
      </p:sp>
      <p:sp>
        <p:nvSpPr>
          <p:cNvPr id="15" name="Oval 6">
            <a:extLst>
              <a:ext uri="{FF2B5EF4-FFF2-40B4-BE49-F238E27FC236}">
                <a16:creationId xmlns:a16="http://schemas.microsoft.com/office/drawing/2014/main" id="{C7E6E64E-48CB-04B3-4CEA-244B31196E42}"/>
              </a:ext>
            </a:extLst>
          </p:cNvPr>
          <p:cNvSpPr/>
          <p:nvPr/>
        </p:nvSpPr>
        <p:spPr>
          <a:xfrm>
            <a:off x="6830419" y="2131451"/>
            <a:ext cx="1440000" cy="1440000"/>
          </a:xfrm>
          <a:prstGeom prst="ellipse">
            <a:avLst/>
          </a:prstGeom>
          <a:solidFill>
            <a:srgbClr val="FCAF16"/>
          </a:solidFill>
          <a:ln w="88900" cap="flat" cmpd="sng" algn="ctr">
            <a:solidFill>
              <a:schemeClr val="tx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a:cs typeface="+mn-cs"/>
            </a:endParaRPr>
          </a:p>
        </p:txBody>
      </p:sp>
      <p:sp>
        <p:nvSpPr>
          <p:cNvPr id="16" name="Rectangle 16">
            <a:extLst>
              <a:ext uri="{FF2B5EF4-FFF2-40B4-BE49-F238E27FC236}">
                <a16:creationId xmlns:a16="http://schemas.microsoft.com/office/drawing/2014/main" id="{6013A6B1-FF08-6741-4196-66C1EFD0175D}"/>
              </a:ext>
            </a:extLst>
          </p:cNvPr>
          <p:cNvSpPr/>
          <p:nvPr/>
        </p:nvSpPr>
        <p:spPr>
          <a:xfrm rot="2700000">
            <a:off x="5720790" y="4632885"/>
            <a:ext cx="468000" cy="792000"/>
          </a:xfrm>
          <a:custGeom>
            <a:avLst/>
            <a:gdLst/>
            <a:ahLst/>
            <a:cxnLst/>
            <a:rect l="l" t="t" r="r" b="b"/>
            <a:pathLst>
              <a:path w="2232248" h="4001999">
                <a:moveTo>
                  <a:pt x="1116887" y="0"/>
                </a:moveTo>
                <a:cubicBezTo>
                  <a:pt x="1270748" y="4762"/>
                  <a:pt x="1433283" y="120651"/>
                  <a:pt x="1447291" y="308459"/>
                </a:cubicBezTo>
                <a:cubicBezTo>
                  <a:pt x="1483174" y="544979"/>
                  <a:pt x="1283237" y="603082"/>
                  <a:pt x="1339988" y="887363"/>
                </a:cubicBezTo>
                <a:lnTo>
                  <a:pt x="2232248" y="887363"/>
                </a:lnTo>
                <a:lnTo>
                  <a:pt x="2232248" y="1778237"/>
                </a:lnTo>
                <a:cubicBezTo>
                  <a:pt x="1956566" y="1829261"/>
                  <a:pt x="1897086" y="1634366"/>
                  <a:pt x="1663321" y="1669832"/>
                </a:cubicBezTo>
                <a:cubicBezTo>
                  <a:pt x="1475513" y="1683840"/>
                  <a:pt x="1359624" y="1846375"/>
                  <a:pt x="1354862" y="2000236"/>
                </a:cubicBezTo>
                <a:cubicBezTo>
                  <a:pt x="1358037" y="2135389"/>
                  <a:pt x="1477787" y="2334920"/>
                  <a:pt x="1701420" y="2336507"/>
                </a:cubicBezTo>
                <a:cubicBezTo>
                  <a:pt x="1972077" y="2308709"/>
                  <a:pt x="1932339" y="2176007"/>
                  <a:pt x="2232248" y="2187989"/>
                </a:cubicBezTo>
                <a:lnTo>
                  <a:pt x="2232248" y="3119611"/>
                </a:lnTo>
                <a:lnTo>
                  <a:pt x="1303259" y="3119611"/>
                </a:lnTo>
                <a:cubicBezTo>
                  <a:pt x="1289664" y="3424971"/>
                  <a:pt x="1423682" y="3383289"/>
                  <a:pt x="1451633" y="3655441"/>
                </a:cubicBezTo>
                <a:cubicBezTo>
                  <a:pt x="1450046" y="3879074"/>
                  <a:pt x="1250515" y="3998824"/>
                  <a:pt x="1115362" y="4001999"/>
                </a:cubicBezTo>
                <a:cubicBezTo>
                  <a:pt x="961501" y="3997237"/>
                  <a:pt x="798966" y="3881348"/>
                  <a:pt x="784958" y="3693540"/>
                </a:cubicBezTo>
                <a:cubicBezTo>
                  <a:pt x="749282" y="3458385"/>
                  <a:pt x="946712" y="3399594"/>
                  <a:pt x="892811" y="3119611"/>
                </a:cubicBezTo>
                <a:lnTo>
                  <a:pt x="0" y="3119611"/>
                </a:lnTo>
                <a:lnTo>
                  <a:pt x="0" y="2203607"/>
                </a:lnTo>
                <a:cubicBezTo>
                  <a:pt x="285884" y="2145799"/>
                  <a:pt x="343730" y="2346665"/>
                  <a:pt x="580754" y="2310706"/>
                </a:cubicBezTo>
                <a:cubicBezTo>
                  <a:pt x="768562" y="2296698"/>
                  <a:pt x="884451" y="2134163"/>
                  <a:pt x="889213" y="1980302"/>
                </a:cubicBezTo>
                <a:cubicBezTo>
                  <a:pt x="886038" y="1845149"/>
                  <a:pt x="766288" y="1645618"/>
                  <a:pt x="542655" y="1644031"/>
                </a:cubicBezTo>
                <a:cubicBezTo>
                  <a:pt x="268493" y="1672188"/>
                  <a:pt x="312817" y="1807984"/>
                  <a:pt x="0" y="1792208"/>
                </a:cubicBezTo>
                <a:lnTo>
                  <a:pt x="0" y="887363"/>
                </a:lnTo>
                <a:lnTo>
                  <a:pt x="928847" y="887363"/>
                </a:lnTo>
                <a:cubicBezTo>
                  <a:pt x="944034" y="576570"/>
                  <a:pt x="808718" y="620178"/>
                  <a:pt x="780616" y="346558"/>
                </a:cubicBezTo>
                <a:cubicBezTo>
                  <a:pt x="782203" y="122925"/>
                  <a:pt x="981734" y="3175"/>
                  <a:pt x="1116887" y="0"/>
                </a:cubicBezTo>
                <a:close/>
              </a:path>
            </a:pathLst>
          </a:custGeom>
          <a:solidFill>
            <a:schemeClr val="tx1"/>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8A0051"/>
              </a:solidFill>
              <a:effectLst/>
              <a:uLnTx/>
              <a:uFillTx/>
              <a:latin typeface="Arial"/>
              <a:cs typeface="+mn-cs"/>
            </a:endParaRPr>
          </a:p>
        </p:txBody>
      </p:sp>
      <p:grpSp>
        <p:nvGrpSpPr>
          <p:cNvPr id="17" name="Group 21">
            <a:extLst>
              <a:ext uri="{FF2B5EF4-FFF2-40B4-BE49-F238E27FC236}">
                <a16:creationId xmlns:a16="http://schemas.microsoft.com/office/drawing/2014/main" id="{EA2C1085-CAB1-C6D7-5382-071B1CA4F86C}"/>
              </a:ext>
            </a:extLst>
          </p:cNvPr>
          <p:cNvGrpSpPr/>
          <p:nvPr/>
        </p:nvGrpSpPr>
        <p:grpSpPr>
          <a:xfrm>
            <a:off x="3572711" y="5789202"/>
            <a:ext cx="4764158" cy="771025"/>
            <a:chOff x="803640" y="3362835"/>
            <a:chExt cx="2059657" cy="771025"/>
          </a:xfrm>
        </p:grpSpPr>
        <p:sp>
          <p:nvSpPr>
            <p:cNvPr id="18" name="TextBox 22">
              <a:extLst>
                <a:ext uri="{FF2B5EF4-FFF2-40B4-BE49-F238E27FC236}">
                  <a16:creationId xmlns:a16="http://schemas.microsoft.com/office/drawing/2014/main" id="{1B625CBC-BA48-BC46-BCE6-529D443CD081}"/>
                </a:ext>
              </a:extLst>
            </p:cNvPr>
            <p:cNvSpPr txBox="1"/>
            <p:nvPr/>
          </p:nvSpPr>
          <p:spPr>
            <a:xfrm>
              <a:off x="803640" y="3579862"/>
              <a:ext cx="2059657" cy="553998"/>
            </a:xfrm>
            <a:prstGeom prst="rect">
              <a:avLst/>
            </a:prstGeom>
            <a:noFill/>
          </p:spPr>
          <p:txBody>
            <a:bodyPr wrap="square" rtlCol="0">
              <a:spAutoFit/>
            </a:bodyPr>
            <a:lstStyle/>
            <a:p>
              <a:pPr algn="ctr" latinLnBrk="1"/>
              <a:r>
                <a:rPr lang="en-GB" sz="1200" noProof="0">
                  <a:latin typeface="Quattrocento Sans" panose="020B0502050000020003" pitchFamily="34" charset="0"/>
                  <a:cs typeface="Arial" pitchFamily="34" charset="0"/>
                </a:rPr>
                <a:t>Implementation of recommended actions by the third-party teams.</a:t>
              </a:r>
            </a:p>
            <a:p>
              <a:pPr algn="ctr" latinLnBrk="1"/>
              <a:endParaRPr lang="en-GB" sz="600" noProof="0">
                <a:latin typeface="Quattrocento Sans" panose="020B0502050000020003" pitchFamily="34" charset="0"/>
                <a:cs typeface="Arial" pitchFamily="34" charset="0"/>
              </a:endParaRPr>
            </a:p>
            <a:p>
              <a:pPr algn="ctr" latinLnBrk="1"/>
              <a:r>
                <a:rPr lang="en-GB" sz="1200" noProof="0">
                  <a:latin typeface="Quattrocento Sans" panose="020B0502050000020003" pitchFamily="34" charset="0"/>
                  <a:cs typeface="Arial" pitchFamily="34" charset="0"/>
                </a:rPr>
                <a:t>Support and follow-up to ensure proper execution.     </a:t>
              </a:r>
            </a:p>
          </p:txBody>
        </p:sp>
        <p:sp>
          <p:nvSpPr>
            <p:cNvPr id="19" name="TextBox 23">
              <a:extLst>
                <a:ext uri="{FF2B5EF4-FFF2-40B4-BE49-F238E27FC236}">
                  <a16:creationId xmlns:a16="http://schemas.microsoft.com/office/drawing/2014/main" id="{8287112A-37A5-2F43-BE07-E7B63BB6961C}"/>
                </a:ext>
              </a:extLst>
            </p:cNvPr>
            <p:cNvSpPr txBox="1"/>
            <p:nvPr/>
          </p:nvSpPr>
          <p:spPr>
            <a:xfrm>
              <a:off x="803640" y="3362835"/>
              <a:ext cx="2059657" cy="338554"/>
            </a:xfrm>
            <a:prstGeom prst="rect">
              <a:avLst/>
            </a:prstGeom>
            <a:noFill/>
          </p:spPr>
          <p:txBody>
            <a:bodyPr wrap="square" rtlCol="0">
              <a:spAutoFit/>
            </a:bodyPr>
            <a:lstStyle/>
            <a:p>
              <a:pPr algn="ctr" latinLnBrk="1"/>
              <a:r>
                <a:rPr lang="en-GB" sz="1600" b="1" noProof="0">
                  <a:latin typeface="Quattrocento Sans" panose="020B0502050000020003" pitchFamily="34" charset="0"/>
                  <a:cs typeface="Arial" pitchFamily="34" charset="0"/>
                </a:rPr>
                <a:t>3. Implementation</a:t>
              </a:r>
            </a:p>
          </p:txBody>
        </p:sp>
      </p:grpSp>
      <p:grpSp>
        <p:nvGrpSpPr>
          <p:cNvPr id="28" name="Group 24">
            <a:extLst>
              <a:ext uri="{FF2B5EF4-FFF2-40B4-BE49-F238E27FC236}">
                <a16:creationId xmlns:a16="http://schemas.microsoft.com/office/drawing/2014/main" id="{487D23A7-3688-2752-599D-1EA191B26255}"/>
              </a:ext>
            </a:extLst>
          </p:cNvPr>
          <p:cNvGrpSpPr/>
          <p:nvPr/>
        </p:nvGrpSpPr>
        <p:grpSpPr>
          <a:xfrm>
            <a:off x="8580698" y="2235106"/>
            <a:ext cx="3030326" cy="1232690"/>
            <a:chOff x="803640" y="3362835"/>
            <a:chExt cx="2059657" cy="1232690"/>
          </a:xfrm>
        </p:grpSpPr>
        <p:sp>
          <p:nvSpPr>
            <p:cNvPr id="29" name="TextBox 25">
              <a:extLst>
                <a:ext uri="{FF2B5EF4-FFF2-40B4-BE49-F238E27FC236}">
                  <a16:creationId xmlns:a16="http://schemas.microsoft.com/office/drawing/2014/main" id="{5D0B5A1C-F616-7058-7B4B-EF39913DC50D}"/>
                </a:ext>
              </a:extLst>
            </p:cNvPr>
            <p:cNvSpPr txBox="1"/>
            <p:nvPr/>
          </p:nvSpPr>
          <p:spPr>
            <a:xfrm>
              <a:off x="803640" y="3579862"/>
              <a:ext cx="2059657" cy="1015663"/>
            </a:xfrm>
            <a:prstGeom prst="rect">
              <a:avLst/>
            </a:prstGeom>
            <a:noFill/>
          </p:spPr>
          <p:txBody>
            <a:bodyPr wrap="square" rtlCol="0">
              <a:spAutoFit/>
            </a:bodyPr>
            <a:lstStyle/>
            <a:p>
              <a:pPr latinLnBrk="1"/>
              <a:r>
                <a:rPr lang="en-GB" sz="1200" noProof="0">
                  <a:latin typeface="Quattrocento Sans" panose="020B0502050000020003" pitchFamily="34" charset="0"/>
                  <a:cs typeface="Arial" pitchFamily="34" charset="0"/>
                </a:rPr>
                <a:t>Actionable improvement proposals based on findings.</a:t>
              </a:r>
            </a:p>
            <a:p>
              <a:pPr latinLnBrk="1"/>
              <a:endParaRPr lang="en-GB" sz="1200" noProof="0">
                <a:latin typeface="Quattrocento Sans" panose="020B0502050000020003" pitchFamily="34" charset="0"/>
                <a:cs typeface="Arial" pitchFamily="34" charset="0"/>
              </a:endParaRPr>
            </a:p>
            <a:p>
              <a:pPr latinLnBrk="1"/>
              <a:r>
                <a:rPr lang="en-GB" sz="1200" noProof="0">
                  <a:latin typeface="Quattrocento Sans" panose="020B0502050000020003" pitchFamily="34" charset="0"/>
                  <a:cs typeface="Arial" pitchFamily="34" charset="0"/>
                </a:rPr>
                <a:t>Prioritisation of improvements according to impact and feasibility.</a:t>
              </a:r>
            </a:p>
          </p:txBody>
        </p:sp>
        <p:sp>
          <p:nvSpPr>
            <p:cNvPr id="35" name="TextBox 26">
              <a:extLst>
                <a:ext uri="{FF2B5EF4-FFF2-40B4-BE49-F238E27FC236}">
                  <a16:creationId xmlns:a16="http://schemas.microsoft.com/office/drawing/2014/main" id="{C77001B5-535E-1691-2E8A-56E5F24FDEB4}"/>
                </a:ext>
              </a:extLst>
            </p:cNvPr>
            <p:cNvSpPr txBox="1"/>
            <p:nvPr/>
          </p:nvSpPr>
          <p:spPr>
            <a:xfrm>
              <a:off x="803640" y="3362835"/>
              <a:ext cx="2059657" cy="338554"/>
            </a:xfrm>
            <a:prstGeom prst="rect">
              <a:avLst/>
            </a:prstGeom>
            <a:noFill/>
          </p:spPr>
          <p:txBody>
            <a:bodyPr wrap="square" rtlCol="0">
              <a:spAutoFit/>
            </a:bodyPr>
            <a:lstStyle/>
            <a:p>
              <a:pPr latinLnBrk="1"/>
              <a:r>
                <a:rPr lang="en-GB" sz="1600" b="1" noProof="0">
                  <a:latin typeface="Quattrocento Sans" panose="020B0502050000020003" pitchFamily="34" charset="0"/>
                  <a:cs typeface="Arial" pitchFamily="34" charset="0"/>
                </a:rPr>
                <a:t>2. Recommendations</a:t>
              </a:r>
            </a:p>
          </p:txBody>
        </p:sp>
      </p:grpSp>
      <p:grpSp>
        <p:nvGrpSpPr>
          <p:cNvPr id="39" name="Group 27">
            <a:extLst>
              <a:ext uri="{FF2B5EF4-FFF2-40B4-BE49-F238E27FC236}">
                <a16:creationId xmlns:a16="http://schemas.microsoft.com/office/drawing/2014/main" id="{FDF7FA1F-1692-C157-9263-EE9F249A3502}"/>
              </a:ext>
            </a:extLst>
          </p:cNvPr>
          <p:cNvGrpSpPr/>
          <p:nvPr/>
        </p:nvGrpSpPr>
        <p:grpSpPr>
          <a:xfrm>
            <a:off x="316778" y="2271656"/>
            <a:ext cx="3054896" cy="1232690"/>
            <a:chOff x="803640" y="3362835"/>
            <a:chExt cx="2059657" cy="1232690"/>
          </a:xfrm>
        </p:grpSpPr>
        <p:sp>
          <p:nvSpPr>
            <p:cNvPr id="40" name="TextBox 28">
              <a:extLst>
                <a:ext uri="{FF2B5EF4-FFF2-40B4-BE49-F238E27FC236}">
                  <a16:creationId xmlns:a16="http://schemas.microsoft.com/office/drawing/2014/main" id="{2D407F37-C250-A450-5439-237749D4EEB8}"/>
                </a:ext>
              </a:extLst>
            </p:cNvPr>
            <p:cNvSpPr txBox="1"/>
            <p:nvPr/>
          </p:nvSpPr>
          <p:spPr>
            <a:xfrm>
              <a:off x="803640" y="3579862"/>
              <a:ext cx="2059657" cy="1015663"/>
            </a:xfrm>
            <a:prstGeom prst="rect">
              <a:avLst/>
            </a:prstGeom>
            <a:noFill/>
          </p:spPr>
          <p:txBody>
            <a:bodyPr wrap="square" rtlCol="0">
              <a:spAutoFit/>
            </a:bodyPr>
            <a:lstStyle/>
            <a:p>
              <a:pPr algn="r" latinLnBrk="1"/>
              <a:r>
                <a:rPr lang="en-GB" sz="1200" noProof="0">
                  <a:latin typeface="Quattrocento Sans" panose="020B0502050000020003" pitchFamily="34" charset="0"/>
                  <a:cs typeface="Arial" pitchFamily="34" charset="0"/>
                </a:rPr>
                <a:t>In-depth review of existing developments  and documentation.</a:t>
              </a:r>
            </a:p>
            <a:p>
              <a:pPr algn="r" latinLnBrk="1"/>
              <a:endParaRPr lang="en-GB" sz="1200" noProof="0">
                <a:latin typeface="Quattrocento Sans" panose="020B0502050000020003" pitchFamily="34" charset="0"/>
                <a:cs typeface="Arial" pitchFamily="34" charset="0"/>
              </a:endParaRPr>
            </a:p>
            <a:p>
              <a:pPr algn="r" latinLnBrk="1"/>
              <a:r>
                <a:rPr lang="en-GB" sz="1200" noProof="0">
                  <a:latin typeface="Quattrocento Sans" panose="020B0502050000020003" pitchFamily="34" charset="0"/>
                  <a:cs typeface="Arial" pitchFamily="34" charset="0"/>
                </a:rPr>
                <a:t>Validation of architecture, technical standards, and best practices.     </a:t>
              </a:r>
            </a:p>
          </p:txBody>
        </p:sp>
        <p:sp>
          <p:nvSpPr>
            <p:cNvPr id="41" name="TextBox 29">
              <a:extLst>
                <a:ext uri="{FF2B5EF4-FFF2-40B4-BE49-F238E27FC236}">
                  <a16:creationId xmlns:a16="http://schemas.microsoft.com/office/drawing/2014/main" id="{AC33D927-9796-0609-A070-ED718FD633B5}"/>
                </a:ext>
              </a:extLst>
            </p:cNvPr>
            <p:cNvSpPr txBox="1"/>
            <p:nvPr/>
          </p:nvSpPr>
          <p:spPr>
            <a:xfrm>
              <a:off x="803640" y="3362835"/>
              <a:ext cx="2059657" cy="338554"/>
            </a:xfrm>
            <a:prstGeom prst="rect">
              <a:avLst/>
            </a:prstGeom>
            <a:noFill/>
          </p:spPr>
          <p:txBody>
            <a:bodyPr wrap="square" rtlCol="0">
              <a:spAutoFit/>
            </a:bodyPr>
            <a:lstStyle/>
            <a:p>
              <a:pPr algn="r" latinLnBrk="1"/>
              <a:r>
                <a:rPr lang="en-GB" sz="1600" b="1" noProof="0">
                  <a:latin typeface="Quattrocento Sans" panose="020B0502050000020003" pitchFamily="34" charset="0"/>
                  <a:cs typeface="Arial" pitchFamily="34" charset="0"/>
                </a:rPr>
                <a:t>1. Review</a:t>
              </a:r>
            </a:p>
          </p:txBody>
        </p:sp>
      </p:grpSp>
      <p:sp>
        <p:nvSpPr>
          <p:cNvPr id="42" name="Right Triangle 17">
            <a:extLst>
              <a:ext uri="{FF2B5EF4-FFF2-40B4-BE49-F238E27FC236}">
                <a16:creationId xmlns:a16="http://schemas.microsoft.com/office/drawing/2014/main" id="{11846EB5-9363-173C-57F4-273E3281F712}"/>
              </a:ext>
            </a:extLst>
          </p:cNvPr>
          <p:cNvSpPr>
            <a:spLocks noChangeAspect="1"/>
          </p:cNvSpPr>
          <p:nvPr/>
        </p:nvSpPr>
        <p:spPr>
          <a:xfrm>
            <a:off x="7337946" y="2491621"/>
            <a:ext cx="544226" cy="648000"/>
          </a:xfrm>
          <a:custGeom>
            <a:avLst/>
            <a:gdLst/>
            <a:ahLst/>
            <a:cxnLst/>
            <a:rect l="l" t="t" r="r" b="b"/>
            <a:pathLst>
              <a:path w="2721114" h="3240000">
                <a:moveTo>
                  <a:pt x="2179233" y="2431577"/>
                </a:moveTo>
                <a:lnTo>
                  <a:pt x="2179233" y="2611489"/>
                </a:lnTo>
                <a:lnTo>
                  <a:pt x="1999321" y="2611489"/>
                </a:lnTo>
                <a:lnTo>
                  <a:pt x="1999321" y="2780851"/>
                </a:lnTo>
                <a:lnTo>
                  <a:pt x="2179233" y="2780851"/>
                </a:lnTo>
                <a:lnTo>
                  <a:pt x="2179233" y="2960763"/>
                </a:lnTo>
                <a:lnTo>
                  <a:pt x="2348595" y="2960763"/>
                </a:lnTo>
                <a:lnTo>
                  <a:pt x="2348595" y="2780851"/>
                </a:lnTo>
                <a:lnTo>
                  <a:pt x="2528507" y="2780851"/>
                </a:lnTo>
                <a:lnTo>
                  <a:pt x="2528507" y="2611489"/>
                </a:lnTo>
                <a:lnTo>
                  <a:pt x="2348595" y="2611489"/>
                </a:lnTo>
                <a:lnTo>
                  <a:pt x="2348595" y="2431577"/>
                </a:lnTo>
                <a:close/>
                <a:moveTo>
                  <a:pt x="2263914" y="2238970"/>
                </a:moveTo>
                <a:cubicBezTo>
                  <a:pt x="2516419" y="2238970"/>
                  <a:pt x="2721114" y="2443665"/>
                  <a:pt x="2721114" y="2696170"/>
                </a:cubicBezTo>
                <a:cubicBezTo>
                  <a:pt x="2721114" y="2948675"/>
                  <a:pt x="2516419" y="3153370"/>
                  <a:pt x="2263914" y="3153370"/>
                </a:cubicBezTo>
                <a:cubicBezTo>
                  <a:pt x="2011409" y="3153370"/>
                  <a:pt x="1806714" y="2948675"/>
                  <a:pt x="1806714" y="2696170"/>
                </a:cubicBezTo>
                <a:cubicBezTo>
                  <a:pt x="1806714" y="2443665"/>
                  <a:pt x="2011409" y="2238970"/>
                  <a:pt x="2263914" y="2238970"/>
                </a:cubicBezTo>
                <a:close/>
                <a:moveTo>
                  <a:pt x="1576134" y="17032"/>
                </a:moveTo>
                <a:lnTo>
                  <a:pt x="2276728" y="17032"/>
                </a:lnTo>
                <a:lnTo>
                  <a:pt x="2276728" y="17033"/>
                </a:lnTo>
                <a:lnTo>
                  <a:pt x="1576135" y="17033"/>
                </a:lnTo>
                <a:close/>
                <a:moveTo>
                  <a:pt x="0" y="17032"/>
                </a:moveTo>
                <a:lnTo>
                  <a:pt x="1321887" y="17032"/>
                </a:lnTo>
                <a:lnTo>
                  <a:pt x="1321887" y="996125"/>
                </a:lnTo>
                <a:lnTo>
                  <a:pt x="2276728" y="996125"/>
                </a:lnTo>
                <a:lnTo>
                  <a:pt x="2276728" y="2160187"/>
                </a:lnTo>
                <a:cubicBezTo>
                  <a:pt x="1979345" y="2161001"/>
                  <a:pt x="1738579" y="2402384"/>
                  <a:pt x="1738579" y="2700000"/>
                </a:cubicBezTo>
                <a:cubicBezTo>
                  <a:pt x="1738579" y="2997617"/>
                  <a:pt x="1979345" y="3238999"/>
                  <a:pt x="2276728" y="3239814"/>
                </a:cubicBezTo>
                <a:lnTo>
                  <a:pt x="2276728" y="3240000"/>
                </a:lnTo>
                <a:lnTo>
                  <a:pt x="0" y="3240000"/>
                </a:lnTo>
                <a:close/>
                <a:moveTo>
                  <a:pt x="1436085" y="0"/>
                </a:moveTo>
                <a:lnTo>
                  <a:pt x="2287664" y="888809"/>
                </a:lnTo>
                <a:lnTo>
                  <a:pt x="1436085" y="888809"/>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noProof="0"/>
          </a:p>
        </p:txBody>
      </p:sp>
      <p:sp>
        <p:nvSpPr>
          <p:cNvPr id="43" name="Rectangle 7">
            <a:extLst>
              <a:ext uri="{FF2B5EF4-FFF2-40B4-BE49-F238E27FC236}">
                <a16:creationId xmlns:a16="http://schemas.microsoft.com/office/drawing/2014/main" id="{06FEE4BB-F749-9104-F074-B0E72C267F13}"/>
              </a:ext>
            </a:extLst>
          </p:cNvPr>
          <p:cNvSpPr/>
          <p:nvPr/>
        </p:nvSpPr>
        <p:spPr>
          <a:xfrm rot="18900000">
            <a:off x="4223549" y="2514538"/>
            <a:ext cx="360000" cy="756000"/>
          </a:xfrm>
          <a:custGeom>
            <a:avLst/>
            <a:gdLst/>
            <a:ahLst/>
            <a:cxnLst/>
            <a:rect l="l" t="t" r="r" b="b"/>
            <a:pathLst>
              <a:path w="154109" h="343323">
                <a:moveTo>
                  <a:pt x="102909" y="313772"/>
                </a:moveTo>
                <a:lnTo>
                  <a:pt x="102909" y="328547"/>
                </a:lnTo>
                <a:cubicBezTo>
                  <a:pt x="102909" y="336708"/>
                  <a:pt x="96294" y="343322"/>
                  <a:pt x="88133" y="343323"/>
                </a:cubicBezTo>
                <a:lnTo>
                  <a:pt x="65975" y="343322"/>
                </a:lnTo>
                <a:cubicBezTo>
                  <a:pt x="57814" y="343322"/>
                  <a:pt x="51199" y="336708"/>
                  <a:pt x="51199" y="328547"/>
                </a:cubicBezTo>
                <a:cubicBezTo>
                  <a:pt x="51199" y="323622"/>
                  <a:pt x="51200" y="318696"/>
                  <a:pt x="51200" y="313771"/>
                </a:cubicBezTo>
                <a:close/>
                <a:moveTo>
                  <a:pt x="123327" y="15459"/>
                </a:moveTo>
                <a:cubicBezTo>
                  <a:pt x="141678" y="29245"/>
                  <a:pt x="152926" y="50497"/>
                  <a:pt x="154008" y="73425"/>
                </a:cubicBezTo>
                <a:cubicBezTo>
                  <a:pt x="155089" y="96353"/>
                  <a:pt x="145890" y="118568"/>
                  <a:pt x="128916" y="134021"/>
                </a:cubicBezTo>
                <a:lnTo>
                  <a:pt x="119294" y="123450"/>
                </a:lnTo>
                <a:cubicBezTo>
                  <a:pt x="133118" y="110865"/>
                  <a:pt x="140611" y="92772"/>
                  <a:pt x="139730" y="74098"/>
                </a:cubicBezTo>
                <a:cubicBezTo>
                  <a:pt x="138850" y="55424"/>
                  <a:pt x="129689" y="38115"/>
                  <a:pt x="114743" y="26887"/>
                </a:cubicBezTo>
                <a:close/>
                <a:moveTo>
                  <a:pt x="136698" y="17411"/>
                </a:moveTo>
                <a:cubicBezTo>
                  <a:pt x="103758" y="-15529"/>
                  <a:pt x="50351" y="-15529"/>
                  <a:pt x="17412" y="17411"/>
                </a:cubicBezTo>
                <a:cubicBezTo>
                  <a:pt x="-15528" y="50351"/>
                  <a:pt x="-15528" y="103757"/>
                  <a:pt x="17412" y="136697"/>
                </a:cubicBezTo>
                <a:cubicBezTo>
                  <a:pt x="50351" y="169637"/>
                  <a:pt x="103758" y="169637"/>
                  <a:pt x="136698" y="136697"/>
                </a:cubicBezTo>
                <a:cubicBezTo>
                  <a:pt x="169637" y="103757"/>
                  <a:pt x="169637" y="50351"/>
                  <a:pt x="136698" y="17411"/>
                </a:cubicBezTo>
                <a:close/>
                <a:moveTo>
                  <a:pt x="154109" y="0"/>
                </a:moveTo>
                <a:cubicBezTo>
                  <a:pt x="196665" y="42556"/>
                  <a:pt x="196665" y="111552"/>
                  <a:pt x="154109" y="154108"/>
                </a:cubicBezTo>
                <a:cubicBezTo>
                  <a:pt x="139576" y="168641"/>
                  <a:pt x="121959" y="178211"/>
                  <a:pt x="102912" y="180994"/>
                </a:cubicBezTo>
                <a:lnTo>
                  <a:pt x="102912" y="308310"/>
                </a:lnTo>
                <a:lnTo>
                  <a:pt x="51197" y="308310"/>
                </a:lnTo>
                <a:lnTo>
                  <a:pt x="51197" y="180994"/>
                </a:lnTo>
                <a:cubicBezTo>
                  <a:pt x="32150" y="178211"/>
                  <a:pt x="14534" y="168641"/>
                  <a:pt x="0" y="154108"/>
                </a:cubicBezTo>
                <a:cubicBezTo>
                  <a:pt x="-42555" y="111552"/>
                  <a:pt x="-42555" y="42556"/>
                  <a:pt x="0" y="0"/>
                </a:cubicBezTo>
                <a:cubicBezTo>
                  <a:pt x="42556" y="-42556"/>
                  <a:pt x="111553" y="-42556"/>
                  <a:pt x="15410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noProof="0"/>
          </a:p>
        </p:txBody>
      </p:sp>
      <p:sp>
        <p:nvSpPr>
          <p:cNvPr id="44" name="CuadroTexto 43">
            <a:extLst>
              <a:ext uri="{FF2B5EF4-FFF2-40B4-BE49-F238E27FC236}">
                <a16:creationId xmlns:a16="http://schemas.microsoft.com/office/drawing/2014/main" id="{486182ED-91B3-47CA-8767-68382510EF2C}"/>
              </a:ext>
            </a:extLst>
          </p:cNvPr>
          <p:cNvSpPr txBox="1"/>
          <p:nvPr/>
        </p:nvSpPr>
        <p:spPr>
          <a:xfrm>
            <a:off x="226220" y="1352092"/>
            <a:ext cx="10946766" cy="369332"/>
          </a:xfrm>
          <a:prstGeom prst="rect">
            <a:avLst/>
          </a:prstGeom>
          <a:noFill/>
        </p:spPr>
        <p:txBody>
          <a:bodyPr wrap="square">
            <a:spAutoFit/>
          </a:bodyPr>
          <a:lstStyle/>
          <a:p>
            <a:r>
              <a:rPr lang="en-GB" noProof="0">
                <a:latin typeface="Quattrocento Sans" panose="020B0502050000020003" pitchFamily="34" charset="0"/>
              </a:rPr>
              <a:t>This advisory process will be applied to developments already completed, using an iterative approach:</a:t>
            </a:r>
          </a:p>
        </p:txBody>
      </p:sp>
      <p:pic>
        <p:nvPicPr>
          <p:cNvPr id="45" name="Imagen 44">
            <a:extLst>
              <a:ext uri="{FF2B5EF4-FFF2-40B4-BE49-F238E27FC236}">
                <a16:creationId xmlns:a16="http://schemas.microsoft.com/office/drawing/2014/main" id="{74C15A25-783A-4D78-C412-7F71622F18B5}"/>
              </a:ext>
            </a:extLst>
          </p:cNvPr>
          <p:cNvPicPr>
            <a:picLocks noChangeAspect="1"/>
          </p:cNvPicPr>
          <p:nvPr/>
        </p:nvPicPr>
        <p:blipFill>
          <a:blip r:embed="rId6"/>
          <a:stretch>
            <a:fillRect/>
          </a:stretch>
        </p:blipFill>
        <p:spPr>
          <a:xfrm>
            <a:off x="9525130" y="4298779"/>
            <a:ext cx="2236405" cy="1554834"/>
          </a:xfrm>
          <a:prstGeom prst="rect">
            <a:avLst/>
          </a:prstGeom>
        </p:spPr>
      </p:pic>
      <p:pic>
        <p:nvPicPr>
          <p:cNvPr id="46" name="Imagen 45">
            <a:extLst>
              <a:ext uri="{FF2B5EF4-FFF2-40B4-BE49-F238E27FC236}">
                <a16:creationId xmlns:a16="http://schemas.microsoft.com/office/drawing/2014/main" id="{212C9F20-6FB4-7D11-8519-142B10AC3E17}"/>
              </a:ext>
            </a:extLst>
          </p:cNvPr>
          <p:cNvPicPr>
            <a:picLocks noChangeAspect="1"/>
          </p:cNvPicPr>
          <p:nvPr/>
        </p:nvPicPr>
        <p:blipFill>
          <a:blip r:embed="rId7"/>
          <a:stretch>
            <a:fillRect/>
          </a:stretch>
        </p:blipFill>
        <p:spPr>
          <a:xfrm>
            <a:off x="287648" y="3763146"/>
            <a:ext cx="3715289" cy="2060660"/>
          </a:xfrm>
          <a:prstGeom prst="rect">
            <a:avLst/>
          </a:prstGeom>
        </p:spPr>
      </p:pic>
    </p:spTree>
    <p:extLst>
      <p:ext uri="{BB962C8B-B14F-4D97-AF65-F5344CB8AC3E}">
        <p14:creationId xmlns:p14="http://schemas.microsoft.com/office/powerpoint/2010/main" val="188739618"/>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AFD801-5C4C-5FB1-FF8B-3030C7237657}"/>
            </a:ext>
          </a:extLst>
        </p:cNvPr>
        <p:cNvGrpSpPr/>
        <p:nvPr/>
      </p:nvGrpSpPr>
      <p:grpSpPr>
        <a:xfrm>
          <a:off x="0" y="0"/>
          <a:ext cx="0" cy="0"/>
          <a:chOff x="0" y="0"/>
          <a:chExt cx="0" cy="0"/>
        </a:xfrm>
      </p:grpSpPr>
      <p:sp>
        <p:nvSpPr>
          <p:cNvPr id="2" name="Rectangle 57">
            <a:extLst>
              <a:ext uri="{FF2B5EF4-FFF2-40B4-BE49-F238E27FC236}">
                <a16:creationId xmlns:a16="http://schemas.microsoft.com/office/drawing/2014/main" id="{C6F7C54C-B33D-DC12-BDC3-64FF2FB2522B}"/>
              </a:ext>
            </a:extLst>
          </p:cNvPr>
          <p:cNvSpPr>
            <a:spLocks noChangeArrowheads="1"/>
          </p:cNvSpPr>
          <p:nvPr/>
        </p:nvSpPr>
        <p:spPr bwMode="gray">
          <a:xfrm>
            <a:off x="226220" y="198916"/>
            <a:ext cx="7407741" cy="984830"/>
          </a:xfrm>
          <a:prstGeom prst="rect">
            <a:avLst/>
          </a:prstGeom>
          <a:noFill/>
          <a:ln w="9525">
            <a:noFill/>
            <a:miter lim="800000"/>
            <a:headEnd/>
            <a:tailEnd/>
          </a:ln>
          <a:effectLst/>
        </p:spPr>
        <p:txBody>
          <a:bodyPr wrap="square" lIns="91386" tIns="45693" rIns="91386" bIns="45693">
            <a:spAutoFit/>
          </a:bodyPr>
          <a:lstStyle/>
          <a:p>
            <a:pPr defTabSz="609630"/>
            <a:r>
              <a:rPr lang="en-GB" sz="4000" b="1" kern="0" noProof="0" dirty="0">
                <a:solidFill>
                  <a:srgbClr val="000000">
                    <a:lumMod val="95000"/>
                    <a:lumOff val="5000"/>
                  </a:srgbClr>
                </a:solidFill>
                <a:latin typeface="Quattrocento Sans" panose="020B0502050000020003" pitchFamily="34" charset="0"/>
                <a:ea typeface="Lato"/>
                <a:cs typeface="Lato"/>
                <a:sym typeface="Calibri"/>
              </a:rPr>
              <a:t>Advisory</a:t>
            </a:r>
          </a:p>
          <a:p>
            <a:pPr defTabSz="609630" hangingPunct="0"/>
            <a:r>
              <a:rPr lang="en-GB" kern="0" noProof="0" dirty="0">
                <a:solidFill>
                  <a:srgbClr val="8A0051"/>
                </a:solidFill>
                <a:latin typeface="Quattrocento Sans" panose="020B0502050000020003" pitchFamily="34" charset="0"/>
                <a:cs typeface="Calibri"/>
                <a:sym typeface="Calibri"/>
              </a:rPr>
              <a:t>Actionable</a:t>
            </a:r>
          </a:p>
        </p:txBody>
      </p:sp>
      <p:pic>
        <p:nvPicPr>
          <p:cNvPr id="11" name="Imagen 10" descr="Logotipo&#10;&#10;Descripción generada automáticamente">
            <a:extLst>
              <a:ext uri="{FF2B5EF4-FFF2-40B4-BE49-F238E27FC236}">
                <a16:creationId xmlns:a16="http://schemas.microsoft.com/office/drawing/2014/main" id="{549778BC-A75C-E287-CA62-7422ED78D4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75643" y="422965"/>
            <a:ext cx="1935381" cy="446626"/>
          </a:xfrm>
          <a:prstGeom prst="rect">
            <a:avLst/>
          </a:prstGeom>
        </p:spPr>
      </p:pic>
      <p:pic>
        <p:nvPicPr>
          <p:cNvPr id="1026" name="Picture 2" descr="AstraZeneca Logo, symbol, meaning, history, PNG, brand">
            <a:extLst>
              <a:ext uri="{FF2B5EF4-FFF2-40B4-BE49-F238E27FC236}">
                <a16:creationId xmlns:a16="http://schemas.microsoft.com/office/drawing/2014/main" id="{3CE69B86-9344-E1F2-7545-1FFE51BD89A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75018" y="213658"/>
            <a:ext cx="1267373" cy="712897"/>
          </a:xfrm>
          <a:prstGeom prst="rect">
            <a:avLst/>
          </a:prstGeom>
          <a:noFill/>
          <a:extLst>
            <a:ext uri="{909E8E84-426E-40DD-AFC4-6F175D3DCCD1}">
              <a14:hiddenFill xmlns:a14="http://schemas.microsoft.com/office/drawing/2010/main">
                <a:solidFill>
                  <a:srgbClr val="FFFFFF"/>
                </a:solidFill>
              </a14:hiddenFill>
            </a:ext>
          </a:extLst>
        </p:spPr>
      </p:pic>
      <p:sp>
        <p:nvSpPr>
          <p:cNvPr id="21" name="Rectángulo: esquinas redondeadas 20">
            <a:extLst>
              <a:ext uri="{FF2B5EF4-FFF2-40B4-BE49-F238E27FC236}">
                <a16:creationId xmlns:a16="http://schemas.microsoft.com/office/drawing/2014/main" id="{02434A46-C560-86AD-5BE2-E0D2FFE44BF9}"/>
              </a:ext>
            </a:extLst>
          </p:cNvPr>
          <p:cNvSpPr/>
          <p:nvPr/>
        </p:nvSpPr>
        <p:spPr>
          <a:xfrm>
            <a:off x="1442634" y="2195784"/>
            <a:ext cx="3794789" cy="2368062"/>
          </a:xfrm>
          <a:prstGeom prst="roundRect">
            <a:avLst>
              <a:gd name="adj" fmla="val 6271"/>
            </a:avLst>
          </a:prstGeom>
          <a:noFill/>
          <a:ln w="57150">
            <a:solidFill>
              <a:srgbClr val="8A00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4" name="Group 27">
            <a:extLst>
              <a:ext uri="{FF2B5EF4-FFF2-40B4-BE49-F238E27FC236}">
                <a16:creationId xmlns:a16="http://schemas.microsoft.com/office/drawing/2014/main" id="{8ACC6655-9753-F19A-8FFE-B1C4FFD27B42}"/>
              </a:ext>
            </a:extLst>
          </p:cNvPr>
          <p:cNvGrpSpPr/>
          <p:nvPr/>
        </p:nvGrpSpPr>
        <p:grpSpPr>
          <a:xfrm>
            <a:off x="1583799" y="2292550"/>
            <a:ext cx="3512457" cy="2271257"/>
            <a:chOff x="609809" y="3300210"/>
            <a:chExt cx="2439179" cy="1394810"/>
          </a:xfrm>
        </p:grpSpPr>
        <p:sp>
          <p:nvSpPr>
            <p:cNvPr id="25" name="TextBox 28">
              <a:extLst>
                <a:ext uri="{FF2B5EF4-FFF2-40B4-BE49-F238E27FC236}">
                  <a16:creationId xmlns:a16="http://schemas.microsoft.com/office/drawing/2014/main" id="{6C1016B0-AB31-0EC2-B24D-3049F0C86CCC}"/>
                </a:ext>
              </a:extLst>
            </p:cNvPr>
            <p:cNvSpPr txBox="1"/>
            <p:nvPr/>
          </p:nvSpPr>
          <p:spPr>
            <a:xfrm>
              <a:off x="609809" y="3579862"/>
              <a:ext cx="2439179" cy="1115158"/>
            </a:xfrm>
            <a:prstGeom prst="rect">
              <a:avLst/>
            </a:prstGeom>
            <a:noFill/>
          </p:spPr>
          <p:txBody>
            <a:bodyPr wrap="square" lIns="91440" tIns="45720" rIns="91440" bIns="45720" rtlCol="0" anchor="t">
              <a:spAutoFit/>
            </a:bodyPr>
            <a:lstStyle/>
            <a:p>
              <a:pPr algn="ctr"/>
              <a:r>
                <a:rPr lang="en-GB" sz="1600" noProof="0" dirty="0"/>
                <a:t>R</a:t>
              </a:r>
              <a:r>
                <a:rPr lang="en-GB" sz="1600" noProof="0" dirty="0">
                  <a:solidFill>
                    <a:srgbClr val="000000"/>
                  </a:solidFill>
                </a:rPr>
                <a:t>eview one (1) dataflow with up to ten (10) associated tables, ensuring alignment with </a:t>
              </a:r>
              <a:r>
                <a:rPr lang="en-GB" sz="1600" b="1" noProof="0" dirty="0">
                  <a:solidFill>
                    <a:srgbClr val="000000"/>
                  </a:solidFill>
                </a:rPr>
                <a:t>architecture</a:t>
              </a:r>
              <a:r>
                <a:rPr lang="en-GB" sz="1600" noProof="0" dirty="0">
                  <a:solidFill>
                    <a:srgbClr val="000000"/>
                  </a:solidFill>
                </a:rPr>
                <a:t>, </a:t>
              </a:r>
              <a:r>
                <a:rPr lang="en-GB" sz="1600" b="1" noProof="0" dirty="0">
                  <a:solidFill>
                    <a:srgbClr val="000000"/>
                  </a:solidFill>
                </a:rPr>
                <a:t>naming conventions</a:t>
              </a:r>
              <a:r>
                <a:rPr lang="en-GB" sz="1600" noProof="0" dirty="0">
                  <a:solidFill>
                    <a:srgbClr val="000000"/>
                  </a:solidFill>
                </a:rPr>
                <a:t>, and </a:t>
              </a:r>
              <a:r>
                <a:rPr lang="en-GB" sz="1600" b="1" noProof="0" dirty="0">
                  <a:solidFill>
                    <a:srgbClr val="000000"/>
                  </a:solidFill>
                </a:rPr>
                <a:t>best practices</a:t>
              </a:r>
              <a:r>
                <a:rPr lang="en-GB" sz="1600" noProof="0" dirty="0">
                  <a:solidFill>
                    <a:srgbClr val="000000"/>
                  </a:solidFill>
                </a:rPr>
                <a:t>.</a:t>
              </a:r>
              <a:endParaRPr lang="en-US" dirty="0">
                <a:solidFill>
                  <a:srgbClr val="000000"/>
                </a:solidFill>
              </a:endParaRPr>
            </a:p>
            <a:p>
              <a:pPr algn="ctr" latinLnBrk="1"/>
              <a:endParaRPr lang="en-GB" sz="1600" noProof="0">
                <a:latin typeface="Quattrocento Sans" panose="020B0502050000020003" pitchFamily="34" charset="0"/>
                <a:cs typeface="Arial" pitchFamily="34" charset="0"/>
              </a:endParaRPr>
            </a:p>
            <a:p>
              <a:pPr algn="ctr" latinLnBrk="1"/>
              <a:endParaRPr lang="en-GB" sz="1600">
                <a:latin typeface="Quattrocento Sans" panose="020B0502050000020003" pitchFamily="34" charset="0"/>
                <a:cs typeface="Arial" pitchFamily="34" charset="0"/>
              </a:endParaRPr>
            </a:p>
            <a:p>
              <a:pPr algn="ctr" latinLnBrk="1"/>
              <a:r>
                <a:rPr lang="en-GB" sz="1600" b="1" i="1" noProof="0" dirty="0">
                  <a:latin typeface="Quattrocento Sans"/>
                  <a:cs typeface="Arial"/>
                </a:rPr>
                <a:t>2 Weeks</a:t>
              </a:r>
            </a:p>
          </p:txBody>
        </p:sp>
        <p:sp>
          <p:nvSpPr>
            <p:cNvPr id="26" name="TextBox 29">
              <a:extLst>
                <a:ext uri="{FF2B5EF4-FFF2-40B4-BE49-F238E27FC236}">
                  <a16:creationId xmlns:a16="http://schemas.microsoft.com/office/drawing/2014/main" id="{0C01B7B8-4BC3-E315-ADC1-FF2659B6D01E}"/>
                </a:ext>
              </a:extLst>
            </p:cNvPr>
            <p:cNvSpPr txBox="1"/>
            <p:nvPr/>
          </p:nvSpPr>
          <p:spPr>
            <a:xfrm>
              <a:off x="804416" y="3300210"/>
              <a:ext cx="2059657" cy="283515"/>
            </a:xfrm>
            <a:prstGeom prst="rect">
              <a:avLst/>
            </a:prstGeom>
            <a:noFill/>
          </p:spPr>
          <p:txBody>
            <a:bodyPr wrap="square" lIns="91440" tIns="45720" rIns="91440" bIns="45720" rtlCol="0" anchor="t">
              <a:spAutoFit/>
            </a:bodyPr>
            <a:lstStyle/>
            <a:p>
              <a:pPr algn="ctr" latinLnBrk="1"/>
              <a:r>
                <a:rPr lang="en-GB" sz="2400" b="1" noProof="0" dirty="0">
                  <a:latin typeface="Quattrocento Sans"/>
                  <a:cs typeface="Arial"/>
                </a:rPr>
                <a:t>1. </a:t>
              </a:r>
              <a:r>
                <a:rPr lang="en-GB" sz="2400" b="1" dirty="0">
                  <a:latin typeface="Quattrocento Sans"/>
                  <a:cs typeface="Arial"/>
                </a:rPr>
                <a:t>As-Is</a:t>
              </a:r>
              <a:endParaRPr lang="en-GB" sz="2400" b="1" noProof="0" dirty="0">
                <a:latin typeface="Quattrocento Sans" panose="020B0502050000020003" pitchFamily="34" charset="0"/>
                <a:cs typeface="Arial" pitchFamily="34" charset="0"/>
              </a:endParaRPr>
            </a:p>
          </p:txBody>
        </p:sp>
      </p:grpSp>
      <p:sp>
        <p:nvSpPr>
          <p:cNvPr id="27" name="Rectángulo: esquinas redondeadas 26">
            <a:extLst>
              <a:ext uri="{FF2B5EF4-FFF2-40B4-BE49-F238E27FC236}">
                <a16:creationId xmlns:a16="http://schemas.microsoft.com/office/drawing/2014/main" id="{EA8ADD4A-60EB-D041-E294-7B5C0C043AF8}"/>
              </a:ext>
            </a:extLst>
          </p:cNvPr>
          <p:cNvSpPr/>
          <p:nvPr/>
        </p:nvSpPr>
        <p:spPr>
          <a:xfrm>
            <a:off x="6959319" y="2200983"/>
            <a:ext cx="3794789" cy="2368062"/>
          </a:xfrm>
          <a:prstGeom prst="roundRect">
            <a:avLst>
              <a:gd name="adj" fmla="val 6271"/>
            </a:avLst>
          </a:prstGeom>
          <a:noFill/>
          <a:ln w="57150">
            <a:solidFill>
              <a:srgbClr val="8A00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0" name="Group 27">
            <a:extLst>
              <a:ext uri="{FF2B5EF4-FFF2-40B4-BE49-F238E27FC236}">
                <a16:creationId xmlns:a16="http://schemas.microsoft.com/office/drawing/2014/main" id="{C0CAA7A5-5BEE-CD97-DBD9-10C8F1E98DA7}"/>
              </a:ext>
            </a:extLst>
          </p:cNvPr>
          <p:cNvGrpSpPr/>
          <p:nvPr/>
        </p:nvGrpSpPr>
        <p:grpSpPr>
          <a:xfrm>
            <a:off x="7100484" y="2297749"/>
            <a:ext cx="3512457" cy="2271257"/>
            <a:chOff x="609809" y="3300210"/>
            <a:chExt cx="2439179" cy="1394810"/>
          </a:xfrm>
        </p:grpSpPr>
        <p:sp>
          <p:nvSpPr>
            <p:cNvPr id="31" name="TextBox 28">
              <a:extLst>
                <a:ext uri="{FF2B5EF4-FFF2-40B4-BE49-F238E27FC236}">
                  <a16:creationId xmlns:a16="http://schemas.microsoft.com/office/drawing/2014/main" id="{7F42017F-A39A-0A8C-6F5C-ADB12C63ED5A}"/>
                </a:ext>
              </a:extLst>
            </p:cNvPr>
            <p:cNvSpPr txBox="1"/>
            <p:nvPr/>
          </p:nvSpPr>
          <p:spPr>
            <a:xfrm>
              <a:off x="609809" y="3579862"/>
              <a:ext cx="2439179" cy="1115158"/>
            </a:xfrm>
            <a:prstGeom prst="rect">
              <a:avLst/>
            </a:prstGeom>
            <a:noFill/>
          </p:spPr>
          <p:txBody>
            <a:bodyPr wrap="square" rtlCol="0">
              <a:spAutoFit/>
            </a:bodyPr>
            <a:lstStyle/>
            <a:p>
              <a:pPr algn="ctr"/>
              <a:r>
                <a:rPr lang="en-GB" sz="1600"/>
                <a:t>T</a:t>
              </a:r>
              <a:r>
                <a:rPr lang="en-GB" sz="1600" noProof="0"/>
                <a:t>wo (2) dedicated team members working alongside the project team. Continuous reviews, recommendations, and support to ensure alignment with best practices and project standards.</a:t>
              </a:r>
              <a:endParaRPr lang="en-GB" sz="1600" noProof="0">
                <a:latin typeface="Quattrocento Sans" panose="020B0502050000020003" pitchFamily="34" charset="0"/>
                <a:cs typeface="Arial" pitchFamily="34" charset="0"/>
              </a:endParaRPr>
            </a:p>
            <a:p>
              <a:pPr algn="ctr" latinLnBrk="1"/>
              <a:endParaRPr lang="en-GB" sz="1600">
                <a:latin typeface="Quattrocento Sans" panose="020B0502050000020003" pitchFamily="34" charset="0"/>
                <a:cs typeface="Arial" pitchFamily="34" charset="0"/>
              </a:endParaRPr>
            </a:p>
            <a:p>
              <a:pPr algn="ctr" latinLnBrk="1"/>
              <a:r>
                <a:rPr lang="en-GB" sz="1600" b="1" i="1" noProof="0">
                  <a:latin typeface="Quattrocento Sans" panose="020B0502050000020003" pitchFamily="34" charset="0"/>
                  <a:cs typeface="Arial" pitchFamily="34" charset="0"/>
                </a:rPr>
                <a:t>End of 2025</a:t>
              </a:r>
            </a:p>
          </p:txBody>
        </p:sp>
        <p:sp>
          <p:nvSpPr>
            <p:cNvPr id="32" name="TextBox 29">
              <a:extLst>
                <a:ext uri="{FF2B5EF4-FFF2-40B4-BE49-F238E27FC236}">
                  <a16:creationId xmlns:a16="http://schemas.microsoft.com/office/drawing/2014/main" id="{22AD949C-F413-A1D8-6268-6AFB5FC92EA6}"/>
                </a:ext>
              </a:extLst>
            </p:cNvPr>
            <p:cNvSpPr txBox="1"/>
            <p:nvPr/>
          </p:nvSpPr>
          <p:spPr>
            <a:xfrm>
              <a:off x="804416" y="3300210"/>
              <a:ext cx="2059657" cy="283515"/>
            </a:xfrm>
            <a:prstGeom prst="rect">
              <a:avLst/>
            </a:prstGeom>
            <a:noFill/>
          </p:spPr>
          <p:txBody>
            <a:bodyPr wrap="square" lIns="91440" tIns="45720" rIns="91440" bIns="45720" rtlCol="0" anchor="t">
              <a:spAutoFit/>
            </a:bodyPr>
            <a:lstStyle/>
            <a:p>
              <a:pPr algn="ctr" latinLnBrk="1"/>
              <a:r>
                <a:rPr lang="en-GB" sz="2400" b="1" noProof="0" dirty="0">
                  <a:latin typeface="Quattrocento Sans"/>
                  <a:cs typeface="Arial"/>
                </a:rPr>
                <a:t>2. </a:t>
              </a:r>
              <a:r>
                <a:rPr lang="en-GB" sz="2400" b="1" dirty="0">
                  <a:latin typeface="Quattrocento Sans"/>
                  <a:cs typeface="Arial"/>
                </a:rPr>
                <a:t>Way Forward</a:t>
              </a:r>
              <a:endParaRPr lang="en-GB" sz="2400" b="1" noProof="0" dirty="0">
                <a:latin typeface="Quattrocento Sans" panose="020B0502050000020003" pitchFamily="34" charset="0"/>
                <a:cs typeface="Arial" pitchFamily="34" charset="0"/>
              </a:endParaRPr>
            </a:p>
          </p:txBody>
        </p:sp>
      </p:grpSp>
    </p:spTree>
    <p:extLst>
      <p:ext uri="{BB962C8B-B14F-4D97-AF65-F5344CB8AC3E}">
        <p14:creationId xmlns:p14="http://schemas.microsoft.com/office/powerpoint/2010/main" val="3265842886"/>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EB93A2-C3AD-403E-74FA-D9FF16A183AE}"/>
            </a:ext>
          </a:extLst>
        </p:cNvPr>
        <p:cNvGrpSpPr/>
        <p:nvPr/>
      </p:nvGrpSpPr>
      <p:grpSpPr>
        <a:xfrm>
          <a:off x="0" y="0"/>
          <a:ext cx="0" cy="0"/>
          <a:chOff x="0" y="0"/>
          <a:chExt cx="0" cy="0"/>
        </a:xfrm>
      </p:grpSpPr>
      <p:sp>
        <p:nvSpPr>
          <p:cNvPr id="2" name="Rectangle 57">
            <a:extLst>
              <a:ext uri="{FF2B5EF4-FFF2-40B4-BE49-F238E27FC236}">
                <a16:creationId xmlns:a16="http://schemas.microsoft.com/office/drawing/2014/main" id="{380A94E6-B6DC-CF23-CD05-090469FD46C3}"/>
              </a:ext>
            </a:extLst>
          </p:cNvPr>
          <p:cNvSpPr>
            <a:spLocks noChangeArrowheads="1"/>
          </p:cNvSpPr>
          <p:nvPr/>
        </p:nvSpPr>
        <p:spPr bwMode="gray">
          <a:xfrm>
            <a:off x="226220" y="198916"/>
            <a:ext cx="7407741" cy="984830"/>
          </a:xfrm>
          <a:prstGeom prst="rect">
            <a:avLst/>
          </a:prstGeom>
          <a:noFill/>
          <a:ln w="9525">
            <a:noFill/>
            <a:miter lim="800000"/>
            <a:headEnd/>
            <a:tailEnd/>
          </a:ln>
          <a:effectLst/>
        </p:spPr>
        <p:txBody>
          <a:bodyPr wrap="square" lIns="91386" tIns="45693" rIns="91386" bIns="45693" anchor="t">
            <a:spAutoFit/>
          </a:bodyPr>
          <a:lstStyle/>
          <a:p>
            <a:pPr defTabSz="609630"/>
            <a:r>
              <a:rPr lang="en-GB" sz="4000" b="1" kern="0" dirty="0">
                <a:solidFill>
                  <a:srgbClr val="000000">
                    <a:lumMod val="95000"/>
                    <a:lumOff val="5000"/>
                  </a:srgbClr>
                </a:solidFill>
                <a:latin typeface="Quattrocento Sans"/>
                <a:ea typeface="Lato"/>
                <a:cs typeface="Lato"/>
                <a:sym typeface="Calibri"/>
              </a:rPr>
              <a:t>Agenda</a:t>
            </a:r>
            <a:endParaRPr lang="en-GB" sz="4000" b="1" kern="0" noProof="0" dirty="0">
              <a:solidFill>
                <a:srgbClr val="000000">
                  <a:lumMod val="95000"/>
                  <a:lumOff val="5000"/>
                </a:srgbClr>
              </a:solidFill>
              <a:latin typeface="Quattrocento Sans" panose="020B0502050000020003" pitchFamily="34" charset="0"/>
              <a:ea typeface="Lato"/>
              <a:cs typeface="Lato"/>
              <a:sym typeface="Calibri"/>
            </a:endParaRPr>
          </a:p>
          <a:p>
            <a:pPr defTabSz="609630" hangingPunct="0"/>
            <a:r>
              <a:rPr lang="en-GB" kern="0" noProof="0" dirty="0">
                <a:solidFill>
                  <a:srgbClr val="8A0051"/>
                </a:solidFill>
                <a:latin typeface="Quattrocento Sans"/>
                <a:cs typeface="Calibri"/>
                <a:sym typeface="Calibri"/>
              </a:rPr>
              <a:t>What can we do for you?</a:t>
            </a:r>
            <a:endParaRPr lang="en-GB" kern="0" noProof="0" dirty="0">
              <a:solidFill>
                <a:srgbClr val="8A0051"/>
              </a:solidFill>
              <a:latin typeface="Quattrocento Sans"/>
              <a:cs typeface="Calibri"/>
            </a:endParaRPr>
          </a:p>
        </p:txBody>
      </p:sp>
      <p:pic>
        <p:nvPicPr>
          <p:cNvPr id="11" name="Imagen 10" descr="Logotipo&#10;&#10;Descripción generada automáticamente">
            <a:extLst>
              <a:ext uri="{FF2B5EF4-FFF2-40B4-BE49-F238E27FC236}">
                <a16:creationId xmlns:a16="http://schemas.microsoft.com/office/drawing/2014/main" id="{8B85F797-552C-F3E0-F0AB-21D85593A0D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75643" y="422965"/>
            <a:ext cx="1935381" cy="446626"/>
          </a:xfrm>
          <a:prstGeom prst="rect">
            <a:avLst/>
          </a:prstGeom>
        </p:spPr>
      </p:pic>
      <p:sp>
        <p:nvSpPr>
          <p:cNvPr id="38" name="CuadroTexto 37">
            <a:extLst>
              <a:ext uri="{FF2B5EF4-FFF2-40B4-BE49-F238E27FC236}">
                <a16:creationId xmlns:a16="http://schemas.microsoft.com/office/drawing/2014/main" id="{11D906B7-EA79-DF17-3E53-7AB5868D2A00}"/>
              </a:ext>
            </a:extLst>
          </p:cNvPr>
          <p:cNvSpPr txBox="1"/>
          <p:nvPr/>
        </p:nvSpPr>
        <p:spPr>
          <a:xfrm>
            <a:off x="654268" y="2105611"/>
            <a:ext cx="10545379" cy="2844000"/>
          </a:xfrm>
          <a:prstGeom prst="rect">
            <a:avLst/>
          </a:prstGeom>
          <a:noFill/>
        </p:spPr>
        <p:txBody>
          <a:bodyPr wrap="square" lIns="91440" tIns="45720" rIns="91440" bIns="45720" numCol="2" anchor="t">
            <a:spAutoFit/>
          </a:bodyPr>
          <a:lstStyle/>
          <a:p>
            <a:pPr marL="342900" indent="-342900">
              <a:buAutoNum type="arabicPeriod"/>
            </a:pPr>
            <a:r>
              <a:rPr lang="en-GB" sz="3600" dirty="0">
                <a:latin typeface="Quattrocento Sans"/>
              </a:rPr>
              <a:t>Data Governance</a:t>
            </a:r>
          </a:p>
          <a:p>
            <a:pPr marL="800100" lvl="1" indent="-342900">
              <a:buFont typeface="Arial" panose="020B0604020202020204" pitchFamily="34" charset="0"/>
              <a:buChar char="•"/>
            </a:pPr>
            <a:r>
              <a:rPr lang="en-GB" sz="3600" dirty="0">
                <a:latin typeface="Quattrocento Sans"/>
              </a:rPr>
              <a:t>Catalogue &amp; Lineage</a:t>
            </a:r>
          </a:p>
          <a:p>
            <a:pPr marL="800100" lvl="1" indent="-342900">
              <a:buFont typeface="Arial" panose="020B0604020202020204" pitchFamily="34" charset="0"/>
              <a:buChar char="•"/>
            </a:pPr>
            <a:r>
              <a:rPr lang="en-GB" sz="3600" dirty="0">
                <a:latin typeface="Quattrocento Sans"/>
              </a:rPr>
              <a:t>Data Quality</a:t>
            </a:r>
          </a:p>
          <a:p>
            <a:pPr marL="800100" lvl="1" indent="-342900">
              <a:buFont typeface="Arial" panose="020B0604020202020204" pitchFamily="34" charset="0"/>
              <a:buChar char="•"/>
            </a:pPr>
            <a:r>
              <a:rPr lang="en-GB" sz="3600" dirty="0">
                <a:latin typeface="Quattrocento Sans"/>
              </a:rPr>
              <a:t>Security</a:t>
            </a:r>
          </a:p>
          <a:p>
            <a:pPr lvl="1"/>
            <a:endParaRPr lang="en-GB" sz="3600">
              <a:latin typeface="Quattrocento Sans" panose="020B0502050000020003" pitchFamily="34" charset="0"/>
            </a:endParaRPr>
          </a:p>
          <a:p>
            <a:pPr marL="536575" indent="-179070">
              <a:buAutoNum type="arabicPeriod"/>
            </a:pPr>
            <a:r>
              <a:rPr lang="en-GB" sz="3600" noProof="0" dirty="0">
                <a:latin typeface="Quattrocento Sans"/>
              </a:rPr>
              <a:t> Advisory</a:t>
            </a:r>
          </a:p>
          <a:p>
            <a:pPr marL="1071245" lvl="1" indent="-273050">
              <a:buFont typeface="Arial" panose="020B0604020202020204" pitchFamily="34" charset="0"/>
              <a:buChar char="•"/>
            </a:pPr>
            <a:r>
              <a:rPr lang="en-GB" sz="3600" dirty="0">
                <a:latin typeface="Quattrocento Sans"/>
              </a:rPr>
              <a:t>As-Is</a:t>
            </a:r>
            <a:endParaRPr lang="en-GB" sz="3600" dirty="0">
              <a:latin typeface="Quattrocento Sans" panose="020B0502050000020003" pitchFamily="34" charset="0"/>
            </a:endParaRPr>
          </a:p>
          <a:p>
            <a:pPr marL="1071245" lvl="1" indent="-273050">
              <a:buFont typeface="Arial" panose="020B0604020202020204" pitchFamily="34" charset="0"/>
              <a:buChar char="•"/>
            </a:pPr>
            <a:r>
              <a:rPr lang="en-GB" sz="3600" dirty="0">
                <a:latin typeface="Quattrocento Sans"/>
              </a:rPr>
              <a:t>Way Forward</a:t>
            </a:r>
            <a:endParaRPr lang="en-GB" sz="3600" noProof="0" dirty="0">
              <a:latin typeface="Quattrocento Sans" panose="020B0502050000020003" pitchFamily="34" charset="0"/>
            </a:endParaRPr>
          </a:p>
          <a:p>
            <a:pPr lvl="1"/>
            <a:endParaRPr lang="en-GB" sz="3600" noProof="0">
              <a:latin typeface="Quattrocento Sans" panose="020B0502050000020003" pitchFamily="34" charset="0"/>
            </a:endParaRPr>
          </a:p>
        </p:txBody>
      </p:sp>
      <p:pic>
        <p:nvPicPr>
          <p:cNvPr id="1026" name="Picture 2" descr="AstraZeneca Logo, symbol, meaning, history, PNG, brand">
            <a:extLst>
              <a:ext uri="{FF2B5EF4-FFF2-40B4-BE49-F238E27FC236}">
                <a16:creationId xmlns:a16="http://schemas.microsoft.com/office/drawing/2014/main" id="{56608B9C-C179-3FAD-4336-98864730FA3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75018" y="213658"/>
            <a:ext cx="1267373" cy="7128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3329721"/>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57">
            <a:extLst>
              <a:ext uri="{FF2B5EF4-FFF2-40B4-BE49-F238E27FC236}">
                <a16:creationId xmlns:a16="http://schemas.microsoft.com/office/drawing/2014/main" id="{A2BF1F82-BA85-A854-CE8F-211F605EF834}"/>
              </a:ext>
            </a:extLst>
          </p:cNvPr>
          <p:cNvSpPr>
            <a:spLocks noChangeArrowheads="1"/>
          </p:cNvSpPr>
          <p:nvPr/>
        </p:nvSpPr>
        <p:spPr bwMode="gray">
          <a:xfrm>
            <a:off x="226220" y="198916"/>
            <a:ext cx="7407741" cy="984830"/>
          </a:xfrm>
          <a:prstGeom prst="rect">
            <a:avLst/>
          </a:prstGeom>
          <a:noFill/>
          <a:ln w="9525">
            <a:noFill/>
            <a:miter lim="800000"/>
            <a:headEnd/>
            <a:tailEnd/>
          </a:ln>
          <a:effectLst/>
        </p:spPr>
        <p:txBody>
          <a:bodyPr wrap="square" lIns="91386" tIns="45693" rIns="91386" bIns="45693" anchor="t">
            <a:spAutoFit/>
          </a:bodyPr>
          <a:lstStyle/>
          <a:p>
            <a:pPr defTabSz="609630"/>
            <a:r>
              <a:rPr lang="en-GB" sz="4000" b="1" kern="0" dirty="0">
                <a:solidFill>
                  <a:srgbClr val="000000">
                    <a:lumMod val="95000"/>
                    <a:lumOff val="5000"/>
                  </a:srgbClr>
                </a:solidFill>
                <a:latin typeface="Quattrocento Sans"/>
                <a:ea typeface="Lato"/>
                <a:cs typeface="Lato"/>
                <a:sym typeface="Calibri"/>
              </a:rPr>
              <a:t>Summary</a:t>
            </a:r>
            <a:endParaRPr lang="en-GB" sz="4000" b="1" kern="0" noProof="0" dirty="0">
              <a:solidFill>
                <a:srgbClr val="000000">
                  <a:lumMod val="95000"/>
                  <a:lumOff val="5000"/>
                </a:srgbClr>
              </a:solidFill>
              <a:latin typeface="Quattrocento Sans" panose="020B0502050000020003" pitchFamily="34" charset="0"/>
              <a:ea typeface="Lato"/>
              <a:cs typeface="Lato"/>
              <a:sym typeface="Calibri"/>
            </a:endParaRPr>
          </a:p>
          <a:p>
            <a:pPr defTabSz="609630" hangingPunct="0"/>
            <a:r>
              <a:rPr lang="en-GB" kern="0" dirty="0" err="1">
                <a:solidFill>
                  <a:srgbClr val="8A0051"/>
                </a:solidFill>
                <a:latin typeface="Quattrocento Sans"/>
                <a:cs typeface="Calibri"/>
                <a:sym typeface="Calibri"/>
              </a:rPr>
              <a:t>Actionables</a:t>
            </a:r>
            <a:endParaRPr lang="en-GB" kern="0" noProof="0" dirty="0" err="1">
              <a:solidFill>
                <a:srgbClr val="8A0051"/>
              </a:solidFill>
              <a:latin typeface="Quattrocento Sans"/>
              <a:cs typeface="Calibri"/>
            </a:endParaRPr>
          </a:p>
        </p:txBody>
      </p:sp>
      <p:pic>
        <p:nvPicPr>
          <p:cNvPr id="5" name="Imagen 10" descr="Logotipo&#10;&#10;Descripción generada automáticamente">
            <a:extLst>
              <a:ext uri="{FF2B5EF4-FFF2-40B4-BE49-F238E27FC236}">
                <a16:creationId xmlns:a16="http://schemas.microsoft.com/office/drawing/2014/main" id="{7751D934-9B2E-D739-BD9F-F5EC488A5F8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75643" y="422965"/>
            <a:ext cx="1935381" cy="446626"/>
          </a:xfrm>
          <a:prstGeom prst="rect">
            <a:avLst/>
          </a:prstGeom>
        </p:spPr>
      </p:pic>
      <p:pic>
        <p:nvPicPr>
          <p:cNvPr id="7" name="Picture 2" descr="AstraZeneca Logo, symbol, meaning, history, PNG, brand">
            <a:extLst>
              <a:ext uri="{FF2B5EF4-FFF2-40B4-BE49-F238E27FC236}">
                <a16:creationId xmlns:a16="http://schemas.microsoft.com/office/drawing/2014/main" id="{CE219721-FA5B-55A3-8DC4-C5987BBB5E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75018" y="213658"/>
            <a:ext cx="1267373" cy="712897"/>
          </a:xfrm>
          <a:prstGeom prst="rect">
            <a:avLst/>
          </a:prstGeom>
          <a:noFill/>
          <a:extLst>
            <a:ext uri="{909E8E84-426E-40DD-AFC4-6F175D3DCCD1}">
              <a14:hiddenFill xmlns:a14="http://schemas.microsoft.com/office/drawing/2010/main">
                <a:solidFill>
                  <a:srgbClr val="FFFFFF"/>
                </a:solidFill>
              </a14:hiddenFill>
            </a:ext>
          </a:extLst>
        </p:spPr>
      </p:pic>
      <p:sp>
        <p:nvSpPr>
          <p:cNvPr id="4" name="Rectángulo: esquinas redondeadas 20">
            <a:extLst>
              <a:ext uri="{FF2B5EF4-FFF2-40B4-BE49-F238E27FC236}">
                <a16:creationId xmlns:a16="http://schemas.microsoft.com/office/drawing/2014/main" id="{AB703A68-9140-EF19-77FA-4C34083D53B3}"/>
              </a:ext>
            </a:extLst>
          </p:cNvPr>
          <p:cNvSpPr/>
          <p:nvPr/>
        </p:nvSpPr>
        <p:spPr>
          <a:xfrm>
            <a:off x="276685" y="1931894"/>
            <a:ext cx="3018808" cy="2116392"/>
          </a:xfrm>
          <a:prstGeom prst="roundRect">
            <a:avLst>
              <a:gd name="adj" fmla="val 6271"/>
            </a:avLst>
          </a:prstGeom>
          <a:noFill/>
          <a:ln w="12700">
            <a:solidFill>
              <a:srgbClr val="8A00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400"/>
          </a:p>
        </p:txBody>
      </p:sp>
      <p:grpSp>
        <p:nvGrpSpPr>
          <p:cNvPr id="10" name="Group 27">
            <a:extLst>
              <a:ext uri="{FF2B5EF4-FFF2-40B4-BE49-F238E27FC236}">
                <a16:creationId xmlns:a16="http://schemas.microsoft.com/office/drawing/2014/main" id="{8EA81130-B052-D154-1C68-BC45FD69329B}"/>
              </a:ext>
            </a:extLst>
          </p:cNvPr>
          <p:cNvGrpSpPr/>
          <p:nvPr/>
        </p:nvGrpSpPr>
        <p:grpSpPr>
          <a:xfrm>
            <a:off x="417850" y="2042640"/>
            <a:ext cx="2792402" cy="1840369"/>
            <a:chOff x="609809" y="3300210"/>
            <a:chExt cx="2439179" cy="1130196"/>
          </a:xfrm>
        </p:grpSpPr>
        <p:sp>
          <p:nvSpPr>
            <p:cNvPr id="8" name="TextBox 28">
              <a:extLst>
                <a:ext uri="{FF2B5EF4-FFF2-40B4-BE49-F238E27FC236}">
                  <a16:creationId xmlns:a16="http://schemas.microsoft.com/office/drawing/2014/main" id="{F149EE24-455E-4C4C-A6E3-94B4A553F216}"/>
                </a:ext>
              </a:extLst>
            </p:cNvPr>
            <p:cNvSpPr txBox="1"/>
            <p:nvPr/>
          </p:nvSpPr>
          <p:spPr>
            <a:xfrm>
              <a:off x="609809" y="3579862"/>
              <a:ext cx="2439179" cy="850544"/>
            </a:xfrm>
            <a:prstGeom prst="rect">
              <a:avLst/>
            </a:prstGeom>
            <a:noFill/>
          </p:spPr>
          <p:txBody>
            <a:bodyPr wrap="square" lIns="91440" tIns="45720" rIns="91440" bIns="45720" rtlCol="0" anchor="t">
              <a:spAutoFit/>
            </a:bodyPr>
            <a:lstStyle/>
            <a:p>
              <a:pPr algn="ctr"/>
              <a:r>
                <a:rPr lang="en-GB" sz="1200" noProof="0" dirty="0"/>
                <a:t>Review one (1) dataflow with up to ten (10) associated tables, ensuring alignment with architecture, naming conventions, and best practices.</a:t>
              </a:r>
            </a:p>
            <a:p>
              <a:pPr algn="ctr" latinLnBrk="1"/>
              <a:endParaRPr lang="en-GB" sz="1200" noProof="0">
                <a:latin typeface="Quattrocento Sans" panose="020B0502050000020003" pitchFamily="34" charset="0"/>
                <a:cs typeface="Arial" pitchFamily="34" charset="0"/>
              </a:endParaRPr>
            </a:p>
            <a:p>
              <a:pPr algn="ctr" latinLnBrk="1"/>
              <a:endParaRPr lang="en-GB" sz="1200">
                <a:latin typeface="Quattrocento Sans" panose="020B0502050000020003" pitchFamily="34" charset="0"/>
                <a:cs typeface="Arial" pitchFamily="34" charset="0"/>
              </a:endParaRPr>
            </a:p>
            <a:p>
              <a:pPr algn="ctr" latinLnBrk="1"/>
              <a:r>
                <a:rPr lang="en-GB" sz="1200" b="1" i="1" noProof="0" dirty="0">
                  <a:latin typeface="Quattrocento Sans"/>
                  <a:cs typeface="Arial"/>
                </a:rPr>
                <a:t>2 </a:t>
              </a:r>
              <a:r>
                <a:rPr lang="en-GB" sz="1200" b="1" i="1" dirty="0">
                  <a:latin typeface="Quattrocento Sans"/>
                  <a:cs typeface="Arial"/>
                </a:rPr>
                <a:t>- 4 weeks</a:t>
              </a:r>
              <a:endParaRPr lang="en-GB" sz="1200" b="1" i="1" noProof="0" dirty="0">
                <a:latin typeface="Quattrocento Sans"/>
                <a:cs typeface="Arial"/>
              </a:endParaRPr>
            </a:p>
          </p:txBody>
        </p:sp>
        <p:sp>
          <p:nvSpPr>
            <p:cNvPr id="9" name="TextBox 29">
              <a:extLst>
                <a:ext uri="{FF2B5EF4-FFF2-40B4-BE49-F238E27FC236}">
                  <a16:creationId xmlns:a16="http://schemas.microsoft.com/office/drawing/2014/main" id="{1B8A7490-DBB8-3F44-1C5A-F03BBBDBC01D}"/>
                </a:ext>
              </a:extLst>
            </p:cNvPr>
            <p:cNvSpPr txBox="1"/>
            <p:nvPr/>
          </p:nvSpPr>
          <p:spPr>
            <a:xfrm>
              <a:off x="654272" y="3300210"/>
              <a:ext cx="2255547" cy="226812"/>
            </a:xfrm>
            <a:prstGeom prst="rect">
              <a:avLst/>
            </a:prstGeom>
            <a:noFill/>
          </p:spPr>
          <p:txBody>
            <a:bodyPr wrap="square" rtlCol="0">
              <a:spAutoFit/>
            </a:bodyPr>
            <a:lstStyle/>
            <a:p>
              <a:pPr algn="ctr" latinLnBrk="1"/>
              <a:r>
                <a:rPr lang="en-GB" b="1" noProof="0">
                  <a:latin typeface="Quattrocento Sans" panose="020B0502050000020003" pitchFamily="34" charset="0"/>
                  <a:cs typeface="Arial" pitchFamily="34" charset="0"/>
                </a:rPr>
                <a:t>1. Catalogue &amp; Lineage</a:t>
              </a:r>
            </a:p>
          </p:txBody>
        </p:sp>
      </p:grpSp>
      <p:sp>
        <p:nvSpPr>
          <p:cNvPr id="12" name="Rectángulo: esquinas redondeadas 26">
            <a:extLst>
              <a:ext uri="{FF2B5EF4-FFF2-40B4-BE49-F238E27FC236}">
                <a16:creationId xmlns:a16="http://schemas.microsoft.com/office/drawing/2014/main" id="{4255C0AE-12FC-2CA5-AA71-2E5465268A05}"/>
              </a:ext>
            </a:extLst>
          </p:cNvPr>
          <p:cNvSpPr/>
          <p:nvPr/>
        </p:nvSpPr>
        <p:spPr>
          <a:xfrm>
            <a:off x="3484502" y="1927716"/>
            <a:ext cx="3018808" cy="2134554"/>
          </a:xfrm>
          <a:prstGeom prst="roundRect">
            <a:avLst>
              <a:gd name="adj" fmla="val 6271"/>
            </a:avLst>
          </a:prstGeom>
          <a:noFill/>
          <a:ln w="12700">
            <a:solidFill>
              <a:srgbClr val="8A00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400"/>
          </a:p>
        </p:txBody>
      </p:sp>
      <p:grpSp>
        <p:nvGrpSpPr>
          <p:cNvPr id="16" name="Group 27">
            <a:extLst>
              <a:ext uri="{FF2B5EF4-FFF2-40B4-BE49-F238E27FC236}">
                <a16:creationId xmlns:a16="http://schemas.microsoft.com/office/drawing/2014/main" id="{A9BE151C-9F78-E992-2F0B-E04E27C4332C}"/>
              </a:ext>
            </a:extLst>
          </p:cNvPr>
          <p:cNvGrpSpPr/>
          <p:nvPr/>
        </p:nvGrpSpPr>
        <p:grpSpPr>
          <a:xfrm>
            <a:off x="3470523" y="2042639"/>
            <a:ext cx="3016709" cy="1840370"/>
            <a:chOff x="511780" y="3300210"/>
            <a:chExt cx="2633783" cy="1130197"/>
          </a:xfrm>
        </p:grpSpPr>
        <p:sp>
          <p:nvSpPr>
            <p:cNvPr id="14" name="TextBox 28">
              <a:extLst>
                <a:ext uri="{FF2B5EF4-FFF2-40B4-BE49-F238E27FC236}">
                  <a16:creationId xmlns:a16="http://schemas.microsoft.com/office/drawing/2014/main" id="{90515D6F-4577-ED70-AD56-F876F23D5D91}"/>
                </a:ext>
              </a:extLst>
            </p:cNvPr>
            <p:cNvSpPr txBox="1"/>
            <p:nvPr/>
          </p:nvSpPr>
          <p:spPr>
            <a:xfrm>
              <a:off x="511780" y="3579862"/>
              <a:ext cx="2633783" cy="850545"/>
            </a:xfrm>
            <a:prstGeom prst="rect">
              <a:avLst/>
            </a:prstGeom>
            <a:noFill/>
          </p:spPr>
          <p:txBody>
            <a:bodyPr wrap="square" lIns="91440" tIns="45720" rIns="91440" bIns="45720" rtlCol="0" anchor="t">
              <a:spAutoFit/>
            </a:bodyPr>
            <a:lstStyle/>
            <a:p>
              <a:pPr algn="ctr"/>
              <a:r>
                <a:rPr lang="en-GB" sz="1200" dirty="0"/>
                <a:t>Configure the Data Quality Rules available for the assets of one (1) business area and up to ten (10) unique assets with up to ten (10) rules per asset. Also, plug-in the Data Quality Monitor.</a:t>
              </a:r>
            </a:p>
            <a:p>
              <a:pPr algn="ctr"/>
              <a:endParaRPr lang="en-GB" sz="1200">
                <a:latin typeface="Quattrocento Sans" panose="020B0502050000020003" pitchFamily="34" charset="0"/>
                <a:cs typeface="Arial" pitchFamily="34" charset="0"/>
              </a:endParaRPr>
            </a:p>
            <a:p>
              <a:pPr algn="ctr" latinLnBrk="1"/>
              <a:r>
                <a:rPr lang="en-GB" sz="1200" b="1" i="1" noProof="0" dirty="0">
                  <a:latin typeface="Quattrocento Sans"/>
                  <a:cs typeface="Arial"/>
                </a:rPr>
                <a:t>4 </a:t>
              </a:r>
              <a:r>
                <a:rPr lang="en-GB" sz="1200" b="1" i="1" dirty="0">
                  <a:latin typeface="Quattrocento Sans"/>
                  <a:cs typeface="Arial"/>
                </a:rPr>
                <a:t>- 5 </a:t>
              </a:r>
              <a:r>
                <a:rPr lang="en-GB" sz="1200" b="1" i="1" noProof="0" dirty="0">
                  <a:latin typeface="Quattrocento Sans"/>
                  <a:cs typeface="Arial"/>
                </a:rPr>
                <a:t>weeks</a:t>
              </a:r>
            </a:p>
          </p:txBody>
        </p:sp>
        <p:sp>
          <p:nvSpPr>
            <p:cNvPr id="15" name="TextBox 29">
              <a:extLst>
                <a:ext uri="{FF2B5EF4-FFF2-40B4-BE49-F238E27FC236}">
                  <a16:creationId xmlns:a16="http://schemas.microsoft.com/office/drawing/2014/main" id="{63F59E47-1939-B051-7B1B-62D02CE0D1F2}"/>
                </a:ext>
              </a:extLst>
            </p:cNvPr>
            <p:cNvSpPr txBox="1"/>
            <p:nvPr/>
          </p:nvSpPr>
          <p:spPr>
            <a:xfrm>
              <a:off x="804416" y="3300210"/>
              <a:ext cx="2059657" cy="226812"/>
            </a:xfrm>
            <a:prstGeom prst="rect">
              <a:avLst/>
            </a:prstGeom>
            <a:noFill/>
          </p:spPr>
          <p:txBody>
            <a:bodyPr wrap="square" rtlCol="0">
              <a:spAutoFit/>
            </a:bodyPr>
            <a:lstStyle/>
            <a:p>
              <a:pPr algn="ctr" latinLnBrk="1"/>
              <a:r>
                <a:rPr lang="en-GB" b="1" noProof="0">
                  <a:latin typeface="Quattrocento Sans" panose="020B0502050000020003" pitchFamily="34" charset="0"/>
                  <a:cs typeface="Arial" pitchFamily="34" charset="0"/>
                </a:rPr>
                <a:t>2. Data Quality</a:t>
              </a:r>
            </a:p>
          </p:txBody>
        </p:sp>
      </p:grpSp>
      <p:sp>
        <p:nvSpPr>
          <p:cNvPr id="18" name="Rectángulo: esquinas redondeadas 2">
            <a:extLst>
              <a:ext uri="{FF2B5EF4-FFF2-40B4-BE49-F238E27FC236}">
                <a16:creationId xmlns:a16="http://schemas.microsoft.com/office/drawing/2014/main" id="{E0A4AA8C-1F82-947D-BD0C-589C294B34A9}"/>
              </a:ext>
            </a:extLst>
          </p:cNvPr>
          <p:cNvSpPr/>
          <p:nvPr/>
        </p:nvSpPr>
        <p:spPr>
          <a:xfrm>
            <a:off x="276685" y="4199065"/>
            <a:ext cx="3018808" cy="1626376"/>
          </a:xfrm>
          <a:prstGeom prst="roundRect">
            <a:avLst>
              <a:gd name="adj" fmla="val 6271"/>
            </a:avLst>
          </a:prstGeom>
          <a:noFill/>
          <a:ln w="12700">
            <a:solidFill>
              <a:srgbClr val="8A00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400"/>
          </a:p>
        </p:txBody>
      </p:sp>
      <p:grpSp>
        <p:nvGrpSpPr>
          <p:cNvPr id="22" name="Group 27">
            <a:extLst>
              <a:ext uri="{FF2B5EF4-FFF2-40B4-BE49-F238E27FC236}">
                <a16:creationId xmlns:a16="http://schemas.microsoft.com/office/drawing/2014/main" id="{70993097-3DD6-D1B9-7252-5AC22F5F0962}"/>
              </a:ext>
            </a:extLst>
          </p:cNvPr>
          <p:cNvGrpSpPr/>
          <p:nvPr/>
        </p:nvGrpSpPr>
        <p:grpSpPr>
          <a:xfrm>
            <a:off x="417850" y="4302824"/>
            <a:ext cx="2792402" cy="1357215"/>
            <a:chOff x="609809" y="3300210"/>
            <a:chExt cx="2439179" cy="1111244"/>
          </a:xfrm>
        </p:grpSpPr>
        <p:sp>
          <p:nvSpPr>
            <p:cNvPr id="20" name="TextBox 28">
              <a:extLst>
                <a:ext uri="{FF2B5EF4-FFF2-40B4-BE49-F238E27FC236}">
                  <a16:creationId xmlns:a16="http://schemas.microsoft.com/office/drawing/2014/main" id="{1FDE82F8-CCC1-2A45-9AD1-CDE7025E39BD}"/>
                </a:ext>
              </a:extLst>
            </p:cNvPr>
            <p:cNvSpPr txBox="1"/>
            <p:nvPr/>
          </p:nvSpPr>
          <p:spPr>
            <a:xfrm>
              <a:off x="609809" y="3579862"/>
              <a:ext cx="2439179" cy="831592"/>
            </a:xfrm>
            <a:prstGeom prst="rect">
              <a:avLst/>
            </a:prstGeom>
            <a:noFill/>
          </p:spPr>
          <p:txBody>
            <a:bodyPr wrap="square" lIns="91440" tIns="45720" rIns="91440" bIns="45720" rtlCol="0" anchor="t">
              <a:spAutoFit/>
            </a:bodyPr>
            <a:lstStyle/>
            <a:p>
              <a:pPr algn="ctr"/>
              <a:r>
                <a:rPr lang="en-GB" sz="1200" noProof="0" dirty="0"/>
                <a:t>Configure “Admin Monitor” for SAC and Datasphere.</a:t>
              </a:r>
            </a:p>
            <a:p>
              <a:pPr algn="ctr" latinLnBrk="1"/>
              <a:endParaRPr lang="en-GB" sz="1200" noProof="0" dirty="0">
                <a:latin typeface="Quattrocento Sans" panose="020B0502050000020003" pitchFamily="34" charset="0"/>
                <a:cs typeface="Arial" pitchFamily="34" charset="0"/>
              </a:endParaRPr>
            </a:p>
            <a:p>
              <a:pPr algn="ctr" latinLnBrk="1"/>
              <a:endParaRPr lang="en-GB" sz="1200" dirty="0">
                <a:latin typeface="Quattrocento Sans" panose="020B0502050000020003" pitchFamily="34" charset="0"/>
                <a:cs typeface="Arial" pitchFamily="34" charset="0"/>
              </a:endParaRPr>
            </a:p>
            <a:p>
              <a:pPr algn="ctr" latinLnBrk="1"/>
              <a:r>
                <a:rPr lang="en-GB" sz="1200" b="1" i="1" noProof="0" dirty="0">
                  <a:latin typeface="Quattrocento Sans"/>
                  <a:cs typeface="Arial"/>
                </a:rPr>
                <a:t>1 </a:t>
              </a:r>
              <a:r>
                <a:rPr lang="en-GB" sz="1200" b="1" i="1" dirty="0">
                  <a:latin typeface="Quattrocento Sans"/>
                  <a:cs typeface="Arial"/>
                </a:rPr>
                <a:t>- 3 weeks</a:t>
              </a:r>
              <a:endParaRPr lang="en-GB" sz="1200" b="1" i="1" noProof="0" dirty="0">
                <a:latin typeface="Quattrocento Sans"/>
                <a:cs typeface="Arial"/>
              </a:endParaRPr>
            </a:p>
          </p:txBody>
        </p:sp>
        <p:sp>
          <p:nvSpPr>
            <p:cNvPr id="21" name="TextBox 29">
              <a:extLst>
                <a:ext uri="{FF2B5EF4-FFF2-40B4-BE49-F238E27FC236}">
                  <a16:creationId xmlns:a16="http://schemas.microsoft.com/office/drawing/2014/main" id="{B611F1B0-BD5E-8FA0-F610-5F84573EFF21}"/>
                </a:ext>
              </a:extLst>
            </p:cNvPr>
            <p:cNvSpPr txBox="1"/>
            <p:nvPr/>
          </p:nvSpPr>
          <p:spPr>
            <a:xfrm>
              <a:off x="654272" y="3300210"/>
              <a:ext cx="2255547" cy="226812"/>
            </a:xfrm>
            <a:prstGeom prst="rect">
              <a:avLst/>
            </a:prstGeom>
            <a:noFill/>
          </p:spPr>
          <p:txBody>
            <a:bodyPr wrap="square" rtlCol="0">
              <a:spAutoFit/>
            </a:bodyPr>
            <a:lstStyle/>
            <a:p>
              <a:pPr algn="ctr" latinLnBrk="1"/>
              <a:r>
                <a:rPr lang="en-GB" b="1" noProof="0">
                  <a:latin typeface="Quattrocento Sans" panose="020B0502050000020003" pitchFamily="34" charset="0"/>
                  <a:cs typeface="Arial" pitchFamily="34" charset="0"/>
                </a:rPr>
                <a:t>3. Security</a:t>
              </a:r>
            </a:p>
          </p:txBody>
        </p:sp>
      </p:grpSp>
      <p:sp>
        <p:nvSpPr>
          <p:cNvPr id="24" name="Rectángulo: esquinas redondeadas 6">
            <a:extLst>
              <a:ext uri="{FF2B5EF4-FFF2-40B4-BE49-F238E27FC236}">
                <a16:creationId xmlns:a16="http://schemas.microsoft.com/office/drawing/2014/main" id="{6D4D71D0-A4BF-715A-77E7-81FFB412207B}"/>
              </a:ext>
            </a:extLst>
          </p:cNvPr>
          <p:cNvSpPr/>
          <p:nvPr/>
        </p:nvSpPr>
        <p:spPr>
          <a:xfrm>
            <a:off x="3484503" y="4199066"/>
            <a:ext cx="3018808" cy="1626376"/>
          </a:xfrm>
          <a:prstGeom prst="roundRect">
            <a:avLst>
              <a:gd name="adj" fmla="val 6271"/>
            </a:avLst>
          </a:prstGeom>
          <a:noFill/>
          <a:ln w="12700">
            <a:solidFill>
              <a:srgbClr val="8A00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400"/>
          </a:p>
        </p:txBody>
      </p:sp>
      <p:grpSp>
        <p:nvGrpSpPr>
          <p:cNvPr id="28" name="Group 27">
            <a:extLst>
              <a:ext uri="{FF2B5EF4-FFF2-40B4-BE49-F238E27FC236}">
                <a16:creationId xmlns:a16="http://schemas.microsoft.com/office/drawing/2014/main" id="{3135742C-54FF-D37E-3986-506660B941A1}"/>
              </a:ext>
            </a:extLst>
          </p:cNvPr>
          <p:cNvGrpSpPr/>
          <p:nvPr/>
        </p:nvGrpSpPr>
        <p:grpSpPr>
          <a:xfrm>
            <a:off x="3625668" y="4302825"/>
            <a:ext cx="2792402" cy="1385180"/>
            <a:chOff x="609809" y="3300210"/>
            <a:chExt cx="2439179" cy="1111244"/>
          </a:xfrm>
        </p:grpSpPr>
        <p:sp>
          <p:nvSpPr>
            <p:cNvPr id="26" name="TextBox 28">
              <a:extLst>
                <a:ext uri="{FF2B5EF4-FFF2-40B4-BE49-F238E27FC236}">
                  <a16:creationId xmlns:a16="http://schemas.microsoft.com/office/drawing/2014/main" id="{1E6B7BCC-E093-1878-F09A-B4519476D565}"/>
                </a:ext>
              </a:extLst>
            </p:cNvPr>
            <p:cNvSpPr txBox="1"/>
            <p:nvPr/>
          </p:nvSpPr>
          <p:spPr>
            <a:xfrm>
              <a:off x="609809" y="3579862"/>
              <a:ext cx="2439179" cy="831592"/>
            </a:xfrm>
            <a:prstGeom prst="rect">
              <a:avLst/>
            </a:prstGeom>
            <a:noFill/>
          </p:spPr>
          <p:txBody>
            <a:bodyPr wrap="square" lIns="91440" tIns="45720" rIns="91440" bIns="45720" rtlCol="0" anchor="t">
              <a:spAutoFit/>
            </a:bodyPr>
            <a:lstStyle/>
            <a:p>
              <a:pPr algn="ctr"/>
              <a:r>
                <a:rPr lang="en-GB" sz="1200" dirty="0"/>
                <a:t>Integrate Datasphere to Collibra.</a:t>
              </a:r>
              <a:endParaRPr lang="en-GB" sz="1200" noProof="0" dirty="0">
                <a:latin typeface="Quattrocento Sans" panose="020B0502050000020003" pitchFamily="34" charset="0"/>
                <a:cs typeface="Arial" pitchFamily="34" charset="0"/>
              </a:endParaRPr>
            </a:p>
            <a:p>
              <a:pPr algn="ctr" latinLnBrk="1"/>
              <a:endParaRPr lang="en-GB" sz="1200" dirty="0">
                <a:latin typeface="Quattrocento Sans" panose="020B0502050000020003" pitchFamily="34" charset="0"/>
                <a:cs typeface="Arial" pitchFamily="34" charset="0"/>
              </a:endParaRPr>
            </a:p>
            <a:p>
              <a:pPr algn="ctr" latinLnBrk="1"/>
              <a:endParaRPr lang="en-GB" sz="1200" dirty="0">
                <a:latin typeface="Quattrocento Sans" panose="020B0502050000020003" pitchFamily="34" charset="0"/>
                <a:cs typeface="Arial" pitchFamily="34" charset="0"/>
              </a:endParaRPr>
            </a:p>
            <a:p>
              <a:pPr algn="ctr" latinLnBrk="1"/>
              <a:endParaRPr lang="en-GB" sz="1200" dirty="0">
                <a:latin typeface="Quattrocento Sans" panose="020B0502050000020003" pitchFamily="34" charset="0"/>
                <a:cs typeface="Arial" pitchFamily="34" charset="0"/>
              </a:endParaRPr>
            </a:p>
            <a:p>
              <a:pPr algn="ctr" latinLnBrk="1"/>
              <a:r>
                <a:rPr lang="en-GB" sz="1200" b="1" i="1" noProof="0" dirty="0">
                  <a:latin typeface="Quattrocento Sans"/>
                  <a:cs typeface="Arial"/>
                </a:rPr>
                <a:t>3 </a:t>
              </a:r>
              <a:r>
                <a:rPr lang="en-GB" sz="1200" b="1" i="1" dirty="0">
                  <a:latin typeface="Quattrocento Sans"/>
                  <a:cs typeface="Arial"/>
                </a:rPr>
                <a:t>- 5 </a:t>
              </a:r>
              <a:r>
                <a:rPr lang="en-GB" sz="1200" b="1" i="1" noProof="0" dirty="0">
                  <a:latin typeface="Quattrocento Sans"/>
                  <a:cs typeface="Arial"/>
                </a:rPr>
                <a:t>weeks</a:t>
              </a:r>
            </a:p>
          </p:txBody>
        </p:sp>
        <p:sp>
          <p:nvSpPr>
            <p:cNvPr id="27" name="TextBox 29">
              <a:extLst>
                <a:ext uri="{FF2B5EF4-FFF2-40B4-BE49-F238E27FC236}">
                  <a16:creationId xmlns:a16="http://schemas.microsoft.com/office/drawing/2014/main" id="{AD7B8EE7-BA4D-476F-451D-DFF1073E34EA}"/>
                </a:ext>
              </a:extLst>
            </p:cNvPr>
            <p:cNvSpPr txBox="1"/>
            <p:nvPr/>
          </p:nvSpPr>
          <p:spPr>
            <a:xfrm>
              <a:off x="804416" y="3300210"/>
              <a:ext cx="2059657" cy="226812"/>
            </a:xfrm>
            <a:prstGeom prst="rect">
              <a:avLst/>
            </a:prstGeom>
            <a:noFill/>
          </p:spPr>
          <p:txBody>
            <a:bodyPr wrap="square" rtlCol="0">
              <a:spAutoFit/>
            </a:bodyPr>
            <a:lstStyle/>
            <a:p>
              <a:pPr algn="ctr" latinLnBrk="1"/>
              <a:r>
                <a:rPr lang="en-GB" b="1" noProof="0" dirty="0">
                  <a:latin typeface="Quattrocento Sans" panose="020B0502050000020003" pitchFamily="34" charset="0"/>
                  <a:cs typeface="Arial" pitchFamily="34" charset="0"/>
                </a:rPr>
                <a:t>4. Collibra</a:t>
              </a:r>
            </a:p>
          </p:txBody>
        </p:sp>
      </p:grpSp>
      <p:sp>
        <p:nvSpPr>
          <p:cNvPr id="30" name="Rectángulo: esquinas redondeadas 20">
            <a:extLst>
              <a:ext uri="{FF2B5EF4-FFF2-40B4-BE49-F238E27FC236}">
                <a16:creationId xmlns:a16="http://schemas.microsoft.com/office/drawing/2014/main" id="{C7B3812A-FF02-CEC7-CB8C-84B08494C7CA}"/>
              </a:ext>
            </a:extLst>
          </p:cNvPr>
          <p:cNvSpPr/>
          <p:nvPr/>
        </p:nvSpPr>
        <p:spPr>
          <a:xfrm>
            <a:off x="6862749" y="1499009"/>
            <a:ext cx="5087665" cy="1393116"/>
          </a:xfrm>
          <a:prstGeom prst="roundRect">
            <a:avLst>
              <a:gd name="adj" fmla="val 6271"/>
            </a:avLst>
          </a:prstGeom>
          <a:noFill/>
          <a:ln w="57150">
            <a:solidFill>
              <a:srgbClr val="8A00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400"/>
          </a:p>
        </p:txBody>
      </p:sp>
      <p:grpSp>
        <p:nvGrpSpPr>
          <p:cNvPr id="34" name="Group 27">
            <a:extLst>
              <a:ext uri="{FF2B5EF4-FFF2-40B4-BE49-F238E27FC236}">
                <a16:creationId xmlns:a16="http://schemas.microsoft.com/office/drawing/2014/main" id="{FF1EB7FD-DD43-1EE5-A918-E61720B93E00}"/>
              </a:ext>
            </a:extLst>
          </p:cNvPr>
          <p:cNvGrpSpPr/>
          <p:nvPr/>
        </p:nvGrpSpPr>
        <p:grpSpPr>
          <a:xfrm>
            <a:off x="7073824" y="1609753"/>
            <a:ext cx="4625889" cy="1032963"/>
            <a:chOff x="603702" y="3300210"/>
            <a:chExt cx="2439179" cy="906029"/>
          </a:xfrm>
        </p:grpSpPr>
        <p:sp>
          <p:nvSpPr>
            <p:cNvPr id="32" name="TextBox 28">
              <a:extLst>
                <a:ext uri="{FF2B5EF4-FFF2-40B4-BE49-F238E27FC236}">
                  <a16:creationId xmlns:a16="http://schemas.microsoft.com/office/drawing/2014/main" id="{D7986C1C-B5F1-1DBB-163E-875C766B20C5}"/>
                </a:ext>
              </a:extLst>
            </p:cNvPr>
            <p:cNvSpPr txBox="1"/>
            <p:nvPr/>
          </p:nvSpPr>
          <p:spPr>
            <a:xfrm>
              <a:off x="603702" y="3579862"/>
              <a:ext cx="2439179" cy="626377"/>
            </a:xfrm>
            <a:prstGeom prst="rect">
              <a:avLst/>
            </a:prstGeom>
            <a:noFill/>
          </p:spPr>
          <p:txBody>
            <a:bodyPr wrap="square" lIns="91440" tIns="45720" rIns="91440" bIns="45720" rtlCol="0" anchor="t">
              <a:spAutoFit/>
            </a:bodyPr>
            <a:lstStyle/>
            <a:p>
              <a:pPr algn="ctr"/>
              <a:endParaRPr lang="en-GB" sz="1200" dirty="0"/>
            </a:p>
            <a:p>
              <a:pPr algn="ctr"/>
              <a:r>
                <a:rPr lang="en-GB" sz="1200" dirty="0"/>
                <a:t>Build PoC App for 10 users and 1 approver.</a:t>
              </a:r>
              <a:endParaRPr lang="en-GB" sz="1200" noProof="0" dirty="0">
                <a:ea typeface="Calibri"/>
                <a:cs typeface="Calibri"/>
              </a:endParaRPr>
            </a:p>
            <a:p>
              <a:pPr algn="ctr" latinLnBrk="1"/>
              <a:endParaRPr lang="en-GB" sz="1200" dirty="0">
                <a:latin typeface="Quattrocento Sans" panose="020B0502050000020003" pitchFamily="34" charset="0"/>
                <a:cs typeface="Arial" pitchFamily="34" charset="0"/>
              </a:endParaRPr>
            </a:p>
            <a:p>
              <a:pPr algn="ctr" latinLnBrk="1"/>
              <a:r>
                <a:rPr lang="en-GB" sz="1200" b="1" i="1" noProof="0" dirty="0">
                  <a:latin typeface="Quattrocento Sans"/>
                  <a:cs typeface="Arial"/>
                </a:rPr>
                <a:t>7 </a:t>
              </a:r>
              <a:r>
                <a:rPr lang="en-GB" sz="1200" b="1" i="1" dirty="0">
                  <a:latin typeface="Quattrocento Sans"/>
                  <a:cs typeface="Arial"/>
                </a:rPr>
                <a:t>- 9 </a:t>
              </a:r>
              <a:r>
                <a:rPr lang="en-GB" sz="1200" b="1" i="1" noProof="0" dirty="0">
                  <a:latin typeface="Quattrocento Sans"/>
                  <a:cs typeface="Arial"/>
                </a:rPr>
                <a:t>Weeks</a:t>
              </a:r>
            </a:p>
          </p:txBody>
        </p:sp>
        <p:sp>
          <p:nvSpPr>
            <p:cNvPr id="33" name="TextBox 29">
              <a:extLst>
                <a:ext uri="{FF2B5EF4-FFF2-40B4-BE49-F238E27FC236}">
                  <a16:creationId xmlns:a16="http://schemas.microsoft.com/office/drawing/2014/main" id="{E6625A72-F98E-2DB0-6463-567A619775F9}"/>
                </a:ext>
              </a:extLst>
            </p:cNvPr>
            <p:cNvSpPr txBox="1"/>
            <p:nvPr/>
          </p:nvSpPr>
          <p:spPr>
            <a:xfrm>
              <a:off x="654272" y="3300210"/>
              <a:ext cx="2255547" cy="226812"/>
            </a:xfrm>
            <a:prstGeom prst="rect">
              <a:avLst/>
            </a:prstGeom>
            <a:noFill/>
          </p:spPr>
          <p:txBody>
            <a:bodyPr wrap="square" rtlCol="0">
              <a:spAutoFit/>
            </a:bodyPr>
            <a:lstStyle/>
            <a:p>
              <a:pPr algn="ctr" latinLnBrk="1"/>
              <a:r>
                <a:rPr lang="en-GB" b="1" noProof="0" dirty="0">
                  <a:latin typeface="Quattrocento Sans" panose="020B0502050000020003" pitchFamily="34" charset="0"/>
                  <a:cs typeface="Arial" pitchFamily="34" charset="0"/>
                </a:rPr>
                <a:t>1. App</a:t>
              </a:r>
            </a:p>
          </p:txBody>
        </p:sp>
      </p:grpSp>
      <p:sp>
        <p:nvSpPr>
          <p:cNvPr id="36" name="Rectángulo: esquinas redondeadas 20">
            <a:extLst>
              <a:ext uri="{FF2B5EF4-FFF2-40B4-BE49-F238E27FC236}">
                <a16:creationId xmlns:a16="http://schemas.microsoft.com/office/drawing/2014/main" id="{DEAD121A-F06B-FC88-F213-282F9B5482F6}"/>
              </a:ext>
            </a:extLst>
          </p:cNvPr>
          <p:cNvSpPr/>
          <p:nvPr/>
        </p:nvSpPr>
        <p:spPr>
          <a:xfrm>
            <a:off x="6812909" y="3681613"/>
            <a:ext cx="5146515" cy="1183562"/>
          </a:xfrm>
          <a:prstGeom prst="roundRect">
            <a:avLst>
              <a:gd name="adj" fmla="val 6271"/>
            </a:avLst>
          </a:prstGeom>
          <a:noFill/>
          <a:ln w="12700">
            <a:solidFill>
              <a:srgbClr val="8A00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400"/>
          </a:p>
        </p:txBody>
      </p:sp>
      <p:grpSp>
        <p:nvGrpSpPr>
          <p:cNvPr id="40" name="Group 27">
            <a:extLst>
              <a:ext uri="{FF2B5EF4-FFF2-40B4-BE49-F238E27FC236}">
                <a16:creationId xmlns:a16="http://schemas.microsoft.com/office/drawing/2014/main" id="{FCBA1556-6219-0DA1-814C-4D8BBC94E71D}"/>
              </a:ext>
            </a:extLst>
          </p:cNvPr>
          <p:cNvGrpSpPr/>
          <p:nvPr/>
        </p:nvGrpSpPr>
        <p:grpSpPr>
          <a:xfrm>
            <a:off x="6846095" y="3826330"/>
            <a:ext cx="5113331" cy="1012057"/>
            <a:chOff x="622021" y="3327415"/>
            <a:chExt cx="2242053" cy="1102992"/>
          </a:xfrm>
        </p:grpSpPr>
        <p:sp>
          <p:nvSpPr>
            <p:cNvPr id="38" name="TextBox 28">
              <a:extLst>
                <a:ext uri="{FF2B5EF4-FFF2-40B4-BE49-F238E27FC236}">
                  <a16:creationId xmlns:a16="http://schemas.microsoft.com/office/drawing/2014/main" id="{D550D651-775C-BB8D-E408-4361408DC488}"/>
                </a:ext>
              </a:extLst>
            </p:cNvPr>
            <p:cNvSpPr txBox="1"/>
            <p:nvPr/>
          </p:nvSpPr>
          <p:spPr>
            <a:xfrm>
              <a:off x="622021" y="3579862"/>
              <a:ext cx="2170493" cy="850545"/>
            </a:xfrm>
            <a:prstGeom prst="rect">
              <a:avLst/>
            </a:prstGeom>
            <a:noFill/>
          </p:spPr>
          <p:txBody>
            <a:bodyPr wrap="square" lIns="91440" tIns="45720" rIns="91440" bIns="45720" rtlCol="0" anchor="t">
              <a:spAutoFit/>
            </a:bodyPr>
            <a:lstStyle/>
            <a:p>
              <a:pPr algn="ctr"/>
              <a:r>
                <a:rPr lang="en-GB" sz="1200" noProof="0" dirty="0"/>
                <a:t>R</a:t>
              </a:r>
              <a:r>
                <a:rPr lang="en-GB" sz="1200" noProof="0" dirty="0">
                  <a:solidFill>
                    <a:srgbClr val="000000"/>
                  </a:solidFill>
                </a:rPr>
                <a:t>eview one (1) dataflow with up to ten (10) associated tables, ensuring alignment with </a:t>
              </a:r>
              <a:r>
                <a:rPr lang="en-GB" sz="1200" b="1" noProof="0" dirty="0">
                  <a:solidFill>
                    <a:srgbClr val="000000"/>
                  </a:solidFill>
                </a:rPr>
                <a:t>architecture</a:t>
              </a:r>
              <a:r>
                <a:rPr lang="en-GB" sz="1200" noProof="0" dirty="0">
                  <a:solidFill>
                    <a:srgbClr val="000000"/>
                  </a:solidFill>
                </a:rPr>
                <a:t>, </a:t>
              </a:r>
              <a:r>
                <a:rPr lang="en-GB" sz="1200" b="1" noProof="0" dirty="0">
                  <a:solidFill>
                    <a:srgbClr val="000000"/>
                  </a:solidFill>
                </a:rPr>
                <a:t>naming conventions</a:t>
              </a:r>
              <a:r>
                <a:rPr lang="en-GB" sz="1200" noProof="0" dirty="0">
                  <a:solidFill>
                    <a:srgbClr val="000000"/>
                  </a:solidFill>
                </a:rPr>
                <a:t>, and </a:t>
              </a:r>
              <a:r>
                <a:rPr lang="en-GB" sz="1200" b="1" noProof="0" dirty="0">
                  <a:solidFill>
                    <a:srgbClr val="000000"/>
                  </a:solidFill>
                </a:rPr>
                <a:t>best practices</a:t>
              </a:r>
              <a:r>
                <a:rPr lang="en-GB" sz="1200" noProof="0" dirty="0">
                  <a:solidFill>
                    <a:srgbClr val="000000"/>
                  </a:solidFill>
                </a:rPr>
                <a:t>.</a:t>
              </a:r>
              <a:endParaRPr lang="en-US" sz="1400" dirty="0">
                <a:solidFill>
                  <a:srgbClr val="000000"/>
                </a:solidFill>
              </a:endParaRPr>
            </a:p>
            <a:p>
              <a:pPr algn="ctr" latinLnBrk="1"/>
              <a:endParaRPr lang="en-GB" sz="1200" dirty="0">
                <a:latin typeface="Quattrocento Sans" panose="020B0502050000020003" pitchFamily="34" charset="0"/>
                <a:cs typeface="Arial" pitchFamily="34" charset="0"/>
              </a:endParaRPr>
            </a:p>
            <a:p>
              <a:pPr algn="ctr" latinLnBrk="1"/>
              <a:r>
                <a:rPr lang="en-GB" sz="1200" b="1" i="1" noProof="0" dirty="0">
                  <a:latin typeface="Quattrocento Sans"/>
                  <a:cs typeface="Arial"/>
                </a:rPr>
                <a:t>2 Weeks</a:t>
              </a:r>
            </a:p>
          </p:txBody>
        </p:sp>
        <p:sp>
          <p:nvSpPr>
            <p:cNvPr id="39" name="TextBox 29">
              <a:extLst>
                <a:ext uri="{FF2B5EF4-FFF2-40B4-BE49-F238E27FC236}">
                  <a16:creationId xmlns:a16="http://schemas.microsoft.com/office/drawing/2014/main" id="{FD063F6F-91CA-FED4-4B04-2F0EBCCB182F}"/>
                </a:ext>
              </a:extLst>
            </p:cNvPr>
            <p:cNvSpPr txBox="1"/>
            <p:nvPr/>
          </p:nvSpPr>
          <p:spPr>
            <a:xfrm>
              <a:off x="622021" y="3327415"/>
              <a:ext cx="2242053" cy="372404"/>
            </a:xfrm>
            <a:prstGeom prst="rect">
              <a:avLst/>
            </a:prstGeom>
            <a:noFill/>
          </p:spPr>
          <p:txBody>
            <a:bodyPr wrap="square" lIns="91440" tIns="45720" rIns="91440" bIns="45720" rtlCol="0" anchor="t">
              <a:spAutoFit/>
            </a:bodyPr>
            <a:lstStyle/>
            <a:p>
              <a:pPr algn="ctr" latinLnBrk="1"/>
              <a:r>
                <a:rPr lang="en-GB" b="1" noProof="0" dirty="0">
                  <a:latin typeface="Quattrocento Sans"/>
                  <a:cs typeface="Arial"/>
                </a:rPr>
                <a:t>1. </a:t>
              </a:r>
              <a:r>
                <a:rPr lang="en-GB" b="1" dirty="0">
                  <a:latin typeface="Quattrocento Sans"/>
                  <a:cs typeface="Arial"/>
                </a:rPr>
                <a:t>As-Is</a:t>
              </a:r>
              <a:endParaRPr lang="en-GB" b="1" noProof="0" dirty="0">
                <a:latin typeface="Quattrocento Sans" panose="020B0502050000020003" pitchFamily="34" charset="0"/>
                <a:cs typeface="Arial" pitchFamily="34" charset="0"/>
              </a:endParaRPr>
            </a:p>
          </p:txBody>
        </p:sp>
      </p:grpSp>
      <p:sp>
        <p:nvSpPr>
          <p:cNvPr id="42" name="Rectángulo: esquinas redondeadas 26">
            <a:extLst>
              <a:ext uri="{FF2B5EF4-FFF2-40B4-BE49-F238E27FC236}">
                <a16:creationId xmlns:a16="http://schemas.microsoft.com/office/drawing/2014/main" id="{1AF2619E-E952-3ED7-81BA-CE8FCC575D7F}"/>
              </a:ext>
            </a:extLst>
          </p:cNvPr>
          <p:cNvSpPr/>
          <p:nvPr/>
        </p:nvSpPr>
        <p:spPr>
          <a:xfrm>
            <a:off x="6820259" y="4957521"/>
            <a:ext cx="5146985" cy="1504703"/>
          </a:xfrm>
          <a:prstGeom prst="roundRect">
            <a:avLst>
              <a:gd name="adj" fmla="val 6271"/>
            </a:avLst>
          </a:prstGeom>
          <a:noFill/>
          <a:ln w="12700">
            <a:solidFill>
              <a:srgbClr val="8A00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400"/>
          </a:p>
        </p:txBody>
      </p:sp>
      <p:grpSp>
        <p:nvGrpSpPr>
          <p:cNvPr id="46" name="Group 27">
            <a:extLst>
              <a:ext uri="{FF2B5EF4-FFF2-40B4-BE49-F238E27FC236}">
                <a16:creationId xmlns:a16="http://schemas.microsoft.com/office/drawing/2014/main" id="{99890237-4A12-437B-3B22-4CDB11EF75E2}"/>
              </a:ext>
            </a:extLst>
          </p:cNvPr>
          <p:cNvGrpSpPr/>
          <p:nvPr/>
        </p:nvGrpSpPr>
        <p:grpSpPr>
          <a:xfrm>
            <a:off x="6837086" y="5008153"/>
            <a:ext cx="5113329" cy="1317706"/>
            <a:chOff x="549874" y="3189209"/>
            <a:chExt cx="2619703" cy="874657"/>
          </a:xfrm>
        </p:grpSpPr>
        <p:sp>
          <p:nvSpPr>
            <p:cNvPr id="44" name="TextBox 28">
              <a:extLst>
                <a:ext uri="{FF2B5EF4-FFF2-40B4-BE49-F238E27FC236}">
                  <a16:creationId xmlns:a16="http://schemas.microsoft.com/office/drawing/2014/main" id="{9A8E96C9-DBCC-DE7B-F536-80004B12543F}"/>
                </a:ext>
              </a:extLst>
            </p:cNvPr>
            <p:cNvSpPr txBox="1"/>
            <p:nvPr/>
          </p:nvSpPr>
          <p:spPr>
            <a:xfrm>
              <a:off x="549874" y="3440133"/>
              <a:ext cx="2619703" cy="623733"/>
            </a:xfrm>
            <a:prstGeom prst="rect">
              <a:avLst/>
            </a:prstGeom>
            <a:noFill/>
            <a:ln w="12700">
              <a:noFill/>
            </a:ln>
          </p:spPr>
          <p:txBody>
            <a:bodyPr wrap="square" rtlCol="0">
              <a:spAutoFit/>
            </a:bodyPr>
            <a:lstStyle/>
            <a:p>
              <a:pPr algn="ctr"/>
              <a:r>
                <a:rPr lang="en-GB" sz="1200" dirty="0"/>
                <a:t>T</a:t>
              </a:r>
              <a:r>
                <a:rPr lang="en-GB" sz="1200" noProof="0" dirty="0"/>
                <a:t>wo (2) dedicated team members working alongside the project team. Continuous reviews, recommendations, and support to ensure alignment with best practices and project standards.</a:t>
              </a:r>
              <a:endParaRPr lang="en-GB" sz="1200" noProof="0" dirty="0">
                <a:latin typeface="Quattrocento Sans" panose="020B0502050000020003" pitchFamily="34" charset="0"/>
                <a:cs typeface="Arial" pitchFamily="34" charset="0"/>
              </a:endParaRPr>
            </a:p>
            <a:p>
              <a:pPr algn="ctr" latinLnBrk="1"/>
              <a:endParaRPr lang="en-GB" sz="1200" dirty="0">
                <a:latin typeface="Quattrocento Sans" panose="020B0502050000020003" pitchFamily="34" charset="0"/>
                <a:cs typeface="Arial" pitchFamily="34" charset="0"/>
              </a:endParaRPr>
            </a:p>
            <a:p>
              <a:pPr algn="ctr" latinLnBrk="1"/>
              <a:r>
                <a:rPr lang="en-GB" sz="1200" b="1" i="1" noProof="0" dirty="0">
                  <a:latin typeface="Quattrocento Sans" panose="020B0502050000020003" pitchFamily="34" charset="0"/>
                  <a:cs typeface="Arial" pitchFamily="34" charset="0"/>
                </a:rPr>
                <a:t>End of 2025</a:t>
              </a:r>
            </a:p>
          </p:txBody>
        </p:sp>
        <p:sp>
          <p:nvSpPr>
            <p:cNvPr id="45" name="TextBox 29">
              <a:extLst>
                <a:ext uri="{FF2B5EF4-FFF2-40B4-BE49-F238E27FC236}">
                  <a16:creationId xmlns:a16="http://schemas.microsoft.com/office/drawing/2014/main" id="{ED01EB0C-3CEB-4F4B-C4DB-E2D7A8E40CB8}"/>
                </a:ext>
              </a:extLst>
            </p:cNvPr>
            <p:cNvSpPr txBox="1"/>
            <p:nvPr/>
          </p:nvSpPr>
          <p:spPr>
            <a:xfrm>
              <a:off x="826011" y="3189209"/>
              <a:ext cx="2059657" cy="226812"/>
            </a:xfrm>
            <a:prstGeom prst="rect">
              <a:avLst/>
            </a:prstGeom>
            <a:noFill/>
            <a:ln w="12700">
              <a:noFill/>
            </a:ln>
          </p:spPr>
          <p:txBody>
            <a:bodyPr wrap="square" lIns="91440" tIns="45720" rIns="91440" bIns="45720" rtlCol="0" anchor="t">
              <a:spAutoFit/>
            </a:bodyPr>
            <a:lstStyle/>
            <a:p>
              <a:pPr algn="ctr" latinLnBrk="1"/>
              <a:r>
                <a:rPr lang="en-GB" b="1" noProof="0" dirty="0">
                  <a:latin typeface="Quattrocento Sans"/>
                  <a:cs typeface="Arial"/>
                </a:rPr>
                <a:t>2. </a:t>
              </a:r>
              <a:r>
                <a:rPr lang="en-GB" b="1" dirty="0">
                  <a:latin typeface="Quattrocento Sans"/>
                  <a:cs typeface="Arial"/>
                </a:rPr>
                <a:t>Way Forward</a:t>
              </a:r>
              <a:endParaRPr lang="en-GB" b="1" noProof="0" dirty="0">
                <a:latin typeface="Quattrocento Sans" panose="020B0502050000020003" pitchFamily="34" charset="0"/>
                <a:cs typeface="Arial" pitchFamily="34" charset="0"/>
              </a:endParaRPr>
            </a:p>
          </p:txBody>
        </p:sp>
      </p:grpSp>
      <p:sp>
        <p:nvSpPr>
          <p:cNvPr id="2" name="Rectángulo: esquinas redondeadas 20">
            <a:extLst>
              <a:ext uri="{FF2B5EF4-FFF2-40B4-BE49-F238E27FC236}">
                <a16:creationId xmlns:a16="http://schemas.microsoft.com/office/drawing/2014/main" id="{AC22E640-E659-BD76-5CB7-1FB71A4D1D2C}"/>
              </a:ext>
            </a:extLst>
          </p:cNvPr>
          <p:cNvSpPr/>
          <p:nvPr/>
        </p:nvSpPr>
        <p:spPr>
          <a:xfrm>
            <a:off x="276685" y="1928584"/>
            <a:ext cx="6233976" cy="3896858"/>
          </a:xfrm>
          <a:prstGeom prst="roundRect">
            <a:avLst>
              <a:gd name="adj" fmla="val 3852"/>
            </a:avLst>
          </a:prstGeom>
          <a:noFill/>
          <a:ln w="57150">
            <a:solidFill>
              <a:srgbClr val="8A00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400"/>
          </a:p>
        </p:txBody>
      </p:sp>
      <p:sp>
        <p:nvSpPr>
          <p:cNvPr id="6" name="Rectángulo: esquinas redondeadas 20">
            <a:extLst>
              <a:ext uri="{FF2B5EF4-FFF2-40B4-BE49-F238E27FC236}">
                <a16:creationId xmlns:a16="http://schemas.microsoft.com/office/drawing/2014/main" id="{50E3A817-A7E0-63EF-90C8-F05011439B42}"/>
              </a:ext>
            </a:extLst>
          </p:cNvPr>
          <p:cNvSpPr/>
          <p:nvPr/>
        </p:nvSpPr>
        <p:spPr>
          <a:xfrm>
            <a:off x="6812909" y="3683352"/>
            <a:ext cx="5146515" cy="2784435"/>
          </a:xfrm>
          <a:prstGeom prst="roundRect">
            <a:avLst>
              <a:gd name="adj" fmla="val 2819"/>
            </a:avLst>
          </a:prstGeom>
          <a:noFill/>
          <a:ln w="57150">
            <a:solidFill>
              <a:srgbClr val="8A00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400"/>
          </a:p>
        </p:txBody>
      </p:sp>
      <p:sp>
        <p:nvSpPr>
          <p:cNvPr id="11" name="Rectangle 57">
            <a:extLst>
              <a:ext uri="{FF2B5EF4-FFF2-40B4-BE49-F238E27FC236}">
                <a16:creationId xmlns:a16="http://schemas.microsoft.com/office/drawing/2014/main" id="{F13C7A44-A5E2-5B5C-D9A9-5A10639C763A}"/>
              </a:ext>
            </a:extLst>
          </p:cNvPr>
          <p:cNvSpPr>
            <a:spLocks noChangeArrowheads="1"/>
          </p:cNvSpPr>
          <p:nvPr/>
        </p:nvSpPr>
        <p:spPr bwMode="gray">
          <a:xfrm>
            <a:off x="6806764" y="3190075"/>
            <a:ext cx="2129393" cy="461610"/>
          </a:xfrm>
          <a:prstGeom prst="rect">
            <a:avLst/>
          </a:prstGeom>
          <a:noFill/>
          <a:ln w="9525">
            <a:noFill/>
            <a:miter lim="800000"/>
            <a:headEnd/>
            <a:tailEnd/>
          </a:ln>
          <a:effectLst/>
        </p:spPr>
        <p:txBody>
          <a:bodyPr wrap="square" lIns="91386" tIns="45693" rIns="91386" bIns="45693">
            <a:spAutoFit/>
          </a:bodyPr>
          <a:lstStyle/>
          <a:p>
            <a:pPr defTabSz="609630"/>
            <a:r>
              <a:rPr lang="en-GB" sz="2400" b="1" kern="0" dirty="0">
                <a:solidFill>
                  <a:srgbClr val="000000">
                    <a:lumMod val="95000"/>
                    <a:lumOff val="5000"/>
                  </a:srgbClr>
                </a:solidFill>
                <a:latin typeface="Quattrocento Sans" panose="020B0502050000020003" pitchFamily="34" charset="0"/>
                <a:ea typeface="Lato"/>
                <a:cs typeface="Lato"/>
                <a:sym typeface="Calibri"/>
              </a:rPr>
              <a:t>Advisory</a:t>
            </a:r>
          </a:p>
        </p:txBody>
      </p:sp>
      <p:sp>
        <p:nvSpPr>
          <p:cNvPr id="13" name="Rectangle 57">
            <a:extLst>
              <a:ext uri="{FF2B5EF4-FFF2-40B4-BE49-F238E27FC236}">
                <a16:creationId xmlns:a16="http://schemas.microsoft.com/office/drawing/2014/main" id="{35F45A0B-ECDF-3AA1-35E3-D0BDA2D4C6EF}"/>
              </a:ext>
            </a:extLst>
          </p:cNvPr>
          <p:cNvSpPr>
            <a:spLocks noChangeArrowheads="1"/>
          </p:cNvSpPr>
          <p:nvPr/>
        </p:nvSpPr>
        <p:spPr bwMode="gray">
          <a:xfrm>
            <a:off x="6854812" y="1078538"/>
            <a:ext cx="2945326" cy="461610"/>
          </a:xfrm>
          <a:prstGeom prst="rect">
            <a:avLst/>
          </a:prstGeom>
          <a:noFill/>
          <a:ln w="9525">
            <a:noFill/>
            <a:miter lim="800000"/>
            <a:headEnd/>
            <a:tailEnd/>
          </a:ln>
          <a:effectLst/>
        </p:spPr>
        <p:txBody>
          <a:bodyPr wrap="square" lIns="91386" tIns="45693" rIns="91386" bIns="45693">
            <a:spAutoFit/>
          </a:bodyPr>
          <a:lstStyle/>
          <a:p>
            <a:pPr defTabSz="609630"/>
            <a:r>
              <a:rPr lang="en-GB" sz="2400" b="1" kern="0" dirty="0">
                <a:solidFill>
                  <a:srgbClr val="000000">
                    <a:lumMod val="95000"/>
                    <a:lumOff val="5000"/>
                  </a:srgbClr>
                </a:solidFill>
                <a:latin typeface="Quattrocento Sans" panose="020B0502050000020003" pitchFamily="34" charset="0"/>
                <a:ea typeface="Lato"/>
                <a:cs typeface="Lato"/>
                <a:sym typeface="Calibri"/>
              </a:rPr>
              <a:t>Access Control</a:t>
            </a:r>
          </a:p>
        </p:txBody>
      </p:sp>
      <p:sp>
        <p:nvSpPr>
          <p:cNvPr id="17" name="Rectangle 57">
            <a:extLst>
              <a:ext uri="{FF2B5EF4-FFF2-40B4-BE49-F238E27FC236}">
                <a16:creationId xmlns:a16="http://schemas.microsoft.com/office/drawing/2014/main" id="{0054E4FE-1D68-88B9-05E9-11DB7676ABCF}"/>
              </a:ext>
            </a:extLst>
          </p:cNvPr>
          <p:cNvSpPr>
            <a:spLocks noChangeArrowheads="1"/>
          </p:cNvSpPr>
          <p:nvPr/>
        </p:nvSpPr>
        <p:spPr bwMode="gray">
          <a:xfrm>
            <a:off x="276685" y="1494987"/>
            <a:ext cx="3378247" cy="461610"/>
          </a:xfrm>
          <a:prstGeom prst="rect">
            <a:avLst/>
          </a:prstGeom>
          <a:noFill/>
          <a:ln w="9525">
            <a:noFill/>
            <a:miter lim="800000"/>
            <a:headEnd/>
            <a:tailEnd/>
          </a:ln>
          <a:effectLst/>
        </p:spPr>
        <p:txBody>
          <a:bodyPr wrap="square" lIns="91386" tIns="45693" rIns="91386" bIns="45693">
            <a:spAutoFit/>
          </a:bodyPr>
          <a:lstStyle/>
          <a:p>
            <a:pPr defTabSz="609630"/>
            <a:r>
              <a:rPr lang="en-GB" sz="2400" b="1" kern="0" noProof="0" dirty="0">
                <a:solidFill>
                  <a:srgbClr val="000000">
                    <a:lumMod val="95000"/>
                    <a:lumOff val="5000"/>
                  </a:srgbClr>
                </a:solidFill>
                <a:latin typeface="Quattrocento Sans" panose="020B0502050000020003" pitchFamily="34" charset="0"/>
                <a:ea typeface="Lato"/>
                <a:cs typeface="Lato"/>
                <a:sym typeface="Calibri"/>
              </a:rPr>
              <a:t>Data Governance</a:t>
            </a:r>
            <a:endParaRPr lang="en-GB" sz="3200" b="1" kern="0" noProof="0" dirty="0">
              <a:solidFill>
                <a:srgbClr val="000000">
                  <a:lumMod val="95000"/>
                  <a:lumOff val="5000"/>
                </a:srgbClr>
              </a:solidFill>
              <a:latin typeface="Quattrocento Sans" panose="020B0502050000020003" pitchFamily="34" charset="0"/>
              <a:ea typeface="Lato"/>
              <a:cs typeface="Lato"/>
              <a:sym typeface="Calibri"/>
            </a:endParaRPr>
          </a:p>
        </p:txBody>
      </p:sp>
    </p:spTree>
    <p:extLst>
      <p:ext uri="{BB962C8B-B14F-4D97-AF65-F5344CB8AC3E}">
        <p14:creationId xmlns:p14="http://schemas.microsoft.com/office/powerpoint/2010/main" val="3193837987"/>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Marcador de posición de imagen 4" descr="Imagen que contiene persona, colorido, mujer, sostener&#10;&#10;Descripción generada automáticamente">
            <a:extLst>
              <a:ext uri="{FF2B5EF4-FFF2-40B4-BE49-F238E27FC236}">
                <a16:creationId xmlns:a16="http://schemas.microsoft.com/office/drawing/2014/main" id="{58E355F8-8699-1FEC-4A46-4FF97C87D578}"/>
              </a:ext>
            </a:extLst>
          </p:cNvPr>
          <p:cNvPicPr>
            <a:picLocks noGrp="1" noChangeAspect="1"/>
          </p:cNvPicPr>
          <p:nvPr>
            <p:ph type="pic" sz="quarter" idx="13"/>
          </p:nvPr>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p:spPr>
      </p:pic>
      <p:sp>
        <p:nvSpPr>
          <p:cNvPr id="290" name="Forma libre 289">
            <a:extLst>
              <a:ext uri="{FF2B5EF4-FFF2-40B4-BE49-F238E27FC236}">
                <a16:creationId xmlns:a16="http://schemas.microsoft.com/office/drawing/2014/main" id="{57457A34-D5E3-74EC-056D-86CFC857AB50}"/>
              </a:ext>
            </a:extLst>
          </p:cNvPr>
          <p:cNvSpPr/>
          <p:nvPr/>
        </p:nvSpPr>
        <p:spPr>
          <a:xfrm>
            <a:off x="533779" y="2978732"/>
            <a:ext cx="2382643" cy="521264"/>
          </a:xfrm>
          <a:custGeom>
            <a:avLst/>
            <a:gdLst>
              <a:gd name="connsiteX0" fmla="*/ 2283858 w 2371453"/>
              <a:gd name="connsiteY0" fmla="*/ 421754 h 518816"/>
              <a:gd name="connsiteX1" fmla="*/ 2283858 w 2371453"/>
              <a:gd name="connsiteY1" fmla="*/ 481472 h 518816"/>
              <a:gd name="connsiteX2" fmla="*/ 2305653 w 2371453"/>
              <a:gd name="connsiteY2" fmla="*/ 481472 h 518816"/>
              <a:gd name="connsiteX3" fmla="*/ 2320421 w 2371453"/>
              <a:gd name="connsiteY3" fmla="*/ 478750 h 518816"/>
              <a:gd name="connsiteX4" fmla="*/ 2327031 w 2371453"/>
              <a:gd name="connsiteY4" fmla="*/ 469635 h 518816"/>
              <a:gd name="connsiteX5" fmla="*/ 2328817 w 2371453"/>
              <a:gd name="connsiteY5" fmla="*/ 451761 h 518816"/>
              <a:gd name="connsiteX6" fmla="*/ 2326912 w 2371453"/>
              <a:gd name="connsiteY6" fmla="*/ 433709 h 518816"/>
              <a:gd name="connsiteX7" fmla="*/ 2320183 w 2371453"/>
              <a:gd name="connsiteY7" fmla="*/ 424476 h 518816"/>
              <a:gd name="connsiteX8" fmla="*/ 2305713 w 2371453"/>
              <a:gd name="connsiteY8" fmla="*/ 421754 h 518816"/>
              <a:gd name="connsiteX9" fmla="*/ 1628289 w 2371453"/>
              <a:gd name="connsiteY9" fmla="*/ 337119 h 518816"/>
              <a:gd name="connsiteX10" fmla="*/ 1609650 w 2371453"/>
              <a:gd name="connsiteY10" fmla="*/ 433828 h 518816"/>
              <a:gd name="connsiteX11" fmla="*/ 1609710 w 2371453"/>
              <a:gd name="connsiteY11" fmla="*/ 433828 h 518816"/>
              <a:gd name="connsiteX12" fmla="*/ 1649191 w 2371453"/>
              <a:gd name="connsiteY12" fmla="*/ 433828 h 518816"/>
              <a:gd name="connsiteX13" fmla="*/ 1630552 w 2371453"/>
              <a:gd name="connsiteY13" fmla="*/ 337119 h 518816"/>
              <a:gd name="connsiteX14" fmla="*/ 2283798 w 2371453"/>
              <a:gd name="connsiteY14" fmla="*/ 331792 h 518816"/>
              <a:gd name="connsiteX15" fmla="*/ 2283798 w 2371453"/>
              <a:gd name="connsiteY15" fmla="*/ 388551 h 518816"/>
              <a:gd name="connsiteX16" fmla="*/ 2304998 w 2371453"/>
              <a:gd name="connsiteY16" fmla="*/ 388551 h 518816"/>
              <a:gd name="connsiteX17" fmla="*/ 2318813 w 2371453"/>
              <a:gd name="connsiteY17" fmla="*/ 386007 h 518816"/>
              <a:gd name="connsiteX18" fmla="*/ 2325720 w 2371453"/>
              <a:gd name="connsiteY18" fmla="*/ 377247 h 518816"/>
              <a:gd name="connsiteX19" fmla="*/ 2327805 w 2371453"/>
              <a:gd name="connsiteY19" fmla="*/ 360201 h 518816"/>
              <a:gd name="connsiteX20" fmla="*/ 2326197 w 2371453"/>
              <a:gd name="connsiteY20" fmla="*/ 342978 h 518816"/>
              <a:gd name="connsiteX21" fmla="*/ 2319765 w 2371453"/>
              <a:gd name="connsiteY21" fmla="*/ 334337 h 518816"/>
              <a:gd name="connsiteX22" fmla="*/ 2304998 w 2371453"/>
              <a:gd name="connsiteY22" fmla="*/ 331792 h 518816"/>
              <a:gd name="connsiteX23" fmla="*/ 1103846 w 2371453"/>
              <a:gd name="connsiteY23" fmla="*/ 329425 h 518816"/>
              <a:gd name="connsiteX24" fmla="*/ 1091342 w 2371453"/>
              <a:gd name="connsiteY24" fmla="*/ 330372 h 518816"/>
              <a:gd name="connsiteX25" fmla="*/ 1083660 w 2371453"/>
              <a:gd name="connsiteY25" fmla="*/ 335166 h 518816"/>
              <a:gd name="connsiteX26" fmla="*/ 1079312 w 2371453"/>
              <a:gd name="connsiteY26" fmla="*/ 347299 h 518816"/>
              <a:gd name="connsiteX27" fmla="*/ 1077526 w 2371453"/>
              <a:gd name="connsiteY27" fmla="*/ 369967 h 518816"/>
              <a:gd name="connsiteX28" fmla="*/ 1077228 w 2371453"/>
              <a:gd name="connsiteY28" fmla="*/ 406365 h 518816"/>
              <a:gd name="connsiteX29" fmla="*/ 1077526 w 2371453"/>
              <a:gd name="connsiteY29" fmla="*/ 442765 h 518816"/>
              <a:gd name="connsiteX30" fmla="*/ 1079312 w 2371453"/>
              <a:gd name="connsiteY30" fmla="*/ 465433 h 518816"/>
              <a:gd name="connsiteX31" fmla="*/ 1083660 w 2371453"/>
              <a:gd name="connsiteY31" fmla="*/ 477566 h 518816"/>
              <a:gd name="connsiteX32" fmla="*/ 1091342 w 2371453"/>
              <a:gd name="connsiteY32" fmla="*/ 482360 h 518816"/>
              <a:gd name="connsiteX33" fmla="*/ 1103846 w 2371453"/>
              <a:gd name="connsiteY33" fmla="*/ 483307 h 518816"/>
              <a:gd name="connsiteX34" fmla="*/ 1116232 w 2371453"/>
              <a:gd name="connsiteY34" fmla="*/ 482360 h 518816"/>
              <a:gd name="connsiteX35" fmla="*/ 1124272 w 2371453"/>
              <a:gd name="connsiteY35" fmla="*/ 477566 h 518816"/>
              <a:gd name="connsiteX36" fmla="*/ 1128618 w 2371453"/>
              <a:gd name="connsiteY36" fmla="*/ 465433 h 518816"/>
              <a:gd name="connsiteX37" fmla="*/ 1130227 w 2371453"/>
              <a:gd name="connsiteY37" fmla="*/ 442765 h 518816"/>
              <a:gd name="connsiteX38" fmla="*/ 1130525 w 2371453"/>
              <a:gd name="connsiteY38" fmla="*/ 406365 h 518816"/>
              <a:gd name="connsiteX39" fmla="*/ 1130227 w 2371453"/>
              <a:gd name="connsiteY39" fmla="*/ 369967 h 518816"/>
              <a:gd name="connsiteX40" fmla="*/ 1128618 w 2371453"/>
              <a:gd name="connsiteY40" fmla="*/ 347299 h 518816"/>
              <a:gd name="connsiteX41" fmla="*/ 1124272 w 2371453"/>
              <a:gd name="connsiteY41" fmla="*/ 335166 h 518816"/>
              <a:gd name="connsiteX42" fmla="*/ 1116232 w 2371453"/>
              <a:gd name="connsiteY42" fmla="*/ 330372 h 518816"/>
              <a:gd name="connsiteX43" fmla="*/ 1103846 w 2371453"/>
              <a:gd name="connsiteY43" fmla="*/ 329425 h 518816"/>
              <a:gd name="connsiteX44" fmla="*/ 816766 w 2371453"/>
              <a:gd name="connsiteY44" fmla="*/ 329425 h 518816"/>
              <a:gd name="connsiteX45" fmla="*/ 804260 w 2371453"/>
              <a:gd name="connsiteY45" fmla="*/ 330372 h 518816"/>
              <a:gd name="connsiteX46" fmla="*/ 796579 w 2371453"/>
              <a:gd name="connsiteY46" fmla="*/ 335166 h 518816"/>
              <a:gd name="connsiteX47" fmla="*/ 792231 w 2371453"/>
              <a:gd name="connsiteY47" fmla="*/ 347299 h 518816"/>
              <a:gd name="connsiteX48" fmla="*/ 790445 w 2371453"/>
              <a:gd name="connsiteY48" fmla="*/ 369967 h 518816"/>
              <a:gd name="connsiteX49" fmla="*/ 790147 w 2371453"/>
              <a:gd name="connsiteY49" fmla="*/ 406365 h 518816"/>
              <a:gd name="connsiteX50" fmla="*/ 790445 w 2371453"/>
              <a:gd name="connsiteY50" fmla="*/ 442765 h 518816"/>
              <a:gd name="connsiteX51" fmla="*/ 792231 w 2371453"/>
              <a:gd name="connsiteY51" fmla="*/ 465433 h 518816"/>
              <a:gd name="connsiteX52" fmla="*/ 796579 w 2371453"/>
              <a:gd name="connsiteY52" fmla="*/ 477566 h 518816"/>
              <a:gd name="connsiteX53" fmla="*/ 804260 w 2371453"/>
              <a:gd name="connsiteY53" fmla="*/ 482360 h 518816"/>
              <a:gd name="connsiteX54" fmla="*/ 816766 w 2371453"/>
              <a:gd name="connsiteY54" fmla="*/ 483307 h 518816"/>
              <a:gd name="connsiteX55" fmla="*/ 829151 w 2371453"/>
              <a:gd name="connsiteY55" fmla="*/ 482360 h 518816"/>
              <a:gd name="connsiteX56" fmla="*/ 837191 w 2371453"/>
              <a:gd name="connsiteY56" fmla="*/ 477566 h 518816"/>
              <a:gd name="connsiteX57" fmla="*/ 841537 w 2371453"/>
              <a:gd name="connsiteY57" fmla="*/ 465433 h 518816"/>
              <a:gd name="connsiteX58" fmla="*/ 843146 w 2371453"/>
              <a:gd name="connsiteY58" fmla="*/ 442765 h 518816"/>
              <a:gd name="connsiteX59" fmla="*/ 843444 w 2371453"/>
              <a:gd name="connsiteY59" fmla="*/ 406365 h 518816"/>
              <a:gd name="connsiteX60" fmla="*/ 843146 w 2371453"/>
              <a:gd name="connsiteY60" fmla="*/ 369967 h 518816"/>
              <a:gd name="connsiteX61" fmla="*/ 841537 w 2371453"/>
              <a:gd name="connsiteY61" fmla="*/ 347299 h 518816"/>
              <a:gd name="connsiteX62" fmla="*/ 837191 w 2371453"/>
              <a:gd name="connsiteY62" fmla="*/ 335166 h 518816"/>
              <a:gd name="connsiteX63" fmla="*/ 829151 w 2371453"/>
              <a:gd name="connsiteY63" fmla="*/ 330372 h 518816"/>
              <a:gd name="connsiteX64" fmla="*/ 816766 w 2371453"/>
              <a:gd name="connsiteY64" fmla="*/ 329425 h 518816"/>
              <a:gd name="connsiteX65" fmla="*/ 2242055 w 2371453"/>
              <a:gd name="connsiteY65" fmla="*/ 296577 h 518816"/>
              <a:gd name="connsiteX66" fmla="*/ 2317205 w 2371453"/>
              <a:gd name="connsiteY66" fmla="*/ 296577 h 518816"/>
              <a:gd name="connsiteX67" fmla="*/ 2346742 w 2371453"/>
              <a:gd name="connsiteY67" fmla="*/ 302792 h 518816"/>
              <a:gd name="connsiteX68" fmla="*/ 2363951 w 2371453"/>
              <a:gd name="connsiteY68" fmla="*/ 321316 h 518816"/>
              <a:gd name="connsiteX69" fmla="*/ 2369548 w 2371453"/>
              <a:gd name="connsiteY69" fmla="*/ 351797 h 518816"/>
              <a:gd name="connsiteX70" fmla="*/ 2366154 w 2371453"/>
              <a:gd name="connsiteY70" fmla="*/ 377661 h 518816"/>
              <a:gd name="connsiteX71" fmla="*/ 2356031 w 2371453"/>
              <a:gd name="connsiteY71" fmla="*/ 394410 h 518816"/>
              <a:gd name="connsiteX72" fmla="*/ 2338702 w 2371453"/>
              <a:gd name="connsiteY72" fmla="*/ 403525 h 518816"/>
              <a:gd name="connsiteX73" fmla="*/ 2338702 w 2371453"/>
              <a:gd name="connsiteY73" fmla="*/ 404768 h 518816"/>
              <a:gd name="connsiteX74" fmla="*/ 2357639 w 2371453"/>
              <a:gd name="connsiteY74" fmla="*/ 413528 h 518816"/>
              <a:gd name="connsiteX75" fmla="*/ 2368060 w 2371453"/>
              <a:gd name="connsiteY75" fmla="*/ 430573 h 518816"/>
              <a:gd name="connsiteX76" fmla="*/ 2371453 w 2371453"/>
              <a:gd name="connsiteY76" fmla="*/ 457680 h 518816"/>
              <a:gd name="connsiteX77" fmla="*/ 2368418 w 2371453"/>
              <a:gd name="connsiteY77" fmla="*/ 482714 h 518816"/>
              <a:gd name="connsiteX78" fmla="*/ 2358770 w 2371453"/>
              <a:gd name="connsiteY78" fmla="*/ 501062 h 518816"/>
              <a:gd name="connsiteX79" fmla="*/ 2341739 w 2371453"/>
              <a:gd name="connsiteY79" fmla="*/ 512249 h 518816"/>
              <a:gd name="connsiteX80" fmla="*/ 2316550 w 2371453"/>
              <a:gd name="connsiteY80" fmla="*/ 516096 h 518816"/>
              <a:gd name="connsiteX81" fmla="*/ 2242055 w 2371453"/>
              <a:gd name="connsiteY81" fmla="*/ 516096 h 518816"/>
              <a:gd name="connsiteX82" fmla="*/ 2077284 w 2371453"/>
              <a:gd name="connsiteY82" fmla="*/ 296577 h 518816"/>
              <a:gd name="connsiteX83" fmla="*/ 2119682 w 2371453"/>
              <a:gd name="connsiteY83" fmla="*/ 296577 h 518816"/>
              <a:gd name="connsiteX84" fmla="*/ 2119682 w 2371453"/>
              <a:gd name="connsiteY84" fmla="*/ 432230 h 518816"/>
              <a:gd name="connsiteX85" fmla="*/ 2120338 w 2371453"/>
              <a:gd name="connsiteY85" fmla="*/ 459692 h 518816"/>
              <a:gd name="connsiteX86" fmla="*/ 2123077 w 2371453"/>
              <a:gd name="connsiteY86" fmla="*/ 475020 h 518816"/>
              <a:gd name="connsiteX87" fmla="*/ 2129984 w 2371453"/>
              <a:gd name="connsiteY87" fmla="*/ 481708 h 518816"/>
              <a:gd name="connsiteX88" fmla="*/ 2143144 w 2371453"/>
              <a:gd name="connsiteY88" fmla="*/ 483306 h 518816"/>
              <a:gd name="connsiteX89" fmla="*/ 2156126 w 2371453"/>
              <a:gd name="connsiteY89" fmla="*/ 481708 h 518816"/>
              <a:gd name="connsiteX90" fmla="*/ 2163213 w 2371453"/>
              <a:gd name="connsiteY90" fmla="*/ 475020 h 518816"/>
              <a:gd name="connsiteX91" fmla="*/ 2166131 w 2371453"/>
              <a:gd name="connsiteY91" fmla="*/ 459692 h 518816"/>
              <a:gd name="connsiteX92" fmla="*/ 2166606 w 2371453"/>
              <a:gd name="connsiteY92" fmla="*/ 432230 h 518816"/>
              <a:gd name="connsiteX93" fmla="*/ 2166606 w 2371453"/>
              <a:gd name="connsiteY93" fmla="*/ 296577 h 518816"/>
              <a:gd name="connsiteX94" fmla="*/ 2209005 w 2371453"/>
              <a:gd name="connsiteY94" fmla="*/ 296577 h 518816"/>
              <a:gd name="connsiteX95" fmla="*/ 2209005 w 2371453"/>
              <a:gd name="connsiteY95" fmla="*/ 419150 h 518816"/>
              <a:gd name="connsiteX96" fmla="*/ 2207874 w 2371453"/>
              <a:gd name="connsiteY96" fmla="*/ 460638 h 518816"/>
              <a:gd name="connsiteX97" fmla="*/ 2203229 w 2371453"/>
              <a:gd name="connsiteY97" fmla="*/ 489225 h 518816"/>
              <a:gd name="connsiteX98" fmla="*/ 2192630 w 2371453"/>
              <a:gd name="connsiteY98" fmla="*/ 506921 h 518816"/>
              <a:gd name="connsiteX99" fmla="*/ 2173514 w 2371453"/>
              <a:gd name="connsiteY99" fmla="*/ 516036 h 518816"/>
              <a:gd name="connsiteX100" fmla="*/ 2143144 w 2371453"/>
              <a:gd name="connsiteY100" fmla="*/ 518758 h 518816"/>
              <a:gd name="connsiteX101" fmla="*/ 2112774 w 2371453"/>
              <a:gd name="connsiteY101" fmla="*/ 516036 h 518816"/>
              <a:gd name="connsiteX102" fmla="*/ 2093660 w 2371453"/>
              <a:gd name="connsiteY102" fmla="*/ 506921 h 518816"/>
              <a:gd name="connsiteX103" fmla="*/ 2083060 w 2371453"/>
              <a:gd name="connsiteY103" fmla="*/ 489225 h 518816"/>
              <a:gd name="connsiteX104" fmla="*/ 2078416 w 2371453"/>
              <a:gd name="connsiteY104" fmla="*/ 460638 h 518816"/>
              <a:gd name="connsiteX105" fmla="*/ 2077284 w 2371453"/>
              <a:gd name="connsiteY105" fmla="*/ 419150 h 518816"/>
              <a:gd name="connsiteX106" fmla="*/ 1911264 w 2371453"/>
              <a:gd name="connsiteY106" fmla="*/ 296577 h 518816"/>
              <a:gd name="connsiteX107" fmla="*/ 1953365 w 2371453"/>
              <a:gd name="connsiteY107" fmla="*/ 296577 h 518816"/>
              <a:gd name="connsiteX108" fmla="*/ 1953365 w 2371453"/>
              <a:gd name="connsiteY108" fmla="*/ 386599 h 518816"/>
              <a:gd name="connsiteX109" fmla="*/ 2002194 w 2371453"/>
              <a:gd name="connsiteY109" fmla="*/ 386599 h 518816"/>
              <a:gd name="connsiteX110" fmla="*/ 2002194 w 2371453"/>
              <a:gd name="connsiteY110" fmla="*/ 296577 h 518816"/>
              <a:gd name="connsiteX111" fmla="*/ 2044593 w 2371453"/>
              <a:gd name="connsiteY111" fmla="*/ 296577 h 518816"/>
              <a:gd name="connsiteX112" fmla="*/ 2044593 w 2371453"/>
              <a:gd name="connsiteY112" fmla="*/ 516213 h 518816"/>
              <a:gd name="connsiteX113" fmla="*/ 2002194 w 2371453"/>
              <a:gd name="connsiteY113" fmla="*/ 516213 h 518816"/>
              <a:gd name="connsiteX114" fmla="*/ 2002194 w 2371453"/>
              <a:gd name="connsiteY114" fmla="*/ 424299 h 518816"/>
              <a:gd name="connsiteX115" fmla="*/ 1953365 w 2371453"/>
              <a:gd name="connsiteY115" fmla="*/ 424299 h 518816"/>
              <a:gd name="connsiteX116" fmla="*/ 1953365 w 2371453"/>
              <a:gd name="connsiteY116" fmla="*/ 516213 h 518816"/>
              <a:gd name="connsiteX117" fmla="*/ 1911264 w 2371453"/>
              <a:gd name="connsiteY117" fmla="*/ 516213 h 518816"/>
              <a:gd name="connsiteX118" fmla="*/ 1728510 w 2371453"/>
              <a:gd name="connsiteY118" fmla="*/ 296577 h 518816"/>
              <a:gd name="connsiteX119" fmla="*/ 1770611 w 2371453"/>
              <a:gd name="connsiteY119" fmla="*/ 296577 h 518816"/>
              <a:gd name="connsiteX120" fmla="*/ 1770611 w 2371453"/>
              <a:gd name="connsiteY120" fmla="*/ 479815 h 518816"/>
              <a:gd name="connsiteX121" fmla="*/ 1829683 w 2371453"/>
              <a:gd name="connsiteY121" fmla="*/ 479815 h 518816"/>
              <a:gd name="connsiteX122" fmla="*/ 1829683 w 2371453"/>
              <a:gd name="connsiteY122" fmla="*/ 516213 h 518816"/>
              <a:gd name="connsiteX123" fmla="*/ 1728510 w 2371453"/>
              <a:gd name="connsiteY123" fmla="*/ 516213 h 518816"/>
              <a:gd name="connsiteX124" fmla="*/ 1600063 w 2371453"/>
              <a:gd name="connsiteY124" fmla="*/ 296577 h 518816"/>
              <a:gd name="connsiteX125" fmla="*/ 1660147 w 2371453"/>
              <a:gd name="connsiteY125" fmla="*/ 296577 h 518816"/>
              <a:gd name="connsiteX126" fmla="*/ 1708322 w 2371453"/>
              <a:gd name="connsiteY126" fmla="*/ 516213 h 518816"/>
              <a:gd name="connsiteX127" fmla="*/ 1665626 w 2371453"/>
              <a:gd name="connsiteY127" fmla="*/ 516213 h 518816"/>
              <a:gd name="connsiteX128" fmla="*/ 1655980 w 2371453"/>
              <a:gd name="connsiteY128" fmla="*/ 468333 h 518816"/>
              <a:gd name="connsiteX129" fmla="*/ 1603279 w 2371453"/>
              <a:gd name="connsiteY129" fmla="*/ 468333 h 518816"/>
              <a:gd name="connsiteX130" fmla="*/ 1593334 w 2371453"/>
              <a:gd name="connsiteY130" fmla="*/ 516213 h 518816"/>
              <a:gd name="connsiteX131" fmla="*/ 1551591 w 2371453"/>
              <a:gd name="connsiteY131" fmla="*/ 516213 h 518816"/>
              <a:gd name="connsiteX132" fmla="*/ 1360501 w 2371453"/>
              <a:gd name="connsiteY132" fmla="*/ 296577 h 518816"/>
              <a:gd name="connsiteX133" fmla="*/ 1402899 w 2371453"/>
              <a:gd name="connsiteY133" fmla="*/ 296577 h 518816"/>
              <a:gd name="connsiteX134" fmla="*/ 1402899 w 2371453"/>
              <a:gd name="connsiteY134" fmla="*/ 516213 h 518816"/>
              <a:gd name="connsiteX135" fmla="*/ 1360501 w 2371453"/>
              <a:gd name="connsiteY135" fmla="*/ 516213 h 518816"/>
              <a:gd name="connsiteX136" fmla="*/ 916329 w 2371453"/>
              <a:gd name="connsiteY136" fmla="*/ 296577 h 518816"/>
              <a:gd name="connsiteX137" fmla="*/ 958430 w 2371453"/>
              <a:gd name="connsiteY137" fmla="*/ 296577 h 518816"/>
              <a:gd name="connsiteX138" fmla="*/ 958430 w 2371453"/>
              <a:gd name="connsiteY138" fmla="*/ 479815 h 518816"/>
              <a:gd name="connsiteX139" fmla="*/ 1017502 w 2371453"/>
              <a:gd name="connsiteY139" fmla="*/ 479815 h 518816"/>
              <a:gd name="connsiteX140" fmla="*/ 1017502 w 2371453"/>
              <a:gd name="connsiteY140" fmla="*/ 516213 h 518816"/>
              <a:gd name="connsiteX141" fmla="*/ 916329 w 2371453"/>
              <a:gd name="connsiteY141" fmla="*/ 516213 h 518816"/>
              <a:gd name="connsiteX142" fmla="*/ 583217 w 2371453"/>
              <a:gd name="connsiteY142" fmla="*/ 296577 h 518816"/>
              <a:gd name="connsiteX143" fmla="*/ 624960 w 2371453"/>
              <a:gd name="connsiteY143" fmla="*/ 296577 h 518816"/>
              <a:gd name="connsiteX144" fmla="*/ 675398 w 2371453"/>
              <a:gd name="connsiteY144" fmla="*/ 418498 h 518816"/>
              <a:gd name="connsiteX145" fmla="*/ 677006 w 2371453"/>
              <a:gd name="connsiteY145" fmla="*/ 418498 h 518816"/>
              <a:gd name="connsiteX146" fmla="*/ 677006 w 2371453"/>
              <a:gd name="connsiteY146" fmla="*/ 296577 h 518816"/>
              <a:gd name="connsiteX147" fmla="*/ 717499 w 2371453"/>
              <a:gd name="connsiteY147" fmla="*/ 296577 h 518816"/>
              <a:gd name="connsiteX148" fmla="*/ 717499 w 2371453"/>
              <a:gd name="connsiteY148" fmla="*/ 516213 h 518816"/>
              <a:gd name="connsiteX149" fmla="*/ 678614 w 2371453"/>
              <a:gd name="connsiteY149" fmla="*/ 516213 h 518816"/>
              <a:gd name="connsiteX150" fmla="*/ 624960 w 2371453"/>
              <a:gd name="connsiteY150" fmla="*/ 385355 h 518816"/>
              <a:gd name="connsiteX151" fmla="*/ 623353 w 2371453"/>
              <a:gd name="connsiteY151" fmla="*/ 385355 h 518816"/>
              <a:gd name="connsiteX152" fmla="*/ 623353 w 2371453"/>
              <a:gd name="connsiteY152" fmla="*/ 516213 h 518816"/>
              <a:gd name="connsiteX153" fmla="*/ 583217 w 2371453"/>
              <a:gd name="connsiteY153" fmla="*/ 516213 h 518816"/>
              <a:gd name="connsiteX154" fmla="*/ 415588 w 2371453"/>
              <a:gd name="connsiteY154" fmla="*/ 296577 h 518816"/>
              <a:gd name="connsiteX155" fmla="*/ 457689 w 2371453"/>
              <a:gd name="connsiteY155" fmla="*/ 296577 h 518816"/>
              <a:gd name="connsiteX156" fmla="*/ 457689 w 2371453"/>
              <a:gd name="connsiteY156" fmla="*/ 386599 h 518816"/>
              <a:gd name="connsiteX157" fmla="*/ 506519 w 2371453"/>
              <a:gd name="connsiteY157" fmla="*/ 386599 h 518816"/>
              <a:gd name="connsiteX158" fmla="*/ 506519 w 2371453"/>
              <a:gd name="connsiteY158" fmla="*/ 296577 h 518816"/>
              <a:gd name="connsiteX159" fmla="*/ 548917 w 2371453"/>
              <a:gd name="connsiteY159" fmla="*/ 296577 h 518816"/>
              <a:gd name="connsiteX160" fmla="*/ 548917 w 2371453"/>
              <a:gd name="connsiteY160" fmla="*/ 516213 h 518816"/>
              <a:gd name="connsiteX161" fmla="*/ 506519 w 2371453"/>
              <a:gd name="connsiteY161" fmla="*/ 516213 h 518816"/>
              <a:gd name="connsiteX162" fmla="*/ 506519 w 2371453"/>
              <a:gd name="connsiteY162" fmla="*/ 424299 h 518816"/>
              <a:gd name="connsiteX163" fmla="*/ 457689 w 2371453"/>
              <a:gd name="connsiteY163" fmla="*/ 424299 h 518816"/>
              <a:gd name="connsiteX164" fmla="*/ 457689 w 2371453"/>
              <a:gd name="connsiteY164" fmla="*/ 516213 h 518816"/>
              <a:gd name="connsiteX165" fmla="*/ 415588 w 2371453"/>
              <a:gd name="connsiteY165" fmla="*/ 516213 h 518816"/>
              <a:gd name="connsiteX166" fmla="*/ 149346 w 2371453"/>
              <a:gd name="connsiteY166" fmla="*/ 296577 h 518816"/>
              <a:gd name="connsiteX167" fmla="*/ 257902 w 2371453"/>
              <a:gd name="connsiteY167" fmla="*/ 296577 h 518816"/>
              <a:gd name="connsiteX168" fmla="*/ 257902 w 2371453"/>
              <a:gd name="connsiteY168" fmla="*/ 332030 h 518816"/>
              <a:gd name="connsiteX169" fmla="*/ 191446 w 2371453"/>
              <a:gd name="connsiteY169" fmla="*/ 332030 h 518816"/>
              <a:gd name="connsiteX170" fmla="*/ 191446 w 2371453"/>
              <a:gd name="connsiteY170" fmla="*/ 387545 h 518816"/>
              <a:gd name="connsiteX171" fmla="*/ 248910 w 2371453"/>
              <a:gd name="connsiteY171" fmla="*/ 387545 h 518816"/>
              <a:gd name="connsiteX172" fmla="*/ 248910 w 2371453"/>
              <a:gd name="connsiteY172" fmla="*/ 422642 h 518816"/>
              <a:gd name="connsiteX173" fmla="*/ 191446 w 2371453"/>
              <a:gd name="connsiteY173" fmla="*/ 422642 h 518816"/>
              <a:gd name="connsiteX174" fmla="*/ 191446 w 2371453"/>
              <a:gd name="connsiteY174" fmla="*/ 480762 h 518816"/>
              <a:gd name="connsiteX175" fmla="*/ 257902 w 2371453"/>
              <a:gd name="connsiteY175" fmla="*/ 480762 h 518816"/>
              <a:gd name="connsiteX176" fmla="*/ 257902 w 2371453"/>
              <a:gd name="connsiteY176" fmla="*/ 516213 h 518816"/>
              <a:gd name="connsiteX177" fmla="*/ 149346 w 2371453"/>
              <a:gd name="connsiteY177" fmla="*/ 516213 h 518816"/>
              <a:gd name="connsiteX178" fmla="*/ 0 w 2371453"/>
              <a:gd name="connsiteY178" fmla="*/ 296577 h 518816"/>
              <a:gd name="connsiteX179" fmla="*/ 128446 w 2371453"/>
              <a:gd name="connsiteY179" fmla="*/ 296577 h 518816"/>
              <a:gd name="connsiteX180" fmla="*/ 128446 w 2371453"/>
              <a:gd name="connsiteY180" fmla="*/ 332976 h 518816"/>
              <a:gd name="connsiteX181" fmla="*/ 85392 w 2371453"/>
              <a:gd name="connsiteY181" fmla="*/ 332976 h 518816"/>
              <a:gd name="connsiteX182" fmla="*/ 85392 w 2371453"/>
              <a:gd name="connsiteY182" fmla="*/ 516213 h 518816"/>
              <a:gd name="connsiteX183" fmla="*/ 43054 w 2371453"/>
              <a:gd name="connsiteY183" fmla="*/ 516213 h 518816"/>
              <a:gd name="connsiteX184" fmla="*/ 43054 w 2371453"/>
              <a:gd name="connsiteY184" fmla="*/ 332976 h 518816"/>
              <a:gd name="connsiteX185" fmla="*/ 0 w 2371453"/>
              <a:gd name="connsiteY185" fmla="*/ 332976 h 518816"/>
              <a:gd name="connsiteX186" fmla="*/ 1103846 w 2371453"/>
              <a:gd name="connsiteY186" fmla="*/ 294091 h 518816"/>
              <a:gd name="connsiteX187" fmla="*/ 1134216 w 2371453"/>
              <a:gd name="connsiteY187" fmla="*/ 296340 h 518816"/>
              <a:gd name="connsiteX188" fmla="*/ 1154284 w 2371453"/>
              <a:gd name="connsiteY188" fmla="*/ 305100 h 518816"/>
              <a:gd name="connsiteX189" fmla="*/ 1166015 w 2371453"/>
              <a:gd name="connsiteY189" fmla="*/ 324099 h 518816"/>
              <a:gd name="connsiteX190" fmla="*/ 1171493 w 2371453"/>
              <a:gd name="connsiteY190" fmla="*/ 356650 h 518816"/>
              <a:gd name="connsiteX191" fmla="*/ 1172923 w 2371453"/>
              <a:gd name="connsiteY191" fmla="*/ 406425 h 518816"/>
              <a:gd name="connsiteX192" fmla="*/ 1171493 w 2371453"/>
              <a:gd name="connsiteY192" fmla="*/ 456200 h 518816"/>
              <a:gd name="connsiteX193" fmla="*/ 1166015 w 2371453"/>
              <a:gd name="connsiteY193" fmla="*/ 488752 h 518816"/>
              <a:gd name="connsiteX194" fmla="*/ 1154284 w 2371453"/>
              <a:gd name="connsiteY194" fmla="*/ 507751 h 518816"/>
              <a:gd name="connsiteX195" fmla="*/ 1134216 w 2371453"/>
              <a:gd name="connsiteY195" fmla="*/ 516509 h 518816"/>
              <a:gd name="connsiteX196" fmla="*/ 1103846 w 2371453"/>
              <a:gd name="connsiteY196" fmla="*/ 518758 h 518816"/>
              <a:gd name="connsiteX197" fmla="*/ 1073180 w 2371453"/>
              <a:gd name="connsiteY197" fmla="*/ 516509 h 518816"/>
              <a:gd name="connsiteX198" fmla="*/ 1053290 w 2371453"/>
              <a:gd name="connsiteY198" fmla="*/ 507751 h 518816"/>
              <a:gd name="connsiteX199" fmla="*/ 1041738 w 2371453"/>
              <a:gd name="connsiteY199" fmla="*/ 488752 h 518816"/>
              <a:gd name="connsiteX200" fmla="*/ 1036259 w 2371453"/>
              <a:gd name="connsiteY200" fmla="*/ 456200 h 518816"/>
              <a:gd name="connsiteX201" fmla="*/ 1034830 w 2371453"/>
              <a:gd name="connsiteY201" fmla="*/ 406425 h 518816"/>
              <a:gd name="connsiteX202" fmla="*/ 1036259 w 2371453"/>
              <a:gd name="connsiteY202" fmla="*/ 356650 h 518816"/>
              <a:gd name="connsiteX203" fmla="*/ 1041738 w 2371453"/>
              <a:gd name="connsiteY203" fmla="*/ 324099 h 518816"/>
              <a:gd name="connsiteX204" fmla="*/ 1053290 w 2371453"/>
              <a:gd name="connsiteY204" fmla="*/ 305100 h 518816"/>
              <a:gd name="connsiteX205" fmla="*/ 1073180 w 2371453"/>
              <a:gd name="connsiteY205" fmla="*/ 296340 h 518816"/>
              <a:gd name="connsiteX206" fmla="*/ 1103846 w 2371453"/>
              <a:gd name="connsiteY206" fmla="*/ 294091 h 518816"/>
              <a:gd name="connsiteX207" fmla="*/ 816766 w 2371453"/>
              <a:gd name="connsiteY207" fmla="*/ 294091 h 518816"/>
              <a:gd name="connsiteX208" fmla="*/ 847135 w 2371453"/>
              <a:gd name="connsiteY208" fmla="*/ 296340 h 518816"/>
              <a:gd name="connsiteX209" fmla="*/ 867203 w 2371453"/>
              <a:gd name="connsiteY209" fmla="*/ 305100 h 518816"/>
              <a:gd name="connsiteX210" fmla="*/ 878934 w 2371453"/>
              <a:gd name="connsiteY210" fmla="*/ 324099 h 518816"/>
              <a:gd name="connsiteX211" fmla="*/ 884412 w 2371453"/>
              <a:gd name="connsiteY211" fmla="*/ 356650 h 518816"/>
              <a:gd name="connsiteX212" fmla="*/ 885842 w 2371453"/>
              <a:gd name="connsiteY212" fmla="*/ 406425 h 518816"/>
              <a:gd name="connsiteX213" fmla="*/ 884412 w 2371453"/>
              <a:gd name="connsiteY213" fmla="*/ 456200 h 518816"/>
              <a:gd name="connsiteX214" fmla="*/ 878934 w 2371453"/>
              <a:gd name="connsiteY214" fmla="*/ 488752 h 518816"/>
              <a:gd name="connsiteX215" fmla="*/ 867203 w 2371453"/>
              <a:gd name="connsiteY215" fmla="*/ 507751 h 518816"/>
              <a:gd name="connsiteX216" fmla="*/ 847135 w 2371453"/>
              <a:gd name="connsiteY216" fmla="*/ 516509 h 518816"/>
              <a:gd name="connsiteX217" fmla="*/ 816766 w 2371453"/>
              <a:gd name="connsiteY217" fmla="*/ 518758 h 518816"/>
              <a:gd name="connsiteX218" fmla="*/ 786099 w 2371453"/>
              <a:gd name="connsiteY218" fmla="*/ 516509 h 518816"/>
              <a:gd name="connsiteX219" fmla="*/ 766209 w 2371453"/>
              <a:gd name="connsiteY219" fmla="*/ 507751 h 518816"/>
              <a:gd name="connsiteX220" fmla="*/ 754657 w 2371453"/>
              <a:gd name="connsiteY220" fmla="*/ 488752 h 518816"/>
              <a:gd name="connsiteX221" fmla="*/ 749178 w 2371453"/>
              <a:gd name="connsiteY221" fmla="*/ 456200 h 518816"/>
              <a:gd name="connsiteX222" fmla="*/ 747749 w 2371453"/>
              <a:gd name="connsiteY222" fmla="*/ 406425 h 518816"/>
              <a:gd name="connsiteX223" fmla="*/ 749178 w 2371453"/>
              <a:gd name="connsiteY223" fmla="*/ 356650 h 518816"/>
              <a:gd name="connsiteX224" fmla="*/ 754657 w 2371453"/>
              <a:gd name="connsiteY224" fmla="*/ 324099 h 518816"/>
              <a:gd name="connsiteX225" fmla="*/ 766209 w 2371453"/>
              <a:gd name="connsiteY225" fmla="*/ 305100 h 518816"/>
              <a:gd name="connsiteX226" fmla="*/ 786099 w 2371453"/>
              <a:gd name="connsiteY226" fmla="*/ 296340 h 518816"/>
              <a:gd name="connsiteX227" fmla="*/ 816766 w 2371453"/>
              <a:gd name="connsiteY227" fmla="*/ 294091 h 518816"/>
              <a:gd name="connsiteX228" fmla="*/ 1501393 w 2371453"/>
              <a:gd name="connsiteY228" fmla="*/ 293972 h 518816"/>
              <a:gd name="connsiteX229" fmla="*/ 1515387 w 2371453"/>
              <a:gd name="connsiteY229" fmla="*/ 294623 h 518816"/>
              <a:gd name="connsiteX230" fmla="*/ 1528904 w 2371453"/>
              <a:gd name="connsiteY230" fmla="*/ 296398 h 518816"/>
              <a:gd name="connsiteX231" fmla="*/ 1539028 w 2371453"/>
              <a:gd name="connsiteY231" fmla="*/ 299122 h 518816"/>
              <a:gd name="connsiteX232" fmla="*/ 1539028 w 2371453"/>
              <a:gd name="connsiteY232" fmla="*/ 331673 h 518816"/>
              <a:gd name="connsiteX233" fmla="*/ 1527952 w 2371453"/>
              <a:gd name="connsiteY233" fmla="*/ 330431 h 518816"/>
              <a:gd name="connsiteX234" fmla="*/ 1518126 w 2371453"/>
              <a:gd name="connsiteY234" fmla="*/ 329661 h 518816"/>
              <a:gd name="connsiteX235" fmla="*/ 1510087 w 2371453"/>
              <a:gd name="connsiteY235" fmla="*/ 329483 h 518816"/>
              <a:gd name="connsiteX236" fmla="*/ 1493890 w 2371453"/>
              <a:gd name="connsiteY236" fmla="*/ 330904 h 518816"/>
              <a:gd name="connsiteX237" fmla="*/ 1483766 w 2371453"/>
              <a:gd name="connsiteY237" fmla="*/ 336526 h 518816"/>
              <a:gd name="connsiteX238" fmla="*/ 1478288 w 2371453"/>
              <a:gd name="connsiteY238" fmla="*/ 349133 h 518816"/>
              <a:gd name="connsiteX239" fmla="*/ 1476204 w 2371453"/>
              <a:gd name="connsiteY239" fmla="*/ 371504 h 518816"/>
              <a:gd name="connsiteX240" fmla="*/ 1475727 w 2371453"/>
              <a:gd name="connsiteY240" fmla="*/ 406484 h 518816"/>
              <a:gd name="connsiteX241" fmla="*/ 1476204 w 2371453"/>
              <a:gd name="connsiteY241" fmla="*/ 441462 h 518816"/>
              <a:gd name="connsiteX242" fmla="*/ 1478288 w 2371453"/>
              <a:gd name="connsiteY242" fmla="*/ 463833 h 518816"/>
              <a:gd name="connsiteX243" fmla="*/ 1483587 w 2371453"/>
              <a:gd name="connsiteY243" fmla="*/ 476618 h 518816"/>
              <a:gd name="connsiteX244" fmla="*/ 1493532 w 2371453"/>
              <a:gd name="connsiteY244" fmla="*/ 482181 h 518816"/>
              <a:gd name="connsiteX245" fmla="*/ 1510087 w 2371453"/>
              <a:gd name="connsiteY245" fmla="*/ 483424 h 518816"/>
              <a:gd name="connsiteX246" fmla="*/ 1526165 w 2371453"/>
              <a:gd name="connsiteY246" fmla="*/ 482773 h 518816"/>
              <a:gd name="connsiteX247" fmla="*/ 1539683 w 2371453"/>
              <a:gd name="connsiteY247" fmla="*/ 481175 h 518816"/>
              <a:gd name="connsiteX248" fmla="*/ 1539683 w 2371453"/>
              <a:gd name="connsiteY248" fmla="*/ 513727 h 518816"/>
              <a:gd name="connsiteX249" fmla="*/ 1528606 w 2371453"/>
              <a:gd name="connsiteY249" fmla="*/ 516450 h 518816"/>
              <a:gd name="connsiteX250" fmla="*/ 1514970 w 2371453"/>
              <a:gd name="connsiteY250" fmla="*/ 518165 h 518816"/>
              <a:gd name="connsiteX251" fmla="*/ 1501452 w 2371453"/>
              <a:gd name="connsiteY251" fmla="*/ 518816 h 518816"/>
              <a:gd name="connsiteX252" fmla="*/ 1501452 w 2371453"/>
              <a:gd name="connsiteY252" fmla="*/ 518757 h 518816"/>
              <a:gd name="connsiteX253" fmla="*/ 1470784 w 2371453"/>
              <a:gd name="connsiteY253" fmla="*/ 515266 h 518816"/>
              <a:gd name="connsiteX254" fmla="*/ 1451015 w 2371453"/>
              <a:gd name="connsiteY254" fmla="*/ 504080 h 518816"/>
              <a:gd name="connsiteX255" fmla="*/ 1439760 w 2371453"/>
              <a:gd name="connsiteY255" fmla="*/ 483483 h 518816"/>
              <a:gd name="connsiteX256" fmla="*/ 1434638 w 2371453"/>
              <a:gd name="connsiteY256" fmla="*/ 451404 h 518816"/>
              <a:gd name="connsiteX257" fmla="*/ 1433329 w 2371453"/>
              <a:gd name="connsiteY257" fmla="*/ 406365 h 518816"/>
              <a:gd name="connsiteX258" fmla="*/ 1434638 w 2371453"/>
              <a:gd name="connsiteY258" fmla="*/ 361207 h 518816"/>
              <a:gd name="connsiteX259" fmla="*/ 1439760 w 2371453"/>
              <a:gd name="connsiteY259" fmla="*/ 329306 h 518816"/>
              <a:gd name="connsiteX260" fmla="*/ 1451133 w 2371453"/>
              <a:gd name="connsiteY260" fmla="*/ 308532 h 518816"/>
              <a:gd name="connsiteX261" fmla="*/ 1470904 w 2371453"/>
              <a:gd name="connsiteY261" fmla="*/ 297346 h 518816"/>
              <a:gd name="connsiteX262" fmla="*/ 1501393 w 2371453"/>
              <a:gd name="connsiteY262" fmla="*/ 293972 h 518816"/>
              <a:gd name="connsiteX263" fmla="*/ 1273025 w 2371453"/>
              <a:gd name="connsiteY263" fmla="*/ 293972 h 518816"/>
              <a:gd name="connsiteX264" fmla="*/ 1291306 w 2371453"/>
              <a:gd name="connsiteY264" fmla="*/ 294741 h 518816"/>
              <a:gd name="connsiteX265" fmla="*/ 1310719 w 2371453"/>
              <a:gd name="connsiteY265" fmla="*/ 296991 h 518816"/>
              <a:gd name="connsiteX266" fmla="*/ 1327571 w 2371453"/>
              <a:gd name="connsiteY266" fmla="*/ 300364 h 518816"/>
              <a:gd name="connsiteX267" fmla="*/ 1327571 w 2371453"/>
              <a:gd name="connsiteY267" fmla="*/ 333213 h 518816"/>
              <a:gd name="connsiteX268" fmla="*/ 1310362 w 2371453"/>
              <a:gd name="connsiteY268" fmla="*/ 330845 h 518816"/>
              <a:gd name="connsiteX269" fmla="*/ 1296547 w 2371453"/>
              <a:gd name="connsiteY269" fmla="*/ 329720 h 518816"/>
              <a:gd name="connsiteX270" fmla="*/ 1286125 w 2371453"/>
              <a:gd name="connsiteY270" fmla="*/ 329425 h 518816"/>
              <a:gd name="connsiteX271" fmla="*/ 1266236 w 2371453"/>
              <a:gd name="connsiteY271" fmla="*/ 330193 h 518816"/>
              <a:gd name="connsiteX272" fmla="*/ 1253077 w 2371453"/>
              <a:gd name="connsiteY272" fmla="*/ 334514 h 518816"/>
              <a:gd name="connsiteX273" fmla="*/ 1245394 w 2371453"/>
              <a:gd name="connsiteY273" fmla="*/ 346174 h 518816"/>
              <a:gd name="connsiteX274" fmla="*/ 1241881 w 2371453"/>
              <a:gd name="connsiteY274" fmla="*/ 368842 h 518816"/>
              <a:gd name="connsiteX275" fmla="*/ 1240928 w 2371453"/>
              <a:gd name="connsiteY275" fmla="*/ 406365 h 518816"/>
              <a:gd name="connsiteX276" fmla="*/ 1241583 w 2371453"/>
              <a:gd name="connsiteY276" fmla="*/ 441935 h 518816"/>
              <a:gd name="connsiteX277" fmla="*/ 1244144 w 2371453"/>
              <a:gd name="connsiteY277" fmla="*/ 464781 h 518816"/>
              <a:gd name="connsiteX278" fmla="*/ 1249622 w 2371453"/>
              <a:gd name="connsiteY278" fmla="*/ 477566 h 518816"/>
              <a:gd name="connsiteX279" fmla="*/ 1258614 w 2371453"/>
              <a:gd name="connsiteY279" fmla="*/ 483188 h 518816"/>
              <a:gd name="connsiteX280" fmla="*/ 1272132 w 2371453"/>
              <a:gd name="connsiteY280" fmla="*/ 484608 h 518816"/>
              <a:gd name="connsiteX281" fmla="*/ 1278087 w 2371453"/>
              <a:gd name="connsiteY281" fmla="*/ 484431 h 518816"/>
              <a:gd name="connsiteX282" fmla="*/ 1284042 w 2371453"/>
              <a:gd name="connsiteY282" fmla="*/ 483780 h 518816"/>
              <a:gd name="connsiteX283" fmla="*/ 1289520 w 2371453"/>
              <a:gd name="connsiteY283" fmla="*/ 483010 h 518816"/>
              <a:gd name="connsiteX284" fmla="*/ 1289520 w 2371453"/>
              <a:gd name="connsiteY284" fmla="*/ 424890 h 518816"/>
              <a:gd name="connsiteX285" fmla="*/ 1267368 w 2371453"/>
              <a:gd name="connsiteY285" fmla="*/ 424890 h 518816"/>
              <a:gd name="connsiteX286" fmla="*/ 1267368 w 2371453"/>
              <a:gd name="connsiteY286" fmla="*/ 390740 h 518816"/>
              <a:gd name="connsiteX287" fmla="*/ 1328405 w 2371453"/>
              <a:gd name="connsiteY287" fmla="*/ 390740 h 518816"/>
              <a:gd name="connsiteX288" fmla="*/ 1328405 w 2371453"/>
              <a:gd name="connsiteY288" fmla="*/ 512366 h 518816"/>
              <a:gd name="connsiteX289" fmla="*/ 1310422 w 2371453"/>
              <a:gd name="connsiteY289" fmla="*/ 515740 h 518816"/>
              <a:gd name="connsiteX290" fmla="*/ 1290353 w 2371453"/>
              <a:gd name="connsiteY290" fmla="*/ 517989 h 518816"/>
              <a:gd name="connsiteX291" fmla="*/ 1271239 w 2371453"/>
              <a:gd name="connsiteY291" fmla="*/ 518758 h 518816"/>
              <a:gd name="connsiteX292" fmla="*/ 1271179 w 2371453"/>
              <a:gd name="connsiteY292" fmla="*/ 518758 h 518816"/>
              <a:gd name="connsiteX293" fmla="*/ 1240988 w 2371453"/>
              <a:gd name="connsiteY293" fmla="*/ 515859 h 518816"/>
              <a:gd name="connsiteX294" fmla="*/ 1220265 w 2371453"/>
              <a:gd name="connsiteY294" fmla="*/ 505620 h 518816"/>
              <a:gd name="connsiteX295" fmla="*/ 1207402 w 2371453"/>
              <a:gd name="connsiteY295" fmla="*/ 485673 h 518816"/>
              <a:gd name="connsiteX296" fmla="*/ 1200971 w 2371453"/>
              <a:gd name="connsiteY296" fmla="*/ 453417 h 518816"/>
              <a:gd name="connsiteX297" fmla="*/ 1199185 w 2371453"/>
              <a:gd name="connsiteY297" fmla="*/ 406306 h 518816"/>
              <a:gd name="connsiteX298" fmla="*/ 1201090 w 2371453"/>
              <a:gd name="connsiteY298" fmla="*/ 359076 h 518816"/>
              <a:gd name="connsiteX299" fmla="*/ 1207819 w 2371453"/>
              <a:gd name="connsiteY299" fmla="*/ 326821 h 518816"/>
              <a:gd name="connsiteX300" fmla="*/ 1220979 w 2371453"/>
              <a:gd name="connsiteY300" fmla="*/ 306874 h 518816"/>
              <a:gd name="connsiteX301" fmla="*/ 1242179 w 2371453"/>
              <a:gd name="connsiteY301" fmla="*/ 296813 h 518816"/>
              <a:gd name="connsiteX302" fmla="*/ 1273025 w 2371453"/>
              <a:gd name="connsiteY302" fmla="*/ 293972 h 518816"/>
              <a:gd name="connsiteX303" fmla="*/ 350679 w 2371453"/>
              <a:gd name="connsiteY303" fmla="*/ 293972 h 518816"/>
              <a:gd name="connsiteX304" fmla="*/ 364673 w 2371453"/>
              <a:gd name="connsiteY304" fmla="*/ 294623 h 518816"/>
              <a:gd name="connsiteX305" fmla="*/ 378190 w 2371453"/>
              <a:gd name="connsiteY305" fmla="*/ 296398 h 518816"/>
              <a:gd name="connsiteX306" fmla="*/ 388314 w 2371453"/>
              <a:gd name="connsiteY306" fmla="*/ 299122 h 518816"/>
              <a:gd name="connsiteX307" fmla="*/ 388314 w 2371453"/>
              <a:gd name="connsiteY307" fmla="*/ 331673 h 518816"/>
              <a:gd name="connsiteX308" fmla="*/ 377238 w 2371453"/>
              <a:gd name="connsiteY308" fmla="*/ 330431 h 518816"/>
              <a:gd name="connsiteX309" fmla="*/ 367412 w 2371453"/>
              <a:gd name="connsiteY309" fmla="*/ 329661 h 518816"/>
              <a:gd name="connsiteX310" fmla="*/ 359373 w 2371453"/>
              <a:gd name="connsiteY310" fmla="*/ 329483 h 518816"/>
              <a:gd name="connsiteX311" fmla="*/ 343176 w 2371453"/>
              <a:gd name="connsiteY311" fmla="*/ 330904 h 518816"/>
              <a:gd name="connsiteX312" fmla="*/ 333052 w 2371453"/>
              <a:gd name="connsiteY312" fmla="*/ 336526 h 518816"/>
              <a:gd name="connsiteX313" fmla="*/ 327574 w 2371453"/>
              <a:gd name="connsiteY313" fmla="*/ 349133 h 518816"/>
              <a:gd name="connsiteX314" fmla="*/ 325490 w 2371453"/>
              <a:gd name="connsiteY314" fmla="*/ 371504 h 518816"/>
              <a:gd name="connsiteX315" fmla="*/ 325013 w 2371453"/>
              <a:gd name="connsiteY315" fmla="*/ 406484 h 518816"/>
              <a:gd name="connsiteX316" fmla="*/ 325490 w 2371453"/>
              <a:gd name="connsiteY316" fmla="*/ 441462 h 518816"/>
              <a:gd name="connsiteX317" fmla="*/ 327574 w 2371453"/>
              <a:gd name="connsiteY317" fmla="*/ 463833 h 518816"/>
              <a:gd name="connsiteX318" fmla="*/ 332873 w 2371453"/>
              <a:gd name="connsiteY318" fmla="*/ 476618 h 518816"/>
              <a:gd name="connsiteX319" fmla="*/ 342818 w 2371453"/>
              <a:gd name="connsiteY319" fmla="*/ 482181 h 518816"/>
              <a:gd name="connsiteX320" fmla="*/ 359373 w 2371453"/>
              <a:gd name="connsiteY320" fmla="*/ 483424 h 518816"/>
              <a:gd name="connsiteX321" fmla="*/ 375451 w 2371453"/>
              <a:gd name="connsiteY321" fmla="*/ 482773 h 518816"/>
              <a:gd name="connsiteX322" fmla="*/ 388969 w 2371453"/>
              <a:gd name="connsiteY322" fmla="*/ 481175 h 518816"/>
              <a:gd name="connsiteX323" fmla="*/ 388969 w 2371453"/>
              <a:gd name="connsiteY323" fmla="*/ 513727 h 518816"/>
              <a:gd name="connsiteX324" fmla="*/ 377892 w 2371453"/>
              <a:gd name="connsiteY324" fmla="*/ 516450 h 518816"/>
              <a:gd name="connsiteX325" fmla="*/ 364256 w 2371453"/>
              <a:gd name="connsiteY325" fmla="*/ 518165 h 518816"/>
              <a:gd name="connsiteX326" fmla="*/ 350738 w 2371453"/>
              <a:gd name="connsiteY326" fmla="*/ 518816 h 518816"/>
              <a:gd name="connsiteX327" fmla="*/ 350738 w 2371453"/>
              <a:gd name="connsiteY327" fmla="*/ 518757 h 518816"/>
              <a:gd name="connsiteX328" fmla="*/ 320070 w 2371453"/>
              <a:gd name="connsiteY328" fmla="*/ 515266 h 518816"/>
              <a:gd name="connsiteX329" fmla="*/ 300301 w 2371453"/>
              <a:gd name="connsiteY329" fmla="*/ 504080 h 518816"/>
              <a:gd name="connsiteX330" fmla="*/ 289046 w 2371453"/>
              <a:gd name="connsiteY330" fmla="*/ 483483 h 518816"/>
              <a:gd name="connsiteX331" fmla="*/ 283924 w 2371453"/>
              <a:gd name="connsiteY331" fmla="*/ 451404 h 518816"/>
              <a:gd name="connsiteX332" fmla="*/ 282615 w 2371453"/>
              <a:gd name="connsiteY332" fmla="*/ 406365 h 518816"/>
              <a:gd name="connsiteX333" fmla="*/ 283924 w 2371453"/>
              <a:gd name="connsiteY333" fmla="*/ 361207 h 518816"/>
              <a:gd name="connsiteX334" fmla="*/ 289046 w 2371453"/>
              <a:gd name="connsiteY334" fmla="*/ 329306 h 518816"/>
              <a:gd name="connsiteX335" fmla="*/ 300420 w 2371453"/>
              <a:gd name="connsiteY335" fmla="*/ 308532 h 518816"/>
              <a:gd name="connsiteX336" fmla="*/ 320190 w 2371453"/>
              <a:gd name="connsiteY336" fmla="*/ 297346 h 518816"/>
              <a:gd name="connsiteX337" fmla="*/ 350679 w 2371453"/>
              <a:gd name="connsiteY337" fmla="*/ 293972 h 518816"/>
              <a:gd name="connsiteX338" fmla="*/ 1088127 w 2371453"/>
              <a:gd name="connsiteY338" fmla="*/ 114286 h 518816"/>
              <a:gd name="connsiteX339" fmla="*/ 1153987 w 2371453"/>
              <a:gd name="connsiteY339" fmla="*/ 114286 h 518816"/>
              <a:gd name="connsiteX340" fmla="*/ 1153987 w 2371453"/>
              <a:gd name="connsiteY340" fmla="*/ 148140 h 518816"/>
              <a:gd name="connsiteX341" fmla="*/ 1088127 w 2371453"/>
              <a:gd name="connsiteY341" fmla="*/ 148140 h 518816"/>
              <a:gd name="connsiteX342" fmla="*/ 2137309 w 2371453"/>
              <a:gd name="connsiteY342" fmla="*/ 43086 h 518816"/>
              <a:gd name="connsiteX343" fmla="*/ 2118670 w 2371453"/>
              <a:gd name="connsiteY343" fmla="*/ 139794 h 518816"/>
              <a:gd name="connsiteX344" fmla="*/ 2118730 w 2371453"/>
              <a:gd name="connsiteY344" fmla="*/ 139794 h 518816"/>
              <a:gd name="connsiteX345" fmla="*/ 2158211 w 2371453"/>
              <a:gd name="connsiteY345" fmla="*/ 139794 h 518816"/>
              <a:gd name="connsiteX346" fmla="*/ 2139572 w 2371453"/>
              <a:gd name="connsiteY346" fmla="*/ 43086 h 518816"/>
              <a:gd name="connsiteX347" fmla="*/ 1249264 w 2371453"/>
              <a:gd name="connsiteY347" fmla="*/ 43086 h 518816"/>
              <a:gd name="connsiteX348" fmla="*/ 1230625 w 2371453"/>
              <a:gd name="connsiteY348" fmla="*/ 139794 h 518816"/>
              <a:gd name="connsiteX349" fmla="*/ 1230685 w 2371453"/>
              <a:gd name="connsiteY349" fmla="*/ 139794 h 518816"/>
              <a:gd name="connsiteX350" fmla="*/ 1270166 w 2371453"/>
              <a:gd name="connsiteY350" fmla="*/ 139794 h 518816"/>
              <a:gd name="connsiteX351" fmla="*/ 1251527 w 2371453"/>
              <a:gd name="connsiteY351" fmla="*/ 43086 h 518816"/>
              <a:gd name="connsiteX352" fmla="*/ 842073 w 2371453"/>
              <a:gd name="connsiteY352" fmla="*/ 37641 h 518816"/>
              <a:gd name="connsiteX353" fmla="*/ 842073 w 2371453"/>
              <a:gd name="connsiteY353" fmla="*/ 113930 h 518816"/>
              <a:gd name="connsiteX354" fmla="*/ 842133 w 2371453"/>
              <a:gd name="connsiteY354" fmla="*/ 113930 h 518816"/>
              <a:gd name="connsiteX355" fmla="*/ 861725 w 2371453"/>
              <a:gd name="connsiteY355" fmla="*/ 113930 h 518816"/>
              <a:gd name="connsiteX356" fmla="*/ 873098 w 2371453"/>
              <a:gd name="connsiteY356" fmla="*/ 112805 h 518816"/>
              <a:gd name="connsiteX357" fmla="*/ 880303 w 2371453"/>
              <a:gd name="connsiteY357" fmla="*/ 108012 h 518816"/>
              <a:gd name="connsiteX358" fmla="*/ 883995 w 2371453"/>
              <a:gd name="connsiteY358" fmla="*/ 96530 h 518816"/>
              <a:gd name="connsiteX359" fmla="*/ 885126 w 2371453"/>
              <a:gd name="connsiteY359" fmla="*/ 75934 h 518816"/>
              <a:gd name="connsiteX360" fmla="*/ 884173 w 2371453"/>
              <a:gd name="connsiteY360" fmla="*/ 55810 h 518816"/>
              <a:gd name="connsiteX361" fmla="*/ 880780 w 2371453"/>
              <a:gd name="connsiteY361" fmla="*/ 44328 h 518816"/>
              <a:gd name="connsiteX362" fmla="*/ 873693 w 2371453"/>
              <a:gd name="connsiteY362" fmla="*/ 39061 h 518816"/>
              <a:gd name="connsiteX363" fmla="*/ 861665 w 2371453"/>
              <a:gd name="connsiteY363" fmla="*/ 37641 h 518816"/>
              <a:gd name="connsiteX364" fmla="*/ 1752032 w 2371453"/>
              <a:gd name="connsiteY364" fmla="*/ 37582 h 518816"/>
              <a:gd name="connsiteX365" fmla="*/ 1752032 w 2371453"/>
              <a:gd name="connsiteY365" fmla="*/ 108427 h 518816"/>
              <a:gd name="connsiteX366" fmla="*/ 1752032 w 2371453"/>
              <a:gd name="connsiteY366" fmla="*/ 108544 h 518816"/>
              <a:gd name="connsiteX367" fmla="*/ 1773886 w 2371453"/>
              <a:gd name="connsiteY367" fmla="*/ 108544 h 518816"/>
              <a:gd name="connsiteX368" fmla="*/ 1786569 w 2371453"/>
              <a:gd name="connsiteY368" fmla="*/ 106769 h 518816"/>
              <a:gd name="connsiteX369" fmla="*/ 1793656 w 2371453"/>
              <a:gd name="connsiteY369" fmla="*/ 101028 h 518816"/>
              <a:gd name="connsiteX370" fmla="*/ 1796693 w 2371453"/>
              <a:gd name="connsiteY370" fmla="*/ 90020 h 518816"/>
              <a:gd name="connsiteX371" fmla="*/ 1797348 w 2371453"/>
              <a:gd name="connsiteY371" fmla="*/ 73093 h 518816"/>
              <a:gd name="connsiteX372" fmla="*/ 1796693 w 2371453"/>
              <a:gd name="connsiteY372" fmla="*/ 55692 h 518816"/>
              <a:gd name="connsiteX373" fmla="*/ 1793775 w 2371453"/>
              <a:gd name="connsiteY373" fmla="*/ 44979 h 518816"/>
              <a:gd name="connsiteX374" fmla="*/ 1786868 w 2371453"/>
              <a:gd name="connsiteY374" fmla="*/ 39357 h 518816"/>
              <a:gd name="connsiteX375" fmla="*/ 1773886 w 2371453"/>
              <a:gd name="connsiteY375" fmla="*/ 37582 h 518816"/>
              <a:gd name="connsiteX376" fmla="*/ 518369 w 2371453"/>
              <a:gd name="connsiteY376" fmla="*/ 37582 h 518816"/>
              <a:gd name="connsiteX377" fmla="*/ 518369 w 2371453"/>
              <a:gd name="connsiteY377" fmla="*/ 108427 h 518816"/>
              <a:gd name="connsiteX378" fmla="*/ 518369 w 2371453"/>
              <a:gd name="connsiteY378" fmla="*/ 108544 h 518816"/>
              <a:gd name="connsiteX379" fmla="*/ 540223 w 2371453"/>
              <a:gd name="connsiteY379" fmla="*/ 108544 h 518816"/>
              <a:gd name="connsiteX380" fmla="*/ 552906 w 2371453"/>
              <a:gd name="connsiteY380" fmla="*/ 106769 h 518816"/>
              <a:gd name="connsiteX381" fmla="*/ 559993 w 2371453"/>
              <a:gd name="connsiteY381" fmla="*/ 101028 h 518816"/>
              <a:gd name="connsiteX382" fmla="*/ 563030 w 2371453"/>
              <a:gd name="connsiteY382" fmla="*/ 90020 h 518816"/>
              <a:gd name="connsiteX383" fmla="*/ 563685 w 2371453"/>
              <a:gd name="connsiteY383" fmla="*/ 73093 h 518816"/>
              <a:gd name="connsiteX384" fmla="*/ 563030 w 2371453"/>
              <a:gd name="connsiteY384" fmla="*/ 55692 h 518816"/>
              <a:gd name="connsiteX385" fmla="*/ 560112 w 2371453"/>
              <a:gd name="connsiteY385" fmla="*/ 44979 h 518816"/>
              <a:gd name="connsiteX386" fmla="*/ 553205 w 2371453"/>
              <a:gd name="connsiteY386" fmla="*/ 39357 h 518816"/>
              <a:gd name="connsiteX387" fmla="*/ 540223 w 2371453"/>
              <a:gd name="connsiteY387" fmla="*/ 37582 h 518816"/>
              <a:gd name="connsiteX388" fmla="*/ 700466 w 2371453"/>
              <a:gd name="connsiteY388" fmla="*/ 35451 h 518816"/>
              <a:gd name="connsiteX389" fmla="*/ 687961 w 2371453"/>
              <a:gd name="connsiteY389" fmla="*/ 36399 h 518816"/>
              <a:gd name="connsiteX390" fmla="*/ 680280 w 2371453"/>
              <a:gd name="connsiteY390" fmla="*/ 41193 h 518816"/>
              <a:gd name="connsiteX391" fmla="*/ 675932 w 2371453"/>
              <a:gd name="connsiteY391" fmla="*/ 53325 h 518816"/>
              <a:gd name="connsiteX392" fmla="*/ 674146 w 2371453"/>
              <a:gd name="connsiteY392" fmla="*/ 75993 h 518816"/>
              <a:gd name="connsiteX393" fmla="*/ 673848 w 2371453"/>
              <a:gd name="connsiteY393" fmla="*/ 112392 h 518816"/>
              <a:gd name="connsiteX394" fmla="*/ 674146 w 2371453"/>
              <a:gd name="connsiteY394" fmla="*/ 148792 h 518816"/>
              <a:gd name="connsiteX395" fmla="*/ 675932 w 2371453"/>
              <a:gd name="connsiteY395" fmla="*/ 171460 h 518816"/>
              <a:gd name="connsiteX396" fmla="*/ 680280 w 2371453"/>
              <a:gd name="connsiteY396" fmla="*/ 183592 h 518816"/>
              <a:gd name="connsiteX397" fmla="*/ 687961 w 2371453"/>
              <a:gd name="connsiteY397" fmla="*/ 188386 h 518816"/>
              <a:gd name="connsiteX398" fmla="*/ 700466 w 2371453"/>
              <a:gd name="connsiteY398" fmla="*/ 189333 h 518816"/>
              <a:gd name="connsiteX399" fmla="*/ 712852 w 2371453"/>
              <a:gd name="connsiteY399" fmla="*/ 188386 h 518816"/>
              <a:gd name="connsiteX400" fmla="*/ 720892 w 2371453"/>
              <a:gd name="connsiteY400" fmla="*/ 183592 h 518816"/>
              <a:gd name="connsiteX401" fmla="*/ 725238 w 2371453"/>
              <a:gd name="connsiteY401" fmla="*/ 171460 h 518816"/>
              <a:gd name="connsiteX402" fmla="*/ 726847 w 2371453"/>
              <a:gd name="connsiteY402" fmla="*/ 148792 h 518816"/>
              <a:gd name="connsiteX403" fmla="*/ 727145 w 2371453"/>
              <a:gd name="connsiteY403" fmla="*/ 112392 h 518816"/>
              <a:gd name="connsiteX404" fmla="*/ 726847 w 2371453"/>
              <a:gd name="connsiteY404" fmla="*/ 75993 h 518816"/>
              <a:gd name="connsiteX405" fmla="*/ 725238 w 2371453"/>
              <a:gd name="connsiteY405" fmla="*/ 53325 h 518816"/>
              <a:gd name="connsiteX406" fmla="*/ 720892 w 2371453"/>
              <a:gd name="connsiteY406" fmla="*/ 41193 h 518816"/>
              <a:gd name="connsiteX407" fmla="*/ 712852 w 2371453"/>
              <a:gd name="connsiteY407" fmla="*/ 36399 h 518816"/>
              <a:gd name="connsiteX408" fmla="*/ 700466 w 2371453"/>
              <a:gd name="connsiteY408" fmla="*/ 35451 h 518816"/>
              <a:gd name="connsiteX409" fmla="*/ 311497 w 2371453"/>
              <a:gd name="connsiteY409" fmla="*/ 2604 h 518816"/>
              <a:gd name="connsiteX410" fmla="*/ 353895 w 2371453"/>
              <a:gd name="connsiteY410" fmla="*/ 2604 h 518816"/>
              <a:gd name="connsiteX411" fmla="*/ 353895 w 2371453"/>
              <a:gd name="connsiteY411" fmla="*/ 138256 h 518816"/>
              <a:gd name="connsiteX412" fmla="*/ 354551 w 2371453"/>
              <a:gd name="connsiteY412" fmla="*/ 165718 h 518816"/>
              <a:gd name="connsiteX413" fmla="*/ 357290 w 2371453"/>
              <a:gd name="connsiteY413" fmla="*/ 181047 h 518816"/>
              <a:gd name="connsiteX414" fmla="*/ 364197 w 2371453"/>
              <a:gd name="connsiteY414" fmla="*/ 187734 h 518816"/>
              <a:gd name="connsiteX415" fmla="*/ 377357 w 2371453"/>
              <a:gd name="connsiteY415" fmla="*/ 189332 h 518816"/>
              <a:gd name="connsiteX416" fmla="*/ 390339 w 2371453"/>
              <a:gd name="connsiteY416" fmla="*/ 187734 h 518816"/>
              <a:gd name="connsiteX417" fmla="*/ 397426 w 2371453"/>
              <a:gd name="connsiteY417" fmla="*/ 181047 h 518816"/>
              <a:gd name="connsiteX418" fmla="*/ 400343 w 2371453"/>
              <a:gd name="connsiteY418" fmla="*/ 165718 h 518816"/>
              <a:gd name="connsiteX419" fmla="*/ 400819 w 2371453"/>
              <a:gd name="connsiteY419" fmla="*/ 138256 h 518816"/>
              <a:gd name="connsiteX420" fmla="*/ 400819 w 2371453"/>
              <a:gd name="connsiteY420" fmla="*/ 2604 h 518816"/>
              <a:gd name="connsiteX421" fmla="*/ 443218 w 2371453"/>
              <a:gd name="connsiteY421" fmla="*/ 2604 h 518816"/>
              <a:gd name="connsiteX422" fmla="*/ 443218 w 2371453"/>
              <a:gd name="connsiteY422" fmla="*/ 125177 h 518816"/>
              <a:gd name="connsiteX423" fmla="*/ 442087 w 2371453"/>
              <a:gd name="connsiteY423" fmla="*/ 166664 h 518816"/>
              <a:gd name="connsiteX424" fmla="*/ 437442 w 2371453"/>
              <a:gd name="connsiteY424" fmla="*/ 195252 h 518816"/>
              <a:gd name="connsiteX425" fmla="*/ 426843 w 2371453"/>
              <a:gd name="connsiteY425" fmla="*/ 212948 h 518816"/>
              <a:gd name="connsiteX426" fmla="*/ 407727 w 2371453"/>
              <a:gd name="connsiteY426" fmla="*/ 222063 h 518816"/>
              <a:gd name="connsiteX427" fmla="*/ 377357 w 2371453"/>
              <a:gd name="connsiteY427" fmla="*/ 224785 h 518816"/>
              <a:gd name="connsiteX428" fmla="*/ 346987 w 2371453"/>
              <a:gd name="connsiteY428" fmla="*/ 222063 h 518816"/>
              <a:gd name="connsiteX429" fmla="*/ 327873 w 2371453"/>
              <a:gd name="connsiteY429" fmla="*/ 212948 h 518816"/>
              <a:gd name="connsiteX430" fmla="*/ 317273 w 2371453"/>
              <a:gd name="connsiteY430" fmla="*/ 195252 h 518816"/>
              <a:gd name="connsiteX431" fmla="*/ 312629 w 2371453"/>
              <a:gd name="connsiteY431" fmla="*/ 166664 h 518816"/>
              <a:gd name="connsiteX432" fmla="*/ 311497 w 2371453"/>
              <a:gd name="connsiteY432" fmla="*/ 125177 h 518816"/>
              <a:gd name="connsiteX433" fmla="*/ 2109083 w 2371453"/>
              <a:gd name="connsiteY433" fmla="*/ 2544 h 518816"/>
              <a:gd name="connsiteX434" fmla="*/ 2169167 w 2371453"/>
              <a:gd name="connsiteY434" fmla="*/ 2544 h 518816"/>
              <a:gd name="connsiteX435" fmla="*/ 2217342 w 2371453"/>
              <a:gd name="connsiteY435" fmla="*/ 222180 h 518816"/>
              <a:gd name="connsiteX436" fmla="*/ 2174646 w 2371453"/>
              <a:gd name="connsiteY436" fmla="*/ 222180 h 518816"/>
              <a:gd name="connsiteX437" fmla="*/ 2165000 w 2371453"/>
              <a:gd name="connsiteY437" fmla="*/ 174300 h 518816"/>
              <a:gd name="connsiteX438" fmla="*/ 2112299 w 2371453"/>
              <a:gd name="connsiteY438" fmla="*/ 174300 h 518816"/>
              <a:gd name="connsiteX439" fmla="*/ 2102354 w 2371453"/>
              <a:gd name="connsiteY439" fmla="*/ 222180 h 518816"/>
              <a:gd name="connsiteX440" fmla="*/ 2060611 w 2371453"/>
              <a:gd name="connsiteY440" fmla="*/ 222180 h 518816"/>
              <a:gd name="connsiteX441" fmla="*/ 1869521 w 2371453"/>
              <a:gd name="connsiteY441" fmla="*/ 2544 h 518816"/>
              <a:gd name="connsiteX442" fmla="*/ 1911919 w 2371453"/>
              <a:gd name="connsiteY442" fmla="*/ 2544 h 518816"/>
              <a:gd name="connsiteX443" fmla="*/ 1911919 w 2371453"/>
              <a:gd name="connsiteY443" fmla="*/ 222180 h 518816"/>
              <a:gd name="connsiteX444" fmla="*/ 1869521 w 2371453"/>
              <a:gd name="connsiteY444" fmla="*/ 222180 h 518816"/>
              <a:gd name="connsiteX445" fmla="*/ 1709931 w 2371453"/>
              <a:gd name="connsiteY445" fmla="*/ 2544 h 518816"/>
              <a:gd name="connsiteX446" fmla="*/ 1784426 w 2371453"/>
              <a:gd name="connsiteY446" fmla="*/ 2544 h 518816"/>
              <a:gd name="connsiteX447" fmla="*/ 1813843 w 2371453"/>
              <a:gd name="connsiteY447" fmla="*/ 7160 h 518816"/>
              <a:gd name="connsiteX448" fmla="*/ 1830516 w 2371453"/>
              <a:gd name="connsiteY448" fmla="*/ 21068 h 518816"/>
              <a:gd name="connsiteX449" fmla="*/ 1837900 w 2371453"/>
              <a:gd name="connsiteY449" fmla="*/ 43263 h 518816"/>
              <a:gd name="connsiteX450" fmla="*/ 1839686 w 2371453"/>
              <a:gd name="connsiteY450" fmla="*/ 72797 h 518816"/>
              <a:gd name="connsiteX451" fmla="*/ 1838258 w 2371453"/>
              <a:gd name="connsiteY451" fmla="*/ 98188 h 518816"/>
              <a:gd name="connsiteX452" fmla="*/ 1832005 w 2371453"/>
              <a:gd name="connsiteY452" fmla="*/ 120086 h 518816"/>
              <a:gd name="connsiteX453" fmla="*/ 1817238 w 2371453"/>
              <a:gd name="connsiteY453" fmla="*/ 135119 h 518816"/>
              <a:gd name="connsiteX454" fmla="*/ 1844213 w 2371453"/>
              <a:gd name="connsiteY454" fmla="*/ 222240 h 518816"/>
              <a:gd name="connsiteX455" fmla="*/ 1800504 w 2371453"/>
              <a:gd name="connsiteY455" fmla="*/ 222240 h 518816"/>
              <a:gd name="connsiteX456" fmla="*/ 1778059 w 2371453"/>
              <a:gd name="connsiteY456" fmla="*/ 142623 h 518816"/>
              <a:gd name="connsiteX457" fmla="*/ 1781269 w 2371453"/>
              <a:gd name="connsiteY457" fmla="*/ 142458 h 518816"/>
              <a:gd name="connsiteX458" fmla="*/ 1785736 w 2371453"/>
              <a:gd name="connsiteY458" fmla="*/ 141807 h 518816"/>
              <a:gd name="connsiteX459" fmla="*/ 1776744 w 2371453"/>
              <a:gd name="connsiteY459" fmla="*/ 137960 h 518816"/>
              <a:gd name="connsiteX460" fmla="*/ 1778059 w 2371453"/>
              <a:gd name="connsiteY460" fmla="*/ 142623 h 518816"/>
              <a:gd name="connsiteX461" fmla="*/ 1775493 w 2371453"/>
              <a:gd name="connsiteY461" fmla="*/ 142754 h 518816"/>
              <a:gd name="connsiteX462" fmla="*/ 1752032 w 2371453"/>
              <a:gd name="connsiteY462" fmla="*/ 142754 h 518816"/>
              <a:gd name="connsiteX463" fmla="*/ 1752032 w 2371453"/>
              <a:gd name="connsiteY463" fmla="*/ 222240 h 518816"/>
              <a:gd name="connsiteX464" fmla="*/ 1709931 w 2371453"/>
              <a:gd name="connsiteY464" fmla="*/ 222240 h 518816"/>
              <a:gd name="connsiteX465" fmla="*/ 1709931 w 2371453"/>
              <a:gd name="connsiteY465" fmla="*/ 222180 h 518816"/>
              <a:gd name="connsiteX466" fmla="*/ 1572434 w 2371453"/>
              <a:gd name="connsiteY466" fmla="*/ 2544 h 518816"/>
              <a:gd name="connsiteX467" fmla="*/ 1680990 w 2371453"/>
              <a:gd name="connsiteY467" fmla="*/ 2544 h 518816"/>
              <a:gd name="connsiteX468" fmla="*/ 1680990 w 2371453"/>
              <a:gd name="connsiteY468" fmla="*/ 37996 h 518816"/>
              <a:gd name="connsiteX469" fmla="*/ 1614534 w 2371453"/>
              <a:gd name="connsiteY469" fmla="*/ 37996 h 518816"/>
              <a:gd name="connsiteX470" fmla="*/ 1614534 w 2371453"/>
              <a:gd name="connsiteY470" fmla="*/ 93511 h 518816"/>
              <a:gd name="connsiteX471" fmla="*/ 1671998 w 2371453"/>
              <a:gd name="connsiteY471" fmla="*/ 93511 h 518816"/>
              <a:gd name="connsiteX472" fmla="*/ 1671998 w 2371453"/>
              <a:gd name="connsiteY472" fmla="*/ 128608 h 518816"/>
              <a:gd name="connsiteX473" fmla="*/ 1614534 w 2371453"/>
              <a:gd name="connsiteY473" fmla="*/ 128608 h 518816"/>
              <a:gd name="connsiteX474" fmla="*/ 1614534 w 2371453"/>
              <a:gd name="connsiteY474" fmla="*/ 186729 h 518816"/>
              <a:gd name="connsiteX475" fmla="*/ 1680990 w 2371453"/>
              <a:gd name="connsiteY475" fmla="*/ 186729 h 518816"/>
              <a:gd name="connsiteX476" fmla="*/ 1680990 w 2371453"/>
              <a:gd name="connsiteY476" fmla="*/ 222180 h 518816"/>
              <a:gd name="connsiteX477" fmla="*/ 1572434 w 2371453"/>
              <a:gd name="connsiteY477" fmla="*/ 222180 h 518816"/>
              <a:gd name="connsiteX478" fmla="*/ 1349544 w 2371453"/>
              <a:gd name="connsiteY478" fmla="*/ 2544 h 518816"/>
              <a:gd name="connsiteX479" fmla="*/ 1411832 w 2371453"/>
              <a:gd name="connsiteY479" fmla="*/ 2544 h 518816"/>
              <a:gd name="connsiteX480" fmla="*/ 1442975 w 2371453"/>
              <a:gd name="connsiteY480" fmla="*/ 156426 h 518816"/>
              <a:gd name="connsiteX481" fmla="*/ 1445238 w 2371453"/>
              <a:gd name="connsiteY481" fmla="*/ 156426 h 518816"/>
              <a:gd name="connsiteX482" fmla="*/ 1476381 w 2371453"/>
              <a:gd name="connsiteY482" fmla="*/ 2544 h 518816"/>
              <a:gd name="connsiteX483" fmla="*/ 1538074 w 2371453"/>
              <a:gd name="connsiteY483" fmla="*/ 2544 h 518816"/>
              <a:gd name="connsiteX484" fmla="*/ 1538074 w 2371453"/>
              <a:gd name="connsiteY484" fmla="*/ 222180 h 518816"/>
              <a:gd name="connsiteX485" fmla="*/ 1497283 w 2371453"/>
              <a:gd name="connsiteY485" fmla="*/ 222180 h 518816"/>
              <a:gd name="connsiteX486" fmla="*/ 1497283 w 2371453"/>
              <a:gd name="connsiteY486" fmla="*/ 60012 h 518816"/>
              <a:gd name="connsiteX487" fmla="*/ 1495378 w 2371453"/>
              <a:gd name="connsiteY487" fmla="*/ 60012 h 518816"/>
              <a:gd name="connsiteX488" fmla="*/ 1461673 w 2371453"/>
              <a:gd name="connsiteY488" fmla="*/ 222180 h 518816"/>
              <a:gd name="connsiteX489" fmla="*/ 1424753 w 2371453"/>
              <a:gd name="connsiteY489" fmla="*/ 222180 h 518816"/>
              <a:gd name="connsiteX490" fmla="*/ 1391644 w 2371453"/>
              <a:gd name="connsiteY490" fmla="*/ 60012 h 518816"/>
              <a:gd name="connsiteX491" fmla="*/ 1389084 w 2371453"/>
              <a:gd name="connsiteY491" fmla="*/ 60012 h 518816"/>
              <a:gd name="connsiteX492" fmla="*/ 1389084 w 2371453"/>
              <a:gd name="connsiteY492" fmla="*/ 222180 h 518816"/>
              <a:gd name="connsiteX493" fmla="*/ 1349604 w 2371453"/>
              <a:gd name="connsiteY493" fmla="*/ 222180 h 518816"/>
              <a:gd name="connsiteX494" fmla="*/ 1349544 w 2371453"/>
              <a:gd name="connsiteY494" fmla="*/ 222180 h 518816"/>
              <a:gd name="connsiteX495" fmla="*/ 1221038 w 2371453"/>
              <a:gd name="connsiteY495" fmla="*/ 2544 h 518816"/>
              <a:gd name="connsiteX496" fmla="*/ 1281122 w 2371453"/>
              <a:gd name="connsiteY496" fmla="*/ 2544 h 518816"/>
              <a:gd name="connsiteX497" fmla="*/ 1329297 w 2371453"/>
              <a:gd name="connsiteY497" fmla="*/ 222180 h 518816"/>
              <a:gd name="connsiteX498" fmla="*/ 1286601 w 2371453"/>
              <a:gd name="connsiteY498" fmla="*/ 222180 h 518816"/>
              <a:gd name="connsiteX499" fmla="*/ 1276955 w 2371453"/>
              <a:gd name="connsiteY499" fmla="*/ 174300 h 518816"/>
              <a:gd name="connsiteX500" fmla="*/ 1224254 w 2371453"/>
              <a:gd name="connsiteY500" fmla="*/ 174300 h 518816"/>
              <a:gd name="connsiteX501" fmla="*/ 1214309 w 2371453"/>
              <a:gd name="connsiteY501" fmla="*/ 222180 h 518816"/>
              <a:gd name="connsiteX502" fmla="*/ 1172566 w 2371453"/>
              <a:gd name="connsiteY502" fmla="*/ 222180 h 518816"/>
              <a:gd name="connsiteX503" fmla="*/ 951940 w 2371453"/>
              <a:gd name="connsiteY503" fmla="*/ 2544 h 518816"/>
              <a:gd name="connsiteX504" fmla="*/ 1060496 w 2371453"/>
              <a:gd name="connsiteY504" fmla="*/ 2544 h 518816"/>
              <a:gd name="connsiteX505" fmla="*/ 1060496 w 2371453"/>
              <a:gd name="connsiteY505" fmla="*/ 37996 h 518816"/>
              <a:gd name="connsiteX506" fmla="*/ 994040 w 2371453"/>
              <a:gd name="connsiteY506" fmla="*/ 37996 h 518816"/>
              <a:gd name="connsiteX507" fmla="*/ 994040 w 2371453"/>
              <a:gd name="connsiteY507" fmla="*/ 93511 h 518816"/>
              <a:gd name="connsiteX508" fmla="*/ 1051504 w 2371453"/>
              <a:gd name="connsiteY508" fmla="*/ 93511 h 518816"/>
              <a:gd name="connsiteX509" fmla="*/ 1051504 w 2371453"/>
              <a:gd name="connsiteY509" fmla="*/ 128608 h 518816"/>
              <a:gd name="connsiteX510" fmla="*/ 994040 w 2371453"/>
              <a:gd name="connsiteY510" fmla="*/ 128608 h 518816"/>
              <a:gd name="connsiteX511" fmla="*/ 994040 w 2371453"/>
              <a:gd name="connsiteY511" fmla="*/ 186729 h 518816"/>
              <a:gd name="connsiteX512" fmla="*/ 1060496 w 2371453"/>
              <a:gd name="connsiteY512" fmla="*/ 186729 h 518816"/>
              <a:gd name="connsiteX513" fmla="*/ 1060496 w 2371453"/>
              <a:gd name="connsiteY513" fmla="*/ 222180 h 518816"/>
              <a:gd name="connsiteX514" fmla="*/ 951940 w 2371453"/>
              <a:gd name="connsiteY514" fmla="*/ 222180 h 518816"/>
              <a:gd name="connsiteX515" fmla="*/ 800032 w 2371453"/>
              <a:gd name="connsiteY515" fmla="*/ 2544 h 518816"/>
              <a:gd name="connsiteX516" fmla="*/ 872919 w 2371453"/>
              <a:gd name="connsiteY516" fmla="*/ 2544 h 518816"/>
              <a:gd name="connsiteX517" fmla="*/ 900550 w 2371453"/>
              <a:gd name="connsiteY517" fmla="*/ 6983 h 518816"/>
              <a:gd name="connsiteX518" fmla="*/ 917224 w 2371453"/>
              <a:gd name="connsiteY518" fmla="*/ 20418 h 518816"/>
              <a:gd name="connsiteX519" fmla="*/ 925262 w 2371453"/>
              <a:gd name="connsiteY519" fmla="*/ 43086 h 518816"/>
              <a:gd name="connsiteX520" fmla="*/ 927525 w 2371453"/>
              <a:gd name="connsiteY520" fmla="*/ 75934 h 518816"/>
              <a:gd name="connsiteX521" fmla="*/ 925441 w 2371453"/>
              <a:gd name="connsiteY521" fmla="*/ 107835 h 518816"/>
              <a:gd name="connsiteX522" fmla="*/ 917580 w 2371453"/>
              <a:gd name="connsiteY522" fmla="*/ 130798 h 518816"/>
              <a:gd name="connsiteX523" fmla="*/ 900907 w 2371453"/>
              <a:gd name="connsiteY523" fmla="*/ 144529 h 518816"/>
              <a:gd name="connsiteX524" fmla="*/ 872621 w 2371453"/>
              <a:gd name="connsiteY524" fmla="*/ 149027 h 518816"/>
              <a:gd name="connsiteX525" fmla="*/ 842133 w 2371453"/>
              <a:gd name="connsiteY525" fmla="*/ 149027 h 518816"/>
              <a:gd name="connsiteX526" fmla="*/ 842133 w 2371453"/>
              <a:gd name="connsiteY526" fmla="*/ 222121 h 518816"/>
              <a:gd name="connsiteX527" fmla="*/ 800032 w 2371453"/>
              <a:gd name="connsiteY527" fmla="*/ 222121 h 518816"/>
              <a:gd name="connsiteX528" fmla="*/ 476268 w 2371453"/>
              <a:gd name="connsiteY528" fmla="*/ 2544 h 518816"/>
              <a:gd name="connsiteX529" fmla="*/ 550763 w 2371453"/>
              <a:gd name="connsiteY529" fmla="*/ 2544 h 518816"/>
              <a:gd name="connsiteX530" fmla="*/ 580180 w 2371453"/>
              <a:gd name="connsiteY530" fmla="*/ 7160 h 518816"/>
              <a:gd name="connsiteX531" fmla="*/ 596853 w 2371453"/>
              <a:gd name="connsiteY531" fmla="*/ 21068 h 518816"/>
              <a:gd name="connsiteX532" fmla="*/ 604237 w 2371453"/>
              <a:gd name="connsiteY532" fmla="*/ 43263 h 518816"/>
              <a:gd name="connsiteX533" fmla="*/ 606024 w 2371453"/>
              <a:gd name="connsiteY533" fmla="*/ 72797 h 518816"/>
              <a:gd name="connsiteX534" fmla="*/ 604595 w 2371453"/>
              <a:gd name="connsiteY534" fmla="*/ 98188 h 518816"/>
              <a:gd name="connsiteX535" fmla="*/ 598343 w 2371453"/>
              <a:gd name="connsiteY535" fmla="*/ 120086 h 518816"/>
              <a:gd name="connsiteX536" fmla="*/ 583574 w 2371453"/>
              <a:gd name="connsiteY536" fmla="*/ 135119 h 518816"/>
              <a:gd name="connsiteX537" fmla="*/ 610550 w 2371453"/>
              <a:gd name="connsiteY537" fmla="*/ 222240 h 518816"/>
              <a:gd name="connsiteX538" fmla="*/ 566841 w 2371453"/>
              <a:gd name="connsiteY538" fmla="*/ 222240 h 518816"/>
              <a:gd name="connsiteX539" fmla="*/ 544396 w 2371453"/>
              <a:gd name="connsiteY539" fmla="*/ 142623 h 518816"/>
              <a:gd name="connsiteX540" fmla="*/ 547607 w 2371453"/>
              <a:gd name="connsiteY540" fmla="*/ 142458 h 518816"/>
              <a:gd name="connsiteX541" fmla="*/ 552073 w 2371453"/>
              <a:gd name="connsiteY541" fmla="*/ 141807 h 518816"/>
              <a:gd name="connsiteX542" fmla="*/ 543081 w 2371453"/>
              <a:gd name="connsiteY542" fmla="*/ 137960 h 518816"/>
              <a:gd name="connsiteX543" fmla="*/ 544396 w 2371453"/>
              <a:gd name="connsiteY543" fmla="*/ 142623 h 518816"/>
              <a:gd name="connsiteX544" fmla="*/ 541831 w 2371453"/>
              <a:gd name="connsiteY544" fmla="*/ 142754 h 518816"/>
              <a:gd name="connsiteX545" fmla="*/ 518369 w 2371453"/>
              <a:gd name="connsiteY545" fmla="*/ 142754 h 518816"/>
              <a:gd name="connsiteX546" fmla="*/ 518369 w 2371453"/>
              <a:gd name="connsiteY546" fmla="*/ 222240 h 518816"/>
              <a:gd name="connsiteX547" fmla="*/ 476268 w 2371453"/>
              <a:gd name="connsiteY547" fmla="*/ 222240 h 518816"/>
              <a:gd name="connsiteX548" fmla="*/ 476268 w 2371453"/>
              <a:gd name="connsiteY548" fmla="*/ 222180 h 518816"/>
              <a:gd name="connsiteX549" fmla="*/ 175667 w 2371453"/>
              <a:gd name="connsiteY549" fmla="*/ 2544 h 518816"/>
              <a:gd name="connsiteX550" fmla="*/ 284223 w 2371453"/>
              <a:gd name="connsiteY550" fmla="*/ 2544 h 518816"/>
              <a:gd name="connsiteX551" fmla="*/ 284223 w 2371453"/>
              <a:gd name="connsiteY551" fmla="*/ 37996 h 518816"/>
              <a:gd name="connsiteX552" fmla="*/ 217767 w 2371453"/>
              <a:gd name="connsiteY552" fmla="*/ 37996 h 518816"/>
              <a:gd name="connsiteX553" fmla="*/ 217767 w 2371453"/>
              <a:gd name="connsiteY553" fmla="*/ 93511 h 518816"/>
              <a:gd name="connsiteX554" fmla="*/ 275231 w 2371453"/>
              <a:gd name="connsiteY554" fmla="*/ 93511 h 518816"/>
              <a:gd name="connsiteX555" fmla="*/ 275231 w 2371453"/>
              <a:gd name="connsiteY555" fmla="*/ 128608 h 518816"/>
              <a:gd name="connsiteX556" fmla="*/ 217767 w 2371453"/>
              <a:gd name="connsiteY556" fmla="*/ 128608 h 518816"/>
              <a:gd name="connsiteX557" fmla="*/ 217767 w 2371453"/>
              <a:gd name="connsiteY557" fmla="*/ 186729 h 518816"/>
              <a:gd name="connsiteX558" fmla="*/ 284223 w 2371453"/>
              <a:gd name="connsiteY558" fmla="*/ 186729 h 518816"/>
              <a:gd name="connsiteX559" fmla="*/ 284223 w 2371453"/>
              <a:gd name="connsiteY559" fmla="*/ 222180 h 518816"/>
              <a:gd name="connsiteX560" fmla="*/ 175667 w 2371453"/>
              <a:gd name="connsiteY560" fmla="*/ 222180 h 518816"/>
              <a:gd name="connsiteX561" fmla="*/ 700466 w 2371453"/>
              <a:gd name="connsiteY561" fmla="*/ 118 h 518816"/>
              <a:gd name="connsiteX562" fmla="*/ 730836 w 2371453"/>
              <a:gd name="connsiteY562" fmla="*/ 2367 h 518816"/>
              <a:gd name="connsiteX563" fmla="*/ 750904 w 2371453"/>
              <a:gd name="connsiteY563" fmla="*/ 11126 h 518816"/>
              <a:gd name="connsiteX564" fmla="*/ 762635 w 2371453"/>
              <a:gd name="connsiteY564" fmla="*/ 30125 h 518816"/>
              <a:gd name="connsiteX565" fmla="*/ 768113 w 2371453"/>
              <a:gd name="connsiteY565" fmla="*/ 62677 h 518816"/>
              <a:gd name="connsiteX566" fmla="*/ 769543 w 2371453"/>
              <a:gd name="connsiteY566" fmla="*/ 112452 h 518816"/>
              <a:gd name="connsiteX567" fmla="*/ 768113 w 2371453"/>
              <a:gd name="connsiteY567" fmla="*/ 162227 h 518816"/>
              <a:gd name="connsiteX568" fmla="*/ 762635 w 2371453"/>
              <a:gd name="connsiteY568" fmla="*/ 194778 h 518816"/>
              <a:gd name="connsiteX569" fmla="*/ 750904 w 2371453"/>
              <a:gd name="connsiteY569" fmla="*/ 213777 h 518816"/>
              <a:gd name="connsiteX570" fmla="*/ 730836 w 2371453"/>
              <a:gd name="connsiteY570" fmla="*/ 222536 h 518816"/>
              <a:gd name="connsiteX571" fmla="*/ 700466 w 2371453"/>
              <a:gd name="connsiteY571" fmla="*/ 224785 h 518816"/>
              <a:gd name="connsiteX572" fmla="*/ 669800 w 2371453"/>
              <a:gd name="connsiteY572" fmla="*/ 222536 h 518816"/>
              <a:gd name="connsiteX573" fmla="*/ 649910 w 2371453"/>
              <a:gd name="connsiteY573" fmla="*/ 213777 h 518816"/>
              <a:gd name="connsiteX574" fmla="*/ 638358 w 2371453"/>
              <a:gd name="connsiteY574" fmla="*/ 194778 h 518816"/>
              <a:gd name="connsiteX575" fmla="*/ 632879 w 2371453"/>
              <a:gd name="connsiteY575" fmla="*/ 162227 h 518816"/>
              <a:gd name="connsiteX576" fmla="*/ 631450 w 2371453"/>
              <a:gd name="connsiteY576" fmla="*/ 112452 h 518816"/>
              <a:gd name="connsiteX577" fmla="*/ 632879 w 2371453"/>
              <a:gd name="connsiteY577" fmla="*/ 62677 h 518816"/>
              <a:gd name="connsiteX578" fmla="*/ 638358 w 2371453"/>
              <a:gd name="connsiteY578" fmla="*/ 30125 h 518816"/>
              <a:gd name="connsiteX579" fmla="*/ 649910 w 2371453"/>
              <a:gd name="connsiteY579" fmla="*/ 11126 h 518816"/>
              <a:gd name="connsiteX580" fmla="*/ 669800 w 2371453"/>
              <a:gd name="connsiteY580" fmla="*/ 2367 h 518816"/>
              <a:gd name="connsiteX581" fmla="*/ 700466 w 2371453"/>
              <a:gd name="connsiteY581" fmla="*/ 118 h 518816"/>
              <a:gd name="connsiteX582" fmla="*/ 2010472 w 2371453"/>
              <a:gd name="connsiteY582" fmla="*/ 0 h 518816"/>
              <a:gd name="connsiteX583" fmla="*/ 2024466 w 2371453"/>
              <a:gd name="connsiteY583" fmla="*/ 651 h 518816"/>
              <a:gd name="connsiteX584" fmla="*/ 2037983 w 2371453"/>
              <a:gd name="connsiteY584" fmla="*/ 2426 h 518816"/>
              <a:gd name="connsiteX585" fmla="*/ 2048107 w 2371453"/>
              <a:gd name="connsiteY585" fmla="*/ 5149 h 518816"/>
              <a:gd name="connsiteX586" fmla="*/ 2048107 w 2371453"/>
              <a:gd name="connsiteY586" fmla="*/ 37701 h 518816"/>
              <a:gd name="connsiteX587" fmla="*/ 2037031 w 2371453"/>
              <a:gd name="connsiteY587" fmla="*/ 36458 h 518816"/>
              <a:gd name="connsiteX588" fmla="*/ 2027205 w 2371453"/>
              <a:gd name="connsiteY588" fmla="*/ 35689 h 518816"/>
              <a:gd name="connsiteX589" fmla="*/ 2019166 w 2371453"/>
              <a:gd name="connsiteY589" fmla="*/ 35511 h 518816"/>
              <a:gd name="connsiteX590" fmla="*/ 2002969 w 2371453"/>
              <a:gd name="connsiteY590" fmla="*/ 36931 h 518816"/>
              <a:gd name="connsiteX591" fmla="*/ 1992845 w 2371453"/>
              <a:gd name="connsiteY591" fmla="*/ 42554 h 518816"/>
              <a:gd name="connsiteX592" fmla="*/ 1987367 w 2371453"/>
              <a:gd name="connsiteY592" fmla="*/ 55160 h 518816"/>
              <a:gd name="connsiteX593" fmla="*/ 1985283 w 2371453"/>
              <a:gd name="connsiteY593" fmla="*/ 77532 h 518816"/>
              <a:gd name="connsiteX594" fmla="*/ 1984806 w 2371453"/>
              <a:gd name="connsiteY594" fmla="*/ 112511 h 518816"/>
              <a:gd name="connsiteX595" fmla="*/ 1985283 w 2371453"/>
              <a:gd name="connsiteY595" fmla="*/ 147489 h 518816"/>
              <a:gd name="connsiteX596" fmla="*/ 1987367 w 2371453"/>
              <a:gd name="connsiteY596" fmla="*/ 169861 h 518816"/>
              <a:gd name="connsiteX597" fmla="*/ 1992666 w 2371453"/>
              <a:gd name="connsiteY597" fmla="*/ 182645 h 518816"/>
              <a:gd name="connsiteX598" fmla="*/ 2002611 w 2371453"/>
              <a:gd name="connsiteY598" fmla="*/ 188209 h 518816"/>
              <a:gd name="connsiteX599" fmla="*/ 2019166 w 2371453"/>
              <a:gd name="connsiteY599" fmla="*/ 189451 h 518816"/>
              <a:gd name="connsiteX600" fmla="*/ 2035244 w 2371453"/>
              <a:gd name="connsiteY600" fmla="*/ 188801 h 518816"/>
              <a:gd name="connsiteX601" fmla="*/ 2048762 w 2371453"/>
              <a:gd name="connsiteY601" fmla="*/ 187203 h 518816"/>
              <a:gd name="connsiteX602" fmla="*/ 2048762 w 2371453"/>
              <a:gd name="connsiteY602" fmla="*/ 219754 h 518816"/>
              <a:gd name="connsiteX603" fmla="*/ 2037685 w 2371453"/>
              <a:gd name="connsiteY603" fmla="*/ 222477 h 518816"/>
              <a:gd name="connsiteX604" fmla="*/ 2024049 w 2371453"/>
              <a:gd name="connsiteY604" fmla="*/ 224193 h 518816"/>
              <a:gd name="connsiteX605" fmla="*/ 2010531 w 2371453"/>
              <a:gd name="connsiteY605" fmla="*/ 224844 h 518816"/>
              <a:gd name="connsiteX606" fmla="*/ 2010531 w 2371453"/>
              <a:gd name="connsiteY606" fmla="*/ 224785 h 518816"/>
              <a:gd name="connsiteX607" fmla="*/ 1979863 w 2371453"/>
              <a:gd name="connsiteY607" fmla="*/ 221293 h 518816"/>
              <a:gd name="connsiteX608" fmla="*/ 1960094 w 2371453"/>
              <a:gd name="connsiteY608" fmla="*/ 210107 h 518816"/>
              <a:gd name="connsiteX609" fmla="*/ 1948839 w 2371453"/>
              <a:gd name="connsiteY609" fmla="*/ 189510 h 518816"/>
              <a:gd name="connsiteX610" fmla="*/ 1943717 w 2371453"/>
              <a:gd name="connsiteY610" fmla="*/ 157432 h 518816"/>
              <a:gd name="connsiteX611" fmla="*/ 1942408 w 2371453"/>
              <a:gd name="connsiteY611" fmla="*/ 112392 h 518816"/>
              <a:gd name="connsiteX612" fmla="*/ 1943717 w 2371453"/>
              <a:gd name="connsiteY612" fmla="*/ 67234 h 518816"/>
              <a:gd name="connsiteX613" fmla="*/ 1948839 w 2371453"/>
              <a:gd name="connsiteY613" fmla="*/ 35333 h 518816"/>
              <a:gd name="connsiteX614" fmla="*/ 1960212 w 2371453"/>
              <a:gd name="connsiteY614" fmla="*/ 14560 h 518816"/>
              <a:gd name="connsiteX615" fmla="*/ 1979983 w 2371453"/>
              <a:gd name="connsiteY615" fmla="*/ 3374 h 518816"/>
              <a:gd name="connsiteX616" fmla="*/ 2010472 w 2371453"/>
              <a:gd name="connsiteY616" fmla="*/ 0 h 518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Lst>
            <a:rect l="l" t="t" r="r" b="b"/>
            <a:pathLst>
              <a:path w="2371453" h="518816">
                <a:moveTo>
                  <a:pt x="2283858" y="421754"/>
                </a:moveTo>
                <a:lnTo>
                  <a:pt x="2283858" y="481472"/>
                </a:lnTo>
                <a:lnTo>
                  <a:pt x="2305653" y="481472"/>
                </a:lnTo>
                <a:cubicBezTo>
                  <a:pt x="2312263" y="481472"/>
                  <a:pt x="2317205" y="480584"/>
                  <a:pt x="2320421" y="478750"/>
                </a:cubicBezTo>
                <a:cubicBezTo>
                  <a:pt x="2323636" y="476974"/>
                  <a:pt x="2325840" y="473897"/>
                  <a:pt x="2327031" y="469635"/>
                </a:cubicBezTo>
                <a:cubicBezTo>
                  <a:pt x="2328222" y="465373"/>
                  <a:pt x="2328817" y="459396"/>
                  <a:pt x="2328817" y="451761"/>
                </a:cubicBezTo>
                <a:cubicBezTo>
                  <a:pt x="2328817" y="444126"/>
                  <a:pt x="2328162" y="438089"/>
                  <a:pt x="2326912" y="433709"/>
                </a:cubicBezTo>
                <a:cubicBezTo>
                  <a:pt x="2325601" y="429329"/>
                  <a:pt x="2323399" y="426252"/>
                  <a:pt x="2320183" y="424476"/>
                </a:cubicBezTo>
                <a:cubicBezTo>
                  <a:pt x="2316967" y="422700"/>
                  <a:pt x="2312143" y="421754"/>
                  <a:pt x="2305713" y="421754"/>
                </a:cubicBezTo>
                <a:close/>
                <a:moveTo>
                  <a:pt x="1628289" y="337119"/>
                </a:moveTo>
                <a:lnTo>
                  <a:pt x="1609650" y="433828"/>
                </a:lnTo>
                <a:lnTo>
                  <a:pt x="1609710" y="433828"/>
                </a:lnTo>
                <a:lnTo>
                  <a:pt x="1649191" y="433828"/>
                </a:lnTo>
                <a:lnTo>
                  <a:pt x="1630552" y="337119"/>
                </a:lnTo>
                <a:close/>
                <a:moveTo>
                  <a:pt x="2283798" y="331792"/>
                </a:moveTo>
                <a:lnTo>
                  <a:pt x="2283798" y="388551"/>
                </a:lnTo>
                <a:lnTo>
                  <a:pt x="2304998" y="388551"/>
                </a:lnTo>
                <a:cubicBezTo>
                  <a:pt x="2311012" y="388551"/>
                  <a:pt x="2315598" y="387722"/>
                  <a:pt x="2318813" y="386007"/>
                </a:cubicBezTo>
                <a:cubicBezTo>
                  <a:pt x="2322029" y="384290"/>
                  <a:pt x="2324351" y="381390"/>
                  <a:pt x="2325720" y="377247"/>
                </a:cubicBezTo>
                <a:cubicBezTo>
                  <a:pt x="2327090" y="373103"/>
                  <a:pt x="2327805" y="367422"/>
                  <a:pt x="2327805" y="360201"/>
                </a:cubicBezTo>
                <a:cubicBezTo>
                  <a:pt x="2327805" y="352981"/>
                  <a:pt x="2327269" y="347003"/>
                  <a:pt x="2326197" y="342978"/>
                </a:cubicBezTo>
                <a:cubicBezTo>
                  <a:pt x="2325125" y="338954"/>
                  <a:pt x="2322981" y="336054"/>
                  <a:pt x="2319765" y="334337"/>
                </a:cubicBezTo>
                <a:cubicBezTo>
                  <a:pt x="2316550" y="332622"/>
                  <a:pt x="2311608" y="331792"/>
                  <a:pt x="2304998" y="331792"/>
                </a:cubicBezTo>
                <a:close/>
                <a:moveTo>
                  <a:pt x="1103846" y="329425"/>
                </a:moveTo>
                <a:cubicBezTo>
                  <a:pt x="1098904" y="329425"/>
                  <a:pt x="1094556" y="329721"/>
                  <a:pt x="1091342" y="330372"/>
                </a:cubicBezTo>
                <a:cubicBezTo>
                  <a:pt x="1088126" y="331023"/>
                  <a:pt x="1085565" y="332621"/>
                  <a:pt x="1083660" y="335166"/>
                </a:cubicBezTo>
                <a:cubicBezTo>
                  <a:pt x="1081754" y="337710"/>
                  <a:pt x="1080265" y="341795"/>
                  <a:pt x="1079312" y="347299"/>
                </a:cubicBezTo>
                <a:cubicBezTo>
                  <a:pt x="1078360" y="352862"/>
                  <a:pt x="1077765" y="360378"/>
                  <a:pt x="1077526" y="369967"/>
                </a:cubicBezTo>
                <a:cubicBezTo>
                  <a:pt x="1077288" y="379555"/>
                  <a:pt x="1077228" y="391688"/>
                  <a:pt x="1077228" y="406365"/>
                </a:cubicBezTo>
                <a:cubicBezTo>
                  <a:pt x="1077228" y="421044"/>
                  <a:pt x="1077347" y="433177"/>
                  <a:pt x="1077526" y="442765"/>
                </a:cubicBezTo>
                <a:cubicBezTo>
                  <a:pt x="1077765" y="452353"/>
                  <a:pt x="1078300" y="459869"/>
                  <a:pt x="1079312" y="465433"/>
                </a:cubicBezTo>
                <a:cubicBezTo>
                  <a:pt x="1080265" y="470996"/>
                  <a:pt x="1081695" y="475021"/>
                  <a:pt x="1083660" y="477566"/>
                </a:cubicBezTo>
                <a:cubicBezTo>
                  <a:pt x="1085565" y="480111"/>
                  <a:pt x="1088126" y="481709"/>
                  <a:pt x="1091342" y="482360"/>
                </a:cubicBezTo>
                <a:cubicBezTo>
                  <a:pt x="1094556" y="483010"/>
                  <a:pt x="1098725" y="483307"/>
                  <a:pt x="1103846" y="483307"/>
                </a:cubicBezTo>
                <a:cubicBezTo>
                  <a:pt x="1108789" y="483307"/>
                  <a:pt x="1112898" y="483010"/>
                  <a:pt x="1116232" y="482360"/>
                </a:cubicBezTo>
                <a:cubicBezTo>
                  <a:pt x="1119567" y="481709"/>
                  <a:pt x="1122247" y="480111"/>
                  <a:pt x="1124272" y="477566"/>
                </a:cubicBezTo>
                <a:cubicBezTo>
                  <a:pt x="1126296" y="475021"/>
                  <a:pt x="1127725" y="470996"/>
                  <a:pt x="1128618" y="465433"/>
                </a:cubicBezTo>
                <a:cubicBezTo>
                  <a:pt x="1129453" y="459869"/>
                  <a:pt x="1129988" y="452353"/>
                  <a:pt x="1130227" y="442765"/>
                </a:cubicBezTo>
                <a:cubicBezTo>
                  <a:pt x="1130465" y="433177"/>
                  <a:pt x="1130525" y="421044"/>
                  <a:pt x="1130525" y="406365"/>
                </a:cubicBezTo>
                <a:cubicBezTo>
                  <a:pt x="1130525" y="391688"/>
                  <a:pt x="1130405" y="379555"/>
                  <a:pt x="1130227" y="369967"/>
                </a:cubicBezTo>
                <a:cubicBezTo>
                  <a:pt x="1129988" y="360378"/>
                  <a:pt x="1129453" y="352862"/>
                  <a:pt x="1128618" y="347299"/>
                </a:cubicBezTo>
                <a:cubicBezTo>
                  <a:pt x="1127785" y="341795"/>
                  <a:pt x="1126296" y="337710"/>
                  <a:pt x="1124272" y="335166"/>
                </a:cubicBezTo>
                <a:cubicBezTo>
                  <a:pt x="1122247" y="332621"/>
                  <a:pt x="1119567" y="331023"/>
                  <a:pt x="1116232" y="330372"/>
                </a:cubicBezTo>
                <a:cubicBezTo>
                  <a:pt x="1112898" y="329721"/>
                  <a:pt x="1108789" y="329425"/>
                  <a:pt x="1103846" y="329425"/>
                </a:cubicBezTo>
                <a:close/>
                <a:moveTo>
                  <a:pt x="816766" y="329425"/>
                </a:moveTo>
                <a:cubicBezTo>
                  <a:pt x="811823" y="329425"/>
                  <a:pt x="807475" y="329721"/>
                  <a:pt x="804260" y="330372"/>
                </a:cubicBezTo>
                <a:cubicBezTo>
                  <a:pt x="801045" y="331023"/>
                  <a:pt x="798484" y="332621"/>
                  <a:pt x="796579" y="335166"/>
                </a:cubicBezTo>
                <a:cubicBezTo>
                  <a:pt x="794673" y="337710"/>
                  <a:pt x="793184" y="341795"/>
                  <a:pt x="792231" y="347299"/>
                </a:cubicBezTo>
                <a:cubicBezTo>
                  <a:pt x="791279" y="352862"/>
                  <a:pt x="790683" y="360378"/>
                  <a:pt x="790445" y="369967"/>
                </a:cubicBezTo>
                <a:cubicBezTo>
                  <a:pt x="790207" y="379555"/>
                  <a:pt x="790147" y="391688"/>
                  <a:pt x="790147" y="406365"/>
                </a:cubicBezTo>
                <a:cubicBezTo>
                  <a:pt x="790147" y="421044"/>
                  <a:pt x="790266" y="433177"/>
                  <a:pt x="790445" y="442765"/>
                </a:cubicBezTo>
                <a:cubicBezTo>
                  <a:pt x="790683" y="452353"/>
                  <a:pt x="791219" y="459869"/>
                  <a:pt x="792231" y="465433"/>
                </a:cubicBezTo>
                <a:cubicBezTo>
                  <a:pt x="793184" y="470996"/>
                  <a:pt x="794614" y="475021"/>
                  <a:pt x="796579" y="477566"/>
                </a:cubicBezTo>
                <a:cubicBezTo>
                  <a:pt x="798484" y="480111"/>
                  <a:pt x="801045" y="481709"/>
                  <a:pt x="804260" y="482360"/>
                </a:cubicBezTo>
                <a:cubicBezTo>
                  <a:pt x="807475" y="483010"/>
                  <a:pt x="811644" y="483307"/>
                  <a:pt x="816766" y="483307"/>
                </a:cubicBezTo>
                <a:cubicBezTo>
                  <a:pt x="821708" y="483307"/>
                  <a:pt x="825817" y="483010"/>
                  <a:pt x="829151" y="482360"/>
                </a:cubicBezTo>
                <a:cubicBezTo>
                  <a:pt x="832486" y="481709"/>
                  <a:pt x="835166" y="480111"/>
                  <a:pt x="837191" y="477566"/>
                </a:cubicBezTo>
                <a:cubicBezTo>
                  <a:pt x="839215" y="475021"/>
                  <a:pt x="840644" y="470996"/>
                  <a:pt x="841537" y="465433"/>
                </a:cubicBezTo>
                <a:cubicBezTo>
                  <a:pt x="842372" y="459869"/>
                  <a:pt x="842907" y="452353"/>
                  <a:pt x="843146" y="442765"/>
                </a:cubicBezTo>
                <a:cubicBezTo>
                  <a:pt x="843384" y="433177"/>
                  <a:pt x="843444" y="421044"/>
                  <a:pt x="843444" y="406365"/>
                </a:cubicBezTo>
                <a:cubicBezTo>
                  <a:pt x="843444" y="391688"/>
                  <a:pt x="843324" y="379555"/>
                  <a:pt x="843146" y="369967"/>
                </a:cubicBezTo>
                <a:cubicBezTo>
                  <a:pt x="842907" y="360378"/>
                  <a:pt x="842372" y="352862"/>
                  <a:pt x="841537" y="347299"/>
                </a:cubicBezTo>
                <a:cubicBezTo>
                  <a:pt x="840703" y="341795"/>
                  <a:pt x="839215" y="337710"/>
                  <a:pt x="837191" y="335166"/>
                </a:cubicBezTo>
                <a:cubicBezTo>
                  <a:pt x="835166" y="332621"/>
                  <a:pt x="832486" y="331023"/>
                  <a:pt x="829151" y="330372"/>
                </a:cubicBezTo>
                <a:cubicBezTo>
                  <a:pt x="825817" y="329721"/>
                  <a:pt x="821708" y="329425"/>
                  <a:pt x="816766" y="329425"/>
                </a:cubicBezTo>
                <a:close/>
                <a:moveTo>
                  <a:pt x="2242055" y="296577"/>
                </a:moveTo>
                <a:lnTo>
                  <a:pt x="2317205" y="296577"/>
                </a:lnTo>
                <a:cubicBezTo>
                  <a:pt x="2329175" y="296577"/>
                  <a:pt x="2339060" y="298648"/>
                  <a:pt x="2346742" y="302792"/>
                </a:cubicBezTo>
                <a:cubicBezTo>
                  <a:pt x="2354423" y="306935"/>
                  <a:pt x="2360199" y="313090"/>
                  <a:pt x="2363951" y="321316"/>
                </a:cubicBezTo>
                <a:cubicBezTo>
                  <a:pt x="2367702" y="329484"/>
                  <a:pt x="2369548" y="339664"/>
                  <a:pt x="2369548" y="351797"/>
                </a:cubicBezTo>
                <a:cubicBezTo>
                  <a:pt x="2369548" y="362036"/>
                  <a:pt x="2368418" y="370618"/>
                  <a:pt x="2366154" y="377661"/>
                </a:cubicBezTo>
                <a:cubicBezTo>
                  <a:pt x="2363891" y="384704"/>
                  <a:pt x="2360557" y="390268"/>
                  <a:pt x="2356031" y="394410"/>
                </a:cubicBezTo>
                <a:cubicBezTo>
                  <a:pt x="2351505" y="398553"/>
                  <a:pt x="2345729" y="401572"/>
                  <a:pt x="2338702" y="403525"/>
                </a:cubicBezTo>
                <a:lnTo>
                  <a:pt x="2338702" y="404768"/>
                </a:lnTo>
                <a:cubicBezTo>
                  <a:pt x="2346622" y="406485"/>
                  <a:pt x="2352934" y="409384"/>
                  <a:pt x="2357639" y="413528"/>
                </a:cubicBezTo>
                <a:cubicBezTo>
                  <a:pt x="2362343" y="417670"/>
                  <a:pt x="2365856" y="423352"/>
                  <a:pt x="2368060" y="430573"/>
                </a:cubicBezTo>
                <a:cubicBezTo>
                  <a:pt x="2370262" y="437794"/>
                  <a:pt x="2371453" y="446849"/>
                  <a:pt x="2371453" y="457680"/>
                </a:cubicBezTo>
                <a:cubicBezTo>
                  <a:pt x="2371453" y="467030"/>
                  <a:pt x="2370441" y="475376"/>
                  <a:pt x="2368418" y="482714"/>
                </a:cubicBezTo>
                <a:cubicBezTo>
                  <a:pt x="2366393" y="490054"/>
                  <a:pt x="2363177" y="496209"/>
                  <a:pt x="2358770" y="501062"/>
                </a:cubicBezTo>
                <a:cubicBezTo>
                  <a:pt x="2354364" y="505974"/>
                  <a:pt x="2348707" y="509703"/>
                  <a:pt x="2341739" y="512249"/>
                </a:cubicBezTo>
                <a:cubicBezTo>
                  <a:pt x="2334772" y="514793"/>
                  <a:pt x="2326376" y="516096"/>
                  <a:pt x="2316550" y="516096"/>
                </a:cubicBezTo>
                <a:lnTo>
                  <a:pt x="2242055" y="516096"/>
                </a:lnTo>
                <a:close/>
                <a:moveTo>
                  <a:pt x="2077284" y="296577"/>
                </a:moveTo>
                <a:lnTo>
                  <a:pt x="2119682" y="296577"/>
                </a:lnTo>
                <a:lnTo>
                  <a:pt x="2119682" y="432230"/>
                </a:lnTo>
                <a:cubicBezTo>
                  <a:pt x="2119682" y="443711"/>
                  <a:pt x="2119920" y="452885"/>
                  <a:pt x="2120338" y="459692"/>
                </a:cubicBezTo>
                <a:cubicBezTo>
                  <a:pt x="2120754" y="466498"/>
                  <a:pt x="2121647" y="471588"/>
                  <a:pt x="2123077" y="475020"/>
                </a:cubicBezTo>
                <a:cubicBezTo>
                  <a:pt x="2124446" y="478453"/>
                  <a:pt x="2126769" y="480643"/>
                  <a:pt x="2129984" y="481708"/>
                </a:cubicBezTo>
                <a:cubicBezTo>
                  <a:pt x="2133199" y="482774"/>
                  <a:pt x="2137607" y="483306"/>
                  <a:pt x="2143144" y="483306"/>
                </a:cubicBezTo>
                <a:cubicBezTo>
                  <a:pt x="2148683" y="483306"/>
                  <a:pt x="2153029" y="482774"/>
                  <a:pt x="2156126" y="481708"/>
                </a:cubicBezTo>
                <a:cubicBezTo>
                  <a:pt x="2159223" y="480643"/>
                  <a:pt x="2161604" y="478394"/>
                  <a:pt x="2163213" y="475020"/>
                </a:cubicBezTo>
                <a:cubicBezTo>
                  <a:pt x="2164820" y="471647"/>
                  <a:pt x="2165773" y="466498"/>
                  <a:pt x="2166131" y="459692"/>
                </a:cubicBezTo>
                <a:cubicBezTo>
                  <a:pt x="2166429" y="452885"/>
                  <a:pt x="2166606" y="443711"/>
                  <a:pt x="2166606" y="432230"/>
                </a:cubicBezTo>
                <a:lnTo>
                  <a:pt x="2166606" y="296577"/>
                </a:lnTo>
                <a:lnTo>
                  <a:pt x="2209005" y="296577"/>
                </a:lnTo>
                <a:lnTo>
                  <a:pt x="2209005" y="419150"/>
                </a:lnTo>
                <a:cubicBezTo>
                  <a:pt x="2209005" y="435307"/>
                  <a:pt x="2208648" y="449156"/>
                  <a:pt x="2207874" y="460638"/>
                </a:cubicBezTo>
                <a:cubicBezTo>
                  <a:pt x="2207100" y="472121"/>
                  <a:pt x="2205551" y="481649"/>
                  <a:pt x="2203229" y="489225"/>
                </a:cubicBezTo>
                <a:cubicBezTo>
                  <a:pt x="2200847" y="496801"/>
                  <a:pt x="2197334" y="502719"/>
                  <a:pt x="2192630" y="506921"/>
                </a:cubicBezTo>
                <a:cubicBezTo>
                  <a:pt x="2187925" y="511182"/>
                  <a:pt x="2181553" y="514201"/>
                  <a:pt x="2173514" y="516036"/>
                </a:cubicBezTo>
                <a:cubicBezTo>
                  <a:pt x="2165475" y="517811"/>
                  <a:pt x="2155352" y="518758"/>
                  <a:pt x="2143144" y="518758"/>
                </a:cubicBezTo>
                <a:cubicBezTo>
                  <a:pt x="2130937" y="518758"/>
                  <a:pt x="2120814" y="517871"/>
                  <a:pt x="2112774" y="516036"/>
                </a:cubicBezTo>
                <a:cubicBezTo>
                  <a:pt x="2104736" y="514261"/>
                  <a:pt x="2098364" y="511182"/>
                  <a:pt x="2093660" y="506921"/>
                </a:cubicBezTo>
                <a:cubicBezTo>
                  <a:pt x="2088955" y="502660"/>
                  <a:pt x="2085441" y="496741"/>
                  <a:pt x="2083060" y="489225"/>
                </a:cubicBezTo>
                <a:cubicBezTo>
                  <a:pt x="2080678" y="481649"/>
                  <a:pt x="2079130" y="472180"/>
                  <a:pt x="2078416" y="460638"/>
                </a:cubicBezTo>
                <a:cubicBezTo>
                  <a:pt x="2077641" y="449156"/>
                  <a:pt x="2077284" y="435307"/>
                  <a:pt x="2077284" y="419150"/>
                </a:cubicBezTo>
                <a:close/>
                <a:moveTo>
                  <a:pt x="1911264" y="296577"/>
                </a:moveTo>
                <a:lnTo>
                  <a:pt x="1953365" y="296577"/>
                </a:lnTo>
                <a:lnTo>
                  <a:pt x="1953365" y="386599"/>
                </a:lnTo>
                <a:lnTo>
                  <a:pt x="2002194" y="386599"/>
                </a:lnTo>
                <a:lnTo>
                  <a:pt x="2002194" y="296577"/>
                </a:lnTo>
                <a:lnTo>
                  <a:pt x="2044593" y="296577"/>
                </a:lnTo>
                <a:lnTo>
                  <a:pt x="2044593" y="516213"/>
                </a:lnTo>
                <a:lnTo>
                  <a:pt x="2002194" y="516213"/>
                </a:lnTo>
                <a:lnTo>
                  <a:pt x="2002194" y="424299"/>
                </a:lnTo>
                <a:lnTo>
                  <a:pt x="1953365" y="424299"/>
                </a:lnTo>
                <a:lnTo>
                  <a:pt x="1953365" y="516213"/>
                </a:lnTo>
                <a:lnTo>
                  <a:pt x="1911264" y="516213"/>
                </a:lnTo>
                <a:close/>
                <a:moveTo>
                  <a:pt x="1728510" y="296577"/>
                </a:moveTo>
                <a:lnTo>
                  <a:pt x="1770611" y="296577"/>
                </a:lnTo>
                <a:lnTo>
                  <a:pt x="1770611" y="479815"/>
                </a:lnTo>
                <a:lnTo>
                  <a:pt x="1829683" y="479815"/>
                </a:lnTo>
                <a:lnTo>
                  <a:pt x="1829683" y="516213"/>
                </a:lnTo>
                <a:lnTo>
                  <a:pt x="1728510" y="516213"/>
                </a:lnTo>
                <a:close/>
                <a:moveTo>
                  <a:pt x="1600063" y="296577"/>
                </a:moveTo>
                <a:lnTo>
                  <a:pt x="1660147" y="296577"/>
                </a:lnTo>
                <a:lnTo>
                  <a:pt x="1708322" y="516213"/>
                </a:lnTo>
                <a:lnTo>
                  <a:pt x="1665626" y="516213"/>
                </a:lnTo>
                <a:lnTo>
                  <a:pt x="1655980" y="468333"/>
                </a:lnTo>
                <a:lnTo>
                  <a:pt x="1603279" y="468333"/>
                </a:lnTo>
                <a:lnTo>
                  <a:pt x="1593334" y="516213"/>
                </a:lnTo>
                <a:lnTo>
                  <a:pt x="1551591" y="516213"/>
                </a:lnTo>
                <a:close/>
                <a:moveTo>
                  <a:pt x="1360501" y="296577"/>
                </a:moveTo>
                <a:lnTo>
                  <a:pt x="1402899" y="296577"/>
                </a:lnTo>
                <a:lnTo>
                  <a:pt x="1402899" y="516213"/>
                </a:lnTo>
                <a:lnTo>
                  <a:pt x="1360501" y="516213"/>
                </a:lnTo>
                <a:close/>
                <a:moveTo>
                  <a:pt x="916329" y="296577"/>
                </a:moveTo>
                <a:lnTo>
                  <a:pt x="958430" y="296577"/>
                </a:lnTo>
                <a:lnTo>
                  <a:pt x="958430" y="479815"/>
                </a:lnTo>
                <a:lnTo>
                  <a:pt x="1017502" y="479815"/>
                </a:lnTo>
                <a:lnTo>
                  <a:pt x="1017502" y="516213"/>
                </a:lnTo>
                <a:lnTo>
                  <a:pt x="916329" y="516213"/>
                </a:lnTo>
                <a:close/>
                <a:moveTo>
                  <a:pt x="583217" y="296577"/>
                </a:moveTo>
                <a:lnTo>
                  <a:pt x="624960" y="296577"/>
                </a:lnTo>
                <a:lnTo>
                  <a:pt x="675398" y="418498"/>
                </a:lnTo>
                <a:lnTo>
                  <a:pt x="677006" y="418498"/>
                </a:lnTo>
                <a:lnTo>
                  <a:pt x="677006" y="296577"/>
                </a:lnTo>
                <a:lnTo>
                  <a:pt x="717499" y="296577"/>
                </a:lnTo>
                <a:lnTo>
                  <a:pt x="717499" y="516213"/>
                </a:lnTo>
                <a:lnTo>
                  <a:pt x="678614" y="516213"/>
                </a:lnTo>
                <a:lnTo>
                  <a:pt x="624960" y="385355"/>
                </a:lnTo>
                <a:lnTo>
                  <a:pt x="623353" y="385355"/>
                </a:lnTo>
                <a:lnTo>
                  <a:pt x="623353" y="516213"/>
                </a:lnTo>
                <a:lnTo>
                  <a:pt x="583217" y="516213"/>
                </a:lnTo>
                <a:close/>
                <a:moveTo>
                  <a:pt x="415588" y="296577"/>
                </a:moveTo>
                <a:lnTo>
                  <a:pt x="457689" y="296577"/>
                </a:lnTo>
                <a:lnTo>
                  <a:pt x="457689" y="386599"/>
                </a:lnTo>
                <a:lnTo>
                  <a:pt x="506519" y="386599"/>
                </a:lnTo>
                <a:lnTo>
                  <a:pt x="506519" y="296577"/>
                </a:lnTo>
                <a:lnTo>
                  <a:pt x="548917" y="296577"/>
                </a:lnTo>
                <a:lnTo>
                  <a:pt x="548917" y="516213"/>
                </a:lnTo>
                <a:lnTo>
                  <a:pt x="506519" y="516213"/>
                </a:lnTo>
                <a:lnTo>
                  <a:pt x="506519" y="424299"/>
                </a:lnTo>
                <a:lnTo>
                  <a:pt x="457689" y="424299"/>
                </a:lnTo>
                <a:lnTo>
                  <a:pt x="457689" y="516213"/>
                </a:lnTo>
                <a:lnTo>
                  <a:pt x="415588" y="516213"/>
                </a:lnTo>
                <a:close/>
                <a:moveTo>
                  <a:pt x="149346" y="296577"/>
                </a:moveTo>
                <a:lnTo>
                  <a:pt x="257902" y="296577"/>
                </a:lnTo>
                <a:lnTo>
                  <a:pt x="257902" y="332030"/>
                </a:lnTo>
                <a:lnTo>
                  <a:pt x="191446" y="332030"/>
                </a:lnTo>
                <a:lnTo>
                  <a:pt x="191446" y="387545"/>
                </a:lnTo>
                <a:lnTo>
                  <a:pt x="248910" y="387545"/>
                </a:lnTo>
                <a:lnTo>
                  <a:pt x="248910" y="422642"/>
                </a:lnTo>
                <a:lnTo>
                  <a:pt x="191446" y="422642"/>
                </a:lnTo>
                <a:lnTo>
                  <a:pt x="191446" y="480762"/>
                </a:lnTo>
                <a:lnTo>
                  <a:pt x="257902" y="480762"/>
                </a:lnTo>
                <a:lnTo>
                  <a:pt x="257902" y="516213"/>
                </a:lnTo>
                <a:lnTo>
                  <a:pt x="149346" y="516213"/>
                </a:lnTo>
                <a:close/>
                <a:moveTo>
                  <a:pt x="0" y="296577"/>
                </a:moveTo>
                <a:lnTo>
                  <a:pt x="128446" y="296577"/>
                </a:lnTo>
                <a:lnTo>
                  <a:pt x="128446" y="332976"/>
                </a:lnTo>
                <a:lnTo>
                  <a:pt x="85392" y="332976"/>
                </a:lnTo>
                <a:lnTo>
                  <a:pt x="85392" y="516213"/>
                </a:lnTo>
                <a:lnTo>
                  <a:pt x="43054" y="516213"/>
                </a:lnTo>
                <a:lnTo>
                  <a:pt x="43054" y="332976"/>
                </a:lnTo>
                <a:lnTo>
                  <a:pt x="0" y="332976"/>
                </a:lnTo>
                <a:close/>
                <a:moveTo>
                  <a:pt x="1103846" y="294091"/>
                </a:moveTo>
                <a:cubicBezTo>
                  <a:pt x="1116053" y="294091"/>
                  <a:pt x="1125939" y="294860"/>
                  <a:pt x="1134216" y="296340"/>
                </a:cubicBezTo>
                <a:cubicBezTo>
                  <a:pt x="1142434" y="297820"/>
                  <a:pt x="1149162" y="300779"/>
                  <a:pt x="1154284" y="305100"/>
                </a:cubicBezTo>
                <a:cubicBezTo>
                  <a:pt x="1159405" y="309480"/>
                  <a:pt x="1163335" y="315812"/>
                  <a:pt x="1166015" y="324099"/>
                </a:cubicBezTo>
                <a:cubicBezTo>
                  <a:pt x="1168694" y="332384"/>
                  <a:pt x="1170540" y="343274"/>
                  <a:pt x="1171493" y="356650"/>
                </a:cubicBezTo>
                <a:cubicBezTo>
                  <a:pt x="1172446" y="370086"/>
                  <a:pt x="1172923" y="386657"/>
                  <a:pt x="1172923" y="406425"/>
                </a:cubicBezTo>
                <a:cubicBezTo>
                  <a:pt x="1172923" y="426193"/>
                  <a:pt x="1172446" y="442824"/>
                  <a:pt x="1171493" y="456200"/>
                </a:cubicBezTo>
                <a:cubicBezTo>
                  <a:pt x="1170540" y="469635"/>
                  <a:pt x="1168694" y="480466"/>
                  <a:pt x="1166015" y="488752"/>
                </a:cubicBezTo>
                <a:cubicBezTo>
                  <a:pt x="1163335" y="497037"/>
                  <a:pt x="1159405" y="503371"/>
                  <a:pt x="1154284" y="507751"/>
                </a:cubicBezTo>
                <a:cubicBezTo>
                  <a:pt x="1149162" y="512130"/>
                  <a:pt x="1142434" y="515030"/>
                  <a:pt x="1134216" y="516509"/>
                </a:cubicBezTo>
                <a:cubicBezTo>
                  <a:pt x="1125998" y="517990"/>
                  <a:pt x="1115876" y="518758"/>
                  <a:pt x="1103846" y="518758"/>
                </a:cubicBezTo>
                <a:cubicBezTo>
                  <a:pt x="1091640" y="518758"/>
                  <a:pt x="1081397" y="517990"/>
                  <a:pt x="1073180" y="516509"/>
                </a:cubicBezTo>
                <a:cubicBezTo>
                  <a:pt x="1064961" y="515030"/>
                  <a:pt x="1058292" y="512130"/>
                  <a:pt x="1053290" y="507751"/>
                </a:cubicBezTo>
                <a:cubicBezTo>
                  <a:pt x="1048228" y="503371"/>
                  <a:pt x="1044417" y="497037"/>
                  <a:pt x="1041738" y="488752"/>
                </a:cubicBezTo>
                <a:cubicBezTo>
                  <a:pt x="1039057" y="480466"/>
                  <a:pt x="1037211" y="469575"/>
                  <a:pt x="1036259" y="456200"/>
                </a:cubicBezTo>
                <a:cubicBezTo>
                  <a:pt x="1035306" y="442824"/>
                  <a:pt x="1034830" y="426193"/>
                  <a:pt x="1034830" y="406425"/>
                </a:cubicBezTo>
                <a:cubicBezTo>
                  <a:pt x="1034830" y="386657"/>
                  <a:pt x="1035306" y="370026"/>
                  <a:pt x="1036259" y="356650"/>
                </a:cubicBezTo>
                <a:cubicBezTo>
                  <a:pt x="1037211" y="343274"/>
                  <a:pt x="1039057" y="332384"/>
                  <a:pt x="1041738" y="324099"/>
                </a:cubicBezTo>
                <a:cubicBezTo>
                  <a:pt x="1044417" y="315812"/>
                  <a:pt x="1048288" y="309480"/>
                  <a:pt x="1053290" y="305100"/>
                </a:cubicBezTo>
                <a:cubicBezTo>
                  <a:pt x="1058292" y="300720"/>
                  <a:pt x="1064961" y="297820"/>
                  <a:pt x="1073180" y="296340"/>
                </a:cubicBezTo>
                <a:cubicBezTo>
                  <a:pt x="1081397" y="294860"/>
                  <a:pt x="1091640" y="294091"/>
                  <a:pt x="1103846" y="294091"/>
                </a:cubicBezTo>
                <a:close/>
                <a:moveTo>
                  <a:pt x="816766" y="294091"/>
                </a:moveTo>
                <a:cubicBezTo>
                  <a:pt x="828972" y="294091"/>
                  <a:pt x="838858" y="294860"/>
                  <a:pt x="847135" y="296340"/>
                </a:cubicBezTo>
                <a:cubicBezTo>
                  <a:pt x="855352" y="297820"/>
                  <a:pt x="862081" y="300779"/>
                  <a:pt x="867203" y="305100"/>
                </a:cubicBezTo>
                <a:cubicBezTo>
                  <a:pt x="872324" y="309480"/>
                  <a:pt x="876254" y="315812"/>
                  <a:pt x="878934" y="324099"/>
                </a:cubicBezTo>
                <a:cubicBezTo>
                  <a:pt x="881613" y="332384"/>
                  <a:pt x="883459" y="343274"/>
                  <a:pt x="884412" y="356650"/>
                </a:cubicBezTo>
                <a:cubicBezTo>
                  <a:pt x="885365" y="370086"/>
                  <a:pt x="885842" y="386657"/>
                  <a:pt x="885842" y="406425"/>
                </a:cubicBezTo>
                <a:cubicBezTo>
                  <a:pt x="885842" y="426193"/>
                  <a:pt x="885365" y="442824"/>
                  <a:pt x="884412" y="456200"/>
                </a:cubicBezTo>
                <a:cubicBezTo>
                  <a:pt x="883459" y="469635"/>
                  <a:pt x="881613" y="480466"/>
                  <a:pt x="878934" y="488752"/>
                </a:cubicBezTo>
                <a:cubicBezTo>
                  <a:pt x="876254" y="497037"/>
                  <a:pt x="872324" y="503371"/>
                  <a:pt x="867203" y="507751"/>
                </a:cubicBezTo>
                <a:cubicBezTo>
                  <a:pt x="862081" y="512130"/>
                  <a:pt x="855352" y="515030"/>
                  <a:pt x="847135" y="516509"/>
                </a:cubicBezTo>
                <a:cubicBezTo>
                  <a:pt x="838917" y="517990"/>
                  <a:pt x="828795" y="518758"/>
                  <a:pt x="816766" y="518758"/>
                </a:cubicBezTo>
                <a:cubicBezTo>
                  <a:pt x="804559" y="518758"/>
                  <a:pt x="794316" y="517990"/>
                  <a:pt x="786099" y="516509"/>
                </a:cubicBezTo>
                <a:cubicBezTo>
                  <a:pt x="777880" y="515030"/>
                  <a:pt x="771211" y="512130"/>
                  <a:pt x="766209" y="507751"/>
                </a:cubicBezTo>
                <a:cubicBezTo>
                  <a:pt x="761147" y="503371"/>
                  <a:pt x="757336" y="497037"/>
                  <a:pt x="754657" y="488752"/>
                </a:cubicBezTo>
                <a:cubicBezTo>
                  <a:pt x="751976" y="480466"/>
                  <a:pt x="750130" y="469575"/>
                  <a:pt x="749178" y="456200"/>
                </a:cubicBezTo>
                <a:cubicBezTo>
                  <a:pt x="748225" y="442824"/>
                  <a:pt x="747749" y="426193"/>
                  <a:pt x="747749" y="406425"/>
                </a:cubicBezTo>
                <a:cubicBezTo>
                  <a:pt x="747749" y="386657"/>
                  <a:pt x="748225" y="370026"/>
                  <a:pt x="749178" y="356650"/>
                </a:cubicBezTo>
                <a:cubicBezTo>
                  <a:pt x="750130" y="343274"/>
                  <a:pt x="751976" y="332384"/>
                  <a:pt x="754657" y="324099"/>
                </a:cubicBezTo>
                <a:cubicBezTo>
                  <a:pt x="757336" y="315812"/>
                  <a:pt x="761207" y="309480"/>
                  <a:pt x="766209" y="305100"/>
                </a:cubicBezTo>
                <a:cubicBezTo>
                  <a:pt x="771211" y="300720"/>
                  <a:pt x="777880" y="297820"/>
                  <a:pt x="786099" y="296340"/>
                </a:cubicBezTo>
                <a:cubicBezTo>
                  <a:pt x="794316" y="294860"/>
                  <a:pt x="804559" y="294091"/>
                  <a:pt x="816766" y="294091"/>
                </a:cubicBezTo>
                <a:close/>
                <a:moveTo>
                  <a:pt x="1501393" y="293972"/>
                </a:moveTo>
                <a:cubicBezTo>
                  <a:pt x="1505918" y="293972"/>
                  <a:pt x="1510564" y="294208"/>
                  <a:pt x="1515387" y="294623"/>
                </a:cubicBezTo>
                <a:cubicBezTo>
                  <a:pt x="1520210" y="295037"/>
                  <a:pt x="1524676" y="295629"/>
                  <a:pt x="1528904" y="296398"/>
                </a:cubicBezTo>
                <a:cubicBezTo>
                  <a:pt x="1533073" y="297168"/>
                  <a:pt x="1536467" y="298056"/>
                  <a:pt x="1539028" y="299122"/>
                </a:cubicBezTo>
                <a:lnTo>
                  <a:pt x="1539028" y="331673"/>
                </a:lnTo>
                <a:cubicBezTo>
                  <a:pt x="1535156" y="331259"/>
                  <a:pt x="1531465" y="330845"/>
                  <a:pt x="1527952" y="330431"/>
                </a:cubicBezTo>
                <a:cubicBezTo>
                  <a:pt x="1524439" y="330016"/>
                  <a:pt x="1521163" y="329720"/>
                  <a:pt x="1518126" y="329661"/>
                </a:cubicBezTo>
                <a:cubicBezTo>
                  <a:pt x="1515149" y="329542"/>
                  <a:pt x="1512469" y="329483"/>
                  <a:pt x="1510087" y="329483"/>
                </a:cubicBezTo>
                <a:cubicBezTo>
                  <a:pt x="1503417" y="329483"/>
                  <a:pt x="1498059" y="329956"/>
                  <a:pt x="1493890" y="330904"/>
                </a:cubicBezTo>
                <a:cubicBezTo>
                  <a:pt x="1489721" y="331851"/>
                  <a:pt x="1486328" y="333744"/>
                  <a:pt x="1483766" y="336526"/>
                </a:cubicBezTo>
                <a:cubicBezTo>
                  <a:pt x="1481206" y="339308"/>
                  <a:pt x="1479360" y="343510"/>
                  <a:pt x="1478288" y="349133"/>
                </a:cubicBezTo>
                <a:cubicBezTo>
                  <a:pt x="1477216" y="354756"/>
                  <a:pt x="1476502" y="362213"/>
                  <a:pt x="1476204" y="371504"/>
                </a:cubicBezTo>
                <a:cubicBezTo>
                  <a:pt x="1475906" y="380737"/>
                  <a:pt x="1475727" y="392397"/>
                  <a:pt x="1475727" y="406484"/>
                </a:cubicBezTo>
                <a:cubicBezTo>
                  <a:pt x="1475727" y="420570"/>
                  <a:pt x="1475906" y="432170"/>
                  <a:pt x="1476204" y="441462"/>
                </a:cubicBezTo>
                <a:cubicBezTo>
                  <a:pt x="1476502" y="450695"/>
                  <a:pt x="1477216" y="458152"/>
                  <a:pt x="1478288" y="463833"/>
                </a:cubicBezTo>
                <a:cubicBezTo>
                  <a:pt x="1479360" y="469456"/>
                  <a:pt x="1481146" y="473718"/>
                  <a:pt x="1483587" y="476618"/>
                </a:cubicBezTo>
                <a:cubicBezTo>
                  <a:pt x="1486029" y="479458"/>
                  <a:pt x="1489364" y="481353"/>
                  <a:pt x="1493532" y="482181"/>
                </a:cubicBezTo>
                <a:cubicBezTo>
                  <a:pt x="1497701" y="483010"/>
                  <a:pt x="1503239" y="483424"/>
                  <a:pt x="1510087" y="483424"/>
                </a:cubicBezTo>
                <a:cubicBezTo>
                  <a:pt x="1515863" y="483424"/>
                  <a:pt x="1521223" y="483187"/>
                  <a:pt x="1526165" y="482773"/>
                </a:cubicBezTo>
                <a:cubicBezTo>
                  <a:pt x="1531108" y="482359"/>
                  <a:pt x="1535574" y="481826"/>
                  <a:pt x="1539683" y="481175"/>
                </a:cubicBezTo>
                <a:lnTo>
                  <a:pt x="1539683" y="513727"/>
                </a:lnTo>
                <a:cubicBezTo>
                  <a:pt x="1536705" y="514792"/>
                  <a:pt x="1533013" y="515680"/>
                  <a:pt x="1528606" y="516450"/>
                </a:cubicBezTo>
                <a:cubicBezTo>
                  <a:pt x="1524200" y="517159"/>
                  <a:pt x="1519674" y="517751"/>
                  <a:pt x="1514970" y="518165"/>
                </a:cubicBezTo>
                <a:cubicBezTo>
                  <a:pt x="1510266" y="518580"/>
                  <a:pt x="1505740" y="518816"/>
                  <a:pt x="1501452" y="518816"/>
                </a:cubicBezTo>
                <a:lnTo>
                  <a:pt x="1501452" y="518757"/>
                </a:lnTo>
                <a:cubicBezTo>
                  <a:pt x="1489244" y="518757"/>
                  <a:pt x="1479003" y="517574"/>
                  <a:pt x="1470784" y="515266"/>
                </a:cubicBezTo>
                <a:cubicBezTo>
                  <a:pt x="1462567" y="512957"/>
                  <a:pt x="1455958" y="509169"/>
                  <a:pt x="1451015" y="504080"/>
                </a:cubicBezTo>
                <a:cubicBezTo>
                  <a:pt x="1446072" y="498990"/>
                  <a:pt x="1442321" y="492124"/>
                  <a:pt x="1439760" y="483483"/>
                </a:cubicBezTo>
                <a:cubicBezTo>
                  <a:pt x="1437200" y="474842"/>
                  <a:pt x="1435473" y="464189"/>
                  <a:pt x="1434638" y="451404"/>
                </a:cubicBezTo>
                <a:cubicBezTo>
                  <a:pt x="1433805" y="438621"/>
                  <a:pt x="1433329" y="423647"/>
                  <a:pt x="1433329" y="406365"/>
                </a:cubicBezTo>
                <a:cubicBezTo>
                  <a:pt x="1433329" y="389083"/>
                  <a:pt x="1433745" y="373872"/>
                  <a:pt x="1434638" y="361207"/>
                </a:cubicBezTo>
                <a:cubicBezTo>
                  <a:pt x="1435473" y="348541"/>
                  <a:pt x="1437200" y="337888"/>
                  <a:pt x="1439760" y="329306"/>
                </a:cubicBezTo>
                <a:cubicBezTo>
                  <a:pt x="1442321" y="320665"/>
                  <a:pt x="1446132" y="313800"/>
                  <a:pt x="1451133" y="308532"/>
                </a:cubicBezTo>
                <a:cubicBezTo>
                  <a:pt x="1456135" y="303324"/>
                  <a:pt x="1462746" y="299595"/>
                  <a:pt x="1470904" y="297346"/>
                </a:cubicBezTo>
                <a:cubicBezTo>
                  <a:pt x="1479062" y="295097"/>
                  <a:pt x="1489186" y="293972"/>
                  <a:pt x="1501393" y="293972"/>
                </a:cubicBezTo>
                <a:close/>
                <a:moveTo>
                  <a:pt x="1273025" y="293972"/>
                </a:moveTo>
                <a:cubicBezTo>
                  <a:pt x="1278622" y="293972"/>
                  <a:pt x="1284696" y="294208"/>
                  <a:pt x="1291306" y="294741"/>
                </a:cubicBezTo>
                <a:cubicBezTo>
                  <a:pt x="1297916" y="295273"/>
                  <a:pt x="1304407" y="295984"/>
                  <a:pt x="1310719" y="296991"/>
                </a:cubicBezTo>
                <a:cubicBezTo>
                  <a:pt x="1317031" y="297997"/>
                  <a:pt x="1322629" y="299062"/>
                  <a:pt x="1327571" y="300364"/>
                </a:cubicBezTo>
                <a:lnTo>
                  <a:pt x="1327571" y="333213"/>
                </a:lnTo>
                <a:cubicBezTo>
                  <a:pt x="1321378" y="332147"/>
                  <a:pt x="1315661" y="331377"/>
                  <a:pt x="1310362" y="330845"/>
                </a:cubicBezTo>
                <a:cubicBezTo>
                  <a:pt x="1305121" y="330312"/>
                  <a:pt x="1300536" y="329957"/>
                  <a:pt x="1296547" y="329720"/>
                </a:cubicBezTo>
                <a:cubicBezTo>
                  <a:pt x="1292557" y="329484"/>
                  <a:pt x="1289102" y="329425"/>
                  <a:pt x="1286125" y="329425"/>
                </a:cubicBezTo>
                <a:cubicBezTo>
                  <a:pt x="1278206" y="329425"/>
                  <a:pt x="1271537" y="329661"/>
                  <a:pt x="1266236" y="330193"/>
                </a:cubicBezTo>
                <a:cubicBezTo>
                  <a:pt x="1260878" y="330726"/>
                  <a:pt x="1256470" y="332147"/>
                  <a:pt x="1253077" y="334514"/>
                </a:cubicBezTo>
                <a:cubicBezTo>
                  <a:pt x="1249622" y="336882"/>
                  <a:pt x="1247062" y="340729"/>
                  <a:pt x="1245394" y="346174"/>
                </a:cubicBezTo>
                <a:cubicBezTo>
                  <a:pt x="1243667" y="351619"/>
                  <a:pt x="1242476" y="359136"/>
                  <a:pt x="1241881" y="368842"/>
                </a:cubicBezTo>
                <a:cubicBezTo>
                  <a:pt x="1241226" y="378548"/>
                  <a:pt x="1240928" y="391037"/>
                  <a:pt x="1240928" y="406365"/>
                </a:cubicBezTo>
                <a:cubicBezTo>
                  <a:pt x="1240928" y="420629"/>
                  <a:pt x="1241167" y="432466"/>
                  <a:pt x="1241583" y="441935"/>
                </a:cubicBezTo>
                <a:cubicBezTo>
                  <a:pt x="1242000" y="451405"/>
                  <a:pt x="1242893" y="459040"/>
                  <a:pt x="1244144" y="464781"/>
                </a:cubicBezTo>
                <a:cubicBezTo>
                  <a:pt x="1245394" y="470523"/>
                  <a:pt x="1247240" y="474784"/>
                  <a:pt x="1249622" y="477566"/>
                </a:cubicBezTo>
                <a:cubicBezTo>
                  <a:pt x="1252005" y="480347"/>
                  <a:pt x="1254981" y="482182"/>
                  <a:pt x="1258614" y="483188"/>
                </a:cubicBezTo>
                <a:cubicBezTo>
                  <a:pt x="1262247" y="484135"/>
                  <a:pt x="1266772" y="484608"/>
                  <a:pt x="1272132" y="484608"/>
                </a:cubicBezTo>
                <a:cubicBezTo>
                  <a:pt x="1274037" y="484608"/>
                  <a:pt x="1276062" y="484608"/>
                  <a:pt x="1278087" y="484431"/>
                </a:cubicBezTo>
                <a:cubicBezTo>
                  <a:pt x="1280111" y="484312"/>
                  <a:pt x="1282077" y="484135"/>
                  <a:pt x="1284042" y="483780"/>
                </a:cubicBezTo>
                <a:cubicBezTo>
                  <a:pt x="1285947" y="483483"/>
                  <a:pt x="1287793" y="483188"/>
                  <a:pt x="1289520" y="483010"/>
                </a:cubicBezTo>
                <a:lnTo>
                  <a:pt x="1289520" y="424890"/>
                </a:lnTo>
                <a:lnTo>
                  <a:pt x="1267368" y="424890"/>
                </a:lnTo>
                <a:lnTo>
                  <a:pt x="1267368" y="390740"/>
                </a:lnTo>
                <a:lnTo>
                  <a:pt x="1328405" y="390740"/>
                </a:lnTo>
                <a:lnTo>
                  <a:pt x="1328405" y="512366"/>
                </a:lnTo>
                <a:cubicBezTo>
                  <a:pt x="1323046" y="513669"/>
                  <a:pt x="1317031" y="514734"/>
                  <a:pt x="1310422" y="515740"/>
                </a:cubicBezTo>
                <a:cubicBezTo>
                  <a:pt x="1303751" y="516687"/>
                  <a:pt x="1297082" y="517457"/>
                  <a:pt x="1290353" y="517989"/>
                </a:cubicBezTo>
                <a:cubicBezTo>
                  <a:pt x="1283624" y="518522"/>
                  <a:pt x="1277253" y="518758"/>
                  <a:pt x="1271239" y="518758"/>
                </a:cubicBezTo>
                <a:lnTo>
                  <a:pt x="1271179" y="518758"/>
                </a:lnTo>
                <a:cubicBezTo>
                  <a:pt x="1259388" y="518758"/>
                  <a:pt x="1249324" y="517811"/>
                  <a:pt x="1240988" y="515859"/>
                </a:cubicBezTo>
                <a:cubicBezTo>
                  <a:pt x="1232652" y="513964"/>
                  <a:pt x="1225744" y="510531"/>
                  <a:pt x="1220265" y="505620"/>
                </a:cubicBezTo>
                <a:cubicBezTo>
                  <a:pt x="1214787" y="500707"/>
                  <a:pt x="1210499" y="494078"/>
                  <a:pt x="1207402" y="485673"/>
                </a:cubicBezTo>
                <a:cubicBezTo>
                  <a:pt x="1204306" y="477269"/>
                  <a:pt x="1202162" y="466498"/>
                  <a:pt x="1200971" y="453417"/>
                </a:cubicBezTo>
                <a:cubicBezTo>
                  <a:pt x="1199780" y="440337"/>
                  <a:pt x="1199185" y="424653"/>
                  <a:pt x="1199185" y="406306"/>
                </a:cubicBezTo>
                <a:cubicBezTo>
                  <a:pt x="1199185" y="387958"/>
                  <a:pt x="1199840" y="372038"/>
                  <a:pt x="1201090" y="359076"/>
                </a:cubicBezTo>
                <a:cubicBezTo>
                  <a:pt x="1202401" y="346115"/>
                  <a:pt x="1204603" y="335343"/>
                  <a:pt x="1207819" y="326821"/>
                </a:cubicBezTo>
                <a:cubicBezTo>
                  <a:pt x="1211035" y="318297"/>
                  <a:pt x="1215441" y="311668"/>
                  <a:pt x="1220979" y="306874"/>
                </a:cubicBezTo>
                <a:cubicBezTo>
                  <a:pt x="1226518" y="302080"/>
                  <a:pt x="1233603" y="298708"/>
                  <a:pt x="1242179" y="296813"/>
                </a:cubicBezTo>
                <a:cubicBezTo>
                  <a:pt x="1250754" y="294919"/>
                  <a:pt x="1260996" y="293972"/>
                  <a:pt x="1273025" y="293972"/>
                </a:cubicBezTo>
                <a:close/>
                <a:moveTo>
                  <a:pt x="350679" y="293972"/>
                </a:moveTo>
                <a:cubicBezTo>
                  <a:pt x="355205" y="293972"/>
                  <a:pt x="359850" y="294208"/>
                  <a:pt x="364673" y="294623"/>
                </a:cubicBezTo>
                <a:cubicBezTo>
                  <a:pt x="369496" y="295037"/>
                  <a:pt x="373962" y="295629"/>
                  <a:pt x="378190" y="296398"/>
                </a:cubicBezTo>
                <a:cubicBezTo>
                  <a:pt x="382359" y="297168"/>
                  <a:pt x="385753" y="298056"/>
                  <a:pt x="388314" y="299122"/>
                </a:cubicBezTo>
                <a:lnTo>
                  <a:pt x="388314" y="331673"/>
                </a:lnTo>
                <a:cubicBezTo>
                  <a:pt x="384443" y="331259"/>
                  <a:pt x="380751" y="330845"/>
                  <a:pt x="377238" y="330431"/>
                </a:cubicBezTo>
                <a:cubicBezTo>
                  <a:pt x="373725" y="330016"/>
                  <a:pt x="370449" y="329720"/>
                  <a:pt x="367412" y="329661"/>
                </a:cubicBezTo>
                <a:cubicBezTo>
                  <a:pt x="364435" y="329542"/>
                  <a:pt x="361755" y="329483"/>
                  <a:pt x="359373" y="329483"/>
                </a:cubicBezTo>
                <a:cubicBezTo>
                  <a:pt x="352703" y="329483"/>
                  <a:pt x="347345" y="329956"/>
                  <a:pt x="343176" y="330904"/>
                </a:cubicBezTo>
                <a:cubicBezTo>
                  <a:pt x="339007" y="331851"/>
                  <a:pt x="335614" y="333744"/>
                  <a:pt x="333052" y="336526"/>
                </a:cubicBezTo>
                <a:cubicBezTo>
                  <a:pt x="330492" y="339308"/>
                  <a:pt x="328646" y="343510"/>
                  <a:pt x="327574" y="349133"/>
                </a:cubicBezTo>
                <a:cubicBezTo>
                  <a:pt x="326502" y="354756"/>
                  <a:pt x="325788" y="362213"/>
                  <a:pt x="325490" y="371504"/>
                </a:cubicBezTo>
                <a:cubicBezTo>
                  <a:pt x="325192" y="380737"/>
                  <a:pt x="325013" y="392397"/>
                  <a:pt x="325013" y="406484"/>
                </a:cubicBezTo>
                <a:cubicBezTo>
                  <a:pt x="325013" y="420570"/>
                  <a:pt x="325192" y="432170"/>
                  <a:pt x="325490" y="441462"/>
                </a:cubicBezTo>
                <a:cubicBezTo>
                  <a:pt x="325788" y="450695"/>
                  <a:pt x="326502" y="458152"/>
                  <a:pt x="327574" y="463833"/>
                </a:cubicBezTo>
                <a:cubicBezTo>
                  <a:pt x="328646" y="469456"/>
                  <a:pt x="330432" y="473718"/>
                  <a:pt x="332873" y="476618"/>
                </a:cubicBezTo>
                <a:cubicBezTo>
                  <a:pt x="335315" y="479458"/>
                  <a:pt x="338651" y="481353"/>
                  <a:pt x="342818" y="482181"/>
                </a:cubicBezTo>
                <a:cubicBezTo>
                  <a:pt x="346987" y="483010"/>
                  <a:pt x="352525" y="483424"/>
                  <a:pt x="359373" y="483424"/>
                </a:cubicBezTo>
                <a:cubicBezTo>
                  <a:pt x="365149" y="483424"/>
                  <a:pt x="370509" y="483187"/>
                  <a:pt x="375451" y="482773"/>
                </a:cubicBezTo>
                <a:cubicBezTo>
                  <a:pt x="380394" y="482359"/>
                  <a:pt x="384860" y="481826"/>
                  <a:pt x="388969" y="481175"/>
                </a:cubicBezTo>
                <a:lnTo>
                  <a:pt x="388969" y="513727"/>
                </a:lnTo>
                <a:cubicBezTo>
                  <a:pt x="385991" y="514792"/>
                  <a:pt x="382299" y="515680"/>
                  <a:pt x="377892" y="516450"/>
                </a:cubicBezTo>
                <a:cubicBezTo>
                  <a:pt x="373486" y="517159"/>
                  <a:pt x="368960" y="517751"/>
                  <a:pt x="364256" y="518165"/>
                </a:cubicBezTo>
                <a:cubicBezTo>
                  <a:pt x="359552" y="518580"/>
                  <a:pt x="355026" y="518816"/>
                  <a:pt x="350738" y="518816"/>
                </a:cubicBezTo>
                <a:lnTo>
                  <a:pt x="350738" y="518757"/>
                </a:lnTo>
                <a:cubicBezTo>
                  <a:pt x="338531" y="518757"/>
                  <a:pt x="328289" y="517574"/>
                  <a:pt x="320070" y="515266"/>
                </a:cubicBezTo>
                <a:cubicBezTo>
                  <a:pt x="311853" y="512957"/>
                  <a:pt x="305244" y="509169"/>
                  <a:pt x="300301" y="504080"/>
                </a:cubicBezTo>
                <a:cubicBezTo>
                  <a:pt x="295358" y="498990"/>
                  <a:pt x="291607" y="492124"/>
                  <a:pt x="289046" y="483483"/>
                </a:cubicBezTo>
                <a:cubicBezTo>
                  <a:pt x="286486" y="474842"/>
                  <a:pt x="284759" y="464189"/>
                  <a:pt x="283924" y="451404"/>
                </a:cubicBezTo>
                <a:cubicBezTo>
                  <a:pt x="283091" y="438621"/>
                  <a:pt x="282615" y="423647"/>
                  <a:pt x="282615" y="406365"/>
                </a:cubicBezTo>
                <a:cubicBezTo>
                  <a:pt x="282615" y="389083"/>
                  <a:pt x="283031" y="373872"/>
                  <a:pt x="283924" y="361207"/>
                </a:cubicBezTo>
                <a:cubicBezTo>
                  <a:pt x="284759" y="348541"/>
                  <a:pt x="286486" y="337888"/>
                  <a:pt x="289046" y="329306"/>
                </a:cubicBezTo>
                <a:cubicBezTo>
                  <a:pt x="291607" y="320665"/>
                  <a:pt x="295418" y="313800"/>
                  <a:pt x="300420" y="308532"/>
                </a:cubicBezTo>
                <a:cubicBezTo>
                  <a:pt x="305421" y="303324"/>
                  <a:pt x="312032" y="299595"/>
                  <a:pt x="320190" y="297346"/>
                </a:cubicBezTo>
                <a:cubicBezTo>
                  <a:pt x="328348" y="295097"/>
                  <a:pt x="338472" y="293972"/>
                  <a:pt x="350679" y="293972"/>
                </a:cubicBezTo>
                <a:close/>
                <a:moveTo>
                  <a:pt x="1088127" y="114286"/>
                </a:moveTo>
                <a:lnTo>
                  <a:pt x="1153987" y="114286"/>
                </a:lnTo>
                <a:lnTo>
                  <a:pt x="1153987" y="148140"/>
                </a:lnTo>
                <a:lnTo>
                  <a:pt x="1088127" y="148140"/>
                </a:lnTo>
                <a:close/>
                <a:moveTo>
                  <a:pt x="2137309" y="43086"/>
                </a:moveTo>
                <a:lnTo>
                  <a:pt x="2118670" y="139794"/>
                </a:lnTo>
                <a:lnTo>
                  <a:pt x="2118730" y="139794"/>
                </a:lnTo>
                <a:lnTo>
                  <a:pt x="2158211" y="139794"/>
                </a:lnTo>
                <a:lnTo>
                  <a:pt x="2139572" y="43086"/>
                </a:lnTo>
                <a:close/>
                <a:moveTo>
                  <a:pt x="1249264" y="43086"/>
                </a:moveTo>
                <a:lnTo>
                  <a:pt x="1230625" y="139794"/>
                </a:lnTo>
                <a:lnTo>
                  <a:pt x="1230685" y="139794"/>
                </a:lnTo>
                <a:lnTo>
                  <a:pt x="1270166" y="139794"/>
                </a:lnTo>
                <a:lnTo>
                  <a:pt x="1251527" y="43086"/>
                </a:lnTo>
                <a:close/>
                <a:moveTo>
                  <a:pt x="842073" y="37641"/>
                </a:moveTo>
                <a:lnTo>
                  <a:pt x="842073" y="113930"/>
                </a:lnTo>
                <a:lnTo>
                  <a:pt x="842133" y="113930"/>
                </a:lnTo>
                <a:lnTo>
                  <a:pt x="861725" y="113930"/>
                </a:lnTo>
                <a:cubicBezTo>
                  <a:pt x="866190" y="113930"/>
                  <a:pt x="870001" y="113575"/>
                  <a:pt x="873098" y="112805"/>
                </a:cubicBezTo>
                <a:cubicBezTo>
                  <a:pt x="876195" y="112037"/>
                  <a:pt x="878636" y="110439"/>
                  <a:pt x="880303" y="108012"/>
                </a:cubicBezTo>
                <a:cubicBezTo>
                  <a:pt x="882030" y="105585"/>
                  <a:pt x="883221" y="101738"/>
                  <a:pt x="883995" y="96530"/>
                </a:cubicBezTo>
                <a:cubicBezTo>
                  <a:pt x="884769" y="91321"/>
                  <a:pt x="885126" y="84456"/>
                  <a:pt x="885126" y="75934"/>
                </a:cubicBezTo>
                <a:cubicBezTo>
                  <a:pt x="885126" y="67411"/>
                  <a:pt x="884829" y="60901"/>
                  <a:pt x="884173" y="55810"/>
                </a:cubicBezTo>
                <a:cubicBezTo>
                  <a:pt x="883519" y="50720"/>
                  <a:pt x="882387" y="46874"/>
                  <a:pt x="880780" y="44328"/>
                </a:cubicBezTo>
                <a:cubicBezTo>
                  <a:pt x="879172" y="41784"/>
                  <a:pt x="876790" y="40008"/>
                  <a:pt x="873693" y="39061"/>
                </a:cubicBezTo>
                <a:cubicBezTo>
                  <a:pt x="870596" y="38114"/>
                  <a:pt x="866548" y="37641"/>
                  <a:pt x="861665" y="37641"/>
                </a:cubicBezTo>
                <a:close/>
                <a:moveTo>
                  <a:pt x="1752032" y="37582"/>
                </a:moveTo>
                <a:lnTo>
                  <a:pt x="1752032" y="108427"/>
                </a:lnTo>
                <a:lnTo>
                  <a:pt x="1752032" y="108544"/>
                </a:lnTo>
                <a:lnTo>
                  <a:pt x="1773886" y="108544"/>
                </a:lnTo>
                <a:cubicBezTo>
                  <a:pt x="1779246" y="108544"/>
                  <a:pt x="1783473" y="107952"/>
                  <a:pt x="1786569" y="106769"/>
                </a:cubicBezTo>
                <a:cubicBezTo>
                  <a:pt x="1789666" y="105585"/>
                  <a:pt x="1792048" y="103691"/>
                  <a:pt x="1793656" y="101028"/>
                </a:cubicBezTo>
                <a:cubicBezTo>
                  <a:pt x="1795264" y="98364"/>
                  <a:pt x="1796276" y="94695"/>
                  <a:pt x="1796693" y="90020"/>
                </a:cubicBezTo>
                <a:cubicBezTo>
                  <a:pt x="1797109" y="85344"/>
                  <a:pt x="1797348" y="79722"/>
                  <a:pt x="1797348" y="73093"/>
                </a:cubicBezTo>
                <a:cubicBezTo>
                  <a:pt x="1797348" y="66049"/>
                  <a:pt x="1797109" y="60250"/>
                  <a:pt x="1796693" y="55692"/>
                </a:cubicBezTo>
                <a:cubicBezTo>
                  <a:pt x="1796276" y="51135"/>
                  <a:pt x="1795323" y="47524"/>
                  <a:pt x="1793775" y="44979"/>
                </a:cubicBezTo>
                <a:cubicBezTo>
                  <a:pt x="1792286" y="42435"/>
                  <a:pt x="1789964" y="40540"/>
                  <a:pt x="1786868" y="39357"/>
                </a:cubicBezTo>
                <a:cubicBezTo>
                  <a:pt x="1783771" y="38174"/>
                  <a:pt x="1779423" y="37582"/>
                  <a:pt x="1773886" y="37582"/>
                </a:cubicBezTo>
                <a:close/>
                <a:moveTo>
                  <a:pt x="518369" y="37582"/>
                </a:moveTo>
                <a:lnTo>
                  <a:pt x="518369" y="108427"/>
                </a:lnTo>
                <a:lnTo>
                  <a:pt x="518369" y="108544"/>
                </a:lnTo>
                <a:lnTo>
                  <a:pt x="540223" y="108544"/>
                </a:lnTo>
                <a:cubicBezTo>
                  <a:pt x="545583" y="108544"/>
                  <a:pt x="549810" y="107952"/>
                  <a:pt x="552906" y="106769"/>
                </a:cubicBezTo>
                <a:cubicBezTo>
                  <a:pt x="556003" y="105585"/>
                  <a:pt x="558386" y="103691"/>
                  <a:pt x="559993" y="101028"/>
                </a:cubicBezTo>
                <a:cubicBezTo>
                  <a:pt x="561600" y="98364"/>
                  <a:pt x="562613" y="94695"/>
                  <a:pt x="563030" y="90020"/>
                </a:cubicBezTo>
                <a:cubicBezTo>
                  <a:pt x="563446" y="85344"/>
                  <a:pt x="563685" y="79722"/>
                  <a:pt x="563685" y="73093"/>
                </a:cubicBezTo>
                <a:cubicBezTo>
                  <a:pt x="563685" y="66049"/>
                  <a:pt x="563446" y="60250"/>
                  <a:pt x="563030" y="55692"/>
                </a:cubicBezTo>
                <a:cubicBezTo>
                  <a:pt x="562613" y="51135"/>
                  <a:pt x="561660" y="47524"/>
                  <a:pt x="560112" y="44979"/>
                </a:cubicBezTo>
                <a:cubicBezTo>
                  <a:pt x="558623" y="42435"/>
                  <a:pt x="556301" y="40540"/>
                  <a:pt x="553205" y="39357"/>
                </a:cubicBezTo>
                <a:cubicBezTo>
                  <a:pt x="550108" y="38174"/>
                  <a:pt x="545760" y="37582"/>
                  <a:pt x="540223" y="37582"/>
                </a:cubicBezTo>
                <a:close/>
                <a:moveTo>
                  <a:pt x="700466" y="35451"/>
                </a:moveTo>
                <a:cubicBezTo>
                  <a:pt x="695524" y="35451"/>
                  <a:pt x="691176" y="35748"/>
                  <a:pt x="687961" y="36399"/>
                </a:cubicBezTo>
                <a:cubicBezTo>
                  <a:pt x="684746" y="37049"/>
                  <a:pt x="682185" y="38647"/>
                  <a:pt x="680280" y="41193"/>
                </a:cubicBezTo>
                <a:cubicBezTo>
                  <a:pt x="678374" y="43737"/>
                  <a:pt x="676885" y="47821"/>
                  <a:pt x="675932" y="53325"/>
                </a:cubicBezTo>
                <a:cubicBezTo>
                  <a:pt x="674980" y="58889"/>
                  <a:pt x="674384" y="66405"/>
                  <a:pt x="674146" y="75993"/>
                </a:cubicBezTo>
                <a:cubicBezTo>
                  <a:pt x="673908" y="85582"/>
                  <a:pt x="673848" y="97714"/>
                  <a:pt x="673848" y="112392"/>
                </a:cubicBezTo>
                <a:cubicBezTo>
                  <a:pt x="673848" y="127071"/>
                  <a:pt x="673967" y="139203"/>
                  <a:pt x="674146" y="148792"/>
                </a:cubicBezTo>
                <a:cubicBezTo>
                  <a:pt x="674384" y="158380"/>
                  <a:pt x="674920" y="165896"/>
                  <a:pt x="675932" y="171460"/>
                </a:cubicBezTo>
                <a:cubicBezTo>
                  <a:pt x="676885" y="177022"/>
                  <a:pt x="678315" y="181048"/>
                  <a:pt x="680280" y="183592"/>
                </a:cubicBezTo>
                <a:cubicBezTo>
                  <a:pt x="682185" y="186137"/>
                  <a:pt x="684746" y="187735"/>
                  <a:pt x="687961" y="188386"/>
                </a:cubicBezTo>
                <a:cubicBezTo>
                  <a:pt x="691176" y="189037"/>
                  <a:pt x="695345" y="189333"/>
                  <a:pt x="700466" y="189333"/>
                </a:cubicBezTo>
                <a:cubicBezTo>
                  <a:pt x="705409" y="189333"/>
                  <a:pt x="709518" y="189037"/>
                  <a:pt x="712852" y="188386"/>
                </a:cubicBezTo>
                <a:cubicBezTo>
                  <a:pt x="716187" y="187735"/>
                  <a:pt x="718867" y="186137"/>
                  <a:pt x="720892" y="183592"/>
                </a:cubicBezTo>
                <a:cubicBezTo>
                  <a:pt x="722916" y="181048"/>
                  <a:pt x="724345" y="177022"/>
                  <a:pt x="725238" y="171460"/>
                </a:cubicBezTo>
                <a:cubicBezTo>
                  <a:pt x="726073" y="165896"/>
                  <a:pt x="726608" y="158380"/>
                  <a:pt x="726847" y="148792"/>
                </a:cubicBezTo>
                <a:cubicBezTo>
                  <a:pt x="727085" y="139203"/>
                  <a:pt x="727145" y="127071"/>
                  <a:pt x="727145" y="112392"/>
                </a:cubicBezTo>
                <a:cubicBezTo>
                  <a:pt x="727145" y="97714"/>
                  <a:pt x="727025" y="85582"/>
                  <a:pt x="726847" y="75993"/>
                </a:cubicBezTo>
                <a:cubicBezTo>
                  <a:pt x="726608" y="66405"/>
                  <a:pt x="726073" y="58889"/>
                  <a:pt x="725238" y="53325"/>
                </a:cubicBezTo>
                <a:cubicBezTo>
                  <a:pt x="724405" y="47821"/>
                  <a:pt x="722916" y="43737"/>
                  <a:pt x="720892" y="41193"/>
                </a:cubicBezTo>
                <a:cubicBezTo>
                  <a:pt x="718867" y="38647"/>
                  <a:pt x="716187" y="37049"/>
                  <a:pt x="712852" y="36399"/>
                </a:cubicBezTo>
                <a:cubicBezTo>
                  <a:pt x="709518" y="35748"/>
                  <a:pt x="705409" y="35451"/>
                  <a:pt x="700466" y="35451"/>
                </a:cubicBezTo>
                <a:close/>
                <a:moveTo>
                  <a:pt x="311497" y="2604"/>
                </a:moveTo>
                <a:lnTo>
                  <a:pt x="353895" y="2604"/>
                </a:lnTo>
                <a:lnTo>
                  <a:pt x="353895" y="138256"/>
                </a:lnTo>
                <a:cubicBezTo>
                  <a:pt x="353895" y="149738"/>
                  <a:pt x="354133" y="158912"/>
                  <a:pt x="354551" y="165718"/>
                </a:cubicBezTo>
                <a:cubicBezTo>
                  <a:pt x="354967" y="172525"/>
                  <a:pt x="355860" y="177614"/>
                  <a:pt x="357290" y="181047"/>
                </a:cubicBezTo>
                <a:cubicBezTo>
                  <a:pt x="358660" y="184479"/>
                  <a:pt x="360982" y="186669"/>
                  <a:pt x="364197" y="187734"/>
                </a:cubicBezTo>
                <a:cubicBezTo>
                  <a:pt x="367413" y="188801"/>
                  <a:pt x="371819" y="189332"/>
                  <a:pt x="377357" y="189332"/>
                </a:cubicBezTo>
                <a:cubicBezTo>
                  <a:pt x="382896" y="189332"/>
                  <a:pt x="387242" y="188801"/>
                  <a:pt x="390339" y="187734"/>
                </a:cubicBezTo>
                <a:cubicBezTo>
                  <a:pt x="393436" y="186669"/>
                  <a:pt x="395817" y="184421"/>
                  <a:pt x="397426" y="181047"/>
                </a:cubicBezTo>
                <a:cubicBezTo>
                  <a:pt x="399033" y="177673"/>
                  <a:pt x="399986" y="172525"/>
                  <a:pt x="400343" y="165718"/>
                </a:cubicBezTo>
                <a:cubicBezTo>
                  <a:pt x="400642" y="158912"/>
                  <a:pt x="400819" y="149738"/>
                  <a:pt x="400819" y="138256"/>
                </a:cubicBezTo>
                <a:lnTo>
                  <a:pt x="400819" y="2604"/>
                </a:lnTo>
                <a:lnTo>
                  <a:pt x="443218" y="2604"/>
                </a:lnTo>
                <a:lnTo>
                  <a:pt x="443218" y="125177"/>
                </a:lnTo>
                <a:cubicBezTo>
                  <a:pt x="443218" y="141333"/>
                  <a:pt x="442861" y="155183"/>
                  <a:pt x="442087" y="166664"/>
                </a:cubicBezTo>
                <a:cubicBezTo>
                  <a:pt x="441313" y="178147"/>
                  <a:pt x="439764" y="187676"/>
                  <a:pt x="437442" y="195252"/>
                </a:cubicBezTo>
                <a:cubicBezTo>
                  <a:pt x="435060" y="202828"/>
                  <a:pt x="431547" y="208745"/>
                  <a:pt x="426843" y="212948"/>
                </a:cubicBezTo>
                <a:cubicBezTo>
                  <a:pt x="422139" y="217209"/>
                  <a:pt x="415766" y="220227"/>
                  <a:pt x="407727" y="222063"/>
                </a:cubicBezTo>
                <a:cubicBezTo>
                  <a:pt x="399689" y="223837"/>
                  <a:pt x="389565" y="224785"/>
                  <a:pt x="377357" y="224785"/>
                </a:cubicBezTo>
                <a:cubicBezTo>
                  <a:pt x="365150" y="224785"/>
                  <a:pt x="355027" y="223897"/>
                  <a:pt x="346987" y="222063"/>
                </a:cubicBezTo>
                <a:cubicBezTo>
                  <a:pt x="338949" y="220287"/>
                  <a:pt x="332577" y="217209"/>
                  <a:pt x="327873" y="212948"/>
                </a:cubicBezTo>
                <a:cubicBezTo>
                  <a:pt x="323168" y="208687"/>
                  <a:pt x="319656" y="202768"/>
                  <a:pt x="317273" y="195252"/>
                </a:cubicBezTo>
                <a:cubicBezTo>
                  <a:pt x="314891" y="187676"/>
                  <a:pt x="313343" y="178206"/>
                  <a:pt x="312629" y="166664"/>
                </a:cubicBezTo>
                <a:cubicBezTo>
                  <a:pt x="311855" y="155183"/>
                  <a:pt x="311497" y="141333"/>
                  <a:pt x="311497" y="125177"/>
                </a:cubicBezTo>
                <a:close/>
                <a:moveTo>
                  <a:pt x="2109083" y="2544"/>
                </a:moveTo>
                <a:lnTo>
                  <a:pt x="2169167" y="2544"/>
                </a:lnTo>
                <a:lnTo>
                  <a:pt x="2217342" y="222180"/>
                </a:lnTo>
                <a:lnTo>
                  <a:pt x="2174646" y="222180"/>
                </a:lnTo>
                <a:lnTo>
                  <a:pt x="2165000" y="174300"/>
                </a:lnTo>
                <a:lnTo>
                  <a:pt x="2112299" y="174300"/>
                </a:lnTo>
                <a:lnTo>
                  <a:pt x="2102354" y="222180"/>
                </a:lnTo>
                <a:lnTo>
                  <a:pt x="2060611" y="222180"/>
                </a:lnTo>
                <a:close/>
                <a:moveTo>
                  <a:pt x="1869521" y="2544"/>
                </a:moveTo>
                <a:lnTo>
                  <a:pt x="1911919" y="2544"/>
                </a:lnTo>
                <a:lnTo>
                  <a:pt x="1911919" y="222180"/>
                </a:lnTo>
                <a:lnTo>
                  <a:pt x="1869521" y="222180"/>
                </a:lnTo>
                <a:close/>
                <a:moveTo>
                  <a:pt x="1709931" y="2544"/>
                </a:moveTo>
                <a:lnTo>
                  <a:pt x="1784426" y="2544"/>
                </a:lnTo>
                <a:cubicBezTo>
                  <a:pt x="1796634" y="2544"/>
                  <a:pt x="1806400" y="4083"/>
                  <a:pt x="1813843" y="7160"/>
                </a:cubicBezTo>
                <a:cubicBezTo>
                  <a:pt x="1821226" y="10237"/>
                  <a:pt x="1826825" y="14854"/>
                  <a:pt x="1830516" y="21068"/>
                </a:cubicBezTo>
                <a:cubicBezTo>
                  <a:pt x="1834268" y="27224"/>
                  <a:pt x="1836710" y="34622"/>
                  <a:pt x="1837900" y="43263"/>
                </a:cubicBezTo>
                <a:cubicBezTo>
                  <a:pt x="1839091" y="51904"/>
                  <a:pt x="1839686" y="61729"/>
                  <a:pt x="1839686" y="72797"/>
                </a:cubicBezTo>
                <a:cubicBezTo>
                  <a:pt x="1839686" y="81496"/>
                  <a:pt x="1839210" y="89961"/>
                  <a:pt x="1838258" y="98188"/>
                </a:cubicBezTo>
                <a:cubicBezTo>
                  <a:pt x="1837305" y="106354"/>
                  <a:pt x="1835221" y="113694"/>
                  <a:pt x="1832005" y="120086"/>
                </a:cubicBezTo>
                <a:cubicBezTo>
                  <a:pt x="1828790" y="126478"/>
                  <a:pt x="1823847" y="131449"/>
                  <a:pt x="1817238" y="135119"/>
                </a:cubicBezTo>
                <a:lnTo>
                  <a:pt x="1844213" y="222240"/>
                </a:lnTo>
                <a:lnTo>
                  <a:pt x="1800504" y="222240"/>
                </a:lnTo>
                <a:lnTo>
                  <a:pt x="1778059" y="142623"/>
                </a:lnTo>
                <a:lnTo>
                  <a:pt x="1781269" y="142458"/>
                </a:lnTo>
                <a:cubicBezTo>
                  <a:pt x="1782937" y="142221"/>
                  <a:pt x="1784426" y="142043"/>
                  <a:pt x="1785736" y="141807"/>
                </a:cubicBezTo>
                <a:lnTo>
                  <a:pt x="1776744" y="137960"/>
                </a:lnTo>
                <a:lnTo>
                  <a:pt x="1778059" y="142623"/>
                </a:lnTo>
                <a:lnTo>
                  <a:pt x="1775493" y="142754"/>
                </a:lnTo>
                <a:lnTo>
                  <a:pt x="1752032" y="142754"/>
                </a:lnTo>
                <a:lnTo>
                  <a:pt x="1752032" y="222240"/>
                </a:lnTo>
                <a:lnTo>
                  <a:pt x="1709931" y="222240"/>
                </a:lnTo>
                <a:lnTo>
                  <a:pt x="1709931" y="222180"/>
                </a:lnTo>
                <a:close/>
                <a:moveTo>
                  <a:pt x="1572434" y="2544"/>
                </a:moveTo>
                <a:lnTo>
                  <a:pt x="1680990" y="2544"/>
                </a:lnTo>
                <a:lnTo>
                  <a:pt x="1680990" y="37996"/>
                </a:lnTo>
                <a:lnTo>
                  <a:pt x="1614534" y="37996"/>
                </a:lnTo>
                <a:lnTo>
                  <a:pt x="1614534" y="93511"/>
                </a:lnTo>
                <a:lnTo>
                  <a:pt x="1671998" y="93511"/>
                </a:lnTo>
                <a:lnTo>
                  <a:pt x="1671998" y="128608"/>
                </a:lnTo>
                <a:lnTo>
                  <a:pt x="1614534" y="128608"/>
                </a:lnTo>
                <a:lnTo>
                  <a:pt x="1614534" y="186729"/>
                </a:lnTo>
                <a:lnTo>
                  <a:pt x="1680990" y="186729"/>
                </a:lnTo>
                <a:lnTo>
                  <a:pt x="1680990" y="222180"/>
                </a:lnTo>
                <a:lnTo>
                  <a:pt x="1572434" y="222180"/>
                </a:lnTo>
                <a:close/>
                <a:moveTo>
                  <a:pt x="1349544" y="2544"/>
                </a:moveTo>
                <a:lnTo>
                  <a:pt x="1411832" y="2544"/>
                </a:lnTo>
                <a:lnTo>
                  <a:pt x="1442975" y="156426"/>
                </a:lnTo>
                <a:lnTo>
                  <a:pt x="1445238" y="156426"/>
                </a:lnTo>
                <a:lnTo>
                  <a:pt x="1476381" y="2544"/>
                </a:lnTo>
                <a:lnTo>
                  <a:pt x="1538074" y="2544"/>
                </a:lnTo>
                <a:lnTo>
                  <a:pt x="1538074" y="222180"/>
                </a:lnTo>
                <a:lnTo>
                  <a:pt x="1497283" y="222180"/>
                </a:lnTo>
                <a:lnTo>
                  <a:pt x="1497283" y="60012"/>
                </a:lnTo>
                <a:lnTo>
                  <a:pt x="1495378" y="60012"/>
                </a:lnTo>
                <a:lnTo>
                  <a:pt x="1461673" y="222180"/>
                </a:lnTo>
                <a:lnTo>
                  <a:pt x="1424753" y="222180"/>
                </a:lnTo>
                <a:lnTo>
                  <a:pt x="1391644" y="60012"/>
                </a:lnTo>
                <a:lnTo>
                  <a:pt x="1389084" y="60012"/>
                </a:lnTo>
                <a:lnTo>
                  <a:pt x="1389084" y="222180"/>
                </a:lnTo>
                <a:lnTo>
                  <a:pt x="1349604" y="222180"/>
                </a:lnTo>
                <a:lnTo>
                  <a:pt x="1349544" y="222180"/>
                </a:lnTo>
                <a:close/>
                <a:moveTo>
                  <a:pt x="1221038" y="2544"/>
                </a:moveTo>
                <a:lnTo>
                  <a:pt x="1281122" y="2544"/>
                </a:lnTo>
                <a:lnTo>
                  <a:pt x="1329297" y="222180"/>
                </a:lnTo>
                <a:lnTo>
                  <a:pt x="1286601" y="222180"/>
                </a:lnTo>
                <a:lnTo>
                  <a:pt x="1276955" y="174300"/>
                </a:lnTo>
                <a:lnTo>
                  <a:pt x="1224254" y="174300"/>
                </a:lnTo>
                <a:lnTo>
                  <a:pt x="1214309" y="222180"/>
                </a:lnTo>
                <a:lnTo>
                  <a:pt x="1172566" y="222180"/>
                </a:lnTo>
                <a:close/>
                <a:moveTo>
                  <a:pt x="951940" y="2544"/>
                </a:moveTo>
                <a:lnTo>
                  <a:pt x="1060496" y="2544"/>
                </a:lnTo>
                <a:lnTo>
                  <a:pt x="1060496" y="37996"/>
                </a:lnTo>
                <a:lnTo>
                  <a:pt x="994040" y="37996"/>
                </a:lnTo>
                <a:lnTo>
                  <a:pt x="994040" y="93511"/>
                </a:lnTo>
                <a:lnTo>
                  <a:pt x="1051504" y="93511"/>
                </a:lnTo>
                <a:lnTo>
                  <a:pt x="1051504" y="128608"/>
                </a:lnTo>
                <a:lnTo>
                  <a:pt x="994040" y="128608"/>
                </a:lnTo>
                <a:lnTo>
                  <a:pt x="994040" y="186729"/>
                </a:lnTo>
                <a:lnTo>
                  <a:pt x="1060496" y="186729"/>
                </a:lnTo>
                <a:lnTo>
                  <a:pt x="1060496" y="222180"/>
                </a:lnTo>
                <a:lnTo>
                  <a:pt x="951940" y="222180"/>
                </a:lnTo>
                <a:close/>
                <a:moveTo>
                  <a:pt x="800032" y="2544"/>
                </a:moveTo>
                <a:lnTo>
                  <a:pt x="872919" y="2544"/>
                </a:lnTo>
                <a:cubicBezTo>
                  <a:pt x="884055" y="2544"/>
                  <a:pt x="893285" y="4023"/>
                  <a:pt x="900550" y="6983"/>
                </a:cubicBezTo>
                <a:cubicBezTo>
                  <a:pt x="907814" y="9942"/>
                  <a:pt x="913412" y="14440"/>
                  <a:pt x="917224" y="20418"/>
                </a:cubicBezTo>
                <a:cubicBezTo>
                  <a:pt x="921093" y="26396"/>
                  <a:pt x="923774" y="33912"/>
                  <a:pt x="925262" y="43086"/>
                </a:cubicBezTo>
                <a:cubicBezTo>
                  <a:pt x="926751" y="52260"/>
                  <a:pt x="927525" y="63208"/>
                  <a:pt x="927525" y="75934"/>
                </a:cubicBezTo>
                <a:cubicBezTo>
                  <a:pt x="927525" y="88658"/>
                  <a:pt x="926811" y="98720"/>
                  <a:pt x="925441" y="107835"/>
                </a:cubicBezTo>
                <a:cubicBezTo>
                  <a:pt x="924071" y="116949"/>
                  <a:pt x="921451" y="124642"/>
                  <a:pt x="917580" y="130798"/>
                </a:cubicBezTo>
                <a:cubicBezTo>
                  <a:pt x="913710" y="136954"/>
                  <a:pt x="908172" y="141570"/>
                  <a:pt x="900907" y="144529"/>
                </a:cubicBezTo>
                <a:cubicBezTo>
                  <a:pt x="893642" y="147488"/>
                  <a:pt x="884233" y="149027"/>
                  <a:pt x="872621" y="149027"/>
                </a:cubicBezTo>
                <a:lnTo>
                  <a:pt x="842133" y="149027"/>
                </a:lnTo>
                <a:lnTo>
                  <a:pt x="842133" y="222121"/>
                </a:lnTo>
                <a:lnTo>
                  <a:pt x="800032" y="222121"/>
                </a:lnTo>
                <a:close/>
                <a:moveTo>
                  <a:pt x="476268" y="2544"/>
                </a:moveTo>
                <a:lnTo>
                  <a:pt x="550763" y="2544"/>
                </a:lnTo>
                <a:cubicBezTo>
                  <a:pt x="562971" y="2544"/>
                  <a:pt x="572736" y="4083"/>
                  <a:pt x="580180" y="7160"/>
                </a:cubicBezTo>
                <a:cubicBezTo>
                  <a:pt x="587564" y="10237"/>
                  <a:pt x="593162" y="14854"/>
                  <a:pt x="596853" y="21068"/>
                </a:cubicBezTo>
                <a:cubicBezTo>
                  <a:pt x="600605" y="27224"/>
                  <a:pt x="603047" y="34622"/>
                  <a:pt x="604237" y="43263"/>
                </a:cubicBezTo>
                <a:cubicBezTo>
                  <a:pt x="605428" y="51904"/>
                  <a:pt x="606024" y="61729"/>
                  <a:pt x="606024" y="72797"/>
                </a:cubicBezTo>
                <a:cubicBezTo>
                  <a:pt x="606024" y="81496"/>
                  <a:pt x="605547" y="89961"/>
                  <a:pt x="604595" y="98188"/>
                </a:cubicBezTo>
                <a:cubicBezTo>
                  <a:pt x="603642" y="106354"/>
                  <a:pt x="601557" y="113694"/>
                  <a:pt x="598343" y="120086"/>
                </a:cubicBezTo>
                <a:cubicBezTo>
                  <a:pt x="595127" y="126478"/>
                  <a:pt x="590184" y="131449"/>
                  <a:pt x="583574" y="135119"/>
                </a:cubicBezTo>
                <a:lnTo>
                  <a:pt x="610550" y="222240"/>
                </a:lnTo>
                <a:lnTo>
                  <a:pt x="566841" y="222240"/>
                </a:lnTo>
                <a:lnTo>
                  <a:pt x="544396" y="142623"/>
                </a:lnTo>
                <a:lnTo>
                  <a:pt x="547607" y="142458"/>
                </a:lnTo>
                <a:cubicBezTo>
                  <a:pt x="549274" y="142221"/>
                  <a:pt x="550763" y="142043"/>
                  <a:pt x="552073" y="141807"/>
                </a:cubicBezTo>
                <a:lnTo>
                  <a:pt x="543081" y="137960"/>
                </a:lnTo>
                <a:lnTo>
                  <a:pt x="544396" y="142623"/>
                </a:lnTo>
                <a:lnTo>
                  <a:pt x="541831" y="142754"/>
                </a:lnTo>
                <a:lnTo>
                  <a:pt x="518369" y="142754"/>
                </a:lnTo>
                <a:lnTo>
                  <a:pt x="518369" y="222240"/>
                </a:lnTo>
                <a:lnTo>
                  <a:pt x="476268" y="222240"/>
                </a:lnTo>
                <a:lnTo>
                  <a:pt x="476268" y="222180"/>
                </a:lnTo>
                <a:close/>
                <a:moveTo>
                  <a:pt x="175667" y="2544"/>
                </a:moveTo>
                <a:lnTo>
                  <a:pt x="284223" y="2544"/>
                </a:lnTo>
                <a:lnTo>
                  <a:pt x="284223" y="37996"/>
                </a:lnTo>
                <a:lnTo>
                  <a:pt x="217767" y="37996"/>
                </a:lnTo>
                <a:lnTo>
                  <a:pt x="217767" y="93511"/>
                </a:lnTo>
                <a:lnTo>
                  <a:pt x="275231" y="93511"/>
                </a:lnTo>
                <a:lnTo>
                  <a:pt x="275231" y="128608"/>
                </a:lnTo>
                <a:lnTo>
                  <a:pt x="217767" y="128608"/>
                </a:lnTo>
                <a:lnTo>
                  <a:pt x="217767" y="186729"/>
                </a:lnTo>
                <a:lnTo>
                  <a:pt x="284223" y="186729"/>
                </a:lnTo>
                <a:lnTo>
                  <a:pt x="284223" y="222180"/>
                </a:lnTo>
                <a:lnTo>
                  <a:pt x="175667" y="222180"/>
                </a:lnTo>
                <a:close/>
                <a:moveTo>
                  <a:pt x="700466" y="118"/>
                </a:moveTo>
                <a:cubicBezTo>
                  <a:pt x="712673" y="118"/>
                  <a:pt x="722559" y="887"/>
                  <a:pt x="730836" y="2367"/>
                </a:cubicBezTo>
                <a:cubicBezTo>
                  <a:pt x="739053" y="3847"/>
                  <a:pt x="745782" y="6805"/>
                  <a:pt x="750904" y="11126"/>
                </a:cubicBezTo>
                <a:cubicBezTo>
                  <a:pt x="756025" y="15506"/>
                  <a:pt x="759955" y="21839"/>
                  <a:pt x="762635" y="30125"/>
                </a:cubicBezTo>
                <a:cubicBezTo>
                  <a:pt x="765314" y="38411"/>
                  <a:pt x="767160" y="49301"/>
                  <a:pt x="768113" y="62677"/>
                </a:cubicBezTo>
                <a:cubicBezTo>
                  <a:pt x="769066" y="76112"/>
                  <a:pt x="769543" y="92683"/>
                  <a:pt x="769543" y="112452"/>
                </a:cubicBezTo>
                <a:cubicBezTo>
                  <a:pt x="769543" y="132219"/>
                  <a:pt x="769066" y="148850"/>
                  <a:pt x="768113" y="162227"/>
                </a:cubicBezTo>
                <a:cubicBezTo>
                  <a:pt x="767160" y="175662"/>
                  <a:pt x="765314" y="186493"/>
                  <a:pt x="762635" y="194778"/>
                </a:cubicBezTo>
                <a:cubicBezTo>
                  <a:pt x="759955" y="203064"/>
                  <a:pt x="756025" y="209397"/>
                  <a:pt x="750904" y="213777"/>
                </a:cubicBezTo>
                <a:cubicBezTo>
                  <a:pt x="745782" y="218156"/>
                  <a:pt x="739053" y="221057"/>
                  <a:pt x="730836" y="222536"/>
                </a:cubicBezTo>
                <a:cubicBezTo>
                  <a:pt x="722618" y="224016"/>
                  <a:pt x="712496" y="224785"/>
                  <a:pt x="700466" y="224785"/>
                </a:cubicBezTo>
                <a:cubicBezTo>
                  <a:pt x="688260" y="224785"/>
                  <a:pt x="678017" y="224016"/>
                  <a:pt x="669800" y="222536"/>
                </a:cubicBezTo>
                <a:cubicBezTo>
                  <a:pt x="661581" y="221057"/>
                  <a:pt x="654912" y="218156"/>
                  <a:pt x="649910" y="213777"/>
                </a:cubicBezTo>
                <a:cubicBezTo>
                  <a:pt x="644848" y="209397"/>
                  <a:pt x="641037" y="203064"/>
                  <a:pt x="638358" y="194778"/>
                </a:cubicBezTo>
                <a:cubicBezTo>
                  <a:pt x="635677" y="186493"/>
                  <a:pt x="633831" y="175602"/>
                  <a:pt x="632879" y="162227"/>
                </a:cubicBezTo>
                <a:cubicBezTo>
                  <a:pt x="631926" y="148850"/>
                  <a:pt x="631450" y="132219"/>
                  <a:pt x="631450" y="112452"/>
                </a:cubicBezTo>
                <a:cubicBezTo>
                  <a:pt x="631450" y="92683"/>
                  <a:pt x="631926" y="76052"/>
                  <a:pt x="632879" y="62677"/>
                </a:cubicBezTo>
                <a:cubicBezTo>
                  <a:pt x="633831" y="49301"/>
                  <a:pt x="635677" y="38411"/>
                  <a:pt x="638358" y="30125"/>
                </a:cubicBezTo>
                <a:cubicBezTo>
                  <a:pt x="641037" y="21839"/>
                  <a:pt x="644908" y="15506"/>
                  <a:pt x="649910" y="11126"/>
                </a:cubicBezTo>
                <a:cubicBezTo>
                  <a:pt x="654912" y="6746"/>
                  <a:pt x="661581" y="3847"/>
                  <a:pt x="669800" y="2367"/>
                </a:cubicBezTo>
                <a:cubicBezTo>
                  <a:pt x="678017" y="887"/>
                  <a:pt x="688260" y="118"/>
                  <a:pt x="700466" y="118"/>
                </a:cubicBezTo>
                <a:close/>
                <a:moveTo>
                  <a:pt x="2010472" y="0"/>
                </a:moveTo>
                <a:cubicBezTo>
                  <a:pt x="2014997" y="0"/>
                  <a:pt x="2019643" y="236"/>
                  <a:pt x="2024466" y="651"/>
                </a:cubicBezTo>
                <a:cubicBezTo>
                  <a:pt x="2029289" y="1065"/>
                  <a:pt x="2033755" y="1657"/>
                  <a:pt x="2037983" y="2426"/>
                </a:cubicBezTo>
                <a:cubicBezTo>
                  <a:pt x="2042152" y="3196"/>
                  <a:pt x="2045546" y="4083"/>
                  <a:pt x="2048107" y="5149"/>
                </a:cubicBezTo>
                <a:lnTo>
                  <a:pt x="2048107" y="37701"/>
                </a:lnTo>
                <a:cubicBezTo>
                  <a:pt x="2044235" y="37287"/>
                  <a:pt x="2040544" y="36872"/>
                  <a:pt x="2037031" y="36458"/>
                </a:cubicBezTo>
                <a:cubicBezTo>
                  <a:pt x="2033518" y="36044"/>
                  <a:pt x="2030242" y="35747"/>
                  <a:pt x="2027205" y="35689"/>
                </a:cubicBezTo>
                <a:cubicBezTo>
                  <a:pt x="2024227" y="35570"/>
                  <a:pt x="2021548" y="35511"/>
                  <a:pt x="2019166" y="35511"/>
                </a:cubicBezTo>
                <a:cubicBezTo>
                  <a:pt x="2012496" y="35511"/>
                  <a:pt x="2007138" y="35984"/>
                  <a:pt x="2002969" y="36931"/>
                </a:cubicBezTo>
                <a:cubicBezTo>
                  <a:pt x="1998800" y="37879"/>
                  <a:pt x="1995405" y="39772"/>
                  <a:pt x="1992845" y="42554"/>
                </a:cubicBezTo>
                <a:cubicBezTo>
                  <a:pt x="1990285" y="45336"/>
                  <a:pt x="1988439" y="49538"/>
                  <a:pt x="1987367" y="55160"/>
                </a:cubicBezTo>
                <a:cubicBezTo>
                  <a:pt x="1986295" y="60783"/>
                  <a:pt x="1985581" y="68240"/>
                  <a:pt x="1985283" y="77532"/>
                </a:cubicBezTo>
                <a:cubicBezTo>
                  <a:pt x="1984985" y="86765"/>
                  <a:pt x="1984806" y="98424"/>
                  <a:pt x="1984806" y="112511"/>
                </a:cubicBezTo>
                <a:cubicBezTo>
                  <a:pt x="1984806" y="126597"/>
                  <a:pt x="1984985" y="138198"/>
                  <a:pt x="1985283" y="147489"/>
                </a:cubicBezTo>
                <a:cubicBezTo>
                  <a:pt x="1985581" y="156722"/>
                  <a:pt x="1986295" y="164179"/>
                  <a:pt x="1987367" y="169861"/>
                </a:cubicBezTo>
                <a:cubicBezTo>
                  <a:pt x="1988439" y="175483"/>
                  <a:pt x="1990225" y="179745"/>
                  <a:pt x="1992666" y="182645"/>
                </a:cubicBezTo>
                <a:cubicBezTo>
                  <a:pt x="1995108" y="185486"/>
                  <a:pt x="1998443" y="187380"/>
                  <a:pt x="2002611" y="188209"/>
                </a:cubicBezTo>
                <a:cubicBezTo>
                  <a:pt x="2006780" y="189037"/>
                  <a:pt x="2012318" y="189451"/>
                  <a:pt x="2019166" y="189451"/>
                </a:cubicBezTo>
                <a:cubicBezTo>
                  <a:pt x="2024942" y="189451"/>
                  <a:pt x="2030302" y="189215"/>
                  <a:pt x="2035244" y="188801"/>
                </a:cubicBezTo>
                <a:cubicBezTo>
                  <a:pt x="2040187" y="188386"/>
                  <a:pt x="2044653" y="187853"/>
                  <a:pt x="2048762" y="187203"/>
                </a:cubicBezTo>
                <a:lnTo>
                  <a:pt x="2048762" y="219754"/>
                </a:lnTo>
                <a:cubicBezTo>
                  <a:pt x="2045784" y="220819"/>
                  <a:pt x="2042092" y="221708"/>
                  <a:pt x="2037685" y="222477"/>
                </a:cubicBezTo>
                <a:cubicBezTo>
                  <a:pt x="2033279" y="223187"/>
                  <a:pt x="2028753" y="223779"/>
                  <a:pt x="2024049" y="224193"/>
                </a:cubicBezTo>
                <a:cubicBezTo>
                  <a:pt x="2019344" y="224607"/>
                  <a:pt x="2014819" y="224844"/>
                  <a:pt x="2010531" y="224844"/>
                </a:cubicBezTo>
                <a:lnTo>
                  <a:pt x="2010531" y="224785"/>
                </a:lnTo>
                <a:cubicBezTo>
                  <a:pt x="1998323" y="224785"/>
                  <a:pt x="1988081" y="223601"/>
                  <a:pt x="1979863" y="221293"/>
                </a:cubicBezTo>
                <a:cubicBezTo>
                  <a:pt x="1971646" y="218985"/>
                  <a:pt x="1965037" y="215197"/>
                  <a:pt x="1960094" y="210107"/>
                </a:cubicBezTo>
                <a:cubicBezTo>
                  <a:pt x="1955151" y="205018"/>
                  <a:pt x="1951400" y="198151"/>
                  <a:pt x="1948839" y="189510"/>
                </a:cubicBezTo>
                <a:cubicBezTo>
                  <a:pt x="1946279" y="180869"/>
                  <a:pt x="1944552" y="170216"/>
                  <a:pt x="1943717" y="157432"/>
                </a:cubicBezTo>
                <a:cubicBezTo>
                  <a:pt x="1942884" y="144649"/>
                  <a:pt x="1942408" y="129674"/>
                  <a:pt x="1942408" y="112392"/>
                </a:cubicBezTo>
                <a:cubicBezTo>
                  <a:pt x="1942408" y="95110"/>
                  <a:pt x="1942824" y="79900"/>
                  <a:pt x="1943717" y="67234"/>
                </a:cubicBezTo>
                <a:cubicBezTo>
                  <a:pt x="1944552" y="54569"/>
                  <a:pt x="1946279" y="43915"/>
                  <a:pt x="1948839" y="35333"/>
                </a:cubicBezTo>
                <a:cubicBezTo>
                  <a:pt x="1951400" y="26692"/>
                  <a:pt x="1955211" y="19827"/>
                  <a:pt x="1960212" y="14560"/>
                </a:cubicBezTo>
                <a:cubicBezTo>
                  <a:pt x="1965214" y="9351"/>
                  <a:pt x="1971825" y="5622"/>
                  <a:pt x="1979983" y="3374"/>
                </a:cubicBezTo>
                <a:cubicBezTo>
                  <a:pt x="1988141" y="1125"/>
                  <a:pt x="1998265" y="0"/>
                  <a:pt x="2010472" y="0"/>
                </a:cubicBezTo>
                <a:close/>
              </a:path>
            </a:pathLst>
          </a:custGeom>
          <a:solidFill>
            <a:schemeClr val="bg1"/>
          </a:solidFill>
          <a:ln w="5161" cap="flat">
            <a:noFill/>
            <a:prstDash val="solid"/>
            <a:miter/>
          </a:ln>
          <a:effectLst>
            <a:outerShdw blurRad="166676" sx="102000" sy="102000" algn="ctr" rotWithShape="0">
              <a:prstClr val="black"/>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291" name="Forma libre 290">
            <a:extLst>
              <a:ext uri="{FF2B5EF4-FFF2-40B4-BE49-F238E27FC236}">
                <a16:creationId xmlns:a16="http://schemas.microsoft.com/office/drawing/2014/main" id="{9180F3B6-CC0C-AB0D-F8F5-605C2E0239EF}"/>
              </a:ext>
            </a:extLst>
          </p:cNvPr>
          <p:cNvSpPr/>
          <p:nvPr/>
        </p:nvSpPr>
        <p:spPr>
          <a:xfrm>
            <a:off x="9901827" y="2827804"/>
            <a:ext cx="1553294" cy="823120"/>
          </a:xfrm>
          <a:custGeom>
            <a:avLst/>
            <a:gdLst>
              <a:gd name="connsiteX0" fmla="*/ 1036260 w 1707029"/>
              <a:gd name="connsiteY0" fmla="*/ 827646 h 904588"/>
              <a:gd name="connsiteX1" fmla="*/ 1046741 w 1707029"/>
              <a:gd name="connsiteY1" fmla="*/ 831967 h 904588"/>
              <a:gd name="connsiteX2" fmla="*/ 1051028 w 1707029"/>
              <a:gd name="connsiteY2" fmla="*/ 842443 h 904588"/>
              <a:gd name="connsiteX3" fmla="*/ 1046741 w 1707029"/>
              <a:gd name="connsiteY3" fmla="*/ 852741 h 904588"/>
              <a:gd name="connsiteX4" fmla="*/ 1036260 w 1707029"/>
              <a:gd name="connsiteY4" fmla="*/ 857062 h 904588"/>
              <a:gd name="connsiteX5" fmla="*/ 1025898 w 1707029"/>
              <a:gd name="connsiteY5" fmla="*/ 852741 h 904588"/>
              <a:gd name="connsiteX6" fmla="*/ 1021552 w 1707029"/>
              <a:gd name="connsiteY6" fmla="*/ 842443 h 904588"/>
              <a:gd name="connsiteX7" fmla="*/ 1025898 w 1707029"/>
              <a:gd name="connsiteY7" fmla="*/ 831967 h 904588"/>
              <a:gd name="connsiteX8" fmla="*/ 1036260 w 1707029"/>
              <a:gd name="connsiteY8" fmla="*/ 827646 h 904588"/>
              <a:gd name="connsiteX9" fmla="*/ 373965 w 1707029"/>
              <a:gd name="connsiteY9" fmla="*/ 755973 h 904588"/>
              <a:gd name="connsiteX10" fmla="*/ 354671 w 1707029"/>
              <a:gd name="connsiteY10" fmla="*/ 761181 h 904588"/>
              <a:gd name="connsiteX11" fmla="*/ 341034 w 1707029"/>
              <a:gd name="connsiteY11" fmla="*/ 775386 h 904588"/>
              <a:gd name="connsiteX12" fmla="*/ 336031 w 1707029"/>
              <a:gd name="connsiteY12" fmla="*/ 795864 h 904588"/>
              <a:gd name="connsiteX13" fmla="*/ 341034 w 1707029"/>
              <a:gd name="connsiteY13" fmla="*/ 816106 h 904588"/>
              <a:gd name="connsiteX14" fmla="*/ 354671 w 1707029"/>
              <a:gd name="connsiteY14" fmla="*/ 830310 h 904588"/>
              <a:gd name="connsiteX15" fmla="*/ 373965 w 1707029"/>
              <a:gd name="connsiteY15" fmla="*/ 835519 h 904588"/>
              <a:gd name="connsiteX16" fmla="*/ 393377 w 1707029"/>
              <a:gd name="connsiteY16" fmla="*/ 830310 h 904588"/>
              <a:gd name="connsiteX17" fmla="*/ 406835 w 1707029"/>
              <a:gd name="connsiteY17" fmla="*/ 816106 h 904588"/>
              <a:gd name="connsiteX18" fmla="*/ 411718 w 1707029"/>
              <a:gd name="connsiteY18" fmla="*/ 795864 h 904588"/>
              <a:gd name="connsiteX19" fmla="*/ 406835 w 1707029"/>
              <a:gd name="connsiteY19" fmla="*/ 775386 h 904588"/>
              <a:gd name="connsiteX20" fmla="*/ 393377 w 1707029"/>
              <a:gd name="connsiteY20" fmla="*/ 761181 h 904588"/>
              <a:gd name="connsiteX21" fmla="*/ 1133741 w 1707029"/>
              <a:gd name="connsiteY21" fmla="*/ 755914 h 904588"/>
              <a:gd name="connsiteX22" fmla="*/ 1114091 w 1707029"/>
              <a:gd name="connsiteY22" fmla="*/ 761004 h 904588"/>
              <a:gd name="connsiteX23" fmla="*/ 1100632 w 1707029"/>
              <a:gd name="connsiteY23" fmla="*/ 775091 h 904588"/>
              <a:gd name="connsiteX24" fmla="*/ 1095749 w 1707029"/>
              <a:gd name="connsiteY24" fmla="*/ 795745 h 904588"/>
              <a:gd name="connsiteX25" fmla="*/ 1100632 w 1707029"/>
              <a:gd name="connsiteY25" fmla="*/ 816342 h 904588"/>
              <a:gd name="connsiteX26" fmla="*/ 1114091 w 1707029"/>
              <a:gd name="connsiteY26" fmla="*/ 830369 h 904588"/>
              <a:gd name="connsiteX27" fmla="*/ 1133741 w 1707029"/>
              <a:gd name="connsiteY27" fmla="*/ 835459 h 904588"/>
              <a:gd name="connsiteX28" fmla="*/ 1153392 w 1707029"/>
              <a:gd name="connsiteY28" fmla="*/ 830369 h 904588"/>
              <a:gd name="connsiteX29" fmla="*/ 1166731 w 1707029"/>
              <a:gd name="connsiteY29" fmla="*/ 816342 h 904588"/>
              <a:gd name="connsiteX30" fmla="*/ 1171554 w 1707029"/>
              <a:gd name="connsiteY30" fmla="*/ 795745 h 904588"/>
              <a:gd name="connsiteX31" fmla="*/ 1166731 w 1707029"/>
              <a:gd name="connsiteY31" fmla="*/ 775091 h 904588"/>
              <a:gd name="connsiteX32" fmla="*/ 1153392 w 1707029"/>
              <a:gd name="connsiteY32" fmla="*/ 761004 h 904588"/>
              <a:gd name="connsiteX33" fmla="*/ 1133741 w 1707029"/>
              <a:gd name="connsiteY33" fmla="*/ 755914 h 904588"/>
              <a:gd name="connsiteX34" fmla="*/ 1500023 w 1707029"/>
              <a:gd name="connsiteY34" fmla="*/ 755028 h 904588"/>
              <a:gd name="connsiteX35" fmla="*/ 1479181 w 1707029"/>
              <a:gd name="connsiteY35" fmla="*/ 760354 h 904588"/>
              <a:gd name="connsiteX36" fmla="*/ 1479241 w 1707029"/>
              <a:gd name="connsiteY36" fmla="*/ 760354 h 904588"/>
              <a:gd name="connsiteX37" fmla="*/ 1466139 w 1707029"/>
              <a:gd name="connsiteY37" fmla="*/ 774855 h 904588"/>
              <a:gd name="connsiteX38" fmla="*/ 1462626 w 1707029"/>
              <a:gd name="connsiteY38" fmla="*/ 786218 h 904588"/>
              <a:gd name="connsiteX39" fmla="*/ 1533310 w 1707029"/>
              <a:gd name="connsiteY39" fmla="*/ 786218 h 904588"/>
              <a:gd name="connsiteX40" fmla="*/ 1529737 w 1707029"/>
              <a:gd name="connsiteY40" fmla="*/ 773138 h 904588"/>
              <a:gd name="connsiteX41" fmla="*/ 1518185 w 1707029"/>
              <a:gd name="connsiteY41" fmla="*/ 759880 h 904588"/>
              <a:gd name="connsiteX42" fmla="*/ 1500023 w 1707029"/>
              <a:gd name="connsiteY42" fmla="*/ 755028 h 904588"/>
              <a:gd name="connsiteX43" fmla="*/ 1371756 w 1707029"/>
              <a:gd name="connsiteY43" fmla="*/ 755028 h 904588"/>
              <a:gd name="connsiteX44" fmla="*/ 1350913 w 1707029"/>
              <a:gd name="connsiteY44" fmla="*/ 760354 h 904588"/>
              <a:gd name="connsiteX45" fmla="*/ 1350973 w 1707029"/>
              <a:gd name="connsiteY45" fmla="*/ 760354 h 904588"/>
              <a:gd name="connsiteX46" fmla="*/ 1337872 w 1707029"/>
              <a:gd name="connsiteY46" fmla="*/ 774855 h 904588"/>
              <a:gd name="connsiteX47" fmla="*/ 1334359 w 1707029"/>
              <a:gd name="connsiteY47" fmla="*/ 786218 h 904588"/>
              <a:gd name="connsiteX48" fmla="*/ 1405042 w 1707029"/>
              <a:gd name="connsiteY48" fmla="*/ 786218 h 904588"/>
              <a:gd name="connsiteX49" fmla="*/ 1401470 w 1707029"/>
              <a:gd name="connsiteY49" fmla="*/ 773138 h 904588"/>
              <a:gd name="connsiteX50" fmla="*/ 1389918 w 1707029"/>
              <a:gd name="connsiteY50" fmla="*/ 759880 h 904588"/>
              <a:gd name="connsiteX51" fmla="*/ 1371756 w 1707029"/>
              <a:gd name="connsiteY51" fmla="*/ 755028 h 904588"/>
              <a:gd name="connsiteX52" fmla="*/ 602391 w 1707029"/>
              <a:gd name="connsiteY52" fmla="*/ 755028 h 904588"/>
              <a:gd name="connsiteX53" fmla="*/ 581549 w 1707029"/>
              <a:gd name="connsiteY53" fmla="*/ 760354 h 904588"/>
              <a:gd name="connsiteX54" fmla="*/ 581609 w 1707029"/>
              <a:gd name="connsiteY54" fmla="*/ 760354 h 904588"/>
              <a:gd name="connsiteX55" fmla="*/ 568508 w 1707029"/>
              <a:gd name="connsiteY55" fmla="*/ 774855 h 904588"/>
              <a:gd name="connsiteX56" fmla="*/ 564994 w 1707029"/>
              <a:gd name="connsiteY56" fmla="*/ 786218 h 904588"/>
              <a:gd name="connsiteX57" fmla="*/ 635679 w 1707029"/>
              <a:gd name="connsiteY57" fmla="*/ 786218 h 904588"/>
              <a:gd name="connsiteX58" fmla="*/ 632105 w 1707029"/>
              <a:gd name="connsiteY58" fmla="*/ 773138 h 904588"/>
              <a:gd name="connsiteX59" fmla="*/ 620553 w 1707029"/>
              <a:gd name="connsiteY59" fmla="*/ 759880 h 904588"/>
              <a:gd name="connsiteX60" fmla="*/ 795923 w 1707029"/>
              <a:gd name="connsiteY60" fmla="*/ 738218 h 904588"/>
              <a:gd name="connsiteX61" fmla="*/ 801460 w 1707029"/>
              <a:gd name="connsiteY61" fmla="*/ 743604 h 904588"/>
              <a:gd name="connsiteX62" fmla="*/ 840584 w 1707029"/>
              <a:gd name="connsiteY62" fmla="*/ 820840 h 904588"/>
              <a:gd name="connsiteX63" fmla="*/ 874884 w 1707029"/>
              <a:gd name="connsiteY63" fmla="*/ 743841 h 904588"/>
              <a:gd name="connsiteX64" fmla="*/ 888343 w 1707029"/>
              <a:gd name="connsiteY64" fmla="*/ 738750 h 904588"/>
              <a:gd name="connsiteX65" fmla="*/ 888343 w 1707029"/>
              <a:gd name="connsiteY65" fmla="*/ 738691 h 904588"/>
              <a:gd name="connsiteX66" fmla="*/ 893701 w 1707029"/>
              <a:gd name="connsiteY66" fmla="*/ 752068 h 904588"/>
              <a:gd name="connsiteX67" fmla="*/ 828377 w 1707029"/>
              <a:gd name="connsiteY67" fmla="*/ 898019 h 904588"/>
              <a:gd name="connsiteX68" fmla="*/ 820039 w 1707029"/>
              <a:gd name="connsiteY68" fmla="*/ 904588 h 904588"/>
              <a:gd name="connsiteX69" fmla="*/ 814919 w 1707029"/>
              <a:gd name="connsiteY69" fmla="*/ 903346 h 904588"/>
              <a:gd name="connsiteX70" fmla="*/ 809798 w 1707029"/>
              <a:gd name="connsiteY70" fmla="*/ 889969 h 904588"/>
              <a:gd name="connsiteX71" fmla="*/ 831057 w 1707029"/>
              <a:gd name="connsiteY71" fmla="*/ 842207 h 904588"/>
              <a:gd name="connsiteX72" fmla="*/ 783120 w 1707029"/>
              <a:gd name="connsiteY72" fmla="*/ 751653 h 904588"/>
              <a:gd name="connsiteX73" fmla="*/ 782584 w 1707029"/>
              <a:gd name="connsiteY73" fmla="*/ 743900 h 904588"/>
              <a:gd name="connsiteX74" fmla="*/ 788241 w 1707029"/>
              <a:gd name="connsiteY74" fmla="*/ 738514 h 904588"/>
              <a:gd name="connsiteX75" fmla="*/ 795923 w 1707029"/>
              <a:gd name="connsiteY75" fmla="*/ 738218 h 904588"/>
              <a:gd name="connsiteX76" fmla="*/ 1133741 w 1707029"/>
              <a:gd name="connsiteY76" fmla="*/ 736856 h 904588"/>
              <a:gd name="connsiteX77" fmla="*/ 1164051 w 1707029"/>
              <a:gd name="connsiteY77" fmla="*/ 744372 h 904588"/>
              <a:gd name="connsiteX78" fmla="*/ 1184834 w 1707029"/>
              <a:gd name="connsiteY78" fmla="*/ 765147 h 904588"/>
              <a:gd name="connsiteX79" fmla="*/ 1192396 w 1707029"/>
              <a:gd name="connsiteY79" fmla="*/ 795805 h 904588"/>
              <a:gd name="connsiteX80" fmla="*/ 1192396 w 1707029"/>
              <a:gd name="connsiteY80" fmla="*/ 841615 h 904588"/>
              <a:gd name="connsiteX81" fmla="*/ 1184953 w 1707029"/>
              <a:gd name="connsiteY81" fmla="*/ 872036 h 904588"/>
              <a:gd name="connsiteX82" fmla="*/ 1164170 w 1707029"/>
              <a:gd name="connsiteY82" fmla="*/ 893757 h 904588"/>
              <a:gd name="connsiteX83" fmla="*/ 1133324 w 1707029"/>
              <a:gd name="connsiteY83" fmla="*/ 901806 h 904588"/>
              <a:gd name="connsiteX84" fmla="*/ 1104920 w 1707029"/>
              <a:gd name="connsiteY84" fmla="*/ 895887 h 904588"/>
              <a:gd name="connsiteX85" fmla="*/ 1082530 w 1707029"/>
              <a:gd name="connsiteY85" fmla="*/ 878488 h 904588"/>
              <a:gd name="connsiteX86" fmla="*/ 1080505 w 1707029"/>
              <a:gd name="connsiteY86" fmla="*/ 871089 h 904588"/>
              <a:gd name="connsiteX87" fmla="*/ 1084674 w 1707029"/>
              <a:gd name="connsiteY87" fmla="*/ 864934 h 904588"/>
              <a:gd name="connsiteX88" fmla="*/ 1092653 w 1707029"/>
              <a:gd name="connsiteY88" fmla="*/ 863218 h 904588"/>
              <a:gd name="connsiteX89" fmla="*/ 1099382 w 1707029"/>
              <a:gd name="connsiteY89" fmla="*/ 867479 h 904588"/>
              <a:gd name="connsiteX90" fmla="*/ 1113912 w 1707029"/>
              <a:gd name="connsiteY90" fmla="*/ 878724 h 904588"/>
              <a:gd name="connsiteX91" fmla="*/ 1133741 w 1707029"/>
              <a:gd name="connsiteY91" fmla="*/ 882749 h 904588"/>
              <a:gd name="connsiteX92" fmla="*/ 1152618 w 1707029"/>
              <a:gd name="connsiteY92" fmla="*/ 877896 h 904588"/>
              <a:gd name="connsiteX93" fmla="*/ 1166374 w 1707029"/>
              <a:gd name="connsiteY93" fmla="*/ 863454 h 904588"/>
              <a:gd name="connsiteX94" fmla="*/ 1171494 w 1707029"/>
              <a:gd name="connsiteY94" fmla="*/ 840135 h 904588"/>
              <a:gd name="connsiteX95" fmla="*/ 1171494 w 1707029"/>
              <a:gd name="connsiteY95" fmla="*/ 829422 h 904588"/>
              <a:gd name="connsiteX96" fmla="*/ 1155477 w 1707029"/>
              <a:gd name="connsiteY96" fmla="*/ 847001 h 904588"/>
              <a:gd name="connsiteX97" fmla="*/ 1129454 w 1707029"/>
              <a:gd name="connsiteY97" fmla="*/ 854517 h 904588"/>
              <a:gd name="connsiteX98" fmla="*/ 1101169 w 1707029"/>
              <a:gd name="connsiteY98" fmla="*/ 847001 h 904588"/>
              <a:gd name="connsiteX99" fmla="*/ 1081875 w 1707029"/>
              <a:gd name="connsiteY99" fmla="*/ 826226 h 904588"/>
              <a:gd name="connsiteX100" fmla="*/ 1074848 w 1707029"/>
              <a:gd name="connsiteY100" fmla="*/ 795805 h 904588"/>
              <a:gd name="connsiteX101" fmla="*/ 1082411 w 1707029"/>
              <a:gd name="connsiteY101" fmla="*/ 765147 h 904588"/>
              <a:gd name="connsiteX102" fmla="*/ 1103193 w 1707029"/>
              <a:gd name="connsiteY102" fmla="*/ 744372 h 904588"/>
              <a:gd name="connsiteX103" fmla="*/ 1133741 w 1707029"/>
              <a:gd name="connsiteY103" fmla="*/ 736856 h 904588"/>
              <a:gd name="connsiteX104" fmla="*/ 955096 w 1707029"/>
              <a:gd name="connsiteY104" fmla="*/ 736856 h 904588"/>
              <a:gd name="connsiteX105" fmla="*/ 980046 w 1707029"/>
              <a:gd name="connsiteY105" fmla="*/ 741295 h 904588"/>
              <a:gd name="connsiteX106" fmla="*/ 997315 w 1707029"/>
              <a:gd name="connsiteY106" fmla="*/ 753605 h 904588"/>
              <a:gd name="connsiteX107" fmla="*/ 1000115 w 1707029"/>
              <a:gd name="connsiteY107" fmla="*/ 760708 h 904588"/>
              <a:gd name="connsiteX108" fmla="*/ 996482 w 1707029"/>
              <a:gd name="connsiteY108" fmla="*/ 766981 h 904588"/>
              <a:gd name="connsiteX109" fmla="*/ 988384 w 1707029"/>
              <a:gd name="connsiteY109" fmla="*/ 768461 h 904588"/>
              <a:gd name="connsiteX110" fmla="*/ 980464 w 1707029"/>
              <a:gd name="connsiteY110" fmla="*/ 764614 h 904588"/>
              <a:gd name="connsiteX111" fmla="*/ 968971 w 1707029"/>
              <a:gd name="connsiteY111" fmla="*/ 757630 h 904588"/>
              <a:gd name="connsiteX112" fmla="*/ 954680 w 1707029"/>
              <a:gd name="connsiteY112" fmla="*/ 755736 h 904588"/>
              <a:gd name="connsiteX113" fmla="*/ 938780 w 1707029"/>
              <a:gd name="connsiteY113" fmla="*/ 758932 h 904588"/>
              <a:gd name="connsiteX114" fmla="*/ 932290 w 1707029"/>
              <a:gd name="connsiteY114" fmla="*/ 768284 h 904588"/>
              <a:gd name="connsiteX115" fmla="*/ 934313 w 1707029"/>
              <a:gd name="connsiteY115" fmla="*/ 775149 h 904588"/>
              <a:gd name="connsiteX116" fmla="*/ 942293 w 1707029"/>
              <a:gd name="connsiteY116" fmla="*/ 780653 h 904588"/>
              <a:gd name="connsiteX117" fmla="*/ 959801 w 1707029"/>
              <a:gd name="connsiteY117" fmla="*/ 785447 h 904588"/>
              <a:gd name="connsiteX118" fmla="*/ 985109 w 1707029"/>
              <a:gd name="connsiteY118" fmla="*/ 793496 h 904588"/>
              <a:gd name="connsiteX119" fmla="*/ 985168 w 1707029"/>
              <a:gd name="connsiteY119" fmla="*/ 793437 h 904588"/>
              <a:gd name="connsiteX120" fmla="*/ 998507 w 1707029"/>
              <a:gd name="connsiteY120" fmla="*/ 804801 h 904588"/>
              <a:gd name="connsiteX121" fmla="*/ 1002556 w 1707029"/>
              <a:gd name="connsiteY121" fmla="*/ 819775 h 904588"/>
              <a:gd name="connsiteX122" fmla="*/ 997315 w 1707029"/>
              <a:gd name="connsiteY122" fmla="*/ 837353 h 904588"/>
              <a:gd name="connsiteX123" fmla="*/ 981952 w 1707029"/>
              <a:gd name="connsiteY123" fmla="*/ 849841 h 904588"/>
              <a:gd name="connsiteX124" fmla="*/ 956644 w 1707029"/>
              <a:gd name="connsiteY124" fmla="*/ 854516 h 904588"/>
              <a:gd name="connsiteX125" fmla="*/ 929014 w 1707029"/>
              <a:gd name="connsiteY125" fmla="*/ 849960 h 904588"/>
              <a:gd name="connsiteX126" fmla="*/ 909243 w 1707029"/>
              <a:gd name="connsiteY126" fmla="*/ 838418 h 904588"/>
              <a:gd name="connsiteX127" fmla="*/ 906564 w 1707029"/>
              <a:gd name="connsiteY127" fmla="*/ 830664 h 904588"/>
              <a:gd name="connsiteX128" fmla="*/ 910733 w 1707029"/>
              <a:gd name="connsiteY128" fmla="*/ 823563 h 904588"/>
              <a:gd name="connsiteX129" fmla="*/ 919188 w 1707029"/>
              <a:gd name="connsiteY129" fmla="*/ 820722 h 904588"/>
              <a:gd name="connsiteX130" fmla="*/ 926335 w 1707029"/>
              <a:gd name="connsiteY130" fmla="*/ 824450 h 904588"/>
              <a:gd name="connsiteX131" fmla="*/ 937947 w 1707029"/>
              <a:gd name="connsiteY131" fmla="*/ 831967 h 904588"/>
              <a:gd name="connsiteX132" fmla="*/ 955751 w 1707029"/>
              <a:gd name="connsiteY132" fmla="*/ 835459 h 904588"/>
              <a:gd name="connsiteX133" fmla="*/ 974628 w 1707029"/>
              <a:gd name="connsiteY133" fmla="*/ 831434 h 904588"/>
              <a:gd name="connsiteX134" fmla="*/ 981357 w 1707029"/>
              <a:gd name="connsiteY134" fmla="*/ 821017 h 904588"/>
              <a:gd name="connsiteX135" fmla="*/ 975283 w 1707029"/>
              <a:gd name="connsiteY135" fmla="*/ 810010 h 904588"/>
              <a:gd name="connsiteX136" fmla="*/ 952357 w 1707029"/>
              <a:gd name="connsiteY136" fmla="*/ 802374 h 904588"/>
              <a:gd name="connsiteX137" fmla="*/ 921094 w 1707029"/>
              <a:gd name="connsiteY137" fmla="*/ 789649 h 904588"/>
              <a:gd name="connsiteX138" fmla="*/ 911388 w 1707029"/>
              <a:gd name="connsiteY138" fmla="*/ 768876 h 904588"/>
              <a:gd name="connsiteX139" fmla="*/ 917760 w 1707029"/>
              <a:gd name="connsiteY139" fmla="*/ 750942 h 904588"/>
              <a:gd name="connsiteX140" fmla="*/ 934195 w 1707029"/>
              <a:gd name="connsiteY140" fmla="*/ 740348 h 904588"/>
              <a:gd name="connsiteX141" fmla="*/ 955096 w 1707029"/>
              <a:gd name="connsiteY141" fmla="*/ 736856 h 904588"/>
              <a:gd name="connsiteX142" fmla="*/ 724167 w 1707029"/>
              <a:gd name="connsiteY142" fmla="*/ 736856 h 904588"/>
              <a:gd name="connsiteX143" fmla="*/ 749118 w 1707029"/>
              <a:gd name="connsiteY143" fmla="*/ 741295 h 904588"/>
              <a:gd name="connsiteX144" fmla="*/ 766386 w 1707029"/>
              <a:gd name="connsiteY144" fmla="*/ 753605 h 904588"/>
              <a:gd name="connsiteX145" fmla="*/ 769186 w 1707029"/>
              <a:gd name="connsiteY145" fmla="*/ 760708 h 904588"/>
              <a:gd name="connsiteX146" fmla="*/ 765553 w 1707029"/>
              <a:gd name="connsiteY146" fmla="*/ 766981 h 904588"/>
              <a:gd name="connsiteX147" fmla="*/ 757455 w 1707029"/>
              <a:gd name="connsiteY147" fmla="*/ 768461 h 904588"/>
              <a:gd name="connsiteX148" fmla="*/ 749535 w 1707029"/>
              <a:gd name="connsiteY148" fmla="*/ 764614 h 904588"/>
              <a:gd name="connsiteX149" fmla="*/ 738042 w 1707029"/>
              <a:gd name="connsiteY149" fmla="*/ 757630 h 904588"/>
              <a:gd name="connsiteX150" fmla="*/ 723751 w 1707029"/>
              <a:gd name="connsiteY150" fmla="*/ 755736 h 904588"/>
              <a:gd name="connsiteX151" fmla="*/ 707851 w 1707029"/>
              <a:gd name="connsiteY151" fmla="*/ 758932 h 904588"/>
              <a:gd name="connsiteX152" fmla="*/ 701361 w 1707029"/>
              <a:gd name="connsiteY152" fmla="*/ 768284 h 904588"/>
              <a:gd name="connsiteX153" fmla="*/ 703385 w 1707029"/>
              <a:gd name="connsiteY153" fmla="*/ 775149 h 904588"/>
              <a:gd name="connsiteX154" fmla="*/ 711364 w 1707029"/>
              <a:gd name="connsiteY154" fmla="*/ 780653 h 904588"/>
              <a:gd name="connsiteX155" fmla="*/ 728872 w 1707029"/>
              <a:gd name="connsiteY155" fmla="*/ 785447 h 904588"/>
              <a:gd name="connsiteX156" fmla="*/ 754180 w 1707029"/>
              <a:gd name="connsiteY156" fmla="*/ 793496 h 904588"/>
              <a:gd name="connsiteX157" fmla="*/ 754239 w 1707029"/>
              <a:gd name="connsiteY157" fmla="*/ 793437 h 904588"/>
              <a:gd name="connsiteX158" fmla="*/ 767578 w 1707029"/>
              <a:gd name="connsiteY158" fmla="*/ 804801 h 904588"/>
              <a:gd name="connsiteX159" fmla="*/ 771627 w 1707029"/>
              <a:gd name="connsiteY159" fmla="*/ 819775 h 904588"/>
              <a:gd name="connsiteX160" fmla="*/ 766386 w 1707029"/>
              <a:gd name="connsiteY160" fmla="*/ 837353 h 904588"/>
              <a:gd name="connsiteX161" fmla="*/ 751023 w 1707029"/>
              <a:gd name="connsiteY161" fmla="*/ 849841 h 904588"/>
              <a:gd name="connsiteX162" fmla="*/ 725715 w 1707029"/>
              <a:gd name="connsiteY162" fmla="*/ 854516 h 904588"/>
              <a:gd name="connsiteX163" fmla="*/ 698085 w 1707029"/>
              <a:gd name="connsiteY163" fmla="*/ 849960 h 904588"/>
              <a:gd name="connsiteX164" fmla="*/ 678316 w 1707029"/>
              <a:gd name="connsiteY164" fmla="*/ 838418 h 904588"/>
              <a:gd name="connsiteX165" fmla="*/ 675635 w 1707029"/>
              <a:gd name="connsiteY165" fmla="*/ 830664 h 904588"/>
              <a:gd name="connsiteX166" fmla="*/ 679804 w 1707029"/>
              <a:gd name="connsiteY166" fmla="*/ 823563 h 904588"/>
              <a:gd name="connsiteX167" fmla="*/ 688259 w 1707029"/>
              <a:gd name="connsiteY167" fmla="*/ 820722 h 904588"/>
              <a:gd name="connsiteX168" fmla="*/ 688259 w 1707029"/>
              <a:gd name="connsiteY168" fmla="*/ 820722 h 904588"/>
              <a:gd name="connsiteX169" fmla="*/ 695406 w 1707029"/>
              <a:gd name="connsiteY169" fmla="*/ 824450 h 904588"/>
              <a:gd name="connsiteX170" fmla="*/ 707018 w 1707029"/>
              <a:gd name="connsiteY170" fmla="*/ 831967 h 904588"/>
              <a:gd name="connsiteX171" fmla="*/ 724822 w 1707029"/>
              <a:gd name="connsiteY171" fmla="*/ 835459 h 904588"/>
              <a:gd name="connsiteX172" fmla="*/ 743699 w 1707029"/>
              <a:gd name="connsiteY172" fmla="*/ 831434 h 904588"/>
              <a:gd name="connsiteX173" fmla="*/ 750428 w 1707029"/>
              <a:gd name="connsiteY173" fmla="*/ 821017 h 904588"/>
              <a:gd name="connsiteX174" fmla="*/ 744354 w 1707029"/>
              <a:gd name="connsiteY174" fmla="*/ 810010 h 904588"/>
              <a:gd name="connsiteX175" fmla="*/ 721428 w 1707029"/>
              <a:gd name="connsiteY175" fmla="*/ 802374 h 904588"/>
              <a:gd name="connsiteX176" fmla="*/ 690165 w 1707029"/>
              <a:gd name="connsiteY176" fmla="*/ 789649 h 904588"/>
              <a:gd name="connsiteX177" fmla="*/ 680459 w 1707029"/>
              <a:gd name="connsiteY177" fmla="*/ 768876 h 904588"/>
              <a:gd name="connsiteX178" fmla="*/ 686831 w 1707029"/>
              <a:gd name="connsiteY178" fmla="*/ 750942 h 904588"/>
              <a:gd name="connsiteX179" fmla="*/ 703266 w 1707029"/>
              <a:gd name="connsiteY179" fmla="*/ 740348 h 904588"/>
              <a:gd name="connsiteX180" fmla="*/ 724167 w 1707029"/>
              <a:gd name="connsiteY180" fmla="*/ 736856 h 904588"/>
              <a:gd name="connsiteX181" fmla="*/ 373965 w 1707029"/>
              <a:gd name="connsiteY181" fmla="*/ 736856 h 904588"/>
              <a:gd name="connsiteX182" fmla="*/ 403857 w 1707029"/>
              <a:gd name="connsiteY182" fmla="*/ 744610 h 904588"/>
              <a:gd name="connsiteX183" fmla="*/ 403738 w 1707029"/>
              <a:gd name="connsiteY183" fmla="*/ 744610 h 904588"/>
              <a:gd name="connsiteX184" fmla="*/ 424758 w 1707029"/>
              <a:gd name="connsiteY184" fmla="*/ 765739 h 904588"/>
              <a:gd name="connsiteX185" fmla="*/ 432559 w 1707029"/>
              <a:gd name="connsiteY185" fmla="*/ 795864 h 904588"/>
              <a:gd name="connsiteX186" fmla="*/ 432559 w 1707029"/>
              <a:gd name="connsiteY186" fmla="*/ 843154 h 904588"/>
              <a:gd name="connsiteX187" fmla="*/ 429462 w 1707029"/>
              <a:gd name="connsiteY187" fmla="*/ 850906 h 904588"/>
              <a:gd name="connsiteX188" fmla="*/ 421663 w 1707029"/>
              <a:gd name="connsiteY188" fmla="*/ 853985 h 904588"/>
              <a:gd name="connsiteX189" fmla="*/ 421663 w 1707029"/>
              <a:gd name="connsiteY189" fmla="*/ 853985 h 904588"/>
              <a:gd name="connsiteX190" fmla="*/ 413862 w 1707029"/>
              <a:gd name="connsiteY190" fmla="*/ 850906 h 904588"/>
              <a:gd name="connsiteX191" fmla="*/ 410765 w 1707029"/>
              <a:gd name="connsiteY191" fmla="*/ 843154 h 904588"/>
              <a:gd name="connsiteX192" fmla="*/ 410765 w 1707029"/>
              <a:gd name="connsiteY192" fmla="*/ 835105 h 904588"/>
              <a:gd name="connsiteX193" fmla="*/ 397545 w 1707029"/>
              <a:gd name="connsiteY193" fmla="*/ 846882 h 904588"/>
              <a:gd name="connsiteX194" fmla="*/ 369617 w 1707029"/>
              <a:gd name="connsiteY194" fmla="*/ 854635 h 904588"/>
              <a:gd name="connsiteX195" fmla="*/ 369617 w 1707029"/>
              <a:gd name="connsiteY195" fmla="*/ 854635 h 904588"/>
              <a:gd name="connsiteX196" fmla="*/ 369617 w 1707029"/>
              <a:gd name="connsiteY196" fmla="*/ 854635 h 904588"/>
              <a:gd name="connsiteX197" fmla="*/ 341689 w 1707029"/>
              <a:gd name="connsiteY197" fmla="*/ 846882 h 904588"/>
              <a:gd name="connsiteX198" fmla="*/ 322157 w 1707029"/>
              <a:gd name="connsiteY198" fmla="*/ 825872 h 904588"/>
              <a:gd name="connsiteX199" fmla="*/ 315011 w 1707029"/>
              <a:gd name="connsiteY199" fmla="*/ 795864 h 904588"/>
              <a:gd name="connsiteX200" fmla="*/ 322812 w 1707029"/>
              <a:gd name="connsiteY200" fmla="*/ 765739 h 904588"/>
              <a:gd name="connsiteX201" fmla="*/ 343952 w 1707029"/>
              <a:gd name="connsiteY201" fmla="*/ 744610 h 904588"/>
              <a:gd name="connsiteX202" fmla="*/ 373965 w 1707029"/>
              <a:gd name="connsiteY202" fmla="*/ 736856 h 904588"/>
              <a:gd name="connsiteX203" fmla="*/ 65383 w 1707029"/>
              <a:gd name="connsiteY203" fmla="*/ 736856 h 904588"/>
              <a:gd name="connsiteX204" fmla="*/ 65384 w 1707029"/>
              <a:gd name="connsiteY204" fmla="*/ 736856 h 904588"/>
              <a:gd name="connsiteX205" fmla="*/ 65384 w 1707029"/>
              <a:gd name="connsiteY205" fmla="*/ 736856 h 904588"/>
              <a:gd name="connsiteX206" fmla="*/ 90335 w 1707029"/>
              <a:gd name="connsiteY206" fmla="*/ 741295 h 904588"/>
              <a:gd name="connsiteX207" fmla="*/ 107604 w 1707029"/>
              <a:gd name="connsiteY207" fmla="*/ 753605 h 904588"/>
              <a:gd name="connsiteX208" fmla="*/ 110402 w 1707029"/>
              <a:gd name="connsiteY208" fmla="*/ 760708 h 904588"/>
              <a:gd name="connsiteX209" fmla="*/ 106770 w 1707029"/>
              <a:gd name="connsiteY209" fmla="*/ 766981 h 904588"/>
              <a:gd name="connsiteX210" fmla="*/ 98671 w 1707029"/>
              <a:gd name="connsiteY210" fmla="*/ 768461 h 904588"/>
              <a:gd name="connsiteX211" fmla="*/ 98671 w 1707029"/>
              <a:gd name="connsiteY211" fmla="*/ 768461 h 904588"/>
              <a:gd name="connsiteX212" fmla="*/ 90751 w 1707029"/>
              <a:gd name="connsiteY212" fmla="*/ 764614 h 904588"/>
              <a:gd name="connsiteX213" fmla="*/ 79259 w 1707029"/>
              <a:gd name="connsiteY213" fmla="*/ 757630 h 904588"/>
              <a:gd name="connsiteX214" fmla="*/ 64967 w 1707029"/>
              <a:gd name="connsiteY214" fmla="*/ 755736 h 904588"/>
              <a:gd name="connsiteX215" fmla="*/ 49068 w 1707029"/>
              <a:gd name="connsiteY215" fmla="*/ 758932 h 904588"/>
              <a:gd name="connsiteX216" fmla="*/ 42577 w 1707029"/>
              <a:gd name="connsiteY216" fmla="*/ 768284 h 904588"/>
              <a:gd name="connsiteX217" fmla="*/ 44601 w 1707029"/>
              <a:gd name="connsiteY217" fmla="*/ 775149 h 904588"/>
              <a:gd name="connsiteX218" fmla="*/ 52581 w 1707029"/>
              <a:gd name="connsiteY218" fmla="*/ 780653 h 904588"/>
              <a:gd name="connsiteX219" fmla="*/ 70089 w 1707029"/>
              <a:gd name="connsiteY219" fmla="*/ 785447 h 904588"/>
              <a:gd name="connsiteX220" fmla="*/ 95397 w 1707029"/>
              <a:gd name="connsiteY220" fmla="*/ 793496 h 904588"/>
              <a:gd name="connsiteX221" fmla="*/ 95455 w 1707029"/>
              <a:gd name="connsiteY221" fmla="*/ 793437 h 904588"/>
              <a:gd name="connsiteX222" fmla="*/ 95456 w 1707029"/>
              <a:gd name="connsiteY222" fmla="*/ 793437 h 904588"/>
              <a:gd name="connsiteX223" fmla="*/ 108795 w 1707029"/>
              <a:gd name="connsiteY223" fmla="*/ 804801 h 904588"/>
              <a:gd name="connsiteX224" fmla="*/ 112844 w 1707029"/>
              <a:gd name="connsiteY224" fmla="*/ 819775 h 904588"/>
              <a:gd name="connsiteX225" fmla="*/ 107604 w 1707029"/>
              <a:gd name="connsiteY225" fmla="*/ 837353 h 904588"/>
              <a:gd name="connsiteX226" fmla="*/ 92240 w 1707029"/>
              <a:gd name="connsiteY226" fmla="*/ 849841 h 904588"/>
              <a:gd name="connsiteX227" fmla="*/ 66932 w 1707029"/>
              <a:gd name="connsiteY227" fmla="*/ 854516 h 904588"/>
              <a:gd name="connsiteX228" fmla="*/ 66932 w 1707029"/>
              <a:gd name="connsiteY228" fmla="*/ 854516 h 904588"/>
              <a:gd name="connsiteX229" fmla="*/ 66932 w 1707029"/>
              <a:gd name="connsiteY229" fmla="*/ 854516 h 904588"/>
              <a:gd name="connsiteX230" fmla="*/ 39301 w 1707029"/>
              <a:gd name="connsiteY230" fmla="*/ 849960 h 904588"/>
              <a:gd name="connsiteX231" fmla="*/ 19532 w 1707029"/>
              <a:gd name="connsiteY231" fmla="*/ 838418 h 904588"/>
              <a:gd name="connsiteX232" fmla="*/ 16852 w 1707029"/>
              <a:gd name="connsiteY232" fmla="*/ 830664 h 904588"/>
              <a:gd name="connsiteX233" fmla="*/ 21020 w 1707029"/>
              <a:gd name="connsiteY233" fmla="*/ 823563 h 904588"/>
              <a:gd name="connsiteX234" fmla="*/ 29476 w 1707029"/>
              <a:gd name="connsiteY234" fmla="*/ 820722 h 904588"/>
              <a:gd name="connsiteX235" fmla="*/ 29476 w 1707029"/>
              <a:gd name="connsiteY235" fmla="*/ 820722 h 904588"/>
              <a:gd name="connsiteX236" fmla="*/ 29476 w 1707029"/>
              <a:gd name="connsiteY236" fmla="*/ 820722 h 904588"/>
              <a:gd name="connsiteX237" fmla="*/ 36623 w 1707029"/>
              <a:gd name="connsiteY237" fmla="*/ 824450 h 904588"/>
              <a:gd name="connsiteX238" fmla="*/ 48235 w 1707029"/>
              <a:gd name="connsiteY238" fmla="*/ 831967 h 904588"/>
              <a:gd name="connsiteX239" fmla="*/ 66039 w 1707029"/>
              <a:gd name="connsiteY239" fmla="*/ 835459 h 904588"/>
              <a:gd name="connsiteX240" fmla="*/ 84915 w 1707029"/>
              <a:gd name="connsiteY240" fmla="*/ 831434 h 904588"/>
              <a:gd name="connsiteX241" fmla="*/ 91644 w 1707029"/>
              <a:gd name="connsiteY241" fmla="*/ 821017 h 904588"/>
              <a:gd name="connsiteX242" fmla="*/ 85570 w 1707029"/>
              <a:gd name="connsiteY242" fmla="*/ 810010 h 904588"/>
              <a:gd name="connsiteX243" fmla="*/ 62644 w 1707029"/>
              <a:gd name="connsiteY243" fmla="*/ 802374 h 904588"/>
              <a:gd name="connsiteX244" fmla="*/ 31382 w 1707029"/>
              <a:gd name="connsiteY244" fmla="*/ 789649 h 904588"/>
              <a:gd name="connsiteX245" fmla="*/ 21676 w 1707029"/>
              <a:gd name="connsiteY245" fmla="*/ 768876 h 904588"/>
              <a:gd name="connsiteX246" fmla="*/ 28047 w 1707029"/>
              <a:gd name="connsiteY246" fmla="*/ 750942 h 904588"/>
              <a:gd name="connsiteX247" fmla="*/ 44482 w 1707029"/>
              <a:gd name="connsiteY247" fmla="*/ 740348 h 904588"/>
              <a:gd name="connsiteX248" fmla="*/ 65383 w 1707029"/>
              <a:gd name="connsiteY248" fmla="*/ 736856 h 904588"/>
              <a:gd name="connsiteX249" fmla="*/ 1500023 w 1707029"/>
              <a:gd name="connsiteY249" fmla="*/ 736798 h 904588"/>
              <a:gd name="connsiteX250" fmla="*/ 1528606 w 1707029"/>
              <a:gd name="connsiteY250" fmla="*/ 744138 h 904588"/>
              <a:gd name="connsiteX251" fmla="*/ 1528606 w 1707029"/>
              <a:gd name="connsiteY251" fmla="*/ 743960 h 904588"/>
              <a:gd name="connsiteX252" fmla="*/ 1546888 w 1707029"/>
              <a:gd name="connsiteY252" fmla="*/ 764083 h 904588"/>
              <a:gd name="connsiteX253" fmla="*/ 1553199 w 1707029"/>
              <a:gd name="connsiteY253" fmla="*/ 793675 h 904588"/>
              <a:gd name="connsiteX254" fmla="*/ 1550401 w 1707029"/>
              <a:gd name="connsiteY254" fmla="*/ 800364 h 904588"/>
              <a:gd name="connsiteX255" fmla="*/ 1543374 w 1707029"/>
              <a:gd name="connsiteY255" fmla="*/ 803027 h 904588"/>
              <a:gd name="connsiteX256" fmla="*/ 1462270 w 1707029"/>
              <a:gd name="connsiteY256" fmla="*/ 803027 h 904588"/>
              <a:gd name="connsiteX257" fmla="*/ 1466974 w 1707029"/>
              <a:gd name="connsiteY257" fmla="*/ 816403 h 904588"/>
              <a:gd name="connsiteX258" fmla="*/ 1481681 w 1707029"/>
              <a:gd name="connsiteY258" fmla="*/ 830844 h 904588"/>
              <a:gd name="connsiteX259" fmla="*/ 1503238 w 1707029"/>
              <a:gd name="connsiteY259" fmla="*/ 836170 h 904588"/>
              <a:gd name="connsiteX260" fmla="*/ 1516815 w 1707029"/>
              <a:gd name="connsiteY260" fmla="*/ 833744 h 904588"/>
              <a:gd name="connsiteX261" fmla="*/ 1528011 w 1707029"/>
              <a:gd name="connsiteY261" fmla="*/ 828121 h 904588"/>
              <a:gd name="connsiteX262" fmla="*/ 1534918 w 1707029"/>
              <a:gd name="connsiteY262" fmla="*/ 825695 h 904588"/>
              <a:gd name="connsiteX263" fmla="*/ 1541409 w 1707029"/>
              <a:gd name="connsiteY263" fmla="*/ 827943 h 904588"/>
              <a:gd name="connsiteX264" fmla="*/ 1545279 w 1707029"/>
              <a:gd name="connsiteY264" fmla="*/ 834927 h 904588"/>
              <a:gd name="connsiteX265" fmla="*/ 1541886 w 1707029"/>
              <a:gd name="connsiteY265" fmla="*/ 841497 h 904588"/>
              <a:gd name="connsiteX266" fmla="*/ 1523842 w 1707029"/>
              <a:gd name="connsiteY266" fmla="*/ 850848 h 904588"/>
              <a:gd name="connsiteX267" fmla="*/ 1503238 w 1707029"/>
              <a:gd name="connsiteY267" fmla="*/ 854458 h 904588"/>
              <a:gd name="connsiteX268" fmla="*/ 1471738 w 1707029"/>
              <a:gd name="connsiteY268" fmla="*/ 846942 h 904588"/>
              <a:gd name="connsiteX269" fmla="*/ 1450181 w 1707029"/>
              <a:gd name="connsiteY269" fmla="*/ 826168 h 904588"/>
              <a:gd name="connsiteX270" fmla="*/ 1442380 w 1707029"/>
              <a:gd name="connsiteY270" fmla="*/ 795747 h 904588"/>
              <a:gd name="connsiteX271" fmla="*/ 1449764 w 1707029"/>
              <a:gd name="connsiteY271" fmla="*/ 765089 h 904588"/>
              <a:gd name="connsiteX272" fmla="*/ 1470129 w 1707029"/>
              <a:gd name="connsiteY272" fmla="*/ 744314 h 904588"/>
              <a:gd name="connsiteX273" fmla="*/ 1500023 w 1707029"/>
              <a:gd name="connsiteY273" fmla="*/ 736798 h 904588"/>
              <a:gd name="connsiteX274" fmla="*/ 1371756 w 1707029"/>
              <a:gd name="connsiteY274" fmla="*/ 736798 h 904588"/>
              <a:gd name="connsiteX275" fmla="*/ 1400339 w 1707029"/>
              <a:gd name="connsiteY275" fmla="*/ 744138 h 904588"/>
              <a:gd name="connsiteX276" fmla="*/ 1400339 w 1707029"/>
              <a:gd name="connsiteY276" fmla="*/ 743960 h 904588"/>
              <a:gd name="connsiteX277" fmla="*/ 1418619 w 1707029"/>
              <a:gd name="connsiteY277" fmla="*/ 764083 h 904588"/>
              <a:gd name="connsiteX278" fmla="*/ 1424932 w 1707029"/>
              <a:gd name="connsiteY278" fmla="*/ 793675 h 904588"/>
              <a:gd name="connsiteX279" fmla="*/ 1422133 w 1707029"/>
              <a:gd name="connsiteY279" fmla="*/ 800364 h 904588"/>
              <a:gd name="connsiteX280" fmla="*/ 1415107 w 1707029"/>
              <a:gd name="connsiteY280" fmla="*/ 803027 h 904588"/>
              <a:gd name="connsiteX281" fmla="*/ 1334001 w 1707029"/>
              <a:gd name="connsiteY281" fmla="*/ 803027 h 904588"/>
              <a:gd name="connsiteX282" fmla="*/ 1338707 w 1707029"/>
              <a:gd name="connsiteY282" fmla="*/ 816403 h 904588"/>
              <a:gd name="connsiteX283" fmla="*/ 1353414 w 1707029"/>
              <a:gd name="connsiteY283" fmla="*/ 830844 h 904588"/>
              <a:gd name="connsiteX284" fmla="*/ 1374971 w 1707029"/>
              <a:gd name="connsiteY284" fmla="*/ 836170 h 904588"/>
              <a:gd name="connsiteX285" fmla="*/ 1388548 w 1707029"/>
              <a:gd name="connsiteY285" fmla="*/ 833744 h 904588"/>
              <a:gd name="connsiteX286" fmla="*/ 1399744 w 1707029"/>
              <a:gd name="connsiteY286" fmla="*/ 828121 h 904588"/>
              <a:gd name="connsiteX287" fmla="*/ 1406651 w 1707029"/>
              <a:gd name="connsiteY287" fmla="*/ 825695 h 904588"/>
              <a:gd name="connsiteX288" fmla="*/ 1413142 w 1707029"/>
              <a:gd name="connsiteY288" fmla="*/ 827943 h 904588"/>
              <a:gd name="connsiteX289" fmla="*/ 1417012 w 1707029"/>
              <a:gd name="connsiteY289" fmla="*/ 834927 h 904588"/>
              <a:gd name="connsiteX290" fmla="*/ 1413618 w 1707029"/>
              <a:gd name="connsiteY290" fmla="*/ 841497 h 904588"/>
              <a:gd name="connsiteX291" fmla="*/ 1395575 w 1707029"/>
              <a:gd name="connsiteY291" fmla="*/ 850848 h 904588"/>
              <a:gd name="connsiteX292" fmla="*/ 1374971 w 1707029"/>
              <a:gd name="connsiteY292" fmla="*/ 854458 h 904588"/>
              <a:gd name="connsiteX293" fmla="*/ 1343470 w 1707029"/>
              <a:gd name="connsiteY293" fmla="*/ 846942 h 904588"/>
              <a:gd name="connsiteX294" fmla="*/ 1321914 w 1707029"/>
              <a:gd name="connsiteY294" fmla="*/ 826168 h 904588"/>
              <a:gd name="connsiteX295" fmla="*/ 1314113 w 1707029"/>
              <a:gd name="connsiteY295" fmla="*/ 795747 h 904588"/>
              <a:gd name="connsiteX296" fmla="*/ 1321497 w 1707029"/>
              <a:gd name="connsiteY296" fmla="*/ 765089 h 904588"/>
              <a:gd name="connsiteX297" fmla="*/ 1341862 w 1707029"/>
              <a:gd name="connsiteY297" fmla="*/ 744314 h 904588"/>
              <a:gd name="connsiteX298" fmla="*/ 1371756 w 1707029"/>
              <a:gd name="connsiteY298" fmla="*/ 736798 h 904588"/>
              <a:gd name="connsiteX299" fmla="*/ 602391 w 1707029"/>
              <a:gd name="connsiteY299" fmla="*/ 736798 h 904588"/>
              <a:gd name="connsiteX300" fmla="*/ 602391 w 1707029"/>
              <a:gd name="connsiteY300" fmla="*/ 736798 h 904588"/>
              <a:gd name="connsiteX301" fmla="*/ 630975 w 1707029"/>
              <a:gd name="connsiteY301" fmla="*/ 744138 h 904588"/>
              <a:gd name="connsiteX302" fmla="*/ 630975 w 1707029"/>
              <a:gd name="connsiteY302" fmla="*/ 743960 h 904588"/>
              <a:gd name="connsiteX303" fmla="*/ 630975 w 1707029"/>
              <a:gd name="connsiteY303" fmla="*/ 743961 h 904588"/>
              <a:gd name="connsiteX304" fmla="*/ 630975 w 1707029"/>
              <a:gd name="connsiteY304" fmla="*/ 743960 h 904588"/>
              <a:gd name="connsiteX305" fmla="*/ 649256 w 1707029"/>
              <a:gd name="connsiteY305" fmla="*/ 764083 h 904588"/>
              <a:gd name="connsiteX306" fmla="*/ 655567 w 1707029"/>
              <a:gd name="connsiteY306" fmla="*/ 793675 h 904588"/>
              <a:gd name="connsiteX307" fmla="*/ 652769 w 1707029"/>
              <a:gd name="connsiteY307" fmla="*/ 800364 h 904588"/>
              <a:gd name="connsiteX308" fmla="*/ 645743 w 1707029"/>
              <a:gd name="connsiteY308" fmla="*/ 803027 h 904588"/>
              <a:gd name="connsiteX309" fmla="*/ 645742 w 1707029"/>
              <a:gd name="connsiteY309" fmla="*/ 803027 h 904588"/>
              <a:gd name="connsiteX310" fmla="*/ 564637 w 1707029"/>
              <a:gd name="connsiteY310" fmla="*/ 803027 h 904588"/>
              <a:gd name="connsiteX311" fmla="*/ 569342 w 1707029"/>
              <a:gd name="connsiteY311" fmla="*/ 816403 h 904588"/>
              <a:gd name="connsiteX312" fmla="*/ 584050 w 1707029"/>
              <a:gd name="connsiteY312" fmla="*/ 830844 h 904588"/>
              <a:gd name="connsiteX313" fmla="*/ 605607 w 1707029"/>
              <a:gd name="connsiteY313" fmla="*/ 836170 h 904588"/>
              <a:gd name="connsiteX314" fmla="*/ 619184 w 1707029"/>
              <a:gd name="connsiteY314" fmla="*/ 833744 h 904588"/>
              <a:gd name="connsiteX315" fmla="*/ 630379 w 1707029"/>
              <a:gd name="connsiteY315" fmla="*/ 828121 h 904588"/>
              <a:gd name="connsiteX316" fmla="*/ 637286 w 1707029"/>
              <a:gd name="connsiteY316" fmla="*/ 825695 h 904588"/>
              <a:gd name="connsiteX317" fmla="*/ 637286 w 1707029"/>
              <a:gd name="connsiteY317" fmla="*/ 825695 h 904588"/>
              <a:gd name="connsiteX318" fmla="*/ 643778 w 1707029"/>
              <a:gd name="connsiteY318" fmla="*/ 827943 h 904588"/>
              <a:gd name="connsiteX319" fmla="*/ 647647 w 1707029"/>
              <a:gd name="connsiteY319" fmla="*/ 834927 h 904588"/>
              <a:gd name="connsiteX320" fmla="*/ 644253 w 1707029"/>
              <a:gd name="connsiteY320" fmla="*/ 841497 h 904588"/>
              <a:gd name="connsiteX321" fmla="*/ 626211 w 1707029"/>
              <a:gd name="connsiteY321" fmla="*/ 850848 h 904588"/>
              <a:gd name="connsiteX322" fmla="*/ 605607 w 1707029"/>
              <a:gd name="connsiteY322" fmla="*/ 854458 h 904588"/>
              <a:gd name="connsiteX323" fmla="*/ 605607 w 1707029"/>
              <a:gd name="connsiteY323" fmla="*/ 854458 h 904588"/>
              <a:gd name="connsiteX324" fmla="*/ 574106 w 1707029"/>
              <a:gd name="connsiteY324" fmla="*/ 846942 h 904588"/>
              <a:gd name="connsiteX325" fmla="*/ 552549 w 1707029"/>
              <a:gd name="connsiteY325" fmla="*/ 826168 h 904588"/>
              <a:gd name="connsiteX326" fmla="*/ 544748 w 1707029"/>
              <a:gd name="connsiteY326" fmla="*/ 795747 h 904588"/>
              <a:gd name="connsiteX327" fmla="*/ 552133 w 1707029"/>
              <a:gd name="connsiteY327" fmla="*/ 765089 h 904588"/>
              <a:gd name="connsiteX328" fmla="*/ 572498 w 1707029"/>
              <a:gd name="connsiteY328" fmla="*/ 744314 h 904588"/>
              <a:gd name="connsiteX329" fmla="*/ 602391 w 1707029"/>
              <a:gd name="connsiteY329" fmla="*/ 736798 h 904588"/>
              <a:gd name="connsiteX330" fmla="*/ 1638889 w 1707029"/>
              <a:gd name="connsiteY330" fmla="*/ 736620 h 904588"/>
              <a:gd name="connsiteX331" fmla="*/ 1665269 w 1707029"/>
              <a:gd name="connsiteY331" fmla="*/ 742894 h 904588"/>
              <a:gd name="connsiteX332" fmla="*/ 1683610 w 1707029"/>
              <a:gd name="connsiteY332" fmla="*/ 761242 h 904588"/>
              <a:gd name="connsiteX333" fmla="*/ 1683610 w 1707029"/>
              <a:gd name="connsiteY333" fmla="*/ 761182 h 904588"/>
              <a:gd name="connsiteX334" fmla="*/ 1690339 w 1707029"/>
              <a:gd name="connsiteY334" fmla="*/ 790893 h 904588"/>
              <a:gd name="connsiteX335" fmla="*/ 1690339 w 1707029"/>
              <a:gd name="connsiteY335" fmla="*/ 843095 h 904588"/>
              <a:gd name="connsiteX336" fmla="*/ 1687242 w 1707029"/>
              <a:gd name="connsiteY336" fmla="*/ 850848 h 904588"/>
              <a:gd name="connsiteX337" fmla="*/ 1679441 w 1707029"/>
              <a:gd name="connsiteY337" fmla="*/ 853925 h 904588"/>
              <a:gd name="connsiteX338" fmla="*/ 1671640 w 1707029"/>
              <a:gd name="connsiteY338" fmla="*/ 850848 h 904588"/>
              <a:gd name="connsiteX339" fmla="*/ 1668544 w 1707029"/>
              <a:gd name="connsiteY339" fmla="*/ 843095 h 904588"/>
              <a:gd name="connsiteX340" fmla="*/ 1668544 w 1707029"/>
              <a:gd name="connsiteY340" fmla="*/ 790893 h 904588"/>
              <a:gd name="connsiteX341" fmla="*/ 1664078 w 1707029"/>
              <a:gd name="connsiteY341" fmla="*/ 771184 h 904588"/>
              <a:gd name="connsiteX342" fmla="*/ 1651990 w 1707029"/>
              <a:gd name="connsiteY342" fmla="*/ 759821 h 904588"/>
              <a:gd name="connsiteX343" fmla="*/ 1634602 w 1707029"/>
              <a:gd name="connsiteY343" fmla="*/ 756092 h 904588"/>
              <a:gd name="connsiteX344" fmla="*/ 1618405 w 1707029"/>
              <a:gd name="connsiteY344" fmla="*/ 759703 h 904588"/>
              <a:gd name="connsiteX345" fmla="*/ 1606852 w 1707029"/>
              <a:gd name="connsiteY345" fmla="*/ 769350 h 904588"/>
              <a:gd name="connsiteX346" fmla="*/ 1602565 w 1707029"/>
              <a:gd name="connsiteY346" fmla="*/ 783258 h 904588"/>
              <a:gd name="connsiteX347" fmla="*/ 1602565 w 1707029"/>
              <a:gd name="connsiteY347" fmla="*/ 843095 h 904588"/>
              <a:gd name="connsiteX348" fmla="*/ 1599588 w 1707029"/>
              <a:gd name="connsiteY348" fmla="*/ 850848 h 904588"/>
              <a:gd name="connsiteX349" fmla="*/ 1591668 w 1707029"/>
              <a:gd name="connsiteY349" fmla="*/ 853925 h 904588"/>
              <a:gd name="connsiteX350" fmla="*/ 1583867 w 1707029"/>
              <a:gd name="connsiteY350" fmla="*/ 850848 h 904588"/>
              <a:gd name="connsiteX351" fmla="*/ 1580770 w 1707029"/>
              <a:gd name="connsiteY351" fmla="*/ 843095 h 904588"/>
              <a:gd name="connsiteX352" fmla="*/ 1580770 w 1707029"/>
              <a:gd name="connsiteY352" fmla="*/ 748457 h 904588"/>
              <a:gd name="connsiteX353" fmla="*/ 1583867 w 1707029"/>
              <a:gd name="connsiteY353" fmla="*/ 740586 h 904588"/>
              <a:gd name="connsiteX354" fmla="*/ 1591668 w 1707029"/>
              <a:gd name="connsiteY354" fmla="*/ 737626 h 904588"/>
              <a:gd name="connsiteX355" fmla="*/ 1599588 w 1707029"/>
              <a:gd name="connsiteY355" fmla="*/ 740586 h 904588"/>
              <a:gd name="connsiteX356" fmla="*/ 1602565 w 1707029"/>
              <a:gd name="connsiteY356" fmla="*/ 748457 h 904588"/>
              <a:gd name="connsiteX357" fmla="*/ 1602565 w 1707029"/>
              <a:gd name="connsiteY357" fmla="*/ 750943 h 904588"/>
              <a:gd name="connsiteX358" fmla="*/ 1613462 w 1707029"/>
              <a:gd name="connsiteY358" fmla="*/ 742776 h 904588"/>
              <a:gd name="connsiteX359" fmla="*/ 1638889 w 1707029"/>
              <a:gd name="connsiteY359" fmla="*/ 736620 h 904588"/>
              <a:gd name="connsiteX360" fmla="*/ 1282076 w 1707029"/>
              <a:gd name="connsiteY360" fmla="*/ 736383 h 904588"/>
              <a:gd name="connsiteX361" fmla="*/ 1301192 w 1707029"/>
              <a:gd name="connsiteY361" fmla="*/ 740527 h 904588"/>
              <a:gd name="connsiteX362" fmla="*/ 1301132 w 1707029"/>
              <a:gd name="connsiteY362" fmla="*/ 740644 h 904588"/>
              <a:gd name="connsiteX363" fmla="*/ 1305956 w 1707029"/>
              <a:gd name="connsiteY363" fmla="*/ 750528 h 904588"/>
              <a:gd name="connsiteX364" fmla="*/ 1303515 w 1707029"/>
              <a:gd name="connsiteY364" fmla="*/ 755086 h 904588"/>
              <a:gd name="connsiteX365" fmla="*/ 1299346 w 1707029"/>
              <a:gd name="connsiteY365" fmla="*/ 757098 h 904588"/>
              <a:gd name="connsiteX366" fmla="*/ 1294224 w 1707029"/>
              <a:gd name="connsiteY366" fmla="*/ 756861 h 904588"/>
              <a:gd name="connsiteX367" fmla="*/ 1269690 w 1707029"/>
              <a:gd name="connsiteY367" fmla="*/ 756447 h 904588"/>
              <a:gd name="connsiteX368" fmla="*/ 1252541 w 1707029"/>
              <a:gd name="connsiteY368" fmla="*/ 765147 h 904588"/>
              <a:gd name="connsiteX369" fmla="*/ 1246228 w 1707029"/>
              <a:gd name="connsiteY369" fmla="*/ 781246 h 904588"/>
              <a:gd name="connsiteX370" fmla="*/ 1246228 w 1707029"/>
              <a:gd name="connsiteY370" fmla="*/ 843154 h 904588"/>
              <a:gd name="connsiteX371" fmla="*/ 1243548 w 1707029"/>
              <a:gd name="connsiteY371" fmla="*/ 851025 h 904588"/>
              <a:gd name="connsiteX372" fmla="*/ 1235569 w 1707029"/>
              <a:gd name="connsiteY372" fmla="*/ 853807 h 904588"/>
              <a:gd name="connsiteX373" fmla="*/ 1227649 w 1707029"/>
              <a:gd name="connsiteY373" fmla="*/ 851144 h 904588"/>
              <a:gd name="connsiteX374" fmla="*/ 1224850 w 1707029"/>
              <a:gd name="connsiteY374" fmla="*/ 843154 h 904588"/>
              <a:gd name="connsiteX375" fmla="*/ 1224850 w 1707029"/>
              <a:gd name="connsiteY375" fmla="*/ 748339 h 904588"/>
              <a:gd name="connsiteX376" fmla="*/ 1227649 w 1707029"/>
              <a:gd name="connsiteY376" fmla="*/ 740467 h 904588"/>
              <a:gd name="connsiteX377" fmla="*/ 1235569 w 1707029"/>
              <a:gd name="connsiteY377" fmla="*/ 737685 h 904588"/>
              <a:gd name="connsiteX378" fmla="*/ 1243548 w 1707029"/>
              <a:gd name="connsiteY378" fmla="*/ 740349 h 904588"/>
              <a:gd name="connsiteX379" fmla="*/ 1246228 w 1707029"/>
              <a:gd name="connsiteY379" fmla="*/ 748279 h 904588"/>
              <a:gd name="connsiteX380" fmla="*/ 1246228 w 1707029"/>
              <a:gd name="connsiteY380" fmla="*/ 752718 h 904588"/>
              <a:gd name="connsiteX381" fmla="*/ 1258614 w 1707029"/>
              <a:gd name="connsiteY381" fmla="*/ 742301 h 904588"/>
              <a:gd name="connsiteX382" fmla="*/ 1282076 w 1707029"/>
              <a:gd name="connsiteY382" fmla="*/ 736383 h 904588"/>
              <a:gd name="connsiteX383" fmla="*/ 283093 w 1707029"/>
              <a:gd name="connsiteY383" fmla="*/ 736383 h 904588"/>
              <a:gd name="connsiteX384" fmla="*/ 283093 w 1707029"/>
              <a:gd name="connsiteY384" fmla="*/ 736383 h 904588"/>
              <a:gd name="connsiteX385" fmla="*/ 283093 w 1707029"/>
              <a:gd name="connsiteY385" fmla="*/ 736383 h 904588"/>
              <a:gd name="connsiteX386" fmla="*/ 302207 w 1707029"/>
              <a:gd name="connsiteY386" fmla="*/ 740527 h 904588"/>
              <a:gd name="connsiteX387" fmla="*/ 302149 w 1707029"/>
              <a:gd name="connsiteY387" fmla="*/ 740644 h 904588"/>
              <a:gd name="connsiteX388" fmla="*/ 306971 w 1707029"/>
              <a:gd name="connsiteY388" fmla="*/ 750528 h 904588"/>
              <a:gd name="connsiteX389" fmla="*/ 304530 w 1707029"/>
              <a:gd name="connsiteY389" fmla="*/ 755086 h 904588"/>
              <a:gd name="connsiteX390" fmla="*/ 300361 w 1707029"/>
              <a:gd name="connsiteY390" fmla="*/ 757098 h 904588"/>
              <a:gd name="connsiteX391" fmla="*/ 300361 w 1707029"/>
              <a:gd name="connsiteY391" fmla="*/ 757098 h 904588"/>
              <a:gd name="connsiteX392" fmla="*/ 300361 w 1707029"/>
              <a:gd name="connsiteY392" fmla="*/ 757098 h 904588"/>
              <a:gd name="connsiteX393" fmla="*/ 295240 w 1707029"/>
              <a:gd name="connsiteY393" fmla="*/ 756861 h 904588"/>
              <a:gd name="connsiteX394" fmla="*/ 270706 w 1707029"/>
              <a:gd name="connsiteY394" fmla="*/ 756447 h 904588"/>
              <a:gd name="connsiteX395" fmla="*/ 253556 w 1707029"/>
              <a:gd name="connsiteY395" fmla="*/ 765147 h 904588"/>
              <a:gd name="connsiteX396" fmla="*/ 247245 w 1707029"/>
              <a:gd name="connsiteY396" fmla="*/ 781246 h 904588"/>
              <a:gd name="connsiteX397" fmla="*/ 247245 w 1707029"/>
              <a:gd name="connsiteY397" fmla="*/ 843154 h 904588"/>
              <a:gd name="connsiteX398" fmla="*/ 244564 w 1707029"/>
              <a:gd name="connsiteY398" fmla="*/ 851025 h 904588"/>
              <a:gd name="connsiteX399" fmla="*/ 236584 w 1707029"/>
              <a:gd name="connsiteY399" fmla="*/ 853807 h 904588"/>
              <a:gd name="connsiteX400" fmla="*/ 236584 w 1707029"/>
              <a:gd name="connsiteY400" fmla="*/ 853807 h 904588"/>
              <a:gd name="connsiteX401" fmla="*/ 236584 w 1707029"/>
              <a:gd name="connsiteY401" fmla="*/ 853807 h 904588"/>
              <a:gd name="connsiteX402" fmla="*/ 228664 w 1707029"/>
              <a:gd name="connsiteY402" fmla="*/ 851144 h 904588"/>
              <a:gd name="connsiteX403" fmla="*/ 225866 w 1707029"/>
              <a:gd name="connsiteY403" fmla="*/ 843154 h 904588"/>
              <a:gd name="connsiteX404" fmla="*/ 225866 w 1707029"/>
              <a:gd name="connsiteY404" fmla="*/ 748339 h 904588"/>
              <a:gd name="connsiteX405" fmla="*/ 228664 w 1707029"/>
              <a:gd name="connsiteY405" fmla="*/ 740467 h 904588"/>
              <a:gd name="connsiteX406" fmla="*/ 236584 w 1707029"/>
              <a:gd name="connsiteY406" fmla="*/ 737685 h 904588"/>
              <a:gd name="connsiteX407" fmla="*/ 236584 w 1707029"/>
              <a:gd name="connsiteY407" fmla="*/ 737685 h 904588"/>
              <a:gd name="connsiteX408" fmla="*/ 236584 w 1707029"/>
              <a:gd name="connsiteY408" fmla="*/ 737685 h 904588"/>
              <a:gd name="connsiteX409" fmla="*/ 244564 w 1707029"/>
              <a:gd name="connsiteY409" fmla="*/ 740349 h 904588"/>
              <a:gd name="connsiteX410" fmla="*/ 247245 w 1707029"/>
              <a:gd name="connsiteY410" fmla="*/ 748279 h 904588"/>
              <a:gd name="connsiteX411" fmla="*/ 247245 w 1707029"/>
              <a:gd name="connsiteY411" fmla="*/ 752718 h 904588"/>
              <a:gd name="connsiteX412" fmla="*/ 259629 w 1707029"/>
              <a:gd name="connsiteY412" fmla="*/ 742301 h 904588"/>
              <a:gd name="connsiteX413" fmla="*/ 283093 w 1707029"/>
              <a:gd name="connsiteY413" fmla="*/ 736383 h 904588"/>
              <a:gd name="connsiteX414" fmla="*/ 480675 w 1707029"/>
              <a:gd name="connsiteY414" fmla="*/ 700812 h 904588"/>
              <a:gd name="connsiteX415" fmla="*/ 480675 w 1707029"/>
              <a:gd name="connsiteY415" fmla="*/ 700812 h 904588"/>
              <a:gd name="connsiteX416" fmla="*/ 480675 w 1707029"/>
              <a:gd name="connsiteY416" fmla="*/ 700812 h 904588"/>
              <a:gd name="connsiteX417" fmla="*/ 488357 w 1707029"/>
              <a:gd name="connsiteY417" fmla="*/ 703772 h 904588"/>
              <a:gd name="connsiteX418" fmla="*/ 491334 w 1707029"/>
              <a:gd name="connsiteY418" fmla="*/ 711407 h 904588"/>
              <a:gd name="connsiteX419" fmla="*/ 491334 w 1707029"/>
              <a:gd name="connsiteY419" fmla="*/ 741946 h 904588"/>
              <a:gd name="connsiteX420" fmla="*/ 509496 w 1707029"/>
              <a:gd name="connsiteY420" fmla="*/ 741946 h 904588"/>
              <a:gd name="connsiteX421" fmla="*/ 509497 w 1707029"/>
              <a:gd name="connsiteY421" fmla="*/ 741946 h 904588"/>
              <a:gd name="connsiteX422" fmla="*/ 516761 w 1707029"/>
              <a:gd name="connsiteY422" fmla="*/ 744491 h 904588"/>
              <a:gd name="connsiteX423" fmla="*/ 519560 w 1707029"/>
              <a:gd name="connsiteY423" fmla="*/ 751298 h 904588"/>
              <a:gd name="connsiteX424" fmla="*/ 516761 w 1707029"/>
              <a:gd name="connsiteY424" fmla="*/ 757630 h 904588"/>
              <a:gd name="connsiteX425" fmla="*/ 509497 w 1707029"/>
              <a:gd name="connsiteY425" fmla="*/ 760175 h 904588"/>
              <a:gd name="connsiteX426" fmla="*/ 509496 w 1707029"/>
              <a:gd name="connsiteY426" fmla="*/ 760175 h 904588"/>
              <a:gd name="connsiteX427" fmla="*/ 491334 w 1707029"/>
              <a:gd name="connsiteY427" fmla="*/ 760175 h 904588"/>
              <a:gd name="connsiteX428" fmla="*/ 491334 w 1707029"/>
              <a:gd name="connsiteY428" fmla="*/ 812555 h 904588"/>
              <a:gd name="connsiteX429" fmla="*/ 496038 w 1707029"/>
              <a:gd name="connsiteY429" fmla="*/ 826759 h 904588"/>
              <a:gd name="connsiteX430" fmla="*/ 507590 w 1707029"/>
              <a:gd name="connsiteY430" fmla="*/ 832500 h 904588"/>
              <a:gd name="connsiteX431" fmla="*/ 514856 w 1707029"/>
              <a:gd name="connsiteY431" fmla="*/ 832500 h 904588"/>
              <a:gd name="connsiteX432" fmla="*/ 514856 w 1707029"/>
              <a:gd name="connsiteY432" fmla="*/ 832500 h 904588"/>
              <a:gd name="connsiteX433" fmla="*/ 521346 w 1707029"/>
              <a:gd name="connsiteY433" fmla="*/ 835459 h 904588"/>
              <a:gd name="connsiteX434" fmla="*/ 524026 w 1707029"/>
              <a:gd name="connsiteY434" fmla="*/ 843094 h 904588"/>
              <a:gd name="connsiteX435" fmla="*/ 520513 w 1707029"/>
              <a:gd name="connsiteY435" fmla="*/ 850729 h 904588"/>
              <a:gd name="connsiteX436" fmla="*/ 511461 w 1707029"/>
              <a:gd name="connsiteY436" fmla="*/ 853688 h 904588"/>
              <a:gd name="connsiteX437" fmla="*/ 511461 w 1707029"/>
              <a:gd name="connsiteY437" fmla="*/ 853688 h 904588"/>
              <a:gd name="connsiteX438" fmla="*/ 507590 w 1707029"/>
              <a:gd name="connsiteY438" fmla="*/ 853688 h 904588"/>
              <a:gd name="connsiteX439" fmla="*/ 507590 w 1707029"/>
              <a:gd name="connsiteY439" fmla="*/ 853688 h 904588"/>
              <a:gd name="connsiteX440" fmla="*/ 488357 w 1707029"/>
              <a:gd name="connsiteY440" fmla="*/ 848302 h 904588"/>
              <a:gd name="connsiteX441" fmla="*/ 474899 w 1707029"/>
              <a:gd name="connsiteY441" fmla="*/ 833565 h 904588"/>
              <a:gd name="connsiteX442" fmla="*/ 470016 w 1707029"/>
              <a:gd name="connsiteY442" fmla="*/ 812555 h 904588"/>
              <a:gd name="connsiteX443" fmla="*/ 470016 w 1707029"/>
              <a:gd name="connsiteY443" fmla="*/ 760175 h 904588"/>
              <a:gd name="connsiteX444" fmla="*/ 460190 w 1707029"/>
              <a:gd name="connsiteY444" fmla="*/ 760175 h 904588"/>
              <a:gd name="connsiteX445" fmla="*/ 460190 w 1707029"/>
              <a:gd name="connsiteY445" fmla="*/ 760175 h 904588"/>
              <a:gd name="connsiteX446" fmla="*/ 452925 w 1707029"/>
              <a:gd name="connsiteY446" fmla="*/ 757630 h 904588"/>
              <a:gd name="connsiteX447" fmla="*/ 450126 w 1707029"/>
              <a:gd name="connsiteY447" fmla="*/ 751298 h 904588"/>
              <a:gd name="connsiteX448" fmla="*/ 452925 w 1707029"/>
              <a:gd name="connsiteY448" fmla="*/ 744491 h 904588"/>
              <a:gd name="connsiteX449" fmla="*/ 460190 w 1707029"/>
              <a:gd name="connsiteY449" fmla="*/ 741946 h 904588"/>
              <a:gd name="connsiteX450" fmla="*/ 460190 w 1707029"/>
              <a:gd name="connsiteY450" fmla="*/ 741946 h 904588"/>
              <a:gd name="connsiteX451" fmla="*/ 470016 w 1707029"/>
              <a:gd name="connsiteY451" fmla="*/ 741946 h 904588"/>
              <a:gd name="connsiteX452" fmla="*/ 470016 w 1707029"/>
              <a:gd name="connsiteY452" fmla="*/ 711407 h 904588"/>
              <a:gd name="connsiteX453" fmla="*/ 472994 w 1707029"/>
              <a:gd name="connsiteY453" fmla="*/ 703772 h 904588"/>
              <a:gd name="connsiteX454" fmla="*/ 480675 w 1707029"/>
              <a:gd name="connsiteY454" fmla="*/ 700812 h 904588"/>
              <a:gd name="connsiteX455" fmla="*/ 155839 w 1707029"/>
              <a:gd name="connsiteY455" fmla="*/ 700812 h 904588"/>
              <a:gd name="connsiteX456" fmla="*/ 155840 w 1707029"/>
              <a:gd name="connsiteY456" fmla="*/ 700812 h 904588"/>
              <a:gd name="connsiteX457" fmla="*/ 163520 w 1707029"/>
              <a:gd name="connsiteY457" fmla="*/ 703772 h 904588"/>
              <a:gd name="connsiteX458" fmla="*/ 166497 w 1707029"/>
              <a:gd name="connsiteY458" fmla="*/ 711407 h 904588"/>
              <a:gd name="connsiteX459" fmla="*/ 166497 w 1707029"/>
              <a:gd name="connsiteY459" fmla="*/ 741946 h 904588"/>
              <a:gd name="connsiteX460" fmla="*/ 184660 w 1707029"/>
              <a:gd name="connsiteY460" fmla="*/ 741946 h 904588"/>
              <a:gd name="connsiteX461" fmla="*/ 184661 w 1707029"/>
              <a:gd name="connsiteY461" fmla="*/ 741946 h 904588"/>
              <a:gd name="connsiteX462" fmla="*/ 191925 w 1707029"/>
              <a:gd name="connsiteY462" fmla="*/ 744491 h 904588"/>
              <a:gd name="connsiteX463" fmla="*/ 194723 w 1707029"/>
              <a:gd name="connsiteY463" fmla="*/ 751298 h 904588"/>
              <a:gd name="connsiteX464" fmla="*/ 191925 w 1707029"/>
              <a:gd name="connsiteY464" fmla="*/ 757630 h 904588"/>
              <a:gd name="connsiteX465" fmla="*/ 184661 w 1707029"/>
              <a:gd name="connsiteY465" fmla="*/ 760175 h 904588"/>
              <a:gd name="connsiteX466" fmla="*/ 184660 w 1707029"/>
              <a:gd name="connsiteY466" fmla="*/ 760175 h 904588"/>
              <a:gd name="connsiteX467" fmla="*/ 166497 w 1707029"/>
              <a:gd name="connsiteY467" fmla="*/ 760175 h 904588"/>
              <a:gd name="connsiteX468" fmla="*/ 166497 w 1707029"/>
              <a:gd name="connsiteY468" fmla="*/ 812555 h 904588"/>
              <a:gd name="connsiteX469" fmla="*/ 171203 w 1707029"/>
              <a:gd name="connsiteY469" fmla="*/ 826759 h 904588"/>
              <a:gd name="connsiteX470" fmla="*/ 182755 w 1707029"/>
              <a:gd name="connsiteY470" fmla="*/ 832500 h 904588"/>
              <a:gd name="connsiteX471" fmla="*/ 190020 w 1707029"/>
              <a:gd name="connsiteY471" fmla="*/ 832500 h 904588"/>
              <a:gd name="connsiteX472" fmla="*/ 190020 w 1707029"/>
              <a:gd name="connsiteY472" fmla="*/ 832500 h 904588"/>
              <a:gd name="connsiteX473" fmla="*/ 196510 w 1707029"/>
              <a:gd name="connsiteY473" fmla="*/ 835459 h 904588"/>
              <a:gd name="connsiteX474" fmla="*/ 199189 w 1707029"/>
              <a:gd name="connsiteY474" fmla="*/ 843094 h 904588"/>
              <a:gd name="connsiteX475" fmla="*/ 195676 w 1707029"/>
              <a:gd name="connsiteY475" fmla="*/ 850729 h 904588"/>
              <a:gd name="connsiteX476" fmla="*/ 186624 w 1707029"/>
              <a:gd name="connsiteY476" fmla="*/ 853688 h 904588"/>
              <a:gd name="connsiteX477" fmla="*/ 186624 w 1707029"/>
              <a:gd name="connsiteY477" fmla="*/ 853688 h 904588"/>
              <a:gd name="connsiteX478" fmla="*/ 182755 w 1707029"/>
              <a:gd name="connsiteY478" fmla="*/ 853688 h 904588"/>
              <a:gd name="connsiteX479" fmla="*/ 182754 w 1707029"/>
              <a:gd name="connsiteY479" fmla="*/ 853688 h 904588"/>
              <a:gd name="connsiteX480" fmla="*/ 163520 w 1707029"/>
              <a:gd name="connsiteY480" fmla="*/ 848302 h 904588"/>
              <a:gd name="connsiteX481" fmla="*/ 150062 w 1707029"/>
              <a:gd name="connsiteY481" fmla="*/ 833565 h 904588"/>
              <a:gd name="connsiteX482" fmla="*/ 145179 w 1707029"/>
              <a:gd name="connsiteY482" fmla="*/ 812555 h 904588"/>
              <a:gd name="connsiteX483" fmla="*/ 145179 w 1707029"/>
              <a:gd name="connsiteY483" fmla="*/ 760175 h 904588"/>
              <a:gd name="connsiteX484" fmla="*/ 135355 w 1707029"/>
              <a:gd name="connsiteY484" fmla="*/ 760175 h 904588"/>
              <a:gd name="connsiteX485" fmla="*/ 135354 w 1707029"/>
              <a:gd name="connsiteY485" fmla="*/ 760175 h 904588"/>
              <a:gd name="connsiteX486" fmla="*/ 128088 w 1707029"/>
              <a:gd name="connsiteY486" fmla="*/ 757630 h 904588"/>
              <a:gd name="connsiteX487" fmla="*/ 125290 w 1707029"/>
              <a:gd name="connsiteY487" fmla="*/ 751298 h 904588"/>
              <a:gd name="connsiteX488" fmla="*/ 128088 w 1707029"/>
              <a:gd name="connsiteY488" fmla="*/ 744491 h 904588"/>
              <a:gd name="connsiteX489" fmla="*/ 135354 w 1707029"/>
              <a:gd name="connsiteY489" fmla="*/ 741946 h 904588"/>
              <a:gd name="connsiteX490" fmla="*/ 135355 w 1707029"/>
              <a:gd name="connsiteY490" fmla="*/ 741946 h 904588"/>
              <a:gd name="connsiteX491" fmla="*/ 145179 w 1707029"/>
              <a:gd name="connsiteY491" fmla="*/ 741946 h 904588"/>
              <a:gd name="connsiteX492" fmla="*/ 145179 w 1707029"/>
              <a:gd name="connsiteY492" fmla="*/ 711407 h 904588"/>
              <a:gd name="connsiteX493" fmla="*/ 148157 w 1707029"/>
              <a:gd name="connsiteY493" fmla="*/ 703772 h 904588"/>
              <a:gd name="connsiteX494" fmla="*/ 155839 w 1707029"/>
              <a:gd name="connsiteY494" fmla="*/ 700812 h 904588"/>
              <a:gd name="connsiteX495" fmla="*/ 174835 w 1707029"/>
              <a:gd name="connsiteY495" fmla="*/ 424951 h 904588"/>
              <a:gd name="connsiteX496" fmla="*/ 94088 w 1707029"/>
              <a:gd name="connsiteY496" fmla="*/ 536042 h 904588"/>
              <a:gd name="connsiteX497" fmla="*/ 174835 w 1707029"/>
              <a:gd name="connsiteY497" fmla="*/ 536042 h 904588"/>
              <a:gd name="connsiteX498" fmla="*/ 1492163 w 1707029"/>
              <a:gd name="connsiteY498" fmla="*/ 388136 h 904588"/>
              <a:gd name="connsiteX499" fmla="*/ 1492163 w 1707029"/>
              <a:gd name="connsiteY499" fmla="*/ 580548 h 904588"/>
              <a:gd name="connsiteX500" fmla="*/ 1528310 w 1707029"/>
              <a:gd name="connsiteY500" fmla="*/ 580548 h 904588"/>
              <a:gd name="connsiteX501" fmla="*/ 1565349 w 1707029"/>
              <a:gd name="connsiteY501" fmla="*/ 575814 h 904588"/>
              <a:gd name="connsiteX502" fmla="*/ 1597445 w 1707029"/>
              <a:gd name="connsiteY502" fmla="*/ 559893 h 904588"/>
              <a:gd name="connsiteX503" fmla="*/ 1619657 w 1707029"/>
              <a:gd name="connsiteY503" fmla="*/ 530064 h 904588"/>
              <a:gd name="connsiteX504" fmla="*/ 1627875 w 1707029"/>
              <a:gd name="connsiteY504" fmla="*/ 484372 h 904588"/>
              <a:gd name="connsiteX505" fmla="*/ 1619657 w 1707029"/>
              <a:gd name="connsiteY505" fmla="*/ 438681 h 904588"/>
              <a:gd name="connsiteX506" fmla="*/ 1597445 w 1707029"/>
              <a:gd name="connsiteY506" fmla="*/ 408852 h 904588"/>
              <a:gd name="connsiteX507" fmla="*/ 1565349 w 1707029"/>
              <a:gd name="connsiteY507" fmla="*/ 392872 h 904588"/>
              <a:gd name="connsiteX508" fmla="*/ 1528310 w 1707029"/>
              <a:gd name="connsiteY508" fmla="*/ 388136 h 904588"/>
              <a:gd name="connsiteX509" fmla="*/ 1216216 w 1707029"/>
              <a:gd name="connsiteY509" fmla="*/ 383047 h 904588"/>
              <a:gd name="connsiteX510" fmla="*/ 1165660 w 1707029"/>
              <a:gd name="connsiteY510" fmla="*/ 396068 h 904588"/>
              <a:gd name="connsiteX511" fmla="*/ 1132193 w 1707029"/>
              <a:gd name="connsiteY511" fmla="*/ 431993 h 904588"/>
              <a:gd name="connsiteX512" fmla="*/ 1120403 w 1707029"/>
              <a:gd name="connsiteY512" fmla="*/ 484372 h 904588"/>
              <a:gd name="connsiteX513" fmla="*/ 1132193 w 1707029"/>
              <a:gd name="connsiteY513" fmla="*/ 536751 h 904588"/>
              <a:gd name="connsiteX514" fmla="*/ 1165660 w 1707029"/>
              <a:gd name="connsiteY514" fmla="*/ 572677 h 904588"/>
              <a:gd name="connsiteX515" fmla="*/ 1216216 w 1707029"/>
              <a:gd name="connsiteY515" fmla="*/ 585698 h 904588"/>
              <a:gd name="connsiteX516" fmla="*/ 1266296 w 1707029"/>
              <a:gd name="connsiteY516" fmla="*/ 572677 h 904588"/>
              <a:gd name="connsiteX517" fmla="*/ 1299763 w 1707029"/>
              <a:gd name="connsiteY517" fmla="*/ 536751 h 904588"/>
              <a:gd name="connsiteX518" fmla="*/ 1299763 w 1707029"/>
              <a:gd name="connsiteY518" fmla="*/ 536692 h 904588"/>
              <a:gd name="connsiteX519" fmla="*/ 1311553 w 1707029"/>
              <a:gd name="connsiteY519" fmla="*/ 484313 h 904588"/>
              <a:gd name="connsiteX520" fmla="*/ 1300001 w 1707029"/>
              <a:gd name="connsiteY520" fmla="*/ 431993 h 904588"/>
              <a:gd name="connsiteX521" fmla="*/ 1267012 w 1707029"/>
              <a:gd name="connsiteY521" fmla="*/ 396068 h 904588"/>
              <a:gd name="connsiteX522" fmla="*/ 1216216 w 1707029"/>
              <a:gd name="connsiteY522" fmla="*/ 383047 h 904588"/>
              <a:gd name="connsiteX523" fmla="*/ 842074 w 1707029"/>
              <a:gd name="connsiteY523" fmla="*/ 383047 h 904588"/>
              <a:gd name="connsiteX524" fmla="*/ 791518 w 1707029"/>
              <a:gd name="connsiteY524" fmla="*/ 396068 h 904588"/>
              <a:gd name="connsiteX525" fmla="*/ 758051 w 1707029"/>
              <a:gd name="connsiteY525" fmla="*/ 431993 h 904588"/>
              <a:gd name="connsiteX526" fmla="*/ 746260 w 1707029"/>
              <a:gd name="connsiteY526" fmla="*/ 484372 h 904588"/>
              <a:gd name="connsiteX527" fmla="*/ 758051 w 1707029"/>
              <a:gd name="connsiteY527" fmla="*/ 536751 h 904588"/>
              <a:gd name="connsiteX528" fmla="*/ 791518 w 1707029"/>
              <a:gd name="connsiteY528" fmla="*/ 572677 h 904588"/>
              <a:gd name="connsiteX529" fmla="*/ 842074 w 1707029"/>
              <a:gd name="connsiteY529" fmla="*/ 585698 h 904588"/>
              <a:gd name="connsiteX530" fmla="*/ 892153 w 1707029"/>
              <a:gd name="connsiteY530" fmla="*/ 572677 h 904588"/>
              <a:gd name="connsiteX531" fmla="*/ 925620 w 1707029"/>
              <a:gd name="connsiteY531" fmla="*/ 536751 h 904588"/>
              <a:gd name="connsiteX532" fmla="*/ 925620 w 1707029"/>
              <a:gd name="connsiteY532" fmla="*/ 536692 h 904588"/>
              <a:gd name="connsiteX533" fmla="*/ 937411 w 1707029"/>
              <a:gd name="connsiteY533" fmla="*/ 484313 h 904588"/>
              <a:gd name="connsiteX534" fmla="*/ 925858 w 1707029"/>
              <a:gd name="connsiteY534" fmla="*/ 431993 h 904588"/>
              <a:gd name="connsiteX535" fmla="*/ 892869 w 1707029"/>
              <a:gd name="connsiteY535" fmla="*/ 396068 h 904588"/>
              <a:gd name="connsiteX536" fmla="*/ 842074 w 1707029"/>
              <a:gd name="connsiteY536" fmla="*/ 383047 h 904588"/>
              <a:gd name="connsiteX537" fmla="*/ 1417966 w 1707029"/>
              <a:gd name="connsiteY537" fmla="*/ 325637 h 904588"/>
              <a:gd name="connsiteX538" fmla="*/ 1531108 w 1707029"/>
              <a:gd name="connsiteY538" fmla="*/ 325637 h 904588"/>
              <a:gd name="connsiteX539" fmla="*/ 1622336 w 1707029"/>
              <a:gd name="connsiteY539" fmla="*/ 345168 h 904588"/>
              <a:gd name="connsiteX540" fmla="*/ 1681588 w 1707029"/>
              <a:gd name="connsiteY540" fmla="*/ 399915 h 904588"/>
              <a:gd name="connsiteX541" fmla="*/ 1681528 w 1707029"/>
              <a:gd name="connsiteY541" fmla="*/ 399974 h 904588"/>
              <a:gd name="connsiteX542" fmla="*/ 1702489 w 1707029"/>
              <a:gd name="connsiteY542" fmla="*/ 484431 h 904588"/>
              <a:gd name="connsiteX543" fmla="*/ 1681528 w 1707029"/>
              <a:gd name="connsiteY543" fmla="*/ 568652 h 904588"/>
              <a:gd name="connsiteX544" fmla="*/ 1622336 w 1707029"/>
              <a:gd name="connsiteY544" fmla="*/ 623636 h 904588"/>
              <a:gd name="connsiteX545" fmla="*/ 1531108 w 1707029"/>
              <a:gd name="connsiteY545" fmla="*/ 643225 h 904588"/>
              <a:gd name="connsiteX546" fmla="*/ 1417966 w 1707029"/>
              <a:gd name="connsiteY546" fmla="*/ 643225 h 904588"/>
              <a:gd name="connsiteX547" fmla="*/ 187637 w 1707029"/>
              <a:gd name="connsiteY547" fmla="*/ 325578 h 904588"/>
              <a:gd name="connsiteX548" fmla="*/ 187638 w 1707029"/>
              <a:gd name="connsiteY548" fmla="*/ 325578 h 904588"/>
              <a:gd name="connsiteX549" fmla="*/ 241052 w 1707029"/>
              <a:gd name="connsiteY549" fmla="*/ 325578 h 904588"/>
              <a:gd name="connsiteX550" fmla="*/ 241053 w 1707029"/>
              <a:gd name="connsiteY550" fmla="*/ 325578 h 904588"/>
              <a:gd name="connsiteX551" fmla="*/ 241053 w 1707029"/>
              <a:gd name="connsiteY551" fmla="*/ 525861 h 904588"/>
              <a:gd name="connsiteX552" fmla="*/ 278091 w 1707029"/>
              <a:gd name="connsiteY552" fmla="*/ 525861 h 904588"/>
              <a:gd name="connsiteX553" fmla="*/ 278092 w 1707029"/>
              <a:gd name="connsiteY553" fmla="*/ 525861 h 904588"/>
              <a:gd name="connsiteX554" fmla="*/ 278092 w 1707029"/>
              <a:gd name="connsiteY554" fmla="*/ 585698 h 904588"/>
              <a:gd name="connsiteX555" fmla="*/ 278091 w 1707029"/>
              <a:gd name="connsiteY555" fmla="*/ 585698 h 904588"/>
              <a:gd name="connsiteX556" fmla="*/ 241053 w 1707029"/>
              <a:gd name="connsiteY556" fmla="*/ 585698 h 904588"/>
              <a:gd name="connsiteX557" fmla="*/ 241053 w 1707029"/>
              <a:gd name="connsiteY557" fmla="*/ 643166 h 904588"/>
              <a:gd name="connsiteX558" fmla="*/ 241052 w 1707029"/>
              <a:gd name="connsiteY558" fmla="*/ 643166 h 904588"/>
              <a:gd name="connsiteX559" fmla="*/ 165963 w 1707029"/>
              <a:gd name="connsiteY559" fmla="*/ 643166 h 904588"/>
              <a:gd name="connsiteX560" fmla="*/ 165962 w 1707029"/>
              <a:gd name="connsiteY560" fmla="*/ 643166 h 904588"/>
              <a:gd name="connsiteX561" fmla="*/ 165962 w 1707029"/>
              <a:gd name="connsiteY561" fmla="*/ 585698 h 904588"/>
              <a:gd name="connsiteX562" fmla="*/ 3158 w 1707029"/>
              <a:gd name="connsiteY562" fmla="*/ 585698 h 904588"/>
              <a:gd name="connsiteX563" fmla="*/ 3157 w 1707029"/>
              <a:gd name="connsiteY563" fmla="*/ 585698 h 904588"/>
              <a:gd name="connsiteX564" fmla="*/ 1216157 w 1707029"/>
              <a:gd name="connsiteY564" fmla="*/ 318180 h 904588"/>
              <a:gd name="connsiteX565" fmla="*/ 1284637 w 1707029"/>
              <a:gd name="connsiteY565" fmla="*/ 330254 h 904588"/>
              <a:gd name="connsiteX566" fmla="*/ 1339243 w 1707029"/>
              <a:gd name="connsiteY566" fmla="*/ 364522 h 904588"/>
              <a:gd name="connsiteX567" fmla="*/ 1375269 w 1707029"/>
              <a:gd name="connsiteY567" fmla="*/ 417138 h 904588"/>
              <a:gd name="connsiteX568" fmla="*/ 1388073 w 1707029"/>
              <a:gd name="connsiteY568" fmla="*/ 484431 h 904588"/>
              <a:gd name="connsiteX569" fmla="*/ 1375508 w 1707029"/>
              <a:gd name="connsiteY569" fmla="*/ 552199 h 904588"/>
              <a:gd name="connsiteX570" fmla="*/ 1339899 w 1707029"/>
              <a:gd name="connsiteY570" fmla="*/ 605703 h 904588"/>
              <a:gd name="connsiteX571" fmla="*/ 1285352 w 1707029"/>
              <a:gd name="connsiteY571" fmla="*/ 640858 h 904588"/>
              <a:gd name="connsiteX572" fmla="*/ 1216216 w 1707029"/>
              <a:gd name="connsiteY572" fmla="*/ 653346 h 904588"/>
              <a:gd name="connsiteX573" fmla="*/ 1146604 w 1707029"/>
              <a:gd name="connsiteY573" fmla="*/ 640858 h 904588"/>
              <a:gd name="connsiteX574" fmla="*/ 1091998 w 1707029"/>
              <a:gd name="connsiteY574" fmla="*/ 605703 h 904588"/>
              <a:gd name="connsiteX575" fmla="*/ 1056389 w 1707029"/>
              <a:gd name="connsiteY575" fmla="*/ 552199 h 904588"/>
              <a:gd name="connsiteX576" fmla="*/ 1043824 w 1707029"/>
              <a:gd name="connsiteY576" fmla="*/ 484431 h 904588"/>
              <a:gd name="connsiteX577" fmla="*/ 1056864 w 1707029"/>
              <a:gd name="connsiteY577" fmla="*/ 417138 h 904588"/>
              <a:gd name="connsiteX578" fmla="*/ 1093129 w 1707029"/>
              <a:gd name="connsiteY578" fmla="*/ 364522 h 904588"/>
              <a:gd name="connsiteX579" fmla="*/ 1147914 w 1707029"/>
              <a:gd name="connsiteY579" fmla="*/ 330254 h 904588"/>
              <a:gd name="connsiteX580" fmla="*/ 1216157 w 1707029"/>
              <a:gd name="connsiteY580" fmla="*/ 318180 h 904588"/>
              <a:gd name="connsiteX581" fmla="*/ 842014 w 1707029"/>
              <a:gd name="connsiteY581" fmla="*/ 318180 h 904588"/>
              <a:gd name="connsiteX582" fmla="*/ 910494 w 1707029"/>
              <a:gd name="connsiteY582" fmla="*/ 330254 h 904588"/>
              <a:gd name="connsiteX583" fmla="*/ 965100 w 1707029"/>
              <a:gd name="connsiteY583" fmla="*/ 364522 h 904588"/>
              <a:gd name="connsiteX584" fmla="*/ 965160 w 1707029"/>
              <a:gd name="connsiteY584" fmla="*/ 364522 h 904588"/>
              <a:gd name="connsiteX585" fmla="*/ 1001187 w 1707029"/>
              <a:gd name="connsiteY585" fmla="*/ 417138 h 904588"/>
              <a:gd name="connsiteX586" fmla="*/ 1013990 w 1707029"/>
              <a:gd name="connsiteY586" fmla="*/ 484431 h 904588"/>
              <a:gd name="connsiteX587" fmla="*/ 1001425 w 1707029"/>
              <a:gd name="connsiteY587" fmla="*/ 552199 h 904588"/>
              <a:gd name="connsiteX588" fmla="*/ 965814 w 1707029"/>
              <a:gd name="connsiteY588" fmla="*/ 605703 h 904588"/>
              <a:gd name="connsiteX589" fmla="*/ 911210 w 1707029"/>
              <a:gd name="connsiteY589" fmla="*/ 640858 h 904588"/>
              <a:gd name="connsiteX590" fmla="*/ 842074 w 1707029"/>
              <a:gd name="connsiteY590" fmla="*/ 653346 h 904588"/>
              <a:gd name="connsiteX591" fmla="*/ 772461 w 1707029"/>
              <a:gd name="connsiteY591" fmla="*/ 640858 h 904588"/>
              <a:gd name="connsiteX592" fmla="*/ 717857 w 1707029"/>
              <a:gd name="connsiteY592" fmla="*/ 605703 h 904588"/>
              <a:gd name="connsiteX593" fmla="*/ 682246 w 1707029"/>
              <a:gd name="connsiteY593" fmla="*/ 552199 h 904588"/>
              <a:gd name="connsiteX594" fmla="*/ 669681 w 1707029"/>
              <a:gd name="connsiteY594" fmla="*/ 484431 h 904588"/>
              <a:gd name="connsiteX595" fmla="*/ 682723 w 1707029"/>
              <a:gd name="connsiteY595" fmla="*/ 417138 h 904588"/>
              <a:gd name="connsiteX596" fmla="*/ 718987 w 1707029"/>
              <a:gd name="connsiteY596" fmla="*/ 364522 h 904588"/>
              <a:gd name="connsiteX597" fmla="*/ 773771 w 1707029"/>
              <a:gd name="connsiteY597" fmla="*/ 330254 h 904588"/>
              <a:gd name="connsiteX598" fmla="*/ 842014 w 1707029"/>
              <a:gd name="connsiteY598" fmla="*/ 318180 h 904588"/>
              <a:gd name="connsiteX599" fmla="*/ 478590 w 1707029"/>
              <a:gd name="connsiteY599" fmla="*/ 318061 h 904588"/>
              <a:gd name="connsiteX600" fmla="*/ 478590 w 1707029"/>
              <a:gd name="connsiteY600" fmla="*/ 318061 h 904588"/>
              <a:gd name="connsiteX601" fmla="*/ 478591 w 1707029"/>
              <a:gd name="connsiteY601" fmla="*/ 318061 h 904588"/>
              <a:gd name="connsiteX602" fmla="*/ 539449 w 1707029"/>
              <a:gd name="connsiteY602" fmla="*/ 327590 h 904588"/>
              <a:gd name="connsiteX603" fmla="*/ 587148 w 1707029"/>
              <a:gd name="connsiteY603" fmla="*/ 354164 h 904588"/>
              <a:gd name="connsiteX604" fmla="*/ 620853 w 1707029"/>
              <a:gd name="connsiteY604" fmla="*/ 390326 h 904588"/>
              <a:gd name="connsiteX605" fmla="*/ 557314 w 1707029"/>
              <a:gd name="connsiteY605" fmla="*/ 423175 h 904588"/>
              <a:gd name="connsiteX606" fmla="*/ 557313 w 1707029"/>
              <a:gd name="connsiteY606" fmla="*/ 423175 h 904588"/>
              <a:gd name="connsiteX607" fmla="*/ 557313 w 1707029"/>
              <a:gd name="connsiteY607" fmla="*/ 423175 h 904588"/>
              <a:gd name="connsiteX608" fmla="*/ 527896 w 1707029"/>
              <a:gd name="connsiteY608" fmla="*/ 392694 h 904588"/>
              <a:gd name="connsiteX609" fmla="*/ 478590 w 1707029"/>
              <a:gd name="connsiteY609" fmla="*/ 379378 h 904588"/>
              <a:gd name="connsiteX610" fmla="*/ 427261 w 1707029"/>
              <a:gd name="connsiteY610" fmla="*/ 391866 h 904588"/>
              <a:gd name="connsiteX611" fmla="*/ 389983 w 1707029"/>
              <a:gd name="connsiteY611" fmla="*/ 427672 h 904588"/>
              <a:gd name="connsiteX612" fmla="*/ 376228 w 1707029"/>
              <a:gd name="connsiteY612" fmla="*/ 484372 h 904588"/>
              <a:gd name="connsiteX613" fmla="*/ 389507 w 1707029"/>
              <a:gd name="connsiteY613" fmla="*/ 541427 h 904588"/>
              <a:gd name="connsiteX614" fmla="*/ 425831 w 1707029"/>
              <a:gd name="connsiteY614" fmla="*/ 578950 h 904588"/>
              <a:gd name="connsiteX615" fmla="*/ 478651 w 1707029"/>
              <a:gd name="connsiteY615" fmla="*/ 592149 h 904588"/>
              <a:gd name="connsiteX616" fmla="*/ 511878 w 1707029"/>
              <a:gd name="connsiteY616" fmla="*/ 587591 h 904588"/>
              <a:gd name="connsiteX617" fmla="*/ 537782 w 1707029"/>
              <a:gd name="connsiteY617" fmla="*/ 574452 h 904588"/>
              <a:gd name="connsiteX618" fmla="*/ 556003 w 1707029"/>
              <a:gd name="connsiteY618" fmla="*/ 554625 h 904588"/>
              <a:gd name="connsiteX619" fmla="*/ 567793 w 1707029"/>
              <a:gd name="connsiteY619" fmla="*/ 530418 h 904588"/>
              <a:gd name="connsiteX620" fmla="*/ 569342 w 1707029"/>
              <a:gd name="connsiteY620" fmla="*/ 525860 h 904588"/>
              <a:gd name="connsiteX621" fmla="*/ 481212 w 1707029"/>
              <a:gd name="connsiteY621" fmla="*/ 525860 h 904588"/>
              <a:gd name="connsiteX622" fmla="*/ 481212 w 1707029"/>
              <a:gd name="connsiteY622" fmla="*/ 525860 h 904588"/>
              <a:gd name="connsiteX623" fmla="*/ 481212 w 1707029"/>
              <a:gd name="connsiteY623" fmla="*/ 472535 h 904588"/>
              <a:gd name="connsiteX624" fmla="*/ 481212 w 1707029"/>
              <a:gd name="connsiteY624" fmla="*/ 472535 h 904588"/>
              <a:gd name="connsiteX625" fmla="*/ 639550 w 1707029"/>
              <a:gd name="connsiteY625" fmla="*/ 472535 h 904588"/>
              <a:gd name="connsiteX626" fmla="*/ 639550 w 1707029"/>
              <a:gd name="connsiteY626" fmla="*/ 472535 h 904588"/>
              <a:gd name="connsiteX627" fmla="*/ 631571 w 1707029"/>
              <a:gd name="connsiteY627" fmla="*/ 540835 h 904588"/>
              <a:gd name="connsiteX628" fmla="*/ 600486 w 1707029"/>
              <a:gd name="connsiteY628" fmla="*/ 599428 h 904588"/>
              <a:gd name="connsiteX629" fmla="*/ 548084 w 1707029"/>
              <a:gd name="connsiteY629" fmla="*/ 639023 h 904588"/>
              <a:gd name="connsiteX630" fmla="*/ 475853 w 1707029"/>
              <a:gd name="connsiteY630" fmla="*/ 653286 h 904588"/>
              <a:gd name="connsiteX631" fmla="*/ 475852 w 1707029"/>
              <a:gd name="connsiteY631" fmla="*/ 653286 h 904588"/>
              <a:gd name="connsiteX632" fmla="*/ 475852 w 1707029"/>
              <a:gd name="connsiteY632" fmla="*/ 653286 h 904588"/>
              <a:gd name="connsiteX633" fmla="*/ 405228 w 1707029"/>
              <a:gd name="connsiteY633" fmla="*/ 641213 h 904588"/>
              <a:gd name="connsiteX634" fmla="*/ 349967 w 1707029"/>
              <a:gd name="connsiteY634" fmla="*/ 606708 h 904588"/>
              <a:gd name="connsiteX635" fmla="*/ 313702 w 1707029"/>
              <a:gd name="connsiteY635" fmla="*/ 553145 h 904588"/>
              <a:gd name="connsiteX636" fmla="*/ 300660 w 1707029"/>
              <a:gd name="connsiteY636" fmla="*/ 484253 h 904588"/>
              <a:gd name="connsiteX637" fmla="*/ 313880 w 1707029"/>
              <a:gd name="connsiteY637" fmla="*/ 415835 h 904588"/>
              <a:gd name="connsiteX638" fmla="*/ 351276 w 1707029"/>
              <a:gd name="connsiteY638" fmla="*/ 363515 h 904588"/>
              <a:gd name="connsiteX639" fmla="*/ 407967 w 1707029"/>
              <a:gd name="connsiteY639" fmla="*/ 329898 h 904588"/>
              <a:gd name="connsiteX640" fmla="*/ 478590 w 1707029"/>
              <a:gd name="connsiteY640" fmla="*/ 318061 h 904588"/>
              <a:gd name="connsiteX641" fmla="*/ 255562 w 1707029"/>
              <a:gd name="connsiteY641" fmla="*/ 134765 h 904588"/>
              <a:gd name="connsiteX642" fmla="*/ 255581 w 1707029"/>
              <a:gd name="connsiteY642" fmla="*/ 134823 h 904588"/>
              <a:gd name="connsiteX643" fmla="*/ 255581 w 1707029"/>
              <a:gd name="connsiteY643" fmla="*/ 134765 h 904588"/>
              <a:gd name="connsiteX644" fmla="*/ 1446549 w 1707029"/>
              <a:gd name="connsiteY644" fmla="*/ 98484 h 904588"/>
              <a:gd name="connsiteX645" fmla="*/ 1420883 w 1707029"/>
              <a:gd name="connsiteY645" fmla="*/ 105113 h 904588"/>
              <a:gd name="connsiteX646" fmla="*/ 1403317 w 1707029"/>
              <a:gd name="connsiteY646" fmla="*/ 123461 h 904588"/>
              <a:gd name="connsiteX647" fmla="*/ 1396885 w 1707029"/>
              <a:gd name="connsiteY647" fmla="*/ 150568 h 904588"/>
              <a:gd name="connsiteX648" fmla="*/ 1403317 w 1707029"/>
              <a:gd name="connsiteY648" fmla="*/ 177497 h 904588"/>
              <a:gd name="connsiteX649" fmla="*/ 1420883 w 1707029"/>
              <a:gd name="connsiteY649" fmla="*/ 195726 h 904588"/>
              <a:gd name="connsiteX650" fmla="*/ 1446549 w 1707029"/>
              <a:gd name="connsiteY650" fmla="*/ 202355 h 904588"/>
              <a:gd name="connsiteX651" fmla="*/ 1472215 w 1707029"/>
              <a:gd name="connsiteY651" fmla="*/ 195726 h 904588"/>
              <a:gd name="connsiteX652" fmla="*/ 1489603 w 1707029"/>
              <a:gd name="connsiteY652" fmla="*/ 177556 h 904588"/>
              <a:gd name="connsiteX653" fmla="*/ 1495907 w 1707029"/>
              <a:gd name="connsiteY653" fmla="*/ 150597 h 904588"/>
              <a:gd name="connsiteX654" fmla="*/ 1495907 w 1707029"/>
              <a:gd name="connsiteY654" fmla="*/ 150597 h 904588"/>
              <a:gd name="connsiteX655" fmla="*/ 1495907 w 1707029"/>
              <a:gd name="connsiteY655" fmla="*/ 150597 h 904588"/>
              <a:gd name="connsiteX656" fmla="*/ 1495914 w 1707029"/>
              <a:gd name="connsiteY656" fmla="*/ 150626 h 904588"/>
              <a:gd name="connsiteX657" fmla="*/ 1495914 w 1707029"/>
              <a:gd name="connsiteY657" fmla="*/ 150568 h 904588"/>
              <a:gd name="connsiteX658" fmla="*/ 1495907 w 1707029"/>
              <a:gd name="connsiteY658" fmla="*/ 150597 h 904588"/>
              <a:gd name="connsiteX659" fmla="*/ 1495907 w 1707029"/>
              <a:gd name="connsiteY659" fmla="*/ 150597 h 904588"/>
              <a:gd name="connsiteX660" fmla="*/ 1495907 w 1707029"/>
              <a:gd name="connsiteY660" fmla="*/ 150597 h 904588"/>
              <a:gd name="connsiteX661" fmla="*/ 1489603 w 1707029"/>
              <a:gd name="connsiteY661" fmla="*/ 123461 h 904588"/>
              <a:gd name="connsiteX662" fmla="*/ 1472215 w 1707029"/>
              <a:gd name="connsiteY662" fmla="*/ 105113 h 904588"/>
              <a:gd name="connsiteX663" fmla="*/ 1446549 w 1707029"/>
              <a:gd name="connsiteY663" fmla="*/ 98484 h 904588"/>
              <a:gd name="connsiteX664" fmla="*/ 1247896 w 1707029"/>
              <a:gd name="connsiteY664" fmla="*/ 98484 h 904588"/>
              <a:gd name="connsiteX665" fmla="*/ 1222230 w 1707029"/>
              <a:gd name="connsiteY665" fmla="*/ 105113 h 904588"/>
              <a:gd name="connsiteX666" fmla="*/ 1204663 w 1707029"/>
              <a:gd name="connsiteY666" fmla="*/ 123461 h 904588"/>
              <a:gd name="connsiteX667" fmla="*/ 1198232 w 1707029"/>
              <a:gd name="connsiteY667" fmla="*/ 150568 h 904588"/>
              <a:gd name="connsiteX668" fmla="*/ 1204663 w 1707029"/>
              <a:gd name="connsiteY668" fmla="*/ 177497 h 904588"/>
              <a:gd name="connsiteX669" fmla="*/ 1222230 w 1707029"/>
              <a:gd name="connsiteY669" fmla="*/ 195726 h 904588"/>
              <a:gd name="connsiteX670" fmla="*/ 1247896 w 1707029"/>
              <a:gd name="connsiteY670" fmla="*/ 202355 h 904588"/>
              <a:gd name="connsiteX671" fmla="*/ 1273560 w 1707029"/>
              <a:gd name="connsiteY671" fmla="*/ 195726 h 904588"/>
              <a:gd name="connsiteX672" fmla="*/ 1290950 w 1707029"/>
              <a:gd name="connsiteY672" fmla="*/ 177556 h 904588"/>
              <a:gd name="connsiteX673" fmla="*/ 1297261 w 1707029"/>
              <a:gd name="connsiteY673" fmla="*/ 150568 h 904588"/>
              <a:gd name="connsiteX674" fmla="*/ 1297321 w 1707029"/>
              <a:gd name="connsiteY674" fmla="*/ 150626 h 904588"/>
              <a:gd name="connsiteX675" fmla="*/ 1291009 w 1707029"/>
              <a:gd name="connsiteY675" fmla="*/ 123461 h 904588"/>
              <a:gd name="connsiteX676" fmla="*/ 1273620 w 1707029"/>
              <a:gd name="connsiteY676" fmla="*/ 105113 h 904588"/>
              <a:gd name="connsiteX677" fmla="*/ 1247896 w 1707029"/>
              <a:gd name="connsiteY677" fmla="*/ 98484 h 904588"/>
              <a:gd name="connsiteX678" fmla="*/ 969806 w 1707029"/>
              <a:gd name="connsiteY678" fmla="*/ 98484 h 904588"/>
              <a:gd name="connsiteX679" fmla="*/ 944140 w 1707029"/>
              <a:gd name="connsiteY679" fmla="*/ 105113 h 904588"/>
              <a:gd name="connsiteX680" fmla="*/ 926573 w 1707029"/>
              <a:gd name="connsiteY680" fmla="*/ 123461 h 904588"/>
              <a:gd name="connsiteX681" fmla="*/ 920142 w 1707029"/>
              <a:gd name="connsiteY681" fmla="*/ 150568 h 904588"/>
              <a:gd name="connsiteX682" fmla="*/ 926573 w 1707029"/>
              <a:gd name="connsiteY682" fmla="*/ 177497 h 904588"/>
              <a:gd name="connsiteX683" fmla="*/ 944140 w 1707029"/>
              <a:gd name="connsiteY683" fmla="*/ 195726 h 904588"/>
              <a:gd name="connsiteX684" fmla="*/ 969806 w 1707029"/>
              <a:gd name="connsiteY684" fmla="*/ 202355 h 904588"/>
              <a:gd name="connsiteX685" fmla="*/ 995472 w 1707029"/>
              <a:gd name="connsiteY685" fmla="*/ 195726 h 904588"/>
              <a:gd name="connsiteX686" fmla="*/ 1012859 w 1707029"/>
              <a:gd name="connsiteY686" fmla="*/ 177556 h 904588"/>
              <a:gd name="connsiteX687" fmla="*/ 1019164 w 1707029"/>
              <a:gd name="connsiteY687" fmla="*/ 150597 h 904588"/>
              <a:gd name="connsiteX688" fmla="*/ 1019171 w 1707029"/>
              <a:gd name="connsiteY688" fmla="*/ 150626 h 904588"/>
              <a:gd name="connsiteX689" fmla="*/ 1019171 w 1707029"/>
              <a:gd name="connsiteY689" fmla="*/ 150568 h 904588"/>
              <a:gd name="connsiteX690" fmla="*/ 1019164 w 1707029"/>
              <a:gd name="connsiteY690" fmla="*/ 150597 h 904588"/>
              <a:gd name="connsiteX691" fmla="*/ 1012859 w 1707029"/>
              <a:gd name="connsiteY691" fmla="*/ 123461 h 904588"/>
              <a:gd name="connsiteX692" fmla="*/ 995472 w 1707029"/>
              <a:gd name="connsiteY692" fmla="*/ 105113 h 904588"/>
              <a:gd name="connsiteX693" fmla="*/ 969806 w 1707029"/>
              <a:gd name="connsiteY693" fmla="*/ 98484 h 904588"/>
              <a:gd name="connsiteX694" fmla="*/ 212588 w 1707029"/>
              <a:gd name="connsiteY694" fmla="*/ 97360 h 904588"/>
              <a:gd name="connsiteX695" fmla="*/ 185315 w 1707029"/>
              <a:gd name="connsiteY695" fmla="*/ 104225 h 904588"/>
              <a:gd name="connsiteX696" fmla="*/ 168225 w 1707029"/>
              <a:gd name="connsiteY696" fmla="*/ 123046 h 904588"/>
              <a:gd name="connsiteX697" fmla="*/ 164116 w 1707029"/>
              <a:gd name="connsiteY697" fmla="*/ 134765 h 904588"/>
              <a:gd name="connsiteX698" fmla="*/ 255562 w 1707029"/>
              <a:gd name="connsiteY698" fmla="*/ 134765 h 904588"/>
              <a:gd name="connsiteX699" fmla="*/ 251056 w 1707029"/>
              <a:gd name="connsiteY699" fmla="*/ 120738 h 904588"/>
              <a:gd name="connsiteX700" fmla="*/ 236109 w 1707029"/>
              <a:gd name="connsiteY700" fmla="*/ 103633 h 904588"/>
              <a:gd name="connsiteX701" fmla="*/ 1683254 w 1707029"/>
              <a:gd name="connsiteY701" fmla="*/ 68825 h 904588"/>
              <a:gd name="connsiteX702" fmla="*/ 1696235 w 1707029"/>
              <a:gd name="connsiteY702" fmla="*/ 69779 h 904588"/>
              <a:gd name="connsiteX703" fmla="*/ 1706180 w 1707029"/>
              <a:gd name="connsiteY703" fmla="*/ 78657 h 904588"/>
              <a:gd name="connsiteX704" fmla="*/ 1704989 w 1707029"/>
              <a:gd name="connsiteY704" fmla="*/ 91678 h 904588"/>
              <a:gd name="connsiteX705" fmla="*/ 1614952 w 1707029"/>
              <a:gd name="connsiteY705" fmla="*/ 291902 h 904588"/>
              <a:gd name="connsiteX706" fmla="*/ 1601017 w 1707029"/>
              <a:gd name="connsiteY706" fmla="*/ 302496 h 904588"/>
              <a:gd name="connsiteX707" fmla="*/ 1592919 w 1707029"/>
              <a:gd name="connsiteY707" fmla="*/ 300543 h 904588"/>
              <a:gd name="connsiteX708" fmla="*/ 1583154 w 1707029"/>
              <a:gd name="connsiteY708" fmla="*/ 291429 h 904588"/>
              <a:gd name="connsiteX709" fmla="*/ 1584463 w 1707029"/>
              <a:gd name="connsiteY709" fmla="*/ 278644 h 904588"/>
              <a:gd name="connsiteX710" fmla="*/ 1613226 w 1707029"/>
              <a:gd name="connsiteY710" fmla="*/ 214310 h 904588"/>
              <a:gd name="connsiteX711" fmla="*/ 1547722 w 1707029"/>
              <a:gd name="connsiteY711" fmla="*/ 91204 h 904588"/>
              <a:gd name="connsiteX712" fmla="*/ 1546889 w 1707029"/>
              <a:gd name="connsiteY712" fmla="*/ 78302 h 904588"/>
              <a:gd name="connsiteX713" fmla="*/ 1556118 w 1707029"/>
              <a:gd name="connsiteY713" fmla="*/ 69483 h 904588"/>
              <a:gd name="connsiteX714" fmla="*/ 1568742 w 1707029"/>
              <a:gd name="connsiteY714" fmla="*/ 69010 h 904588"/>
              <a:gd name="connsiteX715" fmla="*/ 1577853 w 1707029"/>
              <a:gd name="connsiteY715" fmla="*/ 77769 h 904588"/>
              <a:gd name="connsiteX716" fmla="*/ 1629184 w 1707029"/>
              <a:gd name="connsiteY716" fmla="*/ 178680 h 904588"/>
              <a:gd name="connsiteX717" fmla="*/ 1674203 w 1707029"/>
              <a:gd name="connsiteY717" fmla="*/ 78124 h 904588"/>
              <a:gd name="connsiteX718" fmla="*/ 1683254 w 1707029"/>
              <a:gd name="connsiteY718" fmla="*/ 68825 h 904588"/>
              <a:gd name="connsiteX719" fmla="*/ 1446549 w 1707029"/>
              <a:gd name="connsiteY719" fmla="*/ 66938 h 904588"/>
              <a:gd name="connsiteX720" fmla="*/ 1489663 w 1707029"/>
              <a:gd name="connsiteY720" fmla="*/ 77650 h 904588"/>
              <a:gd name="connsiteX721" fmla="*/ 1489722 w 1707029"/>
              <a:gd name="connsiteY721" fmla="*/ 77769 h 904588"/>
              <a:gd name="connsiteX722" fmla="*/ 1519436 w 1707029"/>
              <a:gd name="connsiteY722" fmla="*/ 107303 h 904588"/>
              <a:gd name="connsiteX723" fmla="*/ 1530214 w 1707029"/>
              <a:gd name="connsiteY723" fmla="*/ 150685 h 904588"/>
              <a:gd name="connsiteX724" fmla="*/ 1530214 w 1707029"/>
              <a:gd name="connsiteY724" fmla="*/ 213540 h 904588"/>
              <a:gd name="connsiteX725" fmla="*/ 1519556 w 1707029"/>
              <a:gd name="connsiteY725" fmla="*/ 256568 h 904588"/>
              <a:gd name="connsiteX726" fmla="*/ 1489900 w 1707029"/>
              <a:gd name="connsiteY726" fmla="*/ 287405 h 904588"/>
              <a:gd name="connsiteX727" fmla="*/ 1445953 w 1707029"/>
              <a:gd name="connsiteY727" fmla="*/ 298826 h 904588"/>
              <a:gd name="connsiteX728" fmla="*/ 1405699 w 1707029"/>
              <a:gd name="connsiteY728" fmla="*/ 290423 h 904588"/>
              <a:gd name="connsiteX729" fmla="*/ 1373781 w 1707029"/>
              <a:gd name="connsiteY729" fmla="*/ 265801 h 904588"/>
              <a:gd name="connsiteX730" fmla="*/ 1370446 w 1707029"/>
              <a:gd name="connsiteY730" fmla="*/ 253431 h 904588"/>
              <a:gd name="connsiteX731" fmla="*/ 1377294 w 1707029"/>
              <a:gd name="connsiteY731" fmla="*/ 243311 h 904588"/>
              <a:gd name="connsiteX732" fmla="*/ 1390394 w 1707029"/>
              <a:gd name="connsiteY732" fmla="*/ 240588 h 904588"/>
              <a:gd name="connsiteX733" fmla="*/ 1401292 w 1707029"/>
              <a:gd name="connsiteY733" fmla="*/ 247394 h 904588"/>
              <a:gd name="connsiteX734" fmla="*/ 1420288 w 1707029"/>
              <a:gd name="connsiteY734" fmla="*/ 262013 h 904588"/>
              <a:gd name="connsiteX735" fmla="*/ 1446549 w 1707029"/>
              <a:gd name="connsiteY735" fmla="*/ 267281 h 904588"/>
              <a:gd name="connsiteX736" fmla="*/ 1471262 w 1707029"/>
              <a:gd name="connsiteY736" fmla="*/ 260948 h 904588"/>
              <a:gd name="connsiteX737" fmla="*/ 1489185 w 1707029"/>
              <a:gd name="connsiteY737" fmla="*/ 242186 h 904588"/>
              <a:gd name="connsiteX738" fmla="*/ 1495914 w 1707029"/>
              <a:gd name="connsiteY738" fmla="*/ 211410 h 904588"/>
              <a:gd name="connsiteX739" fmla="*/ 1495914 w 1707029"/>
              <a:gd name="connsiteY739" fmla="*/ 205846 h 904588"/>
              <a:gd name="connsiteX740" fmla="*/ 1478049 w 1707029"/>
              <a:gd name="connsiteY740" fmla="*/ 223069 h 904588"/>
              <a:gd name="connsiteX741" fmla="*/ 1440654 w 1707029"/>
              <a:gd name="connsiteY741" fmla="*/ 233842 h 904588"/>
              <a:gd name="connsiteX742" fmla="*/ 1400220 w 1707029"/>
              <a:gd name="connsiteY742" fmla="*/ 223128 h 904588"/>
              <a:gd name="connsiteX743" fmla="*/ 1372650 w 1707029"/>
              <a:gd name="connsiteY743" fmla="*/ 193595 h 904588"/>
              <a:gd name="connsiteX744" fmla="*/ 1362645 w 1707029"/>
              <a:gd name="connsiteY744" fmla="*/ 150568 h 904588"/>
              <a:gd name="connsiteX745" fmla="*/ 1373424 w 1707029"/>
              <a:gd name="connsiteY745" fmla="*/ 107185 h 904588"/>
              <a:gd name="connsiteX746" fmla="*/ 1403138 w 1707029"/>
              <a:gd name="connsiteY746" fmla="*/ 77650 h 904588"/>
              <a:gd name="connsiteX747" fmla="*/ 1446549 w 1707029"/>
              <a:gd name="connsiteY747" fmla="*/ 66938 h 904588"/>
              <a:gd name="connsiteX748" fmla="*/ 1247896 w 1707029"/>
              <a:gd name="connsiteY748" fmla="*/ 66938 h 904588"/>
              <a:gd name="connsiteX749" fmla="*/ 1291009 w 1707029"/>
              <a:gd name="connsiteY749" fmla="*/ 77650 h 904588"/>
              <a:gd name="connsiteX750" fmla="*/ 1320723 w 1707029"/>
              <a:gd name="connsiteY750" fmla="*/ 107185 h 904588"/>
              <a:gd name="connsiteX751" fmla="*/ 1331501 w 1707029"/>
              <a:gd name="connsiteY751" fmla="*/ 150568 h 904588"/>
              <a:gd name="connsiteX752" fmla="*/ 1320843 w 1707029"/>
              <a:gd name="connsiteY752" fmla="*/ 193654 h 904588"/>
              <a:gd name="connsiteX753" fmla="*/ 1291306 w 1707029"/>
              <a:gd name="connsiteY753" fmla="*/ 223188 h 904588"/>
              <a:gd name="connsiteX754" fmla="*/ 1247896 w 1707029"/>
              <a:gd name="connsiteY754" fmla="*/ 233900 h 904588"/>
              <a:gd name="connsiteX755" fmla="*/ 1204484 w 1707029"/>
              <a:gd name="connsiteY755" fmla="*/ 223188 h 904588"/>
              <a:gd name="connsiteX756" fmla="*/ 1174770 w 1707029"/>
              <a:gd name="connsiteY756" fmla="*/ 193654 h 904588"/>
              <a:gd name="connsiteX757" fmla="*/ 1163932 w 1707029"/>
              <a:gd name="connsiteY757" fmla="*/ 150568 h 904588"/>
              <a:gd name="connsiteX758" fmla="*/ 1174770 w 1707029"/>
              <a:gd name="connsiteY758" fmla="*/ 107185 h 904588"/>
              <a:gd name="connsiteX759" fmla="*/ 1204484 w 1707029"/>
              <a:gd name="connsiteY759" fmla="*/ 77650 h 904588"/>
              <a:gd name="connsiteX760" fmla="*/ 1247896 w 1707029"/>
              <a:gd name="connsiteY760" fmla="*/ 66938 h 904588"/>
              <a:gd name="connsiteX761" fmla="*/ 969806 w 1707029"/>
              <a:gd name="connsiteY761" fmla="*/ 66938 h 904588"/>
              <a:gd name="connsiteX762" fmla="*/ 1012919 w 1707029"/>
              <a:gd name="connsiteY762" fmla="*/ 77650 h 904588"/>
              <a:gd name="connsiteX763" fmla="*/ 1042633 w 1707029"/>
              <a:gd name="connsiteY763" fmla="*/ 107185 h 904588"/>
              <a:gd name="connsiteX764" fmla="*/ 1053412 w 1707029"/>
              <a:gd name="connsiteY764" fmla="*/ 150568 h 904588"/>
              <a:gd name="connsiteX765" fmla="*/ 1042752 w 1707029"/>
              <a:gd name="connsiteY765" fmla="*/ 193654 h 904588"/>
              <a:gd name="connsiteX766" fmla="*/ 1013216 w 1707029"/>
              <a:gd name="connsiteY766" fmla="*/ 223188 h 904588"/>
              <a:gd name="connsiteX767" fmla="*/ 969806 w 1707029"/>
              <a:gd name="connsiteY767" fmla="*/ 233900 h 904588"/>
              <a:gd name="connsiteX768" fmla="*/ 926394 w 1707029"/>
              <a:gd name="connsiteY768" fmla="*/ 223188 h 904588"/>
              <a:gd name="connsiteX769" fmla="*/ 896680 w 1707029"/>
              <a:gd name="connsiteY769" fmla="*/ 193654 h 904588"/>
              <a:gd name="connsiteX770" fmla="*/ 885902 w 1707029"/>
              <a:gd name="connsiteY770" fmla="*/ 150568 h 904588"/>
              <a:gd name="connsiteX771" fmla="*/ 896680 w 1707029"/>
              <a:gd name="connsiteY771" fmla="*/ 107185 h 904588"/>
              <a:gd name="connsiteX772" fmla="*/ 926394 w 1707029"/>
              <a:gd name="connsiteY772" fmla="*/ 77650 h 904588"/>
              <a:gd name="connsiteX773" fmla="*/ 969806 w 1707029"/>
              <a:gd name="connsiteY773" fmla="*/ 66938 h 904588"/>
              <a:gd name="connsiteX774" fmla="*/ 389684 w 1707029"/>
              <a:gd name="connsiteY774" fmla="*/ 66938 h 904588"/>
              <a:gd name="connsiteX775" fmla="*/ 389685 w 1707029"/>
              <a:gd name="connsiteY775" fmla="*/ 66938 h 904588"/>
              <a:gd name="connsiteX776" fmla="*/ 389685 w 1707029"/>
              <a:gd name="connsiteY776" fmla="*/ 66938 h 904588"/>
              <a:gd name="connsiteX777" fmla="*/ 422615 w 1707029"/>
              <a:gd name="connsiteY777" fmla="*/ 73745 h 904588"/>
              <a:gd name="connsiteX778" fmla="*/ 422556 w 1707029"/>
              <a:gd name="connsiteY778" fmla="*/ 73804 h 904588"/>
              <a:gd name="connsiteX779" fmla="*/ 449352 w 1707029"/>
              <a:gd name="connsiteY779" fmla="*/ 94104 h 904588"/>
              <a:gd name="connsiteX780" fmla="*/ 452866 w 1707029"/>
              <a:gd name="connsiteY780" fmla="*/ 106060 h 904588"/>
              <a:gd name="connsiteX781" fmla="*/ 445364 w 1707029"/>
              <a:gd name="connsiteY781" fmla="*/ 116358 h 904588"/>
              <a:gd name="connsiteX782" fmla="*/ 434108 w 1707029"/>
              <a:gd name="connsiteY782" fmla="*/ 118667 h 904588"/>
              <a:gd name="connsiteX783" fmla="*/ 434108 w 1707029"/>
              <a:gd name="connsiteY783" fmla="*/ 118667 h 904588"/>
              <a:gd name="connsiteX784" fmla="*/ 434108 w 1707029"/>
              <a:gd name="connsiteY784" fmla="*/ 118667 h 904588"/>
              <a:gd name="connsiteX785" fmla="*/ 423628 w 1707029"/>
              <a:gd name="connsiteY785" fmla="*/ 112866 h 904588"/>
              <a:gd name="connsiteX786" fmla="*/ 389626 w 1707029"/>
              <a:gd name="connsiteY786" fmla="*/ 98484 h 904588"/>
              <a:gd name="connsiteX787" fmla="*/ 364555 w 1707029"/>
              <a:gd name="connsiteY787" fmla="*/ 104935 h 904588"/>
              <a:gd name="connsiteX788" fmla="*/ 347584 w 1707029"/>
              <a:gd name="connsiteY788" fmla="*/ 122928 h 904588"/>
              <a:gd name="connsiteX789" fmla="*/ 341391 w 1707029"/>
              <a:gd name="connsiteY789" fmla="*/ 150508 h 904588"/>
              <a:gd name="connsiteX790" fmla="*/ 347703 w 1707029"/>
              <a:gd name="connsiteY790" fmla="*/ 177200 h 904588"/>
              <a:gd name="connsiteX791" fmla="*/ 365151 w 1707029"/>
              <a:gd name="connsiteY791" fmla="*/ 195548 h 904588"/>
              <a:gd name="connsiteX792" fmla="*/ 391114 w 1707029"/>
              <a:gd name="connsiteY792" fmla="*/ 202295 h 904588"/>
              <a:gd name="connsiteX793" fmla="*/ 408383 w 1707029"/>
              <a:gd name="connsiteY793" fmla="*/ 199928 h 904588"/>
              <a:gd name="connsiteX794" fmla="*/ 421781 w 1707029"/>
              <a:gd name="connsiteY794" fmla="*/ 192708 h 904588"/>
              <a:gd name="connsiteX795" fmla="*/ 432976 w 1707029"/>
              <a:gd name="connsiteY795" fmla="*/ 187913 h 904588"/>
              <a:gd name="connsiteX796" fmla="*/ 432976 w 1707029"/>
              <a:gd name="connsiteY796" fmla="*/ 187913 h 904588"/>
              <a:gd name="connsiteX797" fmla="*/ 443815 w 1707029"/>
              <a:gd name="connsiteY797" fmla="*/ 191287 h 904588"/>
              <a:gd name="connsiteX798" fmla="*/ 450305 w 1707029"/>
              <a:gd name="connsiteY798" fmla="*/ 202177 h 904588"/>
              <a:gd name="connsiteX799" fmla="*/ 446018 w 1707029"/>
              <a:gd name="connsiteY799" fmla="*/ 213540 h 904588"/>
              <a:gd name="connsiteX800" fmla="*/ 391114 w 1707029"/>
              <a:gd name="connsiteY800" fmla="*/ 233841 h 904588"/>
              <a:gd name="connsiteX801" fmla="*/ 347823 w 1707029"/>
              <a:gd name="connsiteY801" fmla="*/ 222833 h 904588"/>
              <a:gd name="connsiteX802" fmla="*/ 317989 w 1707029"/>
              <a:gd name="connsiteY802" fmla="*/ 193062 h 904588"/>
              <a:gd name="connsiteX803" fmla="*/ 307210 w 1707029"/>
              <a:gd name="connsiteY803" fmla="*/ 150568 h 904588"/>
              <a:gd name="connsiteX804" fmla="*/ 317869 w 1707029"/>
              <a:gd name="connsiteY804" fmla="*/ 107361 h 904588"/>
              <a:gd name="connsiteX805" fmla="*/ 347108 w 1707029"/>
              <a:gd name="connsiteY805" fmla="*/ 77650 h 904588"/>
              <a:gd name="connsiteX806" fmla="*/ 389684 w 1707029"/>
              <a:gd name="connsiteY806" fmla="*/ 66938 h 904588"/>
              <a:gd name="connsiteX807" fmla="*/ 212587 w 1707029"/>
              <a:gd name="connsiteY807" fmla="*/ 66938 h 904588"/>
              <a:gd name="connsiteX808" fmla="*/ 212588 w 1707029"/>
              <a:gd name="connsiteY808" fmla="*/ 66938 h 904588"/>
              <a:gd name="connsiteX809" fmla="*/ 253439 w 1707029"/>
              <a:gd name="connsiteY809" fmla="*/ 77355 h 904588"/>
              <a:gd name="connsiteX810" fmla="*/ 253498 w 1707029"/>
              <a:gd name="connsiteY810" fmla="*/ 77414 h 904588"/>
              <a:gd name="connsiteX811" fmla="*/ 279638 w 1707029"/>
              <a:gd name="connsiteY811" fmla="*/ 106179 h 904588"/>
              <a:gd name="connsiteX812" fmla="*/ 288571 w 1707029"/>
              <a:gd name="connsiteY812" fmla="*/ 147963 h 904588"/>
              <a:gd name="connsiteX813" fmla="*/ 283927 w 1707029"/>
              <a:gd name="connsiteY813" fmla="*/ 159031 h 904588"/>
              <a:gd name="connsiteX814" fmla="*/ 272314 w 1707029"/>
              <a:gd name="connsiteY814" fmla="*/ 163411 h 904588"/>
              <a:gd name="connsiteX815" fmla="*/ 272314 w 1707029"/>
              <a:gd name="connsiteY815" fmla="*/ 163411 h 904588"/>
              <a:gd name="connsiteX816" fmla="*/ 163758 w 1707029"/>
              <a:gd name="connsiteY816" fmla="*/ 163411 h 904588"/>
              <a:gd name="connsiteX817" fmla="*/ 169296 w 1707029"/>
              <a:gd name="connsiteY817" fmla="*/ 177733 h 904588"/>
              <a:gd name="connsiteX818" fmla="*/ 188590 w 1707029"/>
              <a:gd name="connsiteY818" fmla="*/ 196554 h 904588"/>
              <a:gd name="connsiteX819" fmla="*/ 216994 w 1707029"/>
              <a:gd name="connsiteY819" fmla="*/ 203478 h 904588"/>
              <a:gd name="connsiteX820" fmla="*/ 234800 w 1707029"/>
              <a:gd name="connsiteY820" fmla="*/ 200282 h 904588"/>
              <a:gd name="connsiteX821" fmla="*/ 249567 w 1707029"/>
              <a:gd name="connsiteY821" fmla="*/ 192944 h 904588"/>
              <a:gd name="connsiteX822" fmla="*/ 260643 w 1707029"/>
              <a:gd name="connsiteY822" fmla="*/ 189037 h 904588"/>
              <a:gd name="connsiteX823" fmla="*/ 260643 w 1707029"/>
              <a:gd name="connsiteY823" fmla="*/ 189037 h 904588"/>
              <a:gd name="connsiteX824" fmla="*/ 260643 w 1707029"/>
              <a:gd name="connsiteY824" fmla="*/ 189037 h 904588"/>
              <a:gd name="connsiteX825" fmla="*/ 271421 w 1707029"/>
              <a:gd name="connsiteY825" fmla="*/ 192707 h 904588"/>
              <a:gd name="connsiteX826" fmla="*/ 277674 w 1707029"/>
              <a:gd name="connsiteY826" fmla="*/ 204189 h 904588"/>
              <a:gd name="connsiteX827" fmla="*/ 271897 w 1707029"/>
              <a:gd name="connsiteY827" fmla="*/ 215493 h 904588"/>
              <a:gd name="connsiteX828" fmla="*/ 246232 w 1707029"/>
              <a:gd name="connsiteY828" fmla="*/ 228692 h 904588"/>
              <a:gd name="connsiteX829" fmla="*/ 216994 w 1707029"/>
              <a:gd name="connsiteY829" fmla="*/ 233781 h 904588"/>
              <a:gd name="connsiteX830" fmla="*/ 216994 w 1707029"/>
              <a:gd name="connsiteY830" fmla="*/ 233781 h 904588"/>
              <a:gd name="connsiteX831" fmla="*/ 172274 w 1707029"/>
              <a:gd name="connsiteY831" fmla="*/ 223128 h 904588"/>
              <a:gd name="connsiteX832" fmla="*/ 141547 w 1707029"/>
              <a:gd name="connsiteY832" fmla="*/ 193595 h 904588"/>
              <a:gd name="connsiteX833" fmla="*/ 130411 w 1707029"/>
              <a:gd name="connsiteY833" fmla="*/ 150507 h 904588"/>
              <a:gd name="connsiteX834" fmla="*/ 140891 w 1707029"/>
              <a:gd name="connsiteY834" fmla="*/ 107185 h 904588"/>
              <a:gd name="connsiteX835" fmla="*/ 170010 w 1707029"/>
              <a:gd name="connsiteY835" fmla="*/ 77650 h 904588"/>
              <a:gd name="connsiteX836" fmla="*/ 212587 w 1707029"/>
              <a:gd name="connsiteY836" fmla="*/ 66938 h 904588"/>
              <a:gd name="connsiteX837" fmla="*/ 776154 w 1707029"/>
              <a:gd name="connsiteY837" fmla="*/ 66701 h 904588"/>
              <a:gd name="connsiteX838" fmla="*/ 813789 w 1707029"/>
              <a:gd name="connsiteY838" fmla="*/ 75579 h 904588"/>
              <a:gd name="connsiteX839" fmla="*/ 813729 w 1707029"/>
              <a:gd name="connsiteY839" fmla="*/ 75461 h 904588"/>
              <a:gd name="connsiteX840" fmla="*/ 840109 w 1707029"/>
              <a:gd name="connsiteY840" fmla="*/ 101679 h 904588"/>
              <a:gd name="connsiteX841" fmla="*/ 849696 w 1707029"/>
              <a:gd name="connsiteY841" fmla="*/ 143702 h 904588"/>
              <a:gd name="connsiteX842" fmla="*/ 849696 w 1707029"/>
              <a:gd name="connsiteY842" fmla="*/ 215316 h 904588"/>
              <a:gd name="connsiteX843" fmla="*/ 844634 w 1707029"/>
              <a:gd name="connsiteY843" fmla="*/ 227804 h 904588"/>
              <a:gd name="connsiteX844" fmla="*/ 832010 w 1707029"/>
              <a:gd name="connsiteY844" fmla="*/ 232776 h 904588"/>
              <a:gd name="connsiteX845" fmla="*/ 819386 w 1707029"/>
              <a:gd name="connsiteY845" fmla="*/ 227804 h 904588"/>
              <a:gd name="connsiteX846" fmla="*/ 814324 w 1707029"/>
              <a:gd name="connsiteY846" fmla="*/ 215316 h 904588"/>
              <a:gd name="connsiteX847" fmla="*/ 814324 w 1707029"/>
              <a:gd name="connsiteY847" fmla="*/ 143702 h 904588"/>
              <a:gd name="connsiteX848" fmla="*/ 808489 w 1707029"/>
              <a:gd name="connsiteY848" fmla="*/ 117955 h 904588"/>
              <a:gd name="connsiteX849" fmla="*/ 793006 w 1707029"/>
              <a:gd name="connsiteY849" fmla="*/ 103455 h 904588"/>
              <a:gd name="connsiteX850" fmla="*/ 770199 w 1707029"/>
              <a:gd name="connsiteY850" fmla="*/ 98661 h 904588"/>
              <a:gd name="connsiteX851" fmla="*/ 749060 w 1707029"/>
              <a:gd name="connsiteY851" fmla="*/ 103337 h 904588"/>
              <a:gd name="connsiteX852" fmla="*/ 734173 w 1707029"/>
              <a:gd name="connsiteY852" fmla="*/ 115765 h 904588"/>
              <a:gd name="connsiteX853" fmla="*/ 728813 w 1707029"/>
              <a:gd name="connsiteY853" fmla="*/ 133285 h 904588"/>
              <a:gd name="connsiteX854" fmla="*/ 728813 w 1707029"/>
              <a:gd name="connsiteY854" fmla="*/ 215375 h 904588"/>
              <a:gd name="connsiteX855" fmla="*/ 723931 w 1707029"/>
              <a:gd name="connsiteY855" fmla="*/ 227863 h 904588"/>
              <a:gd name="connsiteX856" fmla="*/ 711069 w 1707029"/>
              <a:gd name="connsiteY856" fmla="*/ 232893 h 904588"/>
              <a:gd name="connsiteX857" fmla="*/ 698444 w 1707029"/>
              <a:gd name="connsiteY857" fmla="*/ 227921 h 904588"/>
              <a:gd name="connsiteX858" fmla="*/ 693382 w 1707029"/>
              <a:gd name="connsiteY858" fmla="*/ 215434 h 904588"/>
              <a:gd name="connsiteX859" fmla="*/ 693382 w 1707029"/>
              <a:gd name="connsiteY859" fmla="*/ 85640 h 904588"/>
              <a:gd name="connsiteX860" fmla="*/ 698444 w 1707029"/>
              <a:gd name="connsiteY860" fmla="*/ 72975 h 904588"/>
              <a:gd name="connsiteX861" fmla="*/ 711069 w 1707029"/>
              <a:gd name="connsiteY861" fmla="*/ 68122 h 904588"/>
              <a:gd name="connsiteX862" fmla="*/ 723872 w 1707029"/>
              <a:gd name="connsiteY862" fmla="*/ 72975 h 904588"/>
              <a:gd name="connsiteX863" fmla="*/ 728635 w 1707029"/>
              <a:gd name="connsiteY863" fmla="*/ 82977 h 904588"/>
              <a:gd name="connsiteX864" fmla="*/ 739830 w 1707029"/>
              <a:gd name="connsiteY864" fmla="*/ 75461 h 904588"/>
              <a:gd name="connsiteX865" fmla="*/ 776154 w 1707029"/>
              <a:gd name="connsiteY865" fmla="*/ 66701 h 904588"/>
              <a:gd name="connsiteX866" fmla="*/ 44780 w 1707029"/>
              <a:gd name="connsiteY866" fmla="*/ 17400 h 904588"/>
              <a:gd name="connsiteX867" fmla="*/ 44780 w 1707029"/>
              <a:gd name="connsiteY867" fmla="*/ 17400 h 904588"/>
              <a:gd name="connsiteX868" fmla="*/ 44781 w 1707029"/>
              <a:gd name="connsiteY868" fmla="*/ 17400 h 904588"/>
              <a:gd name="connsiteX869" fmla="*/ 57286 w 1707029"/>
              <a:gd name="connsiteY869" fmla="*/ 22253 h 904588"/>
              <a:gd name="connsiteX870" fmla="*/ 62169 w 1707029"/>
              <a:gd name="connsiteY870" fmla="*/ 34623 h 904588"/>
              <a:gd name="connsiteX871" fmla="*/ 62169 w 1707029"/>
              <a:gd name="connsiteY871" fmla="*/ 73863 h 904588"/>
              <a:gd name="connsiteX872" fmla="*/ 84500 w 1707029"/>
              <a:gd name="connsiteY872" fmla="*/ 73863 h 904588"/>
              <a:gd name="connsiteX873" fmla="*/ 84500 w 1707029"/>
              <a:gd name="connsiteY873" fmla="*/ 73863 h 904588"/>
              <a:gd name="connsiteX874" fmla="*/ 96351 w 1707029"/>
              <a:gd name="connsiteY874" fmla="*/ 78065 h 904588"/>
              <a:gd name="connsiteX875" fmla="*/ 101054 w 1707029"/>
              <a:gd name="connsiteY875" fmla="*/ 89370 h 904588"/>
              <a:gd name="connsiteX876" fmla="*/ 96351 w 1707029"/>
              <a:gd name="connsiteY876" fmla="*/ 100082 h 904588"/>
              <a:gd name="connsiteX877" fmla="*/ 84500 w 1707029"/>
              <a:gd name="connsiteY877" fmla="*/ 104284 h 904588"/>
              <a:gd name="connsiteX878" fmla="*/ 84500 w 1707029"/>
              <a:gd name="connsiteY878" fmla="*/ 104284 h 904588"/>
              <a:gd name="connsiteX879" fmla="*/ 62169 w 1707029"/>
              <a:gd name="connsiteY879" fmla="*/ 104284 h 904588"/>
              <a:gd name="connsiteX880" fmla="*/ 62169 w 1707029"/>
              <a:gd name="connsiteY880" fmla="*/ 173531 h 904588"/>
              <a:gd name="connsiteX881" fmla="*/ 68065 w 1707029"/>
              <a:gd name="connsiteY881" fmla="*/ 191346 h 904588"/>
              <a:gd name="connsiteX882" fmla="*/ 81879 w 1707029"/>
              <a:gd name="connsiteY882" fmla="*/ 198211 h 904588"/>
              <a:gd name="connsiteX883" fmla="*/ 91884 w 1707029"/>
              <a:gd name="connsiteY883" fmla="*/ 198211 h 904588"/>
              <a:gd name="connsiteX884" fmla="*/ 91884 w 1707029"/>
              <a:gd name="connsiteY884" fmla="*/ 198211 h 904588"/>
              <a:gd name="connsiteX885" fmla="*/ 91884 w 1707029"/>
              <a:gd name="connsiteY885" fmla="*/ 198270 h 904588"/>
              <a:gd name="connsiteX886" fmla="*/ 102841 w 1707029"/>
              <a:gd name="connsiteY886" fmla="*/ 203242 h 904588"/>
              <a:gd name="connsiteX887" fmla="*/ 107188 w 1707029"/>
              <a:gd name="connsiteY887" fmla="*/ 215493 h 904588"/>
              <a:gd name="connsiteX888" fmla="*/ 101412 w 1707029"/>
              <a:gd name="connsiteY888" fmla="*/ 227981 h 904588"/>
              <a:gd name="connsiteX889" fmla="*/ 87179 w 1707029"/>
              <a:gd name="connsiteY889" fmla="*/ 232657 h 904588"/>
              <a:gd name="connsiteX890" fmla="*/ 87179 w 1707029"/>
              <a:gd name="connsiteY890" fmla="*/ 232657 h 904588"/>
              <a:gd name="connsiteX891" fmla="*/ 81879 w 1707029"/>
              <a:gd name="connsiteY891" fmla="*/ 232657 h 904588"/>
              <a:gd name="connsiteX892" fmla="*/ 81879 w 1707029"/>
              <a:gd name="connsiteY892" fmla="*/ 232657 h 904588"/>
              <a:gd name="connsiteX893" fmla="*/ 53952 w 1707029"/>
              <a:gd name="connsiteY893" fmla="*/ 224785 h 904588"/>
              <a:gd name="connsiteX894" fmla="*/ 34479 w 1707029"/>
              <a:gd name="connsiteY894" fmla="*/ 203537 h 904588"/>
              <a:gd name="connsiteX895" fmla="*/ 27392 w 1707029"/>
              <a:gd name="connsiteY895" fmla="*/ 173472 h 904588"/>
              <a:gd name="connsiteX896" fmla="*/ 27392 w 1707029"/>
              <a:gd name="connsiteY896" fmla="*/ 104225 h 904588"/>
              <a:gd name="connsiteX897" fmla="*/ 16556 w 1707029"/>
              <a:gd name="connsiteY897" fmla="*/ 104225 h 904588"/>
              <a:gd name="connsiteX898" fmla="*/ 16555 w 1707029"/>
              <a:gd name="connsiteY898" fmla="*/ 104225 h 904588"/>
              <a:gd name="connsiteX899" fmla="*/ 4704 w 1707029"/>
              <a:gd name="connsiteY899" fmla="*/ 100023 h 904588"/>
              <a:gd name="connsiteX900" fmla="*/ 0 w 1707029"/>
              <a:gd name="connsiteY900" fmla="*/ 89310 h 904588"/>
              <a:gd name="connsiteX901" fmla="*/ 4704 w 1707029"/>
              <a:gd name="connsiteY901" fmla="*/ 78065 h 904588"/>
              <a:gd name="connsiteX902" fmla="*/ 16555 w 1707029"/>
              <a:gd name="connsiteY902" fmla="*/ 73863 h 904588"/>
              <a:gd name="connsiteX903" fmla="*/ 16556 w 1707029"/>
              <a:gd name="connsiteY903" fmla="*/ 73863 h 904588"/>
              <a:gd name="connsiteX904" fmla="*/ 27392 w 1707029"/>
              <a:gd name="connsiteY904" fmla="*/ 73863 h 904588"/>
              <a:gd name="connsiteX905" fmla="*/ 27392 w 1707029"/>
              <a:gd name="connsiteY905" fmla="*/ 34623 h 904588"/>
              <a:gd name="connsiteX906" fmla="*/ 32276 w 1707029"/>
              <a:gd name="connsiteY906" fmla="*/ 22253 h 904588"/>
              <a:gd name="connsiteX907" fmla="*/ 44780 w 1707029"/>
              <a:gd name="connsiteY907" fmla="*/ 17400 h 904588"/>
              <a:gd name="connsiteX908" fmla="*/ 1104265 w 1707029"/>
              <a:gd name="connsiteY908" fmla="*/ 0 h 904588"/>
              <a:gd name="connsiteX909" fmla="*/ 1116770 w 1707029"/>
              <a:gd name="connsiteY909" fmla="*/ 4853 h 904588"/>
              <a:gd name="connsiteX910" fmla="*/ 1121653 w 1707029"/>
              <a:gd name="connsiteY910" fmla="*/ 17223 h 904588"/>
              <a:gd name="connsiteX911" fmla="*/ 1121653 w 1707029"/>
              <a:gd name="connsiteY911" fmla="*/ 176136 h 904588"/>
              <a:gd name="connsiteX912" fmla="*/ 1125404 w 1707029"/>
              <a:gd name="connsiteY912" fmla="*/ 192530 h 904588"/>
              <a:gd name="connsiteX913" fmla="*/ 1133682 w 1707029"/>
              <a:gd name="connsiteY913" fmla="*/ 198212 h 904588"/>
              <a:gd name="connsiteX914" fmla="*/ 1141066 w 1707029"/>
              <a:gd name="connsiteY914" fmla="*/ 198212 h 904588"/>
              <a:gd name="connsiteX915" fmla="*/ 1152618 w 1707029"/>
              <a:gd name="connsiteY915" fmla="*/ 203183 h 904588"/>
              <a:gd name="connsiteX916" fmla="*/ 1156966 w 1707029"/>
              <a:gd name="connsiteY916" fmla="*/ 215434 h 904588"/>
              <a:gd name="connsiteX917" fmla="*/ 1150296 w 1707029"/>
              <a:gd name="connsiteY917" fmla="*/ 228041 h 904588"/>
              <a:gd name="connsiteX918" fmla="*/ 1134277 w 1707029"/>
              <a:gd name="connsiteY918" fmla="*/ 232657 h 904588"/>
              <a:gd name="connsiteX919" fmla="*/ 1109208 w 1707029"/>
              <a:gd name="connsiteY919" fmla="*/ 225200 h 904588"/>
              <a:gd name="connsiteX920" fmla="*/ 1092713 w 1707029"/>
              <a:gd name="connsiteY920" fmla="*/ 205077 h 904588"/>
              <a:gd name="connsiteX921" fmla="*/ 1086877 w 1707029"/>
              <a:gd name="connsiteY921" fmla="*/ 176136 h 904588"/>
              <a:gd name="connsiteX922" fmla="*/ 1086877 w 1707029"/>
              <a:gd name="connsiteY922" fmla="*/ 17223 h 904588"/>
              <a:gd name="connsiteX923" fmla="*/ 1091760 w 1707029"/>
              <a:gd name="connsiteY923" fmla="*/ 4853 h 904588"/>
              <a:gd name="connsiteX924" fmla="*/ 1104265 w 1707029"/>
              <a:gd name="connsiteY924" fmla="*/ 0 h 904588"/>
              <a:gd name="connsiteX925" fmla="*/ 510092 w 1707029"/>
              <a:gd name="connsiteY925" fmla="*/ 0 h 904588"/>
              <a:gd name="connsiteX926" fmla="*/ 510092 w 1707029"/>
              <a:gd name="connsiteY926" fmla="*/ 0 h 904588"/>
              <a:gd name="connsiteX927" fmla="*/ 510092 w 1707029"/>
              <a:gd name="connsiteY927" fmla="*/ 0 h 904588"/>
              <a:gd name="connsiteX928" fmla="*/ 522895 w 1707029"/>
              <a:gd name="connsiteY928" fmla="*/ 4853 h 904588"/>
              <a:gd name="connsiteX929" fmla="*/ 527777 w 1707029"/>
              <a:gd name="connsiteY929" fmla="*/ 17518 h 904588"/>
              <a:gd name="connsiteX930" fmla="*/ 527777 w 1707029"/>
              <a:gd name="connsiteY930" fmla="*/ 82860 h 904588"/>
              <a:gd name="connsiteX931" fmla="*/ 538793 w 1707029"/>
              <a:gd name="connsiteY931" fmla="*/ 75462 h 904588"/>
              <a:gd name="connsiteX932" fmla="*/ 575118 w 1707029"/>
              <a:gd name="connsiteY932" fmla="*/ 66701 h 904588"/>
              <a:gd name="connsiteX933" fmla="*/ 575118 w 1707029"/>
              <a:gd name="connsiteY933" fmla="*/ 66701 h 904588"/>
              <a:gd name="connsiteX934" fmla="*/ 612752 w 1707029"/>
              <a:gd name="connsiteY934" fmla="*/ 75580 h 904588"/>
              <a:gd name="connsiteX935" fmla="*/ 612752 w 1707029"/>
              <a:gd name="connsiteY935" fmla="*/ 75462 h 904588"/>
              <a:gd name="connsiteX936" fmla="*/ 612752 w 1707029"/>
              <a:gd name="connsiteY936" fmla="*/ 75462 h 904588"/>
              <a:gd name="connsiteX937" fmla="*/ 639132 w 1707029"/>
              <a:gd name="connsiteY937" fmla="*/ 101681 h 904588"/>
              <a:gd name="connsiteX938" fmla="*/ 648719 w 1707029"/>
              <a:gd name="connsiteY938" fmla="*/ 143702 h 904588"/>
              <a:gd name="connsiteX939" fmla="*/ 648719 w 1707029"/>
              <a:gd name="connsiteY939" fmla="*/ 215317 h 904588"/>
              <a:gd name="connsiteX940" fmla="*/ 643657 w 1707029"/>
              <a:gd name="connsiteY940" fmla="*/ 227805 h 904588"/>
              <a:gd name="connsiteX941" fmla="*/ 631033 w 1707029"/>
              <a:gd name="connsiteY941" fmla="*/ 232777 h 904588"/>
              <a:gd name="connsiteX942" fmla="*/ 631033 w 1707029"/>
              <a:gd name="connsiteY942" fmla="*/ 232777 h 904588"/>
              <a:gd name="connsiteX943" fmla="*/ 631033 w 1707029"/>
              <a:gd name="connsiteY943" fmla="*/ 232777 h 904588"/>
              <a:gd name="connsiteX944" fmla="*/ 618409 w 1707029"/>
              <a:gd name="connsiteY944" fmla="*/ 227805 h 904588"/>
              <a:gd name="connsiteX945" fmla="*/ 613347 w 1707029"/>
              <a:gd name="connsiteY945" fmla="*/ 215317 h 904588"/>
              <a:gd name="connsiteX946" fmla="*/ 613347 w 1707029"/>
              <a:gd name="connsiteY946" fmla="*/ 143702 h 904588"/>
              <a:gd name="connsiteX947" fmla="*/ 607513 w 1707029"/>
              <a:gd name="connsiteY947" fmla="*/ 117957 h 904588"/>
              <a:gd name="connsiteX948" fmla="*/ 592029 w 1707029"/>
              <a:gd name="connsiteY948" fmla="*/ 103456 h 904588"/>
              <a:gd name="connsiteX949" fmla="*/ 569222 w 1707029"/>
              <a:gd name="connsiteY949" fmla="*/ 98663 h 904588"/>
              <a:gd name="connsiteX950" fmla="*/ 548083 w 1707029"/>
              <a:gd name="connsiteY950" fmla="*/ 103338 h 904588"/>
              <a:gd name="connsiteX951" fmla="*/ 533196 w 1707029"/>
              <a:gd name="connsiteY951" fmla="*/ 115767 h 904588"/>
              <a:gd name="connsiteX952" fmla="*/ 527777 w 1707029"/>
              <a:gd name="connsiteY952" fmla="*/ 133286 h 904588"/>
              <a:gd name="connsiteX953" fmla="*/ 527777 w 1707029"/>
              <a:gd name="connsiteY953" fmla="*/ 215376 h 904588"/>
              <a:gd name="connsiteX954" fmla="*/ 522895 w 1707029"/>
              <a:gd name="connsiteY954" fmla="*/ 227864 h 904588"/>
              <a:gd name="connsiteX955" fmla="*/ 510032 w 1707029"/>
              <a:gd name="connsiteY955" fmla="*/ 232894 h 904588"/>
              <a:gd name="connsiteX956" fmla="*/ 510032 w 1707029"/>
              <a:gd name="connsiteY956" fmla="*/ 232894 h 904588"/>
              <a:gd name="connsiteX957" fmla="*/ 497408 w 1707029"/>
              <a:gd name="connsiteY957" fmla="*/ 227924 h 904588"/>
              <a:gd name="connsiteX958" fmla="*/ 492346 w 1707029"/>
              <a:gd name="connsiteY958" fmla="*/ 215435 h 904588"/>
              <a:gd name="connsiteX959" fmla="*/ 492346 w 1707029"/>
              <a:gd name="connsiteY959" fmla="*/ 17518 h 904588"/>
              <a:gd name="connsiteX960" fmla="*/ 497467 w 1707029"/>
              <a:gd name="connsiteY960" fmla="*/ 4853 h 904588"/>
              <a:gd name="connsiteX961" fmla="*/ 510092 w 1707029"/>
              <a:gd name="connsiteY961" fmla="*/ 0 h 904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Lst>
            <a:rect l="l" t="t" r="r" b="b"/>
            <a:pathLst>
              <a:path w="1707029" h="904588">
                <a:moveTo>
                  <a:pt x="1036260" y="827646"/>
                </a:moveTo>
                <a:cubicBezTo>
                  <a:pt x="1040429" y="827646"/>
                  <a:pt x="1043883" y="829067"/>
                  <a:pt x="1046741" y="831967"/>
                </a:cubicBezTo>
                <a:cubicBezTo>
                  <a:pt x="1049599" y="834867"/>
                  <a:pt x="1051028" y="838477"/>
                  <a:pt x="1051028" y="842443"/>
                </a:cubicBezTo>
                <a:cubicBezTo>
                  <a:pt x="1051028" y="846408"/>
                  <a:pt x="1049599" y="849842"/>
                  <a:pt x="1046741" y="852741"/>
                </a:cubicBezTo>
                <a:cubicBezTo>
                  <a:pt x="1043883" y="855582"/>
                  <a:pt x="1040250" y="857062"/>
                  <a:pt x="1036260" y="857062"/>
                </a:cubicBezTo>
                <a:cubicBezTo>
                  <a:pt x="1032270" y="857062"/>
                  <a:pt x="1028817" y="855642"/>
                  <a:pt x="1025898" y="852741"/>
                </a:cubicBezTo>
                <a:cubicBezTo>
                  <a:pt x="1023040" y="849842"/>
                  <a:pt x="1021552" y="846527"/>
                  <a:pt x="1021552" y="842443"/>
                </a:cubicBezTo>
                <a:cubicBezTo>
                  <a:pt x="1021552" y="838359"/>
                  <a:pt x="1022982" y="834867"/>
                  <a:pt x="1025898" y="831967"/>
                </a:cubicBezTo>
                <a:cubicBezTo>
                  <a:pt x="1028817" y="829125"/>
                  <a:pt x="1032270" y="827646"/>
                  <a:pt x="1036260" y="827646"/>
                </a:cubicBezTo>
                <a:close/>
                <a:moveTo>
                  <a:pt x="373965" y="755973"/>
                </a:moveTo>
                <a:lnTo>
                  <a:pt x="354671" y="761181"/>
                </a:lnTo>
                <a:cubicBezTo>
                  <a:pt x="348953" y="764614"/>
                  <a:pt x="344368" y="769349"/>
                  <a:pt x="341034" y="775386"/>
                </a:cubicBezTo>
                <a:cubicBezTo>
                  <a:pt x="337699" y="781423"/>
                  <a:pt x="336031" y="788407"/>
                  <a:pt x="336031" y="795864"/>
                </a:cubicBezTo>
                <a:cubicBezTo>
                  <a:pt x="336031" y="803321"/>
                  <a:pt x="337699" y="810069"/>
                  <a:pt x="341034" y="816106"/>
                </a:cubicBezTo>
                <a:cubicBezTo>
                  <a:pt x="344368" y="822142"/>
                  <a:pt x="348894" y="826878"/>
                  <a:pt x="354671" y="830310"/>
                </a:cubicBezTo>
                <a:lnTo>
                  <a:pt x="373965" y="835519"/>
                </a:lnTo>
                <a:lnTo>
                  <a:pt x="393377" y="830310"/>
                </a:lnTo>
                <a:cubicBezTo>
                  <a:pt x="399094" y="826878"/>
                  <a:pt x="403559" y="822142"/>
                  <a:pt x="406835" y="816106"/>
                </a:cubicBezTo>
                <a:cubicBezTo>
                  <a:pt x="410109" y="810128"/>
                  <a:pt x="411718" y="803499"/>
                  <a:pt x="411718" y="795864"/>
                </a:cubicBezTo>
                <a:cubicBezTo>
                  <a:pt x="411718" y="788229"/>
                  <a:pt x="410109" y="781364"/>
                  <a:pt x="406835" y="775386"/>
                </a:cubicBezTo>
                <a:cubicBezTo>
                  <a:pt x="403559" y="769408"/>
                  <a:pt x="399094" y="764674"/>
                  <a:pt x="393377" y="761181"/>
                </a:cubicBezTo>
                <a:close/>
                <a:moveTo>
                  <a:pt x="1133741" y="755914"/>
                </a:moveTo>
                <a:cubicBezTo>
                  <a:pt x="1126357" y="755914"/>
                  <a:pt x="1119807" y="757630"/>
                  <a:pt x="1114091" y="761004"/>
                </a:cubicBezTo>
                <a:cubicBezTo>
                  <a:pt x="1108373" y="764377"/>
                  <a:pt x="1103907" y="769053"/>
                  <a:pt x="1100632" y="775091"/>
                </a:cubicBezTo>
                <a:cubicBezTo>
                  <a:pt x="1097358" y="781067"/>
                  <a:pt x="1095749" y="787934"/>
                  <a:pt x="1095749" y="795745"/>
                </a:cubicBezTo>
                <a:cubicBezTo>
                  <a:pt x="1095749" y="803558"/>
                  <a:pt x="1097358" y="810424"/>
                  <a:pt x="1100632" y="816342"/>
                </a:cubicBezTo>
                <a:cubicBezTo>
                  <a:pt x="1103907" y="822320"/>
                  <a:pt x="1108373" y="826996"/>
                  <a:pt x="1114091" y="830369"/>
                </a:cubicBezTo>
                <a:cubicBezTo>
                  <a:pt x="1119807" y="833743"/>
                  <a:pt x="1126357" y="835459"/>
                  <a:pt x="1133741" y="835459"/>
                </a:cubicBezTo>
                <a:cubicBezTo>
                  <a:pt x="1141125" y="835459"/>
                  <a:pt x="1147675" y="833743"/>
                  <a:pt x="1153392" y="830369"/>
                </a:cubicBezTo>
                <a:cubicBezTo>
                  <a:pt x="1159109" y="826937"/>
                  <a:pt x="1163516" y="822261"/>
                  <a:pt x="1166731" y="816342"/>
                </a:cubicBezTo>
                <a:cubicBezTo>
                  <a:pt x="1169946" y="810364"/>
                  <a:pt x="1171554" y="803499"/>
                  <a:pt x="1171554" y="795745"/>
                </a:cubicBezTo>
                <a:cubicBezTo>
                  <a:pt x="1171554" y="787993"/>
                  <a:pt x="1169946" y="781127"/>
                  <a:pt x="1166731" y="775091"/>
                </a:cubicBezTo>
                <a:cubicBezTo>
                  <a:pt x="1163516" y="769113"/>
                  <a:pt x="1159109" y="764377"/>
                  <a:pt x="1153392" y="761004"/>
                </a:cubicBezTo>
                <a:cubicBezTo>
                  <a:pt x="1147675" y="757630"/>
                  <a:pt x="1141125" y="755914"/>
                  <a:pt x="1133741" y="755914"/>
                </a:cubicBezTo>
                <a:close/>
                <a:moveTo>
                  <a:pt x="1500023" y="755028"/>
                </a:moveTo>
                <a:cubicBezTo>
                  <a:pt x="1491865" y="755028"/>
                  <a:pt x="1484957" y="756803"/>
                  <a:pt x="1479181" y="760354"/>
                </a:cubicBezTo>
                <a:lnTo>
                  <a:pt x="1479241" y="760354"/>
                </a:lnTo>
                <a:cubicBezTo>
                  <a:pt x="1473524" y="763846"/>
                  <a:pt x="1469117" y="768699"/>
                  <a:pt x="1466139" y="774855"/>
                </a:cubicBezTo>
                <a:cubicBezTo>
                  <a:pt x="1464473" y="778346"/>
                  <a:pt x="1463341" y="782193"/>
                  <a:pt x="1462626" y="786218"/>
                </a:cubicBezTo>
                <a:lnTo>
                  <a:pt x="1533310" y="786218"/>
                </a:lnTo>
                <a:cubicBezTo>
                  <a:pt x="1532655" y="781542"/>
                  <a:pt x="1531643" y="777104"/>
                  <a:pt x="1529737" y="773138"/>
                </a:cubicBezTo>
                <a:cubicBezTo>
                  <a:pt x="1526999" y="767574"/>
                  <a:pt x="1523188" y="763135"/>
                  <a:pt x="1518185" y="759880"/>
                </a:cubicBezTo>
                <a:cubicBezTo>
                  <a:pt x="1513183" y="756626"/>
                  <a:pt x="1507109" y="755028"/>
                  <a:pt x="1500023" y="755028"/>
                </a:cubicBezTo>
                <a:close/>
                <a:moveTo>
                  <a:pt x="1371756" y="755028"/>
                </a:moveTo>
                <a:cubicBezTo>
                  <a:pt x="1363597" y="755028"/>
                  <a:pt x="1356689" y="756803"/>
                  <a:pt x="1350913" y="760354"/>
                </a:cubicBezTo>
                <a:lnTo>
                  <a:pt x="1350973" y="760354"/>
                </a:lnTo>
                <a:cubicBezTo>
                  <a:pt x="1345257" y="763846"/>
                  <a:pt x="1340850" y="768699"/>
                  <a:pt x="1337872" y="774855"/>
                </a:cubicBezTo>
                <a:cubicBezTo>
                  <a:pt x="1336205" y="778346"/>
                  <a:pt x="1335073" y="782193"/>
                  <a:pt x="1334359" y="786218"/>
                </a:cubicBezTo>
                <a:lnTo>
                  <a:pt x="1405042" y="786218"/>
                </a:lnTo>
                <a:cubicBezTo>
                  <a:pt x="1404388" y="781542"/>
                  <a:pt x="1403376" y="777104"/>
                  <a:pt x="1401470" y="773138"/>
                </a:cubicBezTo>
                <a:cubicBezTo>
                  <a:pt x="1398731" y="767574"/>
                  <a:pt x="1394920" y="763135"/>
                  <a:pt x="1389918" y="759880"/>
                </a:cubicBezTo>
                <a:cubicBezTo>
                  <a:pt x="1384915" y="756626"/>
                  <a:pt x="1378842" y="755028"/>
                  <a:pt x="1371756" y="755028"/>
                </a:cubicBezTo>
                <a:close/>
                <a:moveTo>
                  <a:pt x="602391" y="755028"/>
                </a:moveTo>
                <a:lnTo>
                  <a:pt x="581549" y="760354"/>
                </a:lnTo>
                <a:lnTo>
                  <a:pt x="581609" y="760354"/>
                </a:lnTo>
                <a:cubicBezTo>
                  <a:pt x="575892" y="763846"/>
                  <a:pt x="571486" y="768699"/>
                  <a:pt x="568508" y="774855"/>
                </a:cubicBezTo>
                <a:cubicBezTo>
                  <a:pt x="566840" y="778346"/>
                  <a:pt x="565710" y="782193"/>
                  <a:pt x="564994" y="786218"/>
                </a:cubicBezTo>
                <a:lnTo>
                  <a:pt x="635679" y="786218"/>
                </a:lnTo>
                <a:cubicBezTo>
                  <a:pt x="635023" y="781542"/>
                  <a:pt x="634012" y="777104"/>
                  <a:pt x="632105" y="773138"/>
                </a:cubicBezTo>
                <a:cubicBezTo>
                  <a:pt x="629366" y="767574"/>
                  <a:pt x="625556" y="763135"/>
                  <a:pt x="620553" y="759880"/>
                </a:cubicBezTo>
                <a:close/>
                <a:moveTo>
                  <a:pt x="795923" y="738218"/>
                </a:moveTo>
                <a:cubicBezTo>
                  <a:pt x="798305" y="739105"/>
                  <a:pt x="800151" y="740940"/>
                  <a:pt x="801460" y="743604"/>
                </a:cubicBezTo>
                <a:lnTo>
                  <a:pt x="840584" y="820840"/>
                </a:lnTo>
                <a:lnTo>
                  <a:pt x="874884" y="743841"/>
                </a:lnTo>
                <a:cubicBezTo>
                  <a:pt x="877742" y="737922"/>
                  <a:pt x="882209" y="736206"/>
                  <a:pt x="888343" y="738750"/>
                </a:cubicBezTo>
                <a:lnTo>
                  <a:pt x="888343" y="738691"/>
                </a:lnTo>
                <a:cubicBezTo>
                  <a:pt x="894774" y="741414"/>
                  <a:pt x="896560" y="745853"/>
                  <a:pt x="893701" y="752068"/>
                </a:cubicBezTo>
                <a:lnTo>
                  <a:pt x="828377" y="898019"/>
                </a:lnTo>
                <a:cubicBezTo>
                  <a:pt x="826650" y="902398"/>
                  <a:pt x="823910" y="904588"/>
                  <a:pt x="820039" y="904588"/>
                </a:cubicBezTo>
                <a:cubicBezTo>
                  <a:pt x="818611" y="904588"/>
                  <a:pt x="816885" y="904174"/>
                  <a:pt x="814919" y="903346"/>
                </a:cubicBezTo>
                <a:cubicBezTo>
                  <a:pt x="808666" y="900504"/>
                  <a:pt x="806940" y="896065"/>
                  <a:pt x="809798" y="889969"/>
                </a:cubicBezTo>
                <a:lnTo>
                  <a:pt x="831057" y="842207"/>
                </a:lnTo>
                <a:lnTo>
                  <a:pt x="783120" y="751653"/>
                </a:lnTo>
                <a:cubicBezTo>
                  <a:pt x="781691" y="748930"/>
                  <a:pt x="781512" y="746385"/>
                  <a:pt x="782584" y="743900"/>
                </a:cubicBezTo>
                <a:cubicBezTo>
                  <a:pt x="783656" y="741473"/>
                  <a:pt x="785562" y="739639"/>
                  <a:pt x="788241" y="738514"/>
                </a:cubicBezTo>
                <a:cubicBezTo>
                  <a:pt x="790920" y="737390"/>
                  <a:pt x="793482" y="737271"/>
                  <a:pt x="795923" y="738218"/>
                </a:cubicBezTo>
                <a:close/>
                <a:moveTo>
                  <a:pt x="1133741" y="736856"/>
                </a:moveTo>
                <a:cubicBezTo>
                  <a:pt x="1145116" y="736856"/>
                  <a:pt x="1155238" y="739342"/>
                  <a:pt x="1164051" y="744372"/>
                </a:cubicBezTo>
                <a:cubicBezTo>
                  <a:pt x="1172864" y="749404"/>
                  <a:pt x="1179772" y="756328"/>
                  <a:pt x="1184834" y="765147"/>
                </a:cubicBezTo>
                <a:cubicBezTo>
                  <a:pt x="1189894" y="773966"/>
                  <a:pt x="1192396" y="784205"/>
                  <a:pt x="1192396" y="795805"/>
                </a:cubicBezTo>
                <a:lnTo>
                  <a:pt x="1192396" y="841615"/>
                </a:lnTo>
                <a:cubicBezTo>
                  <a:pt x="1192396" y="852801"/>
                  <a:pt x="1189894" y="862921"/>
                  <a:pt x="1184953" y="872036"/>
                </a:cubicBezTo>
                <a:cubicBezTo>
                  <a:pt x="1180011" y="881151"/>
                  <a:pt x="1173043" y="888371"/>
                  <a:pt x="1164170" y="893757"/>
                </a:cubicBezTo>
                <a:cubicBezTo>
                  <a:pt x="1155298" y="899143"/>
                  <a:pt x="1144996" y="901806"/>
                  <a:pt x="1133324" y="901806"/>
                </a:cubicBezTo>
                <a:cubicBezTo>
                  <a:pt x="1123201" y="901806"/>
                  <a:pt x="1113733" y="899853"/>
                  <a:pt x="1104920" y="895887"/>
                </a:cubicBezTo>
                <a:cubicBezTo>
                  <a:pt x="1096106" y="891923"/>
                  <a:pt x="1088663" y="886122"/>
                  <a:pt x="1082530" y="878488"/>
                </a:cubicBezTo>
                <a:cubicBezTo>
                  <a:pt x="1080684" y="876120"/>
                  <a:pt x="1080029" y="873635"/>
                  <a:pt x="1080505" y="871089"/>
                </a:cubicBezTo>
                <a:cubicBezTo>
                  <a:pt x="1081042" y="868544"/>
                  <a:pt x="1082411" y="866473"/>
                  <a:pt x="1084674" y="864934"/>
                </a:cubicBezTo>
                <a:cubicBezTo>
                  <a:pt x="1087234" y="863218"/>
                  <a:pt x="1089855" y="862626"/>
                  <a:pt x="1092653" y="863218"/>
                </a:cubicBezTo>
                <a:cubicBezTo>
                  <a:pt x="1095452" y="863810"/>
                  <a:pt x="1097654" y="865230"/>
                  <a:pt x="1099382" y="867479"/>
                </a:cubicBezTo>
                <a:cubicBezTo>
                  <a:pt x="1103253" y="872273"/>
                  <a:pt x="1108076" y="876061"/>
                  <a:pt x="1113912" y="878724"/>
                </a:cubicBezTo>
                <a:cubicBezTo>
                  <a:pt x="1119748" y="881387"/>
                  <a:pt x="1126357" y="882749"/>
                  <a:pt x="1133741" y="882749"/>
                </a:cubicBezTo>
                <a:cubicBezTo>
                  <a:pt x="1140589" y="882749"/>
                  <a:pt x="1146842" y="881151"/>
                  <a:pt x="1152618" y="877896"/>
                </a:cubicBezTo>
                <a:cubicBezTo>
                  <a:pt x="1158394" y="874641"/>
                  <a:pt x="1162979" y="869847"/>
                  <a:pt x="1166374" y="863454"/>
                </a:cubicBezTo>
                <a:cubicBezTo>
                  <a:pt x="1169767" y="857121"/>
                  <a:pt x="1171494" y="849308"/>
                  <a:pt x="1171494" y="840135"/>
                </a:cubicBezTo>
                <a:lnTo>
                  <a:pt x="1171494" y="829422"/>
                </a:lnTo>
                <a:cubicBezTo>
                  <a:pt x="1167327" y="836702"/>
                  <a:pt x="1162086" y="842621"/>
                  <a:pt x="1155477" y="847001"/>
                </a:cubicBezTo>
                <a:cubicBezTo>
                  <a:pt x="1147974" y="851973"/>
                  <a:pt x="1139279" y="854517"/>
                  <a:pt x="1129454" y="854517"/>
                </a:cubicBezTo>
                <a:cubicBezTo>
                  <a:pt x="1118795" y="854517"/>
                  <a:pt x="1109326" y="852031"/>
                  <a:pt x="1101169" y="847001"/>
                </a:cubicBezTo>
                <a:cubicBezTo>
                  <a:pt x="1093010" y="841970"/>
                  <a:pt x="1086579" y="835045"/>
                  <a:pt x="1081875" y="826226"/>
                </a:cubicBezTo>
                <a:cubicBezTo>
                  <a:pt x="1077171" y="817407"/>
                  <a:pt x="1074848" y="807406"/>
                  <a:pt x="1074848" y="795805"/>
                </a:cubicBezTo>
                <a:cubicBezTo>
                  <a:pt x="1074848" y="784205"/>
                  <a:pt x="1077349" y="773966"/>
                  <a:pt x="1082411" y="765147"/>
                </a:cubicBezTo>
                <a:cubicBezTo>
                  <a:pt x="1087413" y="756328"/>
                  <a:pt x="1094380" y="749404"/>
                  <a:pt x="1103193" y="744372"/>
                </a:cubicBezTo>
                <a:cubicBezTo>
                  <a:pt x="1112066" y="739402"/>
                  <a:pt x="1122367" y="736856"/>
                  <a:pt x="1133741" y="736856"/>
                </a:cubicBezTo>
                <a:close/>
                <a:moveTo>
                  <a:pt x="955096" y="736856"/>
                </a:moveTo>
                <a:cubicBezTo>
                  <a:pt x="964445" y="736856"/>
                  <a:pt x="972782" y="738335"/>
                  <a:pt x="980046" y="741295"/>
                </a:cubicBezTo>
                <a:cubicBezTo>
                  <a:pt x="987252" y="744255"/>
                  <a:pt x="993028" y="748397"/>
                  <a:pt x="997315" y="753605"/>
                </a:cubicBezTo>
                <a:cubicBezTo>
                  <a:pt x="999340" y="755855"/>
                  <a:pt x="1000233" y="758222"/>
                  <a:pt x="1000115" y="760708"/>
                </a:cubicBezTo>
                <a:cubicBezTo>
                  <a:pt x="999996" y="763193"/>
                  <a:pt x="998745" y="765266"/>
                  <a:pt x="996482" y="766981"/>
                </a:cubicBezTo>
                <a:cubicBezTo>
                  <a:pt x="994219" y="768521"/>
                  <a:pt x="991481" y="769053"/>
                  <a:pt x="988384" y="768461"/>
                </a:cubicBezTo>
                <a:cubicBezTo>
                  <a:pt x="985227" y="767870"/>
                  <a:pt x="982608" y="766626"/>
                  <a:pt x="980464" y="764614"/>
                </a:cubicBezTo>
                <a:cubicBezTo>
                  <a:pt x="976951" y="761240"/>
                  <a:pt x="973079" y="758874"/>
                  <a:pt x="968971" y="757630"/>
                </a:cubicBezTo>
                <a:cubicBezTo>
                  <a:pt x="964862" y="756387"/>
                  <a:pt x="960098" y="755736"/>
                  <a:pt x="954680" y="755736"/>
                </a:cubicBezTo>
                <a:cubicBezTo>
                  <a:pt x="948427" y="755736"/>
                  <a:pt x="943127" y="756801"/>
                  <a:pt x="938780" y="758932"/>
                </a:cubicBezTo>
                <a:cubicBezTo>
                  <a:pt x="934433" y="761063"/>
                  <a:pt x="932290" y="764200"/>
                  <a:pt x="932290" y="768284"/>
                </a:cubicBezTo>
                <a:cubicBezTo>
                  <a:pt x="932290" y="770828"/>
                  <a:pt x="932945" y="773077"/>
                  <a:pt x="934313" y="775149"/>
                </a:cubicBezTo>
                <a:cubicBezTo>
                  <a:pt x="935624" y="777162"/>
                  <a:pt x="938303" y="779055"/>
                  <a:pt x="942293" y="780653"/>
                </a:cubicBezTo>
                <a:cubicBezTo>
                  <a:pt x="946283" y="782310"/>
                  <a:pt x="952119" y="783908"/>
                  <a:pt x="959801" y="785447"/>
                </a:cubicBezTo>
                <a:cubicBezTo>
                  <a:pt x="970459" y="787578"/>
                  <a:pt x="978915" y="790241"/>
                  <a:pt x="985109" y="793496"/>
                </a:cubicBezTo>
                <a:lnTo>
                  <a:pt x="985168" y="793437"/>
                </a:lnTo>
                <a:cubicBezTo>
                  <a:pt x="991361" y="796692"/>
                  <a:pt x="995827" y="800480"/>
                  <a:pt x="998507" y="804801"/>
                </a:cubicBezTo>
                <a:cubicBezTo>
                  <a:pt x="1001187" y="809121"/>
                  <a:pt x="1002556" y="814152"/>
                  <a:pt x="1002556" y="819775"/>
                </a:cubicBezTo>
                <a:cubicBezTo>
                  <a:pt x="1002556" y="826226"/>
                  <a:pt x="1000770" y="832145"/>
                  <a:pt x="997315" y="837353"/>
                </a:cubicBezTo>
                <a:cubicBezTo>
                  <a:pt x="993862" y="842561"/>
                  <a:pt x="988741" y="846764"/>
                  <a:pt x="981952" y="849841"/>
                </a:cubicBezTo>
                <a:cubicBezTo>
                  <a:pt x="975164" y="852978"/>
                  <a:pt x="966588" y="854516"/>
                  <a:pt x="956644" y="854516"/>
                </a:cubicBezTo>
                <a:cubicBezTo>
                  <a:pt x="946700" y="854516"/>
                  <a:pt x="937470" y="852978"/>
                  <a:pt x="929014" y="849960"/>
                </a:cubicBezTo>
                <a:cubicBezTo>
                  <a:pt x="920499" y="846941"/>
                  <a:pt x="913949" y="843093"/>
                  <a:pt x="909243" y="838418"/>
                </a:cubicBezTo>
                <a:cubicBezTo>
                  <a:pt x="907101" y="836169"/>
                  <a:pt x="906208" y="833565"/>
                  <a:pt x="906564" y="830664"/>
                </a:cubicBezTo>
                <a:cubicBezTo>
                  <a:pt x="906922" y="827765"/>
                  <a:pt x="908291" y="825397"/>
                  <a:pt x="910733" y="823563"/>
                </a:cubicBezTo>
                <a:cubicBezTo>
                  <a:pt x="913591" y="821314"/>
                  <a:pt x="916390" y="820367"/>
                  <a:pt x="919188" y="820722"/>
                </a:cubicBezTo>
                <a:cubicBezTo>
                  <a:pt x="921987" y="821077"/>
                  <a:pt x="924310" y="822320"/>
                  <a:pt x="926335" y="824450"/>
                </a:cubicBezTo>
                <a:cubicBezTo>
                  <a:pt x="928716" y="827114"/>
                  <a:pt x="932646" y="829658"/>
                  <a:pt x="937947" y="831967"/>
                </a:cubicBezTo>
                <a:cubicBezTo>
                  <a:pt x="943246" y="834275"/>
                  <a:pt x="949201" y="835459"/>
                  <a:pt x="955751" y="835459"/>
                </a:cubicBezTo>
                <a:cubicBezTo>
                  <a:pt x="963969" y="835459"/>
                  <a:pt x="970280" y="834097"/>
                  <a:pt x="974628" y="831434"/>
                </a:cubicBezTo>
                <a:cubicBezTo>
                  <a:pt x="978975" y="828712"/>
                  <a:pt x="981178" y="825280"/>
                  <a:pt x="981357" y="821017"/>
                </a:cubicBezTo>
                <a:cubicBezTo>
                  <a:pt x="981536" y="816815"/>
                  <a:pt x="979451" y="813146"/>
                  <a:pt x="975283" y="810010"/>
                </a:cubicBezTo>
                <a:cubicBezTo>
                  <a:pt x="971115" y="806931"/>
                  <a:pt x="963434" y="804387"/>
                  <a:pt x="952357" y="802374"/>
                </a:cubicBezTo>
                <a:cubicBezTo>
                  <a:pt x="938006" y="799533"/>
                  <a:pt x="927586" y="795272"/>
                  <a:pt x="921094" y="789649"/>
                </a:cubicBezTo>
                <a:cubicBezTo>
                  <a:pt x="914603" y="784027"/>
                  <a:pt x="911388" y="777043"/>
                  <a:pt x="911388" y="768876"/>
                </a:cubicBezTo>
                <a:cubicBezTo>
                  <a:pt x="911388" y="761655"/>
                  <a:pt x="913472" y="755677"/>
                  <a:pt x="917760" y="750942"/>
                </a:cubicBezTo>
                <a:cubicBezTo>
                  <a:pt x="922047" y="746208"/>
                  <a:pt x="927526" y="742657"/>
                  <a:pt x="934195" y="740348"/>
                </a:cubicBezTo>
                <a:cubicBezTo>
                  <a:pt x="940864" y="738040"/>
                  <a:pt x="947832" y="736856"/>
                  <a:pt x="955096" y="736856"/>
                </a:cubicBezTo>
                <a:close/>
                <a:moveTo>
                  <a:pt x="724167" y="736856"/>
                </a:moveTo>
                <a:cubicBezTo>
                  <a:pt x="733516" y="736856"/>
                  <a:pt x="741853" y="738335"/>
                  <a:pt x="749118" y="741295"/>
                </a:cubicBezTo>
                <a:cubicBezTo>
                  <a:pt x="756323" y="744255"/>
                  <a:pt x="762099" y="748397"/>
                  <a:pt x="766386" y="753605"/>
                </a:cubicBezTo>
                <a:cubicBezTo>
                  <a:pt x="768411" y="755855"/>
                  <a:pt x="769304" y="758222"/>
                  <a:pt x="769186" y="760708"/>
                </a:cubicBezTo>
                <a:cubicBezTo>
                  <a:pt x="769067" y="763193"/>
                  <a:pt x="767816" y="765266"/>
                  <a:pt x="765553" y="766981"/>
                </a:cubicBezTo>
                <a:cubicBezTo>
                  <a:pt x="763291" y="768521"/>
                  <a:pt x="760552" y="769053"/>
                  <a:pt x="757455" y="768461"/>
                </a:cubicBezTo>
                <a:cubicBezTo>
                  <a:pt x="754299" y="767870"/>
                  <a:pt x="751679" y="766626"/>
                  <a:pt x="749535" y="764614"/>
                </a:cubicBezTo>
                <a:cubicBezTo>
                  <a:pt x="746022" y="761240"/>
                  <a:pt x="742150" y="758874"/>
                  <a:pt x="738042" y="757630"/>
                </a:cubicBezTo>
                <a:cubicBezTo>
                  <a:pt x="733933" y="756387"/>
                  <a:pt x="729169" y="755736"/>
                  <a:pt x="723751" y="755736"/>
                </a:cubicBezTo>
                <a:cubicBezTo>
                  <a:pt x="717498" y="755736"/>
                  <a:pt x="712198" y="756801"/>
                  <a:pt x="707851" y="758932"/>
                </a:cubicBezTo>
                <a:cubicBezTo>
                  <a:pt x="703505" y="761063"/>
                  <a:pt x="701361" y="764200"/>
                  <a:pt x="701361" y="768284"/>
                </a:cubicBezTo>
                <a:cubicBezTo>
                  <a:pt x="701361" y="770828"/>
                  <a:pt x="702016" y="773077"/>
                  <a:pt x="703385" y="775149"/>
                </a:cubicBezTo>
                <a:cubicBezTo>
                  <a:pt x="704696" y="777162"/>
                  <a:pt x="707376" y="779055"/>
                  <a:pt x="711364" y="780653"/>
                </a:cubicBezTo>
                <a:cubicBezTo>
                  <a:pt x="715354" y="782310"/>
                  <a:pt x="721190" y="783908"/>
                  <a:pt x="728872" y="785447"/>
                </a:cubicBezTo>
                <a:cubicBezTo>
                  <a:pt x="739530" y="787578"/>
                  <a:pt x="747986" y="790241"/>
                  <a:pt x="754180" y="793496"/>
                </a:cubicBezTo>
                <a:lnTo>
                  <a:pt x="754239" y="793437"/>
                </a:lnTo>
                <a:cubicBezTo>
                  <a:pt x="760432" y="796692"/>
                  <a:pt x="764898" y="800480"/>
                  <a:pt x="767578" y="804801"/>
                </a:cubicBezTo>
                <a:cubicBezTo>
                  <a:pt x="770258" y="809121"/>
                  <a:pt x="771627" y="814152"/>
                  <a:pt x="771627" y="819775"/>
                </a:cubicBezTo>
                <a:cubicBezTo>
                  <a:pt x="771627" y="826226"/>
                  <a:pt x="769841" y="832145"/>
                  <a:pt x="766386" y="837353"/>
                </a:cubicBezTo>
                <a:cubicBezTo>
                  <a:pt x="762933" y="842561"/>
                  <a:pt x="757812" y="846764"/>
                  <a:pt x="751023" y="849841"/>
                </a:cubicBezTo>
                <a:cubicBezTo>
                  <a:pt x="744235" y="852978"/>
                  <a:pt x="735660" y="854516"/>
                  <a:pt x="725715" y="854516"/>
                </a:cubicBezTo>
                <a:cubicBezTo>
                  <a:pt x="715771" y="854516"/>
                  <a:pt x="706542" y="852978"/>
                  <a:pt x="698085" y="849960"/>
                </a:cubicBezTo>
                <a:cubicBezTo>
                  <a:pt x="689570" y="846941"/>
                  <a:pt x="683020" y="843093"/>
                  <a:pt x="678316" y="838418"/>
                </a:cubicBezTo>
                <a:cubicBezTo>
                  <a:pt x="676172" y="836169"/>
                  <a:pt x="675279" y="833565"/>
                  <a:pt x="675635" y="830664"/>
                </a:cubicBezTo>
                <a:cubicBezTo>
                  <a:pt x="675993" y="827765"/>
                  <a:pt x="677363" y="825397"/>
                  <a:pt x="679804" y="823563"/>
                </a:cubicBezTo>
                <a:cubicBezTo>
                  <a:pt x="682662" y="821314"/>
                  <a:pt x="685461" y="820367"/>
                  <a:pt x="688259" y="820722"/>
                </a:cubicBezTo>
                <a:lnTo>
                  <a:pt x="688259" y="820722"/>
                </a:lnTo>
                <a:cubicBezTo>
                  <a:pt x="691060" y="821077"/>
                  <a:pt x="693381" y="822320"/>
                  <a:pt x="695406" y="824450"/>
                </a:cubicBezTo>
                <a:cubicBezTo>
                  <a:pt x="697788" y="827114"/>
                  <a:pt x="701718" y="829658"/>
                  <a:pt x="707018" y="831967"/>
                </a:cubicBezTo>
                <a:cubicBezTo>
                  <a:pt x="712317" y="834275"/>
                  <a:pt x="718272" y="835459"/>
                  <a:pt x="724822" y="835459"/>
                </a:cubicBezTo>
                <a:cubicBezTo>
                  <a:pt x="733040" y="835459"/>
                  <a:pt x="739352" y="834097"/>
                  <a:pt x="743699" y="831434"/>
                </a:cubicBezTo>
                <a:cubicBezTo>
                  <a:pt x="748046" y="828712"/>
                  <a:pt x="750249" y="825280"/>
                  <a:pt x="750428" y="821017"/>
                </a:cubicBezTo>
                <a:cubicBezTo>
                  <a:pt x="750607" y="816815"/>
                  <a:pt x="748522" y="813146"/>
                  <a:pt x="744354" y="810010"/>
                </a:cubicBezTo>
                <a:cubicBezTo>
                  <a:pt x="740186" y="806931"/>
                  <a:pt x="732505" y="804387"/>
                  <a:pt x="721428" y="802374"/>
                </a:cubicBezTo>
                <a:cubicBezTo>
                  <a:pt x="707077" y="799533"/>
                  <a:pt x="696657" y="795331"/>
                  <a:pt x="690165" y="789649"/>
                </a:cubicBezTo>
                <a:cubicBezTo>
                  <a:pt x="683675" y="784027"/>
                  <a:pt x="680459" y="777043"/>
                  <a:pt x="680459" y="768876"/>
                </a:cubicBezTo>
                <a:cubicBezTo>
                  <a:pt x="680459" y="761655"/>
                  <a:pt x="682543" y="755677"/>
                  <a:pt x="686831" y="750942"/>
                </a:cubicBezTo>
                <a:cubicBezTo>
                  <a:pt x="691118" y="746208"/>
                  <a:pt x="696597" y="742657"/>
                  <a:pt x="703266" y="740348"/>
                </a:cubicBezTo>
                <a:cubicBezTo>
                  <a:pt x="709935" y="738040"/>
                  <a:pt x="716903" y="736856"/>
                  <a:pt x="724167" y="736856"/>
                </a:cubicBezTo>
                <a:close/>
                <a:moveTo>
                  <a:pt x="373965" y="736856"/>
                </a:moveTo>
                <a:cubicBezTo>
                  <a:pt x="385100" y="736856"/>
                  <a:pt x="395044" y="739460"/>
                  <a:pt x="403857" y="744610"/>
                </a:cubicBezTo>
                <a:lnTo>
                  <a:pt x="403738" y="744610"/>
                </a:lnTo>
                <a:cubicBezTo>
                  <a:pt x="412551" y="749818"/>
                  <a:pt x="419578" y="756801"/>
                  <a:pt x="424758" y="765739"/>
                </a:cubicBezTo>
                <a:cubicBezTo>
                  <a:pt x="429939" y="774675"/>
                  <a:pt x="432559" y="784678"/>
                  <a:pt x="432559" y="795864"/>
                </a:cubicBezTo>
                <a:lnTo>
                  <a:pt x="432559" y="843154"/>
                </a:lnTo>
                <a:cubicBezTo>
                  <a:pt x="432559" y="846290"/>
                  <a:pt x="431547" y="848835"/>
                  <a:pt x="429462" y="850906"/>
                </a:cubicBezTo>
                <a:cubicBezTo>
                  <a:pt x="427379" y="852979"/>
                  <a:pt x="424818" y="853985"/>
                  <a:pt x="421663" y="853985"/>
                </a:cubicBezTo>
                <a:lnTo>
                  <a:pt x="421663" y="853985"/>
                </a:lnTo>
                <a:cubicBezTo>
                  <a:pt x="418506" y="853985"/>
                  <a:pt x="415945" y="852979"/>
                  <a:pt x="413862" y="850906"/>
                </a:cubicBezTo>
                <a:cubicBezTo>
                  <a:pt x="411778" y="848835"/>
                  <a:pt x="410765" y="846290"/>
                  <a:pt x="410765" y="843154"/>
                </a:cubicBezTo>
                <a:lnTo>
                  <a:pt x="410765" y="835105"/>
                </a:lnTo>
                <a:lnTo>
                  <a:pt x="397545" y="846882"/>
                </a:lnTo>
                <a:cubicBezTo>
                  <a:pt x="389328" y="852031"/>
                  <a:pt x="379978" y="854635"/>
                  <a:pt x="369617" y="854635"/>
                </a:cubicBezTo>
                <a:lnTo>
                  <a:pt x="369617" y="854635"/>
                </a:lnTo>
                <a:lnTo>
                  <a:pt x="369617" y="854635"/>
                </a:lnTo>
                <a:cubicBezTo>
                  <a:pt x="359256" y="854635"/>
                  <a:pt x="349966" y="852031"/>
                  <a:pt x="341689" y="846882"/>
                </a:cubicBezTo>
                <a:cubicBezTo>
                  <a:pt x="333411" y="841733"/>
                  <a:pt x="326921" y="834689"/>
                  <a:pt x="322157" y="825872"/>
                </a:cubicBezTo>
                <a:cubicBezTo>
                  <a:pt x="317394" y="817053"/>
                  <a:pt x="315011" y="807050"/>
                  <a:pt x="315011" y="795864"/>
                </a:cubicBezTo>
                <a:cubicBezTo>
                  <a:pt x="315011" y="784678"/>
                  <a:pt x="317631" y="774616"/>
                  <a:pt x="322812" y="765739"/>
                </a:cubicBezTo>
                <a:cubicBezTo>
                  <a:pt x="327993" y="756801"/>
                  <a:pt x="335020" y="749758"/>
                  <a:pt x="343952" y="744610"/>
                </a:cubicBezTo>
                <a:cubicBezTo>
                  <a:pt x="352884" y="739460"/>
                  <a:pt x="362829" y="736856"/>
                  <a:pt x="373965" y="736856"/>
                </a:cubicBezTo>
                <a:close/>
                <a:moveTo>
                  <a:pt x="65383" y="736856"/>
                </a:moveTo>
                <a:lnTo>
                  <a:pt x="65384" y="736856"/>
                </a:lnTo>
                <a:lnTo>
                  <a:pt x="65384" y="736856"/>
                </a:lnTo>
                <a:cubicBezTo>
                  <a:pt x="74734" y="736856"/>
                  <a:pt x="83070" y="738335"/>
                  <a:pt x="90335" y="741295"/>
                </a:cubicBezTo>
                <a:cubicBezTo>
                  <a:pt x="97539" y="744255"/>
                  <a:pt x="103316" y="748397"/>
                  <a:pt x="107604" y="753605"/>
                </a:cubicBezTo>
                <a:cubicBezTo>
                  <a:pt x="109628" y="755855"/>
                  <a:pt x="110522" y="758222"/>
                  <a:pt x="110402" y="760708"/>
                </a:cubicBezTo>
                <a:cubicBezTo>
                  <a:pt x="110284" y="763193"/>
                  <a:pt x="109033" y="765266"/>
                  <a:pt x="106770" y="766981"/>
                </a:cubicBezTo>
                <a:cubicBezTo>
                  <a:pt x="104508" y="768521"/>
                  <a:pt x="101768" y="769053"/>
                  <a:pt x="98671" y="768461"/>
                </a:cubicBezTo>
                <a:lnTo>
                  <a:pt x="98671" y="768461"/>
                </a:lnTo>
                <a:cubicBezTo>
                  <a:pt x="95515" y="767870"/>
                  <a:pt x="92895" y="766626"/>
                  <a:pt x="90751" y="764614"/>
                </a:cubicBezTo>
                <a:cubicBezTo>
                  <a:pt x="87238" y="761240"/>
                  <a:pt x="83367" y="758874"/>
                  <a:pt x="79259" y="757630"/>
                </a:cubicBezTo>
                <a:lnTo>
                  <a:pt x="64967" y="755736"/>
                </a:lnTo>
                <a:lnTo>
                  <a:pt x="49068" y="758932"/>
                </a:lnTo>
                <a:cubicBezTo>
                  <a:pt x="44722" y="761063"/>
                  <a:pt x="42577" y="764200"/>
                  <a:pt x="42577" y="768284"/>
                </a:cubicBezTo>
                <a:cubicBezTo>
                  <a:pt x="42577" y="770828"/>
                  <a:pt x="43233" y="773077"/>
                  <a:pt x="44601" y="775149"/>
                </a:cubicBezTo>
                <a:cubicBezTo>
                  <a:pt x="45912" y="777162"/>
                  <a:pt x="48593" y="779055"/>
                  <a:pt x="52581" y="780653"/>
                </a:cubicBezTo>
                <a:cubicBezTo>
                  <a:pt x="56571" y="782310"/>
                  <a:pt x="62407" y="783908"/>
                  <a:pt x="70089" y="785447"/>
                </a:cubicBezTo>
                <a:lnTo>
                  <a:pt x="95397" y="793496"/>
                </a:lnTo>
                <a:lnTo>
                  <a:pt x="95455" y="793437"/>
                </a:lnTo>
                <a:lnTo>
                  <a:pt x="95456" y="793437"/>
                </a:lnTo>
                <a:cubicBezTo>
                  <a:pt x="101649" y="796692"/>
                  <a:pt x="106115" y="800480"/>
                  <a:pt x="108795" y="804801"/>
                </a:cubicBezTo>
                <a:cubicBezTo>
                  <a:pt x="111474" y="809121"/>
                  <a:pt x="112844" y="814152"/>
                  <a:pt x="112844" y="819775"/>
                </a:cubicBezTo>
                <a:cubicBezTo>
                  <a:pt x="112844" y="826226"/>
                  <a:pt x="111058" y="832145"/>
                  <a:pt x="107604" y="837353"/>
                </a:cubicBezTo>
                <a:cubicBezTo>
                  <a:pt x="104150" y="842561"/>
                  <a:pt x="99029" y="846764"/>
                  <a:pt x="92240" y="849841"/>
                </a:cubicBezTo>
                <a:cubicBezTo>
                  <a:pt x="85452" y="852978"/>
                  <a:pt x="76877" y="854516"/>
                  <a:pt x="66932" y="854516"/>
                </a:cubicBezTo>
                <a:lnTo>
                  <a:pt x="66932" y="854516"/>
                </a:lnTo>
                <a:lnTo>
                  <a:pt x="66932" y="854516"/>
                </a:lnTo>
                <a:cubicBezTo>
                  <a:pt x="56987" y="854516"/>
                  <a:pt x="47758" y="852978"/>
                  <a:pt x="39301" y="849960"/>
                </a:cubicBezTo>
                <a:cubicBezTo>
                  <a:pt x="30786" y="846941"/>
                  <a:pt x="24236" y="843093"/>
                  <a:pt x="19532" y="838418"/>
                </a:cubicBezTo>
                <a:cubicBezTo>
                  <a:pt x="17388" y="836169"/>
                  <a:pt x="16495" y="833565"/>
                  <a:pt x="16852" y="830664"/>
                </a:cubicBezTo>
                <a:cubicBezTo>
                  <a:pt x="17209" y="827765"/>
                  <a:pt x="18579" y="825397"/>
                  <a:pt x="21020" y="823563"/>
                </a:cubicBezTo>
                <a:cubicBezTo>
                  <a:pt x="23878" y="821314"/>
                  <a:pt x="26677" y="820367"/>
                  <a:pt x="29476" y="820722"/>
                </a:cubicBezTo>
                <a:lnTo>
                  <a:pt x="29476" y="820722"/>
                </a:lnTo>
                <a:lnTo>
                  <a:pt x="29476" y="820722"/>
                </a:lnTo>
                <a:cubicBezTo>
                  <a:pt x="32276" y="821077"/>
                  <a:pt x="34598" y="822320"/>
                  <a:pt x="36623" y="824450"/>
                </a:cubicBezTo>
                <a:cubicBezTo>
                  <a:pt x="39004" y="827114"/>
                  <a:pt x="42934" y="829658"/>
                  <a:pt x="48235" y="831967"/>
                </a:cubicBezTo>
                <a:lnTo>
                  <a:pt x="66039" y="835459"/>
                </a:lnTo>
                <a:lnTo>
                  <a:pt x="84915" y="831434"/>
                </a:lnTo>
                <a:cubicBezTo>
                  <a:pt x="89263" y="828712"/>
                  <a:pt x="91466" y="825280"/>
                  <a:pt x="91644" y="821017"/>
                </a:cubicBezTo>
                <a:cubicBezTo>
                  <a:pt x="91823" y="816815"/>
                  <a:pt x="89738" y="813146"/>
                  <a:pt x="85570" y="810010"/>
                </a:cubicBezTo>
                <a:cubicBezTo>
                  <a:pt x="81402" y="806931"/>
                  <a:pt x="73721" y="804387"/>
                  <a:pt x="62644" y="802374"/>
                </a:cubicBezTo>
                <a:cubicBezTo>
                  <a:pt x="48293" y="799533"/>
                  <a:pt x="37873" y="795331"/>
                  <a:pt x="31382" y="789649"/>
                </a:cubicBezTo>
                <a:cubicBezTo>
                  <a:pt x="24891" y="784027"/>
                  <a:pt x="21676" y="777043"/>
                  <a:pt x="21676" y="768876"/>
                </a:cubicBezTo>
                <a:cubicBezTo>
                  <a:pt x="21676" y="761655"/>
                  <a:pt x="23760" y="755677"/>
                  <a:pt x="28047" y="750942"/>
                </a:cubicBezTo>
                <a:cubicBezTo>
                  <a:pt x="32335" y="746208"/>
                  <a:pt x="37813" y="742657"/>
                  <a:pt x="44482" y="740348"/>
                </a:cubicBezTo>
                <a:cubicBezTo>
                  <a:pt x="51151" y="738040"/>
                  <a:pt x="58119" y="736856"/>
                  <a:pt x="65383" y="736856"/>
                </a:cubicBezTo>
                <a:close/>
                <a:moveTo>
                  <a:pt x="1500023" y="736798"/>
                </a:moveTo>
                <a:cubicBezTo>
                  <a:pt x="1511099" y="736798"/>
                  <a:pt x="1520626" y="739284"/>
                  <a:pt x="1528606" y="744138"/>
                </a:cubicBezTo>
                <a:lnTo>
                  <a:pt x="1528606" y="743960"/>
                </a:lnTo>
                <a:cubicBezTo>
                  <a:pt x="1536586" y="748813"/>
                  <a:pt x="1542719" y="755561"/>
                  <a:pt x="1546888" y="764083"/>
                </a:cubicBezTo>
                <a:cubicBezTo>
                  <a:pt x="1551115" y="772665"/>
                  <a:pt x="1553199" y="782490"/>
                  <a:pt x="1553199" y="793675"/>
                </a:cubicBezTo>
                <a:cubicBezTo>
                  <a:pt x="1553199" y="796398"/>
                  <a:pt x="1552247" y="798588"/>
                  <a:pt x="1550401" y="800364"/>
                </a:cubicBezTo>
                <a:cubicBezTo>
                  <a:pt x="1548555" y="802139"/>
                  <a:pt x="1546232" y="803027"/>
                  <a:pt x="1543374" y="803027"/>
                </a:cubicBezTo>
                <a:lnTo>
                  <a:pt x="1462270" y="803027"/>
                </a:lnTo>
                <a:cubicBezTo>
                  <a:pt x="1463103" y="807880"/>
                  <a:pt x="1464591" y="812318"/>
                  <a:pt x="1466974" y="816403"/>
                </a:cubicBezTo>
                <a:cubicBezTo>
                  <a:pt x="1470487" y="822498"/>
                  <a:pt x="1475430" y="827293"/>
                  <a:pt x="1481681" y="830844"/>
                </a:cubicBezTo>
                <a:cubicBezTo>
                  <a:pt x="1487934" y="834394"/>
                  <a:pt x="1495140" y="836170"/>
                  <a:pt x="1503238" y="836170"/>
                </a:cubicBezTo>
                <a:cubicBezTo>
                  <a:pt x="1507646" y="836170"/>
                  <a:pt x="1512170" y="835401"/>
                  <a:pt x="1516815" y="833744"/>
                </a:cubicBezTo>
                <a:cubicBezTo>
                  <a:pt x="1521401" y="832087"/>
                  <a:pt x="1525152" y="830252"/>
                  <a:pt x="1528011" y="828121"/>
                </a:cubicBezTo>
                <a:cubicBezTo>
                  <a:pt x="1530095" y="826582"/>
                  <a:pt x="1532417" y="825753"/>
                  <a:pt x="1534918" y="825695"/>
                </a:cubicBezTo>
                <a:cubicBezTo>
                  <a:pt x="1537360" y="825636"/>
                  <a:pt x="1539563" y="826405"/>
                  <a:pt x="1541409" y="827943"/>
                </a:cubicBezTo>
                <a:cubicBezTo>
                  <a:pt x="1543851" y="830074"/>
                  <a:pt x="1545100" y="832382"/>
                  <a:pt x="1545279" y="834927"/>
                </a:cubicBezTo>
                <a:cubicBezTo>
                  <a:pt x="1545458" y="837473"/>
                  <a:pt x="1544327" y="839663"/>
                  <a:pt x="1541886" y="841497"/>
                </a:cubicBezTo>
                <a:cubicBezTo>
                  <a:pt x="1537062" y="845344"/>
                  <a:pt x="1531048" y="848421"/>
                  <a:pt x="1523842" y="850848"/>
                </a:cubicBezTo>
                <a:cubicBezTo>
                  <a:pt x="1516637" y="853274"/>
                  <a:pt x="1509789" y="854458"/>
                  <a:pt x="1503238" y="854458"/>
                </a:cubicBezTo>
                <a:cubicBezTo>
                  <a:pt x="1491389" y="854458"/>
                  <a:pt x="1480907" y="851973"/>
                  <a:pt x="1471738" y="846942"/>
                </a:cubicBezTo>
                <a:cubicBezTo>
                  <a:pt x="1462567" y="841912"/>
                  <a:pt x="1455362" y="834986"/>
                  <a:pt x="1450181" y="826168"/>
                </a:cubicBezTo>
                <a:cubicBezTo>
                  <a:pt x="1445000" y="817349"/>
                  <a:pt x="1442380" y="807348"/>
                  <a:pt x="1442380" y="795747"/>
                </a:cubicBezTo>
                <a:cubicBezTo>
                  <a:pt x="1442380" y="784147"/>
                  <a:pt x="1444881" y="773908"/>
                  <a:pt x="1449764" y="765089"/>
                </a:cubicBezTo>
                <a:cubicBezTo>
                  <a:pt x="1454647" y="756270"/>
                  <a:pt x="1461435" y="749346"/>
                  <a:pt x="1470129" y="744314"/>
                </a:cubicBezTo>
                <a:cubicBezTo>
                  <a:pt x="1478823" y="739344"/>
                  <a:pt x="1488947" y="736798"/>
                  <a:pt x="1500023" y="736798"/>
                </a:cubicBezTo>
                <a:close/>
                <a:moveTo>
                  <a:pt x="1371756" y="736798"/>
                </a:moveTo>
                <a:cubicBezTo>
                  <a:pt x="1382831" y="736798"/>
                  <a:pt x="1392358" y="739284"/>
                  <a:pt x="1400339" y="744138"/>
                </a:cubicBezTo>
                <a:lnTo>
                  <a:pt x="1400339" y="743960"/>
                </a:lnTo>
                <a:cubicBezTo>
                  <a:pt x="1408318" y="748813"/>
                  <a:pt x="1414452" y="755561"/>
                  <a:pt x="1418619" y="764083"/>
                </a:cubicBezTo>
                <a:cubicBezTo>
                  <a:pt x="1422847" y="772665"/>
                  <a:pt x="1424932" y="782490"/>
                  <a:pt x="1424932" y="793675"/>
                </a:cubicBezTo>
                <a:cubicBezTo>
                  <a:pt x="1424932" y="796398"/>
                  <a:pt x="1423979" y="798588"/>
                  <a:pt x="1422133" y="800364"/>
                </a:cubicBezTo>
                <a:cubicBezTo>
                  <a:pt x="1420288" y="802139"/>
                  <a:pt x="1417965" y="803027"/>
                  <a:pt x="1415107" y="803027"/>
                </a:cubicBezTo>
                <a:lnTo>
                  <a:pt x="1334001" y="803027"/>
                </a:lnTo>
                <a:cubicBezTo>
                  <a:pt x="1334836" y="807880"/>
                  <a:pt x="1336324" y="812318"/>
                  <a:pt x="1338707" y="816403"/>
                </a:cubicBezTo>
                <a:cubicBezTo>
                  <a:pt x="1342220" y="822498"/>
                  <a:pt x="1347162" y="827293"/>
                  <a:pt x="1353414" y="830844"/>
                </a:cubicBezTo>
                <a:cubicBezTo>
                  <a:pt x="1359667" y="834394"/>
                  <a:pt x="1366873" y="836170"/>
                  <a:pt x="1374971" y="836170"/>
                </a:cubicBezTo>
                <a:cubicBezTo>
                  <a:pt x="1379378" y="836170"/>
                  <a:pt x="1383903" y="835401"/>
                  <a:pt x="1388548" y="833744"/>
                </a:cubicBezTo>
                <a:cubicBezTo>
                  <a:pt x="1393133" y="832087"/>
                  <a:pt x="1396885" y="830252"/>
                  <a:pt x="1399744" y="828121"/>
                </a:cubicBezTo>
                <a:cubicBezTo>
                  <a:pt x="1401828" y="826582"/>
                  <a:pt x="1404150" y="825753"/>
                  <a:pt x="1406651" y="825695"/>
                </a:cubicBezTo>
                <a:cubicBezTo>
                  <a:pt x="1409092" y="825636"/>
                  <a:pt x="1411296" y="826405"/>
                  <a:pt x="1413142" y="827943"/>
                </a:cubicBezTo>
                <a:cubicBezTo>
                  <a:pt x="1415582" y="830074"/>
                  <a:pt x="1416833" y="832382"/>
                  <a:pt x="1417012" y="834927"/>
                </a:cubicBezTo>
                <a:cubicBezTo>
                  <a:pt x="1417191" y="837473"/>
                  <a:pt x="1416060" y="839663"/>
                  <a:pt x="1413618" y="841497"/>
                </a:cubicBezTo>
                <a:cubicBezTo>
                  <a:pt x="1408795" y="845344"/>
                  <a:pt x="1402780" y="848421"/>
                  <a:pt x="1395575" y="850848"/>
                </a:cubicBezTo>
                <a:cubicBezTo>
                  <a:pt x="1388370" y="853274"/>
                  <a:pt x="1381522" y="854458"/>
                  <a:pt x="1374971" y="854458"/>
                </a:cubicBezTo>
                <a:cubicBezTo>
                  <a:pt x="1363122" y="854458"/>
                  <a:pt x="1352640" y="851973"/>
                  <a:pt x="1343470" y="846942"/>
                </a:cubicBezTo>
                <a:cubicBezTo>
                  <a:pt x="1334299" y="841912"/>
                  <a:pt x="1327095" y="834986"/>
                  <a:pt x="1321914" y="826168"/>
                </a:cubicBezTo>
                <a:cubicBezTo>
                  <a:pt x="1316733" y="817349"/>
                  <a:pt x="1314113" y="807348"/>
                  <a:pt x="1314113" y="795747"/>
                </a:cubicBezTo>
                <a:cubicBezTo>
                  <a:pt x="1314113" y="784147"/>
                  <a:pt x="1316613" y="773908"/>
                  <a:pt x="1321497" y="765089"/>
                </a:cubicBezTo>
                <a:cubicBezTo>
                  <a:pt x="1326379" y="756270"/>
                  <a:pt x="1333168" y="749346"/>
                  <a:pt x="1341862" y="744314"/>
                </a:cubicBezTo>
                <a:cubicBezTo>
                  <a:pt x="1350556" y="739344"/>
                  <a:pt x="1360679" y="736798"/>
                  <a:pt x="1371756" y="736798"/>
                </a:cubicBezTo>
                <a:close/>
                <a:moveTo>
                  <a:pt x="602391" y="736798"/>
                </a:moveTo>
                <a:lnTo>
                  <a:pt x="602391" y="736798"/>
                </a:lnTo>
                <a:lnTo>
                  <a:pt x="630975" y="744138"/>
                </a:lnTo>
                <a:lnTo>
                  <a:pt x="630975" y="743960"/>
                </a:lnTo>
                <a:lnTo>
                  <a:pt x="630975" y="743961"/>
                </a:lnTo>
                <a:lnTo>
                  <a:pt x="630975" y="743960"/>
                </a:lnTo>
                <a:cubicBezTo>
                  <a:pt x="638955" y="748813"/>
                  <a:pt x="645087" y="755561"/>
                  <a:pt x="649256" y="764083"/>
                </a:cubicBezTo>
                <a:cubicBezTo>
                  <a:pt x="653483" y="772665"/>
                  <a:pt x="655567" y="782490"/>
                  <a:pt x="655567" y="793675"/>
                </a:cubicBezTo>
                <a:cubicBezTo>
                  <a:pt x="655567" y="796398"/>
                  <a:pt x="654616" y="798588"/>
                  <a:pt x="652769" y="800364"/>
                </a:cubicBezTo>
                <a:cubicBezTo>
                  <a:pt x="650923" y="802139"/>
                  <a:pt x="648601" y="803027"/>
                  <a:pt x="645743" y="803027"/>
                </a:cubicBezTo>
                <a:lnTo>
                  <a:pt x="645742" y="803027"/>
                </a:lnTo>
                <a:lnTo>
                  <a:pt x="564637" y="803027"/>
                </a:lnTo>
                <a:cubicBezTo>
                  <a:pt x="565471" y="807880"/>
                  <a:pt x="566960" y="812318"/>
                  <a:pt x="569342" y="816403"/>
                </a:cubicBezTo>
                <a:cubicBezTo>
                  <a:pt x="572855" y="822498"/>
                  <a:pt x="577799" y="827293"/>
                  <a:pt x="584050" y="830844"/>
                </a:cubicBezTo>
                <a:lnTo>
                  <a:pt x="605607" y="836170"/>
                </a:lnTo>
                <a:lnTo>
                  <a:pt x="619184" y="833744"/>
                </a:lnTo>
                <a:cubicBezTo>
                  <a:pt x="623769" y="832087"/>
                  <a:pt x="627520" y="830252"/>
                  <a:pt x="630379" y="828121"/>
                </a:cubicBezTo>
                <a:cubicBezTo>
                  <a:pt x="632463" y="826582"/>
                  <a:pt x="634786" y="825753"/>
                  <a:pt x="637286" y="825695"/>
                </a:cubicBezTo>
                <a:lnTo>
                  <a:pt x="637286" y="825695"/>
                </a:lnTo>
                <a:cubicBezTo>
                  <a:pt x="639729" y="825636"/>
                  <a:pt x="641932" y="826405"/>
                  <a:pt x="643778" y="827943"/>
                </a:cubicBezTo>
                <a:cubicBezTo>
                  <a:pt x="646219" y="830074"/>
                  <a:pt x="647469" y="832382"/>
                  <a:pt x="647647" y="834927"/>
                </a:cubicBezTo>
                <a:cubicBezTo>
                  <a:pt x="647826" y="837473"/>
                  <a:pt x="646696" y="839663"/>
                  <a:pt x="644253" y="841497"/>
                </a:cubicBezTo>
                <a:cubicBezTo>
                  <a:pt x="639430" y="845344"/>
                  <a:pt x="633416" y="848421"/>
                  <a:pt x="626211" y="850848"/>
                </a:cubicBezTo>
                <a:cubicBezTo>
                  <a:pt x="619005" y="853274"/>
                  <a:pt x="612157" y="854458"/>
                  <a:pt x="605607" y="854458"/>
                </a:cubicBezTo>
                <a:lnTo>
                  <a:pt x="605607" y="854458"/>
                </a:lnTo>
                <a:cubicBezTo>
                  <a:pt x="593757" y="854458"/>
                  <a:pt x="583275" y="851973"/>
                  <a:pt x="574106" y="846942"/>
                </a:cubicBezTo>
                <a:cubicBezTo>
                  <a:pt x="564935" y="841912"/>
                  <a:pt x="557730" y="834986"/>
                  <a:pt x="552549" y="826168"/>
                </a:cubicBezTo>
                <a:cubicBezTo>
                  <a:pt x="547368" y="817349"/>
                  <a:pt x="544748" y="807348"/>
                  <a:pt x="544748" y="795747"/>
                </a:cubicBezTo>
                <a:cubicBezTo>
                  <a:pt x="544748" y="784147"/>
                  <a:pt x="547250" y="773908"/>
                  <a:pt x="552133" y="765089"/>
                </a:cubicBezTo>
                <a:cubicBezTo>
                  <a:pt x="557015" y="756270"/>
                  <a:pt x="563804" y="749346"/>
                  <a:pt x="572498" y="744314"/>
                </a:cubicBezTo>
                <a:cubicBezTo>
                  <a:pt x="581192" y="739344"/>
                  <a:pt x="591315" y="736798"/>
                  <a:pt x="602391" y="736798"/>
                </a:cubicBezTo>
                <a:close/>
                <a:moveTo>
                  <a:pt x="1638889" y="736620"/>
                </a:moveTo>
                <a:cubicBezTo>
                  <a:pt x="1648715" y="736620"/>
                  <a:pt x="1657528" y="738751"/>
                  <a:pt x="1665269" y="742894"/>
                </a:cubicBezTo>
                <a:cubicBezTo>
                  <a:pt x="1673010" y="747096"/>
                  <a:pt x="1679144" y="753193"/>
                  <a:pt x="1683610" y="761242"/>
                </a:cubicBezTo>
                <a:lnTo>
                  <a:pt x="1683610" y="761182"/>
                </a:lnTo>
                <a:cubicBezTo>
                  <a:pt x="1688077" y="769232"/>
                  <a:pt x="1690339" y="779175"/>
                  <a:pt x="1690339" y="790893"/>
                </a:cubicBezTo>
                <a:lnTo>
                  <a:pt x="1690339" y="843095"/>
                </a:lnTo>
                <a:cubicBezTo>
                  <a:pt x="1690339" y="846232"/>
                  <a:pt x="1689326" y="848777"/>
                  <a:pt x="1687242" y="850848"/>
                </a:cubicBezTo>
                <a:cubicBezTo>
                  <a:pt x="1685159" y="852919"/>
                  <a:pt x="1682598" y="853925"/>
                  <a:pt x="1679441" y="853925"/>
                </a:cubicBezTo>
                <a:cubicBezTo>
                  <a:pt x="1676286" y="853925"/>
                  <a:pt x="1673724" y="852919"/>
                  <a:pt x="1671640" y="850848"/>
                </a:cubicBezTo>
                <a:cubicBezTo>
                  <a:pt x="1669557" y="848777"/>
                  <a:pt x="1668544" y="846232"/>
                  <a:pt x="1668544" y="843095"/>
                </a:cubicBezTo>
                <a:lnTo>
                  <a:pt x="1668544" y="790893"/>
                </a:lnTo>
                <a:cubicBezTo>
                  <a:pt x="1668544" y="782844"/>
                  <a:pt x="1667055" y="776275"/>
                  <a:pt x="1664078" y="771184"/>
                </a:cubicBezTo>
                <a:cubicBezTo>
                  <a:pt x="1661041" y="766095"/>
                  <a:pt x="1657051" y="762307"/>
                  <a:pt x="1651990" y="759821"/>
                </a:cubicBezTo>
                <a:cubicBezTo>
                  <a:pt x="1646928" y="757335"/>
                  <a:pt x="1641152" y="756092"/>
                  <a:pt x="1634602" y="756092"/>
                </a:cubicBezTo>
                <a:cubicBezTo>
                  <a:pt x="1628647" y="756092"/>
                  <a:pt x="1623228" y="757276"/>
                  <a:pt x="1618405" y="759703"/>
                </a:cubicBezTo>
                <a:cubicBezTo>
                  <a:pt x="1613521" y="762129"/>
                  <a:pt x="1609710" y="765325"/>
                  <a:pt x="1606852" y="769350"/>
                </a:cubicBezTo>
                <a:cubicBezTo>
                  <a:pt x="1603994" y="773374"/>
                  <a:pt x="1602565" y="778050"/>
                  <a:pt x="1602565" y="783258"/>
                </a:cubicBezTo>
                <a:lnTo>
                  <a:pt x="1602565" y="843095"/>
                </a:lnTo>
                <a:cubicBezTo>
                  <a:pt x="1602565" y="846232"/>
                  <a:pt x="1601612" y="848777"/>
                  <a:pt x="1599588" y="850848"/>
                </a:cubicBezTo>
                <a:cubicBezTo>
                  <a:pt x="1597563" y="852919"/>
                  <a:pt x="1594824" y="853925"/>
                  <a:pt x="1591668" y="853925"/>
                </a:cubicBezTo>
                <a:cubicBezTo>
                  <a:pt x="1588511" y="853925"/>
                  <a:pt x="1585951" y="852919"/>
                  <a:pt x="1583867" y="850848"/>
                </a:cubicBezTo>
                <a:cubicBezTo>
                  <a:pt x="1581783" y="848777"/>
                  <a:pt x="1580770" y="846232"/>
                  <a:pt x="1580770" y="843095"/>
                </a:cubicBezTo>
                <a:lnTo>
                  <a:pt x="1580770" y="748457"/>
                </a:lnTo>
                <a:cubicBezTo>
                  <a:pt x="1580770" y="745202"/>
                  <a:pt x="1581783" y="742538"/>
                  <a:pt x="1583867" y="740586"/>
                </a:cubicBezTo>
                <a:cubicBezTo>
                  <a:pt x="1585951" y="738633"/>
                  <a:pt x="1588392" y="737626"/>
                  <a:pt x="1591668" y="737626"/>
                </a:cubicBezTo>
                <a:cubicBezTo>
                  <a:pt x="1594942" y="737626"/>
                  <a:pt x="1597623" y="738574"/>
                  <a:pt x="1599588" y="740586"/>
                </a:cubicBezTo>
                <a:cubicBezTo>
                  <a:pt x="1601553" y="742598"/>
                  <a:pt x="1602565" y="745202"/>
                  <a:pt x="1602565" y="748457"/>
                </a:cubicBezTo>
                <a:lnTo>
                  <a:pt x="1602565" y="750943"/>
                </a:lnTo>
                <a:cubicBezTo>
                  <a:pt x="1605780" y="747807"/>
                  <a:pt x="1609294" y="745025"/>
                  <a:pt x="1613462" y="742776"/>
                </a:cubicBezTo>
                <a:cubicBezTo>
                  <a:pt x="1621025" y="738691"/>
                  <a:pt x="1629063" y="736620"/>
                  <a:pt x="1638889" y="736620"/>
                </a:cubicBezTo>
                <a:close/>
                <a:moveTo>
                  <a:pt x="1282076" y="736383"/>
                </a:moveTo>
                <a:cubicBezTo>
                  <a:pt x="1290652" y="736383"/>
                  <a:pt x="1296964" y="737745"/>
                  <a:pt x="1301192" y="740527"/>
                </a:cubicBezTo>
                <a:lnTo>
                  <a:pt x="1301132" y="740644"/>
                </a:lnTo>
                <a:cubicBezTo>
                  <a:pt x="1305359" y="743426"/>
                  <a:pt x="1306968" y="746681"/>
                  <a:pt x="1305956" y="750528"/>
                </a:cubicBezTo>
                <a:cubicBezTo>
                  <a:pt x="1305538" y="752481"/>
                  <a:pt x="1304705" y="754021"/>
                  <a:pt x="1303515" y="755086"/>
                </a:cubicBezTo>
                <a:cubicBezTo>
                  <a:pt x="1302263" y="756152"/>
                  <a:pt x="1300894" y="756803"/>
                  <a:pt x="1299346" y="757098"/>
                </a:cubicBezTo>
                <a:cubicBezTo>
                  <a:pt x="1297797" y="757334"/>
                  <a:pt x="1296070" y="757276"/>
                  <a:pt x="1294224" y="756861"/>
                </a:cubicBezTo>
                <a:cubicBezTo>
                  <a:pt x="1285113" y="755027"/>
                  <a:pt x="1276955" y="754908"/>
                  <a:pt x="1269690" y="756447"/>
                </a:cubicBezTo>
                <a:cubicBezTo>
                  <a:pt x="1262486" y="757986"/>
                  <a:pt x="1256709" y="760886"/>
                  <a:pt x="1252541" y="765147"/>
                </a:cubicBezTo>
                <a:cubicBezTo>
                  <a:pt x="1248312" y="769349"/>
                  <a:pt x="1246228" y="774735"/>
                  <a:pt x="1246228" y="781246"/>
                </a:cubicBezTo>
                <a:lnTo>
                  <a:pt x="1246228" y="843154"/>
                </a:lnTo>
                <a:cubicBezTo>
                  <a:pt x="1246228" y="846587"/>
                  <a:pt x="1245335" y="849191"/>
                  <a:pt x="1243548" y="851025"/>
                </a:cubicBezTo>
                <a:cubicBezTo>
                  <a:pt x="1241822" y="852860"/>
                  <a:pt x="1239022" y="853807"/>
                  <a:pt x="1235569" y="853807"/>
                </a:cubicBezTo>
                <a:cubicBezTo>
                  <a:pt x="1232116" y="853807"/>
                  <a:pt x="1229495" y="852920"/>
                  <a:pt x="1227649" y="851144"/>
                </a:cubicBezTo>
                <a:cubicBezTo>
                  <a:pt x="1225803" y="849368"/>
                  <a:pt x="1224850" y="846705"/>
                  <a:pt x="1224850" y="843154"/>
                </a:cubicBezTo>
                <a:lnTo>
                  <a:pt x="1224850" y="748339"/>
                </a:lnTo>
                <a:cubicBezTo>
                  <a:pt x="1224850" y="744905"/>
                  <a:pt x="1225803" y="742301"/>
                  <a:pt x="1227649" y="740467"/>
                </a:cubicBezTo>
                <a:cubicBezTo>
                  <a:pt x="1229495" y="738632"/>
                  <a:pt x="1232056" y="737685"/>
                  <a:pt x="1235569" y="737685"/>
                </a:cubicBezTo>
                <a:cubicBezTo>
                  <a:pt x="1239082" y="737685"/>
                  <a:pt x="1241763" y="738573"/>
                  <a:pt x="1243548" y="740349"/>
                </a:cubicBezTo>
                <a:cubicBezTo>
                  <a:pt x="1245335" y="742125"/>
                  <a:pt x="1246228" y="744729"/>
                  <a:pt x="1246228" y="748279"/>
                </a:cubicBezTo>
                <a:lnTo>
                  <a:pt x="1246228" y="752718"/>
                </a:lnTo>
                <a:cubicBezTo>
                  <a:pt x="1249741" y="748635"/>
                  <a:pt x="1253731" y="745024"/>
                  <a:pt x="1258614" y="742301"/>
                </a:cubicBezTo>
                <a:cubicBezTo>
                  <a:pt x="1265701" y="738396"/>
                  <a:pt x="1273501" y="736383"/>
                  <a:pt x="1282076" y="736383"/>
                </a:cubicBezTo>
                <a:close/>
                <a:moveTo>
                  <a:pt x="283093" y="736383"/>
                </a:moveTo>
                <a:lnTo>
                  <a:pt x="283093" y="736383"/>
                </a:lnTo>
                <a:lnTo>
                  <a:pt x="283093" y="736383"/>
                </a:lnTo>
                <a:cubicBezTo>
                  <a:pt x="291667" y="736383"/>
                  <a:pt x="297980" y="737745"/>
                  <a:pt x="302207" y="740527"/>
                </a:cubicBezTo>
                <a:lnTo>
                  <a:pt x="302149" y="740644"/>
                </a:lnTo>
                <a:cubicBezTo>
                  <a:pt x="306376" y="743426"/>
                  <a:pt x="307983" y="746681"/>
                  <a:pt x="306971" y="750528"/>
                </a:cubicBezTo>
                <a:cubicBezTo>
                  <a:pt x="306555" y="752481"/>
                  <a:pt x="305720" y="754021"/>
                  <a:pt x="304530" y="755086"/>
                </a:cubicBezTo>
                <a:cubicBezTo>
                  <a:pt x="303279" y="756152"/>
                  <a:pt x="301909" y="756803"/>
                  <a:pt x="300361" y="757098"/>
                </a:cubicBezTo>
                <a:lnTo>
                  <a:pt x="300361" y="757098"/>
                </a:lnTo>
                <a:lnTo>
                  <a:pt x="300361" y="757098"/>
                </a:lnTo>
                <a:cubicBezTo>
                  <a:pt x="298813" y="757334"/>
                  <a:pt x="297086" y="757276"/>
                  <a:pt x="295240" y="756861"/>
                </a:cubicBezTo>
                <a:lnTo>
                  <a:pt x="270706" y="756447"/>
                </a:lnTo>
                <a:lnTo>
                  <a:pt x="253556" y="765147"/>
                </a:lnTo>
                <a:cubicBezTo>
                  <a:pt x="249328" y="769349"/>
                  <a:pt x="247245" y="774735"/>
                  <a:pt x="247245" y="781246"/>
                </a:cubicBezTo>
                <a:lnTo>
                  <a:pt x="247245" y="843154"/>
                </a:lnTo>
                <a:cubicBezTo>
                  <a:pt x="247245" y="846587"/>
                  <a:pt x="246350" y="849191"/>
                  <a:pt x="244564" y="851025"/>
                </a:cubicBezTo>
                <a:cubicBezTo>
                  <a:pt x="242838" y="852860"/>
                  <a:pt x="240039" y="853807"/>
                  <a:pt x="236584" y="853807"/>
                </a:cubicBezTo>
                <a:lnTo>
                  <a:pt x="236584" y="853807"/>
                </a:lnTo>
                <a:lnTo>
                  <a:pt x="236584" y="853807"/>
                </a:lnTo>
                <a:cubicBezTo>
                  <a:pt x="233131" y="853807"/>
                  <a:pt x="230510" y="852920"/>
                  <a:pt x="228664" y="851144"/>
                </a:cubicBezTo>
                <a:cubicBezTo>
                  <a:pt x="226818" y="849368"/>
                  <a:pt x="225866" y="846705"/>
                  <a:pt x="225866" y="843154"/>
                </a:cubicBezTo>
                <a:lnTo>
                  <a:pt x="225866" y="748339"/>
                </a:lnTo>
                <a:cubicBezTo>
                  <a:pt x="225866" y="744905"/>
                  <a:pt x="226818" y="742301"/>
                  <a:pt x="228664" y="740467"/>
                </a:cubicBezTo>
                <a:cubicBezTo>
                  <a:pt x="230510" y="738632"/>
                  <a:pt x="233072" y="737685"/>
                  <a:pt x="236584" y="737685"/>
                </a:cubicBezTo>
                <a:lnTo>
                  <a:pt x="236584" y="737685"/>
                </a:lnTo>
                <a:lnTo>
                  <a:pt x="236584" y="737685"/>
                </a:lnTo>
                <a:cubicBezTo>
                  <a:pt x="240098" y="737685"/>
                  <a:pt x="242778" y="738573"/>
                  <a:pt x="244564" y="740349"/>
                </a:cubicBezTo>
                <a:cubicBezTo>
                  <a:pt x="246350" y="742125"/>
                  <a:pt x="247245" y="744729"/>
                  <a:pt x="247245" y="748279"/>
                </a:cubicBezTo>
                <a:lnTo>
                  <a:pt x="247245" y="752718"/>
                </a:lnTo>
                <a:lnTo>
                  <a:pt x="259629" y="742301"/>
                </a:lnTo>
                <a:cubicBezTo>
                  <a:pt x="266716" y="738396"/>
                  <a:pt x="274517" y="736383"/>
                  <a:pt x="283093" y="736383"/>
                </a:cubicBezTo>
                <a:close/>
                <a:moveTo>
                  <a:pt x="480675" y="700812"/>
                </a:moveTo>
                <a:lnTo>
                  <a:pt x="480675" y="700812"/>
                </a:lnTo>
                <a:lnTo>
                  <a:pt x="480675" y="700812"/>
                </a:lnTo>
                <a:cubicBezTo>
                  <a:pt x="483772" y="700812"/>
                  <a:pt x="486332" y="701818"/>
                  <a:pt x="488357" y="703772"/>
                </a:cubicBezTo>
                <a:cubicBezTo>
                  <a:pt x="490321" y="705724"/>
                  <a:pt x="491334" y="708269"/>
                  <a:pt x="491334" y="711407"/>
                </a:cubicBezTo>
                <a:lnTo>
                  <a:pt x="491334" y="741946"/>
                </a:lnTo>
                <a:lnTo>
                  <a:pt x="509496" y="741946"/>
                </a:lnTo>
                <a:lnTo>
                  <a:pt x="509497" y="741946"/>
                </a:lnTo>
                <a:cubicBezTo>
                  <a:pt x="512474" y="741946"/>
                  <a:pt x="514915" y="742775"/>
                  <a:pt x="516761" y="744491"/>
                </a:cubicBezTo>
                <a:cubicBezTo>
                  <a:pt x="518607" y="746207"/>
                  <a:pt x="519560" y="748456"/>
                  <a:pt x="519560" y="751298"/>
                </a:cubicBezTo>
                <a:cubicBezTo>
                  <a:pt x="519560" y="753783"/>
                  <a:pt x="518607" y="755914"/>
                  <a:pt x="516761" y="757630"/>
                </a:cubicBezTo>
                <a:cubicBezTo>
                  <a:pt x="514915" y="759347"/>
                  <a:pt x="512474" y="760175"/>
                  <a:pt x="509497" y="760175"/>
                </a:cubicBezTo>
                <a:lnTo>
                  <a:pt x="509496" y="760175"/>
                </a:lnTo>
                <a:lnTo>
                  <a:pt x="491334" y="760175"/>
                </a:lnTo>
                <a:lnTo>
                  <a:pt x="491334" y="812555"/>
                </a:lnTo>
                <a:cubicBezTo>
                  <a:pt x="491334" y="818236"/>
                  <a:pt x="492942" y="822971"/>
                  <a:pt x="496038" y="826759"/>
                </a:cubicBezTo>
                <a:cubicBezTo>
                  <a:pt x="499194" y="830606"/>
                  <a:pt x="503065" y="832500"/>
                  <a:pt x="507590" y="832500"/>
                </a:cubicBezTo>
                <a:lnTo>
                  <a:pt x="514856" y="832500"/>
                </a:lnTo>
                <a:lnTo>
                  <a:pt x="514856" y="832500"/>
                </a:lnTo>
                <a:cubicBezTo>
                  <a:pt x="517416" y="832500"/>
                  <a:pt x="519560" y="833506"/>
                  <a:pt x="521346" y="835459"/>
                </a:cubicBezTo>
                <a:cubicBezTo>
                  <a:pt x="523132" y="837413"/>
                  <a:pt x="524026" y="839957"/>
                  <a:pt x="524026" y="843094"/>
                </a:cubicBezTo>
                <a:cubicBezTo>
                  <a:pt x="524026" y="846231"/>
                  <a:pt x="522836" y="848717"/>
                  <a:pt x="520513" y="850729"/>
                </a:cubicBezTo>
                <a:cubicBezTo>
                  <a:pt x="518191" y="852682"/>
                  <a:pt x="515154" y="853688"/>
                  <a:pt x="511461" y="853688"/>
                </a:cubicBezTo>
                <a:lnTo>
                  <a:pt x="511461" y="853688"/>
                </a:lnTo>
                <a:lnTo>
                  <a:pt x="507590" y="853688"/>
                </a:lnTo>
                <a:lnTo>
                  <a:pt x="507590" y="853688"/>
                </a:lnTo>
                <a:cubicBezTo>
                  <a:pt x="500445" y="853688"/>
                  <a:pt x="494073" y="851913"/>
                  <a:pt x="488357" y="848302"/>
                </a:cubicBezTo>
                <a:cubicBezTo>
                  <a:pt x="482640" y="844692"/>
                  <a:pt x="478174" y="839779"/>
                  <a:pt x="474899" y="833565"/>
                </a:cubicBezTo>
                <a:cubicBezTo>
                  <a:pt x="471623" y="827350"/>
                  <a:pt x="470016" y="820307"/>
                  <a:pt x="470016" y="812555"/>
                </a:cubicBezTo>
                <a:lnTo>
                  <a:pt x="470016" y="760175"/>
                </a:lnTo>
                <a:lnTo>
                  <a:pt x="460190" y="760175"/>
                </a:lnTo>
                <a:lnTo>
                  <a:pt x="460190" y="760175"/>
                </a:lnTo>
                <a:cubicBezTo>
                  <a:pt x="457213" y="760175"/>
                  <a:pt x="454771" y="759287"/>
                  <a:pt x="452925" y="757630"/>
                </a:cubicBezTo>
                <a:cubicBezTo>
                  <a:pt x="451079" y="755973"/>
                  <a:pt x="450126" y="753842"/>
                  <a:pt x="450126" y="751298"/>
                </a:cubicBezTo>
                <a:cubicBezTo>
                  <a:pt x="450126" y="748456"/>
                  <a:pt x="451079" y="746207"/>
                  <a:pt x="452925" y="744491"/>
                </a:cubicBezTo>
                <a:cubicBezTo>
                  <a:pt x="454771" y="742775"/>
                  <a:pt x="457213" y="741946"/>
                  <a:pt x="460190" y="741946"/>
                </a:cubicBezTo>
                <a:lnTo>
                  <a:pt x="460190" y="741946"/>
                </a:lnTo>
                <a:lnTo>
                  <a:pt x="470016" y="741946"/>
                </a:lnTo>
                <a:lnTo>
                  <a:pt x="470016" y="711407"/>
                </a:lnTo>
                <a:cubicBezTo>
                  <a:pt x="470016" y="708269"/>
                  <a:pt x="471028" y="705724"/>
                  <a:pt x="472994" y="703772"/>
                </a:cubicBezTo>
                <a:cubicBezTo>
                  <a:pt x="474958" y="701818"/>
                  <a:pt x="477578" y="700812"/>
                  <a:pt x="480675" y="700812"/>
                </a:cubicBezTo>
                <a:close/>
                <a:moveTo>
                  <a:pt x="155839" y="700812"/>
                </a:moveTo>
                <a:lnTo>
                  <a:pt x="155840" y="700812"/>
                </a:lnTo>
                <a:cubicBezTo>
                  <a:pt x="158935" y="700812"/>
                  <a:pt x="161496" y="701818"/>
                  <a:pt x="163520" y="703772"/>
                </a:cubicBezTo>
                <a:cubicBezTo>
                  <a:pt x="165485" y="705724"/>
                  <a:pt x="166497" y="708269"/>
                  <a:pt x="166497" y="711407"/>
                </a:cubicBezTo>
                <a:lnTo>
                  <a:pt x="166497" y="741946"/>
                </a:lnTo>
                <a:lnTo>
                  <a:pt x="184660" y="741946"/>
                </a:lnTo>
                <a:lnTo>
                  <a:pt x="184661" y="741946"/>
                </a:lnTo>
                <a:cubicBezTo>
                  <a:pt x="187637" y="741946"/>
                  <a:pt x="190079" y="742775"/>
                  <a:pt x="191925" y="744491"/>
                </a:cubicBezTo>
                <a:cubicBezTo>
                  <a:pt x="193771" y="746207"/>
                  <a:pt x="194723" y="748456"/>
                  <a:pt x="194723" y="751298"/>
                </a:cubicBezTo>
                <a:cubicBezTo>
                  <a:pt x="194723" y="753783"/>
                  <a:pt x="193771" y="755914"/>
                  <a:pt x="191925" y="757630"/>
                </a:cubicBezTo>
                <a:cubicBezTo>
                  <a:pt x="190079" y="759347"/>
                  <a:pt x="187637" y="760175"/>
                  <a:pt x="184661" y="760175"/>
                </a:cubicBezTo>
                <a:lnTo>
                  <a:pt x="184660" y="760175"/>
                </a:lnTo>
                <a:lnTo>
                  <a:pt x="166497" y="760175"/>
                </a:lnTo>
                <a:lnTo>
                  <a:pt x="166497" y="812555"/>
                </a:lnTo>
                <a:cubicBezTo>
                  <a:pt x="166497" y="818236"/>
                  <a:pt x="168106" y="822971"/>
                  <a:pt x="171203" y="826759"/>
                </a:cubicBezTo>
                <a:cubicBezTo>
                  <a:pt x="174358" y="830606"/>
                  <a:pt x="178229" y="832500"/>
                  <a:pt x="182755" y="832500"/>
                </a:cubicBezTo>
                <a:lnTo>
                  <a:pt x="190020" y="832500"/>
                </a:lnTo>
                <a:lnTo>
                  <a:pt x="190020" y="832500"/>
                </a:lnTo>
                <a:cubicBezTo>
                  <a:pt x="192579" y="832500"/>
                  <a:pt x="194723" y="833506"/>
                  <a:pt x="196510" y="835459"/>
                </a:cubicBezTo>
                <a:cubicBezTo>
                  <a:pt x="198297" y="837413"/>
                  <a:pt x="199189" y="839957"/>
                  <a:pt x="199189" y="843094"/>
                </a:cubicBezTo>
                <a:cubicBezTo>
                  <a:pt x="199189" y="846231"/>
                  <a:pt x="197999" y="848717"/>
                  <a:pt x="195676" y="850729"/>
                </a:cubicBezTo>
                <a:cubicBezTo>
                  <a:pt x="193353" y="852682"/>
                  <a:pt x="190316" y="853688"/>
                  <a:pt x="186624" y="853688"/>
                </a:cubicBezTo>
                <a:lnTo>
                  <a:pt x="186624" y="853688"/>
                </a:lnTo>
                <a:lnTo>
                  <a:pt x="182755" y="853688"/>
                </a:lnTo>
                <a:lnTo>
                  <a:pt x="182754" y="853688"/>
                </a:lnTo>
                <a:cubicBezTo>
                  <a:pt x="175609" y="853688"/>
                  <a:pt x="169237" y="851913"/>
                  <a:pt x="163520" y="848302"/>
                </a:cubicBezTo>
                <a:cubicBezTo>
                  <a:pt x="157804" y="844692"/>
                  <a:pt x="153337" y="839779"/>
                  <a:pt x="150062" y="833565"/>
                </a:cubicBezTo>
                <a:cubicBezTo>
                  <a:pt x="146787" y="827350"/>
                  <a:pt x="145179" y="820307"/>
                  <a:pt x="145179" y="812555"/>
                </a:cubicBezTo>
                <a:lnTo>
                  <a:pt x="145179" y="760175"/>
                </a:lnTo>
                <a:lnTo>
                  <a:pt x="135355" y="760175"/>
                </a:lnTo>
                <a:lnTo>
                  <a:pt x="135354" y="760175"/>
                </a:lnTo>
                <a:cubicBezTo>
                  <a:pt x="132376" y="760175"/>
                  <a:pt x="129934" y="759287"/>
                  <a:pt x="128088" y="757630"/>
                </a:cubicBezTo>
                <a:cubicBezTo>
                  <a:pt x="126242" y="755973"/>
                  <a:pt x="125290" y="753842"/>
                  <a:pt x="125290" y="751298"/>
                </a:cubicBezTo>
                <a:cubicBezTo>
                  <a:pt x="125290" y="748456"/>
                  <a:pt x="126242" y="746207"/>
                  <a:pt x="128088" y="744491"/>
                </a:cubicBezTo>
                <a:cubicBezTo>
                  <a:pt x="129934" y="742775"/>
                  <a:pt x="132376" y="741946"/>
                  <a:pt x="135354" y="741946"/>
                </a:cubicBezTo>
                <a:lnTo>
                  <a:pt x="135355" y="741946"/>
                </a:lnTo>
                <a:lnTo>
                  <a:pt x="145179" y="741946"/>
                </a:lnTo>
                <a:lnTo>
                  <a:pt x="145179" y="711407"/>
                </a:lnTo>
                <a:cubicBezTo>
                  <a:pt x="145179" y="708269"/>
                  <a:pt x="146192" y="705724"/>
                  <a:pt x="148157" y="703772"/>
                </a:cubicBezTo>
                <a:cubicBezTo>
                  <a:pt x="150122" y="701818"/>
                  <a:pt x="152742" y="700812"/>
                  <a:pt x="155839" y="700812"/>
                </a:cubicBezTo>
                <a:close/>
                <a:moveTo>
                  <a:pt x="174835" y="424951"/>
                </a:moveTo>
                <a:lnTo>
                  <a:pt x="94088" y="536042"/>
                </a:lnTo>
                <a:lnTo>
                  <a:pt x="174835" y="536042"/>
                </a:lnTo>
                <a:close/>
                <a:moveTo>
                  <a:pt x="1492163" y="388136"/>
                </a:moveTo>
                <a:lnTo>
                  <a:pt x="1492163" y="580548"/>
                </a:lnTo>
                <a:lnTo>
                  <a:pt x="1528310" y="580548"/>
                </a:lnTo>
                <a:cubicBezTo>
                  <a:pt x="1541053" y="580548"/>
                  <a:pt x="1553498" y="578950"/>
                  <a:pt x="1565349" y="575814"/>
                </a:cubicBezTo>
                <a:cubicBezTo>
                  <a:pt x="1577438" y="572618"/>
                  <a:pt x="1588274" y="567291"/>
                  <a:pt x="1597445" y="559893"/>
                </a:cubicBezTo>
                <a:cubicBezTo>
                  <a:pt x="1606675" y="552494"/>
                  <a:pt x="1614178" y="542433"/>
                  <a:pt x="1619657" y="530064"/>
                </a:cubicBezTo>
                <a:cubicBezTo>
                  <a:pt x="1625076" y="517753"/>
                  <a:pt x="1627875" y="502424"/>
                  <a:pt x="1627875" y="484372"/>
                </a:cubicBezTo>
                <a:cubicBezTo>
                  <a:pt x="1627875" y="466321"/>
                  <a:pt x="1625136" y="450992"/>
                  <a:pt x="1619657" y="438681"/>
                </a:cubicBezTo>
                <a:cubicBezTo>
                  <a:pt x="1614178" y="426312"/>
                  <a:pt x="1606675" y="416251"/>
                  <a:pt x="1597445" y="408852"/>
                </a:cubicBezTo>
                <a:cubicBezTo>
                  <a:pt x="1588274" y="401454"/>
                  <a:pt x="1577438" y="396068"/>
                  <a:pt x="1565349" y="392872"/>
                </a:cubicBezTo>
                <a:cubicBezTo>
                  <a:pt x="1553439" y="389735"/>
                  <a:pt x="1540994" y="388136"/>
                  <a:pt x="1528310" y="388136"/>
                </a:cubicBezTo>
                <a:close/>
                <a:moveTo>
                  <a:pt x="1216216" y="383047"/>
                </a:moveTo>
                <a:cubicBezTo>
                  <a:pt x="1196983" y="383047"/>
                  <a:pt x="1179951" y="387427"/>
                  <a:pt x="1165660" y="396068"/>
                </a:cubicBezTo>
                <a:cubicBezTo>
                  <a:pt x="1151368" y="404709"/>
                  <a:pt x="1140113" y="416783"/>
                  <a:pt x="1132193" y="431993"/>
                </a:cubicBezTo>
                <a:cubicBezTo>
                  <a:pt x="1124392" y="447145"/>
                  <a:pt x="1120403" y="464723"/>
                  <a:pt x="1120403" y="484372"/>
                </a:cubicBezTo>
                <a:cubicBezTo>
                  <a:pt x="1120403" y="504022"/>
                  <a:pt x="1124333" y="521659"/>
                  <a:pt x="1132193" y="536751"/>
                </a:cubicBezTo>
                <a:cubicBezTo>
                  <a:pt x="1140054" y="551962"/>
                  <a:pt x="1151308" y="564036"/>
                  <a:pt x="1165660" y="572677"/>
                </a:cubicBezTo>
                <a:cubicBezTo>
                  <a:pt x="1180011" y="581318"/>
                  <a:pt x="1197339" y="585698"/>
                  <a:pt x="1216216" y="585698"/>
                </a:cubicBezTo>
                <a:cubicBezTo>
                  <a:pt x="1235093" y="585698"/>
                  <a:pt x="1251945" y="581318"/>
                  <a:pt x="1266296" y="572677"/>
                </a:cubicBezTo>
                <a:cubicBezTo>
                  <a:pt x="1280589" y="564036"/>
                  <a:pt x="1291842" y="551962"/>
                  <a:pt x="1299763" y="536751"/>
                </a:cubicBezTo>
                <a:lnTo>
                  <a:pt x="1299763" y="536692"/>
                </a:lnTo>
                <a:cubicBezTo>
                  <a:pt x="1307563" y="521540"/>
                  <a:pt x="1311553" y="503903"/>
                  <a:pt x="1311553" y="484313"/>
                </a:cubicBezTo>
                <a:cubicBezTo>
                  <a:pt x="1311553" y="464723"/>
                  <a:pt x="1307683" y="447085"/>
                  <a:pt x="1300001" y="431993"/>
                </a:cubicBezTo>
                <a:cubicBezTo>
                  <a:pt x="1292320" y="416843"/>
                  <a:pt x="1281184" y="404709"/>
                  <a:pt x="1267012" y="396068"/>
                </a:cubicBezTo>
                <a:cubicBezTo>
                  <a:pt x="1252838" y="387427"/>
                  <a:pt x="1235450" y="383047"/>
                  <a:pt x="1216216" y="383047"/>
                </a:cubicBezTo>
                <a:close/>
                <a:moveTo>
                  <a:pt x="842074" y="383047"/>
                </a:moveTo>
                <a:cubicBezTo>
                  <a:pt x="822840" y="383047"/>
                  <a:pt x="805808" y="387427"/>
                  <a:pt x="791518" y="396068"/>
                </a:cubicBezTo>
                <a:cubicBezTo>
                  <a:pt x="777225" y="404709"/>
                  <a:pt x="765971" y="416783"/>
                  <a:pt x="758051" y="431993"/>
                </a:cubicBezTo>
                <a:cubicBezTo>
                  <a:pt x="750250" y="447145"/>
                  <a:pt x="746260" y="464723"/>
                  <a:pt x="746260" y="484372"/>
                </a:cubicBezTo>
                <a:cubicBezTo>
                  <a:pt x="746260" y="504022"/>
                  <a:pt x="750190" y="521659"/>
                  <a:pt x="758051" y="536751"/>
                </a:cubicBezTo>
                <a:cubicBezTo>
                  <a:pt x="765911" y="551962"/>
                  <a:pt x="777167" y="564036"/>
                  <a:pt x="791518" y="572677"/>
                </a:cubicBezTo>
                <a:cubicBezTo>
                  <a:pt x="805868" y="581318"/>
                  <a:pt x="823197" y="585698"/>
                  <a:pt x="842074" y="585698"/>
                </a:cubicBezTo>
                <a:cubicBezTo>
                  <a:pt x="860950" y="585698"/>
                  <a:pt x="877803" y="581318"/>
                  <a:pt x="892153" y="572677"/>
                </a:cubicBezTo>
                <a:cubicBezTo>
                  <a:pt x="906446" y="564036"/>
                  <a:pt x="917700" y="551962"/>
                  <a:pt x="925620" y="536751"/>
                </a:cubicBezTo>
                <a:lnTo>
                  <a:pt x="925620" y="536692"/>
                </a:lnTo>
                <a:cubicBezTo>
                  <a:pt x="933421" y="521540"/>
                  <a:pt x="937411" y="503903"/>
                  <a:pt x="937411" y="484313"/>
                </a:cubicBezTo>
                <a:cubicBezTo>
                  <a:pt x="937411" y="464723"/>
                  <a:pt x="933540" y="447085"/>
                  <a:pt x="925858" y="431993"/>
                </a:cubicBezTo>
                <a:cubicBezTo>
                  <a:pt x="918118" y="416783"/>
                  <a:pt x="907041" y="404709"/>
                  <a:pt x="892869" y="396068"/>
                </a:cubicBezTo>
                <a:cubicBezTo>
                  <a:pt x="878696" y="387427"/>
                  <a:pt x="861308" y="383047"/>
                  <a:pt x="842074" y="383047"/>
                </a:cubicBezTo>
                <a:close/>
                <a:moveTo>
                  <a:pt x="1417966" y="325637"/>
                </a:moveTo>
                <a:lnTo>
                  <a:pt x="1531108" y="325637"/>
                </a:lnTo>
                <a:cubicBezTo>
                  <a:pt x="1566123" y="325637"/>
                  <a:pt x="1596850" y="332207"/>
                  <a:pt x="1622336" y="345168"/>
                </a:cubicBezTo>
                <a:cubicBezTo>
                  <a:pt x="1647763" y="358071"/>
                  <a:pt x="1667713" y="376477"/>
                  <a:pt x="1681588" y="399915"/>
                </a:cubicBezTo>
                <a:lnTo>
                  <a:pt x="1681528" y="399974"/>
                </a:lnTo>
                <a:cubicBezTo>
                  <a:pt x="1695461" y="423411"/>
                  <a:pt x="1702489" y="452176"/>
                  <a:pt x="1702489" y="484431"/>
                </a:cubicBezTo>
                <a:cubicBezTo>
                  <a:pt x="1702489" y="516688"/>
                  <a:pt x="1695461" y="545037"/>
                  <a:pt x="1681528" y="568652"/>
                </a:cubicBezTo>
                <a:cubicBezTo>
                  <a:pt x="1667653" y="592208"/>
                  <a:pt x="1647703" y="610734"/>
                  <a:pt x="1622336" y="623636"/>
                </a:cubicBezTo>
                <a:cubicBezTo>
                  <a:pt x="1596850" y="636657"/>
                  <a:pt x="1566182" y="643225"/>
                  <a:pt x="1531108" y="643225"/>
                </a:cubicBezTo>
                <a:lnTo>
                  <a:pt x="1417966" y="643225"/>
                </a:lnTo>
                <a:close/>
                <a:moveTo>
                  <a:pt x="187637" y="325578"/>
                </a:moveTo>
                <a:lnTo>
                  <a:pt x="187638" y="325578"/>
                </a:lnTo>
                <a:lnTo>
                  <a:pt x="241052" y="325578"/>
                </a:lnTo>
                <a:lnTo>
                  <a:pt x="241053" y="325578"/>
                </a:lnTo>
                <a:lnTo>
                  <a:pt x="241053" y="525861"/>
                </a:lnTo>
                <a:lnTo>
                  <a:pt x="278091" y="525861"/>
                </a:lnTo>
                <a:lnTo>
                  <a:pt x="278092" y="525861"/>
                </a:lnTo>
                <a:lnTo>
                  <a:pt x="278092" y="585698"/>
                </a:lnTo>
                <a:lnTo>
                  <a:pt x="278091" y="585698"/>
                </a:lnTo>
                <a:lnTo>
                  <a:pt x="241053" y="585698"/>
                </a:lnTo>
                <a:lnTo>
                  <a:pt x="241053" y="643166"/>
                </a:lnTo>
                <a:lnTo>
                  <a:pt x="241052" y="643166"/>
                </a:lnTo>
                <a:lnTo>
                  <a:pt x="165963" y="643166"/>
                </a:lnTo>
                <a:lnTo>
                  <a:pt x="165962" y="643166"/>
                </a:lnTo>
                <a:lnTo>
                  <a:pt x="165962" y="585698"/>
                </a:lnTo>
                <a:lnTo>
                  <a:pt x="3158" y="585698"/>
                </a:lnTo>
                <a:lnTo>
                  <a:pt x="3157" y="585698"/>
                </a:lnTo>
                <a:close/>
                <a:moveTo>
                  <a:pt x="1216157" y="318180"/>
                </a:moveTo>
                <a:cubicBezTo>
                  <a:pt x="1240809" y="318180"/>
                  <a:pt x="1263855" y="322264"/>
                  <a:pt x="1284637" y="330254"/>
                </a:cubicBezTo>
                <a:cubicBezTo>
                  <a:pt x="1305419" y="338244"/>
                  <a:pt x="1323761" y="349785"/>
                  <a:pt x="1339243" y="364522"/>
                </a:cubicBezTo>
                <a:cubicBezTo>
                  <a:pt x="1354666" y="379259"/>
                  <a:pt x="1366755" y="396956"/>
                  <a:pt x="1375269" y="417138"/>
                </a:cubicBezTo>
                <a:cubicBezTo>
                  <a:pt x="1383785" y="437379"/>
                  <a:pt x="1388073" y="459989"/>
                  <a:pt x="1388073" y="484431"/>
                </a:cubicBezTo>
                <a:cubicBezTo>
                  <a:pt x="1388073" y="508875"/>
                  <a:pt x="1383844" y="531662"/>
                  <a:pt x="1375508" y="552199"/>
                </a:cubicBezTo>
                <a:cubicBezTo>
                  <a:pt x="1367172" y="572677"/>
                  <a:pt x="1355202" y="590669"/>
                  <a:pt x="1339899" y="605703"/>
                </a:cubicBezTo>
                <a:cubicBezTo>
                  <a:pt x="1324653" y="620736"/>
                  <a:pt x="1306253" y="632573"/>
                  <a:pt x="1285352" y="640858"/>
                </a:cubicBezTo>
                <a:cubicBezTo>
                  <a:pt x="1264390" y="649144"/>
                  <a:pt x="1241465" y="653346"/>
                  <a:pt x="1216216" y="653346"/>
                </a:cubicBezTo>
                <a:cubicBezTo>
                  <a:pt x="1190968" y="653346"/>
                  <a:pt x="1167565" y="649144"/>
                  <a:pt x="1146604" y="640858"/>
                </a:cubicBezTo>
                <a:cubicBezTo>
                  <a:pt x="1125643" y="632573"/>
                  <a:pt x="1107302" y="620736"/>
                  <a:pt x="1091998" y="605703"/>
                </a:cubicBezTo>
                <a:cubicBezTo>
                  <a:pt x="1076695" y="590669"/>
                  <a:pt x="1064725" y="572677"/>
                  <a:pt x="1056389" y="552199"/>
                </a:cubicBezTo>
                <a:cubicBezTo>
                  <a:pt x="1048052" y="531721"/>
                  <a:pt x="1043824" y="508875"/>
                  <a:pt x="1043824" y="484431"/>
                </a:cubicBezTo>
                <a:cubicBezTo>
                  <a:pt x="1043824" y="459989"/>
                  <a:pt x="1048230" y="437379"/>
                  <a:pt x="1056864" y="417138"/>
                </a:cubicBezTo>
                <a:cubicBezTo>
                  <a:pt x="1065500" y="396956"/>
                  <a:pt x="1077707" y="379259"/>
                  <a:pt x="1093129" y="364522"/>
                </a:cubicBezTo>
                <a:cubicBezTo>
                  <a:pt x="1108553" y="349785"/>
                  <a:pt x="1127012" y="338244"/>
                  <a:pt x="1147914" y="330254"/>
                </a:cubicBezTo>
                <a:cubicBezTo>
                  <a:pt x="1168875" y="322264"/>
                  <a:pt x="1191503" y="318180"/>
                  <a:pt x="1216157" y="318180"/>
                </a:cubicBezTo>
                <a:close/>
                <a:moveTo>
                  <a:pt x="842014" y="318180"/>
                </a:moveTo>
                <a:cubicBezTo>
                  <a:pt x="866668" y="318180"/>
                  <a:pt x="889713" y="322264"/>
                  <a:pt x="910494" y="330254"/>
                </a:cubicBezTo>
                <a:cubicBezTo>
                  <a:pt x="931277" y="338244"/>
                  <a:pt x="949618" y="349785"/>
                  <a:pt x="965100" y="364522"/>
                </a:cubicBezTo>
                <a:lnTo>
                  <a:pt x="965160" y="364522"/>
                </a:lnTo>
                <a:cubicBezTo>
                  <a:pt x="980583" y="379259"/>
                  <a:pt x="992671" y="396956"/>
                  <a:pt x="1001187" y="417138"/>
                </a:cubicBezTo>
                <a:cubicBezTo>
                  <a:pt x="1009702" y="437379"/>
                  <a:pt x="1013990" y="459989"/>
                  <a:pt x="1013990" y="484431"/>
                </a:cubicBezTo>
                <a:cubicBezTo>
                  <a:pt x="1013990" y="508875"/>
                  <a:pt x="1009761" y="531662"/>
                  <a:pt x="1001425" y="552199"/>
                </a:cubicBezTo>
                <a:cubicBezTo>
                  <a:pt x="993089" y="572677"/>
                  <a:pt x="981119" y="590669"/>
                  <a:pt x="965814" y="605703"/>
                </a:cubicBezTo>
                <a:cubicBezTo>
                  <a:pt x="950511" y="620736"/>
                  <a:pt x="932111" y="632573"/>
                  <a:pt x="911210" y="640858"/>
                </a:cubicBezTo>
                <a:cubicBezTo>
                  <a:pt x="890248" y="649144"/>
                  <a:pt x="867322" y="653346"/>
                  <a:pt x="842074" y="653346"/>
                </a:cubicBezTo>
                <a:cubicBezTo>
                  <a:pt x="816826" y="653346"/>
                  <a:pt x="793423" y="649144"/>
                  <a:pt x="772461" y="640858"/>
                </a:cubicBezTo>
                <a:cubicBezTo>
                  <a:pt x="751500" y="632573"/>
                  <a:pt x="733160" y="620736"/>
                  <a:pt x="717857" y="605703"/>
                </a:cubicBezTo>
                <a:cubicBezTo>
                  <a:pt x="702552" y="590669"/>
                  <a:pt x="690583" y="572677"/>
                  <a:pt x="682246" y="552199"/>
                </a:cubicBezTo>
                <a:cubicBezTo>
                  <a:pt x="673910" y="531721"/>
                  <a:pt x="669681" y="508875"/>
                  <a:pt x="669681" y="484431"/>
                </a:cubicBezTo>
                <a:cubicBezTo>
                  <a:pt x="669681" y="459989"/>
                  <a:pt x="674088" y="437321"/>
                  <a:pt x="682723" y="417138"/>
                </a:cubicBezTo>
                <a:cubicBezTo>
                  <a:pt x="691357" y="396956"/>
                  <a:pt x="703564" y="379259"/>
                  <a:pt x="718987" y="364522"/>
                </a:cubicBezTo>
                <a:cubicBezTo>
                  <a:pt x="734410" y="349785"/>
                  <a:pt x="752870" y="338244"/>
                  <a:pt x="773771" y="330254"/>
                </a:cubicBezTo>
                <a:cubicBezTo>
                  <a:pt x="794732" y="322264"/>
                  <a:pt x="817361" y="318180"/>
                  <a:pt x="842014" y="318180"/>
                </a:cubicBezTo>
                <a:close/>
                <a:moveTo>
                  <a:pt x="478590" y="318061"/>
                </a:moveTo>
                <a:lnTo>
                  <a:pt x="478590" y="318061"/>
                </a:lnTo>
                <a:lnTo>
                  <a:pt x="478591" y="318061"/>
                </a:lnTo>
                <a:cubicBezTo>
                  <a:pt x="501101" y="318061"/>
                  <a:pt x="521584" y="321257"/>
                  <a:pt x="539449" y="327590"/>
                </a:cubicBezTo>
                <a:cubicBezTo>
                  <a:pt x="557314" y="333982"/>
                  <a:pt x="573392" y="342860"/>
                  <a:pt x="587148" y="354164"/>
                </a:cubicBezTo>
                <a:cubicBezTo>
                  <a:pt x="599951" y="364640"/>
                  <a:pt x="611265" y="376832"/>
                  <a:pt x="620853" y="390326"/>
                </a:cubicBezTo>
                <a:lnTo>
                  <a:pt x="557314" y="423175"/>
                </a:lnTo>
                <a:lnTo>
                  <a:pt x="557313" y="423175"/>
                </a:lnTo>
                <a:lnTo>
                  <a:pt x="557313" y="423175"/>
                </a:lnTo>
                <a:cubicBezTo>
                  <a:pt x="549810" y="411101"/>
                  <a:pt x="539926" y="400862"/>
                  <a:pt x="527896" y="392694"/>
                </a:cubicBezTo>
                <a:lnTo>
                  <a:pt x="478590" y="379378"/>
                </a:lnTo>
                <a:lnTo>
                  <a:pt x="427261" y="391866"/>
                </a:lnTo>
                <a:cubicBezTo>
                  <a:pt x="411659" y="400151"/>
                  <a:pt x="399154" y="412225"/>
                  <a:pt x="389983" y="427672"/>
                </a:cubicBezTo>
                <a:cubicBezTo>
                  <a:pt x="380872" y="443120"/>
                  <a:pt x="376228" y="462592"/>
                  <a:pt x="376228" y="484372"/>
                </a:cubicBezTo>
                <a:cubicBezTo>
                  <a:pt x="376228" y="506152"/>
                  <a:pt x="380694" y="525387"/>
                  <a:pt x="389507" y="541427"/>
                </a:cubicBezTo>
                <a:cubicBezTo>
                  <a:pt x="398379" y="557583"/>
                  <a:pt x="410587" y="570190"/>
                  <a:pt x="425831" y="578950"/>
                </a:cubicBezTo>
                <a:lnTo>
                  <a:pt x="478651" y="592149"/>
                </a:lnTo>
                <a:lnTo>
                  <a:pt x="511878" y="587591"/>
                </a:lnTo>
                <a:cubicBezTo>
                  <a:pt x="521942" y="584514"/>
                  <a:pt x="530636" y="580075"/>
                  <a:pt x="537782" y="574452"/>
                </a:cubicBezTo>
                <a:cubicBezTo>
                  <a:pt x="544868" y="568830"/>
                  <a:pt x="551002" y="562141"/>
                  <a:pt x="556003" y="554625"/>
                </a:cubicBezTo>
                <a:cubicBezTo>
                  <a:pt x="560945" y="547168"/>
                  <a:pt x="564935" y="539000"/>
                  <a:pt x="567793" y="530418"/>
                </a:cubicBezTo>
                <a:lnTo>
                  <a:pt x="569342" y="525860"/>
                </a:lnTo>
                <a:lnTo>
                  <a:pt x="481212" y="525860"/>
                </a:lnTo>
                <a:lnTo>
                  <a:pt x="481212" y="525860"/>
                </a:lnTo>
                <a:lnTo>
                  <a:pt x="481212" y="472535"/>
                </a:lnTo>
                <a:lnTo>
                  <a:pt x="481212" y="472535"/>
                </a:lnTo>
                <a:lnTo>
                  <a:pt x="639550" y="472535"/>
                </a:lnTo>
                <a:lnTo>
                  <a:pt x="639550" y="472535"/>
                </a:lnTo>
                <a:cubicBezTo>
                  <a:pt x="640622" y="496741"/>
                  <a:pt x="637942" y="519706"/>
                  <a:pt x="631571" y="540835"/>
                </a:cubicBezTo>
                <a:cubicBezTo>
                  <a:pt x="624901" y="562852"/>
                  <a:pt x="614421" y="582560"/>
                  <a:pt x="600486" y="599428"/>
                </a:cubicBezTo>
                <a:cubicBezTo>
                  <a:pt x="586611" y="616237"/>
                  <a:pt x="568925" y="629553"/>
                  <a:pt x="548084" y="639023"/>
                </a:cubicBezTo>
                <a:cubicBezTo>
                  <a:pt x="527243" y="648492"/>
                  <a:pt x="502887" y="653286"/>
                  <a:pt x="475853" y="653286"/>
                </a:cubicBezTo>
                <a:lnTo>
                  <a:pt x="475852" y="653286"/>
                </a:lnTo>
                <a:lnTo>
                  <a:pt x="475852" y="653286"/>
                </a:lnTo>
                <a:cubicBezTo>
                  <a:pt x="450245" y="653286"/>
                  <a:pt x="426546" y="649203"/>
                  <a:pt x="405228" y="641213"/>
                </a:cubicBezTo>
                <a:cubicBezTo>
                  <a:pt x="383969" y="633222"/>
                  <a:pt x="365390" y="621623"/>
                  <a:pt x="349967" y="606708"/>
                </a:cubicBezTo>
                <a:cubicBezTo>
                  <a:pt x="334543" y="591793"/>
                  <a:pt x="322336" y="573800"/>
                  <a:pt x="313702" y="553145"/>
                </a:cubicBezTo>
                <a:cubicBezTo>
                  <a:pt x="305067" y="532489"/>
                  <a:pt x="300660" y="509348"/>
                  <a:pt x="300660" y="484253"/>
                </a:cubicBezTo>
                <a:cubicBezTo>
                  <a:pt x="300660" y="459159"/>
                  <a:pt x="305126" y="436135"/>
                  <a:pt x="313880" y="415835"/>
                </a:cubicBezTo>
                <a:cubicBezTo>
                  <a:pt x="322692" y="395535"/>
                  <a:pt x="335257" y="377956"/>
                  <a:pt x="351276" y="363515"/>
                </a:cubicBezTo>
                <a:cubicBezTo>
                  <a:pt x="367294" y="349075"/>
                  <a:pt x="386410" y="337770"/>
                  <a:pt x="407967" y="329898"/>
                </a:cubicBezTo>
                <a:cubicBezTo>
                  <a:pt x="429523" y="322027"/>
                  <a:pt x="453282" y="318061"/>
                  <a:pt x="478590" y="318061"/>
                </a:cubicBezTo>
                <a:close/>
                <a:moveTo>
                  <a:pt x="255562" y="134765"/>
                </a:moveTo>
                <a:lnTo>
                  <a:pt x="255581" y="134823"/>
                </a:lnTo>
                <a:lnTo>
                  <a:pt x="255581" y="134765"/>
                </a:lnTo>
                <a:close/>
                <a:moveTo>
                  <a:pt x="1446549" y="98484"/>
                </a:moveTo>
                <a:cubicBezTo>
                  <a:pt x="1436903" y="98484"/>
                  <a:pt x="1428268" y="100733"/>
                  <a:pt x="1420883" y="105113"/>
                </a:cubicBezTo>
                <a:cubicBezTo>
                  <a:pt x="1413500" y="109493"/>
                  <a:pt x="1407545" y="115648"/>
                  <a:pt x="1403317" y="123461"/>
                </a:cubicBezTo>
                <a:cubicBezTo>
                  <a:pt x="1399029" y="131273"/>
                  <a:pt x="1396885" y="140446"/>
                  <a:pt x="1396885" y="150568"/>
                </a:cubicBezTo>
                <a:cubicBezTo>
                  <a:pt x="1396885" y="160688"/>
                  <a:pt x="1399029" y="169803"/>
                  <a:pt x="1403317" y="177497"/>
                </a:cubicBezTo>
                <a:cubicBezTo>
                  <a:pt x="1407545" y="185190"/>
                  <a:pt x="1413500" y="191346"/>
                  <a:pt x="1420883" y="195726"/>
                </a:cubicBezTo>
                <a:cubicBezTo>
                  <a:pt x="1428208" y="200106"/>
                  <a:pt x="1436903" y="202355"/>
                  <a:pt x="1446549" y="202355"/>
                </a:cubicBezTo>
                <a:cubicBezTo>
                  <a:pt x="1456196" y="202355"/>
                  <a:pt x="1464830" y="200106"/>
                  <a:pt x="1472215" y="195726"/>
                </a:cubicBezTo>
                <a:cubicBezTo>
                  <a:pt x="1479598" y="191346"/>
                  <a:pt x="1485434" y="185250"/>
                  <a:pt x="1489603" y="177556"/>
                </a:cubicBezTo>
                <a:lnTo>
                  <a:pt x="1495907" y="150597"/>
                </a:lnTo>
                <a:lnTo>
                  <a:pt x="1495907" y="150597"/>
                </a:lnTo>
                <a:lnTo>
                  <a:pt x="1495907" y="150597"/>
                </a:lnTo>
                <a:lnTo>
                  <a:pt x="1495914" y="150626"/>
                </a:lnTo>
                <a:lnTo>
                  <a:pt x="1495914" y="150568"/>
                </a:lnTo>
                <a:lnTo>
                  <a:pt x="1495907" y="150597"/>
                </a:lnTo>
                <a:lnTo>
                  <a:pt x="1495907" y="150597"/>
                </a:lnTo>
                <a:lnTo>
                  <a:pt x="1495907" y="150597"/>
                </a:lnTo>
                <a:lnTo>
                  <a:pt x="1489603" y="123461"/>
                </a:lnTo>
                <a:cubicBezTo>
                  <a:pt x="1485434" y="115648"/>
                  <a:pt x="1479598" y="109493"/>
                  <a:pt x="1472215" y="105113"/>
                </a:cubicBezTo>
                <a:cubicBezTo>
                  <a:pt x="1464830" y="100733"/>
                  <a:pt x="1456196" y="98484"/>
                  <a:pt x="1446549" y="98484"/>
                </a:cubicBezTo>
                <a:close/>
                <a:moveTo>
                  <a:pt x="1247896" y="98484"/>
                </a:moveTo>
                <a:cubicBezTo>
                  <a:pt x="1238249" y="98484"/>
                  <a:pt x="1229613" y="100733"/>
                  <a:pt x="1222230" y="105113"/>
                </a:cubicBezTo>
                <a:cubicBezTo>
                  <a:pt x="1214846" y="109493"/>
                  <a:pt x="1208891" y="115648"/>
                  <a:pt x="1204663" y="123461"/>
                </a:cubicBezTo>
                <a:cubicBezTo>
                  <a:pt x="1200376" y="131273"/>
                  <a:pt x="1198232" y="140446"/>
                  <a:pt x="1198232" y="150568"/>
                </a:cubicBezTo>
                <a:cubicBezTo>
                  <a:pt x="1198232" y="160688"/>
                  <a:pt x="1200376" y="169803"/>
                  <a:pt x="1204663" y="177497"/>
                </a:cubicBezTo>
                <a:cubicBezTo>
                  <a:pt x="1208891" y="185190"/>
                  <a:pt x="1214846" y="191346"/>
                  <a:pt x="1222230" y="195726"/>
                </a:cubicBezTo>
                <a:cubicBezTo>
                  <a:pt x="1229613" y="200106"/>
                  <a:pt x="1238249" y="202355"/>
                  <a:pt x="1247896" y="202355"/>
                </a:cubicBezTo>
                <a:cubicBezTo>
                  <a:pt x="1257543" y="202355"/>
                  <a:pt x="1266177" y="200106"/>
                  <a:pt x="1273560" y="195726"/>
                </a:cubicBezTo>
                <a:cubicBezTo>
                  <a:pt x="1280945" y="191346"/>
                  <a:pt x="1286781" y="185250"/>
                  <a:pt x="1290950" y="177556"/>
                </a:cubicBezTo>
                <a:cubicBezTo>
                  <a:pt x="1295117" y="169803"/>
                  <a:pt x="1297261" y="160747"/>
                  <a:pt x="1297261" y="150568"/>
                </a:cubicBezTo>
                <a:lnTo>
                  <a:pt x="1297321" y="150626"/>
                </a:lnTo>
                <a:cubicBezTo>
                  <a:pt x="1297321" y="140387"/>
                  <a:pt x="1295177" y="131273"/>
                  <a:pt x="1291009" y="123461"/>
                </a:cubicBezTo>
                <a:cubicBezTo>
                  <a:pt x="1286840" y="115648"/>
                  <a:pt x="1281005" y="109493"/>
                  <a:pt x="1273620" y="105113"/>
                </a:cubicBezTo>
                <a:cubicBezTo>
                  <a:pt x="1266177" y="100733"/>
                  <a:pt x="1257543" y="98484"/>
                  <a:pt x="1247896" y="98484"/>
                </a:cubicBezTo>
                <a:close/>
                <a:moveTo>
                  <a:pt x="969806" y="98484"/>
                </a:moveTo>
                <a:cubicBezTo>
                  <a:pt x="960159" y="98484"/>
                  <a:pt x="951525" y="100733"/>
                  <a:pt x="944140" y="105113"/>
                </a:cubicBezTo>
                <a:cubicBezTo>
                  <a:pt x="936757" y="109493"/>
                  <a:pt x="930802" y="115648"/>
                  <a:pt x="926573" y="123461"/>
                </a:cubicBezTo>
                <a:cubicBezTo>
                  <a:pt x="922286" y="131273"/>
                  <a:pt x="920142" y="140446"/>
                  <a:pt x="920142" y="150568"/>
                </a:cubicBezTo>
                <a:cubicBezTo>
                  <a:pt x="920142" y="160688"/>
                  <a:pt x="922286" y="169743"/>
                  <a:pt x="926573" y="177497"/>
                </a:cubicBezTo>
                <a:cubicBezTo>
                  <a:pt x="930802" y="185190"/>
                  <a:pt x="936757" y="191346"/>
                  <a:pt x="944140" y="195726"/>
                </a:cubicBezTo>
                <a:cubicBezTo>
                  <a:pt x="951465" y="200106"/>
                  <a:pt x="960159" y="202355"/>
                  <a:pt x="969806" y="202355"/>
                </a:cubicBezTo>
                <a:cubicBezTo>
                  <a:pt x="979452" y="202355"/>
                  <a:pt x="988087" y="200106"/>
                  <a:pt x="995472" y="195726"/>
                </a:cubicBezTo>
                <a:cubicBezTo>
                  <a:pt x="1002855" y="191346"/>
                  <a:pt x="1008691" y="185250"/>
                  <a:pt x="1012859" y="177556"/>
                </a:cubicBezTo>
                <a:lnTo>
                  <a:pt x="1019164" y="150597"/>
                </a:lnTo>
                <a:lnTo>
                  <a:pt x="1019171" y="150626"/>
                </a:lnTo>
                <a:lnTo>
                  <a:pt x="1019171" y="150568"/>
                </a:lnTo>
                <a:lnTo>
                  <a:pt x="1019164" y="150597"/>
                </a:lnTo>
                <a:lnTo>
                  <a:pt x="1012859" y="123461"/>
                </a:lnTo>
                <a:cubicBezTo>
                  <a:pt x="1008691" y="115648"/>
                  <a:pt x="1002855" y="109493"/>
                  <a:pt x="995472" y="105113"/>
                </a:cubicBezTo>
                <a:cubicBezTo>
                  <a:pt x="988087" y="100733"/>
                  <a:pt x="979452" y="98484"/>
                  <a:pt x="969806" y="98484"/>
                </a:cubicBezTo>
                <a:close/>
                <a:moveTo>
                  <a:pt x="212588" y="97360"/>
                </a:moveTo>
                <a:lnTo>
                  <a:pt x="185315" y="104225"/>
                </a:lnTo>
                <a:cubicBezTo>
                  <a:pt x="177872" y="108782"/>
                  <a:pt x="172096" y="115115"/>
                  <a:pt x="168225" y="123046"/>
                </a:cubicBezTo>
                <a:cubicBezTo>
                  <a:pt x="166437" y="126597"/>
                  <a:pt x="165128" y="130444"/>
                  <a:pt x="164116" y="134765"/>
                </a:cubicBezTo>
                <a:lnTo>
                  <a:pt x="255562" y="134765"/>
                </a:lnTo>
                <a:lnTo>
                  <a:pt x="251056" y="120738"/>
                </a:lnTo>
                <a:cubicBezTo>
                  <a:pt x="247542" y="113576"/>
                  <a:pt x="242541" y="107836"/>
                  <a:pt x="236109" y="103633"/>
                </a:cubicBezTo>
                <a:close/>
                <a:moveTo>
                  <a:pt x="1683254" y="68825"/>
                </a:moveTo>
                <a:cubicBezTo>
                  <a:pt x="1686960" y="67426"/>
                  <a:pt x="1691322" y="67737"/>
                  <a:pt x="1696235" y="69779"/>
                </a:cubicBezTo>
                <a:cubicBezTo>
                  <a:pt x="1701356" y="71910"/>
                  <a:pt x="1704691" y="74928"/>
                  <a:pt x="1706180" y="78657"/>
                </a:cubicBezTo>
                <a:cubicBezTo>
                  <a:pt x="1707609" y="82385"/>
                  <a:pt x="1707252" y="86765"/>
                  <a:pt x="1704989" y="91678"/>
                </a:cubicBezTo>
                <a:lnTo>
                  <a:pt x="1614952" y="291902"/>
                </a:lnTo>
                <a:cubicBezTo>
                  <a:pt x="1611557" y="300662"/>
                  <a:pt x="1605483" y="302496"/>
                  <a:pt x="1601017" y="302496"/>
                </a:cubicBezTo>
                <a:cubicBezTo>
                  <a:pt x="1598696" y="302496"/>
                  <a:pt x="1596075" y="301845"/>
                  <a:pt x="1592919" y="300543"/>
                </a:cubicBezTo>
                <a:cubicBezTo>
                  <a:pt x="1587858" y="298294"/>
                  <a:pt x="1584582" y="295217"/>
                  <a:pt x="1583154" y="291429"/>
                </a:cubicBezTo>
                <a:cubicBezTo>
                  <a:pt x="1581784" y="287700"/>
                  <a:pt x="1582200" y="283438"/>
                  <a:pt x="1584463" y="278644"/>
                </a:cubicBezTo>
                <a:lnTo>
                  <a:pt x="1613226" y="214310"/>
                </a:lnTo>
                <a:lnTo>
                  <a:pt x="1547722" y="91204"/>
                </a:lnTo>
                <a:cubicBezTo>
                  <a:pt x="1545399" y="86824"/>
                  <a:pt x="1545101" y="82445"/>
                  <a:pt x="1546889" y="78302"/>
                </a:cubicBezTo>
                <a:cubicBezTo>
                  <a:pt x="1548615" y="74277"/>
                  <a:pt x="1551712" y="71318"/>
                  <a:pt x="1556118" y="69483"/>
                </a:cubicBezTo>
                <a:cubicBezTo>
                  <a:pt x="1560466" y="67648"/>
                  <a:pt x="1564752" y="67470"/>
                  <a:pt x="1568742" y="69010"/>
                </a:cubicBezTo>
                <a:cubicBezTo>
                  <a:pt x="1572732" y="70489"/>
                  <a:pt x="1575769" y="73449"/>
                  <a:pt x="1577853" y="77769"/>
                </a:cubicBezTo>
                <a:lnTo>
                  <a:pt x="1629184" y="178680"/>
                </a:lnTo>
                <a:lnTo>
                  <a:pt x="1674203" y="78124"/>
                </a:lnTo>
                <a:cubicBezTo>
                  <a:pt x="1676495" y="73330"/>
                  <a:pt x="1679547" y="70223"/>
                  <a:pt x="1683254" y="68825"/>
                </a:cubicBezTo>
                <a:close/>
                <a:moveTo>
                  <a:pt x="1446549" y="66938"/>
                </a:moveTo>
                <a:cubicBezTo>
                  <a:pt x="1462627" y="66938"/>
                  <a:pt x="1477158" y="70549"/>
                  <a:pt x="1489663" y="77650"/>
                </a:cubicBezTo>
                <a:lnTo>
                  <a:pt x="1489722" y="77769"/>
                </a:lnTo>
                <a:cubicBezTo>
                  <a:pt x="1502227" y="84871"/>
                  <a:pt x="1512230" y="94815"/>
                  <a:pt x="1519436" y="107303"/>
                </a:cubicBezTo>
                <a:cubicBezTo>
                  <a:pt x="1526582" y="119790"/>
                  <a:pt x="1530214" y="134409"/>
                  <a:pt x="1530214" y="150685"/>
                </a:cubicBezTo>
                <a:lnTo>
                  <a:pt x="1530214" y="213540"/>
                </a:lnTo>
                <a:cubicBezTo>
                  <a:pt x="1530214" y="229225"/>
                  <a:pt x="1526642" y="243725"/>
                  <a:pt x="1519556" y="256568"/>
                </a:cubicBezTo>
                <a:cubicBezTo>
                  <a:pt x="1512528" y="269412"/>
                  <a:pt x="1502524" y="279768"/>
                  <a:pt x="1489900" y="287405"/>
                </a:cubicBezTo>
                <a:cubicBezTo>
                  <a:pt x="1477275" y="294979"/>
                  <a:pt x="1462449" y="298826"/>
                  <a:pt x="1445953" y="298826"/>
                </a:cubicBezTo>
                <a:cubicBezTo>
                  <a:pt x="1431722" y="298826"/>
                  <a:pt x="1418204" y="295986"/>
                  <a:pt x="1405699" y="290423"/>
                </a:cubicBezTo>
                <a:cubicBezTo>
                  <a:pt x="1393194" y="284859"/>
                  <a:pt x="1382416" y="276574"/>
                  <a:pt x="1373781" y="265801"/>
                </a:cubicBezTo>
                <a:cubicBezTo>
                  <a:pt x="1370744" y="261836"/>
                  <a:pt x="1369613" y="257692"/>
                  <a:pt x="1370446" y="253431"/>
                </a:cubicBezTo>
                <a:cubicBezTo>
                  <a:pt x="1371280" y="249229"/>
                  <a:pt x="1373603" y="245855"/>
                  <a:pt x="1377294" y="243311"/>
                </a:cubicBezTo>
                <a:cubicBezTo>
                  <a:pt x="1381463" y="240588"/>
                  <a:pt x="1385869" y="239642"/>
                  <a:pt x="1390394" y="240588"/>
                </a:cubicBezTo>
                <a:cubicBezTo>
                  <a:pt x="1394861" y="241476"/>
                  <a:pt x="1398553" y="243784"/>
                  <a:pt x="1401292" y="247394"/>
                </a:cubicBezTo>
                <a:cubicBezTo>
                  <a:pt x="1406294" y="253609"/>
                  <a:pt x="1412666" y="258522"/>
                  <a:pt x="1420288" y="262013"/>
                </a:cubicBezTo>
                <a:cubicBezTo>
                  <a:pt x="1427970" y="265505"/>
                  <a:pt x="1436783" y="267281"/>
                  <a:pt x="1446549" y="267281"/>
                </a:cubicBezTo>
                <a:cubicBezTo>
                  <a:pt x="1455422" y="267281"/>
                  <a:pt x="1463759" y="265151"/>
                  <a:pt x="1471262" y="260948"/>
                </a:cubicBezTo>
                <a:cubicBezTo>
                  <a:pt x="1478705" y="256746"/>
                  <a:pt x="1484779" y="250413"/>
                  <a:pt x="1489185" y="242186"/>
                </a:cubicBezTo>
                <a:cubicBezTo>
                  <a:pt x="1493651" y="233900"/>
                  <a:pt x="1495914" y="223543"/>
                  <a:pt x="1495914" y="211410"/>
                </a:cubicBezTo>
                <a:lnTo>
                  <a:pt x="1495914" y="205846"/>
                </a:lnTo>
                <a:cubicBezTo>
                  <a:pt x="1490853" y="212772"/>
                  <a:pt x="1484839" y="218572"/>
                  <a:pt x="1478049" y="223069"/>
                </a:cubicBezTo>
                <a:cubicBezTo>
                  <a:pt x="1467272" y="230231"/>
                  <a:pt x="1454648" y="233842"/>
                  <a:pt x="1440654" y="233842"/>
                </a:cubicBezTo>
                <a:cubicBezTo>
                  <a:pt x="1425468" y="233842"/>
                  <a:pt x="1411891" y="230231"/>
                  <a:pt x="1400220" y="223128"/>
                </a:cubicBezTo>
                <a:cubicBezTo>
                  <a:pt x="1388608" y="216026"/>
                  <a:pt x="1379319" y="206083"/>
                  <a:pt x="1372650" y="193595"/>
                </a:cubicBezTo>
                <a:cubicBezTo>
                  <a:pt x="1366039" y="181166"/>
                  <a:pt x="1362645" y="166843"/>
                  <a:pt x="1362645" y="150568"/>
                </a:cubicBezTo>
                <a:cubicBezTo>
                  <a:pt x="1362645" y="134292"/>
                  <a:pt x="1366218" y="119673"/>
                  <a:pt x="1373424" y="107185"/>
                </a:cubicBezTo>
                <a:cubicBezTo>
                  <a:pt x="1380628" y="94696"/>
                  <a:pt x="1390633" y="84753"/>
                  <a:pt x="1403138" y="77650"/>
                </a:cubicBezTo>
                <a:cubicBezTo>
                  <a:pt x="1415644" y="70549"/>
                  <a:pt x="1430470" y="66938"/>
                  <a:pt x="1446549" y="66938"/>
                </a:cubicBezTo>
                <a:close/>
                <a:moveTo>
                  <a:pt x="1247896" y="66938"/>
                </a:moveTo>
                <a:cubicBezTo>
                  <a:pt x="1263973" y="66938"/>
                  <a:pt x="1278503" y="70549"/>
                  <a:pt x="1291009" y="77650"/>
                </a:cubicBezTo>
                <a:cubicBezTo>
                  <a:pt x="1303514" y="84753"/>
                  <a:pt x="1313517" y="94696"/>
                  <a:pt x="1320723" y="107185"/>
                </a:cubicBezTo>
                <a:cubicBezTo>
                  <a:pt x="1327869" y="119673"/>
                  <a:pt x="1331501" y="134409"/>
                  <a:pt x="1331501" y="150568"/>
                </a:cubicBezTo>
                <a:cubicBezTo>
                  <a:pt x="1331501" y="166725"/>
                  <a:pt x="1327929" y="181166"/>
                  <a:pt x="1320843" y="193654"/>
                </a:cubicBezTo>
                <a:cubicBezTo>
                  <a:pt x="1313815" y="206143"/>
                  <a:pt x="1303870" y="216085"/>
                  <a:pt x="1291306" y="223188"/>
                </a:cubicBezTo>
                <a:cubicBezTo>
                  <a:pt x="1278801" y="230290"/>
                  <a:pt x="1264152" y="233900"/>
                  <a:pt x="1247896" y="233900"/>
                </a:cubicBezTo>
                <a:cubicBezTo>
                  <a:pt x="1231638" y="233900"/>
                  <a:pt x="1216989" y="230290"/>
                  <a:pt x="1204484" y="223188"/>
                </a:cubicBezTo>
                <a:cubicBezTo>
                  <a:pt x="1191920" y="216085"/>
                  <a:pt x="1181915" y="206143"/>
                  <a:pt x="1174770" y="193654"/>
                </a:cubicBezTo>
                <a:cubicBezTo>
                  <a:pt x="1167564" y="181166"/>
                  <a:pt x="1163932" y="166843"/>
                  <a:pt x="1163932" y="150568"/>
                </a:cubicBezTo>
                <a:cubicBezTo>
                  <a:pt x="1163932" y="134292"/>
                  <a:pt x="1167564" y="119673"/>
                  <a:pt x="1174770" y="107185"/>
                </a:cubicBezTo>
                <a:cubicBezTo>
                  <a:pt x="1181975" y="94696"/>
                  <a:pt x="1191980" y="84753"/>
                  <a:pt x="1204484" y="77650"/>
                </a:cubicBezTo>
                <a:cubicBezTo>
                  <a:pt x="1216989" y="70549"/>
                  <a:pt x="1231817" y="66938"/>
                  <a:pt x="1247896" y="66938"/>
                </a:cubicBezTo>
                <a:close/>
                <a:moveTo>
                  <a:pt x="969806" y="66938"/>
                </a:moveTo>
                <a:cubicBezTo>
                  <a:pt x="985884" y="66938"/>
                  <a:pt x="1000413" y="70549"/>
                  <a:pt x="1012919" y="77650"/>
                </a:cubicBezTo>
                <a:cubicBezTo>
                  <a:pt x="1025484" y="84753"/>
                  <a:pt x="1035429" y="94696"/>
                  <a:pt x="1042633" y="107185"/>
                </a:cubicBezTo>
                <a:cubicBezTo>
                  <a:pt x="1049780" y="119673"/>
                  <a:pt x="1053412" y="134409"/>
                  <a:pt x="1053412" y="150568"/>
                </a:cubicBezTo>
                <a:cubicBezTo>
                  <a:pt x="1053412" y="166725"/>
                  <a:pt x="1049839" y="181225"/>
                  <a:pt x="1042752" y="193654"/>
                </a:cubicBezTo>
                <a:cubicBezTo>
                  <a:pt x="1035726" y="206143"/>
                  <a:pt x="1025781" y="216085"/>
                  <a:pt x="1013216" y="223188"/>
                </a:cubicBezTo>
                <a:cubicBezTo>
                  <a:pt x="1000711" y="230290"/>
                  <a:pt x="986062" y="233900"/>
                  <a:pt x="969806" y="233900"/>
                </a:cubicBezTo>
                <a:cubicBezTo>
                  <a:pt x="953548" y="233900"/>
                  <a:pt x="938901" y="230290"/>
                  <a:pt x="926394" y="223188"/>
                </a:cubicBezTo>
                <a:cubicBezTo>
                  <a:pt x="913830" y="216085"/>
                  <a:pt x="903827" y="206143"/>
                  <a:pt x="896680" y="193654"/>
                </a:cubicBezTo>
                <a:cubicBezTo>
                  <a:pt x="889534" y="181166"/>
                  <a:pt x="885902" y="166843"/>
                  <a:pt x="885902" y="150568"/>
                </a:cubicBezTo>
                <a:cubicBezTo>
                  <a:pt x="885902" y="134292"/>
                  <a:pt x="889534" y="119673"/>
                  <a:pt x="896680" y="107185"/>
                </a:cubicBezTo>
                <a:cubicBezTo>
                  <a:pt x="903885" y="94696"/>
                  <a:pt x="913889" y="84753"/>
                  <a:pt x="926394" y="77650"/>
                </a:cubicBezTo>
                <a:cubicBezTo>
                  <a:pt x="938901" y="70549"/>
                  <a:pt x="953727" y="66938"/>
                  <a:pt x="969806" y="66938"/>
                </a:cubicBezTo>
                <a:close/>
                <a:moveTo>
                  <a:pt x="389684" y="66938"/>
                </a:moveTo>
                <a:lnTo>
                  <a:pt x="389685" y="66938"/>
                </a:lnTo>
                <a:lnTo>
                  <a:pt x="389685" y="66938"/>
                </a:lnTo>
                <a:cubicBezTo>
                  <a:pt x="401594" y="66938"/>
                  <a:pt x="412671" y="69246"/>
                  <a:pt x="422615" y="73745"/>
                </a:cubicBezTo>
                <a:lnTo>
                  <a:pt x="422556" y="73804"/>
                </a:lnTo>
                <a:cubicBezTo>
                  <a:pt x="432441" y="78302"/>
                  <a:pt x="441493" y="85109"/>
                  <a:pt x="449352" y="94104"/>
                </a:cubicBezTo>
                <a:cubicBezTo>
                  <a:pt x="452687" y="97833"/>
                  <a:pt x="453878" y="101858"/>
                  <a:pt x="452866" y="106060"/>
                </a:cubicBezTo>
                <a:cubicBezTo>
                  <a:pt x="451973" y="110026"/>
                  <a:pt x="449412" y="113458"/>
                  <a:pt x="445364" y="116358"/>
                </a:cubicBezTo>
                <a:cubicBezTo>
                  <a:pt x="441968" y="118667"/>
                  <a:pt x="438157" y="119495"/>
                  <a:pt x="434108" y="118667"/>
                </a:cubicBezTo>
                <a:lnTo>
                  <a:pt x="434108" y="118667"/>
                </a:lnTo>
                <a:lnTo>
                  <a:pt x="434108" y="118667"/>
                </a:lnTo>
                <a:cubicBezTo>
                  <a:pt x="430238" y="117897"/>
                  <a:pt x="426724" y="115944"/>
                  <a:pt x="423628" y="112866"/>
                </a:cubicBezTo>
                <a:lnTo>
                  <a:pt x="389626" y="98484"/>
                </a:lnTo>
                <a:lnTo>
                  <a:pt x="364555" y="104935"/>
                </a:lnTo>
                <a:cubicBezTo>
                  <a:pt x="357350" y="109197"/>
                  <a:pt x="351633" y="115293"/>
                  <a:pt x="347584" y="122928"/>
                </a:cubicBezTo>
                <a:cubicBezTo>
                  <a:pt x="343476" y="130621"/>
                  <a:pt x="341391" y="139914"/>
                  <a:pt x="341391" y="150508"/>
                </a:cubicBezTo>
                <a:cubicBezTo>
                  <a:pt x="341391" y="160510"/>
                  <a:pt x="343535" y="169506"/>
                  <a:pt x="347703" y="177200"/>
                </a:cubicBezTo>
                <a:cubicBezTo>
                  <a:pt x="351871" y="184895"/>
                  <a:pt x="357766" y="191049"/>
                  <a:pt x="365151" y="195548"/>
                </a:cubicBezTo>
                <a:lnTo>
                  <a:pt x="391114" y="202295"/>
                </a:lnTo>
                <a:lnTo>
                  <a:pt x="408383" y="199928"/>
                </a:lnTo>
                <a:cubicBezTo>
                  <a:pt x="413266" y="198389"/>
                  <a:pt x="417733" y="195962"/>
                  <a:pt x="421781" y="192708"/>
                </a:cubicBezTo>
                <a:cubicBezTo>
                  <a:pt x="425355" y="189867"/>
                  <a:pt x="429106" y="188269"/>
                  <a:pt x="432976" y="187913"/>
                </a:cubicBezTo>
                <a:lnTo>
                  <a:pt x="432976" y="187913"/>
                </a:lnTo>
                <a:cubicBezTo>
                  <a:pt x="437086" y="187558"/>
                  <a:pt x="440658" y="188683"/>
                  <a:pt x="443815" y="191287"/>
                </a:cubicBezTo>
                <a:cubicBezTo>
                  <a:pt x="447626" y="194423"/>
                  <a:pt x="449829" y="198094"/>
                  <a:pt x="450305" y="202177"/>
                </a:cubicBezTo>
                <a:cubicBezTo>
                  <a:pt x="450782" y="206438"/>
                  <a:pt x="449352" y="210226"/>
                  <a:pt x="446018" y="213540"/>
                </a:cubicBezTo>
                <a:cubicBezTo>
                  <a:pt x="431369" y="227035"/>
                  <a:pt x="412909" y="233841"/>
                  <a:pt x="391114" y="233841"/>
                </a:cubicBezTo>
                <a:cubicBezTo>
                  <a:pt x="374977" y="233841"/>
                  <a:pt x="360387" y="230112"/>
                  <a:pt x="347823" y="222833"/>
                </a:cubicBezTo>
                <a:cubicBezTo>
                  <a:pt x="335198" y="215552"/>
                  <a:pt x="325135" y="205551"/>
                  <a:pt x="317989" y="193062"/>
                </a:cubicBezTo>
                <a:cubicBezTo>
                  <a:pt x="310842" y="180574"/>
                  <a:pt x="307210" y="166666"/>
                  <a:pt x="307210" y="150568"/>
                </a:cubicBezTo>
                <a:cubicBezTo>
                  <a:pt x="307210" y="134468"/>
                  <a:pt x="310782" y="119909"/>
                  <a:pt x="317869" y="107361"/>
                </a:cubicBezTo>
                <a:cubicBezTo>
                  <a:pt x="324897" y="94756"/>
                  <a:pt x="334781" y="84753"/>
                  <a:pt x="347108" y="77650"/>
                </a:cubicBezTo>
                <a:cubicBezTo>
                  <a:pt x="359434" y="70549"/>
                  <a:pt x="373786" y="66938"/>
                  <a:pt x="389684" y="66938"/>
                </a:cubicBezTo>
                <a:close/>
                <a:moveTo>
                  <a:pt x="212587" y="66938"/>
                </a:moveTo>
                <a:lnTo>
                  <a:pt x="212588" y="66938"/>
                </a:lnTo>
                <a:cubicBezTo>
                  <a:pt x="228308" y="66938"/>
                  <a:pt x="242064" y="70430"/>
                  <a:pt x="253439" y="77355"/>
                </a:cubicBezTo>
                <a:lnTo>
                  <a:pt x="253498" y="77414"/>
                </a:lnTo>
                <a:cubicBezTo>
                  <a:pt x="264871" y="84339"/>
                  <a:pt x="273684" y="94045"/>
                  <a:pt x="279638" y="106179"/>
                </a:cubicBezTo>
                <a:cubicBezTo>
                  <a:pt x="285535" y="118252"/>
                  <a:pt x="288571" y="132279"/>
                  <a:pt x="288571" y="147963"/>
                </a:cubicBezTo>
                <a:cubicBezTo>
                  <a:pt x="288571" y="152343"/>
                  <a:pt x="287023" y="156071"/>
                  <a:pt x="283927" y="159031"/>
                </a:cubicBezTo>
                <a:cubicBezTo>
                  <a:pt x="280830" y="161930"/>
                  <a:pt x="276959" y="163411"/>
                  <a:pt x="272314" y="163411"/>
                </a:cubicBezTo>
                <a:lnTo>
                  <a:pt x="272314" y="163411"/>
                </a:lnTo>
                <a:lnTo>
                  <a:pt x="163758" y="163411"/>
                </a:lnTo>
                <a:cubicBezTo>
                  <a:pt x="164949" y="168678"/>
                  <a:pt x="166795" y="173472"/>
                  <a:pt x="169296" y="177733"/>
                </a:cubicBezTo>
                <a:cubicBezTo>
                  <a:pt x="173940" y="185664"/>
                  <a:pt x="180432" y="191997"/>
                  <a:pt x="188590" y="196554"/>
                </a:cubicBezTo>
                <a:lnTo>
                  <a:pt x="216994" y="203478"/>
                </a:lnTo>
                <a:lnTo>
                  <a:pt x="234800" y="200282"/>
                </a:lnTo>
                <a:cubicBezTo>
                  <a:pt x="240872" y="198152"/>
                  <a:pt x="245875" y="195666"/>
                  <a:pt x="249567" y="192944"/>
                </a:cubicBezTo>
                <a:cubicBezTo>
                  <a:pt x="252961" y="190457"/>
                  <a:pt x="256653" y="189156"/>
                  <a:pt x="260643" y="189037"/>
                </a:cubicBezTo>
                <a:lnTo>
                  <a:pt x="260643" y="189037"/>
                </a:lnTo>
                <a:lnTo>
                  <a:pt x="260643" y="189037"/>
                </a:lnTo>
                <a:cubicBezTo>
                  <a:pt x="264692" y="188859"/>
                  <a:pt x="268325" y="190162"/>
                  <a:pt x="271421" y="192707"/>
                </a:cubicBezTo>
                <a:cubicBezTo>
                  <a:pt x="275352" y="196140"/>
                  <a:pt x="277436" y="199987"/>
                  <a:pt x="277674" y="204189"/>
                </a:cubicBezTo>
                <a:cubicBezTo>
                  <a:pt x="277912" y="208628"/>
                  <a:pt x="275946" y="212416"/>
                  <a:pt x="271897" y="215493"/>
                </a:cubicBezTo>
                <a:cubicBezTo>
                  <a:pt x="265050" y="220879"/>
                  <a:pt x="256416" y="225318"/>
                  <a:pt x="246232" y="228692"/>
                </a:cubicBezTo>
                <a:cubicBezTo>
                  <a:pt x="236109" y="232066"/>
                  <a:pt x="226283" y="233781"/>
                  <a:pt x="216994" y="233781"/>
                </a:cubicBezTo>
                <a:lnTo>
                  <a:pt x="216994" y="233781"/>
                </a:lnTo>
                <a:cubicBezTo>
                  <a:pt x="200321" y="233781"/>
                  <a:pt x="185255" y="230231"/>
                  <a:pt x="172274" y="223128"/>
                </a:cubicBezTo>
                <a:cubicBezTo>
                  <a:pt x="159292" y="216026"/>
                  <a:pt x="148930" y="206083"/>
                  <a:pt x="141547" y="193595"/>
                </a:cubicBezTo>
                <a:cubicBezTo>
                  <a:pt x="134162" y="181107"/>
                  <a:pt x="130411" y="166784"/>
                  <a:pt x="130411" y="150507"/>
                </a:cubicBezTo>
                <a:cubicBezTo>
                  <a:pt x="130411" y="134232"/>
                  <a:pt x="133925" y="119673"/>
                  <a:pt x="140891" y="107185"/>
                </a:cubicBezTo>
                <a:cubicBezTo>
                  <a:pt x="147858" y="94696"/>
                  <a:pt x="157684" y="84753"/>
                  <a:pt x="170010" y="77650"/>
                </a:cubicBezTo>
                <a:cubicBezTo>
                  <a:pt x="182337" y="70549"/>
                  <a:pt x="196867" y="66938"/>
                  <a:pt x="212587" y="66938"/>
                </a:cubicBezTo>
                <a:close/>
                <a:moveTo>
                  <a:pt x="776154" y="66701"/>
                </a:moveTo>
                <a:cubicBezTo>
                  <a:pt x="790090" y="66701"/>
                  <a:pt x="802772" y="69661"/>
                  <a:pt x="813789" y="75579"/>
                </a:cubicBezTo>
                <a:lnTo>
                  <a:pt x="813729" y="75461"/>
                </a:lnTo>
                <a:cubicBezTo>
                  <a:pt x="824806" y="81379"/>
                  <a:pt x="833677" y="90198"/>
                  <a:pt x="840109" y="101679"/>
                </a:cubicBezTo>
                <a:cubicBezTo>
                  <a:pt x="846481" y="113043"/>
                  <a:pt x="849696" y="127188"/>
                  <a:pt x="849696" y="143702"/>
                </a:cubicBezTo>
                <a:lnTo>
                  <a:pt x="849696" y="215316"/>
                </a:lnTo>
                <a:cubicBezTo>
                  <a:pt x="849696" y="220287"/>
                  <a:pt x="847970" y="224489"/>
                  <a:pt x="844634" y="227804"/>
                </a:cubicBezTo>
                <a:cubicBezTo>
                  <a:pt x="841301" y="231118"/>
                  <a:pt x="837013" y="232776"/>
                  <a:pt x="832010" y="232776"/>
                </a:cubicBezTo>
                <a:cubicBezTo>
                  <a:pt x="827008" y="232776"/>
                  <a:pt x="822721" y="231118"/>
                  <a:pt x="819386" y="227804"/>
                </a:cubicBezTo>
                <a:cubicBezTo>
                  <a:pt x="815993" y="224489"/>
                  <a:pt x="814324" y="220287"/>
                  <a:pt x="814324" y="215316"/>
                </a:cubicBezTo>
                <a:lnTo>
                  <a:pt x="814324" y="143702"/>
                </a:lnTo>
                <a:cubicBezTo>
                  <a:pt x="814324" y="133166"/>
                  <a:pt x="812359" y="124525"/>
                  <a:pt x="808489" y="117955"/>
                </a:cubicBezTo>
                <a:cubicBezTo>
                  <a:pt x="804678" y="111504"/>
                  <a:pt x="799438" y="106592"/>
                  <a:pt x="793006" y="103455"/>
                </a:cubicBezTo>
                <a:cubicBezTo>
                  <a:pt x="786456" y="100259"/>
                  <a:pt x="778775" y="98661"/>
                  <a:pt x="770199" y="98661"/>
                </a:cubicBezTo>
                <a:cubicBezTo>
                  <a:pt x="762399" y="98661"/>
                  <a:pt x="755312" y="100259"/>
                  <a:pt x="749060" y="103337"/>
                </a:cubicBezTo>
                <a:cubicBezTo>
                  <a:pt x="742807" y="106474"/>
                  <a:pt x="737805" y="110617"/>
                  <a:pt x="734173" y="115765"/>
                </a:cubicBezTo>
                <a:cubicBezTo>
                  <a:pt x="730600" y="120797"/>
                  <a:pt x="728813" y="126715"/>
                  <a:pt x="728813" y="133285"/>
                </a:cubicBezTo>
                <a:lnTo>
                  <a:pt x="728813" y="215375"/>
                </a:lnTo>
                <a:cubicBezTo>
                  <a:pt x="728813" y="220347"/>
                  <a:pt x="727146" y="224549"/>
                  <a:pt x="723931" y="227863"/>
                </a:cubicBezTo>
                <a:cubicBezTo>
                  <a:pt x="720656" y="231178"/>
                  <a:pt x="716071" y="232893"/>
                  <a:pt x="711069" y="232893"/>
                </a:cubicBezTo>
                <a:cubicBezTo>
                  <a:pt x="706066" y="232893"/>
                  <a:pt x="701778" y="231236"/>
                  <a:pt x="698444" y="227921"/>
                </a:cubicBezTo>
                <a:cubicBezTo>
                  <a:pt x="695109" y="224608"/>
                  <a:pt x="693382" y="220405"/>
                  <a:pt x="693382" y="215434"/>
                </a:cubicBezTo>
                <a:lnTo>
                  <a:pt x="693382" y="85640"/>
                </a:lnTo>
                <a:cubicBezTo>
                  <a:pt x="693382" y="80492"/>
                  <a:pt x="695049" y="76171"/>
                  <a:pt x="698444" y="72975"/>
                </a:cubicBezTo>
                <a:cubicBezTo>
                  <a:pt x="701838" y="69720"/>
                  <a:pt x="705828" y="68122"/>
                  <a:pt x="711069" y="68122"/>
                </a:cubicBezTo>
                <a:cubicBezTo>
                  <a:pt x="716308" y="68122"/>
                  <a:pt x="720596" y="69778"/>
                  <a:pt x="723872" y="72975"/>
                </a:cubicBezTo>
                <a:cubicBezTo>
                  <a:pt x="726551" y="75639"/>
                  <a:pt x="728158" y="79011"/>
                  <a:pt x="728635" y="82977"/>
                </a:cubicBezTo>
                <a:cubicBezTo>
                  <a:pt x="732148" y="80136"/>
                  <a:pt x="735840" y="77591"/>
                  <a:pt x="739830" y="75461"/>
                </a:cubicBezTo>
                <a:cubicBezTo>
                  <a:pt x="750608" y="69661"/>
                  <a:pt x="762220" y="66701"/>
                  <a:pt x="776154" y="66701"/>
                </a:cubicBezTo>
                <a:close/>
                <a:moveTo>
                  <a:pt x="44780" y="17400"/>
                </a:moveTo>
                <a:lnTo>
                  <a:pt x="44780" y="17400"/>
                </a:lnTo>
                <a:lnTo>
                  <a:pt x="44781" y="17400"/>
                </a:lnTo>
                <a:cubicBezTo>
                  <a:pt x="49842" y="17400"/>
                  <a:pt x="54070" y="18998"/>
                  <a:pt x="57286" y="22253"/>
                </a:cubicBezTo>
                <a:cubicBezTo>
                  <a:pt x="60501" y="25508"/>
                  <a:pt x="62169" y="29651"/>
                  <a:pt x="62169" y="34623"/>
                </a:cubicBezTo>
                <a:lnTo>
                  <a:pt x="62169" y="73863"/>
                </a:lnTo>
                <a:lnTo>
                  <a:pt x="84500" y="73863"/>
                </a:lnTo>
                <a:lnTo>
                  <a:pt x="84500" y="73863"/>
                </a:lnTo>
                <a:cubicBezTo>
                  <a:pt x="89323" y="73863"/>
                  <a:pt x="93313" y="75283"/>
                  <a:pt x="96351" y="78065"/>
                </a:cubicBezTo>
                <a:cubicBezTo>
                  <a:pt x="99505" y="80965"/>
                  <a:pt x="101054" y="84753"/>
                  <a:pt x="101054" y="89370"/>
                </a:cubicBezTo>
                <a:cubicBezTo>
                  <a:pt x="101054" y="93631"/>
                  <a:pt x="99447" y="97241"/>
                  <a:pt x="96351" y="100082"/>
                </a:cubicBezTo>
                <a:cubicBezTo>
                  <a:pt x="93313" y="102864"/>
                  <a:pt x="89323" y="104284"/>
                  <a:pt x="84500" y="104284"/>
                </a:cubicBezTo>
                <a:lnTo>
                  <a:pt x="84500" y="104284"/>
                </a:lnTo>
                <a:lnTo>
                  <a:pt x="62169" y="104284"/>
                </a:lnTo>
                <a:lnTo>
                  <a:pt x="62169" y="173531"/>
                </a:lnTo>
                <a:cubicBezTo>
                  <a:pt x="62169" y="180633"/>
                  <a:pt x="64194" y="186611"/>
                  <a:pt x="68065" y="191346"/>
                </a:cubicBezTo>
                <a:cubicBezTo>
                  <a:pt x="71875" y="195962"/>
                  <a:pt x="76401" y="198211"/>
                  <a:pt x="81879" y="198211"/>
                </a:cubicBezTo>
                <a:lnTo>
                  <a:pt x="91884" y="198211"/>
                </a:lnTo>
                <a:lnTo>
                  <a:pt x="91884" y="198211"/>
                </a:lnTo>
                <a:lnTo>
                  <a:pt x="91884" y="198270"/>
                </a:lnTo>
                <a:cubicBezTo>
                  <a:pt x="96172" y="198270"/>
                  <a:pt x="99863" y="199927"/>
                  <a:pt x="102841" y="203242"/>
                </a:cubicBezTo>
                <a:cubicBezTo>
                  <a:pt x="105699" y="206438"/>
                  <a:pt x="107188" y="210462"/>
                  <a:pt x="107188" y="215493"/>
                </a:cubicBezTo>
                <a:cubicBezTo>
                  <a:pt x="107188" y="220524"/>
                  <a:pt x="105282" y="224726"/>
                  <a:pt x="101412" y="227981"/>
                </a:cubicBezTo>
                <a:cubicBezTo>
                  <a:pt x="97719" y="231059"/>
                  <a:pt x="92896" y="232657"/>
                  <a:pt x="87179" y="232657"/>
                </a:cubicBezTo>
                <a:lnTo>
                  <a:pt x="87179" y="232657"/>
                </a:lnTo>
                <a:lnTo>
                  <a:pt x="81879" y="232657"/>
                </a:lnTo>
                <a:lnTo>
                  <a:pt x="81879" y="232657"/>
                </a:lnTo>
                <a:cubicBezTo>
                  <a:pt x="71578" y="232657"/>
                  <a:pt x="62228" y="229993"/>
                  <a:pt x="53952" y="224785"/>
                </a:cubicBezTo>
                <a:cubicBezTo>
                  <a:pt x="45733" y="219637"/>
                  <a:pt x="39183" y="212475"/>
                  <a:pt x="34479" y="203537"/>
                </a:cubicBezTo>
                <a:cubicBezTo>
                  <a:pt x="29775" y="194660"/>
                  <a:pt x="27392" y="184540"/>
                  <a:pt x="27392" y="173472"/>
                </a:cubicBezTo>
                <a:lnTo>
                  <a:pt x="27392" y="104225"/>
                </a:lnTo>
                <a:lnTo>
                  <a:pt x="16556" y="104225"/>
                </a:lnTo>
                <a:lnTo>
                  <a:pt x="16555" y="104225"/>
                </a:lnTo>
                <a:cubicBezTo>
                  <a:pt x="11731" y="104225"/>
                  <a:pt x="7741" y="102805"/>
                  <a:pt x="4704" y="100023"/>
                </a:cubicBezTo>
                <a:cubicBezTo>
                  <a:pt x="1549" y="97122"/>
                  <a:pt x="0" y="93572"/>
                  <a:pt x="0" y="89310"/>
                </a:cubicBezTo>
                <a:cubicBezTo>
                  <a:pt x="0" y="84693"/>
                  <a:pt x="1609" y="80905"/>
                  <a:pt x="4704" y="78065"/>
                </a:cubicBezTo>
                <a:cubicBezTo>
                  <a:pt x="7741" y="75283"/>
                  <a:pt x="11731" y="73863"/>
                  <a:pt x="16555" y="73863"/>
                </a:cubicBezTo>
                <a:lnTo>
                  <a:pt x="16556" y="73863"/>
                </a:lnTo>
                <a:lnTo>
                  <a:pt x="27392" y="73863"/>
                </a:lnTo>
                <a:lnTo>
                  <a:pt x="27392" y="34623"/>
                </a:lnTo>
                <a:cubicBezTo>
                  <a:pt x="27392" y="29651"/>
                  <a:pt x="29001" y="25449"/>
                  <a:pt x="32276" y="22253"/>
                </a:cubicBezTo>
                <a:cubicBezTo>
                  <a:pt x="35551" y="19057"/>
                  <a:pt x="39720" y="17400"/>
                  <a:pt x="44780" y="17400"/>
                </a:cubicBezTo>
                <a:close/>
                <a:moveTo>
                  <a:pt x="1104265" y="0"/>
                </a:moveTo>
                <a:cubicBezTo>
                  <a:pt x="1109327" y="0"/>
                  <a:pt x="1113555" y="1598"/>
                  <a:pt x="1116770" y="4853"/>
                </a:cubicBezTo>
                <a:cubicBezTo>
                  <a:pt x="1119986" y="8108"/>
                  <a:pt x="1121653" y="12251"/>
                  <a:pt x="1121653" y="17223"/>
                </a:cubicBezTo>
                <a:lnTo>
                  <a:pt x="1121653" y="176136"/>
                </a:lnTo>
                <a:cubicBezTo>
                  <a:pt x="1121653" y="182824"/>
                  <a:pt x="1122903" y="188327"/>
                  <a:pt x="1125404" y="192530"/>
                </a:cubicBezTo>
                <a:cubicBezTo>
                  <a:pt x="1127667" y="196376"/>
                  <a:pt x="1130347" y="198212"/>
                  <a:pt x="1133682" y="198212"/>
                </a:cubicBezTo>
                <a:lnTo>
                  <a:pt x="1141066" y="198212"/>
                </a:lnTo>
                <a:cubicBezTo>
                  <a:pt x="1145711" y="198212"/>
                  <a:pt x="1149642" y="199869"/>
                  <a:pt x="1152618" y="203183"/>
                </a:cubicBezTo>
                <a:cubicBezTo>
                  <a:pt x="1155476" y="206379"/>
                  <a:pt x="1156966" y="210286"/>
                  <a:pt x="1156966" y="215434"/>
                </a:cubicBezTo>
                <a:cubicBezTo>
                  <a:pt x="1156966" y="220584"/>
                  <a:pt x="1154702" y="224786"/>
                  <a:pt x="1150296" y="228041"/>
                </a:cubicBezTo>
                <a:cubicBezTo>
                  <a:pt x="1146127" y="231119"/>
                  <a:pt x="1140709" y="232657"/>
                  <a:pt x="1134277" y="232657"/>
                </a:cubicBezTo>
                <a:cubicBezTo>
                  <a:pt x="1124511" y="232657"/>
                  <a:pt x="1116294" y="230172"/>
                  <a:pt x="1109208" y="225200"/>
                </a:cubicBezTo>
                <a:cubicBezTo>
                  <a:pt x="1102180" y="220288"/>
                  <a:pt x="1096643" y="213541"/>
                  <a:pt x="1092713" y="205077"/>
                </a:cubicBezTo>
                <a:cubicBezTo>
                  <a:pt x="1088842" y="196673"/>
                  <a:pt x="1086877" y="186967"/>
                  <a:pt x="1086877" y="176136"/>
                </a:cubicBezTo>
                <a:lnTo>
                  <a:pt x="1086877" y="17223"/>
                </a:lnTo>
                <a:cubicBezTo>
                  <a:pt x="1086877" y="12251"/>
                  <a:pt x="1088485" y="8049"/>
                  <a:pt x="1091760" y="4853"/>
                </a:cubicBezTo>
                <a:cubicBezTo>
                  <a:pt x="1095034" y="1657"/>
                  <a:pt x="1099203" y="0"/>
                  <a:pt x="1104265" y="0"/>
                </a:cubicBezTo>
                <a:close/>
                <a:moveTo>
                  <a:pt x="510092" y="0"/>
                </a:moveTo>
                <a:lnTo>
                  <a:pt x="510092" y="0"/>
                </a:lnTo>
                <a:lnTo>
                  <a:pt x="510092" y="0"/>
                </a:lnTo>
                <a:cubicBezTo>
                  <a:pt x="515331" y="0"/>
                  <a:pt x="519619" y="1657"/>
                  <a:pt x="522895" y="4853"/>
                </a:cubicBezTo>
                <a:cubicBezTo>
                  <a:pt x="526109" y="8108"/>
                  <a:pt x="527777" y="12370"/>
                  <a:pt x="527777" y="17518"/>
                </a:cubicBezTo>
                <a:lnTo>
                  <a:pt x="527777" y="82860"/>
                </a:lnTo>
                <a:lnTo>
                  <a:pt x="538793" y="75462"/>
                </a:lnTo>
                <a:cubicBezTo>
                  <a:pt x="549572" y="69661"/>
                  <a:pt x="561183" y="66701"/>
                  <a:pt x="575118" y="66701"/>
                </a:cubicBezTo>
                <a:lnTo>
                  <a:pt x="575118" y="66701"/>
                </a:lnTo>
                <a:lnTo>
                  <a:pt x="612752" y="75580"/>
                </a:lnTo>
                <a:lnTo>
                  <a:pt x="612752" y="75462"/>
                </a:lnTo>
                <a:lnTo>
                  <a:pt x="612752" y="75462"/>
                </a:lnTo>
                <a:cubicBezTo>
                  <a:pt x="623829" y="81380"/>
                  <a:pt x="632701" y="90198"/>
                  <a:pt x="639132" y="101681"/>
                </a:cubicBezTo>
                <a:cubicBezTo>
                  <a:pt x="645505" y="113044"/>
                  <a:pt x="648719" y="127190"/>
                  <a:pt x="648719" y="143702"/>
                </a:cubicBezTo>
                <a:lnTo>
                  <a:pt x="648719" y="215317"/>
                </a:lnTo>
                <a:cubicBezTo>
                  <a:pt x="648719" y="220289"/>
                  <a:pt x="646993" y="224491"/>
                  <a:pt x="643657" y="227805"/>
                </a:cubicBezTo>
                <a:cubicBezTo>
                  <a:pt x="640324" y="231120"/>
                  <a:pt x="636036" y="232777"/>
                  <a:pt x="631033" y="232777"/>
                </a:cubicBezTo>
                <a:lnTo>
                  <a:pt x="631033" y="232777"/>
                </a:lnTo>
                <a:lnTo>
                  <a:pt x="631033" y="232777"/>
                </a:lnTo>
                <a:cubicBezTo>
                  <a:pt x="626031" y="232777"/>
                  <a:pt x="621744" y="231120"/>
                  <a:pt x="618409" y="227805"/>
                </a:cubicBezTo>
                <a:cubicBezTo>
                  <a:pt x="615016" y="224491"/>
                  <a:pt x="613347" y="220289"/>
                  <a:pt x="613347" y="215317"/>
                </a:cubicBezTo>
                <a:lnTo>
                  <a:pt x="613347" y="143702"/>
                </a:lnTo>
                <a:cubicBezTo>
                  <a:pt x="613347" y="133168"/>
                  <a:pt x="611383" y="124526"/>
                  <a:pt x="607513" y="117957"/>
                </a:cubicBezTo>
                <a:cubicBezTo>
                  <a:pt x="603701" y="111506"/>
                  <a:pt x="598461" y="106593"/>
                  <a:pt x="592029" y="103456"/>
                </a:cubicBezTo>
                <a:lnTo>
                  <a:pt x="569222" y="98663"/>
                </a:lnTo>
                <a:lnTo>
                  <a:pt x="548083" y="103338"/>
                </a:lnTo>
                <a:cubicBezTo>
                  <a:pt x="541830" y="106475"/>
                  <a:pt x="536828" y="110618"/>
                  <a:pt x="533196" y="115767"/>
                </a:cubicBezTo>
                <a:cubicBezTo>
                  <a:pt x="529564" y="120798"/>
                  <a:pt x="527777" y="126716"/>
                  <a:pt x="527777" y="133286"/>
                </a:cubicBezTo>
                <a:lnTo>
                  <a:pt x="527777" y="215376"/>
                </a:lnTo>
                <a:cubicBezTo>
                  <a:pt x="527777" y="220348"/>
                  <a:pt x="526109" y="224550"/>
                  <a:pt x="522895" y="227864"/>
                </a:cubicBezTo>
                <a:cubicBezTo>
                  <a:pt x="519619" y="231179"/>
                  <a:pt x="515034" y="232894"/>
                  <a:pt x="510032" y="232894"/>
                </a:cubicBezTo>
                <a:lnTo>
                  <a:pt x="510032" y="232894"/>
                </a:lnTo>
                <a:cubicBezTo>
                  <a:pt x="505030" y="232894"/>
                  <a:pt x="500741" y="231237"/>
                  <a:pt x="497408" y="227924"/>
                </a:cubicBezTo>
                <a:cubicBezTo>
                  <a:pt x="494072" y="224609"/>
                  <a:pt x="492346" y="220406"/>
                  <a:pt x="492346" y="215435"/>
                </a:cubicBezTo>
                <a:lnTo>
                  <a:pt x="492346" y="17518"/>
                </a:lnTo>
                <a:cubicBezTo>
                  <a:pt x="492346" y="12370"/>
                  <a:pt x="494072" y="8108"/>
                  <a:pt x="497467" y="4853"/>
                </a:cubicBezTo>
                <a:cubicBezTo>
                  <a:pt x="500801" y="1598"/>
                  <a:pt x="504851" y="0"/>
                  <a:pt x="510092" y="0"/>
                </a:cubicBezTo>
                <a:close/>
              </a:path>
            </a:pathLst>
          </a:custGeom>
          <a:solidFill>
            <a:schemeClr val="bg1"/>
          </a:solidFill>
          <a:ln w="5161" cap="flat">
            <a:noFill/>
            <a:prstDash val="solid"/>
            <a:miter/>
          </a:ln>
          <a:effectLst>
            <a:outerShdw blurRad="144365" sx="102000" sy="102000" algn="ctr" rotWithShape="0">
              <a:prstClr val="black"/>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488792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Marcador de posición de imagen 7" descr="Imagen que contiene luz, calle, circuito, tráfico&#10;&#10;Descripción generada automáticamente">
            <a:extLst>
              <a:ext uri="{FF2B5EF4-FFF2-40B4-BE49-F238E27FC236}">
                <a16:creationId xmlns:a16="http://schemas.microsoft.com/office/drawing/2014/main" id="{BB1B1969-6433-71A1-2F2A-E0A22E2A341E}"/>
              </a:ext>
            </a:extLst>
          </p:cNvPr>
          <p:cNvPicPr>
            <a:picLocks noGrp="1" noChangeAspect="1"/>
          </p:cNvPicPr>
          <p:nvPr>
            <p:ph type="pic" sz="quarter" idx="17"/>
          </p:nvPr>
        </p:nvPicPr>
        <p:blipFill>
          <a:blip r:embed="rId2"/>
          <a:srcRect t="7823" b="7823"/>
          <a:stretch>
            <a:fillRect/>
          </a:stretch>
        </p:blipFill>
        <p:spPr/>
      </p:pic>
      <p:sp>
        <p:nvSpPr>
          <p:cNvPr id="5" name="Rectangle 24">
            <a:extLst>
              <a:ext uri="{FF2B5EF4-FFF2-40B4-BE49-F238E27FC236}">
                <a16:creationId xmlns:a16="http://schemas.microsoft.com/office/drawing/2014/main" id="{EB6B82E3-93E2-B003-86CA-1FC0997B3B3D}"/>
              </a:ext>
            </a:extLst>
          </p:cNvPr>
          <p:cNvSpPr/>
          <p:nvPr/>
        </p:nvSpPr>
        <p:spPr>
          <a:xfrm>
            <a:off x="3656045" y="753860"/>
            <a:ext cx="4879910" cy="4879910"/>
          </a:xfrm>
          <a:prstGeom prst="rect">
            <a:avLst/>
          </a:prstGeom>
          <a:solidFill>
            <a:schemeClr val="tx2">
              <a:alpha val="54168"/>
            </a:schemeClr>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300" normalizeH="0" baseline="0" noProof="0">
              <a:ln>
                <a:noFill/>
              </a:ln>
              <a:solidFill>
                <a:srgbClr val="FFFFFF"/>
              </a:solidFill>
              <a:effectLst/>
              <a:uLnTx/>
              <a:uFillTx/>
              <a:latin typeface="Arial" panose="020B0604020202020204"/>
              <a:ea typeface="+mn-ea"/>
              <a:cs typeface="+mn-cs"/>
            </a:endParaRPr>
          </a:p>
        </p:txBody>
      </p:sp>
      <p:sp>
        <p:nvSpPr>
          <p:cNvPr id="6" name="Rectángulo 5">
            <a:extLst>
              <a:ext uri="{FF2B5EF4-FFF2-40B4-BE49-F238E27FC236}">
                <a16:creationId xmlns:a16="http://schemas.microsoft.com/office/drawing/2014/main" id="{014944E3-A5C6-139A-1C88-87A18828D84A}"/>
              </a:ext>
            </a:extLst>
          </p:cNvPr>
          <p:cNvSpPr/>
          <p:nvPr/>
        </p:nvSpPr>
        <p:spPr>
          <a:xfrm>
            <a:off x="4006850" y="2828836"/>
            <a:ext cx="4178300" cy="1200329"/>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GB" sz="3600" b="1" i="0" u="none" strike="noStrike" kern="1200" cap="none" spc="0" normalizeH="0" baseline="0" noProof="0">
                <a:ln>
                  <a:noFill/>
                </a:ln>
                <a:solidFill>
                  <a:srgbClr val="FFFFFF"/>
                </a:solidFill>
                <a:effectLst/>
                <a:uLnTx/>
                <a:uFillTx/>
                <a:latin typeface="Arial" panose="020B0604020202020204"/>
                <a:ea typeface="+mn-ea"/>
                <a:cs typeface="+mn-cs"/>
              </a:rPr>
              <a:t>Data Driven Business</a:t>
            </a:r>
          </a:p>
        </p:txBody>
      </p:sp>
      <p:cxnSp>
        <p:nvCxnSpPr>
          <p:cNvPr id="7" name="Conector recto 6">
            <a:extLst>
              <a:ext uri="{FF2B5EF4-FFF2-40B4-BE49-F238E27FC236}">
                <a16:creationId xmlns:a16="http://schemas.microsoft.com/office/drawing/2014/main" id="{1C5B81D0-54AB-5C04-BF5F-F916C5A3D662}"/>
              </a:ext>
            </a:extLst>
          </p:cNvPr>
          <p:cNvCxnSpPr>
            <a:cxnSpLocks/>
          </p:cNvCxnSpPr>
          <p:nvPr/>
        </p:nvCxnSpPr>
        <p:spPr>
          <a:xfrm>
            <a:off x="3998595" y="2362884"/>
            <a:ext cx="4194810" cy="0"/>
          </a:xfrm>
          <a:prstGeom prst="line">
            <a:avLst/>
          </a:prstGeom>
          <a:ln w="15875" cap="rnd">
            <a:solidFill>
              <a:srgbClr val="EEAF00"/>
            </a:solidFill>
            <a:prstDash val="sysDot"/>
          </a:ln>
        </p:spPr>
        <p:style>
          <a:lnRef idx="1">
            <a:schemeClr val="accent1"/>
          </a:lnRef>
          <a:fillRef idx="0">
            <a:schemeClr val="accent1"/>
          </a:fillRef>
          <a:effectRef idx="0">
            <a:schemeClr val="accent1"/>
          </a:effectRef>
          <a:fontRef idx="minor">
            <a:schemeClr val="tx1"/>
          </a:fontRef>
        </p:style>
      </p:cxnSp>
      <p:sp>
        <p:nvSpPr>
          <p:cNvPr id="9" name="Forma libre 8">
            <a:extLst>
              <a:ext uri="{FF2B5EF4-FFF2-40B4-BE49-F238E27FC236}">
                <a16:creationId xmlns:a16="http://schemas.microsoft.com/office/drawing/2014/main" id="{3384AF93-FF26-0FB9-5D30-FA28293F1BA7}"/>
              </a:ext>
            </a:extLst>
          </p:cNvPr>
          <p:cNvSpPr/>
          <p:nvPr/>
        </p:nvSpPr>
        <p:spPr>
          <a:xfrm>
            <a:off x="5207142" y="1540714"/>
            <a:ext cx="1777716" cy="410228"/>
          </a:xfrm>
          <a:custGeom>
            <a:avLst/>
            <a:gdLst>
              <a:gd name="connsiteX0" fmla="*/ 2305336 w 6124670"/>
              <a:gd name="connsiteY0" fmla="*/ 651766 h 1413343"/>
              <a:gd name="connsiteX1" fmla="*/ 2176082 w 6124670"/>
              <a:gd name="connsiteY1" fmla="*/ 694862 h 1413343"/>
              <a:gd name="connsiteX2" fmla="*/ 2099882 w 6124670"/>
              <a:gd name="connsiteY2" fmla="*/ 711416 h 1413343"/>
              <a:gd name="connsiteX3" fmla="*/ 2013681 w 6124670"/>
              <a:gd name="connsiteY3" fmla="*/ 754512 h 1413343"/>
              <a:gd name="connsiteX4" fmla="*/ 1990440 w 6124670"/>
              <a:gd name="connsiteY4" fmla="*/ 827385 h 1413343"/>
              <a:gd name="connsiteX5" fmla="*/ 2020348 w 6124670"/>
              <a:gd name="connsiteY5" fmla="*/ 906822 h 1413343"/>
              <a:gd name="connsiteX6" fmla="*/ 2106073 w 6124670"/>
              <a:gd name="connsiteY6" fmla="*/ 933269 h 1413343"/>
              <a:gd name="connsiteX7" fmla="*/ 2251900 w 6124670"/>
              <a:gd name="connsiteY7" fmla="*/ 880375 h 1413343"/>
              <a:gd name="connsiteX8" fmla="*/ 2304955 w 6124670"/>
              <a:gd name="connsiteY8" fmla="*/ 734629 h 1413343"/>
              <a:gd name="connsiteX9" fmla="*/ 3393473 w 6124670"/>
              <a:gd name="connsiteY9" fmla="*/ 386722 h 1413343"/>
              <a:gd name="connsiteX10" fmla="*/ 3274315 w 6124670"/>
              <a:gd name="connsiteY10" fmla="*/ 433052 h 1413343"/>
              <a:gd name="connsiteX11" fmla="*/ 3224404 w 6124670"/>
              <a:gd name="connsiteY11" fmla="*/ 565479 h 1413343"/>
              <a:gd name="connsiteX12" fmla="*/ 3562637 w 6124670"/>
              <a:gd name="connsiteY12" fmla="*/ 565479 h 1413343"/>
              <a:gd name="connsiteX13" fmla="*/ 3516155 w 6124670"/>
              <a:gd name="connsiteY13" fmla="*/ 433052 h 1413343"/>
              <a:gd name="connsiteX14" fmla="*/ 3393473 w 6124670"/>
              <a:gd name="connsiteY14" fmla="*/ 386722 h 1413343"/>
              <a:gd name="connsiteX15" fmla="*/ 4552474 w 6124670"/>
              <a:gd name="connsiteY15" fmla="*/ 214433 h 1413343"/>
              <a:gd name="connsiteX16" fmla="*/ 4807839 w 6124670"/>
              <a:gd name="connsiteY16" fmla="*/ 214433 h 1413343"/>
              <a:gd name="connsiteX17" fmla="*/ 4986910 w 6124670"/>
              <a:gd name="connsiteY17" fmla="*/ 837089 h 1413343"/>
              <a:gd name="connsiteX18" fmla="*/ 5142739 w 6124670"/>
              <a:gd name="connsiteY18" fmla="*/ 293966 h 1413343"/>
              <a:gd name="connsiteX19" fmla="*/ 5248847 w 6124670"/>
              <a:gd name="connsiteY19" fmla="*/ 214433 h 1413343"/>
              <a:gd name="connsiteX20" fmla="*/ 5407914 w 6124670"/>
              <a:gd name="connsiteY20" fmla="*/ 214433 h 1413343"/>
              <a:gd name="connsiteX21" fmla="*/ 5069681 w 6124670"/>
              <a:gd name="connsiteY21" fmla="*/ 1217912 h 1413343"/>
              <a:gd name="connsiteX22" fmla="*/ 4970146 w 6124670"/>
              <a:gd name="connsiteY22" fmla="*/ 1373552 h 1413343"/>
              <a:gd name="connsiteX23" fmla="*/ 4774597 w 6124670"/>
              <a:gd name="connsiteY23" fmla="*/ 1413318 h 1413343"/>
              <a:gd name="connsiteX24" fmla="*/ 4751737 w 6124670"/>
              <a:gd name="connsiteY24" fmla="*/ 1413318 h 1413343"/>
              <a:gd name="connsiteX25" fmla="*/ 4677918 w 6124670"/>
              <a:gd name="connsiteY25" fmla="*/ 1412558 h 1413343"/>
              <a:gd name="connsiteX26" fmla="*/ 4677918 w 6124670"/>
              <a:gd name="connsiteY26" fmla="*/ 1224572 h 1413343"/>
              <a:gd name="connsiteX27" fmla="*/ 4741164 w 6124670"/>
              <a:gd name="connsiteY27" fmla="*/ 1224572 h 1413343"/>
              <a:gd name="connsiteX28" fmla="*/ 4845939 w 6124670"/>
              <a:gd name="connsiteY28" fmla="*/ 1193082 h 1413343"/>
              <a:gd name="connsiteX29" fmla="*/ 4860893 w 6124670"/>
              <a:gd name="connsiteY29" fmla="*/ 1092050 h 1413343"/>
              <a:gd name="connsiteX30" fmla="*/ 1721739 w 6124670"/>
              <a:gd name="connsiteY30" fmla="*/ 214433 h 1413343"/>
              <a:gd name="connsiteX31" fmla="*/ 1754982 w 6124670"/>
              <a:gd name="connsiteY31" fmla="*/ 214433 h 1413343"/>
              <a:gd name="connsiteX32" fmla="*/ 1754982 w 6124670"/>
              <a:gd name="connsiteY32" fmla="*/ 449605 h 1413343"/>
              <a:gd name="connsiteX33" fmla="*/ 1678782 w 6124670"/>
              <a:gd name="connsiteY33" fmla="*/ 449605 h 1413343"/>
              <a:gd name="connsiteX34" fmla="*/ 1535907 w 6124670"/>
              <a:gd name="connsiteY34" fmla="*/ 495936 h 1413343"/>
              <a:gd name="connsiteX35" fmla="*/ 1489520 w 6124670"/>
              <a:gd name="connsiteY35" fmla="*/ 641682 h 1413343"/>
              <a:gd name="connsiteX36" fmla="*/ 1489520 w 6124670"/>
              <a:gd name="connsiteY36" fmla="*/ 1095379 h 1413343"/>
              <a:gd name="connsiteX37" fmla="*/ 1257205 w 6124670"/>
              <a:gd name="connsiteY37" fmla="*/ 1095379 h 1413343"/>
              <a:gd name="connsiteX38" fmla="*/ 1257205 w 6124670"/>
              <a:gd name="connsiteY38" fmla="*/ 668225 h 1413343"/>
              <a:gd name="connsiteX39" fmla="*/ 1295305 w 6124670"/>
              <a:gd name="connsiteY39" fmla="*/ 451223 h 1413343"/>
              <a:gd name="connsiteX40" fmla="*/ 1400080 w 6124670"/>
              <a:gd name="connsiteY40" fmla="*/ 310519 h 1413343"/>
              <a:gd name="connsiteX41" fmla="*/ 1547622 w 6124670"/>
              <a:gd name="connsiteY41" fmla="*/ 237646 h 1413343"/>
              <a:gd name="connsiteX42" fmla="*/ 1721739 w 6124670"/>
              <a:gd name="connsiteY42" fmla="*/ 214433 h 1413343"/>
              <a:gd name="connsiteX43" fmla="*/ 5716715 w 6124670"/>
              <a:gd name="connsiteY43" fmla="*/ 194645 h 1413343"/>
              <a:gd name="connsiteX44" fmla="*/ 5991892 w 6124670"/>
              <a:gd name="connsiteY44" fmla="*/ 270753 h 1413343"/>
              <a:gd name="connsiteX45" fmla="*/ 6094762 w 6124670"/>
              <a:gd name="connsiteY45" fmla="*/ 486042 h 1413343"/>
              <a:gd name="connsiteX46" fmla="*/ 5951887 w 6124670"/>
              <a:gd name="connsiteY46" fmla="*/ 486042 h 1413343"/>
              <a:gd name="connsiteX47" fmla="*/ 5855684 w 6124670"/>
              <a:gd name="connsiteY47" fmla="*/ 429722 h 1413343"/>
              <a:gd name="connsiteX48" fmla="*/ 5829205 w 6124670"/>
              <a:gd name="connsiteY48" fmla="*/ 403275 h 1413343"/>
              <a:gd name="connsiteX49" fmla="*/ 5719762 w 6124670"/>
              <a:gd name="connsiteY49" fmla="*/ 373403 h 1413343"/>
              <a:gd name="connsiteX50" fmla="*/ 5620322 w 6124670"/>
              <a:gd name="connsiteY50" fmla="*/ 393286 h 1413343"/>
              <a:gd name="connsiteX51" fmla="*/ 5590413 w 6124670"/>
              <a:gd name="connsiteY51" fmla="*/ 452935 h 1413343"/>
              <a:gd name="connsiteX52" fmla="*/ 5762816 w 6124670"/>
              <a:gd name="connsiteY52" fmla="*/ 542362 h 1413343"/>
              <a:gd name="connsiteX53" fmla="*/ 5797678 w 6124670"/>
              <a:gd name="connsiteY53" fmla="*/ 551875 h 1413343"/>
              <a:gd name="connsiteX54" fmla="*/ 5826253 w 6124670"/>
              <a:gd name="connsiteY54" fmla="*/ 555205 h 1413343"/>
              <a:gd name="connsiteX55" fmla="*/ 6061615 w 6124670"/>
              <a:gd name="connsiteY55" fmla="*/ 654525 h 1413343"/>
              <a:gd name="connsiteX56" fmla="*/ 6124670 w 6124670"/>
              <a:gd name="connsiteY56" fmla="*/ 813495 h 1413343"/>
              <a:gd name="connsiteX57" fmla="*/ 6018562 w 6124670"/>
              <a:gd name="connsiteY57" fmla="*/ 1038679 h 1413343"/>
              <a:gd name="connsiteX58" fmla="*/ 5720144 w 6124670"/>
              <a:gd name="connsiteY58" fmla="*/ 1111552 h 1413343"/>
              <a:gd name="connsiteX59" fmla="*/ 5438298 w 6124670"/>
              <a:gd name="connsiteY59" fmla="*/ 1035444 h 1413343"/>
              <a:gd name="connsiteX60" fmla="*/ 5342096 w 6124670"/>
              <a:gd name="connsiteY60" fmla="*/ 813495 h 1413343"/>
              <a:gd name="connsiteX61" fmla="*/ 5342287 w 6124670"/>
              <a:gd name="connsiteY61" fmla="*/ 803982 h 1413343"/>
              <a:gd name="connsiteX62" fmla="*/ 5567839 w 6124670"/>
              <a:gd name="connsiteY62" fmla="*/ 803982 h 1413343"/>
              <a:gd name="connsiteX63" fmla="*/ 5617559 w 6124670"/>
              <a:gd name="connsiteY63" fmla="*/ 903302 h 1413343"/>
              <a:gd name="connsiteX64" fmla="*/ 5750148 w 6124670"/>
              <a:gd name="connsiteY64" fmla="*/ 936409 h 1413343"/>
              <a:gd name="connsiteX65" fmla="*/ 5852922 w 6124670"/>
              <a:gd name="connsiteY65" fmla="*/ 913196 h 1413343"/>
              <a:gd name="connsiteX66" fmla="*/ 5892737 w 6124670"/>
              <a:gd name="connsiteY66" fmla="*/ 850312 h 1413343"/>
              <a:gd name="connsiteX67" fmla="*/ 5753481 w 6124670"/>
              <a:gd name="connsiteY67" fmla="*/ 760886 h 1413343"/>
              <a:gd name="connsiteX68" fmla="*/ 5663946 w 6124670"/>
              <a:gd name="connsiteY68" fmla="*/ 741003 h 1413343"/>
              <a:gd name="connsiteX69" fmla="*/ 5428584 w 6124670"/>
              <a:gd name="connsiteY69" fmla="*/ 638352 h 1413343"/>
              <a:gd name="connsiteX70" fmla="*/ 5361909 w 6124670"/>
              <a:gd name="connsiteY70" fmla="*/ 479383 h 1413343"/>
              <a:gd name="connsiteX71" fmla="*/ 5458111 w 6124670"/>
              <a:gd name="connsiteY71" fmla="*/ 270753 h 1413343"/>
              <a:gd name="connsiteX72" fmla="*/ 5716715 w 6124670"/>
              <a:gd name="connsiteY72" fmla="*/ 194645 h 1413343"/>
              <a:gd name="connsiteX73" fmla="*/ 4192239 w 6124670"/>
              <a:gd name="connsiteY73" fmla="*/ 194645 h 1413343"/>
              <a:gd name="connsiteX74" fmla="*/ 4467416 w 6124670"/>
              <a:gd name="connsiteY74" fmla="*/ 270753 h 1413343"/>
              <a:gd name="connsiteX75" fmla="*/ 4570190 w 6124670"/>
              <a:gd name="connsiteY75" fmla="*/ 486042 h 1413343"/>
              <a:gd name="connsiteX76" fmla="*/ 4427315 w 6124670"/>
              <a:gd name="connsiteY76" fmla="*/ 486042 h 1413343"/>
              <a:gd name="connsiteX77" fmla="*/ 4331589 w 6124670"/>
              <a:gd name="connsiteY77" fmla="*/ 429722 h 1413343"/>
              <a:gd name="connsiteX78" fmla="*/ 4305015 w 6124670"/>
              <a:gd name="connsiteY78" fmla="*/ 403275 h 1413343"/>
              <a:gd name="connsiteX79" fmla="*/ 4195667 w 6124670"/>
              <a:gd name="connsiteY79" fmla="*/ 373403 h 1413343"/>
              <a:gd name="connsiteX80" fmla="*/ 4096132 w 6124670"/>
              <a:gd name="connsiteY80" fmla="*/ 393286 h 1413343"/>
              <a:gd name="connsiteX81" fmla="*/ 4066318 w 6124670"/>
              <a:gd name="connsiteY81" fmla="*/ 452935 h 1413343"/>
              <a:gd name="connsiteX82" fmla="*/ 4238721 w 6124670"/>
              <a:gd name="connsiteY82" fmla="*/ 542362 h 1413343"/>
              <a:gd name="connsiteX83" fmla="*/ 4273582 w 6124670"/>
              <a:gd name="connsiteY83" fmla="*/ 551875 h 1413343"/>
              <a:gd name="connsiteX84" fmla="*/ 4301681 w 6124670"/>
              <a:gd name="connsiteY84" fmla="*/ 555205 h 1413343"/>
              <a:gd name="connsiteX85" fmla="*/ 4537139 w 6124670"/>
              <a:gd name="connsiteY85" fmla="*/ 654525 h 1413343"/>
              <a:gd name="connsiteX86" fmla="*/ 4600099 w 6124670"/>
              <a:gd name="connsiteY86" fmla="*/ 813495 h 1413343"/>
              <a:gd name="connsiteX87" fmla="*/ 4494086 w 6124670"/>
              <a:gd name="connsiteY87" fmla="*/ 1038679 h 1413343"/>
              <a:gd name="connsiteX88" fmla="*/ 4195667 w 6124670"/>
              <a:gd name="connsiteY88" fmla="*/ 1111552 h 1413343"/>
              <a:gd name="connsiteX89" fmla="*/ 3913823 w 6124670"/>
              <a:gd name="connsiteY89" fmla="*/ 1035444 h 1413343"/>
              <a:gd name="connsiteX90" fmla="*/ 3817620 w 6124670"/>
              <a:gd name="connsiteY90" fmla="*/ 813495 h 1413343"/>
              <a:gd name="connsiteX91" fmla="*/ 3817906 w 6124670"/>
              <a:gd name="connsiteY91" fmla="*/ 803982 h 1413343"/>
              <a:gd name="connsiteX92" fmla="*/ 4043363 w 6124670"/>
              <a:gd name="connsiteY92" fmla="*/ 803982 h 1413343"/>
              <a:gd name="connsiteX93" fmla="*/ 4093084 w 6124670"/>
              <a:gd name="connsiteY93" fmla="*/ 903302 h 1413343"/>
              <a:gd name="connsiteX94" fmla="*/ 4225767 w 6124670"/>
              <a:gd name="connsiteY94" fmla="*/ 936409 h 1413343"/>
              <a:gd name="connsiteX95" fmla="*/ 4328541 w 6124670"/>
              <a:gd name="connsiteY95" fmla="*/ 913196 h 1413343"/>
              <a:gd name="connsiteX96" fmla="*/ 4368356 w 6124670"/>
              <a:gd name="connsiteY96" fmla="*/ 850312 h 1413343"/>
              <a:gd name="connsiteX97" fmla="*/ 4229100 w 6124670"/>
              <a:gd name="connsiteY97" fmla="*/ 760886 h 1413343"/>
              <a:gd name="connsiteX98" fmla="*/ 4139566 w 6124670"/>
              <a:gd name="connsiteY98" fmla="*/ 741003 h 1413343"/>
              <a:gd name="connsiteX99" fmla="*/ 3904107 w 6124670"/>
              <a:gd name="connsiteY99" fmla="*/ 638352 h 1413343"/>
              <a:gd name="connsiteX100" fmla="*/ 3837432 w 6124670"/>
              <a:gd name="connsiteY100" fmla="*/ 479383 h 1413343"/>
              <a:gd name="connsiteX101" fmla="*/ 3933540 w 6124670"/>
              <a:gd name="connsiteY101" fmla="*/ 270753 h 1413343"/>
              <a:gd name="connsiteX102" fmla="*/ 4192239 w 6124670"/>
              <a:gd name="connsiteY102" fmla="*/ 194645 h 1413343"/>
              <a:gd name="connsiteX103" fmla="*/ 3386901 w 6124670"/>
              <a:gd name="connsiteY103" fmla="*/ 194645 h 1413343"/>
              <a:gd name="connsiteX104" fmla="*/ 3695225 w 6124670"/>
              <a:gd name="connsiteY104" fmla="*/ 313849 h 1413343"/>
              <a:gd name="connsiteX105" fmla="*/ 3801333 w 6124670"/>
              <a:gd name="connsiteY105" fmla="*/ 654906 h 1413343"/>
              <a:gd name="connsiteX106" fmla="*/ 3801333 w 6124670"/>
              <a:gd name="connsiteY106" fmla="*/ 691342 h 1413343"/>
              <a:gd name="connsiteX107" fmla="*/ 3797999 w 6124670"/>
              <a:gd name="connsiteY107" fmla="*/ 714555 h 1413343"/>
              <a:gd name="connsiteX108" fmla="*/ 3224404 w 6124670"/>
              <a:gd name="connsiteY108" fmla="*/ 714555 h 1413343"/>
              <a:gd name="connsiteX109" fmla="*/ 3274124 w 6124670"/>
              <a:gd name="connsiteY109" fmla="*/ 866771 h 1413343"/>
              <a:gd name="connsiteX110" fmla="*/ 3403474 w 6124670"/>
              <a:gd name="connsiteY110" fmla="*/ 919761 h 1413343"/>
              <a:gd name="connsiteX111" fmla="*/ 3499581 w 6124670"/>
              <a:gd name="connsiteY111" fmla="*/ 896643 h 1413343"/>
              <a:gd name="connsiteX112" fmla="*/ 3517869 w 6124670"/>
              <a:gd name="connsiteY112" fmla="*/ 885036 h 1413343"/>
              <a:gd name="connsiteX113" fmla="*/ 3536062 w 6124670"/>
              <a:gd name="connsiteY113" fmla="*/ 866771 h 1413343"/>
              <a:gd name="connsiteX114" fmla="*/ 3560923 w 6124670"/>
              <a:gd name="connsiteY114" fmla="*/ 840323 h 1413343"/>
              <a:gd name="connsiteX115" fmla="*/ 3622264 w 6124670"/>
              <a:gd name="connsiteY115" fmla="*/ 823865 h 1413343"/>
              <a:gd name="connsiteX116" fmla="*/ 3788094 w 6124670"/>
              <a:gd name="connsiteY116" fmla="*/ 823865 h 1413343"/>
              <a:gd name="connsiteX117" fmla="*/ 3648838 w 6124670"/>
              <a:gd name="connsiteY117" fmla="*/ 1035825 h 1413343"/>
              <a:gd name="connsiteX118" fmla="*/ 3390139 w 6124670"/>
              <a:gd name="connsiteY118" fmla="*/ 1111932 h 1413343"/>
              <a:gd name="connsiteX119" fmla="*/ 3094864 w 6124670"/>
              <a:gd name="connsiteY119" fmla="*/ 989399 h 1413343"/>
              <a:gd name="connsiteX120" fmla="*/ 2988851 w 6124670"/>
              <a:gd name="connsiteY120" fmla="*/ 648342 h 1413343"/>
              <a:gd name="connsiteX121" fmla="*/ 3091626 w 6124670"/>
              <a:gd name="connsiteY121" fmla="*/ 317178 h 1413343"/>
              <a:gd name="connsiteX122" fmla="*/ 3386901 w 6124670"/>
              <a:gd name="connsiteY122" fmla="*/ 194645 h 1413343"/>
              <a:gd name="connsiteX123" fmla="*/ 2146078 w 6124670"/>
              <a:gd name="connsiteY123" fmla="*/ 194645 h 1413343"/>
              <a:gd name="connsiteX124" fmla="*/ 2424684 w 6124670"/>
              <a:gd name="connsiteY124" fmla="*/ 257529 h 1413343"/>
              <a:gd name="connsiteX125" fmla="*/ 2520792 w 6124670"/>
              <a:gd name="connsiteY125" fmla="*/ 442946 h 1413343"/>
              <a:gd name="connsiteX126" fmla="*/ 2520792 w 6124670"/>
              <a:gd name="connsiteY126" fmla="*/ 744332 h 1413343"/>
              <a:gd name="connsiteX127" fmla="*/ 2473167 w 6124670"/>
              <a:gd name="connsiteY127" fmla="*/ 951345 h 1413343"/>
              <a:gd name="connsiteX128" fmla="*/ 2358391 w 6124670"/>
              <a:gd name="connsiteY128" fmla="*/ 1059133 h 1413343"/>
              <a:gd name="connsiteX129" fmla="*/ 2210848 w 6124670"/>
              <a:gd name="connsiteY129" fmla="*/ 1103846 h 1413343"/>
              <a:gd name="connsiteX130" fmla="*/ 2073307 w 6124670"/>
              <a:gd name="connsiteY130" fmla="*/ 1112123 h 1413343"/>
              <a:gd name="connsiteX131" fmla="*/ 1864614 w 6124670"/>
              <a:gd name="connsiteY131" fmla="*/ 1047336 h 1413343"/>
              <a:gd name="connsiteX132" fmla="*/ 1775079 w 6124670"/>
              <a:gd name="connsiteY132" fmla="*/ 833759 h 1413343"/>
              <a:gd name="connsiteX133" fmla="*/ 1856328 w 6124670"/>
              <a:gd name="connsiteY133" fmla="*/ 635023 h 1413343"/>
              <a:gd name="connsiteX134" fmla="*/ 2063496 w 6124670"/>
              <a:gd name="connsiteY134" fmla="*/ 555586 h 1413343"/>
              <a:gd name="connsiteX135" fmla="*/ 2103311 w 6124670"/>
              <a:gd name="connsiteY135" fmla="*/ 550638 h 1413343"/>
              <a:gd name="connsiteX136" fmla="*/ 2156365 w 6124670"/>
              <a:gd name="connsiteY136" fmla="*/ 542362 h 1413343"/>
              <a:gd name="connsiteX137" fmla="*/ 2302288 w 6124670"/>
              <a:gd name="connsiteY137" fmla="*/ 456265 h 1413343"/>
              <a:gd name="connsiteX138" fmla="*/ 2250853 w 6124670"/>
              <a:gd name="connsiteY138" fmla="*/ 391669 h 1413343"/>
              <a:gd name="connsiteX139" fmla="*/ 2156365 w 6124670"/>
              <a:gd name="connsiteY139" fmla="*/ 376732 h 1413343"/>
              <a:gd name="connsiteX140" fmla="*/ 2073497 w 6124670"/>
              <a:gd name="connsiteY140" fmla="*/ 389956 h 1413343"/>
              <a:gd name="connsiteX141" fmla="*/ 2020443 w 6124670"/>
              <a:gd name="connsiteY141" fmla="*/ 439712 h 1413343"/>
              <a:gd name="connsiteX142" fmla="*/ 1797939 w 6124670"/>
              <a:gd name="connsiteY142" fmla="*/ 439712 h 1413343"/>
              <a:gd name="connsiteX143" fmla="*/ 1890808 w 6124670"/>
              <a:gd name="connsiteY143" fmla="*/ 270753 h 1413343"/>
              <a:gd name="connsiteX144" fmla="*/ 2146078 w 6124670"/>
              <a:gd name="connsiteY144" fmla="*/ 194645 h 1413343"/>
              <a:gd name="connsiteX145" fmla="*/ 374523 w 6124670"/>
              <a:gd name="connsiteY145" fmla="*/ 194645 h 1413343"/>
              <a:gd name="connsiteX146" fmla="*/ 649796 w 6124670"/>
              <a:gd name="connsiteY146" fmla="*/ 270753 h 1413343"/>
              <a:gd name="connsiteX147" fmla="*/ 752570 w 6124670"/>
              <a:gd name="connsiteY147" fmla="*/ 486042 h 1413343"/>
              <a:gd name="connsiteX148" fmla="*/ 609695 w 6124670"/>
              <a:gd name="connsiteY148" fmla="*/ 486042 h 1413343"/>
              <a:gd name="connsiteX149" fmla="*/ 513493 w 6124670"/>
              <a:gd name="connsiteY149" fmla="*/ 429722 h 1413343"/>
              <a:gd name="connsiteX150" fmla="*/ 487013 w 6124670"/>
              <a:gd name="connsiteY150" fmla="*/ 403275 h 1413343"/>
              <a:gd name="connsiteX151" fmla="*/ 377571 w 6124670"/>
              <a:gd name="connsiteY151" fmla="*/ 373403 h 1413343"/>
              <a:gd name="connsiteX152" fmla="*/ 278130 w 6124670"/>
              <a:gd name="connsiteY152" fmla="*/ 393286 h 1413343"/>
              <a:gd name="connsiteX153" fmla="*/ 248317 w 6124670"/>
              <a:gd name="connsiteY153" fmla="*/ 452935 h 1413343"/>
              <a:gd name="connsiteX154" fmla="*/ 420719 w 6124670"/>
              <a:gd name="connsiteY154" fmla="*/ 542362 h 1413343"/>
              <a:gd name="connsiteX155" fmla="*/ 455486 w 6124670"/>
              <a:gd name="connsiteY155" fmla="*/ 551875 h 1413343"/>
              <a:gd name="connsiteX156" fmla="*/ 484061 w 6124670"/>
              <a:gd name="connsiteY156" fmla="*/ 555205 h 1413343"/>
              <a:gd name="connsiteX157" fmla="*/ 719519 w 6124670"/>
              <a:gd name="connsiteY157" fmla="*/ 654525 h 1413343"/>
              <a:gd name="connsiteX158" fmla="*/ 782479 w 6124670"/>
              <a:gd name="connsiteY158" fmla="*/ 813495 h 1413343"/>
              <a:gd name="connsiteX159" fmla="*/ 676370 w 6124670"/>
              <a:gd name="connsiteY159" fmla="*/ 1038679 h 1413343"/>
              <a:gd name="connsiteX160" fmla="*/ 377952 w 6124670"/>
              <a:gd name="connsiteY160" fmla="*/ 1111552 h 1413343"/>
              <a:gd name="connsiteX161" fmla="*/ 96108 w 6124670"/>
              <a:gd name="connsiteY161" fmla="*/ 1035444 h 1413343"/>
              <a:gd name="connsiteX162" fmla="*/ 0 w 6124670"/>
              <a:gd name="connsiteY162" fmla="*/ 813495 h 1413343"/>
              <a:gd name="connsiteX163" fmla="*/ 286 w 6124670"/>
              <a:gd name="connsiteY163" fmla="*/ 803982 h 1413343"/>
              <a:gd name="connsiteX164" fmla="*/ 225743 w 6124670"/>
              <a:gd name="connsiteY164" fmla="*/ 803982 h 1413343"/>
              <a:gd name="connsiteX165" fmla="*/ 275463 w 6124670"/>
              <a:gd name="connsiteY165" fmla="*/ 903302 h 1413343"/>
              <a:gd name="connsiteX166" fmla="*/ 408051 w 6124670"/>
              <a:gd name="connsiteY166" fmla="*/ 936409 h 1413343"/>
              <a:gd name="connsiteX167" fmla="*/ 510921 w 6124670"/>
              <a:gd name="connsiteY167" fmla="*/ 913196 h 1413343"/>
              <a:gd name="connsiteX168" fmla="*/ 550640 w 6124670"/>
              <a:gd name="connsiteY168" fmla="*/ 850312 h 1413343"/>
              <a:gd name="connsiteX169" fmla="*/ 411385 w 6124670"/>
              <a:gd name="connsiteY169" fmla="*/ 760886 h 1413343"/>
              <a:gd name="connsiteX170" fmla="*/ 321850 w 6124670"/>
              <a:gd name="connsiteY170" fmla="*/ 741003 h 1413343"/>
              <a:gd name="connsiteX171" fmla="*/ 86487 w 6124670"/>
              <a:gd name="connsiteY171" fmla="*/ 638352 h 1413343"/>
              <a:gd name="connsiteX172" fmla="*/ 19812 w 6124670"/>
              <a:gd name="connsiteY172" fmla="*/ 479383 h 1413343"/>
              <a:gd name="connsiteX173" fmla="*/ 115919 w 6124670"/>
              <a:gd name="connsiteY173" fmla="*/ 270753 h 1413343"/>
              <a:gd name="connsiteX174" fmla="*/ 374523 w 6124670"/>
              <a:gd name="connsiteY174" fmla="*/ 194645 h 1413343"/>
              <a:gd name="connsiteX175" fmla="*/ 2575750 w 6124670"/>
              <a:gd name="connsiteY175" fmla="*/ 0 h 1413343"/>
              <a:gd name="connsiteX176" fmla="*/ 2799779 w 6124670"/>
              <a:gd name="connsiteY176" fmla="*/ 0 h 1413343"/>
              <a:gd name="connsiteX177" fmla="*/ 2799779 w 6124670"/>
              <a:gd name="connsiteY177" fmla="*/ 221949 h 1413343"/>
              <a:gd name="connsiteX178" fmla="*/ 2958084 w 6124670"/>
              <a:gd name="connsiteY178" fmla="*/ 221949 h 1413343"/>
              <a:gd name="connsiteX179" fmla="*/ 2958084 w 6124670"/>
              <a:gd name="connsiteY179" fmla="*/ 420399 h 1413343"/>
              <a:gd name="connsiteX180" fmla="*/ 2800159 w 6124670"/>
              <a:gd name="connsiteY180" fmla="*/ 420399 h 1413343"/>
              <a:gd name="connsiteX181" fmla="*/ 2800159 w 6124670"/>
              <a:gd name="connsiteY181" fmla="*/ 728921 h 1413343"/>
              <a:gd name="connsiteX182" fmla="*/ 2841784 w 6124670"/>
              <a:gd name="connsiteY182" fmla="*/ 857828 h 1413343"/>
              <a:gd name="connsiteX183" fmla="*/ 2968276 w 6124670"/>
              <a:gd name="connsiteY183" fmla="*/ 889984 h 1413343"/>
              <a:gd name="connsiteX184" fmla="*/ 2968276 w 6124670"/>
              <a:gd name="connsiteY184" fmla="*/ 1093667 h 1413343"/>
              <a:gd name="connsiteX185" fmla="*/ 2798064 w 6124670"/>
              <a:gd name="connsiteY185" fmla="*/ 1081870 h 1413343"/>
              <a:gd name="connsiteX186" fmla="*/ 2675858 w 6124670"/>
              <a:gd name="connsiteY186" fmla="*/ 1010614 h 1413343"/>
              <a:gd name="connsiteX187" fmla="*/ 2601183 w 6124670"/>
              <a:gd name="connsiteY187" fmla="*/ 889413 h 1413343"/>
              <a:gd name="connsiteX188" fmla="*/ 2575750 w 6124670"/>
              <a:gd name="connsiteY188" fmla="*/ 727684 h 1413343"/>
              <a:gd name="connsiteX189" fmla="*/ 824770 w 6124670"/>
              <a:gd name="connsiteY189" fmla="*/ 0 h 1413343"/>
              <a:gd name="connsiteX190" fmla="*/ 1048893 w 6124670"/>
              <a:gd name="connsiteY190" fmla="*/ 0 h 1413343"/>
              <a:gd name="connsiteX191" fmla="*/ 1048893 w 6124670"/>
              <a:gd name="connsiteY191" fmla="*/ 221949 h 1413343"/>
              <a:gd name="connsiteX192" fmla="*/ 1206723 w 6124670"/>
              <a:gd name="connsiteY192" fmla="*/ 221949 h 1413343"/>
              <a:gd name="connsiteX193" fmla="*/ 1206723 w 6124670"/>
              <a:gd name="connsiteY193" fmla="*/ 420399 h 1413343"/>
              <a:gd name="connsiteX194" fmla="*/ 1048417 w 6124670"/>
              <a:gd name="connsiteY194" fmla="*/ 420399 h 1413343"/>
              <a:gd name="connsiteX195" fmla="*/ 1048417 w 6124670"/>
              <a:gd name="connsiteY195" fmla="*/ 728921 h 1413343"/>
              <a:gd name="connsiteX196" fmla="*/ 1089946 w 6124670"/>
              <a:gd name="connsiteY196" fmla="*/ 857828 h 1413343"/>
              <a:gd name="connsiteX197" fmla="*/ 1216915 w 6124670"/>
              <a:gd name="connsiteY197" fmla="*/ 890174 h 1413343"/>
              <a:gd name="connsiteX198" fmla="*/ 1216915 w 6124670"/>
              <a:gd name="connsiteY198" fmla="*/ 1093667 h 1413343"/>
              <a:gd name="connsiteX199" fmla="*/ 1047179 w 6124670"/>
              <a:gd name="connsiteY199" fmla="*/ 1081870 h 1413343"/>
              <a:gd name="connsiteX200" fmla="*/ 924973 w 6124670"/>
              <a:gd name="connsiteY200" fmla="*/ 1010614 h 1413343"/>
              <a:gd name="connsiteX201" fmla="*/ 850202 w 6124670"/>
              <a:gd name="connsiteY201" fmla="*/ 889413 h 1413343"/>
              <a:gd name="connsiteX202" fmla="*/ 824770 w 6124670"/>
              <a:gd name="connsiteY202" fmla="*/ 727684 h 1413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6124670" h="1413343">
                <a:moveTo>
                  <a:pt x="2305336" y="651766"/>
                </a:moveTo>
                <a:cubicBezTo>
                  <a:pt x="2263969" y="670831"/>
                  <a:pt x="2220620" y="685282"/>
                  <a:pt x="2176082" y="694862"/>
                </a:cubicBezTo>
                <a:lnTo>
                  <a:pt x="2099882" y="711416"/>
                </a:lnTo>
                <a:cubicBezTo>
                  <a:pt x="2060067" y="722547"/>
                  <a:pt x="2031397" y="736817"/>
                  <a:pt x="2013681" y="754512"/>
                </a:cubicBezTo>
                <a:cubicBezTo>
                  <a:pt x="1999060" y="776060"/>
                  <a:pt x="1990992" y="801366"/>
                  <a:pt x="1990440" y="827385"/>
                </a:cubicBezTo>
                <a:cubicBezTo>
                  <a:pt x="1989058" y="856848"/>
                  <a:pt x="1999869" y="885569"/>
                  <a:pt x="2020348" y="906822"/>
                </a:cubicBezTo>
                <a:cubicBezTo>
                  <a:pt x="2040255" y="924517"/>
                  <a:pt x="2068926" y="933269"/>
                  <a:pt x="2106073" y="933269"/>
                </a:cubicBezTo>
                <a:cubicBezTo>
                  <a:pt x="2167919" y="933269"/>
                  <a:pt x="2216535" y="915641"/>
                  <a:pt x="2251900" y="880375"/>
                </a:cubicBezTo>
                <a:cubicBezTo>
                  <a:pt x="2287267" y="845108"/>
                  <a:pt x="2304955" y="796533"/>
                  <a:pt x="2304955" y="734629"/>
                </a:cubicBezTo>
                <a:close/>
                <a:moveTo>
                  <a:pt x="3393473" y="386722"/>
                </a:moveTo>
                <a:cubicBezTo>
                  <a:pt x="3349077" y="385180"/>
                  <a:pt x="3305986" y="401934"/>
                  <a:pt x="3274315" y="433052"/>
                </a:cubicBezTo>
                <a:cubicBezTo>
                  <a:pt x="3243263" y="463999"/>
                  <a:pt x="3226623" y="508142"/>
                  <a:pt x="3224404" y="565479"/>
                </a:cubicBezTo>
                <a:lnTo>
                  <a:pt x="3562637" y="565479"/>
                </a:lnTo>
                <a:cubicBezTo>
                  <a:pt x="3558131" y="505925"/>
                  <a:pt x="3542634" y="461783"/>
                  <a:pt x="3516155" y="433052"/>
                </a:cubicBezTo>
                <a:cubicBezTo>
                  <a:pt x="3487513" y="402162"/>
                  <a:pt x="3446622" y="386722"/>
                  <a:pt x="3393473" y="386722"/>
                </a:cubicBezTo>
                <a:close/>
                <a:moveTo>
                  <a:pt x="4552474" y="214433"/>
                </a:moveTo>
                <a:lnTo>
                  <a:pt x="4807839" y="214433"/>
                </a:lnTo>
                <a:lnTo>
                  <a:pt x="4986910" y="837089"/>
                </a:lnTo>
                <a:lnTo>
                  <a:pt x="5142739" y="293966"/>
                </a:lnTo>
                <a:cubicBezTo>
                  <a:pt x="5155978" y="241004"/>
                  <a:pt x="5191411" y="214500"/>
                  <a:pt x="5248847" y="214433"/>
                </a:cubicBezTo>
                <a:lnTo>
                  <a:pt x="5407914" y="214433"/>
                </a:lnTo>
                <a:lnTo>
                  <a:pt x="5069681" y="1217912"/>
                </a:lnTo>
                <a:cubicBezTo>
                  <a:pt x="5043106" y="1290785"/>
                  <a:pt x="5009959" y="1342662"/>
                  <a:pt x="4970146" y="1373552"/>
                </a:cubicBezTo>
                <a:cubicBezTo>
                  <a:pt x="4930426" y="1400124"/>
                  <a:pt x="4865180" y="1413385"/>
                  <a:pt x="4774597" y="1413318"/>
                </a:cubicBezTo>
                <a:lnTo>
                  <a:pt x="4751737" y="1413318"/>
                </a:lnTo>
                <a:cubicBezTo>
                  <a:pt x="4742403" y="1413509"/>
                  <a:pt x="4684586" y="1412558"/>
                  <a:pt x="4677918" y="1412558"/>
                </a:cubicBezTo>
                <a:lnTo>
                  <a:pt x="4677918" y="1224572"/>
                </a:lnTo>
                <a:lnTo>
                  <a:pt x="4741164" y="1224572"/>
                </a:lnTo>
                <a:cubicBezTo>
                  <a:pt x="4785646" y="1224572"/>
                  <a:pt x="4820507" y="1214078"/>
                  <a:pt x="4845939" y="1193082"/>
                </a:cubicBezTo>
                <a:cubicBezTo>
                  <a:pt x="4871371" y="1172057"/>
                  <a:pt x="4876323" y="1138475"/>
                  <a:pt x="4860893" y="1092050"/>
                </a:cubicBezTo>
                <a:close/>
                <a:moveTo>
                  <a:pt x="1721739" y="214433"/>
                </a:moveTo>
                <a:lnTo>
                  <a:pt x="1754982" y="214433"/>
                </a:lnTo>
                <a:lnTo>
                  <a:pt x="1754982" y="449605"/>
                </a:lnTo>
                <a:lnTo>
                  <a:pt x="1678782" y="449605"/>
                </a:lnTo>
                <a:cubicBezTo>
                  <a:pt x="1614583" y="449605"/>
                  <a:pt x="1566958" y="465046"/>
                  <a:pt x="1535907" y="495936"/>
                </a:cubicBezTo>
                <a:cubicBezTo>
                  <a:pt x="1504855" y="526826"/>
                  <a:pt x="1489396" y="575402"/>
                  <a:pt x="1489520" y="641682"/>
                </a:cubicBezTo>
                <a:lnTo>
                  <a:pt x="1489520" y="1095379"/>
                </a:lnTo>
                <a:lnTo>
                  <a:pt x="1257205" y="1095379"/>
                </a:lnTo>
                <a:lnTo>
                  <a:pt x="1257205" y="668225"/>
                </a:lnTo>
                <a:cubicBezTo>
                  <a:pt x="1257205" y="582033"/>
                  <a:pt x="1269902" y="509702"/>
                  <a:pt x="1295305" y="451223"/>
                </a:cubicBezTo>
                <a:cubicBezTo>
                  <a:pt x="1318051" y="396397"/>
                  <a:pt x="1354046" y="348049"/>
                  <a:pt x="1400080" y="310519"/>
                </a:cubicBezTo>
                <a:cubicBezTo>
                  <a:pt x="1443829" y="276527"/>
                  <a:pt x="1494016" y="251735"/>
                  <a:pt x="1547622" y="237646"/>
                </a:cubicBezTo>
                <a:cubicBezTo>
                  <a:pt x="1604354" y="222148"/>
                  <a:pt x="1662923" y="214347"/>
                  <a:pt x="1721739" y="214433"/>
                </a:cubicBezTo>
                <a:close/>
                <a:moveTo>
                  <a:pt x="5716715" y="194645"/>
                </a:moveTo>
                <a:cubicBezTo>
                  <a:pt x="5831586" y="194645"/>
                  <a:pt x="5923312" y="220017"/>
                  <a:pt x="5991892" y="270753"/>
                </a:cubicBezTo>
                <a:cubicBezTo>
                  <a:pt x="6055995" y="326054"/>
                  <a:pt x="6090285" y="397824"/>
                  <a:pt x="6094762" y="486042"/>
                </a:cubicBezTo>
                <a:lnTo>
                  <a:pt x="5951887" y="486042"/>
                </a:lnTo>
                <a:cubicBezTo>
                  <a:pt x="5911691" y="487127"/>
                  <a:pt x="5874353" y="465284"/>
                  <a:pt x="5855684" y="429722"/>
                </a:cubicBezTo>
                <a:lnTo>
                  <a:pt x="5829205" y="403275"/>
                </a:lnTo>
                <a:cubicBezTo>
                  <a:pt x="5802630" y="383420"/>
                  <a:pt x="5766149" y="373469"/>
                  <a:pt x="5719762" y="373403"/>
                </a:cubicBezTo>
                <a:cubicBezTo>
                  <a:pt x="5675280" y="373403"/>
                  <a:pt x="5642134" y="380034"/>
                  <a:pt x="5620322" y="393286"/>
                </a:cubicBezTo>
                <a:cubicBezTo>
                  <a:pt x="5600414" y="406386"/>
                  <a:pt x="5588984" y="429142"/>
                  <a:pt x="5590413" y="452935"/>
                </a:cubicBezTo>
                <a:cubicBezTo>
                  <a:pt x="5590413" y="488259"/>
                  <a:pt x="5647848" y="518074"/>
                  <a:pt x="5762816" y="542362"/>
                </a:cubicBezTo>
                <a:cubicBezTo>
                  <a:pt x="5774245" y="546148"/>
                  <a:pt x="5785867" y="549325"/>
                  <a:pt x="5797678" y="551875"/>
                </a:cubicBezTo>
                <a:cubicBezTo>
                  <a:pt x="5807012" y="554073"/>
                  <a:pt x="5816632" y="555195"/>
                  <a:pt x="5826253" y="555205"/>
                </a:cubicBezTo>
                <a:cubicBezTo>
                  <a:pt x="5938933" y="583935"/>
                  <a:pt x="6017323" y="617042"/>
                  <a:pt x="6061615" y="654525"/>
                </a:cubicBezTo>
                <a:cubicBezTo>
                  <a:pt x="6103620" y="694292"/>
                  <a:pt x="6124575" y="747282"/>
                  <a:pt x="6124670" y="813495"/>
                </a:cubicBezTo>
                <a:cubicBezTo>
                  <a:pt x="6124670" y="910723"/>
                  <a:pt x="6089333" y="985784"/>
                  <a:pt x="6018562" y="1038679"/>
                </a:cubicBezTo>
                <a:cubicBezTo>
                  <a:pt x="5952268" y="1087321"/>
                  <a:pt x="5852826" y="1111619"/>
                  <a:pt x="5720144" y="1111552"/>
                </a:cubicBezTo>
                <a:cubicBezTo>
                  <a:pt x="5594128" y="1111552"/>
                  <a:pt x="5500117" y="1086180"/>
                  <a:pt x="5438298" y="1035444"/>
                </a:cubicBezTo>
                <a:cubicBezTo>
                  <a:pt x="5374195" y="984709"/>
                  <a:pt x="5342096" y="910723"/>
                  <a:pt x="5342096" y="813495"/>
                </a:cubicBezTo>
                <a:lnTo>
                  <a:pt x="5342287" y="803982"/>
                </a:lnTo>
                <a:lnTo>
                  <a:pt x="5567839" y="803982"/>
                </a:lnTo>
                <a:cubicBezTo>
                  <a:pt x="5569934" y="848124"/>
                  <a:pt x="5586889" y="881326"/>
                  <a:pt x="5617559" y="903302"/>
                </a:cubicBezTo>
                <a:cubicBezTo>
                  <a:pt x="5650706" y="925469"/>
                  <a:pt x="5694902" y="936409"/>
                  <a:pt x="5750148" y="936409"/>
                </a:cubicBezTo>
                <a:cubicBezTo>
                  <a:pt x="5785771" y="937379"/>
                  <a:pt x="5821109" y="929398"/>
                  <a:pt x="5852922" y="913196"/>
                </a:cubicBezTo>
                <a:cubicBezTo>
                  <a:pt x="5879497" y="897784"/>
                  <a:pt x="5892737" y="876826"/>
                  <a:pt x="5892737" y="850312"/>
                </a:cubicBezTo>
                <a:cubicBezTo>
                  <a:pt x="5892737" y="810546"/>
                  <a:pt x="5846350" y="780740"/>
                  <a:pt x="5753481" y="760886"/>
                </a:cubicBezTo>
                <a:cubicBezTo>
                  <a:pt x="5723191" y="756472"/>
                  <a:pt x="5693283" y="749831"/>
                  <a:pt x="5663946" y="741003"/>
                </a:cubicBezTo>
                <a:cubicBezTo>
                  <a:pt x="5546788" y="712396"/>
                  <a:pt x="5468302" y="678185"/>
                  <a:pt x="5428584" y="638352"/>
                </a:cubicBezTo>
                <a:cubicBezTo>
                  <a:pt x="5384102" y="598710"/>
                  <a:pt x="5361909" y="545720"/>
                  <a:pt x="5361909" y="479383"/>
                </a:cubicBezTo>
                <a:cubicBezTo>
                  <a:pt x="5360384" y="398813"/>
                  <a:pt x="5395817" y="321964"/>
                  <a:pt x="5458111" y="270753"/>
                </a:cubicBezTo>
                <a:cubicBezTo>
                  <a:pt x="5524405" y="220017"/>
                  <a:pt x="5610606" y="194645"/>
                  <a:pt x="5716715" y="194645"/>
                </a:cubicBezTo>
                <a:close/>
                <a:moveTo>
                  <a:pt x="4192239" y="194645"/>
                </a:moveTo>
                <a:cubicBezTo>
                  <a:pt x="4307110" y="194645"/>
                  <a:pt x="4398836" y="220017"/>
                  <a:pt x="4467416" y="270753"/>
                </a:cubicBezTo>
                <a:cubicBezTo>
                  <a:pt x="4531519" y="326054"/>
                  <a:pt x="4565809" y="397824"/>
                  <a:pt x="4570190" y="486042"/>
                </a:cubicBezTo>
                <a:lnTo>
                  <a:pt x="4427315" y="486042"/>
                </a:lnTo>
                <a:cubicBezTo>
                  <a:pt x="4387244" y="487098"/>
                  <a:pt x="4350087" y="465236"/>
                  <a:pt x="4331589" y="429722"/>
                </a:cubicBezTo>
                <a:lnTo>
                  <a:pt x="4305015" y="403275"/>
                </a:lnTo>
                <a:cubicBezTo>
                  <a:pt x="4278535" y="383420"/>
                  <a:pt x="4242083" y="373469"/>
                  <a:pt x="4195667" y="373403"/>
                </a:cubicBezTo>
                <a:cubicBezTo>
                  <a:pt x="4151214" y="373403"/>
                  <a:pt x="4118039" y="380034"/>
                  <a:pt x="4096132" y="393286"/>
                </a:cubicBezTo>
                <a:cubicBezTo>
                  <a:pt x="4076224" y="406415"/>
                  <a:pt x="4064861" y="429161"/>
                  <a:pt x="4066318" y="452935"/>
                </a:cubicBezTo>
                <a:cubicBezTo>
                  <a:pt x="4066318" y="488259"/>
                  <a:pt x="4123782" y="518074"/>
                  <a:pt x="4238721" y="542362"/>
                </a:cubicBezTo>
                <a:cubicBezTo>
                  <a:pt x="4250160" y="546167"/>
                  <a:pt x="4261799" y="549335"/>
                  <a:pt x="4273582" y="551875"/>
                </a:cubicBezTo>
                <a:cubicBezTo>
                  <a:pt x="4282793" y="554044"/>
                  <a:pt x="4292223" y="555157"/>
                  <a:pt x="4301681" y="555205"/>
                </a:cubicBezTo>
                <a:cubicBezTo>
                  <a:pt x="4414457" y="583935"/>
                  <a:pt x="4492943" y="617042"/>
                  <a:pt x="4537139" y="654525"/>
                </a:cubicBezTo>
                <a:cubicBezTo>
                  <a:pt x="4579144" y="694292"/>
                  <a:pt x="4600099" y="747282"/>
                  <a:pt x="4600099" y="813495"/>
                </a:cubicBezTo>
                <a:cubicBezTo>
                  <a:pt x="4600099" y="910723"/>
                  <a:pt x="4564761" y="985784"/>
                  <a:pt x="4494086" y="1038679"/>
                </a:cubicBezTo>
                <a:cubicBezTo>
                  <a:pt x="4427668" y="1087321"/>
                  <a:pt x="4328189" y="1111619"/>
                  <a:pt x="4195667" y="1111552"/>
                </a:cubicBezTo>
                <a:cubicBezTo>
                  <a:pt x="4069623" y="1111552"/>
                  <a:pt x="3975669" y="1086180"/>
                  <a:pt x="3913823" y="1035444"/>
                </a:cubicBezTo>
                <a:cubicBezTo>
                  <a:pt x="3849625" y="984709"/>
                  <a:pt x="3817554" y="910723"/>
                  <a:pt x="3817620" y="813495"/>
                </a:cubicBezTo>
                <a:lnTo>
                  <a:pt x="3817906" y="803982"/>
                </a:lnTo>
                <a:lnTo>
                  <a:pt x="4043363" y="803982"/>
                </a:lnTo>
                <a:cubicBezTo>
                  <a:pt x="4045553" y="848124"/>
                  <a:pt x="4062413" y="881326"/>
                  <a:pt x="4093084" y="903302"/>
                </a:cubicBezTo>
                <a:cubicBezTo>
                  <a:pt x="4126326" y="925469"/>
                  <a:pt x="4170522" y="936409"/>
                  <a:pt x="4225767" y="936409"/>
                </a:cubicBezTo>
                <a:cubicBezTo>
                  <a:pt x="4261428" y="937379"/>
                  <a:pt x="4296766" y="929398"/>
                  <a:pt x="4328541" y="913196"/>
                </a:cubicBezTo>
                <a:cubicBezTo>
                  <a:pt x="4355021" y="897784"/>
                  <a:pt x="4368356" y="876855"/>
                  <a:pt x="4368356" y="850312"/>
                </a:cubicBezTo>
                <a:cubicBezTo>
                  <a:pt x="4368356" y="810546"/>
                  <a:pt x="4321940" y="780740"/>
                  <a:pt x="4229100" y="760886"/>
                </a:cubicBezTo>
                <a:cubicBezTo>
                  <a:pt x="4198802" y="756472"/>
                  <a:pt x="4168874" y="749831"/>
                  <a:pt x="4139566" y="741003"/>
                </a:cubicBezTo>
                <a:cubicBezTo>
                  <a:pt x="4022284" y="712396"/>
                  <a:pt x="3943798" y="678185"/>
                  <a:pt x="3904107" y="638352"/>
                </a:cubicBezTo>
                <a:cubicBezTo>
                  <a:pt x="3859654" y="598710"/>
                  <a:pt x="3837432" y="545720"/>
                  <a:pt x="3837432" y="479383"/>
                </a:cubicBezTo>
                <a:cubicBezTo>
                  <a:pt x="3835918" y="398832"/>
                  <a:pt x="3871313" y="322011"/>
                  <a:pt x="3933540" y="270753"/>
                </a:cubicBezTo>
                <a:cubicBezTo>
                  <a:pt x="3999957" y="220017"/>
                  <a:pt x="4086197" y="194645"/>
                  <a:pt x="4192239" y="194645"/>
                </a:cubicBezTo>
                <a:close/>
                <a:moveTo>
                  <a:pt x="3386901" y="194645"/>
                </a:moveTo>
                <a:cubicBezTo>
                  <a:pt x="3519488" y="194645"/>
                  <a:pt x="3622264" y="234383"/>
                  <a:pt x="3695225" y="313849"/>
                </a:cubicBezTo>
                <a:cubicBezTo>
                  <a:pt x="3765967" y="395541"/>
                  <a:pt x="3801333" y="509226"/>
                  <a:pt x="3801333" y="654906"/>
                </a:cubicBezTo>
                <a:lnTo>
                  <a:pt x="3801333" y="691342"/>
                </a:lnTo>
                <a:cubicBezTo>
                  <a:pt x="3801838" y="699229"/>
                  <a:pt x="3800704" y="707135"/>
                  <a:pt x="3797999" y="714555"/>
                </a:cubicBezTo>
                <a:lnTo>
                  <a:pt x="3224404" y="714555"/>
                </a:lnTo>
                <a:cubicBezTo>
                  <a:pt x="3226623" y="783052"/>
                  <a:pt x="3243197" y="833787"/>
                  <a:pt x="3274124" y="866771"/>
                </a:cubicBezTo>
                <a:cubicBezTo>
                  <a:pt x="3302766" y="902161"/>
                  <a:pt x="3345876" y="919827"/>
                  <a:pt x="3403474" y="919761"/>
                </a:cubicBezTo>
                <a:cubicBezTo>
                  <a:pt x="3437002" y="920750"/>
                  <a:pt x="3470187" y="912768"/>
                  <a:pt x="3499581" y="896643"/>
                </a:cubicBezTo>
                <a:cubicBezTo>
                  <a:pt x="3506515" y="894274"/>
                  <a:pt x="3512783" y="890297"/>
                  <a:pt x="3517869" y="885036"/>
                </a:cubicBezTo>
                <a:lnTo>
                  <a:pt x="3536062" y="866771"/>
                </a:lnTo>
                <a:cubicBezTo>
                  <a:pt x="3541967" y="855992"/>
                  <a:pt x="3550521" y="846887"/>
                  <a:pt x="3560923" y="840323"/>
                </a:cubicBezTo>
                <a:cubicBezTo>
                  <a:pt x="3579000" y="828250"/>
                  <a:pt x="3600565" y="822466"/>
                  <a:pt x="3622264" y="823865"/>
                </a:cubicBezTo>
                <a:lnTo>
                  <a:pt x="3788094" y="823865"/>
                </a:lnTo>
                <a:cubicBezTo>
                  <a:pt x="3763710" y="916526"/>
                  <a:pt x="3717294" y="987182"/>
                  <a:pt x="3648838" y="1035825"/>
                </a:cubicBezTo>
                <a:cubicBezTo>
                  <a:pt x="3580258" y="1086560"/>
                  <a:pt x="3494028" y="1111932"/>
                  <a:pt x="3390139" y="1111932"/>
                </a:cubicBezTo>
                <a:cubicBezTo>
                  <a:pt x="3264219" y="1111932"/>
                  <a:pt x="3165797" y="1071091"/>
                  <a:pt x="3094864" y="989399"/>
                </a:cubicBezTo>
                <a:cubicBezTo>
                  <a:pt x="3024188" y="909933"/>
                  <a:pt x="2988851" y="796247"/>
                  <a:pt x="2988851" y="648342"/>
                </a:cubicBezTo>
                <a:cubicBezTo>
                  <a:pt x="2988851" y="507095"/>
                  <a:pt x="3023112" y="396711"/>
                  <a:pt x="3091626" y="317178"/>
                </a:cubicBezTo>
                <a:cubicBezTo>
                  <a:pt x="3162301" y="235486"/>
                  <a:pt x="3260723" y="194645"/>
                  <a:pt x="3386901" y="194645"/>
                </a:cubicBezTo>
                <a:close/>
                <a:moveTo>
                  <a:pt x="2146078" y="194645"/>
                </a:moveTo>
                <a:cubicBezTo>
                  <a:pt x="2269903" y="194645"/>
                  <a:pt x="2362772" y="215603"/>
                  <a:pt x="2424684" y="257529"/>
                </a:cubicBezTo>
                <a:cubicBezTo>
                  <a:pt x="2488816" y="301928"/>
                  <a:pt x="2520858" y="363728"/>
                  <a:pt x="2520792" y="442946"/>
                </a:cubicBezTo>
                <a:lnTo>
                  <a:pt x="2520792" y="744332"/>
                </a:lnTo>
                <a:cubicBezTo>
                  <a:pt x="2520792" y="832684"/>
                  <a:pt x="2504914" y="901685"/>
                  <a:pt x="2473167" y="951345"/>
                </a:cubicBezTo>
                <a:cubicBezTo>
                  <a:pt x="2445477" y="997067"/>
                  <a:pt x="2405777" y="1034341"/>
                  <a:pt x="2358391" y="1059133"/>
                </a:cubicBezTo>
                <a:cubicBezTo>
                  <a:pt x="2312508" y="1083297"/>
                  <a:pt x="2262435" y="1098471"/>
                  <a:pt x="2210848" y="1103846"/>
                </a:cubicBezTo>
                <a:cubicBezTo>
                  <a:pt x="2165176" y="1109002"/>
                  <a:pt x="2119265" y="1111761"/>
                  <a:pt x="2073307" y="1112123"/>
                </a:cubicBezTo>
                <a:cubicBezTo>
                  <a:pt x="1998574" y="1113559"/>
                  <a:pt x="1925374" y="1090831"/>
                  <a:pt x="1864614" y="1047336"/>
                </a:cubicBezTo>
                <a:cubicBezTo>
                  <a:pt x="1804921" y="1004335"/>
                  <a:pt x="1775079" y="933146"/>
                  <a:pt x="1775079" y="833759"/>
                </a:cubicBezTo>
                <a:cubicBezTo>
                  <a:pt x="1775079" y="741031"/>
                  <a:pt x="1802159" y="674789"/>
                  <a:pt x="1856328" y="635023"/>
                </a:cubicBezTo>
                <a:cubicBezTo>
                  <a:pt x="1910496" y="595256"/>
                  <a:pt x="1979553" y="568781"/>
                  <a:pt x="2063496" y="555586"/>
                </a:cubicBezTo>
                <a:cubicBezTo>
                  <a:pt x="2076908" y="555319"/>
                  <a:pt x="2090242" y="553664"/>
                  <a:pt x="2103311" y="550638"/>
                </a:cubicBezTo>
                <a:cubicBezTo>
                  <a:pt x="2120846" y="546976"/>
                  <a:pt x="2138553" y="544217"/>
                  <a:pt x="2156365" y="542362"/>
                </a:cubicBezTo>
                <a:cubicBezTo>
                  <a:pt x="2253644" y="529167"/>
                  <a:pt x="2302288" y="500474"/>
                  <a:pt x="2302288" y="456265"/>
                </a:cubicBezTo>
                <a:cubicBezTo>
                  <a:pt x="2302288" y="423158"/>
                  <a:pt x="2285143" y="401629"/>
                  <a:pt x="2250853" y="391669"/>
                </a:cubicBezTo>
                <a:cubicBezTo>
                  <a:pt x="2220220" y="382260"/>
                  <a:pt x="2188407" y="377237"/>
                  <a:pt x="2156365" y="376732"/>
                </a:cubicBezTo>
                <a:cubicBezTo>
                  <a:pt x="2128181" y="376314"/>
                  <a:pt x="2100149" y="380785"/>
                  <a:pt x="2073497" y="389956"/>
                </a:cubicBezTo>
                <a:cubicBezTo>
                  <a:pt x="2049618" y="398395"/>
                  <a:pt x="2030378" y="416442"/>
                  <a:pt x="2020443" y="439712"/>
                </a:cubicBezTo>
                <a:lnTo>
                  <a:pt x="1797939" y="439712"/>
                </a:lnTo>
                <a:cubicBezTo>
                  <a:pt x="1805626" y="373441"/>
                  <a:pt x="1838954" y="312802"/>
                  <a:pt x="1890808" y="270753"/>
                </a:cubicBezTo>
                <a:cubicBezTo>
                  <a:pt x="1950501" y="220017"/>
                  <a:pt x="2035588" y="194645"/>
                  <a:pt x="2146078" y="194645"/>
                </a:cubicBezTo>
                <a:close/>
                <a:moveTo>
                  <a:pt x="374523" y="194645"/>
                </a:moveTo>
                <a:cubicBezTo>
                  <a:pt x="489462" y="194645"/>
                  <a:pt x="581216" y="220017"/>
                  <a:pt x="649796" y="270753"/>
                </a:cubicBezTo>
                <a:cubicBezTo>
                  <a:pt x="713927" y="326054"/>
                  <a:pt x="748189" y="397824"/>
                  <a:pt x="752570" y="486042"/>
                </a:cubicBezTo>
                <a:lnTo>
                  <a:pt x="609695" y="486042"/>
                </a:lnTo>
                <a:cubicBezTo>
                  <a:pt x="569500" y="487127"/>
                  <a:pt x="532181" y="465284"/>
                  <a:pt x="513493" y="429722"/>
                </a:cubicBezTo>
                <a:cubicBezTo>
                  <a:pt x="504634" y="420970"/>
                  <a:pt x="495776" y="412122"/>
                  <a:pt x="487013" y="403275"/>
                </a:cubicBezTo>
                <a:cubicBezTo>
                  <a:pt x="460534" y="383420"/>
                  <a:pt x="424053" y="373469"/>
                  <a:pt x="377571" y="373403"/>
                </a:cubicBezTo>
                <a:cubicBezTo>
                  <a:pt x="333118" y="373403"/>
                  <a:pt x="299971" y="380034"/>
                  <a:pt x="278130" y="393286"/>
                </a:cubicBezTo>
                <a:cubicBezTo>
                  <a:pt x="258223" y="406415"/>
                  <a:pt x="246859" y="429161"/>
                  <a:pt x="248317" y="452935"/>
                </a:cubicBezTo>
                <a:cubicBezTo>
                  <a:pt x="248317" y="488259"/>
                  <a:pt x="305781" y="518074"/>
                  <a:pt x="420719" y="542362"/>
                </a:cubicBezTo>
                <a:cubicBezTo>
                  <a:pt x="432130" y="546148"/>
                  <a:pt x="443732" y="549325"/>
                  <a:pt x="455486" y="551875"/>
                </a:cubicBezTo>
                <a:cubicBezTo>
                  <a:pt x="464849" y="554073"/>
                  <a:pt x="474440" y="555186"/>
                  <a:pt x="484061" y="555205"/>
                </a:cubicBezTo>
                <a:cubicBezTo>
                  <a:pt x="596837" y="583935"/>
                  <a:pt x="675323" y="617042"/>
                  <a:pt x="719519" y="654525"/>
                </a:cubicBezTo>
                <a:cubicBezTo>
                  <a:pt x="761429" y="694292"/>
                  <a:pt x="782412" y="747282"/>
                  <a:pt x="782479" y="813495"/>
                </a:cubicBezTo>
                <a:cubicBezTo>
                  <a:pt x="782479" y="910723"/>
                  <a:pt x="747113" y="985784"/>
                  <a:pt x="676370" y="1038679"/>
                </a:cubicBezTo>
                <a:cubicBezTo>
                  <a:pt x="610076" y="1087321"/>
                  <a:pt x="510607" y="1111619"/>
                  <a:pt x="377952" y="1111552"/>
                </a:cubicBezTo>
                <a:cubicBezTo>
                  <a:pt x="251908" y="1111552"/>
                  <a:pt x="157953" y="1086180"/>
                  <a:pt x="96108" y="1035444"/>
                </a:cubicBezTo>
                <a:cubicBezTo>
                  <a:pt x="31975" y="984709"/>
                  <a:pt x="-67" y="910723"/>
                  <a:pt x="0" y="813495"/>
                </a:cubicBezTo>
                <a:lnTo>
                  <a:pt x="286" y="803982"/>
                </a:lnTo>
                <a:lnTo>
                  <a:pt x="225743" y="803982"/>
                </a:lnTo>
                <a:cubicBezTo>
                  <a:pt x="227933" y="848124"/>
                  <a:pt x="244793" y="881326"/>
                  <a:pt x="275463" y="903302"/>
                </a:cubicBezTo>
                <a:cubicBezTo>
                  <a:pt x="308610" y="925469"/>
                  <a:pt x="352806" y="936409"/>
                  <a:pt x="408051" y="936409"/>
                </a:cubicBezTo>
                <a:cubicBezTo>
                  <a:pt x="443742" y="937379"/>
                  <a:pt x="479108" y="929398"/>
                  <a:pt x="510921" y="913196"/>
                </a:cubicBezTo>
                <a:cubicBezTo>
                  <a:pt x="537400" y="897784"/>
                  <a:pt x="550640" y="876826"/>
                  <a:pt x="550640" y="850312"/>
                </a:cubicBezTo>
                <a:cubicBezTo>
                  <a:pt x="550640" y="810546"/>
                  <a:pt x="504225" y="780740"/>
                  <a:pt x="411385" y="760886"/>
                </a:cubicBezTo>
                <a:cubicBezTo>
                  <a:pt x="381095" y="756462"/>
                  <a:pt x="351168" y="749822"/>
                  <a:pt x="321850" y="741003"/>
                </a:cubicBezTo>
                <a:cubicBezTo>
                  <a:pt x="204692" y="712396"/>
                  <a:pt x="126235" y="678185"/>
                  <a:pt x="86487" y="638352"/>
                </a:cubicBezTo>
                <a:cubicBezTo>
                  <a:pt x="42034" y="598710"/>
                  <a:pt x="19812" y="545720"/>
                  <a:pt x="19812" y="479383"/>
                </a:cubicBezTo>
                <a:cubicBezTo>
                  <a:pt x="18298" y="398832"/>
                  <a:pt x="53693" y="322011"/>
                  <a:pt x="115919" y="270753"/>
                </a:cubicBezTo>
                <a:cubicBezTo>
                  <a:pt x="182213" y="220017"/>
                  <a:pt x="268415" y="194645"/>
                  <a:pt x="374523" y="194645"/>
                </a:cubicBezTo>
                <a:close/>
                <a:moveTo>
                  <a:pt x="2575750" y="0"/>
                </a:moveTo>
                <a:lnTo>
                  <a:pt x="2799779" y="0"/>
                </a:lnTo>
                <a:lnTo>
                  <a:pt x="2799779" y="221949"/>
                </a:lnTo>
                <a:lnTo>
                  <a:pt x="2958084" y="221949"/>
                </a:lnTo>
                <a:lnTo>
                  <a:pt x="2958084" y="420399"/>
                </a:lnTo>
                <a:lnTo>
                  <a:pt x="2800159" y="420399"/>
                </a:lnTo>
                <a:lnTo>
                  <a:pt x="2800159" y="728921"/>
                </a:lnTo>
                <a:cubicBezTo>
                  <a:pt x="2800159" y="789997"/>
                  <a:pt x="2814038" y="832969"/>
                  <a:pt x="2841784" y="857828"/>
                </a:cubicBezTo>
                <a:cubicBezTo>
                  <a:pt x="2869530" y="882687"/>
                  <a:pt x="2911697" y="893408"/>
                  <a:pt x="2968276" y="889984"/>
                </a:cubicBezTo>
                <a:lnTo>
                  <a:pt x="2968276" y="1093667"/>
                </a:lnTo>
                <a:cubicBezTo>
                  <a:pt x="2911317" y="1101116"/>
                  <a:pt x="2853443" y="1097111"/>
                  <a:pt x="2798064" y="1081870"/>
                </a:cubicBezTo>
                <a:cubicBezTo>
                  <a:pt x="2752011" y="1068675"/>
                  <a:pt x="2710006" y="1044178"/>
                  <a:pt x="2675858" y="1010614"/>
                </a:cubicBezTo>
                <a:cubicBezTo>
                  <a:pt x="2642092" y="976385"/>
                  <a:pt x="2616556" y="934944"/>
                  <a:pt x="2601183" y="889413"/>
                </a:cubicBezTo>
                <a:cubicBezTo>
                  <a:pt x="2583590" y="837336"/>
                  <a:pt x="2574998" y="782643"/>
                  <a:pt x="2575750" y="727684"/>
                </a:cubicBezTo>
                <a:close/>
                <a:moveTo>
                  <a:pt x="824770" y="0"/>
                </a:moveTo>
                <a:lnTo>
                  <a:pt x="1048893" y="0"/>
                </a:lnTo>
                <a:lnTo>
                  <a:pt x="1048893" y="221949"/>
                </a:lnTo>
                <a:lnTo>
                  <a:pt x="1206723" y="221949"/>
                </a:lnTo>
                <a:lnTo>
                  <a:pt x="1206723" y="420399"/>
                </a:lnTo>
                <a:lnTo>
                  <a:pt x="1048417" y="420399"/>
                </a:lnTo>
                <a:lnTo>
                  <a:pt x="1048417" y="728921"/>
                </a:lnTo>
                <a:cubicBezTo>
                  <a:pt x="1048417" y="789997"/>
                  <a:pt x="1062257" y="832969"/>
                  <a:pt x="1089946" y="857828"/>
                </a:cubicBezTo>
                <a:cubicBezTo>
                  <a:pt x="1117636" y="882687"/>
                  <a:pt x="1159955" y="893475"/>
                  <a:pt x="1216915" y="890174"/>
                </a:cubicBezTo>
                <a:lnTo>
                  <a:pt x="1216915" y="1093667"/>
                </a:lnTo>
                <a:cubicBezTo>
                  <a:pt x="1160117" y="1101068"/>
                  <a:pt x="1102405" y="1097054"/>
                  <a:pt x="1047179" y="1081870"/>
                </a:cubicBezTo>
                <a:cubicBezTo>
                  <a:pt x="1001116" y="1068694"/>
                  <a:pt x="959101" y="1044197"/>
                  <a:pt x="924973" y="1010614"/>
                </a:cubicBezTo>
                <a:cubicBezTo>
                  <a:pt x="891207" y="976366"/>
                  <a:pt x="865642" y="934935"/>
                  <a:pt x="850202" y="889413"/>
                </a:cubicBezTo>
                <a:cubicBezTo>
                  <a:pt x="832619" y="837336"/>
                  <a:pt x="824018" y="782643"/>
                  <a:pt x="824770" y="727684"/>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cxnSp>
        <p:nvCxnSpPr>
          <p:cNvPr id="14" name="Conector recto 13">
            <a:extLst>
              <a:ext uri="{FF2B5EF4-FFF2-40B4-BE49-F238E27FC236}">
                <a16:creationId xmlns:a16="http://schemas.microsoft.com/office/drawing/2014/main" id="{4A6DF25B-F048-D9E2-6CFA-83A7E9EDA684}"/>
              </a:ext>
            </a:extLst>
          </p:cNvPr>
          <p:cNvCxnSpPr>
            <a:cxnSpLocks/>
          </p:cNvCxnSpPr>
          <p:nvPr/>
        </p:nvCxnSpPr>
        <p:spPr>
          <a:xfrm>
            <a:off x="3998595" y="4202194"/>
            <a:ext cx="4194810" cy="0"/>
          </a:xfrm>
          <a:prstGeom prst="line">
            <a:avLst/>
          </a:prstGeom>
          <a:ln w="15875" cap="rnd">
            <a:solidFill>
              <a:srgbClr val="EEAF00"/>
            </a:solidFill>
            <a:prstDash val="sysDot"/>
          </a:ln>
        </p:spPr>
        <p:style>
          <a:lnRef idx="1">
            <a:schemeClr val="accent1"/>
          </a:lnRef>
          <a:fillRef idx="0">
            <a:schemeClr val="accent1"/>
          </a:fillRef>
          <a:effectRef idx="0">
            <a:schemeClr val="accent1"/>
          </a:effectRef>
          <a:fontRef idx="minor">
            <a:schemeClr val="tx1"/>
          </a:fontRef>
        </p:style>
      </p:cxnSp>
      <p:sp>
        <p:nvSpPr>
          <p:cNvPr id="15" name="Rectángulo 14">
            <a:extLst>
              <a:ext uri="{FF2B5EF4-FFF2-40B4-BE49-F238E27FC236}">
                <a16:creationId xmlns:a16="http://schemas.microsoft.com/office/drawing/2014/main" id="{C2BE2768-37CD-6527-BB87-BF7D6BCAAD04}"/>
              </a:ext>
            </a:extLst>
          </p:cNvPr>
          <p:cNvSpPr/>
          <p:nvPr/>
        </p:nvSpPr>
        <p:spPr>
          <a:xfrm>
            <a:off x="4006850" y="4908740"/>
            <a:ext cx="4178300" cy="307777"/>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GB" sz="1400" b="1" i="0" u="none" strike="noStrike" kern="1200" cap="none" spc="0" normalizeH="0" baseline="0" noProof="0">
                <a:ln>
                  <a:noFill/>
                </a:ln>
                <a:solidFill>
                  <a:srgbClr val="EDAF00"/>
                </a:solidFill>
                <a:effectLst/>
                <a:uLnTx/>
                <a:uFillTx/>
                <a:latin typeface="Arial" panose="020B0604020202020204"/>
                <a:ea typeface="+mn-ea"/>
                <a:cs typeface="+mn-cs"/>
              </a:rPr>
              <a:t>CORPORATE BROCHURE</a:t>
            </a:r>
          </a:p>
        </p:txBody>
      </p:sp>
    </p:spTree>
    <p:extLst>
      <p:ext uri="{BB962C8B-B14F-4D97-AF65-F5344CB8AC3E}">
        <p14:creationId xmlns:p14="http://schemas.microsoft.com/office/powerpoint/2010/main" val="997910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1651128-F846-8F71-97A3-C5D5354B15C7}"/>
            </a:ext>
          </a:extLst>
        </p:cNvPr>
        <p:cNvGrpSpPr/>
        <p:nvPr/>
      </p:nvGrpSpPr>
      <p:grpSpPr>
        <a:xfrm>
          <a:off x="0" y="0"/>
          <a:ext cx="0" cy="0"/>
          <a:chOff x="0" y="0"/>
          <a:chExt cx="0" cy="0"/>
        </a:xfrm>
      </p:grpSpPr>
      <p:sp>
        <p:nvSpPr>
          <p:cNvPr id="10" name="Triángulo isósceles 9">
            <a:extLst>
              <a:ext uri="{FF2B5EF4-FFF2-40B4-BE49-F238E27FC236}">
                <a16:creationId xmlns:a16="http://schemas.microsoft.com/office/drawing/2014/main" id="{FB398812-4AE7-422B-16A2-ADFE598C8B16}"/>
              </a:ext>
            </a:extLst>
          </p:cNvPr>
          <p:cNvSpPr>
            <a:spLocks/>
          </p:cNvSpPr>
          <p:nvPr/>
        </p:nvSpPr>
        <p:spPr>
          <a:xfrm>
            <a:off x="4376954" y="2806774"/>
            <a:ext cx="3321738" cy="511673"/>
          </a:xfrm>
          <a:prstGeom prst="triangle">
            <a:avLst>
              <a:gd name="adj" fmla="val 51721"/>
            </a:avLst>
          </a:prstGeom>
          <a:no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13" name="Rectangle 60">
            <a:extLst>
              <a:ext uri="{FF2B5EF4-FFF2-40B4-BE49-F238E27FC236}">
                <a16:creationId xmlns:a16="http://schemas.microsoft.com/office/drawing/2014/main" id="{5E0D7A3F-94C9-85B6-56CA-76CFC5D7FB69}"/>
              </a:ext>
            </a:extLst>
          </p:cNvPr>
          <p:cNvSpPr/>
          <p:nvPr/>
        </p:nvSpPr>
        <p:spPr>
          <a:xfrm>
            <a:off x="1484608" y="4382631"/>
            <a:ext cx="2892346" cy="773836"/>
          </a:xfrm>
          <a:prstGeom prst="rect">
            <a:avLst/>
          </a:prstGeom>
        </p:spPr>
        <p:txBody>
          <a:bodyPr wrap="square">
            <a:noAutofit/>
          </a:bodyPr>
          <a:lstStyle/>
          <a:p>
            <a:pPr defTabSz="609660">
              <a:defRPr/>
            </a:pPr>
            <a:r>
              <a:rPr lang="en-GB" sz="1100" noProof="0"/>
              <a:t>Discovery of the origin and path of data with full transparency. Centralise catalogues, glossaries, and metadata management.</a:t>
            </a:r>
            <a:endParaRPr lang="en-GB" sz="1100" kern="0" noProof="0">
              <a:solidFill>
                <a:srgbClr val="000000">
                  <a:lumMod val="95000"/>
                  <a:lumOff val="5000"/>
                </a:srgbClr>
              </a:solidFill>
              <a:latin typeface="Quattrocento Sans"/>
              <a:cs typeface="Arial"/>
              <a:sym typeface="Arial"/>
            </a:endParaRPr>
          </a:p>
        </p:txBody>
      </p:sp>
      <p:sp>
        <p:nvSpPr>
          <p:cNvPr id="16" name="Rectangle 68">
            <a:extLst>
              <a:ext uri="{FF2B5EF4-FFF2-40B4-BE49-F238E27FC236}">
                <a16:creationId xmlns:a16="http://schemas.microsoft.com/office/drawing/2014/main" id="{744685C0-C92A-AC14-CEBA-6623BCA928E2}"/>
              </a:ext>
            </a:extLst>
          </p:cNvPr>
          <p:cNvSpPr/>
          <p:nvPr/>
        </p:nvSpPr>
        <p:spPr>
          <a:xfrm>
            <a:off x="1506333" y="3249097"/>
            <a:ext cx="2639800" cy="955949"/>
          </a:xfrm>
          <a:prstGeom prst="rect">
            <a:avLst/>
          </a:prstGeom>
        </p:spPr>
        <p:txBody>
          <a:bodyPr wrap="square">
            <a:noAutofit/>
          </a:bodyPr>
          <a:lstStyle/>
          <a:p>
            <a:pPr defTabSz="609660">
              <a:defRPr/>
            </a:pPr>
            <a:r>
              <a:rPr lang="en-GB" sz="1100" noProof="0"/>
              <a:t>It ensures accurate, complete and always up-to-date data. It establishes business rules and general rules.</a:t>
            </a:r>
            <a:endParaRPr lang="en-GB" sz="1100" kern="0" noProof="0">
              <a:solidFill>
                <a:srgbClr val="000000">
                  <a:lumMod val="95000"/>
                  <a:lumOff val="5000"/>
                </a:srgbClr>
              </a:solidFill>
              <a:latin typeface="Quattrocento Sans"/>
              <a:cs typeface="Arial"/>
              <a:sym typeface="Arial"/>
            </a:endParaRPr>
          </a:p>
        </p:txBody>
      </p:sp>
      <p:sp>
        <p:nvSpPr>
          <p:cNvPr id="17" name="Rectángulo 16">
            <a:extLst>
              <a:ext uri="{FF2B5EF4-FFF2-40B4-BE49-F238E27FC236}">
                <a16:creationId xmlns:a16="http://schemas.microsoft.com/office/drawing/2014/main" id="{F35381A6-307D-8566-18E8-6F2728D107E3}"/>
              </a:ext>
            </a:extLst>
          </p:cNvPr>
          <p:cNvSpPr/>
          <p:nvPr/>
        </p:nvSpPr>
        <p:spPr>
          <a:xfrm>
            <a:off x="4364545" y="5170676"/>
            <a:ext cx="3365225" cy="148912"/>
          </a:xfrm>
          <a:prstGeom prst="rect">
            <a:avLst/>
          </a:prstGeom>
          <a:solidFill>
            <a:schemeClr val="bg1"/>
          </a:solid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18" name="Rectángulo 17">
            <a:extLst>
              <a:ext uri="{FF2B5EF4-FFF2-40B4-BE49-F238E27FC236}">
                <a16:creationId xmlns:a16="http://schemas.microsoft.com/office/drawing/2014/main" id="{264F1773-38DC-F0F7-7B11-90EB3F804331}"/>
              </a:ext>
            </a:extLst>
          </p:cNvPr>
          <p:cNvSpPr/>
          <p:nvPr/>
        </p:nvSpPr>
        <p:spPr>
          <a:xfrm>
            <a:off x="4206671" y="5319075"/>
            <a:ext cx="3642373" cy="363164"/>
          </a:xfrm>
          <a:prstGeom prst="rect">
            <a:avLst/>
          </a:prstGeom>
          <a:solidFill>
            <a:schemeClr val="bg1"/>
          </a:solid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19" name="Rectángulo 18">
            <a:extLst>
              <a:ext uri="{FF2B5EF4-FFF2-40B4-BE49-F238E27FC236}">
                <a16:creationId xmlns:a16="http://schemas.microsoft.com/office/drawing/2014/main" id="{24CEC8EB-4B28-6750-581A-45B018EFD482}"/>
              </a:ext>
            </a:extLst>
          </p:cNvPr>
          <p:cNvSpPr/>
          <p:nvPr/>
        </p:nvSpPr>
        <p:spPr>
          <a:xfrm>
            <a:off x="4379564" y="5252523"/>
            <a:ext cx="3337200" cy="248799"/>
          </a:xfrm>
          <a:prstGeom prst="rect">
            <a:avLst/>
          </a:prstGeom>
          <a:solidFill>
            <a:schemeClr val="bg1"/>
          </a:solidFill>
          <a:ln w="1079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20" name="Text Box 3">
            <a:extLst>
              <a:ext uri="{FF2B5EF4-FFF2-40B4-BE49-F238E27FC236}">
                <a16:creationId xmlns:a16="http://schemas.microsoft.com/office/drawing/2014/main" id="{8207D819-2D66-5363-40EA-BB9DD086F931}"/>
              </a:ext>
            </a:extLst>
          </p:cNvPr>
          <p:cNvSpPr txBox="1">
            <a:spLocks noChangeArrowheads="1"/>
          </p:cNvSpPr>
          <p:nvPr/>
        </p:nvSpPr>
        <p:spPr bwMode="auto">
          <a:xfrm>
            <a:off x="4974532" y="5239742"/>
            <a:ext cx="2106650" cy="369332"/>
          </a:xfrm>
          <a:prstGeom prst="rect">
            <a:avLst/>
          </a:prstGeom>
          <a:solidFill>
            <a:schemeClr val="bg1"/>
          </a:solidFill>
          <a:ln w="9525">
            <a:noFill/>
            <a:miter lim="800000"/>
            <a:headEnd/>
            <a:tailEnd/>
          </a:ln>
        </p:spPr>
        <p:txBody>
          <a:bodyPr wrap="square">
            <a:spAutoFit/>
          </a:bodyPr>
          <a:lstStyle>
            <a:defPPr marR="0" lvl="0" algn="l" rtl="0">
              <a:lnSpc>
                <a:spcPct val="100000"/>
              </a:lnSpc>
              <a:spcBef>
                <a:spcPts val="0"/>
              </a:spcBef>
              <a:spcAft>
                <a:spcPts val="0"/>
              </a:spcAft>
              <a:defRPr/>
            </a:defPPr>
            <a:lvl1pPr algn="ctr" fontAlgn="base">
              <a:spcBef>
                <a:spcPct val="50000"/>
              </a:spcBef>
              <a:spcAft>
                <a:spcPct val="0"/>
              </a:spcAft>
              <a:defRPr sz="1800" b="1">
                <a:solidFill>
                  <a:schemeClr val="bg1"/>
                </a:solidFill>
                <a:latin typeface="Quattrocento Sans" panose="020B0502050000020003" pitchFamily="34" charset="0"/>
              </a:defRPr>
            </a:lvl1pPr>
          </a:lstStyle>
          <a:p>
            <a:pPr defTabSz="914446">
              <a:buClr>
                <a:srgbClr val="000000"/>
              </a:buClr>
              <a:defRPr/>
            </a:pPr>
            <a:r>
              <a:rPr lang="en-GB" kern="0" noProof="0">
                <a:solidFill>
                  <a:srgbClr val="000000">
                    <a:lumMod val="95000"/>
                    <a:lumOff val="5000"/>
                  </a:srgbClr>
                </a:solidFill>
                <a:cs typeface="Arial"/>
                <a:sym typeface="Arial"/>
              </a:rPr>
              <a:t>Architecture</a:t>
            </a:r>
          </a:p>
        </p:txBody>
      </p:sp>
      <p:grpSp>
        <p:nvGrpSpPr>
          <p:cNvPr id="8" name="Grupo 7">
            <a:extLst>
              <a:ext uri="{FF2B5EF4-FFF2-40B4-BE49-F238E27FC236}">
                <a16:creationId xmlns:a16="http://schemas.microsoft.com/office/drawing/2014/main" id="{469F0FD8-8728-BC48-5490-3D08C25B956E}"/>
              </a:ext>
            </a:extLst>
          </p:cNvPr>
          <p:cNvGrpSpPr/>
          <p:nvPr/>
        </p:nvGrpSpPr>
        <p:grpSpPr>
          <a:xfrm>
            <a:off x="4671207" y="3508153"/>
            <a:ext cx="646331" cy="1656000"/>
            <a:chOff x="4621921" y="3316992"/>
            <a:chExt cx="719703" cy="1680294"/>
          </a:xfrm>
        </p:grpSpPr>
        <p:sp>
          <p:nvSpPr>
            <p:cNvPr id="4" name="Trapecio 3">
              <a:extLst>
                <a:ext uri="{FF2B5EF4-FFF2-40B4-BE49-F238E27FC236}">
                  <a16:creationId xmlns:a16="http://schemas.microsoft.com/office/drawing/2014/main" id="{777C048B-F8BB-F37C-EBB4-66C64A0B7312}"/>
                </a:ext>
              </a:extLst>
            </p:cNvPr>
            <p:cNvSpPr/>
            <p:nvPr/>
          </p:nvSpPr>
          <p:spPr>
            <a:xfrm>
              <a:off x="4678746" y="3316992"/>
              <a:ext cx="646330" cy="1680294"/>
            </a:xfrm>
            <a:prstGeom prst="trapezoid">
              <a:avLst>
                <a:gd name="adj" fmla="val 0"/>
              </a:avLst>
            </a:prstGeom>
            <a:no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21" name="Text Box 3">
              <a:extLst>
                <a:ext uri="{FF2B5EF4-FFF2-40B4-BE49-F238E27FC236}">
                  <a16:creationId xmlns:a16="http://schemas.microsoft.com/office/drawing/2014/main" id="{C8AFEC24-A773-0CEC-29AD-C8659BD960CE}"/>
                </a:ext>
              </a:extLst>
            </p:cNvPr>
            <p:cNvSpPr txBox="1">
              <a:spLocks noChangeArrowheads="1"/>
            </p:cNvSpPr>
            <p:nvPr/>
          </p:nvSpPr>
          <p:spPr bwMode="auto">
            <a:xfrm rot="16200000">
              <a:off x="4276766" y="3793397"/>
              <a:ext cx="1410014" cy="719703"/>
            </a:xfrm>
            <a:prstGeom prst="rect">
              <a:avLst/>
            </a:prstGeom>
            <a:noFill/>
            <a:ln w="9525">
              <a:noFill/>
              <a:miter lim="800000"/>
              <a:headEnd/>
              <a:tailEnd/>
            </a:ln>
          </p:spPr>
          <p:txBody>
            <a:bodyPr wrap="square" anchor="ctr">
              <a:spAutoFit/>
            </a:bodyPr>
            <a:lstStyle>
              <a:defPPr marR="0" lvl="0" algn="l" rtl="0">
                <a:lnSpc>
                  <a:spcPct val="100000"/>
                </a:lnSpc>
                <a:spcBef>
                  <a:spcPts val="0"/>
                </a:spcBef>
                <a:spcAft>
                  <a:spcPts val="0"/>
                </a:spcAft>
                <a:defRPr/>
              </a:defPPr>
              <a:lvl1pPr algn="ctr" fontAlgn="base">
                <a:spcBef>
                  <a:spcPct val="50000"/>
                </a:spcBef>
                <a:spcAft>
                  <a:spcPct val="0"/>
                </a:spcAft>
                <a:defRPr sz="2000" b="1">
                  <a:solidFill>
                    <a:srgbClr val="000A23"/>
                  </a:solidFill>
                  <a:latin typeface="Quattrocento Sans" panose="020B0502050000020003" pitchFamily="34" charset="0"/>
                </a:defRPr>
              </a:lvl1pPr>
            </a:lstStyle>
            <a:p>
              <a:pPr defTabSz="914446">
                <a:buClr>
                  <a:srgbClr val="000000"/>
                </a:buClr>
                <a:defRPr/>
              </a:pPr>
              <a:r>
                <a:rPr lang="en-GB" sz="1800" kern="0" noProof="0">
                  <a:solidFill>
                    <a:srgbClr val="000000">
                      <a:lumMod val="95000"/>
                      <a:lumOff val="5000"/>
                    </a:srgbClr>
                  </a:solidFill>
                  <a:cs typeface="Arial"/>
                  <a:sym typeface="Arial"/>
                </a:rPr>
                <a:t>Lineage and Catalogue</a:t>
              </a:r>
            </a:p>
          </p:txBody>
        </p:sp>
      </p:grpSp>
      <p:grpSp>
        <p:nvGrpSpPr>
          <p:cNvPr id="25" name="Grupo 24">
            <a:extLst>
              <a:ext uri="{FF2B5EF4-FFF2-40B4-BE49-F238E27FC236}">
                <a16:creationId xmlns:a16="http://schemas.microsoft.com/office/drawing/2014/main" id="{2BD8BB5B-C9C0-8829-2F61-473FB5C68121}"/>
              </a:ext>
            </a:extLst>
          </p:cNvPr>
          <p:cNvGrpSpPr/>
          <p:nvPr/>
        </p:nvGrpSpPr>
        <p:grpSpPr>
          <a:xfrm>
            <a:off x="5462266" y="3508153"/>
            <a:ext cx="580439" cy="1656000"/>
            <a:chOff x="5408193" y="3297985"/>
            <a:chExt cx="426385" cy="1680293"/>
          </a:xfrm>
        </p:grpSpPr>
        <p:sp>
          <p:nvSpPr>
            <p:cNvPr id="12" name="Trapecio 11">
              <a:extLst>
                <a:ext uri="{FF2B5EF4-FFF2-40B4-BE49-F238E27FC236}">
                  <a16:creationId xmlns:a16="http://schemas.microsoft.com/office/drawing/2014/main" id="{3F9F4BAD-EC0B-597F-D231-4DDEDE41DDDD}"/>
                </a:ext>
              </a:extLst>
            </p:cNvPr>
            <p:cNvSpPr/>
            <p:nvPr/>
          </p:nvSpPr>
          <p:spPr>
            <a:xfrm>
              <a:off x="5408193" y="3297985"/>
              <a:ext cx="426385" cy="1680293"/>
            </a:xfrm>
            <a:prstGeom prst="trapezoid">
              <a:avLst>
                <a:gd name="adj" fmla="val 0"/>
              </a:avLst>
            </a:prstGeom>
            <a:no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22" name="Text Box 3">
              <a:extLst>
                <a:ext uri="{FF2B5EF4-FFF2-40B4-BE49-F238E27FC236}">
                  <a16:creationId xmlns:a16="http://schemas.microsoft.com/office/drawing/2014/main" id="{2E5B4A5E-9126-DE78-3208-73B588B2C7DB}"/>
                </a:ext>
              </a:extLst>
            </p:cNvPr>
            <p:cNvSpPr txBox="1">
              <a:spLocks noChangeArrowheads="1"/>
            </p:cNvSpPr>
            <p:nvPr/>
          </p:nvSpPr>
          <p:spPr bwMode="auto">
            <a:xfrm rot="16200000">
              <a:off x="5047290" y="4002477"/>
              <a:ext cx="1148191" cy="271308"/>
            </a:xfrm>
            <a:prstGeom prst="rect">
              <a:avLst/>
            </a:prstGeom>
            <a:noFill/>
            <a:ln w="9525">
              <a:noFill/>
              <a:miter lim="800000"/>
              <a:headEnd/>
              <a:tailEnd/>
            </a:ln>
          </p:spPr>
          <p:txBody>
            <a:bodyPr wrap="square" anchor="ctr">
              <a:spAutoFit/>
            </a:bodyPr>
            <a:lstStyle>
              <a:defPPr marR="0" lvl="0" algn="l" rtl="0">
                <a:lnSpc>
                  <a:spcPct val="100000"/>
                </a:lnSpc>
                <a:spcBef>
                  <a:spcPts val="0"/>
                </a:spcBef>
                <a:spcAft>
                  <a:spcPts val="0"/>
                </a:spcAft>
                <a:defRPr/>
              </a:defPPr>
              <a:lvl1pPr algn="ctr" fontAlgn="base">
                <a:spcBef>
                  <a:spcPct val="50000"/>
                </a:spcBef>
                <a:spcAft>
                  <a:spcPct val="0"/>
                </a:spcAft>
                <a:defRPr sz="1800" b="1">
                  <a:solidFill>
                    <a:schemeClr val="bg1"/>
                  </a:solidFill>
                  <a:latin typeface="Quattrocento Sans" panose="020B0502050000020003" pitchFamily="34" charset="0"/>
                </a:defRPr>
              </a:lvl1pPr>
            </a:lstStyle>
            <a:p>
              <a:pPr defTabSz="914446">
                <a:buClr>
                  <a:srgbClr val="000000"/>
                </a:buClr>
                <a:defRPr/>
              </a:pPr>
              <a:r>
                <a:rPr lang="en-GB" kern="0" noProof="0">
                  <a:solidFill>
                    <a:srgbClr val="000000">
                      <a:lumMod val="95000"/>
                      <a:lumOff val="5000"/>
                    </a:srgbClr>
                  </a:solidFill>
                  <a:cs typeface="Arial"/>
                  <a:sym typeface="Arial"/>
                </a:rPr>
                <a:t>Quality</a:t>
              </a:r>
            </a:p>
          </p:txBody>
        </p:sp>
      </p:grpSp>
      <p:grpSp>
        <p:nvGrpSpPr>
          <p:cNvPr id="31" name="Grupo 30">
            <a:extLst>
              <a:ext uri="{FF2B5EF4-FFF2-40B4-BE49-F238E27FC236}">
                <a16:creationId xmlns:a16="http://schemas.microsoft.com/office/drawing/2014/main" id="{FF5FA6CE-9EDF-27E4-CCC5-AF331672CFAA}"/>
              </a:ext>
            </a:extLst>
          </p:cNvPr>
          <p:cNvGrpSpPr/>
          <p:nvPr/>
        </p:nvGrpSpPr>
        <p:grpSpPr>
          <a:xfrm>
            <a:off x="6799689" y="3508153"/>
            <a:ext cx="646331" cy="1656000"/>
            <a:chOff x="6708405" y="3318803"/>
            <a:chExt cx="472833" cy="1680293"/>
          </a:xfrm>
        </p:grpSpPr>
        <p:sp>
          <p:nvSpPr>
            <p:cNvPr id="11" name="Trapecio 10">
              <a:extLst>
                <a:ext uri="{FF2B5EF4-FFF2-40B4-BE49-F238E27FC236}">
                  <a16:creationId xmlns:a16="http://schemas.microsoft.com/office/drawing/2014/main" id="{C70CEF42-07E4-297D-B6DB-96BD75AE440B}"/>
                </a:ext>
              </a:extLst>
            </p:cNvPr>
            <p:cNvSpPr/>
            <p:nvPr/>
          </p:nvSpPr>
          <p:spPr>
            <a:xfrm>
              <a:off x="6729081" y="3318803"/>
              <a:ext cx="426385" cy="1680293"/>
            </a:xfrm>
            <a:prstGeom prst="trapezoid">
              <a:avLst>
                <a:gd name="adj" fmla="val 0"/>
              </a:avLst>
            </a:prstGeom>
            <a:no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23" name="Text Box 3">
              <a:extLst>
                <a:ext uri="{FF2B5EF4-FFF2-40B4-BE49-F238E27FC236}">
                  <a16:creationId xmlns:a16="http://schemas.microsoft.com/office/drawing/2014/main" id="{37D303E5-0069-DDBB-1724-3331B82CBEE1}"/>
                </a:ext>
              </a:extLst>
            </p:cNvPr>
            <p:cNvSpPr txBox="1">
              <a:spLocks noChangeArrowheads="1"/>
            </p:cNvSpPr>
            <p:nvPr/>
          </p:nvSpPr>
          <p:spPr bwMode="auto">
            <a:xfrm rot="16200000">
              <a:off x="6303773" y="3979570"/>
              <a:ext cx="1282097" cy="472833"/>
            </a:xfrm>
            <a:prstGeom prst="rect">
              <a:avLst/>
            </a:prstGeom>
            <a:noFill/>
            <a:ln w="9525">
              <a:noFill/>
              <a:miter lim="800000"/>
              <a:headEnd/>
              <a:tailEnd/>
            </a:ln>
          </p:spPr>
          <p:txBody>
            <a:bodyPr wrap="square">
              <a:spAutoFit/>
            </a:bodyPr>
            <a:lstStyle>
              <a:defPPr marR="0" lvl="0" algn="l" rtl="0">
                <a:lnSpc>
                  <a:spcPct val="100000"/>
                </a:lnSpc>
                <a:spcBef>
                  <a:spcPts val="0"/>
                </a:spcBef>
                <a:spcAft>
                  <a:spcPts val="0"/>
                </a:spcAft>
                <a:defRPr/>
              </a:defPPr>
              <a:lvl1pPr algn="ctr" fontAlgn="base">
                <a:spcBef>
                  <a:spcPct val="50000"/>
                </a:spcBef>
                <a:spcAft>
                  <a:spcPct val="0"/>
                </a:spcAft>
                <a:defRPr sz="1800" b="1">
                  <a:solidFill>
                    <a:schemeClr val="bg1"/>
                  </a:solidFill>
                  <a:latin typeface="Quattrocento Sans" panose="020B0502050000020003" pitchFamily="34" charset="0"/>
                </a:defRPr>
              </a:lvl1pPr>
            </a:lstStyle>
            <a:p>
              <a:pPr defTabSz="914446">
                <a:buClr>
                  <a:srgbClr val="000000"/>
                </a:buClr>
                <a:defRPr/>
              </a:pPr>
              <a:r>
                <a:rPr lang="en-GB" kern="0" noProof="0">
                  <a:solidFill>
                    <a:srgbClr val="000000">
                      <a:lumMod val="95000"/>
                      <a:lumOff val="5000"/>
                    </a:srgbClr>
                  </a:solidFill>
                  <a:cs typeface="Arial"/>
                  <a:sym typeface="Arial"/>
                </a:rPr>
                <a:t>Master Data</a:t>
              </a:r>
            </a:p>
          </p:txBody>
        </p:sp>
      </p:grpSp>
      <p:cxnSp>
        <p:nvCxnSpPr>
          <p:cNvPr id="24" name="Straight Arrow Connector 70">
            <a:extLst>
              <a:ext uri="{FF2B5EF4-FFF2-40B4-BE49-F238E27FC236}">
                <a16:creationId xmlns:a16="http://schemas.microsoft.com/office/drawing/2014/main" id="{59B77A28-776A-E29C-4D04-3BD9744BF84F}"/>
              </a:ext>
            </a:extLst>
          </p:cNvPr>
          <p:cNvCxnSpPr>
            <a:cxnSpLocks/>
          </p:cNvCxnSpPr>
          <p:nvPr/>
        </p:nvCxnSpPr>
        <p:spPr>
          <a:xfrm flipV="1">
            <a:off x="1588322" y="3869527"/>
            <a:ext cx="3873944" cy="1"/>
          </a:xfrm>
          <a:prstGeom prst="straightConnector1">
            <a:avLst/>
          </a:prstGeom>
          <a:noFill/>
          <a:ln w="28575">
            <a:solidFill>
              <a:srgbClr val="A6A6A6"/>
            </a:solidFill>
          </a:ln>
        </p:spPr>
      </p:cxnSp>
      <p:cxnSp>
        <p:nvCxnSpPr>
          <p:cNvPr id="26" name="Straight Arrow Connector 69">
            <a:extLst>
              <a:ext uri="{FF2B5EF4-FFF2-40B4-BE49-F238E27FC236}">
                <a16:creationId xmlns:a16="http://schemas.microsoft.com/office/drawing/2014/main" id="{CD7D034E-D4A5-5F6B-5F9C-644895C73B8C}"/>
              </a:ext>
            </a:extLst>
          </p:cNvPr>
          <p:cNvCxnSpPr>
            <a:cxnSpLocks/>
          </p:cNvCxnSpPr>
          <p:nvPr/>
        </p:nvCxnSpPr>
        <p:spPr>
          <a:xfrm flipH="1">
            <a:off x="7410793" y="3676527"/>
            <a:ext cx="3381382" cy="0"/>
          </a:xfrm>
          <a:prstGeom prst="straightConnector1">
            <a:avLst/>
          </a:prstGeom>
          <a:noFill/>
          <a:ln w="28575">
            <a:solidFill>
              <a:srgbClr val="A6A6A6"/>
            </a:solidFill>
          </a:ln>
        </p:spPr>
      </p:cxnSp>
      <p:sp>
        <p:nvSpPr>
          <p:cNvPr id="27" name="Text Box 3">
            <a:extLst>
              <a:ext uri="{FF2B5EF4-FFF2-40B4-BE49-F238E27FC236}">
                <a16:creationId xmlns:a16="http://schemas.microsoft.com/office/drawing/2014/main" id="{D0EFE335-15EF-0C35-CA4B-056A6F430117}"/>
              </a:ext>
            </a:extLst>
          </p:cNvPr>
          <p:cNvSpPr txBox="1">
            <a:spLocks noChangeArrowheads="1"/>
          </p:cNvSpPr>
          <p:nvPr/>
        </p:nvSpPr>
        <p:spPr bwMode="auto">
          <a:xfrm>
            <a:off x="4376954" y="3002237"/>
            <a:ext cx="3321738" cy="369332"/>
          </a:xfrm>
          <a:prstGeom prst="rect">
            <a:avLst/>
          </a:prstGeom>
          <a:noFill/>
          <a:ln w="9525">
            <a:noFill/>
            <a:miter lim="800000"/>
            <a:headEnd/>
            <a:tailEnd/>
          </a:ln>
        </p:spPr>
        <p:txBody>
          <a:bodyPr wrap="square" anchor="ctr">
            <a:spAutoFit/>
          </a:bodyPr>
          <a:lstStyle>
            <a:defPPr marR="0" lvl="0" algn="l" rtl="0">
              <a:lnSpc>
                <a:spcPct val="100000"/>
              </a:lnSpc>
              <a:spcBef>
                <a:spcPts val="0"/>
              </a:spcBef>
              <a:spcAft>
                <a:spcPts val="0"/>
              </a:spcAft>
              <a:defRPr lang="en-US"/>
            </a:defPPr>
            <a:lvl1pPr algn="ctr" defTabSz="914446" fontAlgn="base">
              <a:spcBef>
                <a:spcPct val="50000"/>
              </a:spcBef>
              <a:spcAft>
                <a:spcPct val="0"/>
              </a:spcAft>
              <a:buClr>
                <a:srgbClr val="000000"/>
              </a:buClr>
              <a:defRPr b="1" kern="0">
                <a:solidFill>
                  <a:srgbClr val="000000">
                    <a:lumMod val="95000"/>
                    <a:lumOff val="5000"/>
                  </a:srgbClr>
                </a:solidFill>
                <a:latin typeface="Quattrocento Sans" panose="020B0502050000020003" pitchFamily="34" charset="0"/>
                <a:cs typeface="Arial"/>
              </a:defRPr>
            </a:lvl1pPr>
          </a:lstStyle>
          <a:p>
            <a:r>
              <a:rPr lang="en-GB" noProof="0">
                <a:sym typeface="Arial"/>
              </a:rPr>
              <a:t>Organisation</a:t>
            </a:r>
          </a:p>
        </p:txBody>
      </p:sp>
      <p:cxnSp>
        <p:nvCxnSpPr>
          <p:cNvPr id="28" name="Straight Arrow Connector 69">
            <a:extLst>
              <a:ext uri="{FF2B5EF4-FFF2-40B4-BE49-F238E27FC236}">
                <a16:creationId xmlns:a16="http://schemas.microsoft.com/office/drawing/2014/main" id="{611B217B-B469-D005-C828-921C7F300AEF}"/>
              </a:ext>
            </a:extLst>
          </p:cNvPr>
          <p:cNvCxnSpPr>
            <a:cxnSpLocks/>
          </p:cNvCxnSpPr>
          <p:nvPr/>
        </p:nvCxnSpPr>
        <p:spPr>
          <a:xfrm flipH="1">
            <a:off x="6705134" y="4901948"/>
            <a:ext cx="4067483" cy="0"/>
          </a:xfrm>
          <a:prstGeom prst="straightConnector1">
            <a:avLst/>
          </a:prstGeom>
          <a:noFill/>
          <a:ln w="28575">
            <a:solidFill>
              <a:srgbClr val="A6A6A6"/>
            </a:solidFill>
          </a:ln>
        </p:spPr>
      </p:cxnSp>
      <p:sp>
        <p:nvSpPr>
          <p:cNvPr id="29" name="Rectángulo 28">
            <a:extLst>
              <a:ext uri="{FF2B5EF4-FFF2-40B4-BE49-F238E27FC236}">
                <a16:creationId xmlns:a16="http://schemas.microsoft.com/office/drawing/2014/main" id="{CB2FF700-8210-0CCF-CC1B-1F9D0DFDE980}"/>
              </a:ext>
            </a:extLst>
          </p:cNvPr>
          <p:cNvSpPr/>
          <p:nvPr/>
        </p:nvSpPr>
        <p:spPr>
          <a:xfrm>
            <a:off x="4475098" y="3371221"/>
            <a:ext cx="3125450" cy="128583"/>
          </a:xfrm>
          <a:prstGeom prst="rect">
            <a:avLst/>
          </a:prstGeom>
          <a:solidFill>
            <a:schemeClr val="bg1"/>
          </a:solid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pic>
        <p:nvPicPr>
          <p:cNvPr id="1026" name="Picture 2" descr="Home">
            <a:extLst>
              <a:ext uri="{FF2B5EF4-FFF2-40B4-BE49-F238E27FC236}">
                <a16:creationId xmlns:a16="http://schemas.microsoft.com/office/drawing/2014/main" id="{F4736266-8BC0-7D53-3B99-C7C351AF570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a:off x="670253" y="5583282"/>
            <a:ext cx="1286486" cy="953868"/>
          </a:xfrm>
          <a:prstGeom prst="rect">
            <a:avLst/>
          </a:prstGeom>
          <a:noFill/>
          <a:extLst>
            <a:ext uri="{909E8E84-426E-40DD-AFC4-6F175D3DCCD1}">
              <a14:hiddenFill xmlns:a14="http://schemas.microsoft.com/office/drawing/2010/main">
                <a:solidFill>
                  <a:srgbClr val="FFFFFF"/>
                </a:solidFill>
              </a14:hiddenFill>
            </a:ext>
          </a:extLst>
        </p:spPr>
      </p:pic>
      <p:cxnSp>
        <p:nvCxnSpPr>
          <p:cNvPr id="34" name="Straight Arrow Connector 69">
            <a:extLst>
              <a:ext uri="{FF2B5EF4-FFF2-40B4-BE49-F238E27FC236}">
                <a16:creationId xmlns:a16="http://schemas.microsoft.com/office/drawing/2014/main" id="{D1C8679B-3639-A87B-2EA2-29B14E534D3C}"/>
              </a:ext>
            </a:extLst>
          </p:cNvPr>
          <p:cNvCxnSpPr>
            <a:cxnSpLocks/>
          </p:cNvCxnSpPr>
          <p:nvPr/>
        </p:nvCxnSpPr>
        <p:spPr>
          <a:xfrm flipH="1">
            <a:off x="1539218" y="5027133"/>
            <a:ext cx="3194038" cy="0"/>
          </a:xfrm>
          <a:prstGeom prst="straightConnector1">
            <a:avLst/>
          </a:prstGeom>
          <a:noFill/>
          <a:ln w="28575">
            <a:solidFill>
              <a:srgbClr val="A6A6A6"/>
            </a:solidFill>
          </a:ln>
        </p:spPr>
      </p:cxnSp>
      <p:grpSp>
        <p:nvGrpSpPr>
          <p:cNvPr id="30" name="Grupo 29">
            <a:extLst>
              <a:ext uri="{FF2B5EF4-FFF2-40B4-BE49-F238E27FC236}">
                <a16:creationId xmlns:a16="http://schemas.microsoft.com/office/drawing/2014/main" id="{6EF6F72D-5E00-9BA2-5A7A-A8DF37293867}"/>
              </a:ext>
            </a:extLst>
          </p:cNvPr>
          <p:cNvGrpSpPr/>
          <p:nvPr/>
        </p:nvGrpSpPr>
        <p:grpSpPr>
          <a:xfrm>
            <a:off x="6124695" y="3508153"/>
            <a:ext cx="580439" cy="1656000"/>
            <a:chOff x="6070186" y="3317523"/>
            <a:chExt cx="426385" cy="1680293"/>
          </a:xfrm>
        </p:grpSpPr>
        <p:sp>
          <p:nvSpPr>
            <p:cNvPr id="2" name="Trapecio 1">
              <a:extLst>
                <a:ext uri="{FF2B5EF4-FFF2-40B4-BE49-F238E27FC236}">
                  <a16:creationId xmlns:a16="http://schemas.microsoft.com/office/drawing/2014/main" id="{D3158F20-6918-A627-528C-4656E8ACDD0F}"/>
                </a:ext>
              </a:extLst>
            </p:cNvPr>
            <p:cNvSpPr/>
            <p:nvPr/>
          </p:nvSpPr>
          <p:spPr>
            <a:xfrm>
              <a:off x="6070186" y="3317523"/>
              <a:ext cx="426385" cy="1680293"/>
            </a:xfrm>
            <a:prstGeom prst="trapezoid">
              <a:avLst>
                <a:gd name="adj" fmla="val 0"/>
              </a:avLst>
            </a:prstGeom>
            <a:no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3" name="Text Box 3">
              <a:extLst>
                <a:ext uri="{FF2B5EF4-FFF2-40B4-BE49-F238E27FC236}">
                  <a16:creationId xmlns:a16="http://schemas.microsoft.com/office/drawing/2014/main" id="{5441AC07-28F3-D854-3935-B29E85B4F1A1}"/>
                </a:ext>
              </a:extLst>
            </p:cNvPr>
            <p:cNvSpPr txBox="1">
              <a:spLocks noChangeArrowheads="1"/>
            </p:cNvSpPr>
            <p:nvPr/>
          </p:nvSpPr>
          <p:spPr bwMode="auto">
            <a:xfrm rot="16200000">
              <a:off x="5570083" y="4049466"/>
              <a:ext cx="1424131" cy="271308"/>
            </a:xfrm>
            <a:prstGeom prst="rect">
              <a:avLst/>
            </a:prstGeom>
            <a:noFill/>
            <a:ln w="9525">
              <a:noFill/>
              <a:miter lim="800000"/>
              <a:headEnd/>
              <a:tailEnd/>
            </a:ln>
          </p:spPr>
          <p:txBody>
            <a:bodyPr wrap="square" anchor="ctr">
              <a:spAutoFit/>
            </a:bodyPr>
            <a:lstStyle>
              <a:defPPr marR="0" lvl="0" algn="l" rtl="0">
                <a:lnSpc>
                  <a:spcPct val="100000"/>
                </a:lnSpc>
                <a:spcBef>
                  <a:spcPts val="0"/>
                </a:spcBef>
                <a:spcAft>
                  <a:spcPts val="0"/>
                </a:spcAft>
                <a:defRPr/>
              </a:defPPr>
              <a:lvl1pPr algn="ctr" fontAlgn="base">
                <a:spcBef>
                  <a:spcPct val="50000"/>
                </a:spcBef>
                <a:spcAft>
                  <a:spcPct val="0"/>
                </a:spcAft>
                <a:defRPr sz="1800" b="1">
                  <a:solidFill>
                    <a:schemeClr val="bg1"/>
                  </a:solidFill>
                  <a:latin typeface="Quattrocento Sans" panose="020B0502050000020003" pitchFamily="34" charset="0"/>
                </a:defRPr>
              </a:lvl1pPr>
            </a:lstStyle>
            <a:p>
              <a:pPr defTabSz="914446">
                <a:buClr>
                  <a:srgbClr val="000000"/>
                </a:buClr>
                <a:defRPr/>
              </a:pPr>
              <a:r>
                <a:rPr lang="en-GB" kern="0" noProof="0">
                  <a:solidFill>
                    <a:srgbClr val="000000">
                      <a:lumMod val="95000"/>
                      <a:lumOff val="5000"/>
                    </a:srgbClr>
                  </a:solidFill>
                  <a:cs typeface="Arial"/>
                  <a:sym typeface="Arial"/>
                </a:rPr>
                <a:t>Security</a:t>
              </a:r>
            </a:p>
          </p:txBody>
        </p:sp>
      </p:grpSp>
      <p:sp>
        <p:nvSpPr>
          <p:cNvPr id="38" name="CuadroTexto 37">
            <a:extLst>
              <a:ext uri="{FF2B5EF4-FFF2-40B4-BE49-F238E27FC236}">
                <a16:creationId xmlns:a16="http://schemas.microsoft.com/office/drawing/2014/main" id="{8AF8D88D-2D38-A67E-5266-737A7977EC63}"/>
              </a:ext>
            </a:extLst>
          </p:cNvPr>
          <p:cNvSpPr txBox="1"/>
          <p:nvPr/>
        </p:nvSpPr>
        <p:spPr>
          <a:xfrm>
            <a:off x="8049758" y="4177217"/>
            <a:ext cx="2742417" cy="600164"/>
          </a:xfrm>
          <a:prstGeom prst="rect">
            <a:avLst/>
          </a:prstGeom>
        </p:spPr>
        <p:txBody>
          <a:bodyPr wrap="square">
            <a:noAutofit/>
          </a:bodyPr>
          <a:lstStyle>
            <a:defPPr>
              <a:defRPr lang="en-US"/>
            </a:defPPr>
            <a:lvl1pPr defTabSz="609660">
              <a:defRPr sz="1100"/>
            </a:lvl1pPr>
          </a:lstStyle>
          <a:p>
            <a:pPr algn="r"/>
            <a:r>
              <a:rPr lang="en-GB" noProof="0"/>
              <a:t>Protects information through encryption, controls, and compliance. Role- and attribute-based access rules and levels are set. </a:t>
            </a:r>
          </a:p>
        </p:txBody>
      </p:sp>
      <p:sp>
        <p:nvSpPr>
          <p:cNvPr id="40" name="CuadroTexto 39">
            <a:extLst>
              <a:ext uri="{FF2B5EF4-FFF2-40B4-BE49-F238E27FC236}">
                <a16:creationId xmlns:a16="http://schemas.microsoft.com/office/drawing/2014/main" id="{D011F7C4-D68C-0E79-FE3A-8428761237A6}"/>
              </a:ext>
            </a:extLst>
          </p:cNvPr>
          <p:cNvSpPr txBox="1"/>
          <p:nvPr/>
        </p:nvSpPr>
        <p:spPr>
          <a:xfrm>
            <a:off x="8007709" y="2876069"/>
            <a:ext cx="2858422" cy="600164"/>
          </a:xfrm>
          <a:prstGeom prst="rect">
            <a:avLst/>
          </a:prstGeom>
        </p:spPr>
        <p:txBody>
          <a:bodyPr wrap="square">
            <a:noAutofit/>
          </a:bodyPr>
          <a:lstStyle>
            <a:defPPr>
              <a:defRPr lang="en-US"/>
            </a:defPPr>
            <a:lvl1pPr defTabSz="609660">
              <a:defRPr sz="1100"/>
            </a:lvl1pPr>
          </a:lstStyle>
          <a:p>
            <a:pPr algn="r"/>
            <a:r>
              <a:rPr lang="en-GB" noProof="0"/>
              <a:t>Guarantees key data (customers, products, employees, etc.). Applies consolidation and normalisation rules to achieve a reliable and unified view of information.</a:t>
            </a:r>
          </a:p>
        </p:txBody>
      </p:sp>
      <p:sp>
        <p:nvSpPr>
          <p:cNvPr id="42" name="CuadroTexto 41">
            <a:extLst>
              <a:ext uri="{FF2B5EF4-FFF2-40B4-BE49-F238E27FC236}">
                <a16:creationId xmlns:a16="http://schemas.microsoft.com/office/drawing/2014/main" id="{C328239C-0AEF-77C9-B9F3-902D1B4CDE14}"/>
              </a:ext>
            </a:extLst>
          </p:cNvPr>
          <p:cNvSpPr txBox="1"/>
          <p:nvPr/>
        </p:nvSpPr>
        <p:spPr>
          <a:xfrm>
            <a:off x="4296158" y="5966133"/>
            <a:ext cx="3642371" cy="600164"/>
          </a:xfrm>
          <a:prstGeom prst="rect">
            <a:avLst/>
          </a:prstGeom>
        </p:spPr>
        <p:txBody>
          <a:bodyPr wrap="square">
            <a:noAutofit/>
          </a:bodyPr>
          <a:lstStyle>
            <a:defPPr>
              <a:defRPr lang="en-US"/>
            </a:defPPr>
            <a:lvl1pPr defTabSz="609660">
              <a:defRPr sz="1100"/>
            </a:lvl1pPr>
          </a:lstStyle>
          <a:p>
            <a:pPr algn="ctr"/>
            <a:r>
              <a:rPr lang="en-GB" noProof="0"/>
              <a:t>Organise, integrate, and align data efficiently. It employs governance, monitoring, and exploitation tools to maximise the value of information.</a:t>
            </a:r>
          </a:p>
        </p:txBody>
      </p:sp>
      <p:sp>
        <p:nvSpPr>
          <p:cNvPr id="44" name="CuadroTexto 43">
            <a:extLst>
              <a:ext uri="{FF2B5EF4-FFF2-40B4-BE49-F238E27FC236}">
                <a16:creationId xmlns:a16="http://schemas.microsoft.com/office/drawing/2014/main" id="{8712DF9E-D2F6-2560-0CCF-1DDE1D47A735}"/>
              </a:ext>
            </a:extLst>
          </p:cNvPr>
          <p:cNvSpPr txBox="1"/>
          <p:nvPr/>
        </p:nvSpPr>
        <p:spPr>
          <a:xfrm>
            <a:off x="4127185" y="1805363"/>
            <a:ext cx="3959704" cy="600164"/>
          </a:xfrm>
          <a:prstGeom prst="rect">
            <a:avLst/>
          </a:prstGeom>
        </p:spPr>
        <p:txBody>
          <a:bodyPr wrap="square">
            <a:noAutofit/>
          </a:bodyPr>
          <a:lstStyle>
            <a:defPPr>
              <a:defRPr lang="en-US"/>
            </a:defPPr>
            <a:lvl1pPr defTabSz="609660">
              <a:defRPr sz="1100"/>
            </a:lvl1pPr>
          </a:lstStyle>
          <a:p>
            <a:pPr algn="ctr"/>
            <a:r>
              <a:rPr lang="en-GB" noProof="0"/>
              <a:t>Structure and leadership for data management. Organisational models, committees and key guidelines. Combines effective communication.</a:t>
            </a:r>
          </a:p>
        </p:txBody>
      </p:sp>
      <p:cxnSp>
        <p:nvCxnSpPr>
          <p:cNvPr id="45" name="Straight Arrow Connector 69">
            <a:extLst>
              <a:ext uri="{FF2B5EF4-FFF2-40B4-BE49-F238E27FC236}">
                <a16:creationId xmlns:a16="http://schemas.microsoft.com/office/drawing/2014/main" id="{DDB5329A-5883-08BE-DF68-310566ABEC21}"/>
              </a:ext>
            </a:extLst>
          </p:cNvPr>
          <p:cNvCxnSpPr>
            <a:cxnSpLocks/>
          </p:cNvCxnSpPr>
          <p:nvPr/>
        </p:nvCxnSpPr>
        <p:spPr>
          <a:xfrm flipV="1">
            <a:off x="6117344" y="5682239"/>
            <a:ext cx="0" cy="291941"/>
          </a:xfrm>
          <a:prstGeom prst="straightConnector1">
            <a:avLst/>
          </a:prstGeom>
          <a:noFill/>
          <a:ln w="28575">
            <a:solidFill>
              <a:srgbClr val="A6A6A6"/>
            </a:solidFill>
          </a:ln>
        </p:spPr>
      </p:cxnSp>
      <p:cxnSp>
        <p:nvCxnSpPr>
          <p:cNvPr id="49" name="Straight Arrow Connector 69">
            <a:extLst>
              <a:ext uri="{FF2B5EF4-FFF2-40B4-BE49-F238E27FC236}">
                <a16:creationId xmlns:a16="http://schemas.microsoft.com/office/drawing/2014/main" id="{446BC722-4002-3E23-2BE8-5FDB1FBE3E31}"/>
              </a:ext>
            </a:extLst>
          </p:cNvPr>
          <p:cNvCxnSpPr>
            <a:cxnSpLocks/>
          </p:cNvCxnSpPr>
          <p:nvPr/>
        </p:nvCxnSpPr>
        <p:spPr>
          <a:xfrm flipV="1">
            <a:off x="6107037" y="2516146"/>
            <a:ext cx="0" cy="291941"/>
          </a:xfrm>
          <a:prstGeom prst="straightConnector1">
            <a:avLst/>
          </a:prstGeom>
          <a:noFill/>
          <a:ln w="28575">
            <a:solidFill>
              <a:srgbClr val="A6A6A6"/>
            </a:solidFill>
          </a:ln>
        </p:spPr>
      </p:cxnSp>
      <p:pic>
        <p:nvPicPr>
          <p:cNvPr id="14" name="Imagen 13" descr="Logotipo&#10;&#10;Descripción generada automáticamente">
            <a:extLst>
              <a:ext uri="{FF2B5EF4-FFF2-40B4-BE49-F238E27FC236}">
                <a16:creationId xmlns:a16="http://schemas.microsoft.com/office/drawing/2014/main" id="{C14E9489-E848-D3B5-DEBE-A0C14536020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59715" y="6016747"/>
            <a:ext cx="2085823" cy="481343"/>
          </a:xfrm>
          <a:prstGeom prst="rect">
            <a:avLst/>
          </a:prstGeom>
        </p:spPr>
      </p:pic>
      <p:sp>
        <p:nvSpPr>
          <p:cNvPr id="15" name="Rectangle 57">
            <a:extLst>
              <a:ext uri="{FF2B5EF4-FFF2-40B4-BE49-F238E27FC236}">
                <a16:creationId xmlns:a16="http://schemas.microsoft.com/office/drawing/2014/main" id="{3356FCC8-455E-C249-ADAB-D085C16D39BB}"/>
              </a:ext>
            </a:extLst>
          </p:cNvPr>
          <p:cNvSpPr>
            <a:spLocks noChangeArrowheads="1"/>
          </p:cNvSpPr>
          <p:nvPr/>
        </p:nvSpPr>
        <p:spPr bwMode="gray">
          <a:xfrm>
            <a:off x="226220" y="198916"/>
            <a:ext cx="7407741" cy="984830"/>
          </a:xfrm>
          <a:prstGeom prst="rect">
            <a:avLst/>
          </a:prstGeom>
          <a:noFill/>
          <a:ln w="9525">
            <a:noFill/>
            <a:miter lim="800000"/>
            <a:headEnd/>
            <a:tailEnd/>
          </a:ln>
          <a:effectLst/>
        </p:spPr>
        <p:txBody>
          <a:bodyPr wrap="square" lIns="91386" tIns="45693" rIns="91386" bIns="45693">
            <a:spAutoFit/>
          </a:bodyPr>
          <a:lstStyle/>
          <a:p>
            <a:pPr defTabSz="609630"/>
            <a:r>
              <a:rPr lang="en-GB" sz="4000" b="1" noProof="0">
                <a:solidFill>
                  <a:schemeClr val="tx1">
                    <a:lumMod val="95000"/>
                    <a:lumOff val="5000"/>
                  </a:schemeClr>
                </a:solidFill>
                <a:latin typeface="Quattrocento Sans" panose="020B0502050000020003" pitchFamily="34" charset="0"/>
                <a:ea typeface="Lato"/>
                <a:cs typeface="Lato"/>
                <a:sym typeface="Arial"/>
              </a:rPr>
              <a:t>Data Governance</a:t>
            </a:r>
          </a:p>
          <a:p>
            <a:pPr defTabSz="609630" hangingPunct="0"/>
            <a:r>
              <a:rPr lang="en-GB" kern="0" noProof="0">
                <a:solidFill>
                  <a:srgbClr val="8A0051"/>
                </a:solidFill>
                <a:latin typeface="Quattrocento Sans" panose="020B0502050000020003" pitchFamily="34" charset="0"/>
                <a:cs typeface="Calibri"/>
                <a:sym typeface="Calibri"/>
              </a:rPr>
              <a:t>Best Practices Datasphere</a:t>
            </a:r>
          </a:p>
        </p:txBody>
      </p:sp>
      <p:pic>
        <p:nvPicPr>
          <p:cNvPr id="32" name="Imagen 31" descr="Logotipo&#10;&#10;Descripción generada automáticamente">
            <a:extLst>
              <a:ext uri="{FF2B5EF4-FFF2-40B4-BE49-F238E27FC236}">
                <a16:creationId xmlns:a16="http://schemas.microsoft.com/office/drawing/2014/main" id="{47F45592-27C8-A39F-1462-D6685BD340F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75643" y="422965"/>
            <a:ext cx="1935381" cy="446626"/>
          </a:xfrm>
          <a:prstGeom prst="rect">
            <a:avLst/>
          </a:prstGeom>
        </p:spPr>
      </p:pic>
      <p:pic>
        <p:nvPicPr>
          <p:cNvPr id="33" name="Picture 2" descr="AstraZeneca Logo, symbol, meaning, history, PNG, brand">
            <a:extLst>
              <a:ext uri="{FF2B5EF4-FFF2-40B4-BE49-F238E27FC236}">
                <a16:creationId xmlns:a16="http://schemas.microsoft.com/office/drawing/2014/main" id="{7AD38FB9-0DEF-D5C4-979E-396ADD35869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75018" y="213658"/>
            <a:ext cx="1267373" cy="712897"/>
          </a:xfrm>
          <a:prstGeom prst="rect">
            <a:avLst/>
          </a:prstGeom>
          <a:noFill/>
          <a:extLst>
            <a:ext uri="{909E8E84-426E-40DD-AFC4-6F175D3DCCD1}">
              <a14:hiddenFill xmlns:a14="http://schemas.microsoft.com/office/drawing/2010/main">
                <a:solidFill>
                  <a:srgbClr val="FFFFFF"/>
                </a:solidFill>
              </a14:hiddenFill>
            </a:ext>
          </a:extLst>
        </p:spPr>
      </p:pic>
      <p:sp>
        <p:nvSpPr>
          <p:cNvPr id="35" name="Object13">
            <a:extLst>
              <a:ext uri="{FF2B5EF4-FFF2-40B4-BE49-F238E27FC236}">
                <a16:creationId xmlns:a16="http://schemas.microsoft.com/office/drawing/2014/main" id="{2941B1C9-B873-3718-C221-F94E80EAEE75}"/>
              </a:ext>
            </a:extLst>
          </p:cNvPr>
          <p:cNvSpPr txBox="1"/>
          <p:nvPr/>
        </p:nvSpPr>
        <p:spPr>
          <a:xfrm>
            <a:off x="297025" y="1250817"/>
            <a:ext cx="7105119" cy="86177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t">
            <a:spAutoFit/>
          </a:bodyPr>
          <a:lstStyle>
            <a:lvl1pPr>
              <a:lnSpc>
                <a:spcPts val="1900"/>
              </a:lnSpc>
              <a:defRPr sz="1300">
                <a:solidFill>
                  <a:srgbClr val="2D2D2D"/>
                </a:solidFill>
                <a:latin typeface="DM Sans Regular"/>
                <a:ea typeface="DM Sans Regular"/>
                <a:cs typeface="DM Sans Regular"/>
                <a:sym typeface="DM Sans Regular"/>
              </a:defRPr>
            </a:lvl1pPr>
          </a:lstStyle>
          <a:p>
            <a:pPr defTabSz="914446">
              <a:lnSpc>
                <a:spcPct val="100000"/>
              </a:lnSpc>
              <a:buClr>
                <a:srgbClr val="000000"/>
              </a:buClr>
              <a:defRPr/>
            </a:pPr>
            <a:r>
              <a:rPr lang="en-GB" sz="1400" kern="0" noProof="0">
                <a:solidFill>
                  <a:srgbClr val="000000">
                    <a:lumMod val="95000"/>
                    <a:lumOff val="5000"/>
                  </a:srgbClr>
                </a:solidFill>
                <a:latin typeface="Quattrocento Sans"/>
                <a:cs typeface="Arial"/>
                <a:sym typeface="Arial"/>
              </a:rPr>
              <a:t>Data Governance seeks alignment with a </a:t>
            </a:r>
            <a:r>
              <a:rPr lang="en-GB" sz="1400" b="1" kern="0" noProof="0">
                <a:solidFill>
                  <a:srgbClr val="000000">
                    <a:lumMod val="95000"/>
                    <a:lumOff val="5000"/>
                  </a:srgbClr>
                </a:solidFill>
                <a:latin typeface="Quattrocento Sans"/>
                <a:cs typeface="Arial"/>
                <a:sym typeface="Arial"/>
              </a:rPr>
              <a:t>Data Driven AI Organization </a:t>
            </a:r>
            <a:r>
              <a:rPr lang="en-GB" sz="1400" kern="0" noProof="0">
                <a:solidFill>
                  <a:srgbClr val="000000">
                    <a:lumMod val="95000"/>
                    <a:lumOff val="5000"/>
                  </a:srgbClr>
                </a:solidFill>
                <a:latin typeface="Quattrocento Sans"/>
                <a:cs typeface="Arial"/>
                <a:sym typeface="Arial"/>
              </a:rPr>
              <a:t>(Data culture + Technology) strategy, where </a:t>
            </a:r>
            <a:r>
              <a:rPr lang="en-GB" sz="1400" b="1" kern="0" noProof="0">
                <a:solidFill>
                  <a:srgbClr val="000000">
                    <a:lumMod val="95000"/>
                    <a:lumOff val="5000"/>
                  </a:srgbClr>
                </a:solidFill>
                <a:latin typeface="Quattrocento Sans"/>
                <a:cs typeface="Arial"/>
                <a:sym typeface="Arial"/>
              </a:rPr>
              <a:t>data is a strategic asset</a:t>
            </a:r>
            <a:r>
              <a:rPr lang="en-GB" sz="1400" kern="0" noProof="0">
                <a:solidFill>
                  <a:srgbClr val="000000">
                    <a:lumMod val="95000"/>
                    <a:lumOff val="5000"/>
                  </a:srgbClr>
                </a:solidFill>
                <a:latin typeface="Quattrocento Sans"/>
                <a:cs typeface="Arial"/>
                <a:sym typeface="Arial"/>
              </a:rPr>
              <a:t>.</a:t>
            </a:r>
          </a:p>
          <a:p>
            <a:pPr defTabSz="914446">
              <a:lnSpc>
                <a:spcPct val="100000"/>
              </a:lnSpc>
              <a:buClr>
                <a:srgbClr val="000000"/>
              </a:buClr>
              <a:defRPr/>
            </a:pPr>
            <a:endParaRPr lang="en-GB" sz="1400" b="1" kern="0" noProof="0">
              <a:solidFill>
                <a:srgbClr val="000000">
                  <a:lumMod val="95000"/>
                  <a:lumOff val="5000"/>
                </a:srgbClr>
              </a:solidFill>
              <a:latin typeface="Quattrocento Sans"/>
              <a:cs typeface="Arial"/>
              <a:sym typeface="Arial"/>
            </a:endParaRPr>
          </a:p>
          <a:p>
            <a:pPr defTabSz="914446">
              <a:lnSpc>
                <a:spcPct val="100000"/>
              </a:lnSpc>
              <a:buClr>
                <a:srgbClr val="000000"/>
              </a:buClr>
              <a:defRPr/>
            </a:pPr>
            <a:r>
              <a:rPr lang="en-GB" sz="1400" kern="0" noProof="0">
                <a:solidFill>
                  <a:srgbClr val="000000">
                    <a:lumMod val="95000"/>
                    <a:lumOff val="5000"/>
                  </a:srgbClr>
                </a:solidFill>
                <a:latin typeface="Quattrocento Sans"/>
                <a:cs typeface="Arial"/>
                <a:sym typeface="Arial"/>
              </a:rPr>
              <a:t>It is based on the following </a:t>
            </a:r>
            <a:r>
              <a:rPr lang="en-GB" sz="1400" b="1" kern="0" noProof="0">
                <a:solidFill>
                  <a:srgbClr val="000000">
                    <a:lumMod val="95000"/>
                    <a:lumOff val="5000"/>
                  </a:srgbClr>
                </a:solidFill>
                <a:latin typeface="Quattrocento Sans"/>
                <a:cs typeface="Arial"/>
                <a:sym typeface="Arial"/>
              </a:rPr>
              <a:t>pillars</a:t>
            </a:r>
            <a:r>
              <a:rPr lang="en-GB" sz="1400" kern="0" noProof="0">
                <a:solidFill>
                  <a:srgbClr val="000000">
                    <a:lumMod val="95000"/>
                    <a:lumOff val="5000"/>
                  </a:srgbClr>
                </a:solidFill>
                <a:latin typeface="Quattrocento Sans"/>
                <a:cs typeface="Arial"/>
                <a:sym typeface="Arial"/>
              </a:rPr>
              <a:t>: </a:t>
            </a:r>
          </a:p>
        </p:txBody>
      </p:sp>
    </p:spTree>
    <p:extLst>
      <p:ext uri="{BB962C8B-B14F-4D97-AF65-F5344CB8AC3E}">
        <p14:creationId xmlns:p14="http://schemas.microsoft.com/office/powerpoint/2010/main" val="19830628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3F48F3A8-8FD2-A18F-32C5-058A3CB25520}"/>
            </a:ext>
          </a:extLst>
        </p:cNvPr>
        <p:cNvGrpSpPr/>
        <p:nvPr/>
      </p:nvGrpSpPr>
      <p:grpSpPr>
        <a:xfrm>
          <a:off x="0" y="0"/>
          <a:ext cx="0" cy="0"/>
          <a:chOff x="0" y="0"/>
          <a:chExt cx="0" cy="0"/>
        </a:xfrm>
      </p:grpSpPr>
      <p:sp>
        <p:nvSpPr>
          <p:cNvPr id="10" name="Triángulo isósceles 9">
            <a:extLst>
              <a:ext uri="{FF2B5EF4-FFF2-40B4-BE49-F238E27FC236}">
                <a16:creationId xmlns:a16="http://schemas.microsoft.com/office/drawing/2014/main" id="{81317977-9F7B-8CE6-F3A1-A6E920AE13DC}"/>
              </a:ext>
            </a:extLst>
          </p:cNvPr>
          <p:cNvSpPr>
            <a:spLocks/>
          </p:cNvSpPr>
          <p:nvPr/>
        </p:nvSpPr>
        <p:spPr>
          <a:xfrm>
            <a:off x="2886681" y="2693540"/>
            <a:ext cx="3321738" cy="511673"/>
          </a:xfrm>
          <a:prstGeom prst="triangle">
            <a:avLst>
              <a:gd name="adj" fmla="val 51721"/>
            </a:avLst>
          </a:prstGeom>
          <a:no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13" name="Rectangle 60">
            <a:extLst>
              <a:ext uri="{FF2B5EF4-FFF2-40B4-BE49-F238E27FC236}">
                <a16:creationId xmlns:a16="http://schemas.microsoft.com/office/drawing/2014/main" id="{752ADC24-E1A7-75DB-CBAA-8B74D451AB70}"/>
              </a:ext>
            </a:extLst>
          </p:cNvPr>
          <p:cNvSpPr/>
          <p:nvPr/>
        </p:nvSpPr>
        <p:spPr>
          <a:xfrm>
            <a:off x="8075175" y="5168245"/>
            <a:ext cx="2892346" cy="773836"/>
          </a:xfrm>
          <a:prstGeom prst="rect">
            <a:avLst/>
          </a:prstGeom>
        </p:spPr>
        <p:txBody>
          <a:bodyPr wrap="square">
            <a:noAutofit/>
          </a:bodyPr>
          <a:lstStyle/>
          <a:p>
            <a:pPr defTabSz="609660">
              <a:defRPr/>
            </a:pPr>
            <a:r>
              <a:rPr lang="en-GB" sz="1100" noProof="0"/>
              <a:t>Discovery of the origin and path of data with full transparency. Centralise catalogues, glossaries, and metadata management.</a:t>
            </a:r>
            <a:endParaRPr lang="en-GB" sz="1100" kern="0" noProof="0">
              <a:solidFill>
                <a:srgbClr val="000000">
                  <a:lumMod val="95000"/>
                  <a:lumOff val="5000"/>
                </a:srgbClr>
              </a:solidFill>
              <a:latin typeface="Quattrocento Sans"/>
              <a:cs typeface="Arial"/>
              <a:sym typeface="Arial"/>
            </a:endParaRPr>
          </a:p>
        </p:txBody>
      </p:sp>
      <p:sp>
        <p:nvSpPr>
          <p:cNvPr id="16" name="Rectangle 68">
            <a:extLst>
              <a:ext uri="{FF2B5EF4-FFF2-40B4-BE49-F238E27FC236}">
                <a16:creationId xmlns:a16="http://schemas.microsoft.com/office/drawing/2014/main" id="{875A6E26-4D3A-BB60-3FA9-A45F2AB824EE}"/>
              </a:ext>
            </a:extLst>
          </p:cNvPr>
          <p:cNvSpPr/>
          <p:nvPr/>
        </p:nvSpPr>
        <p:spPr>
          <a:xfrm>
            <a:off x="8226331" y="2009245"/>
            <a:ext cx="2639800" cy="955949"/>
          </a:xfrm>
          <a:prstGeom prst="rect">
            <a:avLst/>
          </a:prstGeom>
        </p:spPr>
        <p:txBody>
          <a:bodyPr wrap="square">
            <a:noAutofit/>
          </a:bodyPr>
          <a:lstStyle/>
          <a:p>
            <a:pPr defTabSz="609660">
              <a:defRPr/>
            </a:pPr>
            <a:r>
              <a:rPr lang="en-GB" sz="1100" noProof="0"/>
              <a:t>It ensures accurate, complete and always up-to-date data. It establishes business rules and general rules.</a:t>
            </a:r>
            <a:endParaRPr lang="en-GB" sz="1100" kern="0" noProof="0">
              <a:solidFill>
                <a:srgbClr val="000000">
                  <a:lumMod val="95000"/>
                  <a:lumOff val="5000"/>
                </a:srgbClr>
              </a:solidFill>
              <a:latin typeface="Quattrocento Sans"/>
              <a:cs typeface="Arial"/>
              <a:sym typeface="Arial"/>
            </a:endParaRPr>
          </a:p>
        </p:txBody>
      </p:sp>
      <p:sp>
        <p:nvSpPr>
          <p:cNvPr id="17" name="Rectángulo 16">
            <a:extLst>
              <a:ext uri="{FF2B5EF4-FFF2-40B4-BE49-F238E27FC236}">
                <a16:creationId xmlns:a16="http://schemas.microsoft.com/office/drawing/2014/main" id="{570FDD92-11DE-C0C4-7D97-AA8B8F4EA20C}"/>
              </a:ext>
            </a:extLst>
          </p:cNvPr>
          <p:cNvSpPr/>
          <p:nvPr/>
        </p:nvSpPr>
        <p:spPr>
          <a:xfrm>
            <a:off x="2874272" y="5057442"/>
            <a:ext cx="3365225" cy="148912"/>
          </a:xfrm>
          <a:prstGeom prst="rect">
            <a:avLst/>
          </a:prstGeom>
          <a:solidFill>
            <a:schemeClr val="bg1"/>
          </a:solid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18" name="Rectángulo 17">
            <a:extLst>
              <a:ext uri="{FF2B5EF4-FFF2-40B4-BE49-F238E27FC236}">
                <a16:creationId xmlns:a16="http://schemas.microsoft.com/office/drawing/2014/main" id="{BEFEB27A-FB82-F790-4B6F-7282CF10336C}"/>
              </a:ext>
            </a:extLst>
          </p:cNvPr>
          <p:cNvSpPr/>
          <p:nvPr/>
        </p:nvSpPr>
        <p:spPr>
          <a:xfrm>
            <a:off x="2716398" y="5205841"/>
            <a:ext cx="3642373" cy="363164"/>
          </a:xfrm>
          <a:prstGeom prst="rect">
            <a:avLst/>
          </a:prstGeom>
          <a:solidFill>
            <a:schemeClr val="bg1"/>
          </a:solid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19" name="Rectángulo 18">
            <a:extLst>
              <a:ext uri="{FF2B5EF4-FFF2-40B4-BE49-F238E27FC236}">
                <a16:creationId xmlns:a16="http://schemas.microsoft.com/office/drawing/2014/main" id="{5A49DCE2-4E09-1D5E-586F-6B734F1FEC96}"/>
              </a:ext>
            </a:extLst>
          </p:cNvPr>
          <p:cNvSpPr/>
          <p:nvPr/>
        </p:nvSpPr>
        <p:spPr>
          <a:xfrm>
            <a:off x="2889291" y="5139289"/>
            <a:ext cx="3337200" cy="248799"/>
          </a:xfrm>
          <a:prstGeom prst="rect">
            <a:avLst/>
          </a:prstGeom>
          <a:solidFill>
            <a:schemeClr val="bg1"/>
          </a:solidFill>
          <a:ln w="1079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20" name="Text Box 3">
            <a:extLst>
              <a:ext uri="{FF2B5EF4-FFF2-40B4-BE49-F238E27FC236}">
                <a16:creationId xmlns:a16="http://schemas.microsoft.com/office/drawing/2014/main" id="{1376AF8D-413D-FFE5-C56A-F36D41E5D0A6}"/>
              </a:ext>
            </a:extLst>
          </p:cNvPr>
          <p:cNvSpPr txBox="1">
            <a:spLocks noChangeArrowheads="1"/>
          </p:cNvSpPr>
          <p:nvPr/>
        </p:nvSpPr>
        <p:spPr bwMode="auto">
          <a:xfrm>
            <a:off x="3484259" y="5126508"/>
            <a:ext cx="2106650" cy="369332"/>
          </a:xfrm>
          <a:prstGeom prst="rect">
            <a:avLst/>
          </a:prstGeom>
          <a:solidFill>
            <a:schemeClr val="bg1"/>
          </a:solidFill>
          <a:ln w="9525">
            <a:noFill/>
            <a:miter lim="800000"/>
            <a:headEnd/>
            <a:tailEnd/>
          </a:ln>
        </p:spPr>
        <p:txBody>
          <a:bodyPr wrap="square">
            <a:spAutoFit/>
          </a:bodyPr>
          <a:lstStyle>
            <a:defPPr marR="0" lvl="0" algn="l" rtl="0">
              <a:lnSpc>
                <a:spcPct val="100000"/>
              </a:lnSpc>
              <a:spcBef>
                <a:spcPts val="0"/>
              </a:spcBef>
              <a:spcAft>
                <a:spcPts val="0"/>
              </a:spcAft>
              <a:defRPr/>
            </a:defPPr>
            <a:lvl1pPr algn="ctr" fontAlgn="base">
              <a:spcBef>
                <a:spcPct val="50000"/>
              </a:spcBef>
              <a:spcAft>
                <a:spcPct val="0"/>
              </a:spcAft>
              <a:defRPr sz="1800" b="1">
                <a:solidFill>
                  <a:schemeClr val="bg1"/>
                </a:solidFill>
                <a:latin typeface="Quattrocento Sans" panose="020B0502050000020003" pitchFamily="34" charset="0"/>
              </a:defRPr>
            </a:lvl1pPr>
          </a:lstStyle>
          <a:p>
            <a:pPr defTabSz="914446">
              <a:buClr>
                <a:srgbClr val="000000"/>
              </a:buClr>
              <a:defRPr/>
            </a:pPr>
            <a:r>
              <a:rPr lang="en-GB" kern="0" noProof="0">
                <a:solidFill>
                  <a:srgbClr val="000000">
                    <a:lumMod val="95000"/>
                    <a:lumOff val="5000"/>
                  </a:srgbClr>
                </a:solidFill>
                <a:cs typeface="Arial"/>
                <a:sym typeface="Arial"/>
              </a:rPr>
              <a:t>Architecture</a:t>
            </a:r>
          </a:p>
        </p:txBody>
      </p:sp>
      <p:grpSp>
        <p:nvGrpSpPr>
          <p:cNvPr id="8" name="Grupo 7">
            <a:extLst>
              <a:ext uri="{FF2B5EF4-FFF2-40B4-BE49-F238E27FC236}">
                <a16:creationId xmlns:a16="http://schemas.microsoft.com/office/drawing/2014/main" id="{E4159B3A-0B1D-AB73-A040-4F0E45FA3D95}"/>
              </a:ext>
            </a:extLst>
          </p:cNvPr>
          <p:cNvGrpSpPr/>
          <p:nvPr/>
        </p:nvGrpSpPr>
        <p:grpSpPr>
          <a:xfrm>
            <a:off x="3231965" y="3394920"/>
            <a:ext cx="7634165" cy="1810631"/>
            <a:chOff x="4678746" y="3316992"/>
            <a:chExt cx="8500803" cy="1837193"/>
          </a:xfrm>
        </p:grpSpPr>
        <p:sp>
          <p:nvSpPr>
            <p:cNvPr id="4" name="Trapecio 3">
              <a:extLst>
                <a:ext uri="{FF2B5EF4-FFF2-40B4-BE49-F238E27FC236}">
                  <a16:creationId xmlns:a16="http://schemas.microsoft.com/office/drawing/2014/main" id="{12CB976F-970F-2133-9A0C-6C5C8E75E977}"/>
                </a:ext>
              </a:extLst>
            </p:cNvPr>
            <p:cNvSpPr/>
            <p:nvPr/>
          </p:nvSpPr>
          <p:spPr>
            <a:xfrm>
              <a:off x="4678746" y="3316992"/>
              <a:ext cx="185292" cy="1680294"/>
            </a:xfrm>
            <a:prstGeom prst="trapezoid">
              <a:avLst>
                <a:gd name="adj" fmla="val 0"/>
              </a:avLst>
            </a:prstGeom>
            <a:no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21" name="Text Box 3">
              <a:extLst>
                <a:ext uri="{FF2B5EF4-FFF2-40B4-BE49-F238E27FC236}">
                  <a16:creationId xmlns:a16="http://schemas.microsoft.com/office/drawing/2014/main" id="{41CC851F-FCCE-53B2-2AF5-6E4035FCD977}"/>
                </a:ext>
              </a:extLst>
            </p:cNvPr>
            <p:cNvSpPr txBox="1">
              <a:spLocks noChangeArrowheads="1"/>
            </p:cNvSpPr>
            <p:nvPr/>
          </p:nvSpPr>
          <p:spPr bwMode="auto">
            <a:xfrm>
              <a:off x="9502517" y="4779435"/>
              <a:ext cx="3677032" cy="374750"/>
            </a:xfrm>
            <a:prstGeom prst="rect">
              <a:avLst/>
            </a:prstGeom>
            <a:noFill/>
            <a:ln w="9525">
              <a:noFill/>
              <a:miter lim="800000"/>
              <a:headEnd/>
              <a:tailEnd/>
            </a:ln>
          </p:spPr>
          <p:txBody>
            <a:bodyPr wrap="square" anchor="ctr">
              <a:spAutoFit/>
            </a:bodyPr>
            <a:lstStyle>
              <a:defPPr marR="0" lvl="0" algn="l" rtl="0">
                <a:lnSpc>
                  <a:spcPct val="100000"/>
                </a:lnSpc>
                <a:spcBef>
                  <a:spcPts val="0"/>
                </a:spcBef>
                <a:spcAft>
                  <a:spcPts val="0"/>
                </a:spcAft>
                <a:defRPr/>
              </a:defPPr>
              <a:lvl1pPr algn="ctr" fontAlgn="base">
                <a:spcBef>
                  <a:spcPct val="50000"/>
                </a:spcBef>
                <a:spcAft>
                  <a:spcPct val="0"/>
                </a:spcAft>
                <a:defRPr sz="2000" b="1">
                  <a:solidFill>
                    <a:srgbClr val="000A23"/>
                  </a:solidFill>
                  <a:latin typeface="Quattrocento Sans" panose="020B0502050000020003" pitchFamily="34" charset="0"/>
                </a:defRPr>
              </a:lvl1pPr>
            </a:lstStyle>
            <a:p>
              <a:pPr defTabSz="914446">
                <a:buClr>
                  <a:srgbClr val="000000"/>
                </a:buClr>
                <a:defRPr/>
              </a:pPr>
              <a:r>
                <a:rPr lang="en-GB" sz="1800" kern="0" noProof="0">
                  <a:solidFill>
                    <a:srgbClr val="000000">
                      <a:lumMod val="95000"/>
                      <a:lumOff val="5000"/>
                    </a:srgbClr>
                  </a:solidFill>
                  <a:cs typeface="Arial"/>
                  <a:sym typeface="Arial"/>
                </a:rPr>
                <a:t>Lineage and Catalogue</a:t>
              </a:r>
            </a:p>
          </p:txBody>
        </p:sp>
      </p:grpSp>
      <p:grpSp>
        <p:nvGrpSpPr>
          <p:cNvPr id="25" name="Grupo 24">
            <a:extLst>
              <a:ext uri="{FF2B5EF4-FFF2-40B4-BE49-F238E27FC236}">
                <a16:creationId xmlns:a16="http://schemas.microsoft.com/office/drawing/2014/main" id="{10860984-68F9-11F0-BD57-B9CEBCBB3FA3}"/>
              </a:ext>
            </a:extLst>
          </p:cNvPr>
          <p:cNvGrpSpPr/>
          <p:nvPr/>
        </p:nvGrpSpPr>
        <p:grpSpPr>
          <a:xfrm rot="5400000">
            <a:off x="8545489" y="1947017"/>
            <a:ext cx="580439" cy="1656000"/>
            <a:chOff x="5408193" y="3297985"/>
            <a:chExt cx="426385" cy="1680293"/>
          </a:xfrm>
        </p:grpSpPr>
        <p:sp>
          <p:nvSpPr>
            <p:cNvPr id="12" name="Trapecio 11">
              <a:extLst>
                <a:ext uri="{FF2B5EF4-FFF2-40B4-BE49-F238E27FC236}">
                  <a16:creationId xmlns:a16="http://schemas.microsoft.com/office/drawing/2014/main" id="{1FC38E4C-6C0D-E969-3038-D0C27690FA36}"/>
                </a:ext>
              </a:extLst>
            </p:cNvPr>
            <p:cNvSpPr/>
            <p:nvPr/>
          </p:nvSpPr>
          <p:spPr>
            <a:xfrm>
              <a:off x="5408193" y="3297985"/>
              <a:ext cx="426385" cy="1680293"/>
            </a:xfrm>
            <a:prstGeom prst="trapezoid">
              <a:avLst>
                <a:gd name="adj" fmla="val 0"/>
              </a:avLst>
            </a:prstGeom>
            <a:no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22" name="Text Box 3">
              <a:extLst>
                <a:ext uri="{FF2B5EF4-FFF2-40B4-BE49-F238E27FC236}">
                  <a16:creationId xmlns:a16="http://schemas.microsoft.com/office/drawing/2014/main" id="{273B1A6E-53B5-7F13-DEB4-6B87FEFCFCB0}"/>
                </a:ext>
              </a:extLst>
            </p:cNvPr>
            <p:cNvSpPr txBox="1">
              <a:spLocks noChangeArrowheads="1"/>
            </p:cNvSpPr>
            <p:nvPr/>
          </p:nvSpPr>
          <p:spPr bwMode="auto">
            <a:xfrm rot="16200000">
              <a:off x="5047290" y="4002477"/>
              <a:ext cx="1148191" cy="271308"/>
            </a:xfrm>
            <a:prstGeom prst="rect">
              <a:avLst/>
            </a:prstGeom>
            <a:noFill/>
            <a:ln w="9525">
              <a:noFill/>
              <a:miter lim="800000"/>
              <a:headEnd/>
              <a:tailEnd/>
            </a:ln>
          </p:spPr>
          <p:txBody>
            <a:bodyPr wrap="square" anchor="ctr">
              <a:spAutoFit/>
            </a:bodyPr>
            <a:lstStyle>
              <a:defPPr marR="0" lvl="0" algn="l" rtl="0">
                <a:lnSpc>
                  <a:spcPct val="100000"/>
                </a:lnSpc>
                <a:spcBef>
                  <a:spcPts val="0"/>
                </a:spcBef>
                <a:spcAft>
                  <a:spcPts val="0"/>
                </a:spcAft>
                <a:defRPr/>
              </a:defPPr>
              <a:lvl1pPr algn="ctr" fontAlgn="base">
                <a:spcBef>
                  <a:spcPct val="50000"/>
                </a:spcBef>
                <a:spcAft>
                  <a:spcPct val="0"/>
                </a:spcAft>
                <a:defRPr sz="1800" b="1">
                  <a:solidFill>
                    <a:schemeClr val="bg1"/>
                  </a:solidFill>
                  <a:latin typeface="Quattrocento Sans" panose="020B0502050000020003" pitchFamily="34" charset="0"/>
                </a:defRPr>
              </a:lvl1pPr>
            </a:lstStyle>
            <a:p>
              <a:pPr defTabSz="914446">
                <a:buClr>
                  <a:srgbClr val="000000"/>
                </a:buClr>
                <a:defRPr/>
              </a:pPr>
              <a:r>
                <a:rPr lang="en-GB" kern="0" noProof="0">
                  <a:solidFill>
                    <a:srgbClr val="000000">
                      <a:lumMod val="95000"/>
                      <a:lumOff val="5000"/>
                    </a:srgbClr>
                  </a:solidFill>
                  <a:cs typeface="Arial"/>
                  <a:sym typeface="Arial"/>
                </a:rPr>
                <a:t>Quality</a:t>
              </a:r>
            </a:p>
          </p:txBody>
        </p:sp>
      </p:grpSp>
      <p:grpSp>
        <p:nvGrpSpPr>
          <p:cNvPr id="31" name="Grupo 30">
            <a:extLst>
              <a:ext uri="{FF2B5EF4-FFF2-40B4-BE49-F238E27FC236}">
                <a16:creationId xmlns:a16="http://schemas.microsoft.com/office/drawing/2014/main" id="{DD7FB29B-07FE-02CE-3AB5-278C736211B6}"/>
              </a:ext>
            </a:extLst>
          </p:cNvPr>
          <p:cNvGrpSpPr/>
          <p:nvPr/>
        </p:nvGrpSpPr>
        <p:grpSpPr>
          <a:xfrm>
            <a:off x="5610203" y="3368549"/>
            <a:ext cx="4596181" cy="1656000"/>
            <a:chOff x="5838219" y="3177151"/>
            <a:chExt cx="3362404" cy="1680293"/>
          </a:xfrm>
        </p:grpSpPr>
        <p:sp>
          <p:nvSpPr>
            <p:cNvPr id="11" name="Trapecio 10">
              <a:extLst>
                <a:ext uri="{FF2B5EF4-FFF2-40B4-BE49-F238E27FC236}">
                  <a16:creationId xmlns:a16="http://schemas.microsoft.com/office/drawing/2014/main" id="{B0F4207F-8F31-9434-AA38-23EB2C01A719}"/>
                </a:ext>
              </a:extLst>
            </p:cNvPr>
            <p:cNvSpPr/>
            <p:nvPr/>
          </p:nvSpPr>
          <p:spPr>
            <a:xfrm>
              <a:off x="5838219" y="3177151"/>
              <a:ext cx="121733" cy="1680293"/>
            </a:xfrm>
            <a:prstGeom prst="trapezoid">
              <a:avLst>
                <a:gd name="adj" fmla="val 0"/>
              </a:avLst>
            </a:prstGeom>
            <a:no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23" name="Text Box 3">
              <a:extLst>
                <a:ext uri="{FF2B5EF4-FFF2-40B4-BE49-F238E27FC236}">
                  <a16:creationId xmlns:a16="http://schemas.microsoft.com/office/drawing/2014/main" id="{6134BDD9-1589-0298-4A4A-E80D4195CC8D}"/>
                </a:ext>
              </a:extLst>
            </p:cNvPr>
            <p:cNvSpPr txBox="1">
              <a:spLocks noChangeArrowheads="1"/>
            </p:cNvSpPr>
            <p:nvPr/>
          </p:nvSpPr>
          <p:spPr bwMode="auto">
            <a:xfrm>
              <a:off x="7267522" y="3727155"/>
              <a:ext cx="1933101" cy="374750"/>
            </a:xfrm>
            <a:prstGeom prst="rect">
              <a:avLst/>
            </a:prstGeom>
            <a:noFill/>
            <a:ln w="9525">
              <a:noFill/>
              <a:miter lim="800000"/>
              <a:headEnd/>
              <a:tailEnd/>
            </a:ln>
          </p:spPr>
          <p:txBody>
            <a:bodyPr wrap="square">
              <a:spAutoFit/>
            </a:bodyPr>
            <a:lstStyle>
              <a:defPPr marR="0" lvl="0" algn="l" rtl="0">
                <a:lnSpc>
                  <a:spcPct val="100000"/>
                </a:lnSpc>
                <a:spcBef>
                  <a:spcPts val="0"/>
                </a:spcBef>
                <a:spcAft>
                  <a:spcPts val="0"/>
                </a:spcAft>
                <a:defRPr/>
              </a:defPPr>
              <a:lvl1pPr algn="ctr" fontAlgn="base">
                <a:spcBef>
                  <a:spcPct val="50000"/>
                </a:spcBef>
                <a:spcAft>
                  <a:spcPct val="0"/>
                </a:spcAft>
                <a:defRPr sz="1800" b="1">
                  <a:solidFill>
                    <a:schemeClr val="bg1"/>
                  </a:solidFill>
                  <a:latin typeface="Quattrocento Sans" panose="020B0502050000020003" pitchFamily="34" charset="0"/>
                </a:defRPr>
              </a:lvl1pPr>
            </a:lstStyle>
            <a:p>
              <a:pPr defTabSz="914446">
                <a:buClr>
                  <a:srgbClr val="000000"/>
                </a:buClr>
                <a:defRPr/>
              </a:pPr>
              <a:r>
                <a:rPr lang="en-GB" kern="0" noProof="0">
                  <a:solidFill>
                    <a:srgbClr val="000000">
                      <a:lumMod val="95000"/>
                      <a:lumOff val="5000"/>
                    </a:srgbClr>
                  </a:solidFill>
                  <a:cs typeface="Arial"/>
                  <a:sym typeface="Arial"/>
                </a:rPr>
                <a:t>Master Data</a:t>
              </a:r>
            </a:p>
          </p:txBody>
        </p:sp>
      </p:grpSp>
      <p:sp>
        <p:nvSpPr>
          <p:cNvPr id="27" name="Text Box 3">
            <a:extLst>
              <a:ext uri="{FF2B5EF4-FFF2-40B4-BE49-F238E27FC236}">
                <a16:creationId xmlns:a16="http://schemas.microsoft.com/office/drawing/2014/main" id="{81FA1DB0-5CFD-1E72-013E-5B84F5BBCB6B}"/>
              </a:ext>
            </a:extLst>
          </p:cNvPr>
          <p:cNvSpPr txBox="1">
            <a:spLocks noChangeArrowheads="1"/>
          </p:cNvSpPr>
          <p:nvPr/>
        </p:nvSpPr>
        <p:spPr bwMode="auto">
          <a:xfrm>
            <a:off x="2886681" y="2889003"/>
            <a:ext cx="3321738" cy="369332"/>
          </a:xfrm>
          <a:prstGeom prst="rect">
            <a:avLst/>
          </a:prstGeom>
          <a:noFill/>
          <a:ln w="9525">
            <a:noFill/>
            <a:miter lim="800000"/>
            <a:headEnd/>
            <a:tailEnd/>
          </a:ln>
        </p:spPr>
        <p:txBody>
          <a:bodyPr wrap="square" anchor="ctr">
            <a:spAutoFit/>
          </a:bodyPr>
          <a:lstStyle>
            <a:defPPr marR="0" lvl="0" algn="l" rtl="0">
              <a:lnSpc>
                <a:spcPct val="100000"/>
              </a:lnSpc>
              <a:spcBef>
                <a:spcPts val="0"/>
              </a:spcBef>
              <a:spcAft>
                <a:spcPts val="0"/>
              </a:spcAft>
              <a:defRPr lang="en-US"/>
            </a:defPPr>
            <a:lvl1pPr algn="ctr" defTabSz="914446" fontAlgn="base">
              <a:spcBef>
                <a:spcPct val="50000"/>
              </a:spcBef>
              <a:spcAft>
                <a:spcPct val="0"/>
              </a:spcAft>
              <a:buClr>
                <a:srgbClr val="000000"/>
              </a:buClr>
              <a:defRPr b="1" kern="0">
                <a:solidFill>
                  <a:srgbClr val="000000">
                    <a:lumMod val="95000"/>
                    <a:lumOff val="5000"/>
                  </a:srgbClr>
                </a:solidFill>
                <a:latin typeface="Quattrocento Sans" panose="020B0502050000020003" pitchFamily="34" charset="0"/>
                <a:cs typeface="Arial"/>
              </a:defRPr>
            </a:lvl1pPr>
          </a:lstStyle>
          <a:p>
            <a:r>
              <a:rPr lang="en-GB" noProof="0">
                <a:sym typeface="Arial"/>
              </a:rPr>
              <a:t>Organisation</a:t>
            </a:r>
          </a:p>
        </p:txBody>
      </p:sp>
      <p:sp>
        <p:nvSpPr>
          <p:cNvPr id="29" name="Rectángulo 28">
            <a:extLst>
              <a:ext uri="{FF2B5EF4-FFF2-40B4-BE49-F238E27FC236}">
                <a16:creationId xmlns:a16="http://schemas.microsoft.com/office/drawing/2014/main" id="{A2F81263-6085-F7F5-032D-8E91098B351C}"/>
              </a:ext>
            </a:extLst>
          </p:cNvPr>
          <p:cNvSpPr/>
          <p:nvPr/>
        </p:nvSpPr>
        <p:spPr>
          <a:xfrm>
            <a:off x="2984825" y="3257987"/>
            <a:ext cx="3125450" cy="128583"/>
          </a:xfrm>
          <a:prstGeom prst="rect">
            <a:avLst/>
          </a:prstGeom>
          <a:solidFill>
            <a:schemeClr val="bg1"/>
          </a:solid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pic>
        <p:nvPicPr>
          <p:cNvPr id="1026" name="Picture 2" descr="Home">
            <a:extLst>
              <a:ext uri="{FF2B5EF4-FFF2-40B4-BE49-F238E27FC236}">
                <a16:creationId xmlns:a16="http://schemas.microsoft.com/office/drawing/2014/main" id="{AFC99073-C946-F0D0-21AC-60F6EF52987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a:off x="670253" y="5583282"/>
            <a:ext cx="1286486" cy="953868"/>
          </a:xfrm>
          <a:prstGeom prst="rect">
            <a:avLst/>
          </a:prstGeom>
          <a:noFill/>
          <a:extLst>
            <a:ext uri="{909E8E84-426E-40DD-AFC4-6F175D3DCCD1}">
              <a14:hiddenFill xmlns:a14="http://schemas.microsoft.com/office/drawing/2010/main">
                <a:solidFill>
                  <a:srgbClr val="FFFFFF"/>
                </a:solidFill>
              </a14:hiddenFill>
            </a:ext>
          </a:extLst>
        </p:spPr>
      </p:pic>
      <p:grpSp>
        <p:nvGrpSpPr>
          <p:cNvPr id="30" name="Grupo 29">
            <a:extLst>
              <a:ext uri="{FF2B5EF4-FFF2-40B4-BE49-F238E27FC236}">
                <a16:creationId xmlns:a16="http://schemas.microsoft.com/office/drawing/2014/main" id="{5F630FEB-59A8-795E-9EC7-B1E3BB7784E6}"/>
              </a:ext>
            </a:extLst>
          </p:cNvPr>
          <p:cNvGrpSpPr/>
          <p:nvPr/>
        </p:nvGrpSpPr>
        <p:grpSpPr>
          <a:xfrm>
            <a:off x="4634421" y="1700767"/>
            <a:ext cx="4844368" cy="3350152"/>
            <a:chOff x="6070186" y="1598518"/>
            <a:chExt cx="3558627" cy="3399298"/>
          </a:xfrm>
        </p:grpSpPr>
        <p:sp>
          <p:nvSpPr>
            <p:cNvPr id="2" name="Trapecio 1">
              <a:extLst>
                <a:ext uri="{FF2B5EF4-FFF2-40B4-BE49-F238E27FC236}">
                  <a16:creationId xmlns:a16="http://schemas.microsoft.com/office/drawing/2014/main" id="{58895724-29A1-7DDF-F325-F89D3DA39279}"/>
                </a:ext>
              </a:extLst>
            </p:cNvPr>
            <p:cNvSpPr/>
            <p:nvPr/>
          </p:nvSpPr>
          <p:spPr>
            <a:xfrm>
              <a:off x="6070186" y="3317523"/>
              <a:ext cx="122237" cy="1680293"/>
            </a:xfrm>
            <a:prstGeom prst="trapezoid">
              <a:avLst>
                <a:gd name="adj" fmla="val 0"/>
              </a:avLst>
            </a:prstGeom>
            <a:no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3" name="Text Box 3">
              <a:extLst>
                <a:ext uri="{FF2B5EF4-FFF2-40B4-BE49-F238E27FC236}">
                  <a16:creationId xmlns:a16="http://schemas.microsoft.com/office/drawing/2014/main" id="{A856FE42-C04B-A893-1492-6EAD0731AD1E}"/>
                </a:ext>
              </a:extLst>
            </p:cNvPr>
            <p:cNvSpPr txBox="1">
              <a:spLocks noChangeArrowheads="1"/>
            </p:cNvSpPr>
            <p:nvPr/>
          </p:nvSpPr>
          <p:spPr bwMode="auto">
            <a:xfrm>
              <a:off x="8597785" y="1598518"/>
              <a:ext cx="1031028" cy="374750"/>
            </a:xfrm>
            <a:prstGeom prst="rect">
              <a:avLst/>
            </a:prstGeom>
            <a:noFill/>
            <a:ln w="9525">
              <a:noFill/>
              <a:miter lim="800000"/>
              <a:headEnd/>
              <a:tailEnd/>
            </a:ln>
          </p:spPr>
          <p:txBody>
            <a:bodyPr wrap="square" anchor="ctr">
              <a:spAutoFit/>
            </a:bodyPr>
            <a:lstStyle>
              <a:defPPr marR="0" lvl="0" algn="l" rtl="0">
                <a:lnSpc>
                  <a:spcPct val="100000"/>
                </a:lnSpc>
                <a:spcBef>
                  <a:spcPts val="0"/>
                </a:spcBef>
                <a:spcAft>
                  <a:spcPts val="0"/>
                </a:spcAft>
                <a:defRPr/>
              </a:defPPr>
              <a:lvl1pPr algn="ctr" fontAlgn="base">
                <a:spcBef>
                  <a:spcPct val="50000"/>
                </a:spcBef>
                <a:spcAft>
                  <a:spcPct val="0"/>
                </a:spcAft>
                <a:defRPr sz="1800" b="1">
                  <a:solidFill>
                    <a:schemeClr val="bg1"/>
                  </a:solidFill>
                  <a:latin typeface="Quattrocento Sans" panose="020B0502050000020003" pitchFamily="34" charset="0"/>
                </a:defRPr>
              </a:lvl1pPr>
            </a:lstStyle>
            <a:p>
              <a:pPr defTabSz="914446">
                <a:buClr>
                  <a:srgbClr val="000000"/>
                </a:buClr>
                <a:defRPr/>
              </a:pPr>
              <a:r>
                <a:rPr lang="en-GB" kern="0" noProof="0">
                  <a:solidFill>
                    <a:srgbClr val="000000">
                      <a:lumMod val="95000"/>
                      <a:lumOff val="5000"/>
                    </a:srgbClr>
                  </a:solidFill>
                  <a:cs typeface="Arial"/>
                  <a:sym typeface="Arial"/>
                </a:rPr>
                <a:t>Security</a:t>
              </a:r>
            </a:p>
          </p:txBody>
        </p:sp>
      </p:grpSp>
      <p:sp>
        <p:nvSpPr>
          <p:cNvPr id="38" name="CuadroTexto 37">
            <a:extLst>
              <a:ext uri="{FF2B5EF4-FFF2-40B4-BE49-F238E27FC236}">
                <a16:creationId xmlns:a16="http://schemas.microsoft.com/office/drawing/2014/main" id="{274544B2-64E3-D4CB-0F7D-9117EFF5636C}"/>
              </a:ext>
            </a:extLst>
          </p:cNvPr>
          <p:cNvSpPr txBox="1"/>
          <p:nvPr/>
        </p:nvSpPr>
        <p:spPr>
          <a:xfrm>
            <a:off x="8049758" y="4177217"/>
            <a:ext cx="2742417" cy="600164"/>
          </a:xfrm>
          <a:prstGeom prst="rect">
            <a:avLst/>
          </a:prstGeom>
        </p:spPr>
        <p:txBody>
          <a:bodyPr wrap="square">
            <a:noAutofit/>
          </a:bodyPr>
          <a:lstStyle>
            <a:defPPr>
              <a:defRPr lang="en-US"/>
            </a:defPPr>
            <a:lvl1pPr defTabSz="609660">
              <a:defRPr sz="1100"/>
            </a:lvl1pPr>
          </a:lstStyle>
          <a:p>
            <a:pPr algn="r"/>
            <a:r>
              <a:rPr lang="en-GB" noProof="0"/>
              <a:t>Protects information through encryption, controls, and compliance. Role- and attribute-based access rules and levels are set. </a:t>
            </a:r>
          </a:p>
        </p:txBody>
      </p:sp>
      <p:sp>
        <p:nvSpPr>
          <p:cNvPr id="40" name="CuadroTexto 39">
            <a:extLst>
              <a:ext uri="{FF2B5EF4-FFF2-40B4-BE49-F238E27FC236}">
                <a16:creationId xmlns:a16="http://schemas.microsoft.com/office/drawing/2014/main" id="{706349F6-C87D-EA40-FC1F-77E1EDBD6457}"/>
              </a:ext>
            </a:extLst>
          </p:cNvPr>
          <p:cNvSpPr txBox="1"/>
          <p:nvPr/>
        </p:nvSpPr>
        <p:spPr>
          <a:xfrm>
            <a:off x="8007709" y="2876069"/>
            <a:ext cx="2858422" cy="600164"/>
          </a:xfrm>
          <a:prstGeom prst="rect">
            <a:avLst/>
          </a:prstGeom>
        </p:spPr>
        <p:txBody>
          <a:bodyPr wrap="square">
            <a:noAutofit/>
          </a:bodyPr>
          <a:lstStyle>
            <a:defPPr>
              <a:defRPr lang="en-US"/>
            </a:defPPr>
            <a:lvl1pPr defTabSz="609660">
              <a:defRPr sz="1100"/>
            </a:lvl1pPr>
          </a:lstStyle>
          <a:p>
            <a:pPr algn="r"/>
            <a:r>
              <a:rPr lang="en-GB" noProof="0"/>
              <a:t>Guarantees key data (customers, products, employees, etc.). Applies consolidation and normalisation rules to achieve a reliable and unified view of information.</a:t>
            </a:r>
          </a:p>
        </p:txBody>
      </p:sp>
      <p:sp>
        <p:nvSpPr>
          <p:cNvPr id="42" name="CuadroTexto 41">
            <a:extLst>
              <a:ext uri="{FF2B5EF4-FFF2-40B4-BE49-F238E27FC236}">
                <a16:creationId xmlns:a16="http://schemas.microsoft.com/office/drawing/2014/main" id="{0255E474-C14F-CA43-B20A-612B73BD1409}"/>
              </a:ext>
            </a:extLst>
          </p:cNvPr>
          <p:cNvSpPr txBox="1"/>
          <p:nvPr/>
        </p:nvSpPr>
        <p:spPr>
          <a:xfrm>
            <a:off x="3042503" y="5634029"/>
            <a:ext cx="3642371" cy="600164"/>
          </a:xfrm>
          <a:prstGeom prst="rect">
            <a:avLst/>
          </a:prstGeom>
        </p:spPr>
        <p:txBody>
          <a:bodyPr wrap="square">
            <a:noAutofit/>
          </a:bodyPr>
          <a:lstStyle>
            <a:defPPr>
              <a:defRPr lang="en-US"/>
            </a:defPPr>
            <a:lvl1pPr defTabSz="609660">
              <a:defRPr sz="1100"/>
            </a:lvl1pPr>
          </a:lstStyle>
          <a:p>
            <a:pPr algn="ctr"/>
            <a:r>
              <a:rPr lang="en-GB" noProof="0"/>
              <a:t>Organise, integrate, and align data efficiently. It employs governance, monitoring, and exploitation tools to maximise the value of information.</a:t>
            </a:r>
          </a:p>
        </p:txBody>
      </p:sp>
      <p:sp>
        <p:nvSpPr>
          <p:cNvPr id="44" name="CuadroTexto 43">
            <a:extLst>
              <a:ext uri="{FF2B5EF4-FFF2-40B4-BE49-F238E27FC236}">
                <a16:creationId xmlns:a16="http://schemas.microsoft.com/office/drawing/2014/main" id="{699FA36C-20A8-CE1C-B518-7808B0344BCD}"/>
              </a:ext>
            </a:extLst>
          </p:cNvPr>
          <p:cNvSpPr txBox="1"/>
          <p:nvPr/>
        </p:nvSpPr>
        <p:spPr>
          <a:xfrm>
            <a:off x="3522185" y="1924037"/>
            <a:ext cx="3959704" cy="600164"/>
          </a:xfrm>
          <a:prstGeom prst="rect">
            <a:avLst/>
          </a:prstGeom>
        </p:spPr>
        <p:txBody>
          <a:bodyPr wrap="square">
            <a:noAutofit/>
          </a:bodyPr>
          <a:lstStyle>
            <a:defPPr>
              <a:defRPr lang="en-US"/>
            </a:defPPr>
            <a:lvl1pPr defTabSz="609660">
              <a:defRPr sz="1100"/>
            </a:lvl1pPr>
          </a:lstStyle>
          <a:p>
            <a:pPr algn="ctr"/>
            <a:r>
              <a:rPr lang="en-GB" noProof="0"/>
              <a:t>Structure and leadership for data management. Organisational models, committees and key guidelines. Combines effective communication.</a:t>
            </a:r>
          </a:p>
        </p:txBody>
      </p:sp>
      <p:cxnSp>
        <p:nvCxnSpPr>
          <p:cNvPr id="45" name="Straight Arrow Connector 69">
            <a:extLst>
              <a:ext uri="{FF2B5EF4-FFF2-40B4-BE49-F238E27FC236}">
                <a16:creationId xmlns:a16="http://schemas.microsoft.com/office/drawing/2014/main" id="{12ED89AA-86E5-5D76-F82E-7C8606BFBEBC}"/>
              </a:ext>
            </a:extLst>
          </p:cNvPr>
          <p:cNvCxnSpPr>
            <a:cxnSpLocks/>
          </p:cNvCxnSpPr>
          <p:nvPr/>
        </p:nvCxnSpPr>
        <p:spPr>
          <a:xfrm flipV="1">
            <a:off x="4627071" y="5569005"/>
            <a:ext cx="0" cy="291941"/>
          </a:xfrm>
          <a:prstGeom prst="straightConnector1">
            <a:avLst/>
          </a:prstGeom>
          <a:noFill/>
          <a:ln w="28575">
            <a:solidFill>
              <a:srgbClr val="A6A6A6"/>
            </a:solidFill>
          </a:ln>
        </p:spPr>
      </p:cxnSp>
      <p:pic>
        <p:nvPicPr>
          <p:cNvPr id="14" name="Imagen 13" descr="Logotipo&#10;&#10;Descripción generada automáticamente">
            <a:extLst>
              <a:ext uri="{FF2B5EF4-FFF2-40B4-BE49-F238E27FC236}">
                <a16:creationId xmlns:a16="http://schemas.microsoft.com/office/drawing/2014/main" id="{462CBA8C-659F-5F1A-75D8-076618BC11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59715" y="6016747"/>
            <a:ext cx="2085823" cy="481343"/>
          </a:xfrm>
          <a:prstGeom prst="rect">
            <a:avLst/>
          </a:prstGeom>
        </p:spPr>
      </p:pic>
      <p:sp>
        <p:nvSpPr>
          <p:cNvPr id="15" name="Rectangle 57">
            <a:extLst>
              <a:ext uri="{FF2B5EF4-FFF2-40B4-BE49-F238E27FC236}">
                <a16:creationId xmlns:a16="http://schemas.microsoft.com/office/drawing/2014/main" id="{420A39CC-0AC6-5B8E-86CC-E13E64E550A8}"/>
              </a:ext>
            </a:extLst>
          </p:cNvPr>
          <p:cNvSpPr>
            <a:spLocks noChangeArrowheads="1"/>
          </p:cNvSpPr>
          <p:nvPr/>
        </p:nvSpPr>
        <p:spPr bwMode="gray">
          <a:xfrm>
            <a:off x="226220" y="198916"/>
            <a:ext cx="7407741" cy="984830"/>
          </a:xfrm>
          <a:prstGeom prst="rect">
            <a:avLst/>
          </a:prstGeom>
          <a:noFill/>
          <a:ln w="9525">
            <a:noFill/>
            <a:miter lim="800000"/>
            <a:headEnd/>
            <a:tailEnd/>
          </a:ln>
          <a:effectLst/>
        </p:spPr>
        <p:txBody>
          <a:bodyPr wrap="square" lIns="91386" tIns="45693" rIns="91386" bIns="45693">
            <a:spAutoFit/>
          </a:bodyPr>
          <a:lstStyle/>
          <a:p>
            <a:pPr defTabSz="609630"/>
            <a:r>
              <a:rPr lang="en-GB" sz="4000" b="1" noProof="0">
                <a:solidFill>
                  <a:schemeClr val="tx1">
                    <a:lumMod val="95000"/>
                    <a:lumOff val="5000"/>
                  </a:schemeClr>
                </a:solidFill>
                <a:latin typeface="Quattrocento Sans" panose="020B0502050000020003" pitchFamily="34" charset="0"/>
                <a:ea typeface="Lato"/>
                <a:cs typeface="Lato"/>
                <a:sym typeface="Arial"/>
              </a:rPr>
              <a:t>Data Governance</a:t>
            </a:r>
          </a:p>
          <a:p>
            <a:pPr defTabSz="609630" hangingPunct="0"/>
            <a:r>
              <a:rPr lang="en-GB" kern="0" noProof="0">
                <a:solidFill>
                  <a:srgbClr val="8A0051"/>
                </a:solidFill>
                <a:latin typeface="Quattrocento Sans" panose="020B0502050000020003" pitchFamily="34" charset="0"/>
                <a:cs typeface="Calibri"/>
                <a:sym typeface="Calibri"/>
              </a:rPr>
              <a:t>Best Practices Datasphere</a:t>
            </a:r>
          </a:p>
        </p:txBody>
      </p:sp>
      <p:pic>
        <p:nvPicPr>
          <p:cNvPr id="32" name="Imagen 31" descr="Logotipo&#10;&#10;Descripción generada automáticamente">
            <a:extLst>
              <a:ext uri="{FF2B5EF4-FFF2-40B4-BE49-F238E27FC236}">
                <a16:creationId xmlns:a16="http://schemas.microsoft.com/office/drawing/2014/main" id="{72696A9A-F66B-7FEE-CB4E-1997E6980B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75643" y="422965"/>
            <a:ext cx="1935381" cy="446626"/>
          </a:xfrm>
          <a:prstGeom prst="rect">
            <a:avLst/>
          </a:prstGeom>
        </p:spPr>
      </p:pic>
      <p:pic>
        <p:nvPicPr>
          <p:cNvPr id="33" name="Picture 2" descr="AstraZeneca Logo, symbol, meaning, history, PNG, brand">
            <a:extLst>
              <a:ext uri="{FF2B5EF4-FFF2-40B4-BE49-F238E27FC236}">
                <a16:creationId xmlns:a16="http://schemas.microsoft.com/office/drawing/2014/main" id="{8C0EF2F5-7F10-8C71-BBE4-33ECA217672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75018" y="213658"/>
            <a:ext cx="1267373" cy="712897"/>
          </a:xfrm>
          <a:prstGeom prst="rect">
            <a:avLst/>
          </a:prstGeom>
          <a:noFill/>
          <a:extLst>
            <a:ext uri="{909E8E84-426E-40DD-AFC4-6F175D3DCCD1}">
              <a14:hiddenFill xmlns:a14="http://schemas.microsoft.com/office/drawing/2010/main">
                <a:solidFill>
                  <a:srgbClr val="FFFFFF"/>
                </a:solidFill>
              </a14:hiddenFill>
            </a:ext>
          </a:extLst>
        </p:spPr>
      </p:pic>
      <p:sp>
        <p:nvSpPr>
          <p:cNvPr id="35" name="Object13">
            <a:extLst>
              <a:ext uri="{FF2B5EF4-FFF2-40B4-BE49-F238E27FC236}">
                <a16:creationId xmlns:a16="http://schemas.microsoft.com/office/drawing/2014/main" id="{7DF10D81-3E18-3D77-A50D-00F3BD8394B5}"/>
              </a:ext>
            </a:extLst>
          </p:cNvPr>
          <p:cNvSpPr txBox="1"/>
          <p:nvPr/>
        </p:nvSpPr>
        <p:spPr>
          <a:xfrm>
            <a:off x="297025" y="1250817"/>
            <a:ext cx="7105119" cy="86177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t">
            <a:spAutoFit/>
          </a:bodyPr>
          <a:lstStyle>
            <a:lvl1pPr>
              <a:lnSpc>
                <a:spcPts val="1900"/>
              </a:lnSpc>
              <a:defRPr sz="1300">
                <a:solidFill>
                  <a:srgbClr val="2D2D2D"/>
                </a:solidFill>
                <a:latin typeface="DM Sans Regular"/>
                <a:ea typeface="DM Sans Regular"/>
                <a:cs typeface="DM Sans Regular"/>
                <a:sym typeface="DM Sans Regular"/>
              </a:defRPr>
            </a:lvl1pPr>
          </a:lstStyle>
          <a:p>
            <a:pPr defTabSz="914446">
              <a:lnSpc>
                <a:spcPct val="100000"/>
              </a:lnSpc>
              <a:buClr>
                <a:srgbClr val="000000"/>
              </a:buClr>
              <a:defRPr/>
            </a:pPr>
            <a:r>
              <a:rPr lang="en-GB" sz="1400" kern="0" noProof="0">
                <a:solidFill>
                  <a:srgbClr val="000000">
                    <a:lumMod val="95000"/>
                    <a:lumOff val="5000"/>
                  </a:srgbClr>
                </a:solidFill>
                <a:latin typeface="Quattrocento Sans"/>
                <a:cs typeface="Arial"/>
                <a:sym typeface="Arial"/>
              </a:rPr>
              <a:t>Data Governance seeks alignment with a </a:t>
            </a:r>
            <a:r>
              <a:rPr lang="en-GB" sz="1400" b="1" kern="0" noProof="0">
                <a:solidFill>
                  <a:srgbClr val="000000">
                    <a:lumMod val="95000"/>
                    <a:lumOff val="5000"/>
                  </a:srgbClr>
                </a:solidFill>
                <a:latin typeface="Quattrocento Sans"/>
                <a:cs typeface="Arial"/>
                <a:sym typeface="Arial"/>
              </a:rPr>
              <a:t>Data Driven AI Organization </a:t>
            </a:r>
            <a:r>
              <a:rPr lang="en-GB" sz="1400" kern="0" noProof="0">
                <a:solidFill>
                  <a:srgbClr val="000000">
                    <a:lumMod val="95000"/>
                    <a:lumOff val="5000"/>
                  </a:srgbClr>
                </a:solidFill>
                <a:latin typeface="Quattrocento Sans"/>
                <a:cs typeface="Arial"/>
                <a:sym typeface="Arial"/>
              </a:rPr>
              <a:t>(Data culture + Technology) strategy, where </a:t>
            </a:r>
            <a:r>
              <a:rPr lang="en-GB" sz="1400" b="1" kern="0" noProof="0">
                <a:solidFill>
                  <a:srgbClr val="000000">
                    <a:lumMod val="95000"/>
                    <a:lumOff val="5000"/>
                  </a:srgbClr>
                </a:solidFill>
                <a:latin typeface="Quattrocento Sans"/>
                <a:cs typeface="Arial"/>
                <a:sym typeface="Arial"/>
              </a:rPr>
              <a:t>data is a strategic asset</a:t>
            </a:r>
            <a:r>
              <a:rPr lang="en-GB" sz="1400" kern="0" noProof="0">
                <a:solidFill>
                  <a:srgbClr val="000000">
                    <a:lumMod val="95000"/>
                    <a:lumOff val="5000"/>
                  </a:srgbClr>
                </a:solidFill>
                <a:latin typeface="Quattrocento Sans"/>
                <a:cs typeface="Arial"/>
                <a:sym typeface="Arial"/>
              </a:rPr>
              <a:t>.</a:t>
            </a:r>
          </a:p>
          <a:p>
            <a:pPr defTabSz="914446">
              <a:lnSpc>
                <a:spcPct val="100000"/>
              </a:lnSpc>
              <a:buClr>
                <a:srgbClr val="000000"/>
              </a:buClr>
              <a:defRPr/>
            </a:pPr>
            <a:endParaRPr lang="en-GB" sz="1400" b="1" kern="0" noProof="0">
              <a:solidFill>
                <a:srgbClr val="000000">
                  <a:lumMod val="95000"/>
                  <a:lumOff val="5000"/>
                </a:srgbClr>
              </a:solidFill>
              <a:latin typeface="Quattrocento Sans"/>
              <a:cs typeface="Arial"/>
              <a:sym typeface="Arial"/>
            </a:endParaRPr>
          </a:p>
          <a:p>
            <a:pPr defTabSz="914446">
              <a:lnSpc>
                <a:spcPct val="100000"/>
              </a:lnSpc>
              <a:buClr>
                <a:srgbClr val="000000"/>
              </a:buClr>
              <a:defRPr/>
            </a:pPr>
            <a:r>
              <a:rPr lang="en-GB" sz="1400" kern="0" noProof="0">
                <a:solidFill>
                  <a:srgbClr val="000000">
                    <a:lumMod val="95000"/>
                    <a:lumOff val="5000"/>
                  </a:srgbClr>
                </a:solidFill>
                <a:latin typeface="Quattrocento Sans"/>
                <a:cs typeface="Arial"/>
                <a:sym typeface="Arial"/>
              </a:rPr>
              <a:t>It is based on the following </a:t>
            </a:r>
            <a:r>
              <a:rPr lang="en-GB" sz="1400" b="1" kern="0" noProof="0">
                <a:solidFill>
                  <a:srgbClr val="000000">
                    <a:lumMod val="95000"/>
                    <a:lumOff val="5000"/>
                  </a:srgbClr>
                </a:solidFill>
                <a:latin typeface="Quattrocento Sans"/>
                <a:cs typeface="Arial"/>
                <a:sym typeface="Arial"/>
              </a:rPr>
              <a:t>pillars</a:t>
            </a:r>
            <a:r>
              <a:rPr lang="en-GB" sz="1400" kern="0" noProof="0">
                <a:solidFill>
                  <a:srgbClr val="000000">
                    <a:lumMod val="95000"/>
                    <a:lumOff val="5000"/>
                  </a:srgbClr>
                </a:solidFill>
                <a:latin typeface="Quattrocento Sans"/>
                <a:cs typeface="Arial"/>
                <a:sym typeface="Arial"/>
              </a:rPr>
              <a:t>: </a:t>
            </a:r>
          </a:p>
        </p:txBody>
      </p:sp>
      <p:sp>
        <p:nvSpPr>
          <p:cNvPr id="5" name="Cerrar llave 4">
            <a:extLst>
              <a:ext uri="{FF2B5EF4-FFF2-40B4-BE49-F238E27FC236}">
                <a16:creationId xmlns:a16="http://schemas.microsoft.com/office/drawing/2014/main" id="{C082ED0E-3B93-18F1-120C-3363AE12AFB7}"/>
              </a:ext>
            </a:extLst>
          </p:cNvPr>
          <p:cNvSpPr/>
          <p:nvPr/>
        </p:nvSpPr>
        <p:spPr>
          <a:xfrm>
            <a:off x="6554684" y="3257987"/>
            <a:ext cx="439667" cy="1766562"/>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51065400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5EA67D37-5B2D-8B4E-9AE5-59F708E561DD}"/>
            </a:ext>
          </a:extLst>
        </p:cNvPr>
        <p:cNvGrpSpPr/>
        <p:nvPr/>
      </p:nvGrpSpPr>
      <p:grpSpPr>
        <a:xfrm>
          <a:off x="0" y="0"/>
          <a:ext cx="0" cy="0"/>
          <a:chOff x="0" y="0"/>
          <a:chExt cx="0" cy="0"/>
        </a:xfrm>
      </p:grpSpPr>
      <p:pic>
        <p:nvPicPr>
          <p:cNvPr id="4098" name="Picture 2">
            <a:extLst>
              <a:ext uri="{FF2B5EF4-FFF2-40B4-BE49-F238E27FC236}">
                <a16:creationId xmlns:a16="http://schemas.microsoft.com/office/drawing/2014/main" id="{26AD54AC-195D-323D-BF13-545FAFDAD4B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1499" y="1808765"/>
            <a:ext cx="9471502" cy="4544712"/>
          </a:xfrm>
          <a:prstGeom prst="rect">
            <a:avLst/>
          </a:prstGeom>
          <a:noFill/>
          <a:extLst>
            <a:ext uri="{909E8E84-426E-40DD-AFC4-6F175D3DCCD1}">
              <a14:hiddenFill xmlns:a14="http://schemas.microsoft.com/office/drawing/2010/main">
                <a:solidFill>
                  <a:srgbClr val="FFFFFF"/>
                </a:solidFill>
              </a14:hiddenFill>
            </a:ext>
          </a:extLst>
        </p:spPr>
      </p:pic>
      <p:sp>
        <p:nvSpPr>
          <p:cNvPr id="4" name="CuadroTexto 3">
            <a:extLst>
              <a:ext uri="{FF2B5EF4-FFF2-40B4-BE49-F238E27FC236}">
                <a16:creationId xmlns:a16="http://schemas.microsoft.com/office/drawing/2014/main" id="{7C83CE94-5B20-3A92-EF02-8B163FF89056}"/>
              </a:ext>
            </a:extLst>
          </p:cNvPr>
          <p:cNvSpPr txBox="1"/>
          <p:nvPr/>
        </p:nvSpPr>
        <p:spPr>
          <a:xfrm>
            <a:off x="3225800" y="483573"/>
            <a:ext cx="4849218" cy="1169551"/>
          </a:xfrm>
          <a:prstGeom prst="rect">
            <a:avLst/>
          </a:prstGeom>
          <a:noFill/>
        </p:spPr>
        <p:txBody>
          <a:bodyPr wrap="square">
            <a:spAutoFit/>
          </a:bodyPr>
          <a:lstStyle/>
          <a:p>
            <a:r>
              <a:rPr lang="en-GB" sz="1400" noProof="0">
                <a:latin typeface="Quattrocento Sans" panose="020B0502050000020003" pitchFamily="34" charset="0"/>
              </a:rPr>
              <a:t>SAP BTP enables organisations to </a:t>
            </a:r>
            <a:r>
              <a:rPr lang="en-GB" sz="1400" b="1" noProof="0">
                <a:latin typeface="Quattrocento Sans" panose="020B0502050000020003" pitchFamily="34" charset="0"/>
              </a:rPr>
              <a:t>outperform the competition</a:t>
            </a:r>
            <a:r>
              <a:rPr lang="en-GB" sz="1400" noProof="0">
                <a:latin typeface="Quattrocento Sans" panose="020B0502050000020003" pitchFamily="34" charset="0"/>
              </a:rPr>
              <a:t>, drive business value, and deliver great customer experiences, all through a single platform that includes applications, automation, integration, data and analytics, and artificial intelligence.</a:t>
            </a:r>
          </a:p>
        </p:txBody>
      </p:sp>
      <p:sp>
        <p:nvSpPr>
          <p:cNvPr id="5" name="Rectangle 57">
            <a:extLst>
              <a:ext uri="{FF2B5EF4-FFF2-40B4-BE49-F238E27FC236}">
                <a16:creationId xmlns:a16="http://schemas.microsoft.com/office/drawing/2014/main" id="{BAD88525-BC73-84C2-DBC1-54ECA30E9832}"/>
              </a:ext>
            </a:extLst>
          </p:cNvPr>
          <p:cNvSpPr>
            <a:spLocks noChangeArrowheads="1"/>
          </p:cNvSpPr>
          <p:nvPr/>
        </p:nvSpPr>
        <p:spPr bwMode="gray">
          <a:xfrm>
            <a:off x="421799" y="327932"/>
            <a:ext cx="6355089" cy="830942"/>
          </a:xfrm>
          <a:prstGeom prst="rect">
            <a:avLst/>
          </a:prstGeom>
          <a:noFill/>
          <a:ln w="9525">
            <a:noFill/>
            <a:miter lim="800000"/>
            <a:headEnd/>
            <a:tailEnd/>
          </a:ln>
          <a:effectLst/>
        </p:spPr>
        <p:txBody>
          <a:bodyPr wrap="square" lIns="91386" tIns="45693" rIns="91386" bIns="45693">
            <a:spAutoFit/>
          </a:bodyPr>
          <a:lstStyle/>
          <a:p>
            <a:pPr defTabSz="914446">
              <a:buClr>
                <a:srgbClr val="000000"/>
              </a:buClr>
            </a:pPr>
            <a:r>
              <a:rPr lang="en-GB" sz="4800" b="1" noProof="0">
                <a:latin typeface="Quattrocento Sans" panose="020B0502050000020003" pitchFamily="34" charset="0"/>
                <a:ea typeface="Lato"/>
                <a:cs typeface="Lato"/>
                <a:sym typeface="Arial"/>
              </a:rPr>
              <a:t>SAP BTP</a:t>
            </a:r>
          </a:p>
        </p:txBody>
      </p:sp>
      <p:pic>
        <p:nvPicPr>
          <p:cNvPr id="2" name="Imagen 1" descr="Logotipo&#10;&#10;Descripción generada automáticamente">
            <a:extLst>
              <a:ext uri="{FF2B5EF4-FFF2-40B4-BE49-F238E27FC236}">
                <a16:creationId xmlns:a16="http://schemas.microsoft.com/office/drawing/2014/main" id="{A7E8C7DD-85B3-FD09-1A27-AB4480CD8A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75643" y="422965"/>
            <a:ext cx="1935381" cy="446626"/>
          </a:xfrm>
          <a:prstGeom prst="rect">
            <a:avLst/>
          </a:prstGeom>
        </p:spPr>
      </p:pic>
      <p:pic>
        <p:nvPicPr>
          <p:cNvPr id="3" name="Picture 2" descr="AstraZeneca Logo, symbol, meaning, history, PNG, brand">
            <a:extLst>
              <a:ext uri="{FF2B5EF4-FFF2-40B4-BE49-F238E27FC236}">
                <a16:creationId xmlns:a16="http://schemas.microsoft.com/office/drawing/2014/main" id="{7B13BC86-8C94-C77B-22AC-F933B10EF14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75018" y="213658"/>
            <a:ext cx="1267373" cy="7128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17373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Marcador de posición de imagen 3" descr="Un grupo de personas en un escenario con luces&#10;&#10;Descripción generada automáticamente con confianza media">
            <a:extLst>
              <a:ext uri="{FF2B5EF4-FFF2-40B4-BE49-F238E27FC236}">
                <a16:creationId xmlns:a16="http://schemas.microsoft.com/office/drawing/2014/main" id="{002028FC-FDE7-3B45-E6FB-F2B4B3C3C030}"/>
              </a:ext>
            </a:extLst>
          </p:cNvPr>
          <p:cNvPicPr>
            <a:picLocks noGrp="1" noChangeAspect="1"/>
          </p:cNvPicPr>
          <p:nvPr>
            <p:ph type="pic" sz="quarter" idx="17"/>
          </p:nvPr>
        </p:nvPicPr>
        <p:blipFill>
          <a:blip r:embed="rId3"/>
          <a:srcRect t="7813" b="7813"/>
          <a:stretch>
            <a:fillRect/>
          </a:stretch>
        </p:blipFill>
        <p:spPr/>
      </p:pic>
      <p:sp>
        <p:nvSpPr>
          <p:cNvPr id="5" name="Rectángulo 11">
            <a:extLst>
              <a:ext uri="{FF2B5EF4-FFF2-40B4-BE49-F238E27FC236}">
                <a16:creationId xmlns:a16="http://schemas.microsoft.com/office/drawing/2014/main" id="{C5C670DB-F4B0-39FB-8AA9-EE146F231F40}"/>
              </a:ext>
            </a:extLst>
          </p:cNvPr>
          <p:cNvSpPr/>
          <p:nvPr/>
        </p:nvSpPr>
        <p:spPr>
          <a:xfrm>
            <a:off x="292104" y="231366"/>
            <a:ext cx="7179843" cy="2315358"/>
          </a:xfrm>
          <a:prstGeom prst="rect">
            <a:avLst/>
          </a:prstGeom>
          <a:solidFill>
            <a:srgbClr val="FFFFFF"/>
          </a:solidFill>
          <a:ln w="38100" cap="flat">
            <a:solidFill>
              <a:schemeClr val="bg2">
                <a:lumMod val="75000"/>
              </a:schemeClr>
            </a:solidFill>
            <a:prstDash val="solid"/>
            <a:miter/>
          </a:ln>
        </p:spPr>
        <p:txBody>
          <a:bodyPr vert="horz" wrap="square" lIns="143999" tIns="324000" rIns="0" bIns="107999"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2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0" name="Rectángulo 189">
            <a:extLst>
              <a:ext uri="{FF2B5EF4-FFF2-40B4-BE49-F238E27FC236}">
                <a16:creationId xmlns:a16="http://schemas.microsoft.com/office/drawing/2014/main" id="{E4CD9391-F6FB-6427-9720-689768FF2EA8}"/>
              </a:ext>
            </a:extLst>
          </p:cNvPr>
          <p:cNvSpPr/>
          <p:nvPr/>
        </p:nvSpPr>
        <p:spPr bwMode="auto">
          <a:xfrm>
            <a:off x="5431053" y="4940779"/>
            <a:ext cx="2092068" cy="1576895"/>
          </a:xfrm>
          <a:prstGeom prst="rect">
            <a:avLst/>
          </a:prstGeom>
          <a:solidFill>
            <a:schemeClr val="bg1"/>
          </a:solidFill>
          <a:ln w="38100" cap="flat">
            <a:solidFill>
              <a:schemeClr val="accent1">
                <a:lumMod val="60000"/>
                <a:lumOff val="40000"/>
              </a:schemeClr>
            </a:solidFill>
            <a:miter lim="800000"/>
          </a:ln>
        </p:spPr>
        <p:txBody>
          <a:bodyPr lIns="144000" tIns="108000" rIns="0" bIns="108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noProof="0">
                <a:solidFill>
                  <a:srgbClr val="000000"/>
                </a:solidFill>
                <a:latin typeface="Arial" panose="020B0604020202020204"/>
              </a:rPr>
              <a:t>AI</a:t>
            </a:r>
            <a:r>
              <a:rPr kumimoji="0" lang="en-GB" sz="1200" b="1" i="0" u="none" strike="noStrike" kern="1200" cap="none" spc="0" normalizeH="0" baseline="0" noProof="0">
                <a:ln>
                  <a:noFill/>
                </a:ln>
                <a:solidFill>
                  <a:srgbClr val="000000"/>
                </a:solidFill>
                <a:effectLst/>
                <a:uLnTx/>
                <a:uFillTx/>
                <a:latin typeface="Arial" panose="020B0604020202020204"/>
                <a:ea typeface="+mn-ea"/>
                <a:cs typeface="+mn-cs"/>
              </a:rPr>
              <a:t>/ML</a:t>
            </a:r>
          </a:p>
        </p:txBody>
      </p:sp>
      <p:grpSp>
        <p:nvGrpSpPr>
          <p:cNvPr id="834" name="Grupo 833">
            <a:extLst>
              <a:ext uri="{FF2B5EF4-FFF2-40B4-BE49-F238E27FC236}">
                <a16:creationId xmlns:a16="http://schemas.microsoft.com/office/drawing/2014/main" id="{544316EE-D106-4CE2-FA90-F503E74CBDA8}"/>
              </a:ext>
            </a:extLst>
          </p:cNvPr>
          <p:cNvGrpSpPr/>
          <p:nvPr/>
        </p:nvGrpSpPr>
        <p:grpSpPr>
          <a:xfrm>
            <a:off x="3829882" y="4943365"/>
            <a:ext cx="1516987" cy="1580400"/>
            <a:chOff x="3829882" y="4868119"/>
            <a:chExt cx="1516987" cy="1580400"/>
          </a:xfrm>
        </p:grpSpPr>
        <p:sp>
          <p:nvSpPr>
            <p:cNvPr id="189" name="Rectángulo 188">
              <a:extLst>
                <a:ext uri="{FF2B5EF4-FFF2-40B4-BE49-F238E27FC236}">
                  <a16:creationId xmlns:a16="http://schemas.microsoft.com/office/drawing/2014/main" id="{FF56DFEB-89B7-5F34-4EBF-83918B3AE800}"/>
                </a:ext>
              </a:extLst>
            </p:cNvPr>
            <p:cNvSpPr/>
            <p:nvPr/>
          </p:nvSpPr>
          <p:spPr bwMode="auto">
            <a:xfrm>
              <a:off x="3829882" y="4868119"/>
              <a:ext cx="1516987" cy="1580400"/>
            </a:xfrm>
            <a:prstGeom prst="rect">
              <a:avLst/>
            </a:prstGeom>
            <a:solidFill>
              <a:schemeClr val="bg1"/>
            </a:solidFill>
            <a:ln w="38100" cap="flat">
              <a:solidFill>
                <a:schemeClr val="accent1">
                  <a:lumMod val="60000"/>
                  <a:lumOff val="40000"/>
                </a:schemeClr>
              </a:solidFill>
              <a:miter lim="800000"/>
            </a:ln>
          </p:spPr>
          <p:txBody>
            <a:bodyPr lIns="144000" tIns="108000" rIns="0" bIns="108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Arial" panose="020B0604020202020204"/>
                  <a:ea typeface="+mn-ea"/>
                  <a:cs typeface="+mn-cs"/>
                </a:rPr>
                <a:t>DAT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Arial" panose="020B0604020202020204"/>
                  <a:ea typeface="+mn-ea"/>
                  <a:cs typeface="+mn-cs"/>
                </a:rPr>
                <a:t>GOVERNANCE</a:t>
              </a:r>
            </a:p>
          </p:txBody>
        </p:sp>
        <p:pic>
          <p:nvPicPr>
            <p:cNvPr id="192" name="Imagen 191">
              <a:extLst>
                <a:ext uri="{FF2B5EF4-FFF2-40B4-BE49-F238E27FC236}">
                  <a16:creationId xmlns:a16="http://schemas.microsoft.com/office/drawing/2014/main" id="{4FA95F66-1E82-CBA9-EF39-AD45673C99C3}"/>
                </a:ext>
              </a:extLst>
            </p:cNvPr>
            <p:cNvPicPr>
              <a:picLocks noChangeAspect="1"/>
            </p:cNvPicPr>
            <p:nvPr/>
          </p:nvPicPr>
          <p:blipFill>
            <a:blip r:embed="rId4"/>
            <a:stretch>
              <a:fillRect/>
            </a:stretch>
          </p:blipFill>
          <p:spPr>
            <a:xfrm>
              <a:off x="4017614" y="5429139"/>
              <a:ext cx="1153081" cy="883653"/>
            </a:xfrm>
            <a:prstGeom prst="rect">
              <a:avLst/>
            </a:prstGeom>
          </p:spPr>
        </p:pic>
      </p:grpSp>
      <p:grpSp>
        <p:nvGrpSpPr>
          <p:cNvPr id="835" name="Grupo 834">
            <a:extLst>
              <a:ext uri="{FF2B5EF4-FFF2-40B4-BE49-F238E27FC236}">
                <a16:creationId xmlns:a16="http://schemas.microsoft.com/office/drawing/2014/main" id="{E7B632BF-AC89-0EE1-E5EE-C98CD6D42E64}"/>
              </a:ext>
            </a:extLst>
          </p:cNvPr>
          <p:cNvGrpSpPr/>
          <p:nvPr/>
        </p:nvGrpSpPr>
        <p:grpSpPr>
          <a:xfrm>
            <a:off x="321679" y="4946870"/>
            <a:ext cx="3425666" cy="1576895"/>
            <a:chOff x="321679" y="4871624"/>
            <a:chExt cx="3425666" cy="1576895"/>
          </a:xfrm>
        </p:grpSpPr>
        <p:sp>
          <p:nvSpPr>
            <p:cNvPr id="188" name="Rectángulo 187">
              <a:extLst>
                <a:ext uri="{FF2B5EF4-FFF2-40B4-BE49-F238E27FC236}">
                  <a16:creationId xmlns:a16="http://schemas.microsoft.com/office/drawing/2014/main" id="{AFB9D8D9-5C99-7577-5298-2BFC496BEF13}"/>
                </a:ext>
              </a:extLst>
            </p:cNvPr>
            <p:cNvSpPr/>
            <p:nvPr/>
          </p:nvSpPr>
          <p:spPr bwMode="auto">
            <a:xfrm>
              <a:off x="321679" y="4871624"/>
              <a:ext cx="3425666" cy="1576895"/>
            </a:xfrm>
            <a:prstGeom prst="rect">
              <a:avLst/>
            </a:prstGeom>
            <a:solidFill>
              <a:schemeClr val="bg1"/>
            </a:solidFill>
            <a:ln w="38100" cap="flat">
              <a:solidFill>
                <a:schemeClr val="accent1">
                  <a:lumMod val="60000"/>
                  <a:lumOff val="40000"/>
                </a:schemeClr>
              </a:solidFill>
              <a:miter lim="800000"/>
            </a:ln>
          </p:spPr>
          <p:txBody>
            <a:bodyPr lIns="144000" tIns="108000" rIns="0" bIns="108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Arial" panose="020B0604020202020204"/>
                  <a:ea typeface="+mn-ea"/>
                  <a:cs typeface="+mn-cs"/>
                </a:rPr>
                <a:t>DATA QUALITY</a:t>
              </a:r>
            </a:p>
          </p:txBody>
        </p:sp>
        <p:pic>
          <p:nvPicPr>
            <p:cNvPr id="193" name="Imagen 192">
              <a:extLst>
                <a:ext uri="{FF2B5EF4-FFF2-40B4-BE49-F238E27FC236}">
                  <a16:creationId xmlns:a16="http://schemas.microsoft.com/office/drawing/2014/main" id="{CB752538-9404-60DD-B1BE-536E8B276831}"/>
                </a:ext>
              </a:extLst>
            </p:cNvPr>
            <p:cNvPicPr>
              <a:picLocks noChangeAspect="1"/>
            </p:cNvPicPr>
            <p:nvPr/>
          </p:nvPicPr>
          <p:blipFill>
            <a:blip r:embed="rId5"/>
            <a:stretch>
              <a:fillRect/>
            </a:stretch>
          </p:blipFill>
          <p:spPr>
            <a:xfrm>
              <a:off x="351411" y="5553304"/>
              <a:ext cx="3218053" cy="758756"/>
            </a:xfrm>
            <a:prstGeom prst="rect">
              <a:avLst/>
            </a:prstGeom>
          </p:spPr>
        </p:pic>
      </p:grpSp>
      <p:sp>
        <p:nvSpPr>
          <p:cNvPr id="209" name="Rectángulo 11">
            <a:extLst>
              <a:ext uri="{FF2B5EF4-FFF2-40B4-BE49-F238E27FC236}">
                <a16:creationId xmlns:a16="http://schemas.microsoft.com/office/drawing/2014/main" id="{6C1A55A2-162A-C799-F07F-0EF74BD626A2}"/>
              </a:ext>
            </a:extLst>
          </p:cNvPr>
          <p:cNvSpPr/>
          <p:nvPr/>
        </p:nvSpPr>
        <p:spPr>
          <a:xfrm>
            <a:off x="7605657" y="4925785"/>
            <a:ext cx="2166425" cy="1598262"/>
          </a:xfrm>
          <a:prstGeom prst="rect">
            <a:avLst/>
          </a:prstGeom>
          <a:solidFill>
            <a:srgbClr val="FFFFFF"/>
          </a:solidFill>
          <a:ln w="38100" cap="flat">
            <a:solidFill>
              <a:schemeClr val="accent3"/>
            </a:solidFill>
            <a:prstDash val="solid"/>
            <a:miter/>
          </a:ln>
        </p:spPr>
        <p:txBody>
          <a:bodyPr vert="horz" wrap="square" lIns="143999" tIns="0" rIns="0" bIns="107999" anchor="b"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3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TANDARD REPORTING</a:t>
            </a:r>
          </a:p>
        </p:txBody>
      </p:sp>
      <p:grpSp>
        <p:nvGrpSpPr>
          <p:cNvPr id="831" name="Grupo 830">
            <a:extLst>
              <a:ext uri="{FF2B5EF4-FFF2-40B4-BE49-F238E27FC236}">
                <a16:creationId xmlns:a16="http://schemas.microsoft.com/office/drawing/2014/main" id="{82788752-B807-D94F-1394-3ACA55CF360D}"/>
              </a:ext>
            </a:extLst>
          </p:cNvPr>
          <p:cNvGrpSpPr/>
          <p:nvPr/>
        </p:nvGrpSpPr>
        <p:grpSpPr>
          <a:xfrm>
            <a:off x="9880744" y="4918500"/>
            <a:ext cx="2072728" cy="1606893"/>
            <a:chOff x="9854618" y="4843254"/>
            <a:chExt cx="2072728" cy="1606893"/>
          </a:xfrm>
        </p:grpSpPr>
        <p:sp>
          <p:nvSpPr>
            <p:cNvPr id="212" name="Rectángulo 11">
              <a:extLst>
                <a:ext uri="{FF2B5EF4-FFF2-40B4-BE49-F238E27FC236}">
                  <a16:creationId xmlns:a16="http://schemas.microsoft.com/office/drawing/2014/main" id="{277D3143-4937-066E-AE01-9FD763FD20C0}"/>
                </a:ext>
              </a:extLst>
            </p:cNvPr>
            <p:cNvSpPr/>
            <p:nvPr/>
          </p:nvSpPr>
          <p:spPr>
            <a:xfrm>
              <a:off x="9854618" y="4843254"/>
              <a:ext cx="2072728" cy="1606893"/>
            </a:xfrm>
            <a:prstGeom prst="rect">
              <a:avLst/>
            </a:prstGeom>
            <a:solidFill>
              <a:srgbClr val="FFFFFF"/>
            </a:solidFill>
            <a:ln w="38100" cap="flat">
              <a:solidFill>
                <a:schemeClr val="accent3"/>
              </a:solidFill>
              <a:prstDash val="solid"/>
              <a:miter/>
            </a:ln>
          </p:spPr>
          <p:txBody>
            <a:bodyPr vert="horz" wrap="square" lIns="180000" tIns="0" rIns="0" bIns="107999" anchor="b"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3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AP</a:t>
              </a:r>
              <a:br>
                <a:rPr kumimoji="0" lang="en-GB" sz="13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3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BTP</a:t>
              </a:r>
              <a:br>
                <a:rPr kumimoji="0" lang="en-GB" sz="13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3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EXPERTS</a:t>
              </a:r>
            </a:p>
          </p:txBody>
        </p:sp>
        <p:pic>
          <p:nvPicPr>
            <p:cNvPr id="213" name="Picture 2">
              <a:extLst>
                <a:ext uri="{FF2B5EF4-FFF2-40B4-BE49-F238E27FC236}">
                  <a16:creationId xmlns:a16="http://schemas.microsoft.com/office/drawing/2014/main" id="{07773515-EF24-1515-2F82-B85FD41E8348}"/>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0951795" y="5029296"/>
              <a:ext cx="770453" cy="117769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29" name="Grupo 828">
            <a:extLst>
              <a:ext uri="{FF2B5EF4-FFF2-40B4-BE49-F238E27FC236}">
                <a16:creationId xmlns:a16="http://schemas.microsoft.com/office/drawing/2014/main" id="{6F51DF96-9689-7DF8-4076-486AD01A0B37}"/>
              </a:ext>
            </a:extLst>
          </p:cNvPr>
          <p:cNvGrpSpPr/>
          <p:nvPr/>
        </p:nvGrpSpPr>
        <p:grpSpPr>
          <a:xfrm>
            <a:off x="7609914" y="1735904"/>
            <a:ext cx="4328028" cy="814869"/>
            <a:chOff x="7609914" y="1731601"/>
            <a:chExt cx="4328028" cy="814869"/>
          </a:xfrm>
        </p:grpSpPr>
        <p:sp>
          <p:nvSpPr>
            <p:cNvPr id="214" name="Rectángulo 213">
              <a:extLst>
                <a:ext uri="{FF2B5EF4-FFF2-40B4-BE49-F238E27FC236}">
                  <a16:creationId xmlns:a16="http://schemas.microsoft.com/office/drawing/2014/main" id="{C5F36591-BC8F-1966-0830-D03180D84206}"/>
                </a:ext>
              </a:extLst>
            </p:cNvPr>
            <p:cNvSpPr/>
            <p:nvPr/>
          </p:nvSpPr>
          <p:spPr bwMode="auto">
            <a:xfrm>
              <a:off x="7609914" y="1731601"/>
              <a:ext cx="4328028" cy="814869"/>
            </a:xfrm>
            <a:prstGeom prst="rect">
              <a:avLst/>
            </a:prstGeom>
            <a:solidFill>
              <a:srgbClr val="FFFFFF"/>
            </a:solidFill>
            <a:ln w="38100" cap="flat">
              <a:solidFill>
                <a:schemeClr val="accent5">
                  <a:lumMod val="75000"/>
                </a:schemeClr>
              </a:solidFill>
              <a:miter lim="800000"/>
            </a:ln>
          </p:spPr>
          <p:txBody>
            <a:bodyPr lIns="144000" tIns="0" rIns="0" bIns="108000"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0" cap="none" spc="0" normalizeH="0" baseline="0" noProof="0">
                  <a:ln>
                    <a:noFill/>
                  </a:ln>
                  <a:solidFill>
                    <a:srgbClr val="000000"/>
                  </a:solidFill>
                  <a:effectLst/>
                  <a:uLnTx/>
                  <a:uFillTx/>
                  <a:latin typeface="Arial" panose="020B0604020202020204"/>
                  <a:ea typeface="+mn-ea"/>
                  <a:cs typeface="+mn-cs"/>
                </a:rPr>
                <a:t>TEAM</a:t>
              </a:r>
            </a:p>
          </p:txBody>
        </p:sp>
        <p:sp>
          <p:nvSpPr>
            <p:cNvPr id="215" name="CuadroTexto 214">
              <a:extLst>
                <a:ext uri="{FF2B5EF4-FFF2-40B4-BE49-F238E27FC236}">
                  <a16:creationId xmlns:a16="http://schemas.microsoft.com/office/drawing/2014/main" id="{DAE2A913-26F7-1C60-C254-3295262486E9}"/>
                </a:ext>
              </a:extLst>
            </p:cNvPr>
            <p:cNvSpPr txBox="1"/>
            <p:nvPr/>
          </p:nvSpPr>
          <p:spPr>
            <a:xfrm>
              <a:off x="8383465" y="1837919"/>
              <a:ext cx="1332416"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0" cap="none" spc="0" normalizeH="0" baseline="0" noProof="0">
                  <a:ln>
                    <a:noFill/>
                  </a:ln>
                  <a:solidFill>
                    <a:srgbClr val="494949"/>
                  </a:solidFill>
                  <a:effectLst/>
                  <a:uLnTx/>
                  <a:uFillTx/>
                  <a:latin typeface="Arial" panose="020B0604020202020204"/>
                  <a:ea typeface="+mn-ea"/>
                  <a:cs typeface="+mn-cs"/>
                </a:rPr>
                <a:t>200</a:t>
              </a:r>
              <a:r>
                <a:rPr kumimoji="0" lang="en-GB" sz="1100" b="1" i="0" u="none" strike="noStrike" kern="0" cap="none" spc="0" normalizeH="0" baseline="0" noProof="0">
                  <a:ln>
                    <a:noFill/>
                  </a:ln>
                  <a:solidFill>
                    <a:srgbClr val="494949"/>
                  </a:solidFill>
                  <a:effectLst/>
                  <a:uLnTx/>
                  <a:uFillTx/>
                  <a:latin typeface="Arial" panose="020B0604020202020204"/>
                  <a:ea typeface="+mn-ea"/>
                  <a:cs typeface="+mn-cs"/>
                </a:rPr>
                <a:t>FTE</a:t>
              </a:r>
              <a:endParaRPr kumimoji="0" lang="en-GB" sz="4000" b="1" i="0" u="none" strike="noStrike" kern="0" cap="none" spc="0" normalizeH="0" baseline="0" noProof="0">
                <a:ln>
                  <a:noFill/>
                </a:ln>
                <a:solidFill>
                  <a:srgbClr val="494949"/>
                </a:solidFill>
                <a:effectLst/>
                <a:uLnTx/>
                <a:uFillTx/>
                <a:latin typeface="Arial" panose="020B0604020202020204"/>
                <a:ea typeface="+mn-ea"/>
                <a:cs typeface="+mn-cs"/>
              </a:endParaRPr>
            </a:p>
          </p:txBody>
        </p:sp>
        <p:sp>
          <p:nvSpPr>
            <p:cNvPr id="216" name="CuadroTexto 215">
              <a:extLst>
                <a:ext uri="{FF2B5EF4-FFF2-40B4-BE49-F238E27FC236}">
                  <a16:creationId xmlns:a16="http://schemas.microsoft.com/office/drawing/2014/main" id="{AD50075C-4B8C-ECFC-208C-4BE9FB962497}"/>
                </a:ext>
              </a:extLst>
            </p:cNvPr>
            <p:cNvSpPr txBox="1"/>
            <p:nvPr/>
          </p:nvSpPr>
          <p:spPr>
            <a:xfrm>
              <a:off x="9913833" y="1830584"/>
              <a:ext cx="1895824" cy="646331"/>
            </a:xfrm>
            <a:prstGeom prst="rect">
              <a:avLst/>
            </a:prstGeom>
            <a:noFill/>
          </p:spPr>
          <p:txBody>
            <a:bodyPr wrap="square" rtlCol="0">
              <a:spAutoFit/>
            </a:bodyPr>
            <a:lstStyle/>
            <a:p>
              <a:pPr lvl="0">
                <a:defRPr/>
              </a:pPr>
              <a:r>
                <a:rPr kumimoji="0" lang="en-GB" sz="1200" b="1" i="0" u="none" strike="noStrike" kern="0" cap="none" spc="0" normalizeH="0" baseline="0" noProof="0">
                  <a:ln>
                    <a:noFill/>
                  </a:ln>
                  <a:solidFill>
                    <a:srgbClr val="000000"/>
                  </a:solidFill>
                  <a:effectLst/>
                  <a:uLnTx/>
                  <a:uFillTx/>
                  <a:latin typeface="Arial" panose="020B0604020202020204"/>
                  <a:ea typeface="+mn-ea"/>
                  <a:cs typeface="+mn-cs"/>
                </a:rPr>
                <a:t>+350 </a:t>
              </a:r>
              <a:r>
                <a:rPr kumimoji="0" lang="en-GB" sz="1200" b="0" i="0" u="none" strike="noStrike" kern="0" cap="none" spc="0" normalizeH="0" baseline="0" noProof="0">
                  <a:ln>
                    <a:noFill/>
                  </a:ln>
                  <a:solidFill>
                    <a:srgbClr val="000000"/>
                  </a:solidFill>
                  <a:effectLst/>
                  <a:uLnTx/>
                  <a:uFillTx/>
                  <a:latin typeface="Arial" panose="020B0604020202020204"/>
                  <a:ea typeface="+mn-ea"/>
                  <a:cs typeface="+mn-cs"/>
                </a:rPr>
                <a:t>projects</a:t>
              </a:r>
              <a:r>
                <a:rPr lang="en-GB" sz="1200" kern="0" noProof="0">
                  <a:solidFill>
                    <a:srgbClr val="000000"/>
                  </a:solidFill>
                  <a:latin typeface="Arial" panose="020B0604020202020204"/>
                </a:rPr>
                <a:t>/year</a:t>
              </a:r>
              <a:endParaRPr kumimoji="0" lang="en-GB" sz="1200" b="0" i="0" u="none" strike="noStrike" kern="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000000"/>
                  </a:solidFill>
                  <a:effectLst/>
                  <a:uLnTx/>
                  <a:uFillTx/>
                  <a:latin typeface="Arial" panose="020B0604020202020204"/>
                  <a:ea typeface="+mn-ea"/>
                  <a:cs typeface="+mn-cs"/>
                </a:rPr>
                <a:t>+1000 </a:t>
              </a:r>
              <a:r>
                <a:rPr kumimoji="0" lang="en-GB" sz="1200" b="0" i="0" u="none" strike="noStrike" kern="0" cap="none" spc="0" normalizeH="0" baseline="0" noProof="0">
                  <a:ln>
                    <a:noFill/>
                  </a:ln>
                  <a:solidFill>
                    <a:srgbClr val="000000"/>
                  </a:solidFill>
                  <a:effectLst/>
                  <a:uLnTx/>
                  <a:uFillTx/>
                  <a:latin typeface="Arial" panose="020B0604020202020204"/>
                  <a:ea typeface="+mn-ea"/>
                  <a:cs typeface="+mn-cs"/>
                </a:rPr>
                <a:t>referen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000000"/>
                  </a:solidFill>
                  <a:effectLst/>
                  <a:uLnTx/>
                  <a:uFillTx/>
                  <a:latin typeface="Arial" panose="020B0604020202020204"/>
                  <a:ea typeface="+mn-ea"/>
                  <a:cs typeface="+mn-cs"/>
                </a:rPr>
                <a:t>+300</a:t>
              </a:r>
              <a:r>
                <a:rPr kumimoji="0" lang="en-GB" sz="1200" b="0" i="0" u="none" strike="noStrike" kern="0" cap="none" spc="0" normalizeH="0" baseline="0" noProof="0">
                  <a:ln>
                    <a:noFill/>
                  </a:ln>
                  <a:solidFill>
                    <a:srgbClr val="000000"/>
                  </a:solidFill>
                  <a:effectLst/>
                  <a:uLnTx/>
                  <a:uFillTx/>
                  <a:latin typeface="Arial" panose="020B0604020202020204"/>
                  <a:ea typeface="+mn-ea"/>
                  <a:cs typeface="+mn-cs"/>
                </a:rPr>
                <a:t> clients</a:t>
              </a:r>
            </a:p>
          </p:txBody>
        </p:sp>
      </p:grpSp>
      <p:grpSp>
        <p:nvGrpSpPr>
          <p:cNvPr id="246" name="Grupo 245">
            <a:extLst>
              <a:ext uri="{FF2B5EF4-FFF2-40B4-BE49-F238E27FC236}">
                <a16:creationId xmlns:a16="http://schemas.microsoft.com/office/drawing/2014/main" id="{DE7A0711-178D-608F-514C-B19C9010EECF}"/>
              </a:ext>
            </a:extLst>
          </p:cNvPr>
          <p:cNvGrpSpPr/>
          <p:nvPr/>
        </p:nvGrpSpPr>
        <p:grpSpPr>
          <a:xfrm>
            <a:off x="483684" y="554366"/>
            <a:ext cx="3475896" cy="1777844"/>
            <a:chOff x="194696" y="432880"/>
            <a:chExt cx="3540597" cy="1810937"/>
          </a:xfrm>
        </p:grpSpPr>
        <p:grpSp>
          <p:nvGrpSpPr>
            <p:cNvPr id="463" name="Grupo 462">
              <a:extLst>
                <a:ext uri="{FF2B5EF4-FFF2-40B4-BE49-F238E27FC236}">
                  <a16:creationId xmlns:a16="http://schemas.microsoft.com/office/drawing/2014/main" id="{668F96D2-58BC-3D41-2A3C-01272D8B44CE}"/>
                </a:ext>
              </a:extLst>
            </p:cNvPr>
            <p:cNvGrpSpPr/>
            <p:nvPr/>
          </p:nvGrpSpPr>
          <p:grpSpPr>
            <a:xfrm>
              <a:off x="194696" y="447917"/>
              <a:ext cx="3302609" cy="1626970"/>
              <a:chOff x="1415552" y="1451345"/>
              <a:chExt cx="6842615" cy="3782244"/>
            </a:xfrm>
            <a:solidFill>
              <a:srgbClr val="F6D285"/>
            </a:solidFill>
          </p:grpSpPr>
          <p:sp>
            <p:nvSpPr>
              <p:cNvPr id="464" name="Freeform 56">
                <a:extLst>
                  <a:ext uri="{FF2B5EF4-FFF2-40B4-BE49-F238E27FC236}">
                    <a16:creationId xmlns:a16="http://schemas.microsoft.com/office/drawing/2014/main" id="{2278D988-22E1-A37B-C5C4-083AAA27EABD}"/>
                  </a:ext>
                </a:extLst>
              </p:cNvPr>
              <p:cNvSpPr>
                <a:spLocks/>
              </p:cNvSpPr>
              <p:nvPr/>
            </p:nvSpPr>
            <p:spPr bwMode="auto">
              <a:xfrm>
                <a:off x="3040621" y="4129387"/>
                <a:ext cx="289243" cy="429101"/>
              </a:xfrm>
              <a:custGeom>
                <a:avLst/>
                <a:gdLst>
                  <a:gd name="T0" fmla="*/ 149 w 185"/>
                  <a:gd name="T1" fmla="*/ 12 h 274"/>
                  <a:gd name="T2" fmla="*/ 136 w 185"/>
                  <a:gd name="T3" fmla="*/ 3 h 274"/>
                  <a:gd name="T4" fmla="*/ 111 w 185"/>
                  <a:gd name="T5" fmla="*/ 0 h 274"/>
                  <a:gd name="T6" fmla="*/ 103 w 185"/>
                  <a:gd name="T7" fmla="*/ 10 h 274"/>
                  <a:gd name="T8" fmla="*/ 62 w 185"/>
                  <a:gd name="T9" fmla="*/ 29 h 274"/>
                  <a:gd name="T10" fmla="*/ 42 w 185"/>
                  <a:gd name="T11" fmla="*/ 43 h 274"/>
                  <a:gd name="T12" fmla="*/ 28 w 185"/>
                  <a:gd name="T13" fmla="*/ 54 h 274"/>
                  <a:gd name="T14" fmla="*/ 17 w 185"/>
                  <a:gd name="T15" fmla="*/ 43 h 274"/>
                  <a:gd name="T16" fmla="*/ 14 w 185"/>
                  <a:gd name="T17" fmla="*/ 31 h 274"/>
                  <a:gd name="T18" fmla="*/ 6 w 185"/>
                  <a:gd name="T19" fmla="*/ 31 h 274"/>
                  <a:gd name="T20" fmla="*/ 0 w 185"/>
                  <a:gd name="T21" fmla="*/ 37 h 274"/>
                  <a:gd name="T22" fmla="*/ 0 w 185"/>
                  <a:gd name="T23" fmla="*/ 71 h 274"/>
                  <a:gd name="T24" fmla="*/ 15 w 185"/>
                  <a:gd name="T25" fmla="*/ 71 h 274"/>
                  <a:gd name="T26" fmla="*/ 21 w 185"/>
                  <a:gd name="T27" fmla="*/ 94 h 274"/>
                  <a:gd name="T28" fmla="*/ 29 w 185"/>
                  <a:gd name="T29" fmla="*/ 100 h 274"/>
                  <a:gd name="T30" fmla="*/ 31 w 185"/>
                  <a:gd name="T31" fmla="*/ 114 h 274"/>
                  <a:gd name="T32" fmla="*/ 36 w 185"/>
                  <a:gd name="T33" fmla="*/ 127 h 274"/>
                  <a:gd name="T34" fmla="*/ 45 w 185"/>
                  <a:gd name="T35" fmla="*/ 132 h 274"/>
                  <a:gd name="T36" fmla="*/ 47 w 185"/>
                  <a:gd name="T37" fmla="*/ 147 h 274"/>
                  <a:gd name="T38" fmla="*/ 51 w 185"/>
                  <a:gd name="T39" fmla="*/ 151 h 274"/>
                  <a:gd name="T40" fmla="*/ 57 w 185"/>
                  <a:gd name="T41" fmla="*/ 159 h 274"/>
                  <a:gd name="T42" fmla="*/ 61 w 185"/>
                  <a:gd name="T43" fmla="*/ 173 h 274"/>
                  <a:gd name="T44" fmla="*/ 68 w 185"/>
                  <a:gd name="T45" fmla="*/ 187 h 274"/>
                  <a:gd name="T46" fmla="*/ 75 w 185"/>
                  <a:gd name="T47" fmla="*/ 193 h 274"/>
                  <a:gd name="T48" fmla="*/ 71 w 185"/>
                  <a:gd name="T49" fmla="*/ 199 h 274"/>
                  <a:gd name="T50" fmla="*/ 76 w 185"/>
                  <a:gd name="T51" fmla="*/ 212 h 274"/>
                  <a:gd name="T52" fmla="*/ 91 w 185"/>
                  <a:gd name="T53" fmla="*/ 221 h 274"/>
                  <a:gd name="T54" fmla="*/ 105 w 185"/>
                  <a:gd name="T55" fmla="*/ 239 h 274"/>
                  <a:gd name="T56" fmla="*/ 127 w 185"/>
                  <a:gd name="T57" fmla="*/ 247 h 274"/>
                  <a:gd name="T58" fmla="*/ 147 w 185"/>
                  <a:gd name="T59" fmla="*/ 263 h 274"/>
                  <a:gd name="T60" fmla="*/ 159 w 185"/>
                  <a:gd name="T61" fmla="*/ 273 h 274"/>
                  <a:gd name="T62" fmla="*/ 170 w 185"/>
                  <a:gd name="T63" fmla="*/ 263 h 274"/>
                  <a:gd name="T64" fmla="*/ 174 w 185"/>
                  <a:gd name="T65" fmla="*/ 251 h 274"/>
                  <a:gd name="T66" fmla="*/ 179 w 185"/>
                  <a:gd name="T67" fmla="*/ 249 h 274"/>
                  <a:gd name="T68" fmla="*/ 174 w 185"/>
                  <a:gd name="T69" fmla="*/ 241 h 274"/>
                  <a:gd name="T70" fmla="*/ 176 w 185"/>
                  <a:gd name="T71" fmla="*/ 215 h 274"/>
                  <a:gd name="T72" fmla="*/ 176 w 185"/>
                  <a:gd name="T73" fmla="*/ 196 h 274"/>
                  <a:gd name="T74" fmla="*/ 182 w 185"/>
                  <a:gd name="T75" fmla="*/ 190 h 274"/>
                  <a:gd name="T76" fmla="*/ 184 w 185"/>
                  <a:gd name="T77" fmla="*/ 175 h 274"/>
                  <a:gd name="T78" fmla="*/ 173 w 185"/>
                  <a:gd name="T79" fmla="*/ 158 h 274"/>
                  <a:gd name="T80" fmla="*/ 160 w 185"/>
                  <a:gd name="T81" fmla="*/ 151 h 274"/>
                  <a:gd name="T82" fmla="*/ 155 w 185"/>
                  <a:gd name="T83" fmla="*/ 134 h 274"/>
                  <a:gd name="T84" fmla="*/ 143 w 185"/>
                  <a:gd name="T85" fmla="*/ 140 h 274"/>
                  <a:gd name="T86" fmla="*/ 131 w 185"/>
                  <a:gd name="T87" fmla="*/ 138 h 274"/>
                  <a:gd name="T88" fmla="*/ 129 w 185"/>
                  <a:gd name="T89" fmla="*/ 129 h 274"/>
                  <a:gd name="T90" fmla="*/ 119 w 185"/>
                  <a:gd name="T91" fmla="*/ 128 h 274"/>
                  <a:gd name="T92" fmla="*/ 115 w 185"/>
                  <a:gd name="T93" fmla="*/ 118 h 274"/>
                  <a:gd name="T94" fmla="*/ 105 w 185"/>
                  <a:gd name="T95" fmla="*/ 110 h 274"/>
                  <a:gd name="T96" fmla="*/ 102 w 185"/>
                  <a:gd name="T97" fmla="*/ 100 h 274"/>
                  <a:gd name="T98" fmla="*/ 104 w 185"/>
                  <a:gd name="T99" fmla="*/ 87 h 274"/>
                  <a:gd name="T100" fmla="*/ 113 w 185"/>
                  <a:gd name="T101" fmla="*/ 82 h 274"/>
                  <a:gd name="T102" fmla="*/ 120 w 185"/>
                  <a:gd name="T103" fmla="*/ 77 h 274"/>
                  <a:gd name="T104" fmla="*/ 116 w 185"/>
                  <a:gd name="T105" fmla="*/ 67 h 274"/>
                  <a:gd name="T106" fmla="*/ 120 w 185"/>
                  <a:gd name="T107" fmla="*/ 54 h 274"/>
                  <a:gd name="T108" fmla="*/ 131 w 185"/>
                  <a:gd name="T109" fmla="*/ 47 h 274"/>
                  <a:gd name="T110" fmla="*/ 143 w 185"/>
                  <a:gd name="T111" fmla="*/ 50 h 274"/>
                  <a:gd name="T112" fmla="*/ 155 w 185"/>
                  <a:gd name="T113" fmla="*/ 44 h 274"/>
                  <a:gd name="T114" fmla="*/ 159 w 185"/>
                  <a:gd name="T115" fmla="*/ 31 h 274"/>
                  <a:gd name="T116" fmla="*/ 149 w 185"/>
                  <a:gd name="T117" fmla="*/ 12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5" h="274">
                    <a:moveTo>
                      <a:pt x="149" y="12"/>
                    </a:moveTo>
                    <a:lnTo>
                      <a:pt x="136" y="3"/>
                    </a:lnTo>
                    <a:lnTo>
                      <a:pt x="111" y="0"/>
                    </a:lnTo>
                    <a:lnTo>
                      <a:pt x="103" y="10"/>
                    </a:lnTo>
                    <a:lnTo>
                      <a:pt x="62" y="29"/>
                    </a:lnTo>
                    <a:lnTo>
                      <a:pt x="42" y="43"/>
                    </a:lnTo>
                    <a:lnTo>
                      <a:pt x="28" y="54"/>
                    </a:lnTo>
                    <a:lnTo>
                      <a:pt x="17" y="43"/>
                    </a:lnTo>
                    <a:lnTo>
                      <a:pt x="14" y="31"/>
                    </a:lnTo>
                    <a:lnTo>
                      <a:pt x="6" y="31"/>
                    </a:lnTo>
                    <a:lnTo>
                      <a:pt x="0" y="37"/>
                    </a:lnTo>
                    <a:lnTo>
                      <a:pt x="0" y="71"/>
                    </a:lnTo>
                    <a:lnTo>
                      <a:pt x="15" y="71"/>
                    </a:lnTo>
                    <a:lnTo>
                      <a:pt x="21" y="94"/>
                    </a:lnTo>
                    <a:lnTo>
                      <a:pt x="29" y="100"/>
                    </a:lnTo>
                    <a:lnTo>
                      <a:pt x="31" y="114"/>
                    </a:lnTo>
                    <a:lnTo>
                      <a:pt x="36" y="127"/>
                    </a:lnTo>
                    <a:lnTo>
                      <a:pt x="45" y="132"/>
                    </a:lnTo>
                    <a:lnTo>
                      <a:pt x="47" y="147"/>
                    </a:lnTo>
                    <a:lnTo>
                      <a:pt x="51" y="151"/>
                    </a:lnTo>
                    <a:lnTo>
                      <a:pt x="57" y="159"/>
                    </a:lnTo>
                    <a:lnTo>
                      <a:pt x="61" y="173"/>
                    </a:lnTo>
                    <a:lnTo>
                      <a:pt x="68" y="187"/>
                    </a:lnTo>
                    <a:lnTo>
                      <a:pt x="75" y="193"/>
                    </a:lnTo>
                    <a:lnTo>
                      <a:pt x="71" y="199"/>
                    </a:lnTo>
                    <a:lnTo>
                      <a:pt x="76" y="212"/>
                    </a:lnTo>
                    <a:lnTo>
                      <a:pt x="91" y="221"/>
                    </a:lnTo>
                    <a:lnTo>
                      <a:pt x="105" y="239"/>
                    </a:lnTo>
                    <a:lnTo>
                      <a:pt x="127" y="247"/>
                    </a:lnTo>
                    <a:lnTo>
                      <a:pt x="147" y="263"/>
                    </a:lnTo>
                    <a:lnTo>
                      <a:pt x="159" y="273"/>
                    </a:lnTo>
                    <a:lnTo>
                      <a:pt x="170" y="263"/>
                    </a:lnTo>
                    <a:lnTo>
                      <a:pt x="174" y="251"/>
                    </a:lnTo>
                    <a:lnTo>
                      <a:pt x="179" y="249"/>
                    </a:lnTo>
                    <a:lnTo>
                      <a:pt x="174" y="241"/>
                    </a:lnTo>
                    <a:lnTo>
                      <a:pt x="176" y="215"/>
                    </a:lnTo>
                    <a:lnTo>
                      <a:pt x="176" y="196"/>
                    </a:lnTo>
                    <a:lnTo>
                      <a:pt x="182" y="190"/>
                    </a:lnTo>
                    <a:lnTo>
                      <a:pt x="184" y="175"/>
                    </a:lnTo>
                    <a:lnTo>
                      <a:pt x="173" y="158"/>
                    </a:lnTo>
                    <a:lnTo>
                      <a:pt x="160" y="151"/>
                    </a:lnTo>
                    <a:lnTo>
                      <a:pt x="155" y="134"/>
                    </a:lnTo>
                    <a:lnTo>
                      <a:pt x="143" y="140"/>
                    </a:lnTo>
                    <a:lnTo>
                      <a:pt x="131" y="138"/>
                    </a:lnTo>
                    <a:lnTo>
                      <a:pt x="129" y="129"/>
                    </a:lnTo>
                    <a:lnTo>
                      <a:pt x="119" y="128"/>
                    </a:lnTo>
                    <a:lnTo>
                      <a:pt x="115" y="118"/>
                    </a:lnTo>
                    <a:lnTo>
                      <a:pt x="105" y="110"/>
                    </a:lnTo>
                    <a:lnTo>
                      <a:pt x="102" y="100"/>
                    </a:lnTo>
                    <a:lnTo>
                      <a:pt x="104" y="87"/>
                    </a:lnTo>
                    <a:lnTo>
                      <a:pt x="113" y="82"/>
                    </a:lnTo>
                    <a:lnTo>
                      <a:pt x="120" y="77"/>
                    </a:lnTo>
                    <a:lnTo>
                      <a:pt x="116" y="67"/>
                    </a:lnTo>
                    <a:lnTo>
                      <a:pt x="120" y="54"/>
                    </a:lnTo>
                    <a:lnTo>
                      <a:pt x="131" y="47"/>
                    </a:lnTo>
                    <a:lnTo>
                      <a:pt x="143" y="50"/>
                    </a:lnTo>
                    <a:lnTo>
                      <a:pt x="155" y="44"/>
                    </a:lnTo>
                    <a:lnTo>
                      <a:pt x="159" y="31"/>
                    </a:lnTo>
                    <a:lnTo>
                      <a:pt x="149" y="12"/>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465" name="Freeform 267">
                <a:extLst>
                  <a:ext uri="{FF2B5EF4-FFF2-40B4-BE49-F238E27FC236}">
                    <a16:creationId xmlns:a16="http://schemas.microsoft.com/office/drawing/2014/main" id="{3C1024CF-96E0-DE34-D101-CAF14BD0A1D2}"/>
                  </a:ext>
                </a:extLst>
              </p:cNvPr>
              <p:cNvSpPr>
                <a:spLocks/>
              </p:cNvSpPr>
              <p:nvPr/>
            </p:nvSpPr>
            <p:spPr bwMode="auto">
              <a:xfrm>
                <a:off x="5357356" y="3065716"/>
                <a:ext cx="54495" cy="20966"/>
              </a:xfrm>
              <a:custGeom>
                <a:avLst/>
                <a:gdLst>
                  <a:gd name="T0" fmla="*/ 17 w 36"/>
                  <a:gd name="T1" fmla="*/ 13 h 14"/>
                  <a:gd name="T2" fmla="*/ 15 w 36"/>
                  <a:gd name="T3" fmla="*/ 13 h 14"/>
                  <a:gd name="T4" fmla="*/ 13 w 36"/>
                  <a:gd name="T5" fmla="*/ 13 h 14"/>
                  <a:gd name="T6" fmla="*/ 12 w 36"/>
                  <a:gd name="T7" fmla="*/ 13 h 14"/>
                  <a:gd name="T8" fmla="*/ 10 w 36"/>
                  <a:gd name="T9" fmla="*/ 11 h 14"/>
                  <a:gd name="T10" fmla="*/ 8 w 36"/>
                  <a:gd name="T11" fmla="*/ 11 h 14"/>
                  <a:gd name="T12" fmla="*/ 6 w 36"/>
                  <a:gd name="T13" fmla="*/ 10 h 14"/>
                  <a:gd name="T14" fmla="*/ 4 w 36"/>
                  <a:gd name="T15" fmla="*/ 9 h 14"/>
                  <a:gd name="T16" fmla="*/ 3 w 36"/>
                  <a:gd name="T17" fmla="*/ 9 h 14"/>
                  <a:gd name="T18" fmla="*/ 2 w 36"/>
                  <a:gd name="T19" fmla="*/ 9 h 14"/>
                  <a:gd name="T20" fmla="*/ 2 w 36"/>
                  <a:gd name="T21" fmla="*/ 7 h 14"/>
                  <a:gd name="T22" fmla="*/ 1 w 36"/>
                  <a:gd name="T23" fmla="*/ 7 h 14"/>
                  <a:gd name="T24" fmla="*/ 0 w 36"/>
                  <a:gd name="T25" fmla="*/ 7 h 14"/>
                  <a:gd name="T26" fmla="*/ 1 w 36"/>
                  <a:gd name="T27" fmla="*/ 7 h 14"/>
                  <a:gd name="T28" fmla="*/ 2 w 36"/>
                  <a:gd name="T29" fmla="*/ 7 h 14"/>
                  <a:gd name="T30" fmla="*/ 2 w 36"/>
                  <a:gd name="T31" fmla="*/ 6 h 14"/>
                  <a:gd name="T32" fmla="*/ 3 w 36"/>
                  <a:gd name="T33" fmla="*/ 6 h 14"/>
                  <a:gd name="T34" fmla="*/ 3 w 36"/>
                  <a:gd name="T35" fmla="*/ 5 h 14"/>
                  <a:gd name="T36" fmla="*/ 4 w 36"/>
                  <a:gd name="T37" fmla="*/ 5 h 14"/>
                  <a:gd name="T38" fmla="*/ 6 w 36"/>
                  <a:gd name="T39" fmla="*/ 5 h 14"/>
                  <a:gd name="T40" fmla="*/ 8 w 36"/>
                  <a:gd name="T41" fmla="*/ 5 h 14"/>
                  <a:gd name="T42" fmla="*/ 11 w 36"/>
                  <a:gd name="T43" fmla="*/ 5 h 14"/>
                  <a:gd name="T44" fmla="*/ 13 w 36"/>
                  <a:gd name="T45" fmla="*/ 5 h 14"/>
                  <a:gd name="T46" fmla="*/ 15 w 36"/>
                  <a:gd name="T47" fmla="*/ 5 h 14"/>
                  <a:gd name="T48" fmla="*/ 17 w 36"/>
                  <a:gd name="T49" fmla="*/ 5 h 14"/>
                  <a:gd name="T50" fmla="*/ 18 w 36"/>
                  <a:gd name="T51" fmla="*/ 5 h 14"/>
                  <a:gd name="T52" fmla="*/ 19 w 36"/>
                  <a:gd name="T53" fmla="*/ 3 h 14"/>
                  <a:gd name="T54" fmla="*/ 21 w 36"/>
                  <a:gd name="T55" fmla="*/ 3 h 14"/>
                  <a:gd name="T56" fmla="*/ 23 w 36"/>
                  <a:gd name="T57" fmla="*/ 2 h 14"/>
                  <a:gd name="T58" fmla="*/ 24 w 36"/>
                  <a:gd name="T59" fmla="*/ 2 h 14"/>
                  <a:gd name="T60" fmla="*/ 26 w 36"/>
                  <a:gd name="T61" fmla="*/ 2 h 14"/>
                  <a:gd name="T62" fmla="*/ 27 w 36"/>
                  <a:gd name="T63" fmla="*/ 1 h 14"/>
                  <a:gd name="T64" fmla="*/ 28 w 36"/>
                  <a:gd name="T65" fmla="*/ 1 h 14"/>
                  <a:gd name="T66" fmla="*/ 29 w 36"/>
                  <a:gd name="T67" fmla="*/ 1 h 14"/>
                  <a:gd name="T68" fmla="*/ 30 w 36"/>
                  <a:gd name="T69" fmla="*/ 0 h 14"/>
                  <a:gd name="T70" fmla="*/ 30 w 36"/>
                  <a:gd name="T71" fmla="*/ 1 h 14"/>
                  <a:gd name="T72" fmla="*/ 31 w 36"/>
                  <a:gd name="T73" fmla="*/ 1 h 14"/>
                  <a:gd name="T74" fmla="*/ 32 w 36"/>
                  <a:gd name="T75" fmla="*/ 2 h 14"/>
                  <a:gd name="T76" fmla="*/ 33 w 36"/>
                  <a:gd name="T77" fmla="*/ 2 h 14"/>
                  <a:gd name="T78" fmla="*/ 33 w 36"/>
                  <a:gd name="T79" fmla="*/ 3 h 14"/>
                  <a:gd name="T80" fmla="*/ 33 w 36"/>
                  <a:gd name="T81" fmla="*/ 5 h 14"/>
                  <a:gd name="T82" fmla="*/ 34 w 36"/>
                  <a:gd name="T83" fmla="*/ 6 h 14"/>
                  <a:gd name="T84" fmla="*/ 34 w 36"/>
                  <a:gd name="T85" fmla="*/ 7 h 14"/>
                  <a:gd name="T86" fmla="*/ 34 w 36"/>
                  <a:gd name="T87" fmla="*/ 9 h 14"/>
                  <a:gd name="T88" fmla="*/ 35 w 36"/>
                  <a:gd name="T89" fmla="*/ 9 h 14"/>
                  <a:gd name="T90" fmla="*/ 34 w 36"/>
                  <a:gd name="T91" fmla="*/ 9 h 14"/>
                  <a:gd name="T92" fmla="*/ 33 w 36"/>
                  <a:gd name="T93" fmla="*/ 10 h 14"/>
                  <a:gd name="T94" fmla="*/ 33 w 36"/>
                  <a:gd name="T95" fmla="*/ 11 h 14"/>
                  <a:gd name="T96" fmla="*/ 32 w 36"/>
                  <a:gd name="T97" fmla="*/ 11 h 14"/>
                  <a:gd name="T98" fmla="*/ 30 w 36"/>
                  <a:gd name="T99" fmla="*/ 11 h 14"/>
                  <a:gd name="T100" fmla="*/ 28 w 36"/>
                  <a:gd name="T101" fmla="*/ 13 h 14"/>
                  <a:gd name="T102" fmla="*/ 27 w 36"/>
                  <a:gd name="T103" fmla="*/ 13 h 14"/>
                  <a:gd name="T104" fmla="*/ 25 w 36"/>
                  <a:gd name="T105" fmla="*/ 13 h 14"/>
                  <a:gd name="T106" fmla="*/ 23 w 36"/>
                  <a:gd name="T107" fmla="*/ 13 h 14"/>
                  <a:gd name="T108" fmla="*/ 21 w 36"/>
                  <a:gd name="T109" fmla="*/ 13 h 14"/>
                  <a:gd name="T110" fmla="*/ 19 w 36"/>
                  <a:gd name="T111" fmla="*/ 13 h 14"/>
                  <a:gd name="T112" fmla="*/ 17 w 36"/>
                  <a:gd name="T113"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 h="14">
                    <a:moveTo>
                      <a:pt x="17" y="13"/>
                    </a:moveTo>
                    <a:lnTo>
                      <a:pt x="15" y="13"/>
                    </a:lnTo>
                    <a:lnTo>
                      <a:pt x="13" y="13"/>
                    </a:lnTo>
                    <a:lnTo>
                      <a:pt x="12" y="13"/>
                    </a:lnTo>
                    <a:lnTo>
                      <a:pt x="10" y="11"/>
                    </a:lnTo>
                    <a:lnTo>
                      <a:pt x="8" y="11"/>
                    </a:lnTo>
                    <a:lnTo>
                      <a:pt x="6" y="10"/>
                    </a:lnTo>
                    <a:lnTo>
                      <a:pt x="4" y="9"/>
                    </a:lnTo>
                    <a:lnTo>
                      <a:pt x="3" y="9"/>
                    </a:lnTo>
                    <a:lnTo>
                      <a:pt x="2" y="9"/>
                    </a:lnTo>
                    <a:lnTo>
                      <a:pt x="2" y="7"/>
                    </a:lnTo>
                    <a:lnTo>
                      <a:pt x="1" y="7"/>
                    </a:lnTo>
                    <a:lnTo>
                      <a:pt x="0" y="7"/>
                    </a:lnTo>
                    <a:lnTo>
                      <a:pt x="1" y="7"/>
                    </a:lnTo>
                    <a:lnTo>
                      <a:pt x="2" y="7"/>
                    </a:lnTo>
                    <a:lnTo>
                      <a:pt x="2" y="6"/>
                    </a:lnTo>
                    <a:lnTo>
                      <a:pt x="3" y="6"/>
                    </a:lnTo>
                    <a:lnTo>
                      <a:pt x="3" y="5"/>
                    </a:lnTo>
                    <a:lnTo>
                      <a:pt x="4" y="5"/>
                    </a:lnTo>
                    <a:lnTo>
                      <a:pt x="6" y="5"/>
                    </a:lnTo>
                    <a:lnTo>
                      <a:pt x="8" y="5"/>
                    </a:lnTo>
                    <a:lnTo>
                      <a:pt x="11" y="5"/>
                    </a:lnTo>
                    <a:lnTo>
                      <a:pt x="13" y="5"/>
                    </a:lnTo>
                    <a:lnTo>
                      <a:pt x="15" y="5"/>
                    </a:lnTo>
                    <a:lnTo>
                      <a:pt x="17" y="5"/>
                    </a:lnTo>
                    <a:lnTo>
                      <a:pt x="18" y="5"/>
                    </a:lnTo>
                    <a:lnTo>
                      <a:pt x="19" y="3"/>
                    </a:lnTo>
                    <a:lnTo>
                      <a:pt x="21" y="3"/>
                    </a:lnTo>
                    <a:lnTo>
                      <a:pt x="23" y="2"/>
                    </a:lnTo>
                    <a:lnTo>
                      <a:pt x="24" y="2"/>
                    </a:lnTo>
                    <a:lnTo>
                      <a:pt x="26" y="2"/>
                    </a:lnTo>
                    <a:lnTo>
                      <a:pt x="27" y="1"/>
                    </a:lnTo>
                    <a:lnTo>
                      <a:pt x="28" y="1"/>
                    </a:lnTo>
                    <a:lnTo>
                      <a:pt x="29" y="1"/>
                    </a:lnTo>
                    <a:lnTo>
                      <a:pt x="30" y="0"/>
                    </a:lnTo>
                    <a:lnTo>
                      <a:pt x="30" y="1"/>
                    </a:lnTo>
                    <a:lnTo>
                      <a:pt x="31" y="1"/>
                    </a:lnTo>
                    <a:lnTo>
                      <a:pt x="32" y="2"/>
                    </a:lnTo>
                    <a:lnTo>
                      <a:pt x="33" y="2"/>
                    </a:lnTo>
                    <a:lnTo>
                      <a:pt x="33" y="3"/>
                    </a:lnTo>
                    <a:lnTo>
                      <a:pt x="33" y="5"/>
                    </a:lnTo>
                    <a:lnTo>
                      <a:pt x="34" y="6"/>
                    </a:lnTo>
                    <a:lnTo>
                      <a:pt x="34" y="7"/>
                    </a:lnTo>
                    <a:lnTo>
                      <a:pt x="34" y="9"/>
                    </a:lnTo>
                    <a:lnTo>
                      <a:pt x="35" y="9"/>
                    </a:lnTo>
                    <a:lnTo>
                      <a:pt x="34" y="9"/>
                    </a:lnTo>
                    <a:lnTo>
                      <a:pt x="33" y="10"/>
                    </a:lnTo>
                    <a:lnTo>
                      <a:pt x="33" y="11"/>
                    </a:lnTo>
                    <a:lnTo>
                      <a:pt x="32" y="11"/>
                    </a:lnTo>
                    <a:lnTo>
                      <a:pt x="30" y="11"/>
                    </a:lnTo>
                    <a:lnTo>
                      <a:pt x="28" y="13"/>
                    </a:lnTo>
                    <a:lnTo>
                      <a:pt x="27" y="13"/>
                    </a:lnTo>
                    <a:lnTo>
                      <a:pt x="25" y="13"/>
                    </a:lnTo>
                    <a:lnTo>
                      <a:pt x="23" y="13"/>
                    </a:lnTo>
                    <a:lnTo>
                      <a:pt x="21" y="13"/>
                    </a:lnTo>
                    <a:lnTo>
                      <a:pt x="19" y="13"/>
                    </a:lnTo>
                    <a:lnTo>
                      <a:pt x="17" y="13"/>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466" name="Freeform 67">
                <a:extLst>
                  <a:ext uri="{FF2B5EF4-FFF2-40B4-BE49-F238E27FC236}">
                    <a16:creationId xmlns:a16="http://schemas.microsoft.com/office/drawing/2014/main" id="{1ADA92D7-E5AD-1A20-DB62-9683F3E54E30}"/>
                  </a:ext>
                </a:extLst>
              </p:cNvPr>
              <p:cNvSpPr>
                <a:spLocks/>
              </p:cNvSpPr>
              <p:nvPr/>
            </p:nvSpPr>
            <p:spPr bwMode="auto">
              <a:xfrm>
                <a:off x="3774207" y="2013230"/>
                <a:ext cx="57290" cy="27955"/>
              </a:xfrm>
              <a:custGeom>
                <a:avLst/>
                <a:gdLst>
                  <a:gd name="T0" fmla="*/ 10 w 36"/>
                  <a:gd name="T1" fmla="*/ 0 h 18"/>
                  <a:gd name="T2" fmla="*/ 0 w 36"/>
                  <a:gd name="T3" fmla="*/ 17 h 18"/>
                  <a:gd name="T4" fmla="*/ 17 w 36"/>
                  <a:gd name="T5" fmla="*/ 17 h 18"/>
                  <a:gd name="T6" fmla="*/ 35 w 36"/>
                  <a:gd name="T7" fmla="*/ 10 h 18"/>
                  <a:gd name="T8" fmla="*/ 10 w 36"/>
                  <a:gd name="T9" fmla="*/ 0 h 18"/>
                </a:gdLst>
                <a:ahLst/>
                <a:cxnLst>
                  <a:cxn ang="0">
                    <a:pos x="T0" y="T1"/>
                  </a:cxn>
                  <a:cxn ang="0">
                    <a:pos x="T2" y="T3"/>
                  </a:cxn>
                  <a:cxn ang="0">
                    <a:pos x="T4" y="T5"/>
                  </a:cxn>
                  <a:cxn ang="0">
                    <a:pos x="T6" y="T7"/>
                  </a:cxn>
                  <a:cxn ang="0">
                    <a:pos x="T8" y="T9"/>
                  </a:cxn>
                </a:cxnLst>
                <a:rect l="0" t="0" r="r" b="b"/>
                <a:pathLst>
                  <a:path w="36" h="18">
                    <a:moveTo>
                      <a:pt x="10" y="0"/>
                    </a:moveTo>
                    <a:lnTo>
                      <a:pt x="0" y="17"/>
                    </a:lnTo>
                    <a:lnTo>
                      <a:pt x="17" y="17"/>
                    </a:lnTo>
                    <a:lnTo>
                      <a:pt x="35" y="10"/>
                    </a:lnTo>
                    <a:lnTo>
                      <a:pt x="10" y="0"/>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467" name="Freeform 68">
                <a:extLst>
                  <a:ext uri="{FF2B5EF4-FFF2-40B4-BE49-F238E27FC236}">
                    <a16:creationId xmlns:a16="http://schemas.microsoft.com/office/drawing/2014/main" id="{9B515D9B-71C7-CBEB-352E-3C9F6EEA240D}"/>
                  </a:ext>
                </a:extLst>
              </p:cNvPr>
              <p:cNvSpPr>
                <a:spLocks/>
              </p:cNvSpPr>
              <p:nvPr/>
            </p:nvSpPr>
            <p:spPr bwMode="auto">
              <a:xfrm>
                <a:off x="1415552" y="1969901"/>
                <a:ext cx="746163" cy="613602"/>
              </a:xfrm>
              <a:custGeom>
                <a:avLst/>
                <a:gdLst>
                  <a:gd name="T0" fmla="*/ 229 w 476"/>
                  <a:gd name="T1" fmla="*/ 10 h 391"/>
                  <a:gd name="T2" fmla="*/ 191 w 476"/>
                  <a:gd name="T3" fmla="*/ 25 h 391"/>
                  <a:gd name="T4" fmla="*/ 143 w 476"/>
                  <a:gd name="T5" fmla="*/ 55 h 391"/>
                  <a:gd name="T6" fmla="*/ 88 w 476"/>
                  <a:gd name="T7" fmla="*/ 75 h 391"/>
                  <a:gd name="T8" fmla="*/ 158 w 476"/>
                  <a:gd name="T9" fmla="*/ 112 h 391"/>
                  <a:gd name="T10" fmla="*/ 108 w 476"/>
                  <a:gd name="T11" fmla="*/ 122 h 391"/>
                  <a:gd name="T12" fmla="*/ 83 w 476"/>
                  <a:gd name="T13" fmla="*/ 115 h 391"/>
                  <a:gd name="T14" fmla="*/ 58 w 476"/>
                  <a:gd name="T15" fmla="*/ 125 h 391"/>
                  <a:gd name="T16" fmla="*/ 66 w 476"/>
                  <a:gd name="T17" fmla="*/ 143 h 391"/>
                  <a:gd name="T18" fmla="*/ 74 w 476"/>
                  <a:gd name="T19" fmla="*/ 165 h 391"/>
                  <a:gd name="T20" fmla="*/ 123 w 476"/>
                  <a:gd name="T21" fmla="*/ 153 h 391"/>
                  <a:gd name="T22" fmla="*/ 121 w 476"/>
                  <a:gd name="T23" fmla="*/ 167 h 391"/>
                  <a:gd name="T24" fmla="*/ 96 w 476"/>
                  <a:gd name="T25" fmla="*/ 185 h 391"/>
                  <a:gd name="T26" fmla="*/ 79 w 476"/>
                  <a:gd name="T27" fmla="*/ 190 h 391"/>
                  <a:gd name="T28" fmla="*/ 56 w 476"/>
                  <a:gd name="T29" fmla="*/ 215 h 391"/>
                  <a:gd name="T30" fmla="*/ 43 w 476"/>
                  <a:gd name="T31" fmla="*/ 238 h 391"/>
                  <a:gd name="T32" fmla="*/ 38 w 476"/>
                  <a:gd name="T33" fmla="*/ 253 h 391"/>
                  <a:gd name="T34" fmla="*/ 66 w 476"/>
                  <a:gd name="T35" fmla="*/ 265 h 391"/>
                  <a:gd name="T36" fmla="*/ 74 w 476"/>
                  <a:gd name="T37" fmla="*/ 273 h 391"/>
                  <a:gd name="T38" fmla="*/ 68 w 476"/>
                  <a:gd name="T39" fmla="*/ 301 h 391"/>
                  <a:gd name="T40" fmla="*/ 98 w 476"/>
                  <a:gd name="T41" fmla="*/ 299 h 391"/>
                  <a:gd name="T42" fmla="*/ 119 w 476"/>
                  <a:gd name="T43" fmla="*/ 316 h 391"/>
                  <a:gd name="T44" fmla="*/ 20 w 476"/>
                  <a:gd name="T45" fmla="*/ 373 h 391"/>
                  <a:gd name="T46" fmla="*/ 1 w 476"/>
                  <a:gd name="T47" fmla="*/ 390 h 391"/>
                  <a:gd name="T48" fmla="*/ 138 w 476"/>
                  <a:gd name="T49" fmla="*/ 330 h 391"/>
                  <a:gd name="T50" fmla="*/ 157 w 476"/>
                  <a:gd name="T51" fmla="*/ 315 h 391"/>
                  <a:gd name="T52" fmla="*/ 174 w 476"/>
                  <a:gd name="T53" fmla="*/ 289 h 391"/>
                  <a:gd name="T54" fmla="*/ 223 w 476"/>
                  <a:gd name="T55" fmla="*/ 235 h 391"/>
                  <a:gd name="T56" fmla="*/ 209 w 476"/>
                  <a:gd name="T57" fmla="*/ 268 h 391"/>
                  <a:gd name="T58" fmla="*/ 206 w 476"/>
                  <a:gd name="T59" fmla="*/ 285 h 391"/>
                  <a:gd name="T60" fmla="*/ 221 w 476"/>
                  <a:gd name="T61" fmla="*/ 293 h 391"/>
                  <a:gd name="T62" fmla="*/ 229 w 476"/>
                  <a:gd name="T63" fmla="*/ 291 h 391"/>
                  <a:gd name="T64" fmla="*/ 236 w 476"/>
                  <a:gd name="T65" fmla="*/ 285 h 391"/>
                  <a:gd name="T66" fmla="*/ 244 w 476"/>
                  <a:gd name="T67" fmla="*/ 278 h 391"/>
                  <a:gd name="T68" fmla="*/ 249 w 476"/>
                  <a:gd name="T69" fmla="*/ 271 h 391"/>
                  <a:gd name="T70" fmla="*/ 251 w 476"/>
                  <a:gd name="T71" fmla="*/ 268 h 391"/>
                  <a:gd name="T72" fmla="*/ 264 w 476"/>
                  <a:gd name="T73" fmla="*/ 260 h 391"/>
                  <a:gd name="T74" fmla="*/ 285 w 476"/>
                  <a:gd name="T75" fmla="*/ 238 h 391"/>
                  <a:gd name="T76" fmla="*/ 303 w 476"/>
                  <a:gd name="T77" fmla="*/ 249 h 391"/>
                  <a:gd name="T78" fmla="*/ 347 w 476"/>
                  <a:gd name="T79" fmla="*/ 264 h 391"/>
                  <a:gd name="T80" fmla="*/ 353 w 476"/>
                  <a:gd name="T81" fmla="*/ 276 h 391"/>
                  <a:gd name="T82" fmla="*/ 370 w 476"/>
                  <a:gd name="T83" fmla="*/ 291 h 391"/>
                  <a:gd name="T84" fmla="*/ 385 w 476"/>
                  <a:gd name="T85" fmla="*/ 301 h 391"/>
                  <a:gd name="T86" fmla="*/ 403 w 476"/>
                  <a:gd name="T87" fmla="*/ 297 h 391"/>
                  <a:gd name="T88" fmla="*/ 417 w 476"/>
                  <a:gd name="T89" fmla="*/ 312 h 391"/>
                  <a:gd name="T90" fmla="*/ 429 w 476"/>
                  <a:gd name="T91" fmla="*/ 308 h 391"/>
                  <a:gd name="T92" fmla="*/ 428 w 476"/>
                  <a:gd name="T93" fmla="*/ 328 h 391"/>
                  <a:gd name="T94" fmla="*/ 443 w 476"/>
                  <a:gd name="T95" fmla="*/ 336 h 391"/>
                  <a:gd name="T96" fmla="*/ 454 w 476"/>
                  <a:gd name="T97" fmla="*/ 354 h 391"/>
                  <a:gd name="T98" fmla="*/ 475 w 476"/>
                  <a:gd name="T99" fmla="*/ 344 h 391"/>
                  <a:gd name="T100" fmla="*/ 450 w 476"/>
                  <a:gd name="T101" fmla="*/ 315 h 391"/>
                  <a:gd name="T102" fmla="*/ 439 w 476"/>
                  <a:gd name="T103" fmla="*/ 294 h 391"/>
                  <a:gd name="T104" fmla="*/ 409 w 476"/>
                  <a:gd name="T105" fmla="*/ 268 h 391"/>
                  <a:gd name="T106" fmla="*/ 398 w 476"/>
                  <a:gd name="T107" fmla="*/ 279 h 391"/>
                  <a:gd name="T108" fmla="*/ 382 w 476"/>
                  <a:gd name="T109" fmla="*/ 279 h 391"/>
                  <a:gd name="T110" fmla="*/ 372 w 476"/>
                  <a:gd name="T111" fmla="*/ 255 h 391"/>
                  <a:gd name="T112" fmla="*/ 423 w 476"/>
                  <a:gd name="T113" fmla="*/ 40 h 391"/>
                  <a:gd name="T114" fmla="*/ 373 w 476"/>
                  <a:gd name="T115" fmla="*/ 30 h 391"/>
                  <a:gd name="T116" fmla="*/ 348 w 476"/>
                  <a:gd name="T117" fmla="*/ 21 h 391"/>
                  <a:gd name="T118" fmla="*/ 288 w 476"/>
                  <a:gd name="T119" fmla="*/ 4 h 391"/>
                  <a:gd name="T120" fmla="*/ 251 w 476"/>
                  <a:gd name="T121" fmla="*/ 15 h 391"/>
                  <a:gd name="T122" fmla="*/ 240 w 476"/>
                  <a:gd name="T123" fmla="*/ 0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76" h="391">
                    <a:moveTo>
                      <a:pt x="240" y="0"/>
                    </a:moveTo>
                    <a:lnTo>
                      <a:pt x="229" y="10"/>
                    </a:lnTo>
                    <a:lnTo>
                      <a:pt x="198" y="10"/>
                    </a:lnTo>
                    <a:lnTo>
                      <a:pt x="191" y="25"/>
                    </a:lnTo>
                    <a:lnTo>
                      <a:pt x="156" y="27"/>
                    </a:lnTo>
                    <a:lnTo>
                      <a:pt x="143" y="55"/>
                    </a:lnTo>
                    <a:lnTo>
                      <a:pt x="93" y="63"/>
                    </a:lnTo>
                    <a:lnTo>
                      <a:pt x="88" y="75"/>
                    </a:lnTo>
                    <a:lnTo>
                      <a:pt x="115" y="95"/>
                    </a:lnTo>
                    <a:lnTo>
                      <a:pt x="158" y="112"/>
                    </a:lnTo>
                    <a:lnTo>
                      <a:pt x="128" y="117"/>
                    </a:lnTo>
                    <a:lnTo>
                      <a:pt x="108" y="122"/>
                    </a:lnTo>
                    <a:lnTo>
                      <a:pt x="98" y="110"/>
                    </a:lnTo>
                    <a:lnTo>
                      <a:pt x="83" y="115"/>
                    </a:lnTo>
                    <a:lnTo>
                      <a:pt x="83" y="122"/>
                    </a:lnTo>
                    <a:lnTo>
                      <a:pt x="58" y="125"/>
                    </a:lnTo>
                    <a:lnTo>
                      <a:pt x="51" y="135"/>
                    </a:lnTo>
                    <a:lnTo>
                      <a:pt x="66" y="143"/>
                    </a:lnTo>
                    <a:lnTo>
                      <a:pt x="64" y="158"/>
                    </a:lnTo>
                    <a:lnTo>
                      <a:pt x="74" y="165"/>
                    </a:lnTo>
                    <a:lnTo>
                      <a:pt x="103" y="165"/>
                    </a:lnTo>
                    <a:lnTo>
                      <a:pt x="123" y="153"/>
                    </a:lnTo>
                    <a:lnTo>
                      <a:pt x="130" y="160"/>
                    </a:lnTo>
                    <a:lnTo>
                      <a:pt x="121" y="167"/>
                    </a:lnTo>
                    <a:lnTo>
                      <a:pt x="119" y="185"/>
                    </a:lnTo>
                    <a:lnTo>
                      <a:pt x="96" y="185"/>
                    </a:lnTo>
                    <a:lnTo>
                      <a:pt x="91" y="200"/>
                    </a:lnTo>
                    <a:lnTo>
                      <a:pt x="79" y="190"/>
                    </a:lnTo>
                    <a:lnTo>
                      <a:pt x="58" y="200"/>
                    </a:lnTo>
                    <a:lnTo>
                      <a:pt x="56" y="215"/>
                    </a:lnTo>
                    <a:lnTo>
                      <a:pt x="36" y="225"/>
                    </a:lnTo>
                    <a:lnTo>
                      <a:pt x="43" y="238"/>
                    </a:lnTo>
                    <a:lnTo>
                      <a:pt x="56" y="242"/>
                    </a:lnTo>
                    <a:lnTo>
                      <a:pt x="38" y="253"/>
                    </a:lnTo>
                    <a:lnTo>
                      <a:pt x="51" y="268"/>
                    </a:lnTo>
                    <a:lnTo>
                      <a:pt x="66" y="265"/>
                    </a:lnTo>
                    <a:lnTo>
                      <a:pt x="74" y="253"/>
                    </a:lnTo>
                    <a:lnTo>
                      <a:pt x="74" y="273"/>
                    </a:lnTo>
                    <a:lnTo>
                      <a:pt x="66" y="285"/>
                    </a:lnTo>
                    <a:lnTo>
                      <a:pt x="68" y="301"/>
                    </a:lnTo>
                    <a:lnTo>
                      <a:pt x="91" y="293"/>
                    </a:lnTo>
                    <a:lnTo>
                      <a:pt x="98" y="299"/>
                    </a:lnTo>
                    <a:lnTo>
                      <a:pt x="115" y="293"/>
                    </a:lnTo>
                    <a:lnTo>
                      <a:pt x="119" y="316"/>
                    </a:lnTo>
                    <a:lnTo>
                      <a:pt x="61" y="354"/>
                    </a:lnTo>
                    <a:lnTo>
                      <a:pt x="20" y="373"/>
                    </a:lnTo>
                    <a:lnTo>
                      <a:pt x="0" y="382"/>
                    </a:lnTo>
                    <a:lnTo>
                      <a:pt x="1" y="390"/>
                    </a:lnTo>
                    <a:lnTo>
                      <a:pt x="68" y="377"/>
                    </a:lnTo>
                    <a:lnTo>
                      <a:pt x="138" y="330"/>
                    </a:lnTo>
                    <a:lnTo>
                      <a:pt x="146" y="323"/>
                    </a:lnTo>
                    <a:lnTo>
                      <a:pt x="157" y="315"/>
                    </a:lnTo>
                    <a:lnTo>
                      <a:pt x="177" y="302"/>
                    </a:lnTo>
                    <a:lnTo>
                      <a:pt x="174" y="289"/>
                    </a:lnTo>
                    <a:lnTo>
                      <a:pt x="196" y="268"/>
                    </a:lnTo>
                    <a:lnTo>
                      <a:pt x="223" y="235"/>
                    </a:lnTo>
                    <a:lnTo>
                      <a:pt x="247" y="241"/>
                    </a:lnTo>
                    <a:lnTo>
                      <a:pt x="209" y="268"/>
                    </a:lnTo>
                    <a:lnTo>
                      <a:pt x="216" y="278"/>
                    </a:lnTo>
                    <a:lnTo>
                      <a:pt x="206" y="285"/>
                    </a:lnTo>
                    <a:lnTo>
                      <a:pt x="217" y="293"/>
                    </a:lnTo>
                    <a:lnTo>
                      <a:pt x="221" y="293"/>
                    </a:lnTo>
                    <a:lnTo>
                      <a:pt x="225" y="292"/>
                    </a:lnTo>
                    <a:lnTo>
                      <a:pt x="229" y="291"/>
                    </a:lnTo>
                    <a:lnTo>
                      <a:pt x="233" y="288"/>
                    </a:lnTo>
                    <a:lnTo>
                      <a:pt x="236" y="285"/>
                    </a:lnTo>
                    <a:lnTo>
                      <a:pt x="240" y="281"/>
                    </a:lnTo>
                    <a:lnTo>
                      <a:pt x="244" y="278"/>
                    </a:lnTo>
                    <a:lnTo>
                      <a:pt x="246" y="274"/>
                    </a:lnTo>
                    <a:lnTo>
                      <a:pt x="249" y="271"/>
                    </a:lnTo>
                    <a:lnTo>
                      <a:pt x="251" y="269"/>
                    </a:lnTo>
                    <a:lnTo>
                      <a:pt x="251" y="268"/>
                    </a:lnTo>
                    <a:lnTo>
                      <a:pt x="251" y="267"/>
                    </a:lnTo>
                    <a:lnTo>
                      <a:pt x="264" y="260"/>
                    </a:lnTo>
                    <a:lnTo>
                      <a:pt x="267" y="244"/>
                    </a:lnTo>
                    <a:lnTo>
                      <a:pt x="285" y="238"/>
                    </a:lnTo>
                    <a:lnTo>
                      <a:pt x="290" y="247"/>
                    </a:lnTo>
                    <a:lnTo>
                      <a:pt x="303" y="249"/>
                    </a:lnTo>
                    <a:lnTo>
                      <a:pt x="303" y="261"/>
                    </a:lnTo>
                    <a:lnTo>
                      <a:pt x="347" y="264"/>
                    </a:lnTo>
                    <a:lnTo>
                      <a:pt x="351" y="268"/>
                    </a:lnTo>
                    <a:lnTo>
                      <a:pt x="353" y="276"/>
                    </a:lnTo>
                    <a:lnTo>
                      <a:pt x="368" y="280"/>
                    </a:lnTo>
                    <a:lnTo>
                      <a:pt x="370" y="291"/>
                    </a:lnTo>
                    <a:lnTo>
                      <a:pt x="382" y="290"/>
                    </a:lnTo>
                    <a:lnTo>
                      <a:pt x="385" y="301"/>
                    </a:lnTo>
                    <a:lnTo>
                      <a:pt x="397" y="307"/>
                    </a:lnTo>
                    <a:lnTo>
                      <a:pt x="403" y="297"/>
                    </a:lnTo>
                    <a:lnTo>
                      <a:pt x="409" y="307"/>
                    </a:lnTo>
                    <a:lnTo>
                      <a:pt x="417" y="312"/>
                    </a:lnTo>
                    <a:lnTo>
                      <a:pt x="423" y="307"/>
                    </a:lnTo>
                    <a:lnTo>
                      <a:pt x="429" y="308"/>
                    </a:lnTo>
                    <a:lnTo>
                      <a:pt x="428" y="315"/>
                    </a:lnTo>
                    <a:lnTo>
                      <a:pt x="428" y="328"/>
                    </a:lnTo>
                    <a:lnTo>
                      <a:pt x="434" y="335"/>
                    </a:lnTo>
                    <a:lnTo>
                      <a:pt x="443" y="336"/>
                    </a:lnTo>
                    <a:lnTo>
                      <a:pt x="443" y="348"/>
                    </a:lnTo>
                    <a:lnTo>
                      <a:pt x="454" y="354"/>
                    </a:lnTo>
                    <a:lnTo>
                      <a:pt x="465" y="354"/>
                    </a:lnTo>
                    <a:lnTo>
                      <a:pt x="475" y="344"/>
                    </a:lnTo>
                    <a:lnTo>
                      <a:pt x="456" y="339"/>
                    </a:lnTo>
                    <a:lnTo>
                      <a:pt x="450" y="315"/>
                    </a:lnTo>
                    <a:lnTo>
                      <a:pt x="443" y="312"/>
                    </a:lnTo>
                    <a:lnTo>
                      <a:pt x="439" y="294"/>
                    </a:lnTo>
                    <a:lnTo>
                      <a:pt x="417" y="270"/>
                    </a:lnTo>
                    <a:lnTo>
                      <a:pt x="409" y="268"/>
                    </a:lnTo>
                    <a:lnTo>
                      <a:pt x="406" y="279"/>
                    </a:lnTo>
                    <a:lnTo>
                      <a:pt x="398" y="279"/>
                    </a:lnTo>
                    <a:lnTo>
                      <a:pt x="395" y="287"/>
                    </a:lnTo>
                    <a:lnTo>
                      <a:pt x="382" y="279"/>
                    </a:lnTo>
                    <a:lnTo>
                      <a:pt x="378" y="260"/>
                    </a:lnTo>
                    <a:lnTo>
                      <a:pt x="372" y="255"/>
                    </a:lnTo>
                    <a:lnTo>
                      <a:pt x="359" y="260"/>
                    </a:lnTo>
                    <a:lnTo>
                      <a:pt x="423" y="40"/>
                    </a:lnTo>
                    <a:lnTo>
                      <a:pt x="408" y="26"/>
                    </a:lnTo>
                    <a:lnTo>
                      <a:pt x="373" y="30"/>
                    </a:lnTo>
                    <a:lnTo>
                      <a:pt x="358" y="31"/>
                    </a:lnTo>
                    <a:lnTo>
                      <a:pt x="348" y="21"/>
                    </a:lnTo>
                    <a:lnTo>
                      <a:pt x="303" y="25"/>
                    </a:lnTo>
                    <a:lnTo>
                      <a:pt x="288" y="4"/>
                    </a:lnTo>
                    <a:lnTo>
                      <a:pt x="273" y="18"/>
                    </a:lnTo>
                    <a:lnTo>
                      <a:pt x="251" y="15"/>
                    </a:lnTo>
                    <a:lnTo>
                      <a:pt x="251" y="1"/>
                    </a:lnTo>
                    <a:lnTo>
                      <a:pt x="240" y="0"/>
                    </a:lnTo>
                  </a:path>
                </a:pathLst>
              </a:custGeom>
              <a:solidFill>
                <a:srgbClr val="29A8C5"/>
              </a:solid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468" name="Freeform 69">
                <a:extLst>
                  <a:ext uri="{FF2B5EF4-FFF2-40B4-BE49-F238E27FC236}">
                    <a16:creationId xmlns:a16="http://schemas.microsoft.com/office/drawing/2014/main" id="{FD1A4A48-98A5-0BBF-AE0A-F2F34A9E465B}"/>
                  </a:ext>
                </a:extLst>
              </p:cNvPr>
              <p:cNvSpPr>
                <a:spLocks/>
              </p:cNvSpPr>
              <p:nvPr/>
            </p:nvSpPr>
            <p:spPr bwMode="auto">
              <a:xfrm>
                <a:off x="2167303" y="2745638"/>
                <a:ext cx="1264564" cy="705852"/>
              </a:xfrm>
              <a:custGeom>
                <a:avLst/>
                <a:gdLst>
                  <a:gd name="T0" fmla="*/ 488 w 905"/>
                  <a:gd name="T1" fmla="*/ 10 h 505"/>
                  <a:gd name="T2" fmla="*/ 531 w 905"/>
                  <a:gd name="T3" fmla="*/ 37 h 505"/>
                  <a:gd name="T4" fmla="*/ 583 w 905"/>
                  <a:gd name="T5" fmla="*/ 26 h 505"/>
                  <a:gd name="T6" fmla="*/ 622 w 905"/>
                  <a:gd name="T7" fmla="*/ 53 h 505"/>
                  <a:gd name="T8" fmla="*/ 576 w 905"/>
                  <a:gd name="T9" fmla="*/ 89 h 505"/>
                  <a:gd name="T10" fmla="*/ 579 w 905"/>
                  <a:gd name="T11" fmla="*/ 143 h 505"/>
                  <a:gd name="T12" fmla="*/ 603 w 905"/>
                  <a:gd name="T13" fmla="*/ 106 h 505"/>
                  <a:gd name="T14" fmla="*/ 622 w 905"/>
                  <a:gd name="T15" fmla="*/ 56 h 505"/>
                  <a:gd name="T16" fmla="*/ 657 w 905"/>
                  <a:gd name="T17" fmla="*/ 107 h 505"/>
                  <a:gd name="T18" fmla="*/ 643 w 905"/>
                  <a:gd name="T19" fmla="*/ 150 h 505"/>
                  <a:gd name="T20" fmla="*/ 716 w 905"/>
                  <a:gd name="T21" fmla="*/ 117 h 505"/>
                  <a:gd name="T22" fmla="*/ 772 w 905"/>
                  <a:gd name="T23" fmla="*/ 83 h 505"/>
                  <a:gd name="T24" fmla="*/ 858 w 905"/>
                  <a:gd name="T25" fmla="*/ 55 h 505"/>
                  <a:gd name="T26" fmla="*/ 894 w 905"/>
                  <a:gd name="T27" fmla="*/ 77 h 505"/>
                  <a:gd name="T28" fmla="*/ 881 w 905"/>
                  <a:gd name="T29" fmla="*/ 95 h 505"/>
                  <a:gd name="T30" fmla="*/ 860 w 905"/>
                  <a:gd name="T31" fmla="*/ 113 h 505"/>
                  <a:gd name="T32" fmla="*/ 839 w 905"/>
                  <a:gd name="T33" fmla="*/ 139 h 505"/>
                  <a:gd name="T34" fmla="*/ 807 w 905"/>
                  <a:gd name="T35" fmla="*/ 162 h 505"/>
                  <a:gd name="T36" fmla="*/ 778 w 905"/>
                  <a:gd name="T37" fmla="*/ 185 h 505"/>
                  <a:gd name="T38" fmla="*/ 754 w 905"/>
                  <a:gd name="T39" fmla="*/ 229 h 505"/>
                  <a:gd name="T40" fmla="*/ 749 w 905"/>
                  <a:gd name="T41" fmla="*/ 252 h 505"/>
                  <a:gd name="T42" fmla="*/ 733 w 905"/>
                  <a:gd name="T43" fmla="*/ 304 h 505"/>
                  <a:gd name="T44" fmla="*/ 689 w 905"/>
                  <a:gd name="T45" fmla="*/ 320 h 505"/>
                  <a:gd name="T46" fmla="*/ 658 w 905"/>
                  <a:gd name="T47" fmla="*/ 350 h 505"/>
                  <a:gd name="T48" fmla="*/ 652 w 905"/>
                  <a:gd name="T49" fmla="*/ 412 h 505"/>
                  <a:gd name="T50" fmla="*/ 665 w 905"/>
                  <a:gd name="T51" fmla="*/ 450 h 505"/>
                  <a:gd name="T52" fmla="*/ 656 w 905"/>
                  <a:gd name="T53" fmla="*/ 495 h 505"/>
                  <a:gd name="T54" fmla="*/ 624 w 905"/>
                  <a:gd name="T55" fmla="*/ 439 h 505"/>
                  <a:gd name="T56" fmla="*/ 598 w 905"/>
                  <a:gd name="T57" fmla="*/ 388 h 505"/>
                  <a:gd name="T58" fmla="*/ 528 w 905"/>
                  <a:gd name="T59" fmla="*/ 386 h 505"/>
                  <a:gd name="T60" fmla="*/ 506 w 905"/>
                  <a:gd name="T61" fmla="*/ 414 h 505"/>
                  <a:gd name="T62" fmla="*/ 473 w 905"/>
                  <a:gd name="T63" fmla="*/ 390 h 505"/>
                  <a:gd name="T64" fmla="*/ 449 w 905"/>
                  <a:gd name="T65" fmla="*/ 390 h 505"/>
                  <a:gd name="T66" fmla="*/ 418 w 905"/>
                  <a:gd name="T67" fmla="*/ 423 h 505"/>
                  <a:gd name="T68" fmla="*/ 384 w 905"/>
                  <a:gd name="T69" fmla="*/ 469 h 505"/>
                  <a:gd name="T70" fmla="*/ 342 w 905"/>
                  <a:gd name="T71" fmla="*/ 440 h 505"/>
                  <a:gd name="T72" fmla="*/ 311 w 905"/>
                  <a:gd name="T73" fmla="*/ 390 h 505"/>
                  <a:gd name="T74" fmla="*/ 281 w 905"/>
                  <a:gd name="T75" fmla="*/ 386 h 505"/>
                  <a:gd name="T76" fmla="*/ 256 w 905"/>
                  <a:gd name="T77" fmla="*/ 366 h 505"/>
                  <a:gd name="T78" fmla="*/ 226 w 905"/>
                  <a:gd name="T79" fmla="*/ 359 h 505"/>
                  <a:gd name="T80" fmla="*/ 181 w 905"/>
                  <a:gd name="T81" fmla="*/ 376 h 505"/>
                  <a:gd name="T82" fmla="*/ 125 w 905"/>
                  <a:gd name="T83" fmla="*/ 348 h 505"/>
                  <a:gd name="T84" fmla="*/ 86 w 905"/>
                  <a:gd name="T85" fmla="*/ 323 h 505"/>
                  <a:gd name="T86" fmla="*/ 37 w 905"/>
                  <a:gd name="T87" fmla="*/ 297 h 505"/>
                  <a:gd name="T88" fmla="*/ 21 w 905"/>
                  <a:gd name="T89" fmla="*/ 258 h 505"/>
                  <a:gd name="T90" fmla="*/ 3 w 905"/>
                  <a:gd name="T91" fmla="*/ 217 h 505"/>
                  <a:gd name="T92" fmla="*/ 3 w 905"/>
                  <a:gd name="T93" fmla="*/ 153 h 505"/>
                  <a:gd name="T94" fmla="*/ 8 w 905"/>
                  <a:gd name="T95" fmla="*/ 119 h 505"/>
                  <a:gd name="T96" fmla="*/ 25 w 905"/>
                  <a:gd name="T97" fmla="*/ 77 h 505"/>
                  <a:gd name="T98" fmla="*/ 28 w 905"/>
                  <a:gd name="T99" fmla="*/ 28 h 505"/>
                  <a:gd name="T100" fmla="*/ 53 w 905"/>
                  <a:gd name="T101" fmla="*/ 2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5" h="505">
                    <a:moveTo>
                      <a:pt x="63" y="1"/>
                    </a:moveTo>
                    <a:lnTo>
                      <a:pt x="489" y="0"/>
                    </a:lnTo>
                    <a:lnTo>
                      <a:pt x="488" y="10"/>
                    </a:lnTo>
                    <a:lnTo>
                      <a:pt x="518" y="10"/>
                    </a:lnTo>
                    <a:lnTo>
                      <a:pt x="562" y="16"/>
                    </a:lnTo>
                    <a:lnTo>
                      <a:pt x="531" y="37"/>
                    </a:lnTo>
                    <a:lnTo>
                      <a:pt x="531" y="50"/>
                    </a:lnTo>
                    <a:lnTo>
                      <a:pt x="558" y="58"/>
                    </a:lnTo>
                    <a:lnTo>
                      <a:pt x="583" y="26"/>
                    </a:lnTo>
                    <a:lnTo>
                      <a:pt x="585" y="32"/>
                    </a:lnTo>
                    <a:lnTo>
                      <a:pt x="616" y="37"/>
                    </a:lnTo>
                    <a:lnTo>
                      <a:pt x="622" y="53"/>
                    </a:lnTo>
                    <a:lnTo>
                      <a:pt x="596" y="53"/>
                    </a:lnTo>
                    <a:lnTo>
                      <a:pt x="577" y="71"/>
                    </a:lnTo>
                    <a:lnTo>
                      <a:pt x="576" y="89"/>
                    </a:lnTo>
                    <a:lnTo>
                      <a:pt x="589" y="77"/>
                    </a:lnTo>
                    <a:lnTo>
                      <a:pt x="580" y="110"/>
                    </a:lnTo>
                    <a:lnTo>
                      <a:pt x="579" y="143"/>
                    </a:lnTo>
                    <a:lnTo>
                      <a:pt x="594" y="163"/>
                    </a:lnTo>
                    <a:lnTo>
                      <a:pt x="613" y="145"/>
                    </a:lnTo>
                    <a:lnTo>
                      <a:pt x="603" y="106"/>
                    </a:lnTo>
                    <a:lnTo>
                      <a:pt x="604" y="85"/>
                    </a:lnTo>
                    <a:lnTo>
                      <a:pt x="622" y="76"/>
                    </a:lnTo>
                    <a:lnTo>
                      <a:pt x="622" y="56"/>
                    </a:lnTo>
                    <a:lnTo>
                      <a:pt x="649" y="86"/>
                    </a:lnTo>
                    <a:lnTo>
                      <a:pt x="643" y="115"/>
                    </a:lnTo>
                    <a:lnTo>
                      <a:pt x="657" y="107"/>
                    </a:lnTo>
                    <a:lnTo>
                      <a:pt x="664" y="118"/>
                    </a:lnTo>
                    <a:lnTo>
                      <a:pt x="652" y="138"/>
                    </a:lnTo>
                    <a:lnTo>
                      <a:pt x="643" y="150"/>
                    </a:lnTo>
                    <a:lnTo>
                      <a:pt x="668" y="160"/>
                    </a:lnTo>
                    <a:lnTo>
                      <a:pt x="702" y="130"/>
                    </a:lnTo>
                    <a:lnTo>
                      <a:pt x="716" y="117"/>
                    </a:lnTo>
                    <a:lnTo>
                      <a:pt x="753" y="119"/>
                    </a:lnTo>
                    <a:lnTo>
                      <a:pt x="760" y="94"/>
                    </a:lnTo>
                    <a:lnTo>
                      <a:pt x="772" y="83"/>
                    </a:lnTo>
                    <a:lnTo>
                      <a:pt x="839" y="86"/>
                    </a:lnTo>
                    <a:lnTo>
                      <a:pt x="850" y="71"/>
                    </a:lnTo>
                    <a:lnTo>
                      <a:pt x="858" y="55"/>
                    </a:lnTo>
                    <a:lnTo>
                      <a:pt x="868" y="28"/>
                    </a:lnTo>
                    <a:lnTo>
                      <a:pt x="890" y="34"/>
                    </a:lnTo>
                    <a:lnTo>
                      <a:pt x="894" y="77"/>
                    </a:lnTo>
                    <a:lnTo>
                      <a:pt x="905" y="83"/>
                    </a:lnTo>
                    <a:lnTo>
                      <a:pt x="896" y="94"/>
                    </a:lnTo>
                    <a:lnTo>
                      <a:pt x="881" y="95"/>
                    </a:lnTo>
                    <a:lnTo>
                      <a:pt x="875" y="107"/>
                    </a:lnTo>
                    <a:lnTo>
                      <a:pt x="862" y="104"/>
                    </a:lnTo>
                    <a:lnTo>
                      <a:pt x="860" y="113"/>
                    </a:lnTo>
                    <a:lnTo>
                      <a:pt x="846" y="113"/>
                    </a:lnTo>
                    <a:lnTo>
                      <a:pt x="841" y="127"/>
                    </a:lnTo>
                    <a:lnTo>
                      <a:pt x="839" y="139"/>
                    </a:lnTo>
                    <a:lnTo>
                      <a:pt x="850" y="150"/>
                    </a:lnTo>
                    <a:lnTo>
                      <a:pt x="836" y="159"/>
                    </a:lnTo>
                    <a:lnTo>
                      <a:pt x="807" y="162"/>
                    </a:lnTo>
                    <a:lnTo>
                      <a:pt x="800" y="175"/>
                    </a:lnTo>
                    <a:lnTo>
                      <a:pt x="796" y="183"/>
                    </a:lnTo>
                    <a:lnTo>
                      <a:pt x="778" y="185"/>
                    </a:lnTo>
                    <a:lnTo>
                      <a:pt x="770" y="196"/>
                    </a:lnTo>
                    <a:lnTo>
                      <a:pt x="766" y="224"/>
                    </a:lnTo>
                    <a:lnTo>
                      <a:pt x="754" y="229"/>
                    </a:lnTo>
                    <a:lnTo>
                      <a:pt x="747" y="237"/>
                    </a:lnTo>
                    <a:lnTo>
                      <a:pt x="740" y="247"/>
                    </a:lnTo>
                    <a:lnTo>
                      <a:pt x="749" y="252"/>
                    </a:lnTo>
                    <a:lnTo>
                      <a:pt x="747" y="286"/>
                    </a:lnTo>
                    <a:lnTo>
                      <a:pt x="736" y="292"/>
                    </a:lnTo>
                    <a:lnTo>
                      <a:pt x="733" y="304"/>
                    </a:lnTo>
                    <a:lnTo>
                      <a:pt x="715" y="303"/>
                    </a:lnTo>
                    <a:lnTo>
                      <a:pt x="707" y="314"/>
                    </a:lnTo>
                    <a:lnTo>
                      <a:pt x="689" y="320"/>
                    </a:lnTo>
                    <a:lnTo>
                      <a:pt x="685" y="335"/>
                    </a:lnTo>
                    <a:lnTo>
                      <a:pt x="671" y="338"/>
                    </a:lnTo>
                    <a:lnTo>
                      <a:pt x="658" y="350"/>
                    </a:lnTo>
                    <a:lnTo>
                      <a:pt x="653" y="366"/>
                    </a:lnTo>
                    <a:lnTo>
                      <a:pt x="653" y="390"/>
                    </a:lnTo>
                    <a:lnTo>
                      <a:pt x="652" y="412"/>
                    </a:lnTo>
                    <a:lnTo>
                      <a:pt x="659" y="415"/>
                    </a:lnTo>
                    <a:lnTo>
                      <a:pt x="660" y="442"/>
                    </a:lnTo>
                    <a:lnTo>
                      <a:pt x="665" y="450"/>
                    </a:lnTo>
                    <a:lnTo>
                      <a:pt x="671" y="489"/>
                    </a:lnTo>
                    <a:lnTo>
                      <a:pt x="665" y="505"/>
                    </a:lnTo>
                    <a:lnTo>
                      <a:pt x="656" y="495"/>
                    </a:lnTo>
                    <a:lnTo>
                      <a:pt x="640" y="484"/>
                    </a:lnTo>
                    <a:lnTo>
                      <a:pt x="631" y="462"/>
                    </a:lnTo>
                    <a:lnTo>
                      <a:pt x="624" y="439"/>
                    </a:lnTo>
                    <a:lnTo>
                      <a:pt x="628" y="414"/>
                    </a:lnTo>
                    <a:lnTo>
                      <a:pt x="615" y="402"/>
                    </a:lnTo>
                    <a:lnTo>
                      <a:pt x="598" y="388"/>
                    </a:lnTo>
                    <a:lnTo>
                      <a:pt x="579" y="393"/>
                    </a:lnTo>
                    <a:lnTo>
                      <a:pt x="565" y="385"/>
                    </a:lnTo>
                    <a:lnTo>
                      <a:pt x="528" y="386"/>
                    </a:lnTo>
                    <a:lnTo>
                      <a:pt x="515" y="395"/>
                    </a:lnTo>
                    <a:lnTo>
                      <a:pt x="523" y="412"/>
                    </a:lnTo>
                    <a:lnTo>
                      <a:pt x="506" y="414"/>
                    </a:lnTo>
                    <a:lnTo>
                      <a:pt x="488" y="410"/>
                    </a:lnTo>
                    <a:lnTo>
                      <a:pt x="485" y="386"/>
                    </a:lnTo>
                    <a:lnTo>
                      <a:pt x="473" y="390"/>
                    </a:lnTo>
                    <a:lnTo>
                      <a:pt x="468" y="408"/>
                    </a:lnTo>
                    <a:lnTo>
                      <a:pt x="459" y="405"/>
                    </a:lnTo>
                    <a:lnTo>
                      <a:pt x="449" y="390"/>
                    </a:lnTo>
                    <a:lnTo>
                      <a:pt x="437" y="397"/>
                    </a:lnTo>
                    <a:lnTo>
                      <a:pt x="428" y="408"/>
                    </a:lnTo>
                    <a:lnTo>
                      <a:pt x="418" y="423"/>
                    </a:lnTo>
                    <a:lnTo>
                      <a:pt x="409" y="434"/>
                    </a:lnTo>
                    <a:lnTo>
                      <a:pt x="390" y="442"/>
                    </a:lnTo>
                    <a:lnTo>
                      <a:pt x="384" y="469"/>
                    </a:lnTo>
                    <a:lnTo>
                      <a:pt x="360" y="469"/>
                    </a:lnTo>
                    <a:lnTo>
                      <a:pt x="356" y="447"/>
                    </a:lnTo>
                    <a:lnTo>
                      <a:pt x="342" y="440"/>
                    </a:lnTo>
                    <a:lnTo>
                      <a:pt x="338" y="416"/>
                    </a:lnTo>
                    <a:lnTo>
                      <a:pt x="328" y="403"/>
                    </a:lnTo>
                    <a:lnTo>
                      <a:pt x="311" y="390"/>
                    </a:lnTo>
                    <a:lnTo>
                      <a:pt x="305" y="414"/>
                    </a:lnTo>
                    <a:lnTo>
                      <a:pt x="289" y="414"/>
                    </a:lnTo>
                    <a:lnTo>
                      <a:pt x="281" y="386"/>
                    </a:lnTo>
                    <a:lnTo>
                      <a:pt x="272" y="385"/>
                    </a:lnTo>
                    <a:lnTo>
                      <a:pt x="269" y="368"/>
                    </a:lnTo>
                    <a:lnTo>
                      <a:pt x="256" y="366"/>
                    </a:lnTo>
                    <a:lnTo>
                      <a:pt x="251" y="348"/>
                    </a:lnTo>
                    <a:lnTo>
                      <a:pt x="240" y="357"/>
                    </a:lnTo>
                    <a:lnTo>
                      <a:pt x="226" y="359"/>
                    </a:lnTo>
                    <a:lnTo>
                      <a:pt x="222" y="368"/>
                    </a:lnTo>
                    <a:lnTo>
                      <a:pt x="199" y="368"/>
                    </a:lnTo>
                    <a:lnTo>
                      <a:pt x="181" y="376"/>
                    </a:lnTo>
                    <a:lnTo>
                      <a:pt x="156" y="370"/>
                    </a:lnTo>
                    <a:lnTo>
                      <a:pt x="139" y="353"/>
                    </a:lnTo>
                    <a:lnTo>
                      <a:pt x="125" y="348"/>
                    </a:lnTo>
                    <a:lnTo>
                      <a:pt x="120" y="338"/>
                    </a:lnTo>
                    <a:lnTo>
                      <a:pt x="85" y="335"/>
                    </a:lnTo>
                    <a:lnTo>
                      <a:pt x="86" y="323"/>
                    </a:lnTo>
                    <a:lnTo>
                      <a:pt x="65" y="315"/>
                    </a:lnTo>
                    <a:lnTo>
                      <a:pt x="52" y="304"/>
                    </a:lnTo>
                    <a:lnTo>
                      <a:pt x="37" y="297"/>
                    </a:lnTo>
                    <a:lnTo>
                      <a:pt x="39" y="274"/>
                    </a:lnTo>
                    <a:lnTo>
                      <a:pt x="20" y="270"/>
                    </a:lnTo>
                    <a:lnTo>
                      <a:pt x="21" y="258"/>
                    </a:lnTo>
                    <a:lnTo>
                      <a:pt x="27" y="243"/>
                    </a:lnTo>
                    <a:lnTo>
                      <a:pt x="16" y="230"/>
                    </a:lnTo>
                    <a:lnTo>
                      <a:pt x="3" y="217"/>
                    </a:lnTo>
                    <a:lnTo>
                      <a:pt x="0" y="168"/>
                    </a:lnTo>
                    <a:lnTo>
                      <a:pt x="9" y="160"/>
                    </a:lnTo>
                    <a:lnTo>
                      <a:pt x="3" y="153"/>
                    </a:lnTo>
                    <a:lnTo>
                      <a:pt x="1" y="145"/>
                    </a:lnTo>
                    <a:lnTo>
                      <a:pt x="6" y="137"/>
                    </a:lnTo>
                    <a:lnTo>
                      <a:pt x="8" y="119"/>
                    </a:lnTo>
                    <a:lnTo>
                      <a:pt x="16" y="113"/>
                    </a:lnTo>
                    <a:lnTo>
                      <a:pt x="16" y="85"/>
                    </a:lnTo>
                    <a:lnTo>
                      <a:pt x="25" y="77"/>
                    </a:lnTo>
                    <a:lnTo>
                      <a:pt x="33" y="46"/>
                    </a:lnTo>
                    <a:lnTo>
                      <a:pt x="40" y="43"/>
                    </a:lnTo>
                    <a:lnTo>
                      <a:pt x="28" y="28"/>
                    </a:lnTo>
                    <a:lnTo>
                      <a:pt x="28" y="16"/>
                    </a:lnTo>
                    <a:lnTo>
                      <a:pt x="44" y="12"/>
                    </a:lnTo>
                    <a:lnTo>
                      <a:pt x="53" y="24"/>
                    </a:lnTo>
                    <a:lnTo>
                      <a:pt x="60" y="34"/>
                    </a:lnTo>
                    <a:lnTo>
                      <a:pt x="63" y="1"/>
                    </a:lnTo>
                  </a:path>
                </a:pathLst>
              </a:custGeom>
              <a:solidFill>
                <a:srgbClr val="29A8C5"/>
              </a:solid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469" name="Freeform 70">
                <a:extLst>
                  <a:ext uri="{FF2B5EF4-FFF2-40B4-BE49-F238E27FC236}">
                    <a16:creationId xmlns:a16="http://schemas.microsoft.com/office/drawing/2014/main" id="{8049934F-AB24-BDB1-B6F9-D8B15F4B47D4}"/>
                  </a:ext>
                </a:extLst>
              </p:cNvPr>
              <p:cNvSpPr>
                <a:spLocks/>
              </p:cNvSpPr>
              <p:nvPr/>
            </p:nvSpPr>
            <p:spPr bwMode="auto">
              <a:xfrm>
                <a:off x="1980064" y="1954527"/>
                <a:ext cx="1713099" cy="1014748"/>
              </a:xfrm>
              <a:custGeom>
                <a:avLst/>
                <a:gdLst>
                  <a:gd name="T0" fmla="*/ 1145 w 1226"/>
                  <a:gd name="T1" fmla="*/ 335 h 726"/>
                  <a:gd name="T2" fmla="*/ 1148 w 1226"/>
                  <a:gd name="T3" fmla="*/ 380 h 726"/>
                  <a:gd name="T4" fmla="*/ 1188 w 1226"/>
                  <a:gd name="T5" fmla="*/ 418 h 726"/>
                  <a:gd name="T6" fmla="*/ 1186 w 1226"/>
                  <a:gd name="T7" fmla="*/ 453 h 726"/>
                  <a:gd name="T8" fmla="*/ 1207 w 1226"/>
                  <a:gd name="T9" fmla="*/ 450 h 726"/>
                  <a:gd name="T10" fmla="*/ 1226 w 1226"/>
                  <a:gd name="T11" fmla="*/ 496 h 726"/>
                  <a:gd name="T12" fmla="*/ 1166 w 1226"/>
                  <a:gd name="T13" fmla="*/ 528 h 726"/>
                  <a:gd name="T14" fmla="*/ 1054 w 1226"/>
                  <a:gd name="T15" fmla="*/ 543 h 726"/>
                  <a:gd name="T16" fmla="*/ 1067 w 1226"/>
                  <a:gd name="T17" fmla="*/ 553 h 726"/>
                  <a:gd name="T18" fmla="*/ 1137 w 1226"/>
                  <a:gd name="T19" fmla="*/ 627 h 726"/>
                  <a:gd name="T20" fmla="*/ 1097 w 1226"/>
                  <a:gd name="T21" fmla="*/ 620 h 726"/>
                  <a:gd name="T22" fmla="*/ 1028 w 1226"/>
                  <a:gd name="T23" fmla="*/ 643 h 726"/>
                  <a:gd name="T24" fmla="*/ 985 w 1226"/>
                  <a:gd name="T25" fmla="*/ 636 h 726"/>
                  <a:gd name="T26" fmla="*/ 888 w 1226"/>
                  <a:gd name="T27" fmla="*/ 684 h 726"/>
                  <a:gd name="T28" fmla="*/ 778 w 1226"/>
                  <a:gd name="T29" fmla="*/ 717 h 726"/>
                  <a:gd name="T30" fmla="*/ 815 w 1226"/>
                  <a:gd name="T31" fmla="*/ 654 h 726"/>
                  <a:gd name="T32" fmla="*/ 752 w 1226"/>
                  <a:gd name="T33" fmla="*/ 564 h 726"/>
                  <a:gd name="T34" fmla="*/ 622 w 1226"/>
                  <a:gd name="T35" fmla="*/ 576 h 726"/>
                  <a:gd name="T36" fmla="*/ 156 w 1226"/>
                  <a:gd name="T37" fmla="*/ 525 h 726"/>
                  <a:gd name="T38" fmla="*/ 121 w 1226"/>
                  <a:gd name="T39" fmla="*/ 463 h 726"/>
                  <a:gd name="T40" fmla="*/ 119 w 1226"/>
                  <a:gd name="T41" fmla="*/ 408 h 726"/>
                  <a:gd name="T42" fmla="*/ 94 w 1226"/>
                  <a:gd name="T43" fmla="*/ 361 h 726"/>
                  <a:gd name="T44" fmla="*/ 53 w 1226"/>
                  <a:gd name="T45" fmla="*/ 324 h 726"/>
                  <a:gd name="T46" fmla="*/ 21 w 1226"/>
                  <a:gd name="T47" fmla="*/ 303 h 726"/>
                  <a:gd name="T48" fmla="*/ 118 w 1226"/>
                  <a:gd name="T49" fmla="*/ 65 h 726"/>
                  <a:gd name="T50" fmla="*/ 194 w 1226"/>
                  <a:gd name="T51" fmla="*/ 58 h 726"/>
                  <a:gd name="T52" fmla="*/ 247 w 1226"/>
                  <a:gd name="T53" fmla="*/ 57 h 726"/>
                  <a:gd name="T54" fmla="*/ 287 w 1226"/>
                  <a:gd name="T55" fmla="*/ 53 h 726"/>
                  <a:gd name="T56" fmla="*/ 340 w 1226"/>
                  <a:gd name="T57" fmla="*/ 52 h 726"/>
                  <a:gd name="T58" fmla="*/ 460 w 1226"/>
                  <a:gd name="T59" fmla="*/ 107 h 726"/>
                  <a:gd name="T60" fmla="*/ 542 w 1226"/>
                  <a:gd name="T61" fmla="*/ 107 h 726"/>
                  <a:gd name="T62" fmla="*/ 672 w 1226"/>
                  <a:gd name="T63" fmla="*/ 90 h 726"/>
                  <a:gd name="T64" fmla="*/ 737 w 1226"/>
                  <a:gd name="T65" fmla="*/ 84 h 726"/>
                  <a:gd name="T66" fmla="*/ 732 w 1226"/>
                  <a:gd name="T67" fmla="*/ 13 h 726"/>
                  <a:gd name="T68" fmla="*/ 773 w 1226"/>
                  <a:gd name="T69" fmla="*/ 53 h 726"/>
                  <a:gd name="T70" fmla="*/ 822 w 1226"/>
                  <a:gd name="T71" fmla="*/ 85 h 726"/>
                  <a:gd name="T72" fmla="*/ 860 w 1226"/>
                  <a:gd name="T73" fmla="*/ 79 h 726"/>
                  <a:gd name="T74" fmla="*/ 898 w 1226"/>
                  <a:gd name="T75" fmla="*/ 90 h 726"/>
                  <a:gd name="T76" fmla="*/ 830 w 1226"/>
                  <a:gd name="T77" fmla="*/ 137 h 726"/>
                  <a:gd name="T78" fmla="*/ 778 w 1226"/>
                  <a:gd name="T79" fmla="*/ 149 h 726"/>
                  <a:gd name="T80" fmla="*/ 785 w 1226"/>
                  <a:gd name="T81" fmla="*/ 205 h 726"/>
                  <a:gd name="T82" fmla="*/ 694 w 1226"/>
                  <a:gd name="T83" fmla="*/ 274 h 726"/>
                  <a:gd name="T84" fmla="*/ 701 w 1226"/>
                  <a:gd name="T85" fmla="*/ 374 h 726"/>
                  <a:gd name="T86" fmla="*/ 806 w 1226"/>
                  <a:gd name="T87" fmla="*/ 426 h 726"/>
                  <a:gd name="T88" fmla="*/ 841 w 1226"/>
                  <a:gd name="T89" fmla="*/ 512 h 726"/>
                  <a:gd name="T90" fmla="*/ 882 w 1226"/>
                  <a:gd name="T91" fmla="*/ 499 h 726"/>
                  <a:gd name="T92" fmla="*/ 914 w 1226"/>
                  <a:gd name="T93" fmla="*/ 414 h 726"/>
                  <a:gd name="T94" fmla="*/ 917 w 1226"/>
                  <a:gd name="T95" fmla="*/ 395 h 726"/>
                  <a:gd name="T96" fmla="*/ 917 w 1226"/>
                  <a:gd name="T97" fmla="*/ 358 h 726"/>
                  <a:gd name="T98" fmla="*/ 906 w 1226"/>
                  <a:gd name="T99" fmla="*/ 332 h 726"/>
                  <a:gd name="T100" fmla="*/ 926 w 1226"/>
                  <a:gd name="T101" fmla="*/ 257 h 726"/>
                  <a:gd name="T102" fmla="*/ 1017 w 1226"/>
                  <a:gd name="T103" fmla="*/ 259 h 726"/>
                  <a:gd name="T104" fmla="*/ 1046 w 1226"/>
                  <a:gd name="T105" fmla="*/ 340 h 726"/>
                  <a:gd name="T106" fmla="*/ 1119 w 1226"/>
                  <a:gd name="T107" fmla="*/ 301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6" h="726">
                    <a:moveTo>
                      <a:pt x="1119" y="301"/>
                    </a:moveTo>
                    <a:lnTo>
                      <a:pt x="1127" y="313"/>
                    </a:lnTo>
                    <a:lnTo>
                      <a:pt x="1132" y="335"/>
                    </a:lnTo>
                    <a:lnTo>
                      <a:pt x="1145" y="335"/>
                    </a:lnTo>
                    <a:lnTo>
                      <a:pt x="1148" y="364"/>
                    </a:lnTo>
                    <a:lnTo>
                      <a:pt x="1157" y="362"/>
                    </a:lnTo>
                    <a:lnTo>
                      <a:pt x="1157" y="375"/>
                    </a:lnTo>
                    <a:lnTo>
                      <a:pt x="1148" y="380"/>
                    </a:lnTo>
                    <a:lnTo>
                      <a:pt x="1150" y="392"/>
                    </a:lnTo>
                    <a:lnTo>
                      <a:pt x="1161" y="394"/>
                    </a:lnTo>
                    <a:lnTo>
                      <a:pt x="1166" y="421"/>
                    </a:lnTo>
                    <a:lnTo>
                      <a:pt x="1188" y="418"/>
                    </a:lnTo>
                    <a:lnTo>
                      <a:pt x="1186" y="430"/>
                    </a:lnTo>
                    <a:lnTo>
                      <a:pt x="1202" y="426"/>
                    </a:lnTo>
                    <a:lnTo>
                      <a:pt x="1191" y="442"/>
                    </a:lnTo>
                    <a:lnTo>
                      <a:pt x="1186" y="453"/>
                    </a:lnTo>
                    <a:lnTo>
                      <a:pt x="1164" y="459"/>
                    </a:lnTo>
                    <a:lnTo>
                      <a:pt x="1173" y="463"/>
                    </a:lnTo>
                    <a:lnTo>
                      <a:pt x="1191" y="459"/>
                    </a:lnTo>
                    <a:lnTo>
                      <a:pt x="1207" y="450"/>
                    </a:lnTo>
                    <a:lnTo>
                      <a:pt x="1221" y="451"/>
                    </a:lnTo>
                    <a:lnTo>
                      <a:pt x="1224" y="466"/>
                    </a:lnTo>
                    <a:lnTo>
                      <a:pt x="1224" y="485"/>
                    </a:lnTo>
                    <a:lnTo>
                      <a:pt x="1226" y="496"/>
                    </a:lnTo>
                    <a:lnTo>
                      <a:pt x="1224" y="505"/>
                    </a:lnTo>
                    <a:lnTo>
                      <a:pt x="1205" y="510"/>
                    </a:lnTo>
                    <a:lnTo>
                      <a:pt x="1188" y="508"/>
                    </a:lnTo>
                    <a:lnTo>
                      <a:pt x="1166" y="528"/>
                    </a:lnTo>
                    <a:lnTo>
                      <a:pt x="1128" y="533"/>
                    </a:lnTo>
                    <a:lnTo>
                      <a:pt x="1088" y="533"/>
                    </a:lnTo>
                    <a:lnTo>
                      <a:pt x="1069" y="530"/>
                    </a:lnTo>
                    <a:lnTo>
                      <a:pt x="1054" y="543"/>
                    </a:lnTo>
                    <a:lnTo>
                      <a:pt x="1034" y="553"/>
                    </a:lnTo>
                    <a:lnTo>
                      <a:pt x="1014" y="578"/>
                    </a:lnTo>
                    <a:lnTo>
                      <a:pt x="1048" y="563"/>
                    </a:lnTo>
                    <a:lnTo>
                      <a:pt x="1067" y="553"/>
                    </a:lnTo>
                    <a:lnTo>
                      <a:pt x="1087" y="565"/>
                    </a:lnTo>
                    <a:lnTo>
                      <a:pt x="1074" y="585"/>
                    </a:lnTo>
                    <a:lnTo>
                      <a:pt x="1092" y="605"/>
                    </a:lnTo>
                    <a:lnTo>
                      <a:pt x="1137" y="627"/>
                    </a:lnTo>
                    <a:lnTo>
                      <a:pt x="1097" y="648"/>
                    </a:lnTo>
                    <a:lnTo>
                      <a:pt x="1058" y="675"/>
                    </a:lnTo>
                    <a:lnTo>
                      <a:pt x="1049" y="665"/>
                    </a:lnTo>
                    <a:lnTo>
                      <a:pt x="1097" y="620"/>
                    </a:lnTo>
                    <a:lnTo>
                      <a:pt x="1094" y="614"/>
                    </a:lnTo>
                    <a:lnTo>
                      <a:pt x="1079" y="614"/>
                    </a:lnTo>
                    <a:lnTo>
                      <a:pt x="1040" y="648"/>
                    </a:lnTo>
                    <a:lnTo>
                      <a:pt x="1028" y="643"/>
                    </a:lnTo>
                    <a:lnTo>
                      <a:pt x="1025" y="599"/>
                    </a:lnTo>
                    <a:lnTo>
                      <a:pt x="1003" y="593"/>
                    </a:lnTo>
                    <a:lnTo>
                      <a:pt x="993" y="620"/>
                    </a:lnTo>
                    <a:lnTo>
                      <a:pt x="985" y="636"/>
                    </a:lnTo>
                    <a:lnTo>
                      <a:pt x="972" y="652"/>
                    </a:lnTo>
                    <a:lnTo>
                      <a:pt x="907" y="648"/>
                    </a:lnTo>
                    <a:lnTo>
                      <a:pt x="895" y="660"/>
                    </a:lnTo>
                    <a:lnTo>
                      <a:pt x="888" y="684"/>
                    </a:lnTo>
                    <a:lnTo>
                      <a:pt x="851" y="682"/>
                    </a:lnTo>
                    <a:lnTo>
                      <a:pt x="837" y="696"/>
                    </a:lnTo>
                    <a:lnTo>
                      <a:pt x="803" y="726"/>
                    </a:lnTo>
                    <a:lnTo>
                      <a:pt x="778" y="717"/>
                    </a:lnTo>
                    <a:lnTo>
                      <a:pt x="786" y="703"/>
                    </a:lnTo>
                    <a:lnTo>
                      <a:pt x="801" y="682"/>
                    </a:lnTo>
                    <a:lnTo>
                      <a:pt x="812" y="691"/>
                    </a:lnTo>
                    <a:lnTo>
                      <a:pt x="815" y="654"/>
                    </a:lnTo>
                    <a:lnTo>
                      <a:pt x="834" y="657"/>
                    </a:lnTo>
                    <a:lnTo>
                      <a:pt x="818" y="628"/>
                    </a:lnTo>
                    <a:lnTo>
                      <a:pt x="767" y="619"/>
                    </a:lnTo>
                    <a:lnTo>
                      <a:pt x="752" y="564"/>
                    </a:lnTo>
                    <a:lnTo>
                      <a:pt x="696" y="571"/>
                    </a:lnTo>
                    <a:lnTo>
                      <a:pt x="698" y="580"/>
                    </a:lnTo>
                    <a:lnTo>
                      <a:pt x="653" y="576"/>
                    </a:lnTo>
                    <a:lnTo>
                      <a:pt x="622" y="576"/>
                    </a:lnTo>
                    <a:lnTo>
                      <a:pt x="625" y="565"/>
                    </a:lnTo>
                    <a:lnTo>
                      <a:pt x="197" y="567"/>
                    </a:lnTo>
                    <a:lnTo>
                      <a:pt x="177" y="540"/>
                    </a:lnTo>
                    <a:lnTo>
                      <a:pt x="156" y="525"/>
                    </a:lnTo>
                    <a:lnTo>
                      <a:pt x="139" y="506"/>
                    </a:lnTo>
                    <a:lnTo>
                      <a:pt x="138" y="482"/>
                    </a:lnTo>
                    <a:lnTo>
                      <a:pt x="136" y="462"/>
                    </a:lnTo>
                    <a:lnTo>
                      <a:pt x="121" y="463"/>
                    </a:lnTo>
                    <a:lnTo>
                      <a:pt x="119" y="449"/>
                    </a:lnTo>
                    <a:lnTo>
                      <a:pt x="110" y="444"/>
                    </a:lnTo>
                    <a:lnTo>
                      <a:pt x="112" y="421"/>
                    </a:lnTo>
                    <a:lnTo>
                      <a:pt x="119" y="408"/>
                    </a:lnTo>
                    <a:lnTo>
                      <a:pt x="130" y="397"/>
                    </a:lnTo>
                    <a:lnTo>
                      <a:pt x="109" y="392"/>
                    </a:lnTo>
                    <a:lnTo>
                      <a:pt x="103" y="365"/>
                    </a:lnTo>
                    <a:lnTo>
                      <a:pt x="94" y="361"/>
                    </a:lnTo>
                    <a:lnTo>
                      <a:pt x="90" y="341"/>
                    </a:lnTo>
                    <a:lnTo>
                      <a:pt x="66" y="314"/>
                    </a:lnTo>
                    <a:lnTo>
                      <a:pt x="56" y="313"/>
                    </a:lnTo>
                    <a:lnTo>
                      <a:pt x="53" y="324"/>
                    </a:lnTo>
                    <a:lnTo>
                      <a:pt x="44" y="324"/>
                    </a:lnTo>
                    <a:lnTo>
                      <a:pt x="40" y="333"/>
                    </a:lnTo>
                    <a:lnTo>
                      <a:pt x="26" y="324"/>
                    </a:lnTo>
                    <a:lnTo>
                      <a:pt x="21" y="303"/>
                    </a:lnTo>
                    <a:lnTo>
                      <a:pt x="15" y="297"/>
                    </a:lnTo>
                    <a:lnTo>
                      <a:pt x="0" y="303"/>
                    </a:lnTo>
                    <a:lnTo>
                      <a:pt x="72" y="57"/>
                    </a:lnTo>
                    <a:lnTo>
                      <a:pt x="118" y="65"/>
                    </a:lnTo>
                    <a:lnTo>
                      <a:pt x="159" y="85"/>
                    </a:lnTo>
                    <a:lnTo>
                      <a:pt x="177" y="86"/>
                    </a:lnTo>
                    <a:lnTo>
                      <a:pt x="178" y="71"/>
                    </a:lnTo>
                    <a:lnTo>
                      <a:pt x="194" y="58"/>
                    </a:lnTo>
                    <a:lnTo>
                      <a:pt x="233" y="34"/>
                    </a:lnTo>
                    <a:lnTo>
                      <a:pt x="245" y="40"/>
                    </a:lnTo>
                    <a:lnTo>
                      <a:pt x="216" y="58"/>
                    </a:lnTo>
                    <a:lnTo>
                      <a:pt x="247" y="57"/>
                    </a:lnTo>
                    <a:lnTo>
                      <a:pt x="257" y="46"/>
                    </a:lnTo>
                    <a:lnTo>
                      <a:pt x="264" y="34"/>
                    </a:lnTo>
                    <a:lnTo>
                      <a:pt x="274" y="29"/>
                    </a:lnTo>
                    <a:lnTo>
                      <a:pt x="287" y="53"/>
                    </a:lnTo>
                    <a:lnTo>
                      <a:pt x="306" y="55"/>
                    </a:lnTo>
                    <a:lnTo>
                      <a:pt x="315" y="46"/>
                    </a:lnTo>
                    <a:lnTo>
                      <a:pt x="325" y="62"/>
                    </a:lnTo>
                    <a:lnTo>
                      <a:pt x="340" y="52"/>
                    </a:lnTo>
                    <a:lnTo>
                      <a:pt x="399" y="71"/>
                    </a:lnTo>
                    <a:lnTo>
                      <a:pt x="437" y="72"/>
                    </a:lnTo>
                    <a:lnTo>
                      <a:pt x="465" y="86"/>
                    </a:lnTo>
                    <a:lnTo>
                      <a:pt x="460" y="107"/>
                    </a:lnTo>
                    <a:lnTo>
                      <a:pt x="497" y="95"/>
                    </a:lnTo>
                    <a:lnTo>
                      <a:pt x="525" y="121"/>
                    </a:lnTo>
                    <a:lnTo>
                      <a:pt x="544" y="120"/>
                    </a:lnTo>
                    <a:lnTo>
                      <a:pt x="542" y="107"/>
                    </a:lnTo>
                    <a:lnTo>
                      <a:pt x="564" y="84"/>
                    </a:lnTo>
                    <a:lnTo>
                      <a:pt x="588" y="102"/>
                    </a:lnTo>
                    <a:lnTo>
                      <a:pt x="659" y="107"/>
                    </a:lnTo>
                    <a:lnTo>
                      <a:pt x="672" y="90"/>
                    </a:lnTo>
                    <a:lnTo>
                      <a:pt x="692" y="88"/>
                    </a:lnTo>
                    <a:lnTo>
                      <a:pt x="703" y="104"/>
                    </a:lnTo>
                    <a:lnTo>
                      <a:pt x="721" y="95"/>
                    </a:lnTo>
                    <a:lnTo>
                      <a:pt x="737" y="84"/>
                    </a:lnTo>
                    <a:lnTo>
                      <a:pt x="729" y="52"/>
                    </a:lnTo>
                    <a:lnTo>
                      <a:pt x="708" y="37"/>
                    </a:lnTo>
                    <a:lnTo>
                      <a:pt x="723" y="28"/>
                    </a:lnTo>
                    <a:lnTo>
                      <a:pt x="732" y="13"/>
                    </a:lnTo>
                    <a:lnTo>
                      <a:pt x="754" y="0"/>
                    </a:lnTo>
                    <a:lnTo>
                      <a:pt x="776" y="19"/>
                    </a:lnTo>
                    <a:lnTo>
                      <a:pt x="769" y="37"/>
                    </a:lnTo>
                    <a:lnTo>
                      <a:pt x="773" y="53"/>
                    </a:lnTo>
                    <a:lnTo>
                      <a:pt x="786" y="65"/>
                    </a:lnTo>
                    <a:lnTo>
                      <a:pt x="794" y="88"/>
                    </a:lnTo>
                    <a:lnTo>
                      <a:pt x="812" y="65"/>
                    </a:lnTo>
                    <a:lnTo>
                      <a:pt x="822" y="85"/>
                    </a:lnTo>
                    <a:lnTo>
                      <a:pt x="821" y="117"/>
                    </a:lnTo>
                    <a:lnTo>
                      <a:pt x="834" y="117"/>
                    </a:lnTo>
                    <a:lnTo>
                      <a:pt x="840" y="99"/>
                    </a:lnTo>
                    <a:lnTo>
                      <a:pt x="860" y="79"/>
                    </a:lnTo>
                    <a:lnTo>
                      <a:pt x="868" y="53"/>
                    </a:lnTo>
                    <a:lnTo>
                      <a:pt x="904" y="57"/>
                    </a:lnTo>
                    <a:lnTo>
                      <a:pt x="913" y="83"/>
                    </a:lnTo>
                    <a:lnTo>
                      <a:pt x="898" y="90"/>
                    </a:lnTo>
                    <a:lnTo>
                      <a:pt x="906" y="123"/>
                    </a:lnTo>
                    <a:lnTo>
                      <a:pt x="860" y="146"/>
                    </a:lnTo>
                    <a:lnTo>
                      <a:pt x="854" y="136"/>
                    </a:lnTo>
                    <a:lnTo>
                      <a:pt x="830" y="137"/>
                    </a:lnTo>
                    <a:lnTo>
                      <a:pt x="827" y="156"/>
                    </a:lnTo>
                    <a:lnTo>
                      <a:pt x="799" y="156"/>
                    </a:lnTo>
                    <a:lnTo>
                      <a:pt x="791" y="148"/>
                    </a:lnTo>
                    <a:lnTo>
                      <a:pt x="778" y="149"/>
                    </a:lnTo>
                    <a:lnTo>
                      <a:pt x="779" y="160"/>
                    </a:lnTo>
                    <a:lnTo>
                      <a:pt x="806" y="171"/>
                    </a:lnTo>
                    <a:lnTo>
                      <a:pt x="799" y="195"/>
                    </a:lnTo>
                    <a:lnTo>
                      <a:pt x="785" y="205"/>
                    </a:lnTo>
                    <a:lnTo>
                      <a:pt x="763" y="208"/>
                    </a:lnTo>
                    <a:lnTo>
                      <a:pt x="750" y="228"/>
                    </a:lnTo>
                    <a:lnTo>
                      <a:pt x="720" y="251"/>
                    </a:lnTo>
                    <a:lnTo>
                      <a:pt x="694" y="274"/>
                    </a:lnTo>
                    <a:lnTo>
                      <a:pt x="673" y="306"/>
                    </a:lnTo>
                    <a:lnTo>
                      <a:pt x="672" y="330"/>
                    </a:lnTo>
                    <a:lnTo>
                      <a:pt x="691" y="333"/>
                    </a:lnTo>
                    <a:lnTo>
                      <a:pt x="701" y="374"/>
                    </a:lnTo>
                    <a:lnTo>
                      <a:pt x="745" y="379"/>
                    </a:lnTo>
                    <a:lnTo>
                      <a:pt x="773" y="406"/>
                    </a:lnTo>
                    <a:lnTo>
                      <a:pt x="791" y="408"/>
                    </a:lnTo>
                    <a:lnTo>
                      <a:pt x="806" y="426"/>
                    </a:lnTo>
                    <a:lnTo>
                      <a:pt x="836" y="424"/>
                    </a:lnTo>
                    <a:lnTo>
                      <a:pt x="833" y="459"/>
                    </a:lnTo>
                    <a:lnTo>
                      <a:pt x="830" y="489"/>
                    </a:lnTo>
                    <a:lnTo>
                      <a:pt x="841" y="512"/>
                    </a:lnTo>
                    <a:lnTo>
                      <a:pt x="854" y="513"/>
                    </a:lnTo>
                    <a:lnTo>
                      <a:pt x="865" y="501"/>
                    </a:lnTo>
                    <a:lnTo>
                      <a:pt x="877" y="512"/>
                    </a:lnTo>
                    <a:lnTo>
                      <a:pt x="882" y="499"/>
                    </a:lnTo>
                    <a:lnTo>
                      <a:pt x="889" y="463"/>
                    </a:lnTo>
                    <a:lnTo>
                      <a:pt x="888" y="450"/>
                    </a:lnTo>
                    <a:lnTo>
                      <a:pt x="891" y="426"/>
                    </a:lnTo>
                    <a:lnTo>
                      <a:pt x="914" y="414"/>
                    </a:lnTo>
                    <a:lnTo>
                      <a:pt x="915" y="413"/>
                    </a:lnTo>
                    <a:lnTo>
                      <a:pt x="916" y="409"/>
                    </a:lnTo>
                    <a:lnTo>
                      <a:pt x="916" y="403"/>
                    </a:lnTo>
                    <a:lnTo>
                      <a:pt x="917" y="395"/>
                    </a:lnTo>
                    <a:lnTo>
                      <a:pt x="919" y="387"/>
                    </a:lnTo>
                    <a:lnTo>
                      <a:pt x="919" y="377"/>
                    </a:lnTo>
                    <a:lnTo>
                      <a:pt x="919" y="368"/>
                    </a:lnTo>
                    <a:lnTo>
                      <a:pt x="917" y="358"/>
                    </a:lnTo>
                    <a:lnTo>
                      <a:pt x="916" y="350"/>
                    </a:lnTo>
                    <a:lnTo>
                      <a:pt x="914" y="342"/>
                    </a:lnTo>
                    <a:lnTo>
                      <a:pt x="910" y="337"/>
                    </a:lnTo>
                    <a:lnTo>
                      <a:pt x="906" y="332"/>
                    </a:lnTo>
                    <a:lnTo>
                      <a:pt x="922" y="325"/>
                    </a:lnTo>
                    <a:lnTo>
                      <a:pt x="926" y="294"/>
                    </a:lnTo>
                    <a:lnTo>
                      <a:pt x="923" y="283"/>
                    </a:lnTo>
                    <a:lnTo>
                      <a:pt x="926" y="257"/>
                    </a:lnTo>
                    <a:lnTo>
                      <a:pt x="943" y="232"/>
                    </a:lnTo>
                    <a:lnTo>
                      <a:pt x="969" y="246"/>
                    </a:lnTo>
                    <a:lnTo>
                      <a:pt x="1004" y="246"/>
                    </a:lnTo>
                    <a:lnTo>
                      <a:pt x="1017" y="259"/>
                    </a:lnTo>
                    <a:lnTo>
                      <a:pt x="1033" y="275"/>
                    </a:lnTo>
                    <a:lnTo>
                      <a:pt x="1054" y="283"/>
                    </a:lnTo>
                    <a:lnTo>
                      <a:pt x="1045" y="295"/>
                    </a:lnTo>
                    <a:lnTo>
                      <a:pt x="1046" y="340"/>
                    </a:lnTo>
                    <a:lnTo>
                      <a:pt x="1071" y="347"/>
                    </a:lnTo>
                    <a:lnTo>
                      <a:pt x="1096" y="338"/>
                    </a:lnTo>
                    <a:lnTo>
                      <a:pt x="1105" y="324"/>
                    </a:lnTo>
                    <a:lnTo>
                      <a:pt x="1119" y="301"/>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470" name="Freeform 71">
                <a:extLst>
                  <a:ext uri="{FF2B5EF4-FFF2-40B4-BE49-F238E27FC236}">
                    <a16:creationId xmlns:a16="http://schemas.microsoft.com/office/drawing/2014/main" id="{9986CE81-D0D8-4323-9C9D-D5EC57CBF20B}"/>
                  </a:ext>
                </a:extLst>
              </p:cNvPr>
              <p:cNvSpPr>
                <a:spLocks/>
              </p:cNvSpPr>
              <p:nvPr/>
            </p:nvSpPr>
            <p:spPr bwMode="auto">
              <a:xfrm>
                <a:off x="3603735" y="2681343"/>
                <a:ext cx="127155" cy="132784"/>
              </a:xfrm>
              <a:custGeom>
                <a:avLst/>
                <a:gdLst>
                  <a:gd name="T0" fmla="*/ 44 w 81"/>
                  <a:gd name="T1" fmla="*/ 0 h 84"/>
                  <a:gd name="T2" fmla="*/ 34 w 81"/>
                  <a:gd name="T3" fmla="*/ 3 h 84"/>
                  <a:gd name="T4" fmla="*/ 27 w 81"/>
                  <a:gd name="T5" fmla="*/ 13 h 84"/>
                  <a:gd name="T6" fmla="*/ 19 w 81"/>
                  <a:gd name="T7" fmla="*/ 24 h 84"/>
                  <a:gd name="T8" fmla="*/ 6 w 81"/>
                  <a:gd name="T9" fmla="*/ 30 h 84"/>
                  <a:gd name="T10" fmla="*/ 0 w 81"/>
                  <a:gd name="T11" fmla="*/ 44 h 84"/>
                  <a:gd name="T12" fmla="*/ 0 w 81"/>
                  <a:gd name="T13" fmla="*/ 64 h 84"/>
                  <a:gd name="T14" fmla="*/ 16 w 81"/>
                  <a:gd name="T15" fmla="*/ 66 h 84"/>
                  <a:gd name="T16" fmla="*/ 31 w 81"/>
                  <a:gd name="T17" fmla="*/ 60 h 84"/>
                  <a:gd name="T18" fmla="*/ 42 w 81"/>
                  <a:gd name="T19" fmla="*/ 60 h 84"/>
                  <a:gd name="T20" fmla="*/ 44 w 81"/>
                  <a:gd name="T21" fmla="*/ 79 h 84"/>
                  <a:gd name="T22" fmla="*/ 54 w 81"/>
                  <a:gd name="T23" fmla="*/ 83 h 84"/>
                  <a:gd name="T24" fmla="*/ 54 w 81"/>
                  <a:gd name="T25" fmla="*/ 70 h 84"/>
                  <a:gd name="T26" fmla="*/ 63 w 81"/>
                  <a:gd name="T27" fmla="*/ 71 h 84"/>
                  <a:gd name="T28" fmla="*/ 66 w 81"/>
                  <a:gd name="T29" fmla="*/ 83 h 84"/>
                  <a:gd name="T30" fmla="*/ 74 w 81"/>
                  <a:gd name="T31" fmla="*/ 65 h 84"/>
                  <a:gd name="T32" fmla="*/ 80 w 81"/>
                  <a:gd name="T33" fmla="*/ 50 h 84"/>
                  <a:gd name="T34" fmla="*/ 77 w 81"/>
                  <a:gd name="T35" fmla="*/ 30 h 84"/>
                  <a:gd name="T36" fmla="*/ 66 w 81"/>
                  <a:gd name="T37" fmla="*/ 26 h 84"/>
                  <a:gd name="T38" fmla="*/ 54 w 81"/>
                  <a:gd name="T39" fmla="*/ 26 h 84"/>
                  <a:gd name="T40" fmla="*/ 49 w 81"/>
                  <a:gd name="T41" fmla="*/ 13 h 84"/>
                  <a:gd name="T42" fmla="*/ 50 w 81"/>
                  <a:gd name="T43" fmla="*/ 5 h 84"/>
                  <a:gd name="T44" fmla="*/ 40 w 81"/>
                  <a:gd name="T4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1" h="84">
                    <a:moveTo>
                      <a:pt x="44" y="0"/>
                    </a:moveTo>
                    <a:lnTo>
                      <a:pt x="34" y="3"/>
                    </a:lnTo>
                    <a:lnTo>
                      <a:pt x="27" y="13"/>
                    </a:lnTo>
                    <a:lnTo>
                      <a:pt x="19" y="24"/>
                    </a:lnTo>
                    <a:lnTo>
                      <a:pt x="6" y="30"/>
                    </a:lnTo>
                    <a:lnTo>
                      <a:pt x="0" y="44"/>
                    </a:lnTo>
                    <a:lnTo>
                      <a:pt x="0" y="64"/>
                    </a:lnTo>
                    <a:lnTo>
                      <a:pt x="16" y="66"/>
                    </a:lnTo>
                    <a:lnTo>
                      <a:pt x="31" y="60"/>
                    </a:lnTo>
                    <a:lnTo>
                      <a:pt x="42" y="60"/>
                    </a:lnTo>
                    <a:lnTo>
                      <a:pt x="44" y="79"/>
                    </a:lnTo>
                    <a:lnTo>
                      <a:pt x="54" y="83"/>
                    </a:lnTo>
                    <a:lnTo>
                      <a:pt x="54" y="70"/>
                    </a:lnTo>
                    <a:lnTo>
                      <a:pt x="63" y="71"/>
                    </a:lnTo>
                    <a:lnTo>
                      <a:pt x="66" y="83"/>
                    </a:lnTo>
                    <a:lnTo>
                      <a:pt x="74" y="65"/>
                    </a:lnTo>
                    <a:lnTo>
                      <a:pt x="80" y="50"/>
                    </a:lnTo>
                    <a:lnTo>
                      <a:pt x="77" y="30"/>
                    </a:lnTo>
                    <a:lnTo>
                      <a:pt x="66" y="26"/>
                    </a:lnTo>
                    <a:lnTo>
                      <a:pt x="54" y="26"/>
                    </a:lnTo>
                    <a:lnTo>
                      <a:pt x="49" y="13"/>
                    </a:lnTo>
                    <a:lnTo>
                      <a:pt x="50" y="5"/>
                    </a:lnTo>
                    <a:lnTo>
                      <a:pt x="40" y="0"/>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471" name="Freeform 72">
                <a:extLst>
                  <a:ext uri="{FF2B5EF4-FFF2-40B4-BE49-F238E27FC236}">
                    <a16:creationId xmlns:a16="http://schemas.microsoft.com/office/drawing/2014/main" id="{DD7846B5-1B0A-DDB9-9341-C8C212ED1788}"/>
                  </a:ext>
                </a:extLst>
              </p:cNvPr>
              <p:cNvSpPr>
                <a:spLocks/>
              </p:cNvSpPr>
              <p:nvPr/>
            </p:nvSpPr>
            <p:spPr bwMode="auto">
              <a:xfrm>
                <a:off x="2414627" y="1817548"/>
                <a:ext cx="222172" cy="152352"/>
              </a:xfrm>
              <a:custGeom>
                <a:avLst/>
                <a:gdLst>
                  <a:gd name="T0" fmla="*/ 45 w 142"/>
                  <a:gd name="T1" fmla="*/ 4 h 98"/>
                  <a:gd name="T2" fmla="*/ 28 w 142"/>
                  <a:gd name="T3" fmla="*/ 32 h 98"/>
                  <a:gd name="T4" fmla="*/ 18 w 142"/>
                  <a:gd name="T5" fmla="*/ 50 h 98"/>
                  <a:gd name="T6" fmla="*/ 0 w 142"/>
                  <a:gd name="T7" fmla="*/ 70 h 98"/>
                  <a:gd name="T8" fmla="*/ 13 w 142"/>
                  <a:gd name="T9" fmla="*/ 84 h 98"/>
                  <a:gd name="T10" fmla="*/ 32 w 142"/>
                  <a:gd name="T11" fmla="*/ 97 h 98"/>
                  <a:gd name="T12" fmla="*/ 71 w 142"/>
                  <a:gd name="T13" fmla="*/ 77 h 98"/>
                  <a:gd name="T14" fmla="*/ 91 w 142"/>
                  <a:gd name="T15" fmla="*/ 64 h 98"/>
                  <a:gd name="T16" fmla="*/ 121 w 142"/>
                  <a:gd name="T17" fmla="*/ 57 h 98"/>
                  <a:gd name="T18" fmla="*/ 141 w 142"/>
                  <a:gd name="T19" fmla="*/ 42 h 98"/>
                  <a:gd name="T20" fmla="*/ 116 w 142"/>
                  <a:gd name="T21" fmla="*/ 19 h 98"/>
                  <a:gd name="T22" fmla="*/ 84 w 142"/>
                  <a:gd name="T23" fmla="*/ 12 h 98"/>
                  <a:gd name="T24" fmla="*/ 71 w 142"/>
                  <a:gd name="T25" fmla="*/ 0 h 98"/>
                  <a:gd name="T26" fmla="*/ 56 w 142"/>
                  <a:gd name="T27" fmla="*/ 15 h 98"/>
                  <a:gd name="T28" fmla="*/ 45 w 142"/>
                  <a:gd name="T29" fmla="*/ 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2" h="98">
                    <a:moveTo>
                      <a:pt x="45" y="4"/>
                    </a:moveTo>
                    <a:lnTo>
                      <a:pt x="28" y="32"/>
                    </a:lnTo>
                    <a:lnTo>
                      <a:pt x="18" y="50"/>
                    </a:lnTo>
                    <a:lnTo>
                      <a:pt x="0" y="70"/>
                    </a:lnTo>
                    <a:lnTo>
                      <a:pt x="13" y="84"/>
                    </a:lnTo>
                    <a:lnTo>
                      <a:pt x="32" y="97"/>
                    </a:lnTo>
                    <a:lnTo>
                      <a:pt x="71" y="77"/>
                    </a:lnTo>
                    <a:lnTo>
                      <a:pt x="91" y="64"/>
                    </a:lnTo>
                    <a:lnTo>
                      <a:pt x="121" y="57"/>
                    </a:lnTo>
                    <a:lnTo>
                      <a:pt x="141" y="42"/>
                    </a:lnTo>
                    <a:lnTo>
                      <a:pt x="116" y="19"/>
                    </a:lnTo>
                    <a:lnTo>
                      <a:pt x="84" y="12"/>
                    </a:lnTo>
                    <a:lnTo>
                      <a:pt x="71" y="0"/>
                    </a:lnTo>
                    <a:lnTo>
                      <a:pt x="56" y="15"/>
                    </a:lnTo>
                    <a:lnTo>
                      <a:pt x="45" y="4"/>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472" name="Freeform 73">
                <a:extLst>
                  <a:ext uri="{FF2B5EF4-FFF2-40B4-BE49-F238E27FC236}">
                    <a16:creationId xmlns:a16="http://schemas.microsoft.com/office/drawing/2014/main" id="{51966331-6B28-FDE9-9C34-134D75F03379}"/>
                  </a:ext>
                </a:extLst>
              </p:cNvPr>
              <p:cNvSpPr>
                <a:spLocks/>
              </p:cNvSpPr>
              <p:nvPr/>
            </p:nvSpPr>
            <p:spPr bwMode="auto">
              <a:xfrm>
                <a:off x="2558549" y="1884640"/>
                <a:ext cx="318587" cy="170523"/>
              </a:xfrm>
              <a:custGeom>
                <a:avLst/>
                <a:gdLst>
                  <a:gd name="T0" fmla="*/ 62 w 203"/>
                  <a:gd name="T1" fmla="*/ 9 h 109"/>
                  <a:gd name="T2" fmla="*/ 34 w 203"/>
                  <a:gd name="T3" fmla="*/ 25 h 109"/>
                  <a:gd name="T4" fmla="*/ 34 w 203"/>
                  <a:gd name="T5" fmla="*/ 37 h 109"/>
                  <a:gd name="T6" fmla="*/ 2 w 203"/>
                  <a:gd name="T7" fmla="*/ 40 h 109"/>
                  <a:gd name="T8" fmla="*/ 0 w 203"/>
                  <a:gd name="T9" fmla="*/ 53 h 109"/>
                  <a:gd name="T10" fmla="*/ 52 w 203"/>
                  <a:gd name="T11" fmla="*/ 62 h 109"/>
                  <a:gd name="T12" fmla="*/ 12 w 203"/>
                  <a:gd name="T13" fmla="*/ 72 h 109"/>
                  <a:gd name="T14" fmla="*/ 4 w 203"/>
                  <a:gd name="T15" fmla="*/ 80 h 109"/>
                  <a:gd name="T16" fmla="*/ 32 w 203"/>
                  <a:gd name="T17" fmla="*/ 95 h 109"/>
                  <a:gd name="T18" fmla="*/ 57 w 203"/>
                  <a:gd name="T19" fmla="*/ 108 h 109"/>
                  <a:gd name="T20" fmla="*/ 92 w 203"/>
                  <a:gd name="T21" fmla="*/ 108 h 109"/>
                  <a:gd name="T22" fmla="*/ 151 w 203"/>
                  <a:gd name="T23" fmla="*/ 105 h 109"/>
                  <a:gd name="T24" fmla="*/ 188 w 203"/>
                  <a:gd name="T25" fmla="*/ 98 h 109"/>
                  <a:gd name="T26" fmla="*/ 179 w 203"/>
                  <a:gd name="T27" fmla="*/ 72 h 109"/>
                  <a:gd name="T28" fmla="*/ 202 w 203"/>
                  <a:gd name="T29" fmla="*/ 68 h 109"/>
                  <a:gd name="T30" fmla="*/ 177 w 203"/>
                  <a:gd name="T31" fmla="*/ 53 h 109"/>
                  <a:gd name="T32" fmla="*/ 161 w 203"/>
                  <a:gd name="T33" fmla="*/ 22 h 109"/>
                  <a:gd name="T34" fmla="*/ 169 w 203"/>
                  <a:gd name="T35" fmla="*/ 5 h 109"/>
                  <a:gd name="T36" fmla="*/ 139 w 203"/>
                  <a:gd name="T37" fmla="*/ 0 h 109"/>
                  <a:gd name="T38" fmla="*/ 132 w 203"/>
                  <a:gd name="T39" fmla="*/ 32 h 109"/>
                  <a:gd name="T40" fmla="*/ 117 w 203"/>
                  <a:gd name="T41" fmla="*/ 14 h 109"/>
                  <a:gd name="T42" fmla="*/ 104 w 203"/>
                  <a:gd name="T43" fmla="*/ 5 h 109"/>
                  <a:gd name="T44" fmla="*/ 94 w 203"/>
                  <a:gd name="T45" fmla="*/ 22 h 109"/>
                  <a:gd name="T46" fmla="*/ 85 w 203"/>
                  <a:gd name="T47" fmla="*/ 3 h 109"/>
                  <a:gd name="T48" fmla="*/ 62 w 203"/>
                  <a:gd name="T49" fmla="*/ 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3" h="109">
                    <a:moveTo>
                      <a:pt x="62" y="9"/>
                    </a:moveTo>
                    <a:lnTo>
                      <a:pt x="34" y="25"/>
                    </a:lnTo>
                    <a:lnTo>
                      <a:pt x="34" y="37"/>
                    </a:lnTo>
                    <a:lnTo>
                      <a:pt x="2" y="40"/>
                    </a:lnTo>
                    <a:lnTo>
                      <a:pt x="0" y="53"/>
                    </a:lnTo>
                    <a:lnTo>
                      <a:pt x="52" y="62"/>
                    </a:lnTo>
                    <a:lnTo>
                      <a:pt x="12" y="72"/>
                    </a:lnTo>
                    <a:lnTo>
                      <a:pt x="4" y="80"/>
                    </a:lnTo>
                    <a:lnTo>
                      <a:pt x="32" y="95"/>
                    </a:lnTo>
                    <a:lnTo>
                      <a:pt x="57" y="108"/>
                    </a:lnTo>
                    <a:lnTo>
                      <a:pt x="92" y="108"/>
                    </a:lnTo>
                    <a:lnTo>
                      <a:pt x="151" y="105"/>
                    </a:lnTo>
                    <a:lnTo>
                      <a:pt x="188" y="98"/>
                    </a:lnTo>
                    <a:lnTo>
                      <a:pt x="179" y="72"/>
                    </a:lnTo>
                    <a:lnTo>
                      <a:pt x="202" y="68"/>
                    </a:lnTo>
                    <a:lnTo>
                      <a:pt x="177" y="53"/>
                    </a:lnTo>
                    <a:lnTo>
                      <a:pt x="161" y="22"/>
                    </a:lnTo>
                    <a:lnTo>
                      <a:pt x="169" y="5"/>
                    </a:lnTo>
                    <a:lnTo>
                      <a:pt x="139" y="0"/>
                    </a:lnTo>
                    <a:lnTo>
                      <a:pt x="132" y="32"/>
                    </a:lnTo>
                    <a:lnTo>
                      <a:pt x="117" y="14"/>
                    </a:lnTo>
                    <a:lnTo>
                      <a:pt x="104" y="5"/>
                    </a:lnTo>
                    <a:lnTo>
                      <a:pt x="94" y="22"/>
                    </a:lnTo>
                    <a:lnTo>
                      <a:pt x="85" y="3"/>
                    </a:lnTo>
                    <a:lnTo>
                      <a:pt x="62" y="9"/>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473" name="Freeform 74">
                <a:extLst>
                  <a:ext uri="{FF2B5EF4-FFF2-40B4-BE49-F238E27FC236}">
                    <a16:creationId xmlns:a16="http://schemas.microsoft.com/office/drawing/2014/main" id="{1AB4C64B-5762-D604-9C6C-F924520DC986}"/>
                  </a:ext>
                </a:extLst>
              </p:cNvPr>
              <p:cNvSpPr>
                <a:spLocks/>
              </p:cNvSpPr>
              <p:nvPr/>
            </p:nvSpPr>
            <p:spPr bwMode="auto">
              <a:xfrm>
                <a:off x="2807270" y="1851095"/>
                <a:ext cx="48905" cy="25159"/>
              </a:xfrm>
              <a:custGeom>
                <a:avLst/>
                <a:gdLst>
                  <a:gd name="T0" fmla="*/ 15 w 30"/>
                  <a:gd name="T1" fmla="*/ 14 h 15"/>
                  <a:gd name="T2" fmla="*/ 18 w 30"/>
                  <a:gd name="T3" fmla="*/ 14 h 15"/>
                  <a:gd name="T4" fmla="*/ 19 w 30"/>
                  <a:gd name="T5" fmla="*/ 14 h 15"/>
                  <a:gd name="T6" fmla="*/ 21 w 30"/>
                  <a:gd name="T7" fmla="*/ 14 h 15"/>
                  <a:gd name="T8" fmla="*/ 23 w 30"/>
                  <a:gd name="T9" fmla="*/ 13 h 15"/>
                  <a:gd name="T10" fmla="*/ 25 w 30"/>
                  <a:gd name="T11" fmla="*/ 12 h 15"/>
                  <a:gd name="T12" fmla="*/ 26 w 30"/>
                  <a:gd name="T13" fmla="*/ 11 h 15"/>
                  <a:gd name="T14" fmla="*/ 28 w 30"/>
                  <a:gd name="T15" fmla="*/ 11 h 15"/>
                  <a:gd name="T16" fmla="*/ 29 w 30"/>
                  <a:gd name="T17" fmla="*/ 10 h 15"/>
                  <a:gd name="T18" fmla="*/ 29 w 30"/>
                  <a:gd name="T19" fmla="*/ 9 h 15"/>
                  <a:gd name="T20" fmla="*/ 29 w 30"/>
                  <a:gd name="T21" fmla="*/ 8 h 15"/>
                  <a:gd name="T22" fmla="*/ 29 w 30"/>
                  <a:gd name="T23" fmla="*/ 7 h 15"/>
                  <a:gd name="T24" fmla="*/ 29 w 30"/>
                  <a:gd name="T25" fmla="*/ 6 h 15"/>
                  <a:gd name="T26" fmla="*/ 29 w 30"/>
                  <a:gd name="T27" fmla="*/ 4 h 15"/>
                  <a:gd name="T28" fmla="*/ 28 w 30"/>
                  <a:gd name="T29" fmla="*/ 3 h 15"/>
                  <a:gd name="T30" fmla="*/ 26 w 30"/>
                  <a:gd name="T31" fmla="*/ 3 h 15"/>
                  <a:gd name="T32" fmla="*/ 25 w 30"/>
                  <a:gd name="T33" fmla="*/ 2 h 15"/>
                  <a:gd name="T34" fmla="*/ 23 w 30"/>
                  <a:gd name="T35" fmla="*/ 1 h 15"/>
                  <a:gd name="T36" fmla="*/ 21 w 30"/>
                  <a:gd name="T37" fmla="*/ 0 h 15"/>
                  <a:gd name="T38" fmla="*/ 19 w 30"/>
                  <a:gd name="T39" fmla="*/ 0 h 15"/>
                  <a:gd name="T40" fmla="*/ 18 w 30"/>
                  <a:gd name="T41" fmla="*/ 0 h 15"/>
                  <a:gd name="T42" fmla="*/ 15 w 30"/>
                  <a:gd name="T43" fmla="*/ 0 h 15"/>
                  <a:gd name="T44" fmla="*/ 13 w 30"/>
                  <a:gd name="T45" fmla="*/ 0 h 15"/>
                  <a:gd name="T46" fmla="*/ 11 w 30"/>
                  <a:gd name="T47" fmla="*/ 0 h 15"/>
                  <a:gd name="T48" fmla="*/ 10 w 30"/>
                  <a:gd name="T49" fmla="*/ 0 h 15"/>
                  <a:gd name="T50" fmla="*/ 8 w 30"/>
                  <a:gd name="T51" fmla="*/ 1 h 15"/>
                  <a:gd name="T52" fmla="*/ 6 w 30"/>
                  <a:gd name="T53" fmla="*/ 2 h 15"/>
                  <a:gd name="T54" fmla="*/ 5 w 30"/>
                  <a:gd name="T55" fmla="*/ 2 h 15"/>
                  <a:gd name="T56" fmla="*/ 4 w 30"/>
                  <a:gd name="T57" fmla="*/ 3 h 15"/>
                  <a:gd name="T58" fmla="*/ 2 w 30"/>
                  <a:gd name="T59" fmla="*/ 3 h 15"/>
                  <a:gd name="T60" fmla="*/ 2 w 30"/>
                  <a:gd name="T61" fmla="*/ 4 h 15"/>
                  <a:gd name="T62" fmla="*/ 1 w 30"/>
                  <a:gd name="T63" fmla="*/ 6 h 15"/>
                  <a:gd name="T64" fmla="*/ 1 w 30"/>
                  <a:gd name="T65" fmla="*/ 7 h 15"/>
                  <a:gd name="T66" fmla="*/ 0 w 30"/>
                  <a:gd name="T67" fmla="*/ 7 h 15"/>
                  <a:gd name="T68" fmla="*/ 1 w 30"/>
                  <a:gd name="T69" fmla="*/ 8 h 15"/>
                  <a:gd name="T70" fmla="*/ 1 w 30"/>
                  <a:gd name="T71" fmla="*/ 9 h 15"/>
                  <a:gd name="T72" fmla="*/ 2 w 30"/>
                  <a:gd name="T73" fmla="*/ 10 h 15"/>
                  <a:gd name="T74" fmla="*/ 2 w 30"/>
                  <a:gd name="T75" fmla="*/ 11 h 15"/>
                  <a:gd name="T76" fmla="*/ 4 w 30"/>
                  <a:gd name="T77" fmla="*/ 11 h 15"/>
                  <a:gd name="T78" fmla="*/ 5 w 30"/>
                  <a:gd name="T79" fmla="*/ 12 h 15"/>
                  <a:gd name="T80" fmla="*/ 6 w 30"/>
                  <a:gd name="T81" fmla="*/ 12 h 15"/>
                  <a:gd name="T82" fmla="*/ 8 w 30"/>
                  <a:gd name="T83" fmla="*/ 13 h 15"/>
                  <a:gd name="T84" fmla="*/ 10 w 30"/>
                  <a:gd name="T85" fmla="*/ 14 h 15"/>
                  <a:gd name="T86" fmla="*/ 11 w 30"/>
                  <a:gd name="T87" fmla="*/ 14 h 15"/>
                  <a:gd name="T88" fmla="*/ 13 w 30"/>
                  <a:gd name="T89" fmla="*/ 14 h 15"/>
                  <a:gd name="T90" fmla="*/ 15 w 30"/>
                  <a:gd name="T91"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 h="15">
                    <a:moveTo>
                      <a:pt x="15" y="14"/>
                    </a:moveTo>
                    <a:lnTo>
                      <a:pt x="18" y="14"/>
                    </a:lnTo>
                    <a:lnTo>
                      <a:pt x="19" y="14"/>
                    </a:lnTo>
                    <a:lnTo>
                      <a:pt x="21" y="14"/>
                    </a:lnTo>
                    <a:lnTo>
                      <a:pt x="23" y="13"/>
                    </a:lnTo>
                    <a:lnTo>
                      <a:pt x="25" y="12"/>
                    </a:lnTo>
                    <a:lnTo>
                      <a:pt x="26" y="11"/>
                    </a:lnTo>
                    <a:lnTo>
                      <a:pt x="28" y="11"/>
                    </a:lnTo>
                    <a:lnTo>
                      <a:pt x="29" y="10"/>
                    </a:lnTo>
                    <a:lnTo>
                      <a:pt x="29" y="9"/>
                    </a:lnTo>
                    <a:lnTo>
                      <a:pt x="29" y="8"/>
                    </a:lnTo>
                    <a:lnTo>
                      <a:pt x="29" y="7"/>
                    </a:lnTo>
                    <a:lnTo>
                      <a:pt x="29" y="6"/>
                    </a:lnTo>
                    <a:lnTo>
                      <a:pt x="29" y="4"/>
                    </a:lnTo>
                    <a:lnTo>
                      <a:pt x="28" y="3"/>
                    </a:lnTo>
                    <a:lnTo>
                      <a:pt x="26" y="3"/>
                    </a:lnTo>
                    <a:lnTo>
                      <a:pt x="25" y="2"/>
                    </a:lnTo>
                    <a:lnTo>
                      <a:pt x="23" y="1"/>
                    </a:lnTo>
                    <a:lnTo>
                      <a:pt x="21" y="0"/>
                    </a:lnTo>
                    <a:lnTo>
                      <a:pt x="19" y="0"/>
                    </a:lnTo>
                    <a:lnTo>
                      <a:pt x="18" y="0"/>
                    </a:lnTo>
                    <a:lnTo>
                      <a:pt x="15" y="0"/>
                    </a:lnTo>
                    <a:lnTo>
                      <a:pt x="13" y="0"/>
                    </a:lnTo>
                    <a:lnTo>
                      <a:pt x="11" y="0"/>
                    </a:lnTo>
                    <a:lnTo>
                      <a:pt x="10" y="0"/>
                    </a:lnTo>
                    <a:lnTo>
                      <a:pt x="8" y="1"/>
                    </a:lnTo>
                    <a:lnTo>
                      <a:pt x="6" y="2"/>
                    </a:lnTo>
                    <a:lnTo>
                      <a:pt x="5" y="2"/>
                    </a:lnTo>
                    <a:lnTo>
                      <a:pt x="4" y="3"/>
                    </a:lnTo>
                    <a:lnTo>
                      <a:pt x="2" y="3"/>
                    </a:lnTo>
                    <a:lnTo>
                      <a:pt x="2" y="4"/>
                    </a:lnTo>
                    <a:lnTo>
                      <a:pt x="1" y="6"/>
                    </a:lnTo>
                    <a:lnTo>
                      <a:pt x="1" y="7"/>
                    </a:lnTo>
                    <a:lnTo>
                      <a:pt x="0" y="7"/>
                    </a:lnTo>
                    <a:lnTo>
                      <a:pt x="1" y="8"/>
                    </a:lnTo>
                    <a:lnTo>
                      <a:pt x="1" y="9"/>
                    </a:lnTo>
                    <a:lnTo>
                      <a:pt x="2" y="10"/>
                    </a:lnTo>
                    <a:lnTo>
                      <a:pt x="2" y="11"/>
                    </a:lnTo>
                    <a:lnTo>
                      <a:pt x="4" y="11"/>
                    </a:lnTo>
                    <a:lnTo>
                      <a:pt x="5" y="12"/>
                    </a:lnTo>
                    <a:lnTo>
                      <a:pt x="6" y="12"/>
                    </a:lnTo>
                    <a:lnTo>
                      <a:pt x="8" y="13"/>
                    </a:lnTo>
                    <a:lnTo>
                      <a:pt x="10" y="14"/>
                    </a:lnTo>
                    <a:lnTo>
                      <a:pt x="11" y="14"/>
                    </a:lnTo>
                    <a:lnTo>
                      <a:pt x="13" y="14"/>
                    </a:lnTo>
                    <a:lnTo>
                      <a:pt x="15" y="14"/>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474" name="Freeform 75">
                <a:extLst>
                  <a:ext uri="{FF2B5EF4-FFF2-40B4-BE49-F238E27FC236}">
                    <a16:creationId xmlns:a16="http://schemas.microsoft.com/office/drawing/2014/main" id="{FAA9E762-6DE6-5BE9-7B1B-2AE2DC0E7557}"/>
                  </a:ext>
                </a:extLst>
              </p:cNvPr>
              <p:cNvSpPr>
                <a:spLocks/>
              </p:cNvSpPr>
              <p:nvPr/>
            </p:nvSpPr>
            <p:spPr bwMode="auto">
              <a:xfrm>
                <a:off x="2533398" y="1695947"/>
                <a:ext cx="136936" cy="86659"/>
              </a:xfrm>
              <a:custGeom>
                <a:avLst/>
                <a:gdLst>
                  <a:gd name="T0" fmla="*/ 85 w 86"/>
                  <a:gd name="T1" fmla="*/ 0 h 55"/>
                  <a:gd name="T2" fmla="*/ 63 w 86"/>
                  <a:gd name="T3" fmla="*/ 8 h 55"/>
                  <a:gd name="T4" fmla="*/ 30 w 86"/>
                  <a:gd name="T5" fmla="*/ 24 h 55"/>
                  <a:gd name="T6" fmla="*/ 2 w 86"/>
                  <a:gd name="T7" fmla="*/ 31 h 55"/>
                  <a:gd name="T8" fmla="*/ 0 w 86"/>
                  <a:gd name="T9" fmla="*/ 49 h 55"/>
                  <a:gd name="T10" fmla="*/ 37 w 86"/>
                  <a:gd name="T11" fmla="*/ 54 h 55"/>
                  <a:gd name="T12" fmla="*/ 63 w 86"/>
                  <a:gd name="T13" fmla="*/ 29 h 55"/>
                  <a:gd name="T14" fmla="*/ 85 w 86"/>
                  <a:gd name="T15" fmla="*/ 29 h 55"/>
                  <a:gd name="T16" fmla="*/ 85 w 86"/>
                  <a:gd name="T1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55">
                    <a:moveTo>
                      <a:pt x="85" y="0"/>
                    </a:moveTo>
                    <a:lnTo>
                      <a:pt x="63" y="8"/>
                    </a:lnTo>
                    <a:lnTo>
                      <a:pt x="30" y="24"/>
                    </a:lnTo>
                    <a:lnTo>
                      <a:pt x="2" y="31"/>
                    </a:lnTo>
                    <a:lnTo>
                      <a:pt x="0" y="49"/>
                    </a:lnTo>
                    <a:lnTo>
                      <a:pt x="37" y="54"/>
                    </a:lnTo>
                    <a:lnTo>
                      <a:pt x="63" y="29"/>
                    </a:lnTo>
                    <a:lnTo>
                      <a:pt x="85" y="29"/>
                    </a:lnTo>
                    <a:lnTo>
                      <a:pt x="85" y="0"/>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475" name="Freeform 76">
                <a:extLst>
                  <a:ext uri="{FF2B5EF4-FFF2-40B4-BE49-F238E27FC236}">
                    <a16:creationId xmlns:a16="http://schemas.microsoft.com/office/drawing/2014/main" id="{2BFF4BCC-CB86-8635-28B5-E8CDA131DEF6}"/>
                  </a:ext>
                </a:extLst>
              </p:cNvPr>
              <p:cNvSpPr>
                <a:spLocks/>
              </p:cNvSpPr>
              <p:nvPr/>
            </p:nvSpPr>
            <p:spPr bwMode="auto">
              <a:xfrm>
                <a:off x="2615839" y="1774220"/>
                <a:ext cx="25152" cy="43330"/>
              </a:xfrm>
              <a:custGeom>
                <a:avLst/>
                <a:gdLst>
                  <a:gd name="T0" fmla="*/ 7 w 15"/>
                  <a:gd name="T1" fmla="*/ 25 h 26"/>
                  <a:gd name="T2" fmla="*/ 6 w 15"/>
                  <a:gd name="T3" fmla="*/ 25 h 26"/>
                  <a:gd name="T4" fmla="*/ 4 w 15"/>
                  <a:gd name="T5" fmla="*/ 24 h 26"/>
                  <a:gd name="T6" fmla="*/ 3 w 15"/>
                  <a:gd name="T7" fmla="*/ 24 h 26"/>
                  <a:gd name="T8" fmla="*/ 3 w 15"/>
                  <a:gd name="T9" fmla="*/ 23 h 26"/>
                  <a:gd name="T10" fmla="*/ 2 w 15"/>
                  <a:gd name="T11" fmla="*/ 22 h 26"/>
                  <a:gd name="T12" fmla="*/ 2 w 15"/>
                  <a:gd name="T13" fmla="*/ 21 h 26"/>
                  <a:gd name="T14" fmla="*/ 2 w 15"/>
                  <a:gd name="T15" fmla="*/ 20 h 26"/>
                  <a:gd name="T16" fmla="*/ 1 w 15"/>
                  <a:gd name="T17" fmla="*/ 18 h 26"/>
                  <a:gd name="T18" fmla="*/ 1 w 15"/>
                  <a:gd name="T19" fmla="*/ 16 h 26"/>
                  <a:gd name="T20" fmla="*/ 1 w 15"/>
                  <a:gd name="T21" fmla="*/ 15 h 26"/>
                  <a:gd name="T22" fmla="*/ 0 w 15"/>
                  <a:gd name="T23" fmla="*/ 13 h 26"/>
                  <a:gd name="T24" fmla="*/ 1 w 15"/>
                  <a:gd name="T25" fmla="*/ 11 h 26"/>
                  <a:gd name="T26" fmla="*/ 1 w 15"/>
                  <a:gd name="T27" fmla="*/ 9 h 26"/>
                  <a:gd name="T28" fmla="*/ 1 w 15"/>
                  <a:gd name="T29" fmla="*/ 8 h 26"/>
                  <a:gd name="T30" fmla="*/ 2 w 15"/>
                  <a:gd name="T31" fmla="*/ 6 h 26"/>
                  <a:gd name="T32" fmla="*/ 2 w 15"/>
                  <a:gd name="T33" fmla="*/ 5 h 26"/>
                  <a:gd name="T34" fmla="*/ 2 w 15"/>
                  <a:gd name="T35" fmla="*/ 4 h 26"/>
                  <a:gd name="T36" fmla="*/ 3 w 15"/>
                  <a:gd name="T37" fmla="*/ 3 h 26"/>
                  <a:gd name="T38" fmla="*/ 3 w 15"/>
                  <a:gd name="T39" fmla="*/ 2 h 26"/>
                  <a:gd name="T40" fmla="*/ 4 w 15"/>
                  <a:gd name="T41" fmla="*/ 2 h 26"/>
                  <a:gd name="T42" fmla="*/ 6 w 15"/>
                  <a:gd name="T43" fmla="*/ 1 h 26"/>
                  <a:gd name="T44" fmla="*/ 7 w 15"/>
                  <a:gd name="T45" fmla="*/ 1 h 26"/>
                  <a:gd name="T46" fmla="*/ 7 w 15"/>
                  <a:gd name="T47" fmla="*/ 0 h 26"/>
                  <a:gd name="T48" fmla="*/ 8 w 15"/>
                  <a:gd name="T49" fmla="*/ 1 h 26"/>
                  <a:gd name="T50" fmla="*/ 9 w 15"/>
                  <a:gd name="T51" fmla="*/ 1 h 26"/>
                  <a:gd name="T52" fmla="*/ 11 w 15"/>
                  <a:gd name="T53" fmla="*/ 2 h 26"/>
                  <a:gd name="T54" fmla="*/ 12 w 15"/>
                  <a:gd name="T55" fmla="*/ 3 h 26"/>
                  <a:gd name="T56" fmla="*/ 12 w 15"/>
                  <a:gd name="T57" fmla="*/ 4 h 26"/>
                  <a:gd name="T58" fmla="*/ 13 w 15"/>
                  <a:gd name="T59" fmla="*/ 5 h 26"/>
                  <a:gd name="T60" fmla="*/ 13 w 15"/>
                  <a:gd name="T61" fmla="*/ 6 h 26"/>
                  <a:gd name="T62" fmla="*/ 14 w 15"/>
                  <a:gd name="T63" fmla="*/ 8 h 26"/>
                  <a:gd name="T64" fmla="*/ 14 w 15"/>
                  <a:gd name="T65" fmla="*/ 9 h 26"/>
                  <a:gd name="T66" fmla="*/ 14 w 15"/>
                  <a:gd name="T67" fmla="*/ 11 h 26"/>
                  <a:gd name="T68" fmla="*/ 14 w 15"/>
                  <a:gd name="T69" fmla="*/ 13 h 26"/>
                  <a:gd name="T70" fmla="*/ 14 w 15"/>
                  <a:gd name="T71" fmla="*/ 15 h 26"/>
                  <a:gd name="T72" fmla="*/ 14 w 15"/>
                  <a:gd name="T73" fmla="*/ 16 h 26"/>
                  <a:gd name="T74" fmla="*/ 14 w 15"/>
                  <a:gd name="T75" fmla="*/ 18 h 26"/>
                  <a:gd name="T76" fmla="*/ 13 w 15"/>
                  <a:gd name="T77" fmla="*/ 20 h 26"/>
                  <a:gd name="T78" fmla="*/ 13 w 15"/>
                  <a:gd name="T79" fmla="*/ 21 h 26"/>
                  <a:gd name="T80" fmla="*/ 12 w 15"/>
                  <a:gd name="T81" fmla="*/ 22 h 26"/>
                  <a:gd name="T82" fmla="*/ 12 w 15"/>
                  <a:gd name="T83" fmla="*/ 23 h 26"/>
                  <a:gd name="T84" fmla="*/ 11 w 15"/>
                  <a:gd name="T85" fmla="*/ 24 h 26"/>
                  <a:gd name="T86" fmla="*/ 9 w 15"/>
                  <a:gd name="T87" fmla="*/ 25 h 26"/>
                  <a:gd name="T88" fmla="*/ 8 w 15"/>
                  <a:gd name="T89" fmla="*/ 25 h 26"/>
                  <a:gd name="T90" fmla="*/ 7 w 15"/>
                  <a:gd name="T91"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 h="26">
                    <a:moveTo>
                      <a:pt x="7" y="25"/>
                    </a:moveTo>
                    <a:lnTo>
                      <a:pt x="6" y="25"/>
                    </a:lnTo>
                    <a:lnTo>
                      <a:pt x="4" y="24"/>
                    </a:lnTo>
                    <a:lnTo>
                      <a:pt x="3" y="24"/>
                    </a:lnTo>
                    <a:lnTo>
                      <a:pt x="3" y="23"/>
                    </a:lnTo>
                    <a:lnTo>
                      <a:pt x="2" y="22"/>
                    </a:lnTo>
                    <a:lnTo>
                      <a:pt x="2" y="21"/>
                    </a:lnTo>
                    <a:lnTo>
                      <a:pt x="2" y="20"/>
                    </a:lnTo>
                    <a:lnTo>
                      <a:pt x="1" y="18"/>
                    </a:lnTo>
                    <a:lnTo>
                      <a:pt x="1" y="16"/>
                    </a:lnTo>
                    <a:lnTo>
                      <a:pt x="1" y="15"/>
                    </a:lnTo>
                    <a:lnTo>
                      <a:pt x="0" y="13"/>
                    </a:lnTo>
                    <a:lnTo>
                      <a:pt x="1" y="11"/>
                    </a:lnTo>
                    <a:lnTo>
                      <a:pt x="1" y="9"/>
                    </a:lnTo>
                    <a:lnTo>
                      <a:pt x="1" y="8"/>
                    </a:lnTo>
                    <a:lnTo>
                      <a:pt x="2" y="6"/>
                    </a:lnTo>
                    <a:lnTo>
                      <a:pt x="2" y="5"/>
                    </a:lnTo>
                    <a:lnTo>
                      <a:pt x="2" y="4"/>
                    </a:lnTo>
                    <a:lnTo>
                      <a:pt x="3" y="3"/>
                    </a:lnTo>
                    <a:lnTo>
                      <a:pt x="3" y="2"/>
                    </a:lnTo>
                    <a:lnTo>
                      <a:pt x="4" y="2"/>
                    </a:lnTo>
                    <a:lnTo>
                      <a:pt x="6" y="1"/>
                    </a:lnTo>
                    <a:lnTo>
                      <a:pt x="7" y="1"/>
                    </a:lnTo>
                    <a:lnTo>
                      <a:pt x="7" y="0"/>
                    </a:lnTo>
                    <a:lnTo>
                      <a:pt x="8" y="1"/>
                    </a:lnTo>
                    <a:lnTo>
                      <a:pt x="9" y="1"/>
                    </a:lnTo>
                    <a:lnTo>
                      <a:pt x="11" y="2"/>
                    </a:lnTo>
                    <a:lnTo>
                      <a:pt x="12" y="3"/>
                    </a:lnTo>
                    <a:lnTo>
                      <a:pt x="12" y="4"/>
                    </a:lnTo>
                    <a:lnTo>
                      <a:pt x="13" y="5"/>
                    </a:lnTo>
                    <a:lnTo>
                      <a:pt x="13" y="6"/>
                    </a:lnTo>
                    <a:lnTo>
                      <a:pt x="14" y="8"/>
                    </a:lnTo>
                    <a:lnTo>
                      <a:pt x="14" y="9"/>
                    </a:lnTo>
                    <a:lnTo>
                      <a:pt x="14" y="11"/>
                    </a:lnTo>
                    <a:lnTo>
                      <a:pt x="14" y="13"/>
                    </a:lnTo>
                    <a:lnTo>
                      <a:pt x="14" y="15"/>
                    </a:lnTo>
                    <a:lnTo>
                      <a:pt x="14" y="16"/>
                    </a:lnTo>
                    <a:lnTo>
                      <a:pt x="14" y="18"/>
                    </a:lnTo>
                    <a:lnTo>
                      <a:pt x="13" y="20"/>
                    </a:lnTo>
                    <a:lnTo>
                      <a:pt x="13" y="21"/>
                    </a:lnTo>
                    <a:lnTo>
                      <a:pt x="12" y="22"/>
                    </a:lnTo>
                    <a:lnTo>
                      <a:pt x="12" y="23"/>
                    </a:lnTo>
                    <a:lnTo>
                      <a:pt x="11" y="24"/>
                    </a:lnTo>
                    <a:lnTo>
                      <a:pt x="9" y="25"/>
                    </a:lnTo>
                    <a:lnTo>
                      <a:pt x="8" y="25"/>
                    </a:lnTo>
                    <a:lnTo>
                      <a:pt x="7" y="25"/>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476" name="Freeform 77">
                <a:extLst>
                  <a:ext uri="{FF2B5EF4-FFF2-40B4-BE49-F238E27FC236}">
                    <a16:creationId xmlns:a16="http://schemas.microsoft.com/office/drawing/2014/main" id="{E934CAF6-B771-55C8-F113-550D1000AD5C}"/>
                  </a:ext>
                </a:extLst>
              </p:cNvPr>
              <p:cNvSpPr>
                <a:spLocks/>
              </p:cNvSpPr>
              <p:nvPr/>
            </p:nvSpPr>
            <p:spPr bwMode="auto">
              <a:xfrm>
                <a:off x="2661951" y="1736482"/>
                <a:ext cx="205404" cy="102034"/>
              </a:xfrm>
              <a:custGeom>
                <a:avLst/>
                <a:gdLst>
                  <a:gd name="T0" fmla="*/ 45 w 131"/>
                  <a:gd name="T1" fmla="*/ 20 h 64"/>
                  <a:gd name="T2" fmla="*/ 33 w 131"/>
                  <a:gd name="T3" fmla="*/ 33 h 64"/>
                  <a:gd name="T4" fmla="*/ 5 w 131"/>
                  <a:gd name="T5" fmla="*/ 33 h 64"/>
                  <a:gd name="T6" fmla="*/ 0 w 131"/>
                  <a:gd name="T7" fmla="*/ 55 h 64"/>
                  <a:gd name="T8" fmla="*/ 30 w 131"/>
                  <a:gd name="T9" fmla="*/ 63 h 64"/>
                  <a:gd name="T10" fmla="*/ 55 w 131"/>
                  <a:gd name="T11" fmla="*/ 59 h 64"/>
                  <a:gd name="T12" fmla="*/ 77 w 131"/>
                  <a:gd name="T13" fmla="*/ 51 h 64"/>
                  <a:gd name="T14" fmla="*/ 105 w 131"/>
                  <a:gd name="T15" fmla="*/ 46 h 64"/>
                  <a:gd name="T16" fmla="*/ 130 w 131"/>
                  <a:gd name="T17" fmla="*/ 54 h 64"/>
                  <a:gd name="T18" fmla="*/ 117 w 131"/>
                  <a:gd name="T19" fmla="*/ 26 h 64"/>
                  <a:gd name="T20" fmla="*/ 90 w 131"/>
                  <a:gd name="T21" fmla="*/ 18 h 64"/>
                  <a:gd name="T22" fmla="*/ 85 w 131"/>
                  <a:gd name="T23" fmla="*/ 0 h 64"/>
                  <a:gd name="T24" fmla="*/ 62 w 131"/>
                  <a:gd name="T25" fmla="*/ 3 h 64"/>
                  <a:gd name="T26" fmla="*/ 60 w 131"/>
                  <a:gd name="T27" fmla="*/ 18 h 64"/>
                  <a:gd name="T28" fmla="*/ 45 w 131"/>
                  <a:gd name="T29" fmla="*/ 2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1" h="64">
                    <a:moveTo>
                      <a:pt x="45" y="20"/>
                    </a:moveTo>
                    <a:lnTo>
                      <a:pt x="33" y="33"/>
                    </a:lnTo>
                    <a:lnTo>
                      <a:pt x="5" y="33"/>
                    </a:lnTo>
                    <a:lnTo>
                      <a:pt x="0" y="55"/>
                    </a:lnTo>
                    <a:lnTo>
                      <a:pt x="30" y="63"/>
                    </a:lnTo>
                    <a:lnTo>
                      <a:pt x="55" y="59"/>
                    </a:lnTo>
                    <a:lnTo>
                      <a:pt x="77" y="51"/>
                    </a:lnTo>
                    <a:lnTo>
                      <a:pt x="105" y="46"/>
                    </a:lnTo>
                    <a:lnTo>
                      <a:pt x="130" y="54"/>
                    </a:lnTo>
                    <a:lnTo>
                      <a:pt x="117" y="26"/>
                    </a:lnTo>
                    <a:lnTo>
                      <a:pt x="90" y="18"/>
                    </a:lnTo>
                    <a:lnTo>
                      <a:pt x="85" y="0"/>
                    </a:lnTo>
                    <a:lnTo>
                      <a:pt x="62" y="3"/>
                    </a:lnTo>
                    <a:lnTo>
                      <a:pt x="60" y="18"/>
                    </a:lnTo>
                    <a:lnTo>
                      <a:pt x="45" y="20"/>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477" name="Freeform 78">
                <a:extLst>
                  <a:ext uri="{FF2B5EF4-FFF2-40B4-BE49-F238E27FC236}">
                    <a16:creationId xmlns:a16="http://schemas.microsoft.com/office/drawing/2014/main" id="{5766C955-CC01-183F-BAA1-805C76434D3D}"/>
                  </a:ext>
                </a:extLst>
              </p:cNvPr>
              <p:cNvSpPr>
                <a:spLocks/>
              </p:cNvSpPr>
              <p:nvPr/>
            </p:nvSpPr>
            <p:spPr bwMode="auto">
              <a:xfrm>
                <a:off x="2729021" y="1683368"/>
                <a:ext cx="65673" cy="47522"/>
              </a:xfrm>
              <a:custGeom>
                <a:avLst/>
                <a:gdLst>
                  <a:gd name="T0" fmla="*/ 26 w 41"/>
                  <a:gd name="T1" fmla="*/ 2 h 31"/>
                  <a:gd name="T2" fmla="*/ 8 w 41"/>
                  <a:gd name="T3" fmla="*/ 2 h 31"/>
                  <a:gd name="T4" fmla="*/ 0 w 41"/>
                  <a:gd name="T5" fmla="*/ 17 h 31"/>
                  <a:gd name="T6" fmla="*/ 0 w 41"/>
                  <a:gd name="T7" fmla="*/ 30 h 31"/>
                  <a:gd name="T8" fmla="*/ 18 w 41"/>
                  <a:gd name="T9" fmla="*/ 20 h 31"/>
                  <a:gd name="T10" fmla="*/ 38 w 41"/>
                  <a:gd name="T11" fmla="*/ 15 h 31"/>
                  <a:gd name="T12" fmla="*/ 40 w 41"/>
                  <a:gd name="T13" fmla="*/ 0 h 31"/>
                  <a:gd name="T14" fmla="*/ 26 w 41"/>
                  <a:gd name="T15" fmla="*/ 2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1">
                    <a:moveTo>
                      <a:pt x="26" y="2"/>
                    </a:moveTo>
                    <a:lnTo>
                      <a:pt x="8" y="2"/>
                    </a:lnTo>
                    <a:lnTo>
                      <a:pt x="0" y="17"/>
                    </a:lnTo>
                    <a:lnTo>
                      <a:pt x="0" y="30"/>
                    </a:lnTo>
                    <a:lnTo>
                      <a:pt x="18" y="20"/>
                    </a:lnTo>
                    <a:lnTo>
                      <a:pt x="38" y="15"/>
                    </a:lnTo>
                    <a:lnTo>
                      <a:pt x="40" y="0"/>
                    </a:lnTo>
                    <a:lnTo>
                      <a:pt x="26" y="2"/>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478" name="Freeform 79">
                <a:extLst>
                  <a:ext uri="{FF2B5EF4-FFF2-40B4-BE49-F238E27FC236}">
                    <a16:creationId xmlns:a16="http://schemas.microsoft.com/office/drawing/2014/main" id="{58139ED4-8BB1-652C-77BB-14C46C7A9A29}"/>
                  </a:ext>
                </a:extLst>
              </p:cNvPr>
              <p:cNvSpPr>
                <a:spLocks/>
              </p:cNvSpPr>
              <p:nvPr/>
            </p:nvSpPr>
            <p:spPr bwMode="auto">
              <a:xfrm>
                <a:off x="2727624" y="1627458"/>
                <a:ext cx="78250" cy="41932"/>
              </a:xfrm>
              <a:custGeom>
                <a:avLst/>
                <a:gdLst>
                  <a:gd name="T0" fmla="*/ 13 w 51"/>
                  <a:gd name="T1" fmla="*/ 7 h 27"/>
                  <a:gd name="T2" fmla="*/ 25 w 51"/>
                  <a:gd name="T3" fmla="*/ 0 h 27"/>
                  <a:gd name="T4" fmla="*/ 42 w 51"/>
                  <a:gd name="T5" fmla="*/ 2 h 27"/>
                  <a:gd name="T6" fmla="*/ 50 w 51"/>
                  <a:gd name="T7" fmla="*/ 15 h 27"/>
                  <a:gd name="T8" fmla="*/ 28 w 51"/>
                  <a:gd name="T9" fmla="*/ 23 h 27"/>
                  <a:gd name="T10" fmla="*/ 0 w 51"/>
                  <a:gd name="T11" fmla="*/ 26 h 27"/>
                  <a:gd name="T12" fmla="*/ 13 w 51"/>
                  <a:gd name="T13" fmla="*/ 7 h 27"/>
                </a:gdLst>
                <a:ahLst/>
                <a:cxnLst>
                  <a:cxn ang="0">
                    <a:pos x="T0" y="T1"/>
                  </a:cxn>
                  <a:cxn ang="0">
                    <a:pos x="T2" y="T3"/>
                  </a:cxn>
                  <a:cxn ang="0">
                    <a:pos x="T4" y="T5"/>
                  </a:cxn>
                  <a:cxn ang="0">
                    <a:pos x="T6" y="T7"/>
                  </a:cxn>
                  <a:cxn ang="0">
                    <a:pos x="T8" y="T9"/>
                  </a:cxn>
                  <a:cxn ang="0">
                    <a:pos x="T10" y="T11"/>
                  </a:cxn>
                  <a:cxn ang="0">
                    <a:pos x="T12" y="T13"/>
                  </a:cxn>
                </a:cxnLst>
                <a:rect l="0" t="0" r="r" b="b"/>
                <a:pathLst>
                  <a:path w="51" h="27">
                    <a:moveTo>
                      <a:pt x="13" y="7"/>
                    </a:moveTo>
                    <a:lnTo>
                      <a:pt x="25" y="0"/>
                    </a:lnTo>
                    <a:lnTo>
                      <a:pt x="42" y="2"/>
                    </a:lnTo>
                    <a:lnTo>
                      <a:pt x="50" y="15"/>
                    </a:lnTo>
                    <a:lnTo>
                      <a:pt x="28" y="23"/>
                    </a:lnTo>
                    <a:lnTo>
                      <a:pt x="0" y="26"/>
                    </a:lnTo>
                    <a:lnTo>
                      <a:pt x="13" y="7"/>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479" name="Freeform 80">
                <a:extLst>
                  <a:ext uri="{FF2B5EF4-FFF2-40B4-BE49-F238E27FC236}">
                    <a16:creationId xmlns:a16="http://schemas.microsoft.com/office/drawing/2014/main" id="{8EED1466-651A-389F-BDBF-FE6BA28DB354}"/>
                  </a:ext>
                </a:extLst>
              </p:cNvPr>
              <p:cNvSpPr>
                <a:spLocks/>
              </p:cNvSpPr>
              <p:nvPr/>
            </p:nvSpPr>
            <p:spPr bwMode="auto">
              <a:xfrm>
                <a:off x="2877135" y="1627458"/>
                <a:ext cx="108990" cy="71284"/>
              </a:xfrm>
              <a:custGeom>
                <a:avLst/>
                <a:gdLst>
                  <a:gd name="T0" fmla="*/ 13 w 70"/>
                  <a:gd name="T1" fmla="*/ 0 h 45"/>
                  <a:gd name="T2" fmla="*/ 31 w 70"/>
                  <a:gd name="T3" fmla="*/ 2 h 45"/>
                  <a:gd name="T4" fmla="*/ 48 w 70"/>
                  <a:gd name="T5" fmla="*/ 7 h 45"/>
                  <a:gd name="T6" fmla="*/ 64 w 70"/>
                  <a:gd name="T7" fmla="*/ 25 h 45"/>
                  <a:gd name="T8" fmla="*/ 69 w 70"/>
                  <a:gd name="T9" fmla="*/ 40 h 45"/>
                  <a:gd name="T10" fmla="*/ 39 w 70"/>
                  <a:gd name="T11" fmla="*/ 44 h 45"/>
                  <a:gd name="T12" fmla="*/ 31 w 70"/>
                  <a:gd name="T13" fmla="*/ 29 h 45"/>
                  <a:gd name="T14" fmla="*/ 13 w 70"/>
                  <a:gd name="T15" fmla="*/ 27 h 45"/>
                  <a:gd name="T16" fmla="*/ 0 w 70"/>
                  <a:gd name="T17" fmla="*/ 9 h 45"/>
                  <a:gd name="T18" fmla="*/ 13 w 70"/>
                  <a:gd name="T1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45">
                    <a:moveTo>
                      <a:pt x="13" y="0"/>
                    </a:moveTo>
                    <a:lnTo>
                      <a:pt x="31" y="2"/>
                    </a:lnTo>
                    <a:lnTo>
                      <a:pt x="48" y="7"/>
                    </a:lnTo>
                    <a:lnTo>
                      <a:pt x="64" y="25"/>
                    </a:lnTo>
                    <a:lnTo>
                      <a:pt x="69" y="40"/>
                    </a:lnTo>
                    <a:lnTo>
                      <a:pt x="39" y="44"/>
                    </a:lnTo>
                    <a:lnTo>
                      <a:pt x="31" y="29"/>
                    </a:lnTo>
                    <a:lnTo>
                      <a:pt x="13" y="27"/>
                    </a:lnTo>
                    <a:lnTo>
                      <a:pt x="0" y="9"/>
                    </a:lnTo>
                    <a:lnTo>
                      <a:pt x="13" y="0"/>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480" name="Freeform 81">
                <a:extLst>
                  <a:ext uri="{FF2B5EF4-FFF2-40B4-BE49-F238E27FC236}">
                    <a16:creationId xmlns:a16="http://schemas.microsoft.com/office/drawing/2014/main" id="{EEEAF8D4-4A3B-7607-1E48-3D92E322BEB1}"/>
                  </a:ext>
                </a:extLst>
              </p:cNvPr>
              <p:cNvSpPr>
                <a:spLocks/>
              </p:cNvSpPr>
              <p:nvPr/>
            </p:nvSpPr>
            <p:spPr bwMode="auto">
              <a:xfrm>
                <a:off x="2877135" y="1845503"/>
                <a:ext cx="104799" cy="109023"/>
              </a:xfrm>
              <a:custGeom>
                <a:avLst/>
                <a:gdLst>
                  <a:gd name="T0" fmla="*/ 23 w 67"/>
                  <a:gd name="T1" fmla="*/ 5 h 70"/>
                  <a:gd name="T2" fmla="*/ 28 w 67"/>
                  <a:gd name="T3" fmla="*/ 21 h 70"/>
                  <a:gd name="T4" fmla="*/ 25 w 67"/>
                  <a:gd name="T5" fmla="*/ 38 h 70"/>
                  <a:gd name="T6" fmla="*/ 3 w 67"/>
                  <a:gd name="T7" fmla="*/ 26 h 70"/>
                  <a:gd name="T8" fmla="*/ 0 w 67"/>
                  <a:gd name="T9" fmla="*/ 41 h 70"/>
                  <a:gd name="T10" fmla="*/ 21 w 67"/>
                  <a:gd name="T11" fmla="*/ 53 h 70"/>
                  <a:gd name="T12" fmla="*/ 31 w 67"/>
                  <a:gd name="T13" fmla="*/ 66 h 70"/>
                  <a:gd name="T14" fmla="*/ 53 w 67"/>
                  <a:gd name="T15" fmla="*/ 69 h 70"/>
                  <a:gd name="T16" fmla="*/ 66 w 67"/>
                  <a:gd name="T17" fmla="*/ 46 h 70"/>
                  <a:gd name="T18" fmla="*/ 58 w 67"/>
                  <a:gd name="T19" fmla="*/ 28 h 70"/>
                  <a:gd name="T20" fmla="*/ 61 w 67"/>
                  <a:gd name="T21" fmla="*/ 0 h 70"/>
                  <a:gd name="T22" fmla="*/ 23 w 67"/>
                  <a:gd name="T23" fmla="*/ 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70">
                    <a:moveTo>
                      <a:pt x="23" y="5"/>
                    </a:moveTo>
                    <a:lnTo>
                      <a:pt x="28" y="21"/>
                    </a:lnTo>
                    <a:lnTo>
                      <a:pt x="25" y="38"/>
                    </a:lnTo>
                    <a:lnTo>
                      <a:pt x="3" y="26"/>
                    </a:lnTo>
                    <a:lnTo>
                      <a:pt x="0" y="41"/>
                    </a:lnTo>
                    <a:lnTo>
                      <a:pt x="21" y="53"/>
                    </a:lnTo>
                    <a:lnTo>
                      <a:pt x="31" y="66"/>
                    </a:lnTo>
                    <a:lnTo>
                      <a:pt x="53" y="69"/>
                    </a:lnTo>
                    <a:lnTo>
                      <a:pt x="66" y="46"/>
                    </a:lnTo>
                    <a:lnTo>
                      <a:pt x="58" y="28"/>
                    </a:lnTo>
                    <a:lnTo>
                      <a:pt x="61" y="0"/>
                    </a:lnTo>
                    <a:lnTo>
                      <a:pt x="23" y="5"/>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481" name="Freeform 82">
                <a:extLst>
                  <a:ext uri="{FF2B5EF4-FFF2-40B4-BE49-F238E27FC236}">
                    <a16:creationId xmlns:a16="http://schemas.microsoft.com/office/drawing/2014/main" id="{23024958-D228-1FFD-063B-6D00EA5AE51A}"/>
                  </a:ext>
                </a:extLst>
              </p:cNvPr>
              <p:cNvSpPr>
                <a:spLocks/>
              </p:cNvSpPr>
              <p:nvPr/>
            </p:nvSpPr>
            <p:spPr bwMode="auto">
              <a:xfrm>
                <a:off x="2902287" y="2004845"/>
                <a:ext cx="64276" cy="50318"/>
              </a:xfrm>
              <a:custGeom>
                <a:avLst/>
                <a:gdLst>
                  <a:gd name="T0" fmla="*/ 20 w 42"/>
                  <a:gd name="T1" fmla="*/ 0 h 32"/>
                  <a:gd name="T2" fmla="*/ 5 w 42"/>
                  <a:gd name="T3" fmla="*/ 10 h 32"/>
                  <a:gd name="T4" fmla="*/ 0 w 42"/>
                  <a:gd name="T5" fmla="*/ 28 h 32"/>
                  <a:gd name="T6" fmla="*/ 25 w 42"/>
                  <a:gd name="T7" fmla="*/ 31 h 32"/>
                  <a:gd name="T8" fmla="*/ 41 w 42"/>
                  <a:gd name="T9" fmla="*/ 21 h 32"/>
                  <a:gd name="T10" fmla="*/ 20 w 42"/>
                  <a:gd name="T11" fmla="*/ 0 h 32"/>
                </a:gdLst>
                <a:ahLst/>
                <a:cxnLst>
                  <a:cxn ang="0">
                    <a:pos x="T0" y="T1"/>
                  </a:cxn>
                  <a:cxn ang="0">
                    <a:pos x="T2" y="T3"/>
                  </a:cxn>
                  <a:cxn ang="0">
                    <a:pos x="T4" y="T5"/>
                  </a:cxn>
                  <a:cxn ang="0">
                    <a:pos x="T6" y="T7"/>
                  </a:cxn>
                  <a:cxn ang="0">
                    <a:pos x="T8" y="T9"/>
                  </a:cxn>
                  <a:cxn ang="0">
                    <a:pos x="T10" y="T11"/>
                  </a:cxn>
                </a:cxnLst>
                <a:rect l="0" t="0" r="r" b="b"/>
                <a:pathLst>
                  <a:path w="42" h="32">
                    <a:moveTo>
                      <a:pt x="20" y="0"/>
                    </a:moveTo>
                    <a:lnTo>
                      <a:pt x="5" y="10"/>
                    </a:lnTo>
                    <a:lnTo>
                      <a:pt x="0" y="28"/>
                    </a:lnTo>
                    <a:lnTo>
                      <a:pt x="25" y="31"/>
                    </a:lnTo>
                    <a:lnTo>
                      <a:pt x="41" y="21"/>
                    </a:lnTo>
                    <a:lnTo>
                      <a:pt x="20" y="0"/>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482" name="Freeform 83">
                <a:extLst>
                  <a:ext uri="{FF2B5EF4-FFF2-40B4-BE49-F238E27FC236}">
                    <a16:creationId xmlns:a16="http://schemas.microsoft.com/office/drawing/2014/main" id="{9F106230-839E-D9CD-1693-60C9E4C38A57}"/>
                  </a:ext>
                </a:extLst>
              </p:cNvPr>
              <p:cNvSpPr>
                <a:spLocks/>
              </p:cNvSpPr>
              <p:nvPr/>
            </p:nvSpPr>
            <p:spPr bwMode="auto">
              <a:xfrm>
                <a:off x="3012674" y="1841311"/>
                <a:ext cx="106195" cy="86659"/>
              </a:xfrm>
              <a:custGeom>
                <a:avLst/>
                <a:gdLst>
                  <a:gd name="T0" fmla="*/ 0 w 67"/>
                  <a:gd name="T1" fmla="*/ 54 h 55"/>
                  <a:gd name="T2" fmla="*/ 2 w 67"/>
                  <a:gd name="T3" fmla="*/ 31 h 55"/>
                  <a:gd name="T4" fmla="*/ 9 w 67"/>
                  <a:gd name="T5" fmla="*/ 10 h 55"/>
                  <a:gd name="T6" fmla="*/ 32 w 67"/>
                  <a:gd name="T7" fmla="*/ 0 h 55"/>
                  <a:gd name="T8" fmla="*/ 52 w 67"/>
                  <a:gd name="T9" fmla="*/ 3 h 55"/>
                  <a:gd name="T10" fmla="*/ 66 w 67"/>
                  <a:gd name="T11" fmla="*/ 8 h 55"/>
                  <a:gd name="T12" fmla="*/ 53 w 67"/>
                  <a:gd name="T13" fmla="*/ 23 h 55"/>
                  <a:gd name="T14" fmla="*/ 33 w 67"/>
                  <a:gd name="T15" fmla="*/ 39 h 55"/>
                  <a:gd name="T16" fmla="*/ 19 w 67"/>
                  <a:gd name="T17" fmla="*/ 39 h 55"/>
                  <a:gd name="T18" fmla="*/ 14 w 67"/>
                  <a:gd name="T19" fmla="*/ 54 h 55"/>
                  <a:gd name="T20" fmla="*/ 0 w 67"/>
                  <a:gd name="T21" fmla="*/ 5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55">
                    <a:moveTo>
                      <a:pt x="0" y="54"/>
                    </a:moveTo>
                    <a:lnTo>
                      <a:pt x="2" y="31"/>
                    </a:lnTo>
                    <a:lnTo>
                      <a:pt x="9" y="10"/>
                    </a:lnTo>
                    <a:lnTo>
                      <a:pt x="32" y="0"/>
                    </a:lnTo>
                    <a:lnTo>
                      <a:pt x="52" y="3"/>
                    </a:lnTo>
                    <a:lnTo>
                      <a:pt x="66" y="8"/>
                    </a:lnTo>
                    <a:lnTo>
                      <a:pt x="53" y="23"/>
                    </a:lnTo>
                    <a:lnTo>
                      <a:pt x="33" y="39"/>
                    </a:lnTo>
                    <a:lnTo>
                      <a:pt x="19" y="39"/>
                    </a:lnTo>
                    <a:lnTo>
                      <a:pt x="14" y="54"/>
                    </a:lnTo>
                    <a:lnTo>
                      <a:pt x="0" y="54"/>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483" name="Freeform 84">
                <a:extLst>
                  <a:ext uri="{FF2B5EF4-FFF2-40B4-BE49-F238E27FC236}">
                    <a16:creationId xmlns:a16="http://schemas.microsoft.com/office/drawing/2014/main" id="{E00EB7C0-25F5-B1B5-7F96-696DBD6882E2}"/>
                  </a:ext>
                </a:extLst>
              </p:cNvPr>
              <p:cNvSpPr>
                <a:spLocks/>
              </p:cNvSpPr>
              <p:nvPr/>
            </p:nvSpPr>
            <p:spPr bwMode="auto">
              <a:xfrm>
                <a:off x="3125857" y="1851095"/>
                <a:ext cx="507223" cy="454260"/>
              </a:xfrm>
              <a:custGeom>
                <a:avLst/>
                <a:gdLst>
                  <a:gd name="T0" fmla="*/ 47 w 323"/>
                  <a:gd name="T1" fmla="*/ 0 h 289"/>
                  <a:gd name="T2" fmla="*/ 17 w 323"/>
                  <a:gd name="T3" fmla="*/ 9 h 289"/>
                  <a:gd name="T4" fmla="*/ 0 w 323"/>
                  <a:gd name="T5" fmla="*/ 40 h 289"/>
                  <a:gd name="T6" fmla="*/ 3 w 323"/>
                  <a:gd name="T7" fmla="*/ 67 h 289"/>
                  <a:gd name="T8" fmla="*/ 25 w 323"/>
                  <a:gd name="T9" fmla="*/ 76 h 289"/>
                  <a:gd name="T10" fmla="*/ 15 w 323"/>
                  <a:gd name="T11" fmla="*/ 87 h 289"/>
                  <a:gd name="T12" fmla="*/ 20 w 323"/>
                  <a:gd name="T13" fmla="*/ 96 h 289"/>
                  <a:gd name="T14" fmla="*/ 68 w 323"/>
                  <a:gd name="T15" fmla="*/ 89 h 289"/>
                  <a:gd name="T16" fmla="*/ 97 w 323"/>
                  <a:gd name="T17" fmla="*/ 104 h 289"/>
                  <a:gd name="T18" fmla="*/ 120 w 323"/>
                  <a:gd name="T19" fmla="*/ 89 h 289"/>
                  <a:gd name="T20" fmla="*/ 147 w 323"/>
                  <a:gd name="T21" fmla="*/ 114 h 289"/>
                  <a:gd name="T22" fmla="*/ 145 w 323"/>
                  <a:gd name="T23" fmla="*/ 131 h 289"/>
                  <a:gd name="T24" fmla="*/ 170 w 323"/>
                  <a:gd name="T25" fmla="*/ 131 h 289"/>
                  <a:gd name="T26" fmla="*/ 185 w 323"/>
                  <a:gd name="T27" fmla="*/ 144 h 289"/>
                  <a:gd name="T28" fmla="*/ 187 w 323"/>
                  <a:gd name="T29" fmla="*/ 171 h 289"/>
                  <a:gd name="T30" fmla="*/ 160 w 323"/>
                  <a:gd name="T31" fmla="*/ 201 h 289"/>
                  <a:gd name="T32" fmla="*/ 115 w 323"/>
                  <a:gd name="T33" fmla="*/ 211 h 289"/>
                  <a:gd name="T34" fmla="*/ 105 w 323"/>
                  <a:gd name="T35" fmla="*/ 226 h 289"/>
                  <a:gd name="T36" fmla="*/ 123 w 323"/>
                  <a:gd name="T37" fmla="*/ 243 h 289"/>
                  <a:gd name="T38" fmla="*/ 160 w 323"/>
                  <a:gd name="T39" fmla="*/ 233 h 289"/>
                  <a:gd name="T40" fmla="*/ 197 w 323"/>
                  <a:gd name="T41" fmla="*/ 263 h 289"/>
                  <a:gd name="T42" fmla="*/ 247 w 323"/>
                  <a:gd name="T43" fmla="*/ 288 h 289"/>
                  <a:gd name="T44" fmla="*/ 230 w 323"/>
                  <a:gd name="T45" fmla="*/ 248 h 289"/>
                  <a:gd name="T46" fmla="*/ 264 w 323"/>
                  <a:gd name="T47" fmla="*/ 270 h 289"/>
                  <a:gd name="T48" fmla="*/ 275 w 323"/>
                  <a:gd name="T49" fmla="*/ 246 h 289"/>
                  <a:gd name="T50" fmla="*/ 267 w 323"/>
                  <a:gd name="T51" fmla="*/ 215 h 289"/>
                  <a:gd name="T52" fmla="*/ 242 w 323"/>
                  <a:gd name="T53" fmla="*/ 211 h 289"/>
                  <a:gd name="T54" fmla="*/ 245 w 323"/>
                  <a:gd name="T55" fmla="*/ 182 h 289"/>
                  <a:gd name="T56" fmla="*/ 258 w 323"/>
                  <a:gd name="T57" fmla="*/ 178 h 289"/>
                  <a:gd name="T58" fmla="*/ 297 w 323"/>
                  <a:gd name="T59" fmla="*/ 218 h 289"/>
                  <a:gd name="T60" fmla="*/ 312 w 323"/>
                  <a:gd name="T61" fmla="*/ 193 h 289"/>
                  <a:gd name="T62" fmla="*/ 322 w 323"/>
                  <a:gd name="T63" fmla="*/ 176 h 289"/>
                  <a:gd name="T64" fmla="*/ 297 w 323"/>
                  <a:gd name="T65" fmla="*/ 159 h 289"/>
                  <a:gd name="T66" fmla="*/ 270 w 323"/>
                  <a:gd name="T67" fmla="*/ 151 h 289"/>
                  <a:gd name="T68" fmla="*/ 250 w 323"/>
                  <a:gd name="T69" fmla="*/ 123 h 289"/>
                  <a:gd name="T70" fmla="*/ 264 w 323"/>
                  <a:gd name="T71" fmla="*/ 106 h 289"/>
                  <a:gd name="T72" fmla="*/ 253 w 323"/>
                  <a:gd name="T73" fmla="*/ 84 h 289"/>
                  <a:gd name="T74" fmla="*/ 212 w 323"/>
                  <a:gd name="T75" fmla="*/ 67 h 289"/>
                  <a:gd name="T76" fmla="*/ 187 w 323"/>
                  <a:gd name="T77" fmla="*/ 54 h 289"/>
                  <a:gd name="T78" fmla="*/ 168 w 323"/>
                  <a:gd name="T79" fmla="*/ 22 h 289"/>
                  <a:gd name="T80" fmla="*/ 117 w 323"/>
                  <a:gd name="T81" fmla="*/ 27 h 289"/>
                  <a:gd name="T82" fmla="*/ 103 w 323"/>
                  <a:gd name="T83" fmla="*/ 47 h 289"/>
                  <a:gd name="T84" fmla="*/ 109 w 323"/>
                  <a:gd name="T85" fmla="*/ 2 h 289"/>
                  <a:gd name="T86" fmla="*/ 75 w 323"/>
                  <a:gd name="T87" fmla="*/ 0 h 289"/>
                  <a:gd name="T88" fmla="*/ 58 w 323"/>
                  <a:gd name="T89" fmla="*/ 22 h 289"/>
                  <a:gd name="T90" fmla="*/ 55 w 323"/>
                  <a:gd name="T91" fmla="*/ 40 h 289"/>
                  <a:gd name="T92" fmla="*/ 37 w 323"/>
                  <a:gd name="T93" fmla="*/ 36 h 289"/>
                  <a:gd name="T94" fmla="*/ 47 w 323"/>
                  <a:gd name="T95"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3" h="289">
                    <a:moveTo>
                      <a:pt x="47" y="0"/>
                    </a:moveTo>
                    <a:lnTo>
                      <a:pt x="17" y="9"/>
                    </a:lnTo>
                    <a:lnTo>
                      <a:pt x="0" y="40"/>
                    </a:lnTo>
                    <a:lnTo>
                      <a:pt x="3" y="67"/>
                    </a:lnTo>
                    <a:lnTo>
                      <a:pt x="25" y="76"/>
                    </a:lnTo>
                    <a:lnTo>
                      <a:pt x="15" y="87"/>
                    </a:lnTo>
                    <a:lnTo>
                      <a:pt x="20" y="96"/>
                    </a:lnTo>
                    <a:lnTo>
                      <a:pt x="68" y="89"/>
                    </a:lnTo>
                    <a:lnTo>
                      <a:pt x="97" y="104"/>
                    </a:lnTo>
                    <a:lnTo>
                      <a:pt x="120" y="89"/>
                    </a:lnTo>
                    <a:lnTo>
                      <a:pt x="147" y="114"/>
                    </a:lnTo>
                    <a:lnTo>
                      <a:pt x="145" y="131"/>
                    </a:lnTo>
                    <a:lnTo>
                      <a:pt x="170" y="131"/>
                    </a:lnTo>
                    <a:lnTo>
                      <a:pt x="185" y="144"/>
                    </a:lnTo>
                    <a:lnTo>
                      <a:pt x="187" y="171"/>
                    </a:lnTo>
                    <a:lnTo>
                      <a:pt x="160" y="201"/>
                    </a:lnTo>
                    <a:lnTo>
                      <a:pt x="115" y="211"/>
                    </a:lnTo>
                    <a:lnTo>
                      <a:pt x="105" y="226"/>
                    </a:lnTo>
                    <a:lnTo>
                      <a:pt x="123" y="243"/>
                    </a:lnTo>
                    <a:lnTo>
                      <a:pt x="160" y="233"/>
                    </a:lnTo>
                    <a:lnTo>
                      <a:pt x="197" y="263"/>
                    </a:lnTo>
                    <a:lnTo>
                      <a:pt x="247" y="288"/>
                    </a:lnTo>
                    <a:lnTo>
                      <a:pt x="230" y="248"/>
                    </a:lnTo>
                    <a:lnTo>
                      <a:pt x="264" y="270"/>
                    </a:lnTo>
                    <a:lnTo>
                      <a:pt x="275" y="246"/>
                    </a:lnTo>
                    <a:lnTo>
                      <a:pt x="267" y="215"/>
                    </a:lnTo>
                    <a:lnTo>
                      <a:pt x="242" y="211"/>
                    </a:lnTo>
                    <a:lnTo>
                      <a:pt x="245" y="182"/>
                    </a:lnTo>
                    <a:lnTo>
                      <a:pt x="258" y="178"/>
                    </a:lnTo>
                    <a:lnTo>
                      <a:pt x="297" y="218"/>
                    </a:lnTo>
                    <a:lnTo>
                      <a:pt x="312" y="193"/>
                    </a:lnTo>
                    <a:lnTo>
                      <a:pt x="322" y="176"/>
                    </a:lnTo>
                    <a:lnTo>
                      <a:pt x="297" y="159"/>
                    </a:lnTo>
                    <a:lnTo>
                      <a:pt x="270" y="151"/>
                    </a:lnTo>
                    <a:lnTo>
                      <a:pt x="250" y="123"/>
                    </a:lnTo>
                    <a:lnTo>
                      <a:pt x="264" y="106"/>
                    </a:lnTo>
                    <a:lnTo>
                      <a:pt x="253" y="84"/>
                    </a:lnTo>
                    <a:lnTo>
                      <a:pt x="212" y="67"/>
                    </a:lnTo>
                    <a:lnTo>
                      <a:pt x="187" y="54"/>
                    </a:lnTo>
                    <a:lnTo>
                      <a:pt x="168" y="22"/>
                    </a:lnTo>
                    <a:lnTo>
                      <a:pt x="117" y="27"/>
                    </a:lnTo>
                    <a:lnTo>
                      <a:pt x="103" y="47"/>
                    </a:lnTo>
                    <a:lnTo>
                      <a:pt x="109" y="2"/>
                    </a:lnTo>
                    <a:lnTo>
                      <a:pt x="75" y="0"/>
                    </a:lnTo>
                    <a:lnTo>
                      <a:pt x="58" y="22"/>
                    </a:lnTo>
                    <a:lnTo>
                      <a:pt x="55" y="40"/>
                    </a:lnTo>
                    <a:lnTo>
                      <a:pt x="37" y="36"/>
                    </a:lnTo>
                    <a:lnTo>
                      <a:pt x="47" y="0"/>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484" name="Freeform 85">
                <a:extLst>
                  <a:ext uri="{FF2B5EF4-FFF2-40B4-BE49-F238E27FC236}">
                    <a16:creationId xmlns:a16="http://schemas.microsoft.com/office/drawing/2014/main" id="{EF9FDF80-A8E9-7DAA-1793-2D452E354E9A}"/>
                  </a:ext>
                </a:extLst>
              </p:cNvPr>
              <p:cNvSpPr>
                <a:spLocks/>
              </p:cNvSpPr>
              <p:nvPr/>
            </p:nvSpPr>
            <p:spPr bwMode="auto">
              <a:xfrm>
                <a:off x="3314493" y="2087310"/>
                <a:ext cx="41919" cy="47522"/>
              </a:xfrm>
              <a:custGeom>
                <a:avLst/>
                <a:gdLst>
                  <a:gd name="T0" fmla="*/ 3 w 27"/>
                  <a:gd name="T1" fmla="*/ 29 h 30"/>
                  <a:gd name="T2" fmla="*/ 2 w 27"/>
                  <a:gd name="T3" fmla="*/ 29 h 30"/>
                  <a:gd name="T4" fmla="*/ 1 w 27"/>
                  <a:gd name="T5" fmla="*/ 28 h 30"/>
                  <a:gd name="T6" fmla="*/ 0 w 27"/>
                  <a:gd name="T7" fmla="*/ 28 h 30"/>
                  <a:gd name="T8" fmla="*/ 0 w 27"/>
                  <a:gd name="T9" fmla="*/ 27 h 30"/>
                  <a:gd name="T10" fmla="*/ 1 w 27"/>
                  <a:gd name="T11" fmla="*/ 25 h 30"/>
                  <a:gd name="T12" fmla="*/ 2 w 27"/>
                  <a:gd name="T13" fmla="*/ 24 h 30"/>
                  <a:gd name="T14" fmla="*/ 2 w 27"/>
                  <a:gd name="T15" fmla="*/ 22 h 30"/>
                  <a:gd name="T16" fmla="*/ 3 w 27"/>
                  <a:gd name="T17" fmla="*/ 20 h 30"/>
                  <a:gd name="T18" fmla="*/ 3 w 27"/>
                  <a:gd name="T19" fmla="*/ 18 h 30"/>
                  <a:gd name="T20" fmla="*/ 3 w 27"/>
                  <a:gd name="T21" fmla="*/ 17 h 30"/>
                  <a:gd name="T22" fmla="*/ 3 w 27"/>
                  <a:gd name="T23" fmla="*/ 14 h 30"/>
                  <a:gd name="T24" fmla="*/ 3 w 27"/>
                  <a:gd name="T25" fmla="*/ 12 h 30"/>
                  <a:gd name="T26" fmla="*/ 4 w 27"/>
                  <a:gd name="T27" fmla="*/ 11 h 30"/>
                  <a:gd name="T28" fmla="*/ 4 w 27"/>
                  <a:gd name="T29" fmla="*/ 10 h 30"/>
                  <a:gd name="T30" fmla="*/ 5 w 27"/>
                  <a:gd name="T31" fmla="*/ 7 h 30"/>
                  <a:gd name="T32" fmla="*/ 6 w 27"/>
                  <a:gd name="T33" fmla="*/ 7 h 30"/>
                  <a:gd name="T34" fmla="*/ 7 w 27"/>
                  <a:gd name="T35" fmla="*/ 5 h 30"/>
                  <a:gd name="T36" fmla="*/ 7 w 27"/>
                  <a:gd name="T37" fmla="*/ 4 h 30"/>
                  <a:gd name="T38" fmla="*/ 9 w 27"/>
                  <a:gd name="T39" fmla="*/ 3 h 30"/>
                  <a:gd name="T40" fmla="*/ 10 w 27"/>
                  <a:gd name="T41" fmla="*/ 2 h 30"/>
                  <a:gd name="T42" fmla="*/ 11 w 27"/>
                  <a:gd name="T43" fmla="*/ 2 h 30"/>
                  <a:gd name="T44" fmla="*/ 12 w 27"/>
                  <a:gd name="T45" fmla="*/ 1 h 30"/>
                  <a:gd name="T46" fmla="*/ 14 w 27"/>
                  <a:gd name="T47" fmla="*/ 1 h 30"/>
                  <a:gd name="T48" fmla="*/ 15 w 27"/>
                  <a:gd name="T49" fmla="*/ 0 h 30"/>
                  <a:gd name="T50" fmla="*/ 16 w 27"/>
                  <a:gd name="T51" fmla="*/ 1 h 30"/>
                  <a:gd name="T52" fmla="*/ 18 w 27"/>
                  <a:gd name="T53" fmla="*/ 1 h 30"/>
                  <a:gd name="T54" fmla="*/ 19 w 27"/>
                  <a:gd name="T55" fmla="*/ 2 h 30"/>
                  <a:gd name="T56" fmla="*/ 21 w 27"/>
                  <a:gd name="T57" fmla="*/ 2 h 30"/>
                  <a:gd name="T58" fmla="*/ 23 w 27"/>
                  <a:gd name="T59" fmla="*/ 3 h 30"/>
                  <a:gd name="T60" fmla="*/ 23 w 27"/>
                  <a:gd name="T61" fmla="*/ 4 h 30"/>
                  <a:gd name="T62" fmla="*/ 23 w 27"/>
                  <a:gd name="T63" fmla="*/ 5 h 30"/>
                  <a:gd name="T64" fmla="*/ 24 w 27"/>
                  <a:gd name="T65" fmla="*/ 7 h 30"/>
                  <a:gd name="T66" fmla="*/ 25 w 27"/>
                  <a:gd name="T67" fmla="*/ 7 h 30"/>
                  <a:gd name="T68" fmla="*/ 26 w 27"/>
                  <a:gd name="T69" fmla="*/ 10 h 30"/>
                  <a:gd name="T70" fmla="*/ 26 w 27"/>
                  <a:gd name="T71" fmla="*/ 11 h 30"/>
                  <a:gd name="T72" fmla="*/ 26 w 27"/>
                  <a:gd name="T73" fmla="*/ 12 h 30"/>
                  <a:gd name="T74" fmla="*/ 26 w 27"/>
                  <a:gd name="T75" fmla="*/ 14 h 30"/>
                  <a:gd name="T76" fmla="*/ 25 w 27"/>
                  <a:gd name="T77" fmla="*/ 17 h 30"/>
                  <a:gd name="T78" fmla="*/ 23 w 27"/>
                  <a:gd name="T79" fmla="*/ 18 h 30"/>
                  <a:gd name="T80" fmla="*/ 22 w 27"/>
                  <a:gd name="T81" fmla="*/ 20 h 30"/>
                  <a:gd name="T82" fmla="*/ 19 w 27"/>
                  <a:gd name="T83" fmla="*/ 22 h 30"/>
                  <a:gd name="T84" fmla="*/ 16 w 27"/>
                  <a:gd name="T85" fmla="*/ 24 h 30"/>
                  <a:gd name="T86" fmla="*/ 15 w 27"/>
                  <a:gd name="T87" fmla="*/ 25 h 30"/>
                  <a:gd name="T88" fmla="*/ 11 w 27"/>
                  <a:gd name="T89" fmla="*/ 27 h 30"/>
                  <a:gd name="T90" fmla="*/ 9 w 27"/>
                  <a:gd name="T91" fmla="*/ 28 h 30"/>
                  <a:gd name="T92" fmla="*/ 7 w 27"/>
                  <a:gd name="T93" fmla="*/ 28 h 30"/>
                  <a:gd name="T94" fmla="*/ 4 w 27"/>
                  <a:gd name="T95" fmla="*/ 29 h 30"/>
                  <a:gd name="T96" fmla="*/ 3 w 27"/>
                  <a:gd name="T97"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 h="30">
                    <a:moveTo>
                      <a:pt x="3" y="29"/>
                    </a:moveTo>
                    <a:lnTo>
                      <a:pt x="2" y="29"/>
                    </a:lnTo>
                    <a:lnTo>
                      <a:pt x="1" y="28"/>
                    </a:lnTo>
                    <a:lnTo>
                      <a:pt x="0" y="28"/>
                    </a:lnTo>
                    <a:lnTo>
                      <a:pt x="0" y="27"/>
                    </a:lnTo>
                    <a:lnTo>
                      <a:pt x="1" y="25"/>
                    </a:lnTo>
                    <a:lnTo>
                      <a:pt x="2" y="24"/>
                    </a:lnTo>
                    <a:lnTo>
                      <a:pt x="2" y="22"/>
                    </a:lnTo>
                    <a:lnTo>
                      <a:pt x="3" y="20"/>
                    </a:lnTo>
                    <a:lnTo>
                      <a:pt x="3" y="18"/>
                    </a:lnTo>
                    <a:lnTo>
                      <a:pt x="3" y="17"/>
                    </a:lnTo>
                    <a:lnTo>
                      <a:pt x="3" y="14"/>
                    </a:lnTo>
                    <a:lnTo>
                      <a:pt x="3" y="12"/>
                    </a:lnTo>
                    <a:lnTo>
                      <a:pt x="4" y="11"/>
                    </a:lnTo>
                    <a:lnTo>
                      <a:pt x="4" y="10"/>
                    </a:lnTo>
                    <a:lnTo>
                      <a:pt x="5" y="7"/>
                    </a:lnTo>
                    <a:lnTo>
                      <a:pt x="6" y="7"/>
                    </a:lnTo>
                    <a:lnTo>
                      <a:pt x="7" y="5"/>
                    </a:lnTo>
                    <a:lnTo>
                      <a:pt x="7" y="4"/>
                    </a:lnTo>
                    <a:lnTo>
                      <a:pt x="9" y="3"/>
                    </a:lnTo>
                    <a:lnTo>
                      <a:pt x="10" y="2"/>
                    </a:lnTo>
                    <a:lnTo>
                      <a:pt x="11" y="2"/>
                    </a:lnTo>
                    <a:lnTo>
                      <a:pt x="12" y="1"/>
                    </a:lnTo>
                    <a:lnTo>
                      <a:pt x="14" y="1"/>
                    </a:lnTo>
                    <a:lnTo>
                      <a:pt x="15" y="0"/>
                    </a:lnTo>
                    <a:lnTo>
                      <a:pt x="16" y="1"/>
                    </a:lnTo>
                    <a:lnTo>
                      <a:pt x="18" y="1"/>
                    </a:lnTo>
                    <a:lnTo>
                      <a:pt x="19" y="2"/>
                    </a:lnTo>
                    <a:lnTo>
                      <a:pt x="21" y="2"/>
                    </a:lnTo>
                    <a:lnTo>
                      <a:pt x="23" y="3"/>
                    </a:lnTo>
                    <a:lnTo>
                      <a:pt x="23" y="4"/>
                    </a:lnTo>
                    <a:lnTo>
                      <a:pt x="23" y="5"/>
                    </a:lnTo>
                    <a:lnTo>
                      <a:pt x="24" y="7"/>
                    </a:lnTo>
                    <a:lnTo>
                      <a:pt x="25" y="7"/>
                    </a:lnTo>
                    <a:lnTo>
                      <a:pt x="26" y="10"/>
                    </a:lnTo>
                    <a:lnTo>
                      <a:pt x="26" y="11"/>
                    </a:lnTo>
                    <a:lnTo>
                      <a:pt x="26" y="12"/>
                    </a:lnTo>
                    <a:lnTo>
                      <a:pt x="26" y="14"/>
                    </a:lnTo>
                    <a:lnTo>
                      <a:pt x="25" y="17"/>
                    </a:lnTo>
                    <a:lnTo>
                      <a:pt x="23" y="18"/>
                    </a:lnTo>
                    <a:lnTo>
                      <a:pt x="22" y="20"/>
                    </a:lnTo>
                    <a:lnTo>
                      <a:pt x="19" y="22"/>
                    </a:lnTo>
                    <a:lnTo>
                      <a:pt x="16" y="24"/>
                    </a:lnTo>
                    <a:lnTo>
                      <a:pt x="15" y="25"/>
                    </a:lnTo>
                    <a:lnTo>
                      <a:pt x="11" y="27"/>
                    </a:lnTo>
                    <a:lnTo>
                      <a:pt x="9" y="28"/>
                    </a:lnTo>
                    <a:lnTo>
                      <a:pt x="7" y="28"/>
                    </a:lnTo>
                    <a:lnTo>
                      <a:pt x="4" y="29"/>
                    </a:lnTo>
                    <a:lnTo>
                      <a:pt x="3" y="29"/>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485" name="Freeform 86">
                <a:extLst>
                  <a:ext uri="{FF2B5EF4-FFF2-40B4-BE49-F238E27FC236}">
                    <a16:creationId xmlns:a16="http://schemas.microsoft.com/office/drawing/2014/main" id="{67BE8399-B71F-2A01-C16C-A17862331958}"/>
                  </a:ext>
                </a:extLst>
              </p:cNvPr>
              <p:cNvSpPr>
                <a:spLocks/>
              </p:cNvSpPr>
              <p:nvPr/>
            </p:nvSpPr>
            <p:spPr bwMode="auto">
              <a:xfrm>
                <a:off x="3290738" y="2024412"/>
                <a:ext cx="23755" cy="47522"/>
              </a:xfrm>
              <a:custGeom>
                <a:avLst/>
                <a:gdLst>
                  <a:gd name="T0" fmla="*/ 7 w 15"/>
                  <a:gd name="T1" fmla="*/ 30 h 31"/>
                  <a:gd name="T2" fmla="*/ 6 w 15"/>
                  <a:gd name="T3" fmla="*/ 30 h 31"/>
                  <a:gd name="T4" fmla="*/ 4 w 15"/>
                  <a:gd name="T5" fmla="*/ 29 h 31"/>
                  <a:gd name="T6" fmla="*/ 4 w 15"/>
                  <a:gd name="T7" fmla="*/ 27 h 31"/>
                  <a:gd name="T8" fmla="*/ 3 w 15"/>
                  <a:gd name="T9" fmla="*/ 26 h 31"/>
                  <a:gd name="T10" fmla="*/ 2 w 15"/>
                  <a:gd name="T11" fmla="*/ 26 h 31"/>
                  <a:gd name="T12" fmla="*/ 2 w 15"/>
                  <a:gd name="T13" fmla="*/ 24 h 31"/>
                  <a:gd name="T14" fmla="*/ 2 w 15"/>
                  <a:gd name="T15" fmla="*/ 22 h 31"/>
                  <a:gd name="T16" fmla="*/ 1 w 15"/>
                  <a:gd name="T17" fmla="*/ 20 h 31"/>
                  <a:gd name="T18" fmla="*/ 1 w 15"/>
                  <a:gd name="T19" fmla="*/ 19 h 31"/>
                  <a:gd name="T20" fmla="*/ 1 w 15"/>
                  <a:gd name="T21" fmla="*/ 17 h 31"/>
                  <a:gd name="T22" fmla="*/ 0 w 15"/>
                  <a:gd name="T23" fmla="*/ 14 h 31"/>
                  <a:gd name="T24" fmla="*/ 1 w 15"/>
                  <a:gd name="T25" fmla="*/ 13 h 31"/>
                  <a:gd name="T26" fmla="*/ 1 w 15"/>
                  <a:gd name="T27" fmla="*/ 11 h 31"/>
                  <a:gd name="T28" fmla="*/ 1 w 15"/>
                  <a:gd name="T29" fmla="*/ 10 h 31"/>
                  <a:gd name="T30" fmla="*/ 2 w 15"/>
                  <a:gd name="T31" fmla="*/ 7 h 31"/>
                  <a:gd name="T32" fmla="*/ 2 w 15"/>
                  <a:gd name="T33" fmla="*/ 6 h 31"/>
                  <a:gd name="T34" fmla="*/ 2 w 15"/>
                  <a:gd name="T35" fmla="*/ 4 h 31"/>
                  <a:gd name="T36" fmla="*/ 3 w 15"/>
                  <a:gd name="T37" fmla="*/ 4 h 31"/>
                  <a:gd name="T38" fmla="*/ 4 w 15"/>
                  <a:gd name="T39" fmla="*/ 3 h 31"/>
                  <a:gd name="T40" fmla="*/ 4 w 15"/>
                  <a:gd name="T41" fmla="*/ 2 h 31"/>
                  <a:gd name="T42" fmla="*/ 6 w 15"/>
                  <a:gd name="T43" fmla="*/ 1 h 31"/>
                  <a:gd name="T44" fmla="*/ 7 w 15"/>
                  <a:gd name="T45" fmla="*/ 1 h 31"/>
                  <a:gd name="T46" fmla="*/ 7 w 15"/>
                  <a:gd name="T47" fmla="*/ 0 h 31"/>
                  <a:gd name="T48" fmla="*/ 8 w 15"/>
                  <a:gd name="T49" fmla="*/ 1 h 31"/>
                  <a:gd name="T50" fmla="*/ 9 w 15"/>
                  <a:gd name="T51" fmla="*/ 1 h 31"/>
                  <a:gd name="T52" fmla="*/ 11 w 15"/>
                  <a:gd name="T53" fmla="*/ 2 h 31"/>
                  <a:gd name="T54" fmla="*/ 11 w 15"/>
                  <a:gd name="T55" fmla="*/ 3 h 31"/>
                  <a:gd name="T56" fmla="*/ 12 w 15"/>
                  <a:gd name="T57" fmla="*/ 4 h 31"/>
                  <a:gd name="T58" fmla="*/ 13 w 15"/>
                  <a:gd name="T59" fmla="*/ 6 h 31"/>
                  <a:gd name="T60" fmla="*/ 13 w 15"/>
                  <a:gd name="T61" fmla="*/ 7 h 31"/>
                  <a:gd name="T62" fmla="*/ 14 w 15"/>
                  <a:gd name="T63" fmla="*/ 10 h 31"/>
                  <a:gd name="T64" fmla="*/ 14 w 15"/>
                  <a:gd name="T65" fmla="*/ 11 h 31"/>
                  <a:gd name="T66" fmla="*/ 14 w 15"/>
                  <a:gd name="T67" fmla="*/ 13 h 31"/>
                  <a:gd name="T68" fmla="*/ 14 w 15"/>
                  <a:gd name="T69" fmla="*/ 14 h 31"/>
                  <a:gd name="T70" fmla="*/ 14 w 15"/>
                  <a:gd name="T71" fmla="*/ 17 h 31"/>
                  <a:gd name="T72" fmla="*/ 14 w 15"/>
                  <a:gd name="T73" fmla="*/ 19 h 31"/>
                  <a:gd name="T74" fmla="*/ 14 w 15"/>
                  <a:gd name="T75" fmla="*/ 20 h 31"/>
                  <a:gd name="T76" fmla="*/ 13 w 15"/>
                  <a:gd name="T77" fmla="*/ 22 h 31"/>
                  <a:gd name="T78" fmla="*/ 13 w 15"/>
                  <a:gd name="T79" fmla="*/ 24 h 31"/>
                  <a:gd name="T80" fmla="*/ 12 w 15"/>
                  <a:gd name="T81" fmla="*/ 26 h 31"/>
                  <a:gd name="T82" fmla="*/ 11 w 15"/>
                  <a:gd name="T83" fmla="*/ 27 h 31"/>
                  <a:gd name="T84" fmla="*/ 11 w 15"/>
                  <a:gd name="T85" fmla="*/ 29 h 31"/>
                  <a:gd name="T86" fmla="*/ 9 w 15"/>
                  <a:gd name="T87" fmla="*/ 30 h 31"/>
                  <a:gd name="T88" fmla="*/ 8 w 15"/>
                  <a:gd name="T89" fmla="*/ 30 h 31"/>
                  <a:gd name="T90" fmla="*/ 7 w 15"/>
                  <a:gd name="T91" fmla="*/ 3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 h="31">
                    <a:moveTo>
                      <a:pt x="7" y="30"/>
                    </a:moveTo>
                    <a:lnTo>
                      <a:pt x="6" y="30"/>
                    </a:lnTo>
                    <a:lnTo>
                      <a:pt x="4" y="29"/>
                    </a:lnTo>
                    <a:lnTo>
                      <a:pt x="4" y="27"/>
                    </a:lnTo>
                    <a:lnTo>
                      <a:pt x="3" y="26"/>
                    </a:lnTo>
                    <a:lnTo>
                      <a:pt x="2" y="26"/>
                    </a:lnTo>
                    <a:lnTo>
                      <a:pt x="2" y="24"/>
                    </a:lnTo>
                    <a:lnTo>
                      <a:pt x="2" y="22"/>
                    </a:lnTo>
                    <a:lnTo>
                      <a:pt x="1" y="20"/>
                    </a:lnTo>
                    <a:lnTo>
                      <a:pt x="1" y="19"/>
                    </a:lnTo>
                    <a:lnTo>
                      <a:pt x="1" y="17"/>
                    </a:lnTo>
                    <a:lnTo>
                      <a:pt x="0" y="14"/>
                    </a:lnTo>
                    <a:lnTo>
                      <a:pt x="1" y="13"/>
                    </a:lnTo>
                    <a:lnTo>
                      <a:pt x="1" y="11"/>
                    </a:lnTo>
                    <a:lnTo>
                      <a:pt x="1" y="10"/>
                    </a:lnTo>
                    <a:lnTo>
                      <a:pt x="2" y="7"/>
                    </a:lnTo>
                    <a:lnTo>
                      <a:pt x="2" y="6"/>
                    </a:lnTo>
                    <a:lnTo>
                      <a:pt x="2" y="4"/>
                    </a:lnTo>
                    <a:lnTo>
                      <a:pt x="3" y="4"/>
                    </a:lnTo>
                    <a:lnTo>
                      <a:pt x="4" y="3"/>
                    </a:lnTo>
                    <a:lnTo>
                      <a:pt x="4" y="2"/>
                    </a:lnTo>
                    <a:lnTo>
                      <a:pt x="6" y="1"/>
                    </a:lnTo>
                    <a:lnTo>
                      <a:pt x="7" y="1"/>
                    </a:lnTo>
                    <a:lnTo>
                      <a:pt x="7" y="0"/>
                    </a:lnTo>
                    <a:lnTo>
                      <a:pt x="8" y="1"/>
                    </a:lnTo>
                    <a:lnTo>
                      <a:pt x="9" y="1"/>
                    </a:lnTo>
                    <a:lnTo>
                      <a:pt x="11" y="2"/>
                    </a:lnTo>
                    <a:lnTo>
                      <a:pt x="11" y="3"/>
                    </a:lnTo>
                    <a:lnTo>
                      <a:pt x="12" y="4"/>
                    </a:lnTo>
                    <a:lnTo>
                      <a:pt x="13" y="6"/>
                    </a:lnTo>
                    <a:lnTo>
                      <a:pt x="13" y="7"/>
                    </a:lnTo>
                    <a:lnTo>
                      <a:pt x="14" y="10"/>
                    </a:lnTo>
                    <a:lnTo>
                      <a:pt x="14" y="11"/>
                    </a:lnTo>
                    <a:lnTo>
                      <a:pt x="14" y="13"/>
                    </a:lnTo>
                    <a:lnTo>
                      <a:pt x="14" y="14"/>
                    </a:lnTo>
                    <a:lnTo>
                      <a:pt x="14" y="17"/>
                    </a:lnTo>
                    <a:lnTo>
                      <a:pt x="14" y="19"/>
                    </a:lnTo>
                    <a:lnTo>
                      <a:pt x="14" y="20"/>
                    </a:lnTo>
                    <a:lnTo>
                      <a:pt x="13" y="22"/>
                    </a:lnTo>
                    <a:lnTo>
                      <a:pt x="13" y="24"/>
                    </a:lnTo>
                    <a:lnTo>
                      <a:pt x="12" y="26"/>
                    </a:lnTo>
                    <a:lnTo>
                      <a:pt x="11" y="27"/>
                    </a:lnTo>
                    <a:lnTo>
                      <a:pt x="11" y="29"/>
                    </a:lnTo>
                    <a:lnTo>
                      <a:pt x="9" y="30"/>
                    </a:lnTo>
                    <a:lnTo>
                      <a:pt x="8" y="30"/>
                    </a:lnTo>
                    <a:lnTo>
                      <a:pt x="7" y="30"/>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486" name="Freeform 87">
                <a:extLst>
                  <a:ext uri="{FF2B5EF4-FFF2-40B4-BE49-F238E27FC236}">
                    <a16:creationId xmlns:a16="http://schemas.microsoft.com/office/drawing/2014/main" id="{354516D6-7496-B572-22F5-B1621466000E}"/>
                  </a:ext>
                </a:extLst>
              </p:cNvPr>
              <p:cNvSpPr>
                <a:spLocks/>
              </p:cNvSpPr>
              <p:nvPr/>
            </p:nvSpPr>
            <p:spPr bwMode="auto">
              <a:xfrm>
                <a:off x="3116075" y="2190742"/>
                <a:ext cx="92222" cy="81069"/>
              </a:xfrm>
              <a:custGeom>
                <a:avLst/>
                <a:gdLst>
                  <a:gd name="T0" fmla="*/ 26 w 59"/>
                  <a:gd name="T1" fmla="*/ 0 h 51"/>
                  <a:gd name="T2" fmla="*/ 50 w 59"/>
                  <a:gd name="T3" fmla="*/ 8 h 51"/>
                  <a:gd name="T4" fmla="*/ 58 w 59"/>
                  <a:gd name="T5" fmla="*/ 23 h 51"/>
                  <a:gd name="T6" fmla="*/ 38 w 59"/>
                  <a:gd name="T7" fmla="*/ 31 h 51"/>
                  <a:gd name="T8" fmla="*/ 15 w 59"/>
                  <a:gd name="T9" fmla="*/ 50 h 51"/>
                  <a:gd name="T10" fmla="*/ 0 w 59"/>
                  <a:gd name="T11" fmla="*/ 31 h 51"/>
                  <a:gd name="T12" fmla="*/ 3 w 59"/>
                  <a:gd name="T13" fmla="*/ 10 h 51"/>
                  <a:gd name="T14" fmla="*/ 26 w 59"/>
                  <a:gd name="T15" fmla="*/ 0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51">
                    <a:moveTo>
                      <a:pt x="26" y="0"/>
                    </a:moveTo>
                    <a:lnTo>
                      <a:pt x="50" y="8"/>
                    </a:lnTo>
                    <a:lnTo>
                      <a:pt x="58" y="23"/>
                    </a:lnTo>
                    <a:lnTo>
                      <a:pt x="38" y="31"/>
                    </a:lnTo>
                    <a:lnTo>
                      <a:pt x="15" y="50"/>
                    </a:lnTo>
                    <a:lnTo>
                      <a:pt x="0" y="31"/>
                    </a:lnTo>
                    <a:lnTo>
                      <a:pt x="3" y="10"/>
                    </a:lnTo>
                    <a:lnTo>
                      <a:pt x="26" y="0"/>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487" name="Freeform 88">
                <a:extLst>
                  <a:ext uri="{FF2B5EF4-FFF2-40B4-BE49-F238E27FC236}">
                    <a16:creationId xmlns:a16="http://schemas.microsoft.com/office/drawing/2014/main" id="{F064121E-AB9E-1119-D9CF-7723266A9E10}"/>
                  </a:ext>
                </a:extLst>
              </p:cNvPr>
              <p:cNvSpPr>
                <a:spLocks/>
              </p:cNvSpPr>
              <p:nvPr/>
            </p:nvSpPr>
            <p:spPr bwMode="auto">
              <a:xfrm>
                <a:off x="2881327" y="1736482"/>
                <a:ext cx="110386" cy="72681"/>
              </a:xfrm>
              <a:custGeom>
                <a:avLst/>
                <a:gdLst>
                  <a:gd name="T0" fmla="*/ 30 w 71"/>
                  <a:gd name="T1" fmla="*/ 18 h 46"/>
                  <a:gd name="T2" fmla="*/ 50 w 71"/>
                  <a:gd name="T3" fmla="*/ 5 h 46"/>
                  <a:gd name="T4" fmla="*/ 70 w 71"/>
                  <a:gd name="T5" fmla="*/ 7 h 46"/>
                  <a:gd name="T6" fmla="*/ 68 w 71"/>
                  <a:gd name="T7" fmla="*/ 37 h 46"/>
                  <a:gd name="T8" fmla="*/ 26 w 71"/>
                  <a:gd name="T9" fmla="*/ 45 h 46"/>
                  <a:gd name="T10" fmla="*/ 13 w 71"/>
                  <a:gd name="T11" fmla="*/ 30 h 46"/>
                  <a:gd name="T12" fmla="*/ 0 w 71"/>
                  <a:gd name="T13" fmla="*/ 10 h 46"/>
                  <a:gd name="T14" fmla="*/ 10 w 71"/>
                  <a:gd name="T15" fmla="*/ 0 h 46"/>
                  <a:gd name="T16" fmla="*/ 22 w 71"/>
                  <a:gd name="T17" fmla="*/ 1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46">
                    <a:moveTo>
                      <a:pt x="30" y="18"/>
                    </a:moveTo>
                    <a:lnTo>
                      <a:pt x="50" y="5"/>
                    </a:lnTo>
                    <a:lnTo>
                      <a:pt x="70" y="7"/>
                    </a:lnTo>
                    <a:lnTo>
                      <a:pt x="68" y="37"/>
                    </a:lnTo>
                    <a:lnTo>
                      <a:pt x="26" y="45"/>
                    </a:lnTo>
                    <a:lnTo>
                      <a:pt x="13" y="30"/>
                    </a:lnTo>
                    <a:lnTo>
                      <a:pt x="0" y="10"/>
                    </a:lnTo>
                    <a:lnTo>
                      <a:pt x="10" y="0"/>
                    </a:lnTo>
                    <a:lnTo>
                      <a:pt x="22" y="14"/>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488" name="Freeform 89">
                <a:extLst>
                  <a:ext uri="{FF2B5EF4-FFF2-40B4-BE49-F238E27FC236}">
                    <a16:creationId xmlns:a16="http://schemas.microsoft.com/office/drawing/2014/main" id="{AA1E11F6-0D04-44FC-FEE0-1CDF7771E1A9}"/>
                  </a:ext>
                </a:extLst>
              </p:cNvPr>
              <p:cNvSpPr>
                <a:spLocks/>
              </p:cNvSpPr>
              <p:nvPr/>
            </p:nvSpPr>
            <p:spPr bwMode="auto">
              <a:xfrm>
                <a:off x="3022455" y="1640038"/>
                <a:ext cx="55892" cy="58704"/>
              </a:xfrm>
              <a:custGeom>
                <a:avLst/>
                <a:gdLst>
                  <a:gd name="T0" fmla="*/ 0 w 36"/>
                  <a:gd name="T1" fmla="*/ 7 h 37"/>
                  <a:gd name="T2" fmla="*/ 0 w 36"/>
                  <a:gd name="T3" fmla="*/ 25 h 37"/>
                  <a:gd name="T4" fmla="*/ 13 w 36"/>
                  <a:gd name="T5" fmla="*/ 36 h 37"/>
                  <a:gd name="T6" fmla="*/ 27 w 36"/>
                  <a:gd name="T7" fmla="*/ 34 h 37"/>
                  <a:gd name="T8" fmla="*/ 35 w 36"/>
                  <a:gd name="T9" fmla="*/ 17 h 37"/>
                  <a:gd name="T10" fmla="*/ 23 w 36"/>
                  <a:gd name="T11" fmla="*/ 0 h 37"/>
                  <a:gd name="T12" fmla="*/ 0 w 36"/>
                  <a:gd name="T13" fmla="*/ 7 h 37"/>
                </a:gdLst>
                <a:ahLst/>
                <a:cxnLst>
                  <a:cxn ang="0">
                    <a:pos x="T0" y="T1"/>
                  </a:cxn>
                  <a:cxn ang="0">
                    <a:pos x="T2" y="T3"/>
                  </a:cxn>
                  <a:cxn ang="0">
                    <a:pos x="T4" y="T5"/>
                  </a:cxn>
                  <a:cxn ang="0">
                    <a:pos x="T6" y="T7"/>
                  </a:cxn>
                  <a:cxn ang="0">
                    <a:pos x="T8" y="T9"/>
                  </a:cxn>
                  <a:cxn ang="0">
                    <a:pos x="T10" y="T11"/>
                  </a:cxn>
                  <a:cxn ang="0">
                    <a:pos x="T12" y="T13"/>
                  </a:cxn>
                </a:cxnLst>
                <a:rect l="0" t="0" r="r" b="b"/>
                <a:pathLst>
                  <a:path w="36" h="37">
                    <a:moveTo>
                      <a:pt x="0" y="7"/>
                    </a:moveTo>
                    <a:lnTo>
                      <a:pt x="0" y="25"/>
                    </a:lnTo>
                    <a:lnTo>
                      <a:pt x="13" y="36"/>
                    </a:lnTo>
                    <a:lnTo>
                      <a:pt x="27" y="34"/>
                    </a:lnTo>
                    <a:lnTo>
                      <a:pt x="35" y="17"/>
                    </a:lnTo>
                    <a:lnTo>
                      <a:pt x="23" y="0"/>
                    </a:lnTo>
                    <a:lnTo>
                      <a:pt x="0" y="7"/>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489" name="Freeform 90">
                <a:extLst>
                  <a:ext uri="{FF2B5EF4-FFF2-40B4-BE49-F238E27FC236}">
                    <a16:creationId xmlns:a16="http://schemas.microsoft.com/office/drawing/2014/main" id="{68D274C8-89AA-59AC-E52D-F0B73D7A5522}"/>
                  </a:ext>
                </a:extLst>
              </p:cNvPr>
              <p:cNvSpPr>
                <a:spLocks/>
              </p:cNvSpPr>
              <p:nvPr/>
            </p:nvSpPr>
            <p:spPr bwMode="auto">
              <a:xfrm>
                <a:off x="3012674" y="1581333"/>
                <a:ext cx="39124" cy="32147"/>
              </a:xfrm>
              <a:custGeom>
                <a:avLst/>
                <a:gdLst>
                  <a:gd name="T0" fmla="*/ 2 w 25"/>
                  <a:gd name="T1" fmla="*/ 0 h 21"/>
                  <a:gd name="T2" fmla="*/ 0 w 25"/>
                  <a:gd name="T3" fmla="*/ 20 h 21"/>
                  <a:gd name="T4" fmla="*/ 19 w 25"/>
                  <a:gd name="T5" fmla="*/ 20 h 21"/>
                  <a:gd name="T6" fmla="*/ 24 w 25"/>
                  <a:gd name="T7" fmla="*/ 5 h 21"/>
                  <a:gd name="T8" fmla="*/ 2 w 25"/>
                  <a:gd name="T9" fmla="*/ 0 h 21"/>
                </a:gdLst>
                <a:ahLst/>
                <a:cxnLst>
                  <a:cxn ang="0">
                    <a:pos x="T0" y="T1"/>
                  </a:cxn>
                  <a:cxn ang="0">
                    <a:pos x="T2" y="T3"/>
                  </a:cxn>
                  <a:cxn ang="0">
                    <a:pos x="T4" y="T5"/>
                  </a:cxn>
                  <a:cxn ang="0">
                    <a:pos x="T6" y="T7"/>
                  </a:cxn>
                  <a:cxn ang="0">
                    <a:pos x="T8" y="T9"/>
                  </a:cxn>
                </a:cxnLst>
                <a:rect l="0" t="0" r="r" b="b"/>
                <a:pathLst>
                  <a:path w="25" h="21">
                    <a:moveTo>
                      <a:pt x="2" y="0"/>
                    </a:moveTo>
                    <a:lnTo>
                      <a:pt x="0" y="20"/>
                    </a:lnTo>
                    <a:lnTo>
                      <a:pt x="19" y="20"/>
                    </a:lnTo>
                    <a:lnTo>
                      <a:pt x="24" y="5"/>
                    </a:lnTo>
                    <a:lnTo>
                      <a:pt x="2" y="0"/>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490" name="Freeform 91">
                <a:extLst>
                  <a:ext uri="{FF2B5EF4-FFF2-40B4-BE49-F238E27FC236}">
                    <a16:creationId xmlns:a16="http://schemas.microsoft.com/office/drawing/2014/main" id="{0B08EF50-B2CC-B4D5-A396-EB51FBA65508}"/>
                  </a:ext>
                </a:extLst>
              </p:cNvPr>
              <p:cNvSpPr>
                <a:spLocks/>
              </p:cNvSpPr>
              <p:nvPr/>
            </p:nvSpPr>
            <p:spPr bwMode="auto">
              <a:xfrm>
                <a:off x="3093718" y="1531015"/>
                <a:ext cx="129950" cy="138375"/>
              </a:xfrm>
              <a:custGeom>
                <a:avLst/>
                <a:gdLst>
                  <a:gd name="T0" fmla="*/ 27 w 83"/>
                  <a:gd name="T1" fmla="*/ 0 h 89"/>
                  <a:gd name="T2" fmla="*/ 15 w 83"/>
                  <a:gd name="T3" fmla="*/ 18 h 89"/>
                  <a:gd name="T4" fmla="*/ 0 w 83"/>
                  <a:gd name="T5" fmla="*/ 35 h 89"/>
                  <a:gd name="T6" fmla="*/ 2 w 83"/>
                  <a:gd name="T7" fmla="*/ 56 h 89"/>
                  <a:gd name="T8" fmla="*/ 20 w 83"/>
                  <a:gd name="T9" fmla="*/ 56 h 89"/>
                  <a:gd name="T10" fmla="*/ 17 w 83"/>
                  <a:gd name="T11" fmla="*/ 67 h 89"/>
                  <a:gd name="T12" fmla="*/ 22 w 83"/>
                  <a:gd name="T13" fmla="*/ 83 h 89"/>
                  <a:gd name="T14" fmla="*/ 67 w 83"/>
                  <a:gd name="T15" fmla="*/ 88 h 89"/>
                  <a:gd name="T16" fmla="*/ 80 w 83"/>
                  <a:gd name="T17" fmla="*/ 70 h 89"/>
                  <a:gd name="T18" fmla="*/ 82 w 83"/>
                  <a:gd name="T19" fmla="*/ 43 h 89"/>
                  <a:gd name="T20" fmla="*/ 65 w 83"/>
                  <a:gd name="T21" fmla="*/ 20 h 89"/>
                  <a:gd name="T22" fmla="*/ 27 w 83"/>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 h="89">
                    <a:moveTo>
                      <a:pt x="27" y="0"/>
                    </a:moveTo>
                    <a:lnTo>
                      <a:pt x="15" y="18"/>
                    </a:lnTo>
                    <a:lnTo>
                      <a:pt x="0" y="35"/>
                    </a:lnTo>
                    <a:lnTo>
                      <a:pt x="2" y="56"/>
                    </a:lnTo>
                    <a:lnTo>
                      <a:pt x="20" y="56"/>
                    </a:lnTo>
                    <a:lnTo>
                      <a:pt x="17" y="67"/>
                    </a:lnTo>
                    <a:lnTo>
                      <a:pt x="22" y="83"/>
                    </a:lnTo>
                    <a:lnTo>
                      <a:pt x="67" y="88"/>
                    </a:lnTo>
                    <a:lnTo>
                      <a:pt x="80" y="70"/>
                    </a:lnTo>
                    <a:lnTo>
                      <a:pt x="82" y="43"/>
                    </a:lnTo>
                    <a:lnTo>
                      <a:pt x="65" y="20"/>
                    </a:lnTo>
                    <a:lnTo>
                      <a:pt x="27" y="0"/>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491" name="Freeform 92">
                <a:extLst>
                  <a:ext uri="{FF2B5EF4-FFF2-40B4-BE49-F238E27FC236}">
                    <a16:creationId xmlns:a16="http://schemas.microsoft.com/office/drawing/2014/main" id="{96118585-3402-8F6B-33D4-A86A5367A473}"/>
                  </a:ext>
                </a:extLst>
              </p:cNvPr>
              <p:cNvSpPr>
                <a:spLocks/>
              </p:cNvSpPr>
              <p:nvPr/>
            </p:nvSpPr>
            <p:spPr bwMode="auto">
              <a:xfrm>
                <a:off x="3169173" y="1451345"/>
                <a:ext cx="551936" cy="315885"/>
              </a:xfrm>
              <a:custGeom>
                <a:avLst/>
                <a:gdLst>
                  <a:gd name="T0" fmla="*/ 27 w 353"/>
                  <a:gd name="T1" fmla="*/ 37 h 201"/>
                  <a:gd name="T2" fmla="*/ 34 w 353"/>
                  <a:gd name="T3" fmla="*/ 53 h 201"/>
                  <a:gd name="T4" fmla="*/ 47 w 353"/>
                  <a:gd name="T5" fmla="*/ 68 h 201"/>
                  <a:gd name="T6" fmla="*/ 59 w 353"/>
                  <a:gd name="T7" fmla="*/ 72 h 201"/>
                  <a:gd name="T8" fmla="*/ 85 w 353"/>
                  <a:gd name="T9" fmla="*/ 80 h 201"/>
                  <a:gd name="T10" fmla="*/ 107 w 353"/>
                  <a:gd name="T11" fmla="*/ 69 h 201"/>
                  <a:gd name="T12" fmla="*/ 137 w 353"/>
                  <a:gd name="T13" fmla="*/ 62 h 201"/>
                  <a:gd name="T14" fmla="*/ 148 w 353"/>
                  <a:gd name="T15" fmla="*/ 58 h 201"/>
                  <a:gd name="T16" fmla="*/ 148 w 353"/>
                  <a:gd name="T17" fmla="*/ 75 h 201"/>
                  <a:gd name="T18" fmla="*/ 115 w 353"/>
                  <a:gd name="T19" fmla="*/ 82 h 201"/>
                  <a:gd name="T20" fmla="*/ 95 w 353"/>
                  <a:gd name="T21" fmla="*/ 92 h 201"/>
                  <a:gd name="T22" fmla="*/ 112 w 353"/>
                  <a:gd name="T23" fmla="*/ 100 h 201"/>
                  <a:gd name="T24" fmla="*/ 80 w 353"/>
                  <a:gd name="T25" fmla="*/ 100 h 201"/>
                  <a:gd name="T26" fmla="*/ 64 w 353"/>
                  <a:gd name="T27" fmla="*/ 90 h 201"/>
                  <a:gd name="T28" fmla="*/ 62 w 353"/>
                  <a:gd name="T29" fmla="*/ 109 h 201"/>
                  <a:gd name="T30" fmla="*/ 75 w 353"/>
                  <a:gd name="T31" fmla="*/ 127 h 201"/>
                  <a:gd name="T32" fmla="*/ 59 w 353"/>
                  <a:gd name="T33" fmla="*/ 140 h 201"/>
                  <a:gd name="T34" fmla="*/ 47 w 353"/>
                  <a:gd name="T35" fmla="*/ 149 h 201"/>
                  <a:gd name="T36" fmla="*/ 32 w 353"/>
                  <a:gd name="T37" fmla="*/ 160 h 201"/>
                  <a:gd name="T38" fmla="*/ 25 w 353"/>
                  <a:gd name="T39" fmla="*/ 172 h 201"/>
                  <a:gd name="T40" fmla="*/ 0 w 353"/>
                  <a:gd name="T41" fmla="*/ 167 h 201"/>
                  <a:gd name="T42" fmla="*/ 12 w 353"/>
                  <a:gd name="T43" fmla="*/ 189 h 201"/>
                  <a:gd name="T44" fmla="*/ 81 w 353"/>
                  <a:gd name="T45" fmla="*/ 200 h 201"/>
                  <a:gd name="T46" fmla="*/ 121 w 353"/>
                  <a:gd name="T47" fmla="*/ 192 h 201"/>
                  <a:gd name="T48" fmla="*/ 140 w 353"/>
                  <a:gd name="T49" fmla="*/ 172 h 201"/>
                  <a:gd name="T50" fmla="*/ 125 w 353"/>
                  <a:gd name="T51" fmla="*/ 153 h 201"/>
                  <a:gd name="T52" fmla="*/ 140 w 353"/>
                  <a:gd name="T53" fmla="*/ 147 h 201"/>
                  <a:gd name="T54" fmla="*/ 157 w 353"/>
                  <a:gd name="T55" fmla="*/ 142 h 201"/>
                  <a:gd name="T56" fmla="*/ 182 w 353"/>
                  <a:gd name="T57" fmla="*/ 117 h 201"/>
                  <a:gd name="T58" fmla="*/ 189 w 353"/>
                  <a:gd name="T59" fmla="*/ 105 h 201"/>
                  <a:gd name="T60" fmla="*/ 210 w 353"/>
                  <a:gd name="T61" fmla="*/ 92 h 201"/>
                  <a:gd name="T62" fmla="*/ 237 w 353"/>
                  <a:gd name="T63" fmla="*/ 100 h 201"/>
                  <a:gd name="T64" fmla="*/ 287 w 353"/>
                  <a:gd name="T65" fmla="*/ 58 h 201"/>
                  <a:gd name="T66" fmla="*/ 277 w 353"/>
                  <a:gd name="T67" fmla="*/ 40 h 201"/>
                  <a:gd name="T68" fmla="*/ 322 w 353"/>
                  <a:gd name="T69" fmla="*/ 32 h 201"/>
                  <a:gd name="T70" fmla="*/ 352 w 353"/>
                  <a:gd name="T71" fmla="*/ 20 h 201"/>
                  <a:gd name="T72" fmla="*/ 335 w 353"/>
                  <a:gd name="T73" fmla="*/ 3 h 201"/>
                  <a:gd name="T74" fmla="*/ 305 w 353"/>
                  <a:gd name="T75" fmla="*/ 3 h 201"/>
                  <a:gd name="T76" fmla="*/ 230 w 353"/>
                  <a:gd name="T77" fmla="*/ 0 h 201"/>
                  <a:gd name="T78" fmla="*/ 204 w 353"/>
                  <a:gd name="T79" fmla="*/ 20 h 201"/>
                  <a:gd name="T80" fmla="*/ 182 w 353"/>
                  <a:gd name="T81" fmla="*/ 0 h 201"/>
                  <a:gd name="T82" fmla="*/ 180 w 353"/>
                  <a:gd name="T83" fmla="*/ 10 h 201"/>
                  <a:gd name="T84" fmla="*/ 137 w 353"/>
                  <a:gd name="T85" fmla="*/ 7 h 201"/>
                  <a:gd name="T86" fmla="*/ 117 w 353"/>
                  <a:gd name="T87" fmla="*/ 30 h 201"/>
                  <a:gd name="T88" fmla="*/ 97 w 353"/>
                  <a:gd name="T89" fmla="*/ 30 h 201"/>
                  <a:gd name="T90" fmla="*/ 87 w 353"/>
                  <a:gd name="T91" fmla="*/ 18 h 201"/>
                  <a:gd name="T92" fmla="*/ 64 w 353"/>
                  <a:gd name="T93" fmla="*/ 22 h 201"/>
                  <a:gd name="T94" fmla="*/ 59 w 353"/>
                  <a:gd name="T95" fmla="*/ 32 h 201"/>
                  <a:gd name="T96" fmla="*/ 27 w 353"/>
                  <a:gd name="T97" fmla="*/ 3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3" h="201">
                    <a:moveTo>
                      <a:pt x="27" y="37"/>
                    </a:moveTo>
                    <a:lnTo>
                      <a:pt x="34" y="53"/>
                    </a:lnTo>
                    <a:lnTo>
                      <a:pt x="47" y="68"/>
                    </a:lnTo>
                    <a:lnTo>
                      <a:pt x="59" y="72"/>
                    </a:lnTo>
                    <a:lnTo>
                      <a:pt x="85" y="80"/>
                    </a:lnTo>
                    <a:lnTo>
                      <a:pt x="107" y="69"/>
                    </a:lnTo>
                    <a:lnTo>
                      <a:pt x="137" y="62"/>
                    </a:lnTo>
                    <a:lnTo>
                      <a:pt x="148" y="58"/>
                    </a:lnTo>
                    <a:lnTo>
                      <a:pt x="148" y="75"/>
                    </a:lnTo>
                    <a:lnTo>
                      <a:pt x="115" y="82"/>
                    </a:lnTo>
                    <a:lnTo>
                      <a:pt x="95" y="92"/>
                    </a:lnTo>
                    <a:lnTo>
                      <a:pt x="112" y="100"/>
                    </a:lnTo>
                    <a:lnTo>
                      <a:pt x="80" y="100"/>
                    </a:lnTo>
                    <a:lnTo>
                      <a:pt x="64" y="90"/>
                    </a:lnTo>
                    <a:lnTo>
                      <a:pt x="62" y="109"/>
                    </a:lnTo>
                    <a:lnTo>
                      <a:pt x="75" y="127"/>
                    </a:lnTo>
                    <a:lnTo>
                      <a:pt x="59" y="140"/>
                    </a:lnTo>
                    <a:lnTo>
                      <a:pt x="47" y="149"/>
                    </a:lnTo>
                    <a:lnTo>
                      <a:pt x="32" y="160"/>
                    </a:lnTo>
                    <a:lnTo>
                      <a:pt x="25" y="172"/>
                    </a:lnTo>
                    <a:lnTo>
                      <a:pt x="0" y="167"/>
                    </a:lnTo>
                    <a:lnTo>
                      <a:pt x="12" y="189"/>
                    </a:lnTo>
                    <a:lnTo>
                      <a:pt x="81" y="200"/>
                    </a:lnTo>
                    <a:lnTo>
                      <a:pt x="121" y="192"/>
                    </a:lnTo>
                    <a:lnTo>
                      <a:pt x="140" y="172"/>
                    </a:lnTo>
                    <a:lnTo>
                      <a:pt x="125" y="153"/>
                    </a:lnTo>
                    <a:lnTo>
                      <a:pt x="140" y="147"/>
                    </a:lnTo>
                    <a:lnTo>
                      <a:pt x="157" y="142"/>
                    </a:lnTo>
                    <a:lnTo>
                      <a:pt x="182" y="117"/>
                    </a:lnTo>
                    <a:lnTo>
                      <a:pt x="189" y="105"/>
                    </a:lnTo>
                    <a:lnTo>
                      <a:pt x="210" y="92"/>
                    </a:lnTo>
                    <a:lnTo>
                      <a:pt x="237" y="100"/>
                    </a:lnTo>
                    <a:lnTo>
                      <a:pt x="287" y="58"/>
                    </a:lnTo>
                    <a:lnTo>
                      <a:pt x="277" y="40"/>
                    </a:lnTo>
                    <a:lnTo>
                      <a:pt x="322" y="32"/>
                    </a:lnTo>
                    <a:lnTo>
                      <a:pt x="352" y="20"/>
                    </a:lnTo>
                    <a:lnTo>
                      <a:pt x="335" y="3"/>
                    </a:lnTo>
                    <a:lnTo>
                      <a:pt x="305" y="3"/>
                    </a:lnTo>
                    <a:lnTo>
                      <a:pt x="230" y="0"/>
                    </a:lnTo>
                    <a:lnTo>
                      <a:pt x="204" y="20"/>
                    </a:lnTo>
                    <a:lnTo>
                      <a:pt x="182" y="0"/>
                    </a:lnTo>
                    <a:lnTo>
                      <a:pt x="180" y="10"/>
                    </a:lnTo>
                    <a:lnTo>
                      <a:pt x="137" y="7"/>
                    </a:lnTo>
                    <a:lnTo>
                      <a:pt x="117" y="30"/>
                    </a:lnTo>
                    <a:lnTo>
                      <a:pt x="97" y="30"/>
                    </a:lnTo>
                    <a:lnTo>
                      <a:pt x="87" y="18"/>
                    </a:lnTo>
                    <a:lnTo>
                      <a:pt x="64" y="22"/>
                    </a:lnTo>
                    <a:lnTo>
                      <a:pt x="59" y="32"/>
                    </a:lnTo>
                    <a:lnTo>
                      <a:pt x="27" y="37"/>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492" name="Freeform 93">
                <a:extLst>
                  <a:ext uri="{FF2B5EF4-FFF2-40B4-BE49-F238E27FC236}">
                    <a16:creationId xmlns:a16="http://schemas.microsoft.com/office/drawing/2014/main" id="{CC70AE9A-2475-C8D5-CF48-D1C39B01979C}"/>
                  </a:ext>
                </a:extLst>
              </p:cNvPr>
              <p:cNvSpPr>
                <a:spLocks/>
              </p:cNvSpPr>
              <p:nvPr/>
            </p:nvSpPr>
            <p:spPr bwMode="auto">
              <a:xfrm>
                <a:off x="3076950" y="1716912"/>
                <a:ext cx="248721" cy="117409"/>
              </a:xfrm>
              <a:custGeom>
                <a:avLst/>
                <a:gdLst>
                  <a:gd name="T0" fmla="*/ 20 w 160"/>
                  <a:gd name="T1" fmla="*/ 0 h 75"/>
                  <a:gd name="T2" fmla="*/ 0 w 160"/>
                  <a:gd name="T3" fmla="*/ 18 h 75"/>
                  <a:gd name="T4" fmla="*/ 13 w 160"/>
                  <a:gd name="T5" fmla="*/ 35 h 75"/>
                  <a:gd name="T6" fmla="*/ 35 w 160"/>
                  <a:gd name="T7" fmla="*/ 61 h 75"/>
                  <a:gd name="T8" fmla="*/ 57 w 160"/>
                  <a:gd name="T9" fmla="*/ 71 h 75"/>
                  <a:gd name="T10" fmla="*/ 122 w 160"/>
                  <a:gd name="T11" fmla="*/ 64 h 75"/>
                  <a:gd name="T12" fmla="*/ 159 w 160"/>
                  <a:gd name="T13" fmla="*/ 74 h 75"/>
                  <a:gd name="T14" fmla="*/ 155 w 160"/>
                  <a:gd name="T15" fmla="*/ 46 h 75"/>
                  <a:gd name="T16" fmla="*/ 101 w 160"/>
                  <a:gd name="T17" fmla="*/ 43 h 75"/>
                  <a:gd name="T18" fmla="*/ 54 w 160"/>
                  <a:gd name="T19" fmla="*/ 31 h 75"/>
                  <a:gd name="T20" fmla="*/ 47 w 160"/>
                  <a:gd name="T21" fmla="*/ 3 h 75"/>
                  <a:gd name="T22" fmla="*/ 20 w 160"/>
                  <a:gd name="T23"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0" h="75">
                    <a:moveTo>
                      <a:pt x="20" y="0"/>
                    </a:moveTo>
                    <a:lnTo>
                      <a:pt x="0" y="18"/>
                    </a:lnTo>
                    <a:lnTo>
                      <a:pt x="13" y="35"/>
                    </a:lnTo>
                    <a:lnTo>
                      <a:pt x="35" y="61"/>
                    </a:lnTo>
                    <a:lnTo>
                      <a:pt x="57" y="71"/>
                    </a:lnTo>
                    <a:lnTo>
                      <a:pt x="122" y="64"/>
                    </a:lnTo>
                    <a:lnTo>
                      <a:pt x="159" y="74"/>
                    </a:lnTo>
                    <a:lnTo>
                      <a:pt x="155" y="46"/>
                    </a:lnTo>
                    <a:lnTo>
                      <a:pt x="101" y="43"/>
                    </a:lnTo>
                    <a:lnTo>
                      <a:pt x="54" y="31"/>
                    </a:lnTo>
                    <a:lnTo>
                      <a:pt x="47" y="3"/>
                    </a:lnTo>
                    <a:lnTo>
                      <a:pt x="20" y="0"/>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493" name="Freeform 94">
                <a:extLst>
                  <a:ext uri="{FF2B5EF4-FFF2-40B4-BE49-F238E27FC236}">
                    <a16:creationId xmlns:a16="http://schemas.microsoft.com/office/drawing/2014/main" id="{7D9CE6E1-7C6E-E8AA-9A10-7D335C8F0F62}"/>
                  </a:ext>
                </a:extLst>
              </p:cNvPr>
              <p:cNvSpPr>
                <a:spLocks/>
              </p:cNvSpPr>
              <p:nvPr/>
            </p:nvSpPr>
            <p:spPr bwMode="auto">
              <a:xfrm>
                <a:off x="3018264" y="1784004"/>
                <a:ext cx="54495" cy="36341"/>
              </a:xfrm>
              <a:custGeom>
                <a:avLst/>
                <a:gdLst>
                  <a:gd name="T0" fmla="*/ 13 w 34"/>
                  <a:gd name="T1" fmla="*/ 0 h 23"/>
                  <a:gd name="T2" fmla="*/ 0 w 34"/>
                  <a:gd name="T3" fmla="*/ 15 h 23"/>
                  <a:gd name="T4" fmla="*/ 18 w 34"/>
                  <a:gd name="T5" fmla="*/ 22 h 23"/>
                  <a:gd name="T6" fmla="*/ 33 w 34"/>
                  <a:gd name="T7" fmla="*/ 15 h 23"/>
                  <a:gd name="T8" fmla="*/ 30 w 34"/>
                  <a:gd name="T9" fmla="*/ 2 h 23"/>
                  <a:gd name="T10" fmla="*/ 13 w 34"/>
                  <a:gd name="T11" fmla="*/ 0 h 23"/>
                </a:gdLst>
                <a:ahLst/>
                <a:cxnLst>
                  <a:cxn ang="0">
                    <a:pos x="T0" y="T1"/>
                  </a:cxn>
                  <a:cxn ang="0">
                    <a:pos x="T2" y="T3"/>
                  </a:cxn>
                  <a:cxn ang="0">
                    <a:pos x="T4" y="T5"/>
                  </a:cxn>
                  <a:cxn ang="0">
                    <a:pos x="T6" y="T7"/>
                  </a:cxn>
                  <a:cxn ang="0">
                    <a:pos x="T8" y="T9"/>
                  </a:cxn>
                  <a:cxn ang="0">
                    <a:pos x="T10" y="T11"/>
                  </a:cxn>
                </a:cxnLst>
                <a:rect l="0" t="0" r="r" b="b"/>
                <a:pathLst>
                  <a:path w="34" h="23">
                    <a:moveTo>
                      <a:pt x="13" y="0"/>
                    </a:moveTo>
                    <a:lnTo>
                      <a:pt x="0" y="15"/>
                    </a:lnTo>
                    <a:lnTo>
                      <a:pt x="18" y="22"/>
                    </a:lnTo>
                    <a:lnTo>
                      <a:pt x="33" y="15"/>
                    </a:lnTo>
                    <a:lnTo>
                      <a:pt x="30" y="2"/>
                    </a:lnTo>
                    <a:lnTo>
                      <a:pt x="13" y="0"/>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494" name="Freeform 58">
                <a:extLst>
                  <a:ext uri="{FF2B5EF4-FFF2-40B4-BE49-F238E27FC236}">
                    <a16:creationId xmlns:a16="http://schemas.microsoft.com/office/drawing/2014/main" id="{7477E4D6-ADCF-DF7A-422B-EE785112E5BF}"/>
                  </a:ext>
                </a:extLst>
              </p:cNvPr>
              <p:cNvSpPr>
                <a:spLocks/>
              </p:cNvSpPr>
              <p:nvPr/>
            </p:nvSpPr>
            <p:spPr bwMode="auto">
              <a:xfrm>
                <a:off x="5045757" y="1582731"/>
                <a:ext cx="261296" cy="153750"/>
              </a:xfrm>
              <a:custGeom>
                <a:avLst/>
                <a:gdLst>
                  <a:gd name="T0" fmla="*/ 65 w 167"/>
                  <a:gd name="T1" fmla="*/ 3 h 99"/>
                  <a:gd name="T2" fmla="*/ 60 w 167"/>
                  <a:gd name="T3" fmla="*/ 23 h 99"/>
                  <a:gd name="T4" fmla="*/ 42 w 167"/>
                  <a:gd name="T5" fmla="*/ 11 h 99"/>
                  <a:gd name="T6" fmla="*/ 27 w 167"/>
                  <a:gd name="T7" fmla="*/ 20 h 99"/>
                  <a:gd name="T8" fmla="*/ 20 w 167"/>
                  <a:gd name="T9" fmla="*/ 3 h 99"/>
                  <a:gd name="T10" fmla="*/ 0 w 167"/>
                  <a:gd name="T11" fmla="*/ 19 h 99"/>
                  <a:gd name="T12" fmla="*/ 4 w 167"/>
                  <a:gd name="T13" fmla="*/ 28 h 99"/>
                  <a:gd name="T14" fmla="*/ 8 w 167"/>
                  <a:gd name="T15" fmla="*/ 45 h 99"/>
                  <a:gd name="T16" fmla="*/ 30 w 167"/>
                  <a:gd name="T17" fmla="*/ 47 h 99"/>
                  <a:gd name="T18" fmla="*/ 42 w 167"/>
                  <a:gd name="T19" fmla="*/ 35 h 99"/>
                  <a:gd name="T20" fmla="*/ 53 w 167"/>
                  <a:gd name="T21" fmla="*/ 38 h 99"/>
                  <a:gd name="T22" fmla="*/ 48 w 167"/>
                  <a:gd name="T23" fmla="*/ 52 h 99"/>
                  <a:gd name="T24" fmla="*/ 45 w 167"/>
                  <a:gd name="T25" fmla="*/ 65 h 99"/>
                  <a:gd name="T26" fmla="*/ 57 w 167"/>
                  <a:gd name="T27" fmla="*/ 75 h 99"/>
                  <a:gd name="T28" fmla="*/ 68 w 167"/>
                  <a:gd name="T29" fmla="*/ 92 h 99"/>
                  <a:gd name="T30" fmla="*/ 82 w 167"/>
                  <a:gd name="T31" fmla="*/ 98 h 99"/>
                  <a:gd name="T32" fmla="*/ 88 w 167"/>
                  <a:gd name="T33" fmla="*/ 73 h 99"/>
                  <a:gd name="T34" fmla="*/ 109 w 167"/>
                  <a:gd name="T35" fmla="*/ 51 h 99"/>
                  <a:gd name="T36" fmla="*/ 121 w 167"/>
                  <a:gd name="T37" fmla="*/ 58 h 99"/>
                  <a:gd name="T38" fmla="*/ 121 w 167"/>
                  <a:gd name="T39" fmla="*/ 75 h 99"/>
                  <a:gd name="T40" fmla="*/ 145 w 167"/>
                  <a:gd name="T41" fmla="*/ 73 h 99"/>
                  <a:gd name="T42" fmla="*/ 157 w 167"/>
                  <a:gd name="T43" fmla="*/ 78 h 99"/>
                  <a:gd name="T44" fmla="*/ 166 w 167"/>
                  <a:gd name="T45" fmla="*/ 60 h 99"/>
                  <a:gd name="T46" fmla="*/ 109 w 167"/>
                  <a:gd name="T47" fmla="*/ 30 h 99"/>
                  <a:gd name="T48" fmla="*/ 90 w 167"/>
                  <a:gd name="T49" fmla="*/ 0 h 99"/>
                  <a:gd name="T50" fmla="*/ 65 w 167"/>
                  <a:gd name="T51" fmla="*/ 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99">
                    <a:moveTo>
                      <a:pt x="65" y="3"/>
                    </a:moveTo>
                    <a:lnTo>
                      <a:pt x="60" y="23"/>
                    </a:lnTo>
                    <a:lnTo>
                      <a:pt x="42" y="11"/>
                    </a:lnTo>
                    <a:lnTo>
                      <a:pt x="27" y="20"/>
                    </a:lnTo>
                    <a:lnTo>
                      <a:pt x="20" y="3"/>
                    </a:lnTo>
                    <a:lnTo>
                      <a:pt x="0" y="19"/>
                    </a:lnTo>
                    <a:lnTo>
                      <a:pt x="4" y="28"/>
                    </a:lnTo>
                    <a:lnTo>
                      <a:pt x="8" y="45"/>
                    </a:lnTo>
                    <a:lnTo>
                      <a:pt x="30" y="47"/>
                    </a:lnTo>
                    <a:lnTo>
                      <a:pt x="42" y="35"/>
                    </a:lnTo>
                    <a:lnTo>
                      <a:pt x="53" y="38"/>
                    </a:lnTo>
                    <a:lnTo>
                      <a:pt x="48" y="52"/>
                    </a:lnTo>
                    <a:lnTo>
                      <a:pt x="45" y="65"/>
                    </a:lnTo>
                    <a:lnTo>
                      <a:pt x="57" y="75"/>
                    </a:lnTo>
                    <a:lnTo>
                      <a:pt x="68" y="92"/>
                    </a:lnTo>
                    <a:lnTo>
                      <a:pt x="82" y="98"/>
                    </a:lnTo>
                    <a:lnTo>
                      <a:pt x="88" y="73"/>
                    </a:lnTo>
                    <a:lnTo>
                      <a:pt x="109" y="51"/>
                    </a:lnTo>
                    <a:lnTo>
                      <a:pt x="121" y="58"/>
                    </a:lnTo>
                    <a:lnTo>
                      <a:pt x="121" y="75"/>
                    </a:lnTo>
                    <a:lnTo>
                      <a:pt x="145" y="73"/>
                    </a:lnTo>
                    <a:lnTo>
                      <a:pt x="157" y="78"/>
                    </a:lnTo>
                    <a:lnTo>
                      <a:pt x="166" y="60"/>
                    </a:lnTo>
                    <a:lnTo>
                      <a:pt x="109" y="30"/>
                    </a:lnTo>
                    <a:lnTo>
                      <a:pt x="90" y="0"/>
                    </a:lnTo>
                    <a:lnTo>
                      <a:pt x="65" y="3"/>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495" name="Freeform 59">
                <a:extLst>
                  <a:ext uri="{FF2B5EF4-FFF2-40B4-BE49-F238E27FC236}">
                    <a16:creationId xmlns:a16="http://schemas.microsoft.com/office/drawing/2014/main" id="{942D1300-4284-F8E1-8AF0-BE85E1AD9937}"/>
                  </a:ext>
                </a:extLst>
              </p:cNvPr>
              <p:cNvSpPr>
                <a:spLocks/>
              </p:cNvSpPr>
              <p:nvPr/>
            </p:nvSpPr>
            <p:spPr bwMode="auto">
              <a:xfrm>
                <a:off x="5216228" y="1564560"/>
                <a:ext cx="149512" cy="58704"/>
              </a:xfrm>
              <a:custGeom>
                <a:avLst/>
                <a:gdLst>
                  <a:gd name="T0" fmla="*/ 0 w 95"/>
                  <a:gd name="T1" fmla="*/ 3 h 38"/>
                  <a:gd name="T2" fmla="*/ 5 w 95"/>
                  <a:gd name="T3" fmla="*/ 27 h 38"/>
                  <a:gd name="T4" fmla="*/ 43 w 95"/>
                  <a:gd name="T5" fmla="*/ 37 h 38"/>
                  <a:gd name="T6" fmla="*/ 71 w 95"/>
                  <a:gd name="T7" fmla="*/ 27 h 38"/>
                  <a:gd name="T8" fmla="*/ 94 w 95"/>
                  <a:gd name="T9" fmla="*/ 5 h 38"/>
                  <a:gd name="T10" fmla="*/ 54 w 95"/>
                  <a:gd name="T11" fmla="*/ 5 h 38"/>
                  <a:gd name="T12" fmla="*/ 31 w 95"/>
                  <a:gd name="T13" fmla="*/ 0 h 38"/>
                  <a:gd name="T14" fmla="*/ 0 w 95"/>
                  <a:gd name="T15" fmla="*/ 3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38">
                    <a:moveTo>
                      <a:pt x="0" y="3"/>
                    </a:moveTo>
                    <a:lnTo>
                      <a:pt x="5" y="27"/>
                    </a:lnTo>
                    <a:lnTo>
                      <a:pt x="43" y="37"/>
                    </a:lnTo>
                    <a:lnTo>
                      <a:pt x="71" y="27"/>
                    </a:lnTo>
                    <a:lnTo>
                      <a:pt x="94" y="5"/>
                    </a:lnTo>
                    <a:lnTo>
                      <a:pt x="54" y="5"/>
                    </a:lnTo>
                    <a:lnTo>
                      <a:pt x="31" y="0"/>
                    </a:lnTo>
                    <a:lnTo>
                      <a:pt x="0" y="3"/>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496" name="Freeform 104">
                <a:extLst>
                  <a:ext uri="{FF2B5EF4-FFF2-40B4-BE49-F238E27FC236}">
                    <a16:creationId xmlns:a16="http://schemas.microsoft.com/office/drawing/2014/main" id="{E9FFC87C-A926-A0E3-309F-5DA9280FF843}"/>
                  </a:ext>
                </a:extLst>
              </p:cNvPr>
              <p:cNvSpPr>
                <a:spLocks/>
              </p:cNvSpPr>
              <p:nvPr/>
            </p:nvSpPr>
            <p:spPr bwMode="auto">
              <a:xfrm>
                <a:off x="5033182" y="2421366"/>
                <a:ext cx="32139" cy="22363"/>
              </a:xfrm>
              <a:custGeom>
                <a:avLst/>
                <a:gdLst>
                  <a:gd name="T0" fmla="*/ 0 w 20"/>
                  <a:gd name="T1" fmla="*/ 14 h 15"/>
                  <a:gd name="T2" fmla="*/ 4 w 20"/>
                  <a:gd name="T3" fmla="*/ 0 h 15"/>
                  <a:gd name="T4" fmla="*/ 13 w 20"/>
                  <a:gd name="T5" fmla="*/ 0 h 15"/>
                  <a:gd name="T6" fmla="*/ 19 w 20"/>
                  <a:gd name="T7" fmla="*/ 0 h 15"/>
                  <a:gd name="T8" fmla="*/ 0 w 20"/>
                  <a:gd name="T9" fmla="*/ 14 h 15"/>
                </a:gdLst>
                <a:ahLst/>
                <a:cxnLst>
                  <a:cxn ang="0">
                    <a:pos x="T0" y="T1"/>
                  </a:cxn>
                  <a:cxn ang="0">
                    <a:pos x="T2" y="T3"/>
                  </a:cxn>
                  <a:cxn ang="0">
                    <a:pos x="T4" y="T5"/>
                  </a:cxn>
                  <a:cxn ang="0">
                    <a:pos x="T6" y="T7"/>
                  </a:cxn>
                  <a:cxn ang="0">
                    <a:pos x="T8" y="T9"/>
                  </a:cxn>
                </a:cxnLst>
                <a:rect l="0" t="0" r="r" b="b"/>
                <a:pathLst>
                  <a:path w="20" h="15">
                    <a:moveTo>
                      <a:pt x="0" y="14"/>
                    </a:moveTo>
                    <a:lnTo>
                      <a:pt x="4" y="0"/>
                    </a:lnTo>
                    <a:lnTo>
                      <a:pt x="13" y="0"/>
                    </a:lnTo>
                    <a:lnTo>
                      <a:pt x="19" y="0"/>
                    </a:lnTo>
                    <a:lnTo>
                      <a:pt x="0" y="14"/>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497" name="Freeform 108">
                <a:extLst>
                  <a:ext uri="{FF2B5EF4-FFF2-40B4-BE49-F238E27FC236}">
                    <a16:creationId xmlns:a16="http://schemas.microsoft.com/office/drawing/2014/main" id="{045028C0-B069-FFCF-973D-37833C33A3C1}"/>
                  </a:ext>
                </a:extLst>
              </p:cNvPr>
              <p:cNvSpPr>
                <a:spLocks/>
              </p:cNvSpPr>
              <p:nvPr/>
            </p:nvSpPr>
            <p:spPr bwMode="auto">
              <a:xfrm>
                <a:off x="5125403" y="2018821"/>
                <a:ext cx="27947" cy="25159"/>
              </a:xfrm>
              <a:custGeom>
                <a:avLst/>
                <a:gdLst>
                  <a:gd name="T0" fmla="*/ 6 w 18"/>
                  <a:gd name="T1" fmla="*/ 0 h 16"/>
                  <a:gd name="T2" fmla="*/ 0 w 18"/>
                  <a:gd name="T3" fmla="*/ 11 h 16"/>
                  <a:gd name="T4" fmla="*/ 12 w 18"/>
                  <a:gd name="T5" fmla="*/ 15 h 16"/>
                  <a:gd name="T6" fmla="*/ 17 w 18"/>
                  <a:gd name="T7" fmla="*/ 0 h 16"/>
                  <a:gd name="T8" fmla="*/ 6 w 18"/>
                  <a:gd name="T9" fmla="*/ 0 h 16"/>
                </a:gdLst>
                <a:ahLst/>
                <a:cxnLst>
                  <a:cxn ang="0">
                    <a:pos x="T0" y="T1"/>
                  </a:cxn>
                  <a:cxn ang="0">
                    <a:pos x="T2" y="T3"/>
                  </a:cxn>
                  <a:cxn ang="0">
                    <a:pos x="T4" y="T5"/>
                  </a:cxn>
                  <a:cxn ang="0">
                    <a:pos x="T6" y="T7"/>
                  </a:cxn>
                  <a:cxn ang="0">
                    <a:pos x="T8" y="T9"/>
                  </a:cxn>
                </a:cxnLst>
                <a:rect l="0" t="0" r="r" b="b"/>
                <a:pathLst>
                  <a:path w="18" h="16">
                    <a:moveTo>
                      <a:pt x="6" y="0"/>
                    </a:moveTo>
                    <a:lnTo>
                      <a:pt x="0" y="11"/>
                    </a:lnTo>
                    <a:lnTo>
                      <a:pt x="12" y="15"/>
                    </a:lnTo>
                    <a:lnTo>
                      <a:pt x="17" y="0"/>
                    </a:lnTo>
                    <a:lnTo>
                      <a:pt x="6" y="0"/>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498" name="Freeform 109">
                <a:extLst>
                  <a:ext uri="{FF2B5EF4-FFF2-40B4-BE49-F238E27FC236}">
                    <a16:creationId xmlns:a16="http://schemas.microsoft.com/office/drawing/2014/main" id="{3A279789-DDF5-F866-0A35-9EDEFC4707CE}"/>
                  </a:ext>
                </a:extLst>
              </p:cNvPr>
              <p:cNvSpPr>
                <a:spLocks/>
              </p:cNvSpPr>
              <p:nvPr/>
            </p:nvSpPr>
            <p:spPr bwMode="auto">
              <a:xfrm>
                <a:off x="5170117" y="1997855"/>
                <a:ext cx="25152" cy="51715"/>
              </a:xfrm>
              <a:custGeom>
                <a:avLst/>
                <a:gdLst>
                  <a:gd name="T0" fmla="*/ 0 w 16"/>
                  <a:gd name="T1" fmla="*/ 0 h 33"/>
                  <a:gd name="T2" fmla="*/ 2 w 16"/>
                  <a:gd name="T3" fmla="*/ 13 h 33"/>
                  <a:gd name="T4" fmla="*/ 9 w 16"/>
                  <a:gd name="T5" fmla="*/ 16 h 33"/>
                  <a:gd name="T6" fmla="*/ 12 w 16"/>
                  <a:gd name="T7" fmla="*/ 32 h 33"/>
                  <a:gd name="T8" fmla="*/ 15 w 16"/>
                  <a:gd name="T9" fmla="*/ 20 h 33"/>
                  <a:gd name="T10" fmla="*/ 15 w 16"/>
                  <a:gd name="T11" fmla="*/ 11 h 33"/>
                  <a:gd name="T12" fmla="*/ 14 w 16"/>
                  <a:gd name="T13" fmla="*/ 0 h 33"/>
                  <a:gd name="T14" fmla="*/ 0 w 16"/>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33">
                    <a:moveTo>
                      <a:pt x="0" y="0"/>
                    </a:moveTo>
                    <a:lnTo>
                      <a:pt x="2" y="13"/>
                    </a:lnTo>
                    <a:lnTo>
                      <a:pt x="9" y="16"/>
                    </a:lnTo>
                    <a:lnTo>
                      <a:pt x="12" y="32"/>
                    </a:lnTo>
                    <a:lnTo>
                      <a:pt x="15" y="20"/>
                    </a:lnTo>
                    <a:lnTo>
                      <a:pt x="15" y="11"/>
                    </a:lnTo>
                    <a:lnTo>
                      <a:pt x="14" y="0"/>
                    </a:lnTo>
                    <a:lnTo>
                      <a:pt x="0" y="0"/>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499" name="Freeform 110">
                <a:extLst>
                  <a:ext uri="{FF2B5EF4-FFF2-40B4-BE49-F238E27FC236}">
                    <a16:creationId xmlns:a16="http://schemas.microsoft.com/office/drawing/2014/main" id="{A4E6528D-6F7D-AB6E-AFCB-29BC02864C98}"/>
                  </a:ext>
                </a:extLst>
              </p:cNvPr>
              <p:cNvSpPr>
                <a:spLocks/>
              </p:cNvSpPr>
              <p:nvPr/>
            </p:nvSpPr>
            <p:spPr bwMode="auto">
              <a:xfrm>
                <a:off x="5209241" y="2000650"/>
                <a:ext cx="25152" cy="20966"/>
              </a:xfrm>
              <a:custGeom>
                <a:avLst/>
                <a:gdLst>
                  <a:gd name="T0" fmla="*/ 0 w 15"/>
                  <a:gd name="T1" fmla="*/ 4 h 14"/>
                  <a:gd name="T2" fmla="*/ 7 w 15"/>
                  <a:gd name="T3" fmla="*/ 13 h 14"/>
                  <a:gd name="T4" fmla="*/ 14 w 15"/>
                  <a:gd name="T5" fmla="*/ 0 h 14"/>
                  <a:gd name="T6" fmla="*/ 0 w 15"/>
                  <a:gd name="T7" fmla="*/ 4 h 14"/>
                </a:gdLst>
                <a:ahLst/>
                <a:cxnLst>
                  <a:cxn ang="0">
                    <a:pos x="T0" y="T1"/>
                  </a:cxn>
                  <a:cxn ang="0">
                    <a:pos x="T2" y="T3"/>
                  </a:cxn>
                  <a:cxn ang="0">
                    <a:pos x="T4" y="T5"/>
                  </a:cxn>
                  <a:cxn ang="0">
                    <a:pos x="T6" y="T7"/>
                  </a:cxn>
                </a:cxnLst>
                <a:rect l="0" t="0" r="r" b="b"/>
                <a:pathLst>
                  <a:path w="15" h="14">
                    <a:moveTo>
                      <a:pt x="0" y="4"/>
                    </a:moveTo>
                    <a:lnTo>
                      <a:pt x="7" y="13"/>
                    </a:lnTo>
                    <a:lnTo>
                      <a:pt x="14" y="0"/>
                    </a:lnTo>
                    <a:lnTo>
                      <a:pt x="0" y="4"/>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00" name="Freeform 113">
                <a:extLst>
                  <a:ext uri="{FF2B5EF4-FFF2-40B4-BE49-F238E27FC236}">
                    <a16:creationId xmlns:a16="http://schemas.microsoft.com/office/drawing/2014/main" id="{09D9A602-82DD-5512-46EF-8E442A1CE1A9}"/>
                  </a:ext>
                </a:extLst>
              </p:cNvPr>
              <p:cNvSpPr>
                <a:spLocks/>
              </p:cNvSpPr>
              <p:nvPr/>
            </p:nvSpPr>
            <p:spPr bwMode="auto">
              <a:xfrm>
                <a:off x="4787255" y="2387820"/>
                <a:ext cx="20960" cy="20966"/>
              </a:xfrm>
              <a:custGeom>
                <a:avLst/>
                <a:gdLst>
                  <a:gd name="T0" fmla="*/ 0 w 14"/>
                  <a:gd name="T1" fmla="*/ 0 h 14"/>
                  <a:gd name="T2" fmla="*/ 2 w 14"/>
                  <a:gd name="T3" fmla="*/ 13 h 14"/>
                  <a:gd name="T4" fmla="*/ 13 w 14"/>
                  <a:gd name="T5" fmla="*/ 0 h 14"/>
                  <a:gd name="T6" fmla="*/ 0 w 14"/>
                  <a:gd name="T7" fmla="*/ 0 h 14"/>
                </a:gdLst>
                <a:ahLst/>
                <a:cxnLst>
                  <a:cxn ang="0">
                    <a:pos x="T0" y="T1"/>
                  </a:cxn>
                  <a:cxn ang="0">
                    <a:pos x="T2" y="T3"/>
                  </a:cxn>
                  <a:cxn ang="0">
                    <a:pos x="T4" y="T5"/>
                  </a:cxn>
                  <a:cxn ang="0">
                    <a:pos x="T6" y="T7"/>
                  </a:cxn>
                </a:cxnLst>
                <a:rect l="0" t="0" r="r" b="b"/>
                <a:pathLst>
                  <a:path w="14" h="14">
                    <a:moveTo>
                      <a:pt x="0" y="0"/>
                    </a:moveTo>
                    <a:lnTo>
                      <a:pt x="2" y="13"/>
                    </a:lnTo>
                    <a:lnTo>
                      <a:pt x="13" y="0"/>
                    </a:lnTo>
                    <a:lnTo>
                      <a:pt x="0" y="0"/>
                    </a:lnTo>
                  </a:path>
                </a:pathLst>
              </a:custGeom>
              <a:solidFill>
                <a:srgbClr val="29A8C5"/>
              </a:solid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01" name="Freeform 114">
                <a:extLst>
                  <a:ext uri="{FF2B5EF4-FFF2-40B4-BE49-F238E27FC236}">
                    <a16:creationId xmlns:a16="http://schemas.microsoft.com/office/drawing/2014/main" id="{7A87E04E-B226-B6F1-7218-E319BC691815}"/>
                  </a:ext>
                </a:extLst>
              </p:cNvPr>
              <p:cNvSpPr>
                <a:spLocks/>
              </p:cNvSpPr>
              <p:nvPr/>
            </p:nvSpPr>
            <p:spPr bwMode="auto">
              <a:xfrm>
                <a:off x="4690840" y="2412979"/>
                <a:ext cx="23755" cy="34943"/>
              </a:xfrm>
              <a:custGeom>
                <a:avLst/>
                <a:gdLst>
                  <a:gd name="T0" fmla="*/ 11 w 15"/>
                  <a:gd name="T1" fmla="*/ 0 h 23"/>
                  <a:gd name="T2" fmla="*/ 2 w 15"/>
                  <a:gd name="T3" fmla="*/ 6 h 23"/>
                  <a:gd name="T4" fmla="*/ 0 w 15"/>
                  <a:gd name="T5" fmla="*/ 17 h 23"/>
                  <a:gd name="T6" fmla="*/ 5 w 15"/>
                  <a:gd name="T7" fmla="*/ 22 h 23"/>
                  <a:gd name="T8" fmla="*/ 14 w 15"/>
                  <a:gd name="T9" fmla="*/ 11 h 23"/>
                  <a:gd name="T10" fmla="*/ 11 w 15"/>
                  <a:gd name="T11" fmla="*/ 0 h 23"/>
                </a:gdLst>
                <a:ahLst/>
                <a:cxnLst>
                  <a:cxn ang="0">
                    <a:pos x="T0" y="T1"/>
                  </a:cxn>
                  <a:cxn ang="0">
                    <a:pos x="T2" y="T3"/>
                  </a:cxn>
                  <a:cxn ang="0">
                    <a:pos x="T4" y="T5"/>
                  </a:cxn>
                  <a:cxn ang="0">
                    <a:pos x="T6" y="T7"/>
                  </a:cxn>
                  <a:cxn ang="0">
                    <a:pos x="T8" y="T9"/>
                  </a:cxn>
                  <a:cxn ang="0">
                    <a:pos x="T10" y="T11"/>
                  </a:cxn>
                </a:cxnLst>
                <a:rect l="0" t="0" r="r" b="b"/>
                <a:pathLst>
                  <a:path w="15" h="23">
                    <a:moveTo>
                      <a:pt x="11" y="0"/>
                    </a:moveTo>
                    <a:lnTo>
                      <a:pt x="2" y="6"/>
                    </a:lnTo>
                    <a:lnTo>
                      <a:pt x="0" y="17"/>
                    </a:lnTo>
                    <a:lnTo>
                      <a:pt x="5" y="22"/>
                    </a:lnTo>
                    <a:lnTo>
                      <a:pt x="14" y="11"/>
                    </a:lnTo>
                    <a:lnTo>
                      <a:pt x="11" y="0"/>
                    </a:lnTo>
                  </a:path>
                </a:pathLst>
              </a:custGeom>
              <a:solidFill>
                <a:srgbClr val="29A8C5"/>
              </a:solid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02" name="Freeform 115">
                <a:extLst>
                  <a:ext uri="{FF2B5EF4-FFF2-40B4-BE49-F238E27FC236}">
                    <a16:creationId xmlns:a16="http://schemas.microsoft.com/office/drawing/2014/main" id="{93AD736F-8BB9-89EB-9777-F9930E6EAC76}"/>
                  </a:ext>
                </a:extLst>
              </p:cNvPr>
              <p:cNvSpPr>
                <a:spLocks/>
              </p:cNvSpPr>
              <p:nvPr/>
            </p:nvSpPr>
            <p:spPr bwMode="auto">
              <a:xfrm>
                <a:off x="5389495" y="2932933"/>
                <a:ext cx="47508" cy="30751"/>
              </a:xfrm>
              <a:custGeom>
                <a:avLst/>
                <a:gdLst>
                  <a:gd name="T0" fmla="*/ 6 w 30"/>
                  <a:gd name="T1" fmla="*/ 19 h 20"/>
                  <a:gd name="T2" fmla="*/ 18 w 30"/>
                  <a:gd name="T3" fmla="*/ 19 h 20"/>
                  <a:gd name="T4" fmla="*/ 29 w 30"/>
                  <a:gd name="T5" fmla="*/ 10 h 20"/>
                  <a:gd name="T6" fmla="*/ 13 w 30"/>
                  <a:gd name="T7" fmla="*/ 0 h 20"/>
                  <a:gd name="T8" fmla="*/ 0 w 30"/>
                  <a:gd name="T9" fmla="*/ 2 h 20"/>
                  <a:gd name="T10" fmla="*/ 0 w 30"/>
                  <a:gd name="T11" fmla="*/ 14 h 20"/>
                  <a:gd name="T12" fmla="*/ 6 w 30"/>
                  <a:gd name="T13" fmla="*/ 19 h 20"/>
                </a:gdLst>
                <a:ahLst/>
                <a:cxnLst>
                  <a:cxn ang="0">
                    <a:pos x="T0" y="T1"/>
                  </a:cxn>
                  <a:cxn ang="0">
                    <a:pos x="T2" y="T3"/>
                  </a:cxn>
                  <a:cxn ang="0">
                    <a:pos x="T4" y="T5"/>
                  </a:cxn>
                  <a:cxn ang="0">
                    <a:pos x="T6" y="T7"/>
                  </a:cxn>
                  <a:cxn ang="0">
                    <a:pos x="T8" y="T9"/>
                  </a:cxn>
                  <a:cxn ang="0">
                    <a:pos x="T10" y="T11"/>
                  </a:cxn>
                  <a:cxn ang="0">
                    <a:pos x="T12" y="T13"/>
                  </a:cxn>
                </a:cxnLst>
                <a:rect l="0" t="0" r="r" b="b"/>
                <a:pathLst>
                  <a:path w="30" h="20">
                    <a:moveTo>
                      <a:pt x="6" y="19"/>
                    </a:moveTo>
                    <a:lnTo>
                      <a:pt x="18" y="19"/>
                    </a:lnTo>
                    <a:lnTo>
                      <a:pt x="29" y="10"/>
                    </a:lnTo>
                    <a:lnTo>
                      <a:pt x="13" y="0"/>
                    </a:lnTo>
                    <a:lnTo>
                      <a:pt x="0" y="2"/>
                    </a:lnTo>
                    <a:lnTo>
                      <a:pt x="0" y="14"/>
                    </a:lnTo>
                    <a:lnTo>
                      <a:pt x="6" y="19"/>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03" name="Freeform 156">
                <a:extLst>
                  <a:ext uri="{FF2B5EF4-FFF2-40B4-BE49-F238E27FC236}">
                    <a16:creationId xmlns:a16="http://schemas.microsoft.com/office/drawing/2014/main" id="{F84AE917-3A92-0E21-0090-773CD8A9FF20}"/>
                  </a:ext>
                </a:extLst>
              </p:cNvPr>
              <p:cNvSpPr>
                <a:spLocks/>
              </p:cNvSpPr>
              <p:nvPr/>
            </p:nvSpPr>
            <p:spPr bwMode="auto">
              <a:xfrm>
                <a:off x="5326615" y="2359866"/>
                <a:ext cx="108990" cy="48921"/>
              </a:xfrm>
              <a:custGeom>
                <a:avLst/>
                <a:gdLst>
                  <a:gd name="T0" fmla="*/ 69 w 70"/>
                  <a:gd name="T1" fmla="*/ 30 h 31"/>
                  <a:gd name="T2" fmla="*/ 41 w 70"/>
                  <a:gd name="T3" fmla="*/ 29 h 31"/>
                  <a:gd name="T4" fmla="*/ 27 w 70"/>
                  <a:gd name="T5" fmla="*/ 18 h 31"/>
                  <a:gd name="T6" fmla="*/ 0 w 70"/>
                  <a:gd name="T7" fmla="*/ 19 h 31"/>
                  <a:gd name="T8" fmla="*/ 11 w 70"/>
                  <a:gd name="T9" fmla="*/ 10 h 31"/>
                  <a:gd name="T10" fmla="*/ 30 w 70"/>
                  <a:gd name="T11" fmla="*/ 0 h 31"/>
                  <a:gd name="T12" fmla="*/ 53 w 70"/>
                  <a:gd name="T13" fmla="*/ 8 h 31"/>
                  <a:gd name="T14" fmla="*/ 69 w 70"/>
                  <a:gd name="T15" fmla="*/ 3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31">
                    <a:moveTo>
                      <a:pt x="69" y="30"/>
                    </a:moveTo>
                    <a:lnTo>
                      <a:pt x="41" y="29"/>
                    </a:lnTo>
                    <a:lnTo>
                      <a:pt x="27" y="18"/>
                    </a:lnTo>
                    <a:lnTo>
                      <a:pt x="0" y="19"/>
                    </a:lnTo>
                    <a:lnTo>
                      <a:pt x="11" y="10"/>
                    </a:lnTo>
                    <a:lnTo>
                      <a:pt x="30" y="0"/>
                    </a:lnTo>
                    <a:lnTo>
                      <a:pt x="53" y="8"/>
                    </a:lnTo>
                    <a:lnTo>
                      <a:pt x="69" y="30"/>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04" name="Freeform 158">
                <a:extLst>
                  <a:ext uri="{FF2B5EF4-FFF2-40B4-BE49-F238E27FC236}">
                    <a16:creationId xmlns:a16="http://schemas.microsoft.com/office/drawing/2014/main" id="{407E2D57-A2F2-27AC-7D58-53D510743813}"/>
                  </a:ext>
                </a:extLst>
              </p:cNvPr>
              <p:cNvSpPr>
                <a:spLocks/>
              </p:cNvSpPr>
              <p:nvPr/>
            </p:nvSpPr>
            <p:spPr bwMode="auto">
              <a:xfrm>
                <a:off x="5287491" y="2387820"/>
                <a:ext cx="185841" cy="88057"/>
              </a:xfrm>
              <a:custGeom>
                <a:avLst/>
                <a:gdLst>
                  <a:gd name="T0" fmla="*/ 86 w 119"/>
                  <a:gd name="T1" fmla="*/ 55 h 56"/>
                  <a:gd name="T2" fmla="*/ 85 w 119"/>
                  <a:gd name="T3" fmla="*/ 45 h 56"/>
                  <a:gd name="T4" fmla="*/ 56 w 119"/>
                  <a:gd name="T5" fmla="*/ 33 h 56"/>
                  <a:gd name="T6" fmla="*/ 26 w 119"/>
                  <a:gd name="T7" fmla="*/ 51 h 56"/>
                  <a:gd name="T8" fmla="*/ 2 w 119"/>
                  <a:gd name="T9" fmla="*/ 52 h 56"/>
                  <a:gd name="T10" fmla="*/ 0 w 119"/>
                  <a:gd name="T11" fmla="*/ 27 h 56"/>
                  <a:gd name="T12" fmla="*/ 10 w 119"/>
                  <a:gd name="T13" fmla="*/ 17 h 56"/>
                  <a:gd name="T14" fmla="*/ 21 w 119"/>
                  <a:gd name="T15" fmla="*/ 33 h 56"/>
                  <a:gd name="T16" fmla="*/ 37 w 119"/>
                  <a:gd name="T17" fmla="*/ 33 h 56"/>
                  <a:gd name="T18" fmla="*/ 40 w 119"/>
                  <a:gd name="T19" fmla="*/ 19 h 56"/>
                  <a:gd name="T20" fmla="*/ 29 w 119"/>
                  <a:gd name="T21" fmla="*/ 14 h 56"/>
                  <a:gd name="T22" fmla="*/ 25 w 119"/>
                  <a:gd name="T23" fmla="*/ 2 h 56"/>
                  <a:gd name="T24" fmla="*/ 52 w 119"/>
                  <a:gd name="T25" fmla="*/ 0 h 56"/>
                  <a:gd name="T26" fmla="*/ 67 w 119"/>
                  <a:gd name="T27" fmla="*/ 12 h 56"/>
                  <a:gd name="T28" fmla="*/ 95 w 119"/>
                  <a:gd name="T29" fmla="*/ 13 h 56"/>
                  <a:gd name="T30" fmla="*/ 118 w 119"/>
                  <a:gd name="T31" fmla="*/ 33 h 56"/>
                  <a:gd name="T32" fmla="*/ 107 w 119"/>
                  <a:gd name="T33" fmla="*/ 41 h 56"/>
                  <a:gd name="T34" fmla="*/ 92 w 119"/>
                  <a:gd name="T35" fmla="*/ 36 h 56"/>
                  <a:gd name="T36" fmla="*/ 86 w 119"/>
                  <a:gd name="T37" fmla="*/ 5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9" h="56">
                    <a:moveTo>
                      <a:pt x="86" y="55"/>
                    </a:moveTo>
                    <a:lnTo>
                      <a:pt x="85" y="45"/>
                    </a:lnTo>
                    <a:lnTo>
                      <a:pt x="56" y="33"/>
                    </a:lnTo>
                    <a:lnTo>
                      <a:pt x="26" y="51"/>
                    </a:lnTo>
                    <a:lnTo>
                      <a:pt x="2" y="52"/>
                    </a:lnTo>
                    <a:lnTo>
                      <a:pt x="0" y="27"/>
                    </a:lnTo>
                    <a:lnTo>
                      <a:pt x="10" y="17"/>
                    </a:lnTo>
                    <a:lnTo>
                      <a:pt x="21" y="33"/>
                    </a:lnTo>
                    <a:lnTo>
                      <a:pt x="37" y="33"/>
                    </a:lnTo>
                    <a:lnTo>
                      <a:pt x="40" y="19"/>
                    </a:lnTo>
                    <a:lnTo>
                      <a:pt x="29" y="14"/>
                    </a:lnTo>
                    <a:lnTo>
                      <a:pt x="25" y="2"/>
                    </a:lnTo>
                    <a:lnTo>
                      <a:pt x="52" y="0"/>
                    </a:lnTo>
                    <a:lnTo>
                      <a:pt x="67" y="12"/>
                    </a:lnTo>
                    <a:lnTo>
                      <a:pt x="95" y="13"/>
                    </a:lnTo>
                    <a:lnTo>
                      <a:pt x="118" y="33"/>
                    </a:lnTo>
                    <a:lnTo>
                      <a:pt x="107" y="41"/>
                    </a:lnTo>
                    <a:lnTo>
                      <a:pt x="92" y="36"/>
                    </a:lnTo>
                    <a:lnTo>
                      <a:pt x="86" y="55"/>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05" name="Freeform 165">
                <a:extLst>
                  <a:ext uri="{FF2B5EF4-FFF2-40B4-BE49-F238E27FC236}">
                    <a16:creationId xmlns:a16="http://schemas.microsoft.com/office/drawing/2014/main" id="{C7742994-E019-B68C-710B-7878C0E5F825}"/>
                  </a:ext>
                </a:extLst>
              </p:cNvPr>
              <p:cNvSpPr>
                <a:spLocks/>
              </p:cNvSpPr>
              <p:nvPr/>
            </p:nvSpPr>
            <p:spPr bwMode="auto">
              <a:xfrm>
                <a:off x="4981480" y="2752627"/>
                <a:ext cx="74057" cy="47522"/>
              </a:xfrm>
              <a:custGeom>
                <a:avLst/>
                <a:gdLst>
                  <a:gd name="T0" fmla="*/ 8 w 49"/>
                  <a:gd name="T1" fmla="*/ 28 h 30"/>
                  <a:gd name="T2" fmla="*/ 0 w 49"/>
                  <a:gd name="T3" fmla="*/ 22 h 30"/>
                  <a:gd name="T4" fmla="*/ 3 w 49"/>
                  <a:gd name="T5" fmla="*/ 13 h 30"/>
                  <a:gd name="T6" fmla="*/ 9 w 49"/>
                  <a:gd name="T7" fmla="*/ 3 h 30"/>
                  <a:gd name="T8" fmla="*/ 19 w 49"/>
                  <a:gd name="T9" fmla="*/ 2 h 30"/>
                  <a:gd name="T10" fmla="*/ 27 w 49"/>
                  <a:gd name="T11" fmla="*/ 3 h 30"/>
                  <a:gd name="T12" fmla="*/ 37 w 49"/>
                  <a:gd name="T13" fmla="*/ 0 h 30"/>
                  <a:gd name="T14" fmla="*/ 45 w 49"/>
                  <a:gd name="T15" fmla="*/ 5 h 30"/>
                  <a:gd name="T16" fmla="*/ 48 w 49"/>
                  <a:gd name="T17" fmla="*/ 15 h 30"/>
                  <a:gd name="T18" fmla="*/ 43 w 49"/>
                  <a:gd name="T19" fmla="*/ 26 h 30"/>
                  <a:gd name="T20" fmla="*/ 37 w 49"/>
                  <a:gd name="T21" fmla="*/ 24 h 30"/>
                  <a:gd name="T22" fmla="*/ 33 w 49"/>
                  <a:gd name="T23" fmla="*/ 29 h 30"/>
                  <a:gd name="T24" fmla="*/ 27 w 49"/>
                  <a:gd name="T25" fmla="*/ 22 h 30"/>
                  <a:gd name="T26" fmla="*/ 22 w 49"/>
                  <a:gd name="T27" fmla="*/ 28 h 30"/>
                  <a:gd name="T28" fmla="*/ 8 w 49"/>
                  <a:gd name="T29"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30">
                    <a:moveTo>
                      <a:pt x="8" y="28"/>
                    </a:moveTo>
                    <a:lnTo>
                      <a:pt x="0" y="22"/>
                    </a:lnTo>
                    <a:lnTo>
                      <a:pt x="3" y="13"/>
                    </a:lnTo>
                    <a:lnTo>
                      <a:pt x="9" y="3"/>
                    </a:lnTo>
                    <a:lnTo>
                      <a:pt x="19" y="2"/>
                    </a:lnTo>
                    <a:lnTo>
                      <a:pt x="27" y="3"/>
                    </a:lnTo>
                    <a:lnTo>
                      <a:pt x="37" y="0"/>
                    </a:lnTo>
                    <a:lnTo>
                      <a:pt x="45" y="5"/>
                    </a:lnTo>
                    <a:lnTo>
                      <a:pt x="48" y="15"/>
                    </a:lnTo>
                    <a:lnTo>
                      <a:pt x="43" y="26"/>
                    </a:lnTo>
                    <a:lnTo>
                      <a:pt x="37" y="24"/>
                    </a:lnTo>
                    <a:lnTo>
                      <a:pt x="33" y="29"/>
                    </a:lnTo>
                    <a:lnTo>
                      <a:pt x="27" y="22"/>
                    </a:lnTo>
                    <a:lnTo>
                      <a:pt x="22" y="28"/>
                    </a:lnTo>
                    <a:lnTo>
                      <a:pt x="8" y="28"/>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06" name="Freeform 166">
                <a:extLst>
                  <a:ext uri="{FF2B5EF4-FFF2-40B4-BE49-F238E27FC236}">
                    <a16:creationId xmlns:a16="http://schemas.microsoft.com/office/drawing/2014/main" id="{B8293BB6-3E27-BB23-FC16-E867EE6DB538}"/>
                  </a:ext>
                </a:extLst>
              </p:cNvPr>
              <p:cNvSpPr>
                <a:spLocks/>
              </p:cNvSpPr>
              <p:nvPr/>
            </p:nvSpPr>
            <p:spPr bwMode="auto">
              <a:xfrm>
                <a:off x="4936767" y="2573717"/>
                <a:ext cx="62878" cy="86659"/>
              </a:xfrm>
              <a:custGeom>
                <a:avLst/>
                <a:gdLst>
                  <a:gd name="T0" fmla="*/ 0 w 41"/>
                  <a:gd name="T1" fmla="*/ 42 h 54"/>
                  <a:gd name="T2" fmla="*/ 8 w 41"/>
                  <a:gd name="T3" fmla="*/ 38 h 54"/>
                  <a:gd name="T4" fmla="*/ 17 w 41"/>
                  <a:gd name="T5" fmla="*/ 40 h 54"/>
                  <a:gd name="T6" fmla="*/ 19 w 41"/>
                  <a:gd name="T7" fmla="*/ 53 h 54"/>
                  <a:gd name="T8" fmla="*/ 22 w 41"/>
                  <a:gd name="T9" fmla="*/ 36 h 54"/>
                  <a:gd name="T10" fmla="*/ 32 w 41"/>
                  <a:gd name="T11" fmla="*/ 29 h 54"/>
                  <a:gd name="T12" fmla="*/ 40 w 41"/>
                  <a:gd name="T13" fmla="*/ 15 h 54"/>
                  <a:gd name="T14" fmla="*/ 40 w 41"/>
                  <a:gd name="T15" fmla="*/ 0 h 54"/>
                  <a:gd name="T16" fmla="*/ 22 w 41"/>
                  <a:gd name="T17" fmla="*/ 3 h 54"/>
                  <a:gd name="T18" fmla="*/ 18 w 41"/>
                  <a:gd name="T19" fmla="*/ 8 h 54"/>
                  <a:gd name="T20" fmla="*/ 18 w 41"/>
                  <a:gd name="T21" fmla="*/ 10 h 54"/>
                  <a:gd name="T22" fmla="*/ 16 w 41"/>
                  <a:gd name="T23" fmla="*/ 16 h 54"/>
                  <a:gd name="T24" fmla="*/ 8 w 41"/>
                  <a:gd name="T25" fmla="*/ 11 h 54"/>
                  <a:gd name="T26" fmla="*/ 2 w 41"/>
                  <a:gd name="T27" fmla="*/ 27 h 54"/>
                  <a:gd name="T28" fmla="*/ 4 w 41"/>
                  <a:gd name="T29" fmla="*/ 30 h 54"/>
                  <a:gd name="T30" fmla="*/ 0 w 41"/>
                  <a:gd name="T31"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1" h="54">
                    <a:moveTo>
                      <a:pt x="0" y="42"/>
                    </a:moveTo>
                    <a:lnTo>
                      <a:pt x="8" y="38"/>
                    </a:lnTo>
                    <a:lnTo>
                      <a:pt x="17" y="40"/>
                    </a:lnTo>
                    <a:lnTo>
                      <a:pt x="19" y="53"/>
                    </a:lnTo>
                    <a:lnTo>
                      <a:pt x="22" y="36"/>
                    </a:lnTo>
                    <a:lnTo>
                      <a:pt x="32" y="29"/>
                    </a:lnTo>
                    <a:lnTo>
                      <a:pt x="40" y="15"/>
                    </a:lnTo>
                    <a:lnTo>
                      <a:pt x="40" y="0"/>
                    </a:lnTo>
                    <a:lnTo>
                      <a:pt x="22" y="3"/>
                    </a:lnTo>
                    <a:lnTo>
                      <a:pt x="18" y="8"/>
                    </a:lnTo>
                    <a:lnTo>
                      <a:pt x="18" y="10"/>
                    </a:lnTo>
                    <a:lnTo>
                      <a:pt x="16" y="16"/>
                    </a:lnTo>
                    <a:lnTo>
                      <a:pt x="8" y="11"/>
                    </a:lnTo>
                    <a:lnTo>
                      <a:pt x="2" y="27"/>
                    </a:lnTo>
                    <a:lnTo>
                      <a:pt x="4" y="30"/>
                    </a:lnTo>
                    <a:lnTo>
                      <a:pt x="0" y="42"/>
                    </a:lnTo>
                  </a:path>
                </a:pathLst>
              </a:custGeom>
              <a:solidFill>
                <a:srgbClr val="29A8C5"/>
              </a:solid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07" name="Freeform 240">
                <a:extLst>
                  <a:ext uri="{FF2B5EF4-FFF2-40B4-BE49-F238E27FC236}">
                    <a16:creationId xmlns:a16="http://schemas.microsoft.com/office/drawing/2014/main" id="{916D8CB2-45CD-7951-87A5-F3294C6527F4}"/>
                  </a:ext>
                </a:extLst>
              </p:cNvPr>
              <p:cNvSpPr>
                <a:spLocks/>
              </p:cNvSpPr>
              <p:nvPr/>
            </p:nvSpPr>
            <p:spPr bwMode="auto">
              <a:xfrm>
                <a:off x="5179898" y="2730263"/>
                <a:ext cx="141128" cy="78273"/>
              </a:xfrm>
              <a:custGeom>
                <a:avLst/>
                <a:gdLst>
                  <a:gd name="T0" fmla="*/ 88 w 89"/>
                  <a:gd name="T1" fmla="*/ 13 h 50"/>
                  <a:gd name="T2" fmla="*/ 76 w 89"/>
                  <a:gd name="T3" fmla="*/ 3 h 50"/>
                  <a:gd name="T4" fmla="*/ 69 w 89"/>
                  <a:gd name="T5" fmla="*/ 0 h 50"/>
                  <a:gd name="T6" fmla="*/ 46 w 89"/>
                  <a:gd name="T7" fmla="*/ 5 h 50"/>
                  <a:gd name="T8" fmla="*/ 30 w 89"/>
                  <a:gd name="T9" fmla="*/ 5 h 50"/>
                  <a:gd name="T10" fmla="*/ 9 w 89"/>
                  <a:gd name="T11" fmla="*/ 2 h 50"/>
                  <a:gd name="T12" fmla="*/ 11 w 89"/>
                  <a:gd name="T13" fmla="*/ 16 h 50"/>
                  <a:gd name="T14" fmla="*/ 5 w 89"/>
                  <a:gd name="T15" fmla="*/ 25 h 50"/>
                  <a:gd name="T16" fmla="*/ 5 w 89"/>
                  <a:gd name="T17" fmla="*/ 29 h 50"/>
                  <a:gd name="T18" fmla="*/ 0 w 89"/>
                  <a:gd name="T19" fmla="*/ 35 h 50"/>
                  <a:gd name="T20" fmla="*/ 6 w 89"/>
                  <a:gd name="T21" fmla="*/ 37 h 50"/>
                  <a:gd name="T22" fmla="*/ 21 w 89"/>
                  <a:gd name="T23" fmla="*/ 46 h 50"/>
                  <a:gd name="T24" fmla="*/ 38 w 89"/>
                  <a:gd name="T25" fmla="*/ 49 h 50"/>
                  <a:gd name="T26" fmla="*/ 47 w 89"/>
                  <a:gd name="T27" fmla="*/ 41 h 50"/>
                  <a:gd name="T28" fmla="*/ 58 w 89"/>
                  <a:gd name="T29" fmla="*/ 42 h 50"/>
                  <a:gd name="T30" fmla="*/ 71 w 89"/>
                  <a:gd name="T31" fmla="*/ 38 h 50"/>
                  <a:gd name="T32" fmla="*/ 82 w 89"/>
                  <a:gd name="T33" fmla="*/ 22 h 50"/>
                  <a:gd name="T34" fmla="*/ 88 w 89"/>
                  <a:gd name="T35" fmla="*/ 1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 h="50">
                    <a:moveTo>
                      <a:pt x="88" y="13"/>
                    </a:moveTo>
                    <a:lnTo>
                      <a:pt x="76" y="3"/>
                    </a:lnTo>
                    <a:lnTo>
                      <a:pt x="69" y="0"/>
                    </a:lnTo>
                    <a:lnTo>
                      <a:pt x="46" y="5"/>
                    </a:lnTo>
                    <a:lnTo>
                      <a:pt x="30" y="5"/>
                    </a:lnTo>
                    <a:lnTo>
                      <a:pt x="9" y="2"/>
                    </a:lnTo>
                    <a:lnTo>
                      <a:pt x="11" y="16"/>
                    </a:lnTo>
                    <a:lnTo>
                      <a:pt x="5" y="25"/>
                    </a:lnTo>
                    <a:lnTo>
                      <a:pt x="5" y="29"/>
                    </a:lnTo>
                    <a:lnTo>
                      <a:pt x="0" y="35"/>
                    </a:lnTo>
                    <a:lnTo>
                      <a:pt x="6" y="37"/>
                    </a:lnTo>
                    <a:lnTo>
                      <a:pt x="21" y="46"/>
                    </a:lnTo>
                    <a:lnTo>
                      <a:pt x="38" y="49"/>
                    </a:lnTo>
                    <a:lnTo>
                      <a:pt x="47" y="41"/>
                    </a:lnTo>
                    <a:lnTo>
                      <a:pt x="58" y="42"/>
                    </a:lnTo>
                    <a:lnTo>
                      <a:pt x="71" y="38"/>
                    </a:lnTo>
                    <a:lnTo>
                      <a:pt x="82" y="22"/>
                    </a:lnTo>
                    <a:lnTo>
                      <a:pt x="88" y="13"/>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08" name="Freeform 241">
                <a:extLst>
                  <a:ext uri="{FF2B5EF4-FFF2-40B4-BE49-F238E27FC236}">
                    <a16:creationId xmlns:a16="http://schemas.microsoft.com/office/drawing/2014/main" id="{E406344C-F69D-B0EE-C7FC-F6966DA67CAD}"/>
                  </a:ext>
                </a:extLst>
              </p:cNvPr>
              <p:cNvSpPr>
                <a:spLocks/>
              </p:cNvSpPr>
              <p:nvPr/>
            </p:nvSpPr>
            <p:spPr bwMode="auto">
              <a:xfrm>
                <a:off x="4907423" y="2635218"/>
                <a:ext cx="74057" cy="60102"/>
              </a:xfrm>
              <a:custGeom>
                <a:avLst/>
                <a:gdLst>
                  <a:gd name="T0" fmla="*/ 2 w 47"/>
                  <a:gd name="T1" fmla="*/ 3 h 38"/>
                  <a:gd name="T2" fmla="*/ 0 w 47"/>
                  <a:gd name="T3" fmla="*/ 11 h 38"/>
                  <a:gd name="T4" fmla="*/ 12 w 47"/>
                  <a:gd name="T5" fmla="*/ 18 h 38"/>
                  <a:gd name="T6" fmla="*/ 18 w 47"/>
                  <a:gd name="T7" fmla="*/ 31 h 38"/>
                  <a:gd name="T8" fmla="*/ 35 w 47"/>
                  <a:gd name="T9" fmla="*/ 37 h 38"/>
                  <a:gd name="T10" fmla="*/ 37 w 47"/>
                  <a:gd name="T11" fmla="*/ 29 h 38"/>
                  <a:gd name="T12" fmla="*/ 46 w 47"/>
                  <a:gd name="T13" fmla="*/ 19 h 38"/>
                  <a:gd name="T14" fmla="*/ 37 w 47"/>
                  <a:gd name="T15" fmla="*/ 15 h 38"/>
                  <a:gd name="T16" fmla="*/ 34 w 47"/>
                  <a:gd name="T17" fmla="*/ 2 h 38"/>
                  <a:gd name="T18" fmla="*/ 25 w 47"/>
                  <a:gd name="T19" fmla="*/ 0 h 38"/>
                  <a:gd name="T20" fmla="*/ 17 w 47"/>
                  <a:gd name="T21" fmla="*/ 3 h 38"/>
                  <a:gd name="T22" fmla="*/ 2 w 47"/>
                  <a:gd name="T23"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38">
                    <a:moveTo>
                      <a:pt x="2" y="3"/>
                    </a:moveTo>
                    <a:lnTo>
                      <a:pt x="0" y="11"/>
                    </a:lnTo>
                    <a:lnTo>
                      <a:pt x="12" y="18"/>
                    </a:lnTo>
                    <a:lnTo>
                      <a:pt x="18" y="31"/>
                    </a:lnTo>
                    <a:lnTo>
                      <a:pt x="35" y="37"/>
                    </a:lnTo>
                    <a:lnTo>
                      <a:pt x="37" y="29"/>
                    </a:lnTo>
                    <a:lnTo>
                      <a:pt x="46" y="19"/>
                    </a:lnTo>
                    <a:lnTo>
                      <a:pt x="37" y="15"/>
                    </a:lnTo>
                    <a:lnTo>
                      <a:pt x="34" y="2"/>
                    </a:lnTo>
                    <a:lnTo>
                      <a:pt x="25" y="0"/>
                    </a:lnTo>
                    <a:lnTo>
                      <a:pt x="17" y="3"/>
                    </a:lnTo>
                    <a:lnTo>
                      <a:pt x="2" y="3"/>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09" name="Freeform 242">
                <a:extLst>
                  <a:ext uri="{FF2B5EF4-FFF2-40B4-BE49-F238E27FC236}">
                    <a16:creationId xmlns:a16="http://schemas.microsoft.com/office/drawing/2014/main" id="{04F6F522-EBE5-E3C5-D74D-5B8732E2457F}"/>
                  </a:ext>
                </a:extLst>
              </p:cNvPr>
              <p:cNvSpPr>
                <a:spLocks/>
              </p:cNvSpPr>
              <p:nvPr/>
            </p:nvSpPr>
            <p:spPr bwMode="auto">
              <a:xfrm>
                <a:off x="5013618" y="2438139"/>
                <a:ext cx="61481" cy="97840"/>
              </a:xfrm>
              <a:custGeom>
                <a:avLst/>
                <a:gdLst>
                  <a:gd name="T0" fmla="*/ 30 w 39"/>
                  <a:gd name="T1" fmla="*/ 58 h 63"/>
                  <a:gd name="T2" fmla="*/ 14 w 39"/>
                  <a:gd name="T3" fmla="*/ 62 h 63"/>
                  <a:gd name="T4" fmla="*/ 8 w 39"/>
                  <a:gd name="T5" fmla="*/ 48 h 63"/>
                  <a:gd name="T6" fmla="*/ 0 w 39"/>
                  <a:gd name="T7" fmla="*/ 43 h 63"/>
                  <a:gd name="T8" fmla="*/ 0 w 39"/>
                  <a:gd name="T9" fmla="*/ 19 h 63"/>
                  <a:gd name="T10" fmla="*/ 18 w 39"/>
                  <a:gd name="T11" fmla="*/ 17 h 63"/>
                  <a:gd name="T12" fmla="*/ 27 w 39"/>
                  <a:gd name="T13" fmla="*/ 0 h 63"/>
                  <a:gd name="T14" fmla="*/ 38 w 39"/>
                  <a:gd name="T15" fmla="*/ 17 h 63"/>
                  <a:gd name="T16" fmla="*/ 28 w 39"/>
                  <a:gd name="T17" fmla="*/ 42 h 63"/>
                  <a:gd name="T18" fmla="*/ 30 w 39"/>
                  <a:gd name="T19" fmla="*/ 5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63">
                    <a:moveTo>
                      <a:pt x="30" y="58"/>
                    </a:moveTo>
                    <a:lnTo>
                      <a:pt x="14" y="62"/>
                    </a:lnTo>
                    <a:lnTo>
                      <a:pt x="8" y="48"/>
                    </a:lnTo>
                    <a:lnTo>
                      <a:pt x="0" y="43"/>
                    </a:lnTo>
                    <a:lnTo>
                      <a:pt x="0" y="19"/>
                    </a:lnTo>
                    <a:lnTo>
                      <a:pt x="18" y="17"/>
                    </a:lnTo>
                    <a:lnTo>
                      <a:pt x="27" y="0"/>
                    </a:lnTo>
                    <a:lnTo>
                      <a:pt x="38" y="17"/>
                    </a:lnTo>
                    <a:lnTo>
                      <a:pt x="28" y="42"/>
                    </a:lnTo>
                    <a:lnTo>
                      <a:pt x="30" y="58"/>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10" name="Freeform 243">
                <a:extLst>
                  <a:ext uri="{FF2B5EF4-FFF2-40B4-BE49-F238E27FC236}">
                    <a16:creationId xmlns:a16="http://schemas.microsoft.com/office/drawing/2014/main" id="{7FA78D6D-BB18-C6D7-AE78-906CBB834A75}"/>
                  </a:ext>
                </a:extLst>
              </p:cNvPr>
              <p:cNvSpPr>
                <a:spLocks/>
              </p:cNvSpPr>
              <p:nvPr/>
            </p:nvSpPr>
            <p:spPr bwMode="auto">
              <a:xfrm>
                <a:off x="5314040" y="2850467"/>
                <a:ext cx="128552" cy="96443"/>
              </a:xfrm>
              <a:custGeom>
                <a:avLst/>
                <a:gdLst>
                  <a:gd name="T0" fmla="*/ 61 w 82"/>
                  <a:gd name="T1" fmla="*/ 53 h 62"/>
                  <a:gd name="T2" fmla="*/ 48 w 82"/>
                  <a:gd name="T3" fmla="*/ 54 h 62"/>
                  <a:gd name="T4" fmla="*/ 40 w 82"/>
                  <a:gd name="T5" fmla="*/ 54 h 62"/>
                  <a:gd name="T6" fmla="*/ 31 w 82"/>
                  <a:gd name="T7" fmla="*/ 61 h 62"/>
                  <a:gd name="T8" fmla="*/ 18 w 82"/>
                  <a:gd name="T9" fmla="*/ 57 h 62"/>
                  <a:gd name="T10" fmla="*/ 11 w 82"/>
                  <a:gd name="T11" fmla="*/ 57 h 62"/>
                  <a:gd name="T12" fmla="*/ 9 w 82"/>
                  <a:gd name="T13" fmla="*/ 36 h 62"/>
                  <a:gd name="T14" fmla="*/ 1 w 82"/>
                  <a:gd name="T15" fmla="*/ 21 h 62"/>
                  <a:gd name="T16" fmla="*/ 0 w 82"/>
                  <a:gd name="T17" fmla="*/ 13 h 62"/>
                  <a:gd name="T18" fmla="*/ 13 w 82"/>
                  <a:gd name="T19" fmla="*/ 3 h 62"/>
                  <a:gd name="T20" fmla="*/ 17 w 82"/>
                  <a:gd name="T21" fmla="*/ 6 h 62"/>
                  <a:gd name="T22" fmla="*/ 21 w 82"/>
                  <a:gd name="T23" fmla="*/ 0 h 62"/>
                  <a:gd name="T24" fmla="*/ 38 w 82"/>
                  <a:gd name="T25" fmla="*/ 6 h 62"/>
                  <a:gd name="T26" fmla="*/ 42 w 82"/>
                  <a:gd name="T27" fmla="*/ 19 h 62"/>
                  <a:gd name="T28" fmla="*/ 62 w 82"/>
                  <a:gd name="T29" fmla="*/ 16 h 62"/>
                  <a:gd name="T30" fmla="*/ 76 w 82"/>
                  <a:gd name="T31" fmla="*/ 14 h 62"/>
                  <a:gd name="T32" fmla="*/ 81 w 82"/>
                  <a:gd name="T33" fmla="*/ 26 h 62"/>
                  <a:gd name="T34" fmla="*/ 76 w 82"/>
                  <a:gd name="T35" fmla="*/ 36 h 62"/>
                  <a:gd name="T36" fmla="*/ 70 w 82"/>
                  <a:gd name="T37" fmla="*/ 43 h 62"/>
                  <a:gd name="T38" fmla="*/ 75 w 82"/>
                  <a:gd name="T39" fmla="*/ 50 h 62"/>
                  <a:gd name="T40" fmla="*/ 61 w 82"/>
                  <a:gd name="T41"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62">
                    <a:moveTo>
                      <a:pt x="61" y="53"/>
                    </a:moveTo>
                    <a:lnTo>
                      <a:pt x="48" y="54"/>
                    </a:lnTo>
                    <a:lnTo>
                      <a:pt x="40" y="54"/>
                    </a:lnTo>
                    <a:lnTo>
                      <a:pt x="31" y="61"/>
                    </a:lnTo>
                    <a:lnTo>
                      <a:pt x="18" y="57"/>
                    </a:lnTo>
                    <a:lnTo>
                      <a:pt x="11" y="57"/>
                    </a:lnTo>
                    <a:lnTo>
                      <a:pt x="9" y="36"/>
                    </a:lnTo>
                    <a:lnTo>
                      <a:pt x="1" y="21"/>
                    </a:lnTo>
                    <a:lnTo>
                      <a:pt x="0" y="13"/>
                    </a:lnTo>
                    <a:lnTo>
                      <a:pt x="13" y="3"/>
                    </a:lnTo>
                    <a:lnTo>
                      <a:pt x="17" y="6"/>
                    </a:lnTo>
                    <a:lnTo>
                      <a:pt x="21" y="0"/>
                    </a:lnTo>
                    <a:lnTo>
                      <a:pt x="38" y="6"/>
                    </a:lnTo>
                    <a:lnTo>
                      <a:pt x="42" y="19"/>
                    </a:lnTo>
                    <a:lnTo>
                      <a:pt x="62" y="16"/>
                    </a:lnTo>
                    <a:lnTo>
                      <a:pt x="76" y="14"/>
                    </a:lnTo>
                    <a:lnTo>
                      <a:pt x="81" y="26"/>
                    </a:lnTo>
                    <a:lnTo>
                      <a:pt x="76" y="36"/>
                    </a:lnTo>
                    <a:lnTo>
                      <a:pt x="70" y="43"/>
                    </a:lnTo>
                    <a:lnTo>
                      <a:pt x="75" y="50"/>
                    </a:lnTo>
                    <a:lnTo>
                      <a:pt x="61" y="53"/>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11" name="Freeform 244">
                <a:extLst>
                  <a:ext uri="{FF2B5EF4-FFF2-40B4-BE49-F238E27FC236}">
                    <a16:creationId xmlns:a16="http://schemas.microsoft.com/office/drawing/2014/main" id="{871AFBBC-F1EB-EBE3-732B-E979CD578F92}"/>
                  </a:ext>
                </a:extLst>
              </p:cNvPr>
              <p:cNvSpPr>
                <a:spLocks/>
              </p:cNvSpPr>
              <p:nvPr/>
            </p:nvSpPr>
            <p:spPr bwMode="auto">
              <a:xfrm>
                <a:off x="5274914" y="1988071"/>
                <a:ext cx="217980" cy="378783"/>
              </a:xfrm>
              <a:custGeom>
                <a:avLst/>
                <a:gdLst>
                  <a:gd name="T0" fmla="*/ 19 w 139"/>
                  <a:gd name="T1" fmla="*/ 101 h 242"/>
                  <a:gd name="T2" fmla="*/ 29 w 139"/>
                  <a:gd name="T3" fmla="*/ 94 h 242"/>
                  <a:gd name="T4" fmla="*/ 27 w 139"/>
                  <a:gd name="T5" fmla="*/ 63 h 242"/>
                  <a:gd name="T6" fmla="*/ 26 w 139"/>
                  <a:gd name="T7" fmla="*/ 53 h 242"/>
                  <a:gd name="T8" fmla="*/ 15 w 139"/>
                  <a:gd name="T9" fmla="*/ 43 h 242"/>
                  <a:gd name="T10" fmla="*/ 3 w 139"/>
                  <a:gd name="T11" fmla="*/ 30 h 242"/>
                  <a:gd name="T12" fmla="*/ 14 w 139"/>
                  <a:gd name="T13" fmla="*/ 33 h 242"/>
                  <a:gd name="T14" fmla="*/ 27 w 139"/>
                  <a:gd name="T15" fmla="*/ 36 h 242"/>
                  <a:gd name="T16" fmla="*/ 47 w 139"/>
                  <a:gd name="T17" fmla="*/ 33 h 242"/>
                  <a:gd name="T18" fmla="*/ 53 w 139"/>
                  <a:gd name="T19" fmla="*/ 18 h 242"/>
                  <a:gd name="T20" fmla="*/ 63 w 139"/>
                  <a:gd name="T21" fmla="*/ 7 h 242"/>
                  <a:gd name="T22" fmla="*/ 70 w 139"/>
                  <a:gd name="T23" fmla="*/ 0 h 242"/>
                  <a:gd name="T24" fmla="*/ 82 w 139"/>
                  <a:gd name="T25" fmla="*/ 2 h 242"/>
                  <a:gd name="T26" fmla="*/ 93 w 139"/>
                  <a:gd name="T27" fmla="*/ 12 h 242"/>
                  <a:gd name="T28" fmla="*/ 85 w 139"/>
                  <a:gd name="T29" fmla="*/ 36 h 242"/>
                  <a:gd name="T30" fmla="*/ 100 w 139"/>
                  <a:gd name="T31" fmla="*/ 50 h 242"/>
                  <a:gd name="T32" fmla="*/ 100 w 139"/>
                  <a:gd name="T33" fmla="*/ 65 h 242"/>
                  <a:gd name="T34" fmla="*/ 105 w 139"/>
                  <a:gd name="T35" fmla="*/ 85 h 242"/>
                  <a:gd name="T36" fmla="*/ 107 w 139"/>
                  <a:gd name="T37" fmla="*/ 109 h 242"/>
                  <a:gd name="T38" fmla="*/ 113 w 139"/>
                  <a:gd name="T39" fmla="*/ 129 h 242"/>
                  <a:gd name="T40" fmla="*/ 120 w 139"/>
                  <a:gd name="T41" fmla="*/ 151 h 242"/>
                  <a:gd name="T42" fmla="*/ 128 w 139"/>
                  <a:gd name="T43" fmla="*/ 161 h 242"/>
                  <a:gd name="T44" fmla="*/ 138 w 139"/>
                  <a:gd name="T45" fmla="*/ 169 h 242"/>
                  <a:gd name="T46" fmla="*/ 127 w 139"/>
                  <a:gd name="T47" fmla="*/ 178 h 242"/>
                  <a:gd name="T48" fmla="*/ 112 w 139"/>
                  <a:gd name="T49" fmla="*/ 194 h 242"/>
                  <a:gd name="T50" fmla="*/ 98 w 139"/>
                  <a:gd name="T51" fmla="*/ 211 h 242"/>
                  <a:gd name="T52" fmla="*/ 94 w 139"/>
                  <a:gd name="T53" fmla="*/ 225 h 242"/>
                  <a:gd name="T54" fmla="*/ 96 w 139"/>
                  <a:gd name="T55" fmla="*/ 241 h 242"/>
                  <a:gd name="T56" fmla="*/ 81 w 139"/>
                  <a:gd name="T57" fmla="*/ 219 h 242"/>
                  <a:gd name="T58" fmla="*/ 63 w 139"/>
                  <a:gd name="T59" fmla="*/ 222 h 242"/>
                  <a:gd name="T60" fmla="*/ 53 w 139"/>
                  <a:gd name="T61" fmla="*/ 231 h 242"/>
                  <a:gd name="T62" fmla="*/ 29 w 139"/>
                  <a:gd name="T63" fmla="*/ 229 h 242"/>
                  <a:gd name="T64" fmla="*/ 11 w 139"/>
                  <a:gd name="T65" fmla="*/ 217 h 242"/>
                  <a:gd name="T66" fmla="*/ 4 w 139"/>
                  <a:gd name="T67" fmla="*/ 200 h 242"/>
                  <a:gd name="T68" fmla="*/ 0 w 139"/>
                  <a:gd name="T69" fmla="*/ 185 h 242"/>
                  <a:gd name="T70" fmla="*/ 3 w 139"/>
                  <a:gd name="T71" fmla="*/ 157 h 242"/>
                  <a:gd name="T72" fmla="*/ 21 w 139"/>
                  <a:gd name="T73" fmla="*/ 150 h 242"/>
                  <a:gd name="T74" fmla="*/ 33 w 139"/>
                  <a:gd name="T75" fmla="*/ 138 h 242"/>
                  <a:gd name="T76" fmla="*/ 37 w 139"/>
                  <a:gd name="T77" fmla="*/ 121 h 242"/>
                  <a:gd name="T78" fmla="*/ 58 w 139"/>
                  <a:gd name="T79" fmla="*/ 123 h 242"/>
                  <a:gd name="T80" fmla="*/ 46 w 139"/>
                  <a:gd name="T81" fmla="*/ 102 h 242"/>
                  <a:gd name="T82" fmla="*/ 19 w 139"/>
                  <a:gd name="T83" fmla="*/ 10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9" h="242">
                    <a:moveTo>
                      <a:pt x="19" y="101"/>
                    </a:moveTo>
                    <a:lnTo>
                      <a:pt x="29" y="94"/>
                    </a:lnTo>
                    <a:lnTo>
                      <a:pt x="27" y="63"/>
                    </a:lnTo>
                    <a:lnTo>
                      <a:pt x="26" y="53"/>
                    </a:lnTo>
                    <a:lnTo>
                      <a:pt x="15" y="43"/>
                    </a:lnTo>
                    <a:lnTo>
                      <a:pt x="3" y="30"/>
                    </a:lnTo>
                    <a:lnTo>
                      <a:pt x="14" y="33"/>
                    </a:lnTo>
                    <a:lnTo>
                      <a:pt x="27" y="36"/>
                    </a:lnTo>
                    <a:lnTo>
                      <a:pt x="47" y="33"/>
                    </a:lnTo>
                    <a:lnTo>
                      <a:pt x="53" y="18"/>
                    </a:lnTo>
                    <a:lnTo>
                      <a:pt x="63" y="7"/>
                    </a:lnTo>
                    <a:lnTo>
                      <a:pt x="70" y="0"/>
                    </a:lnTo>
                    <a:lnTo>
                      <a:pt x="82" y="2"/>
                    </a:lnTo>
                    <a:lnTo>
                      <a:pt x="93" y="12"/>
                    </a:lnTo>
                    <a:lnTo>
                      <a:pt x="85" y="36"/>
                    </a:lnTo>
                    <a:lnTo>
                      <a:pt x="100" y="50"/>
                    </a:lnTo>
                    <a:lnTo>
                      <a:pt x="100" y="65"/>
                    </a:lnTo>
                    <a:lnTo>
                      <a:pt x="105" y="85"/>
                    </a:lnTo>
                    <a:lnTo>
                      <a:pt x="107" y="109"/>
                    </a:lnTo>
                    <a:lnTo>
                      <a:pt x="113" y="129"/>
                    </a:lnTo>
                    <a:lnTo>
                      <a:pt x="120" y="151"/>
                    </a:lnTo>
                    <a:lnTo>
                      <a:pt x="128" y="161"/>
                    </a:lnTo>
                    <a:lnTo>
                      <a:pt x="138" y="169"/>
                    </a:lnTo>
                    <a:lnTo>
                      <a:pt x="127" y="178"/>
                    </a:lnTo>
                    <a:lnTo>
                      <a:pt x="112" y="194"/>
                    </a:lnTo>
                    <a:lnTo>
                      <a:pt x="98" y="211"/>
                    </a:lnTo>
                    <a:lnTo>
                      <a:pt x="94" y="225"/>
                    </a:lnTo>
                    <a:lnTo>
                      <a:pt x="96" y="241"/>
                    </a:lnTo>
                    <a:lnTo>
                      <a:pt x="81" y="219"/>
                    </a:lnTo>
                    <a:lnTo>
                      <a:pt x="63" y="222"/>
                    </a:lnTo>
                    <a:lnTo>
                      <a:pt x="53" y="231"/>
                    </a:lnTo>
                    <a:lnTo>
                      <a:pt x="29" y="229"/>
                    </a:lnTo>
                    <a:lnTo>
                      <a:pt x="11" y="217"/>
                    </a:lnTo>
                    <a:lnTo>
                      <a:pt x="4" y="200"/>
                    </a:lnTo>
                    <a:lnTo>
                      <a:pt x="0" y="185"/>
                    </a:lnTo>
                    <a:lnTo>
                      <a:pt x="3" y="157"/>
                    </a:lnTo>
                    <a:lnTo>
                      <a:pt x="21" y="150"/>
                    </a:lnTo>
                    <a:lnTo>
                      <a:pt x="33" y="138"/>
                    </a:lnTo>
                    <a:lnTo>
                      <a:pt x="37" y="121"/>
                    </a:lnTo>
                    <a:lnTo>
                      <a:pt x="58" y="123"/>
                    </a:lnTo>
                    <a:lnTo>
                      <a:pt x="46" y="102"/>
                    </a:lnTo>
                    <a:lnTo>
                      <a:pt x="19" y="101"/>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12" name="Freeform 245">
                <a:extLst>
                  <a:ext uri="{FF2B5EF4-FFF2-40B4-BE49-F238E27FC236}">
                    <a16:creationId xmlns:a16="http://schemas.microsoft.com/office/drawing/2014/main" id="{89DB4D10-8AF7-22AC-7816-CD30154FE63D}"/>
                  </a:ext>
                </a:extLst>
              </p:cNvPr>
              <p:cNvSpPr>
                <a:spLocks/>
              </p:cNvSpPr>
              <p:nvPr/>
            </p:nvSpPr>
            <p:spPr bwMode="auto">
              <a:xfrm>
                <a:off x="5049948" y="2706502"/>
                <a:ext cx="148115" cy="90852"/>
              </a:xfrm>
              <a:custGeom>
                <a:avLst/>
                <a:gdLst>
                  <a:gd name="T0" fmla="*/ 3 w 94"/>
                  <a:gd name="T1" fmla="*/ 43 h 57"/>
                  <a:gd name="T2" fmla="*/ 0 w 94"/>
                  <a:gd name="T3" fmla="*/ 34 h 57"/>
                  <a:gd name="T4" fmla="*/ 7 w 94"/>
                  <a:gd name="T5" fmla="*/ 35 h 57"/>
                  <a:gd name="T6" fmla="*/ 11 w 94"/>
                  <a:gd name="T7" fmla="*/ 36 h 57"/>
                  <a:gd name="T8" fmla="*/ 29 w 94"/>
                  <a:gd name="T9" fmla="*/ 28 h 57"/>
                  <a:gd name="T10" fmla="*/ 43 w 94"/>
                  <a:gd name="T11" fmla="*/ 20 h 57"/>
                  <a:gd name="T12" fmla="*/ 47 w 94"/>
                  <a:gd name="T13" fmla="*/ 15 h 57"/>
                  <a:gd name="T14" fmla="*/ 48 w 94"/>
                  <a:gd name="T15" fmla="*/ 0 h 57"/>
                  <a:gd name="T16" fmla="*/ 59 w 94"/>
                  <a:gd name="T17" fmla="*/ 10 h 57"/>
                  <a:gd name="T18" fmla="*/ 69 w 94"/>
                  <a:gd name="T19" fmla="*/ 9 h 57"/>
                  <a:gd name="T20" fmla="*/ 71 w 94"/>
                  <a:gd name="T21" fmla="*/ 1 h 57"/>
                  <a:gd name="T22" fmla="*/ 84 w 94"/>
                  <a:gd name="T23" fmla="*/ 2 h 57"/>
                  <a:gd name="T24" fmla="*/ 83 w 94"/>
                  <a:gd name="T25" fmla="*/ 12 h 57"/>
                  <a:gd name="T26" fmla="*/ 91 w 94"/>
                  <a:gd name="T27" fmla="*/ 16 h 57"/>
                  <a:gd name="T28" fmla="*/ 93 w 94"/>
                  <a:gd name="T29" fmla="*/ 31 h 57"/>
                  <a:gd name="T30" fmla="*/ 87 w 94"/>
                  <a:gd name="T31" fmla="*/ 39 h 57"/>
                  <a:gd name="T32" fmla="*/ 87 w 94"/>
                  <a:gd name="T33" fmla="*/ 43 h 57"/>
                  <a:gd name="T34" fmla="*/ 82 w 94"/>
                  <a:gd name="T35" fmla="*/ 50 h 57"/>
                  <a:gd name="T36" fmla="*/ 69 w 94"/>
                  <a:gd name="T37" fmla="*/ 56 h 57"/>
                  <a:gd name="T38" fmla="*/ 45 w 94"/>
                  <a:gd name="T39" fmla="*/ 50 h 57"/>
                  <a:gd name="T40" fmla="*/ 37 w 94"/>
                  <a:gd name="T41" fmla="*/ 41 h 57"/>
                  <a:gd name="T42" fmla="*/ 24 w 94"/>
                  <a:gd name="T43" fmla="*/ 47 h 57"/>
                  <a:gd name="T44" fmla="*/ 10 w 94"/>
                  <a:gd name="T45" fmla="*/ 47 h 57"/>
                  <a:gd name="T46" fmla="*/ 3 w 94"/>
                  <a:gd name="T47" fmla="*/ 43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4" h="57">
                    <a:moveTo>
                      <a:pt x="3" y="43"/>
                    </a:moveTo>
                    <a:lnTo>
                      <a:pt x="0" y="34"/>
                    </a:lnTo>
                    <a:lnTo>
                      <a:pt x="7" y="35"/>
                    </a:lnTo>
                    <a:lnTo>
                      <a:pt x="11" y="36"/>
                    </a:lnTo>
                    <a:lnTo>
                      <a:pt x="29" y="28"/>
                    </a:lnTo>
                    <a:lnTo>
                      <a:pt x="43" y="20"/>
                    </a:lnTo>
                    <a:lnTo>
                      <a:pt x="47" y="15"/>
                    </a:lnTo>
                    <a:lnTo>
                      <a:pt x="48" y="0"/>
                    </a:lnTo>
                    <a:lnTo>
                      <a:pt x="59" y="10"/>
                    </a:lnTo>
                    <a:lnTo>
                      <a:pt x="69" y="9"/>
                    </a:lnTo>
                    <a:lnTo>
                      <a:pt x="71" y="1"/>
                    </a:lnTo>
                    <a:lnTo>
                      <a:pt x="84" y="2"/>
                    </a:lnTo>
                    <a:lnTo>
                      <a:pt x="83" y="12"/>
                    </a:lnTo>
                    <a:lnTo>
                      <a:pt x="91" y="16"/>
                    </a:lnTo>
                    <a:lnTo>
                      <a:pt x="93" y="31"/>
                    </a:lnTo>
                    <a:lnTo>
                      <a:pt x="87" y="39"/>
                    </a:lnTo>
                    <a:lnTo>
                      <a:pt x="87" y="43"/>
                    </a:lnTo>
                    <a:lnTo>
                      <a:pt x="82" y="50"/>
                    </a:lnTo>
                    <a:lnTo>
                      <a:pt x="69" y="56"/>
                    </a:lnTo>
                    <a:lnTo>
                      <a:pt x="45" y="50"/>
                    </a:lnTo>
                    <a:lnTo>
                      <a:pt x="37" y="41"/>
                    </a:lnTo>
                    <a:lnTo>
                      <a:pt x="24" y="47"/>
                    </a:lnTo>
                    <a:lnTo>
                      <a:pt x="10" y="47"/>
                    </a:lnTo>
                    <a:lnTo>
                      <a:pt x="3" y="43"/>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13" name="Freeform 247">
                <a:extLst>
                  <a:ext uri="{FF2B5EF4-FFF2-40B4-BE49-F238E27FC236}">
                    <a16:creationId xmlns:a16="http://schemas.microsoft.com/office/drawing/2014/main" id="{8D4657B4-189B-3E49-B1CA-E5850FD38D78}"/>
                  </a:ext>
                </a:extLst>
              </p:cNvPr>
              <p:cNvSpPr>
                <a:spLocks/>
              </p:cNvSpPr>
              <p:nvPr/>
            </p:nvSpPr>
            <p:spPr bwMode="auto">
              <a:xfrm>
                <a:off x="4629359" y="2520604"/>
                <a:ext cx="92222" cy="117409"/>
              </a:xfrm>
              <a:custGeom>
                <a:avLst/>
                <a:gdLst>
                  <a:gd name="T0" fmla="*/ 31 w 60"/>
                  <a:gd name="T1" fmla="*/ 0 h 75"/>
                  <a:gd name="T2" fmla="*/ 27 w 60"/>
                  <a:gd name="T3" fmla="*/ 6 h 75"/>
                  <a:gd name="T4" fmla="*/ 27 w 60"/>
                  <a:gd name="T5" fmla="*/ 16 h 75"/>
                  <a:gd name="T6" fmla="*/ 3 w 60"/>
                  <a:gd name="T7" fmla="*/ 19 h 75"/>
                  <a:gd name="T8" fmla="*/ 0 w 60"/>
                  <a:gd name="T9" fmla="*/ 26 h 75"/>
                  <a:gd name="T10" fmla="*/ 0 w 60"/>
                  <a:gd name="T11" fmla="*/ 38 h 75"/>
                  <a:gd name="T12" fmla="*/ 8 w 60"/>
                  <a:gd name="T13" fmla="*/ 40 h 75"/>
                  <a:gd name="T14" fmla="*/ 8 w 60"/>
                  <a:gd name="T15" fmla="*/ 48 h 75"/>
                  <a:gd name="T16" fmla="*/ 0 w 60"/>
                  <a:gd name="T17" fmla="*/ 53 h 75"/>
                  <a:gd name="T18" fmla="*/ 1 w 60"/>
                  <a:gd name="T19" fmla="*/ 66 h 75"/>
                  <a:gd name="T20" fmla="*/ 1 w 60"/>
                  <a:gd name="T21" fmla="*/ 74 h 75"/>
                  <a:gd name="T22" fmla="*/ 17 w 60"/>
                  <a:gd name="T23" fmla="*/ 73 h 75"/>
                  <a:gd name="T24" fmla="*/ 32 w 60"/>
                  <a:gd name="T25" fmla="*/ 63 h 75"/>
                  <a:gd name="T26" fmla="*/ 45 w 60"/>
                  <a:gd name="T27" fmla="*/ 63 h 75"/>
                  <a:gd name="T28" fmla="*/ 56 w 60"/>
                  <a:gd name="T29" fmla="*/ 61 h 75"/>
                  <a:gd name="T30" fmla="*/ 59 w 60"/>
                  <a:gd name="T31" fmla="*/ 40 h 75"/>
                  <a:gd name="T32" fmla="*/ 53 w 60"/>
                  <a:gd name="T33" fmla="*/ 24 h 75"/>
                  <a:gd name="T34" fmla="*/ 38 w 60"/>
                  <a:gd name="T35" fmla="*/ 24 h 75"/>
                  <a:gd name="T36" fmla="*/ 34 w 60"/>
                  <a:gd name="T37" fmla="*/ 15 h 75"/>
                  <a:gd name="T38" fmla="*/ 38 w 60"/>
                  <a:gd name="T39" fmla="*/ 4 h 75"/>
                  <a:gd name="T40" fmla="*/ 31 w 60"/>
                  <a:gd name="T4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0" h="75">
                    <a:moveTo>
                      <a:pt x="31" y="0"/>
                    </a:moveTo>
                    <a:lnTo>
                      <a:pt x="27" y="6"/>
                    </a:lnTo>
                    <a:lnTo>
                      <a:pt x="27" y="16"/>
                    </a:lnTo>
                    <a:lnTo>
                      <a:pt x="3" y="19"/>
                    </a:lnTo>
                    <a:lnTo>
                      <a:pt x="0" y="26"/>
                    </a:lnTo>
                    <a:lnTo>
                      <a:pt x="0" y="38"/>
                    </a:lnTo>
                    <a:lnTo>
                      <a:pt x="8" y="40"/>
                    </a:lnTo>
                    <a:lnTo>
                      <a:pt x="8" y="48"/>
                    </a:lnTo>
                    <a:lnTo>
                      <a:pt x="0" y="53"/>
                    </a:lnTo>
                    <a:lnTo>
                      <a:pt x="1" y="66"/>
                    </a:lnTo>
                    <a:lnTo>
                      <a:pt x="1" y="74"/>
                    </a:lnTo>
                    <a:lnTo>
                      <a:pt x="17" y="73"/>
                    </a:lnTo>
                    <a:lnTo>
                      <a:pt x="32" y="63"/>
                    </a:lnTo>
                    <a:lnTo>
                      <a:pt x="45" y="63"/>
                    </a:lnTo>
                    <a:lnTo>
                      <a:pt x="56" y="61"/>
                    </a:lnTo>
                    <a:lnTo>
                      <a:pt x="59" y="40"/>
                    </a:lnTo>
                    <a:lnTo>
                      <a:pt x="53" y="24"/>
                    </a:lnTo>
                    <a:lnTo>
                      <a:pt x="38" y="24"/>
                    </a:lnTo>
                    <a:lnTo>
                      <a:pt x="34" y="15"/>
                    </a:lnTo>
                    <a:lnTo>
                      <a:pt x="38" y="4"/>
                    </a:lnTo>
                    <a:lnTo>
                      <a:pt x="31" y="0"/>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14" name="Freeform 248">
                <a:extLst>
                  <a:ext uri="{FF2B5EF4-FFF2-40B4-BE49-F238E27FC236}">
                    <a16:creationId xmlns:a16="http://schemas.microsoft.com/office/drawing/2014/main" id="{46096097-1416-8D67-D771-0DE932AB9660}"/>
                  </a:ext>
                </a:extLst>
              </p:cNvPr>
              <p:cNvSpPr>
                <a:spLocks/>
              </p:cNvSpPr>
              <p:nvPr/>
            </p:nvSpPr>
            <p:spPr bwMode="auto">
              <a:xfrm>
                <a:off x="4679662" y="2516411"/>
                <a:ext cx="51700" cy="41932"/>
              </a:xfrm>
              <a:custGeom>
                <a:avLst/>
                <a:gdLst>
                  <a:gd name="T0" fmla="*/ 19 w 32"/>
                  <a:gd name="T1" fmla="*/ 26 h 27"/>
                  <a:gd name="T2" fmla="*/ 4 w 32"/>
                  <a:gd name="T3" fmla="*/ 26 h 27"/>
                  <a:gd name="T4" fmla="*/ 0 w 32"/>
                  <a:gd name="T5" fmla="*/ 17 h 27"/>
                  <a:gd name="T6" fmla="*/ 4 w 32"/>
                  <a:gd name="T7" fmla="*/ 6 h 27"/>
                  <a:gd name="T8" fmla="*/ 12 w 32"/>
                  <a:gd name="T9" fmla="*/ 0 h 27"/>
                  <a:gd name="T10" fmla="*/ 22 w 32"/>
                  <a:gd name="T11" fmla="*/ 3 h 27"/>
                  <a:gd name="T12" fmla="*/ 28 w 32"/>
                  <a:gd name="T13" fmla="*/ 10 h 27"/>
                  <a:gd name="T14" fmla="*/ 31 w 32"/>
                  <a:gd name="T15" fmla="*/ 19 h 27"/>
                  <a:gd name="T16" fmla="*/ 19 w 32"/>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7">
                    <a:moveTo>
                      <a:pt x="19" y="26"/>
                    </a:moveTo>
                    <a:lnTo>
                      <a:pt x="4" y="26"/>
                    </a:lnTo>
                    <a:lnTo>
                      <a:pt x="0" y="17"/>
                    </a:lnTo>
                    <a:lnTo>
                      <a:pt x="4" y="6"/>
                    </a:lnTo>
                    <a:lnTo>
                      <a:pt x="12" y="0"/>
                    </a:lnTo>
                    <a:lnTo>
                      <a:pt x="22" y="3"/>
                    </a:lnTo>
                    <a:lnTo>
                      <a:pt x="28" y="10"/>
                    </a:lnTo>
                    <a:lnTo>
                      <a:pt x="31" y="19"/>
                    </a:lnTo>
                    <a:lnTo>
                      <a:pt x="19" y="26"/>
                    </a:lnTo>
                  </a:path>
                </a:pathLst>
              </a:custGeom>
              <a:solidFill>
                <a:srgbClr val="29A8C5"/>
              </a:solid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15" name="Freeform 249">
                <a:extLst>
                  <a:ext uri="{FF2B5EF4-FFF2-40B4-BE49-F238E27FC236}">
                    <a16:creationId xmlns:a16="http://schemas.microsoft.com/office/drawing/2014/main" id="{EF330D69-E41A-A853-A163-7B8C154F373C}"/>
                  </a:ext>
                </a:extLst>
              </p:cNvPr>
              <p:cNvSpPr>
                <a:spLocks/>
              </p:cNvSpPr>
              <p:nvPr/>
            </p:nvSpPr>
            <p:spPr bwMode="auto">
              <a:xfrm>
                <a:off x="4715992" y="2405990"/>
                <a:ext cx="163485" cy="280943"/>
              </a:xfrm>
              <a:custGeom>
                <a:avLst/>
                <a:gdLst>
                  <a:gd name="T0" fmla="*/ 16 w 104"/>
                  <a:gd name="T1" fmla="*/ 2 h 180"/>
                  <a:gd name="T2" fmla="*/ 10 w 104"/>
                  <a:gd name="T3" fmla="*/ 14 h 180"/>
                  <a:gd name="T4" fmla="*/ 0 w 104"/>
                  <a:gd name="T5" fmla="*/ 25 h 180"/>
                  <a:gd name="T6" fmla="*/ 8 w 104"/>
                  <a:gd name="T7" fmla="*/ 29 h 180"/>
                  <a:gd name="T8" fmla="*/ 10 w 104"/>
                  <a:gd name="T9" fmla="*/ 36 h 180"/>
                  <a:gd name="T10" fmla="*/ 10 w 104"/>
                  <a:gd name="T11" fmla="*/ 46 h 180"/>
                  <a:gd name="T12" fmla="*/ 2 w 104"/>
                  <a:gd name="T13" fmla="*/ 51 h 180"/>
                  <a:gd name="T14" fmla="*/ 5 w 104"/>
                  <a:gd name="T15" fmla="*/ 59 h 180"/>
                  <a:gd name="T16" fmla="*/ 14 w 104"/>
                  <a:gd name="T17" fmla="*/ 61 h 180"/>
                  <a:gd name="T18" fmla="*/ 16 w 104"/>
                  <a:gd name="T19" fmla="*/ 69 h 180"/>
                  <a:gd name="T20" fmla="*/ 13 w 104"/>
                  <a:gd name="T21" fmla="*/ 76 h 180"/>
                  <a:gd name="T22" fmla="*/ 36 w 104"/>
                  <a:gd name="T23" fmla="*/ 81 h 180"/>
                  <a:gd name="T24" fmla="*/ 41 w 104"/>
                  <a:gd name="T25" fmla="*/ 89 h 180"/>
                  <a:gd name="T26" fmla="*/ 48 w 104"/>
                  <a:gd name="T27" fmla="*/ 92 h 180"/>
                  <a:gd name="T28" fmla="*/ 46 w 104"/>
                  <a:gd name="T29" fmla="*/ 99 h 180"/>
                  <a:gd name="T30" fmla="*/ 34 w 104"/>
                  <a:gd name="T31" fmla="*/ 107 h 180"/>
                  <a:gd name="T32" fmla="*/ 24 w 104"/>
                  <a:gd name="T33" fmla="*/ 107 h 180"/>
                  <a:gd name="T34" fmla="*/ 22 w 104"/>
                  <a:gd name="T35" fmla="*/ 118 h 180"/>
                  <a:gd name="T36" fmla="*/ 26 w 104"/>
                  <a:gd name="T37" fmla="*/ 124 h 180"/>
                  <a:gd name="T38" fmla="*/ 24 w 104"/>
                  <a:gd name="T39" fmla="*/ 135 h 180"/>
                  <a:gd name="T40" fmla="*/ 16 w 104"/>
                  <a:gd name="T41" fmla="*/ 139 h 180"/>
                  <a:gd name="T42" fmla="*/ 39 w 104"/>
                  <a:gd name="T43" fmla="*/ 144 h 180"/>
                  <a:gd name="T44" fmla="*/ 37 w 104"/>
                  <a:gd name="T45" fmla="*/ 148 h 180"/>
                  <a:gd name="T46" fmla="*/ 29 w 104"/>
                  <a:gd name="T47" fmla="*/ 149 h 180"/>
                  <a:gd name="T48" fmla="*/ 19 w 104"/>
                  <a:gd name="T49" fmla="*/ 159 h 180"/>
                  <a:gd name="T50" fmla="*/ 11 w 104"/>
                  <a:gd name="T51" fmla="*/ 170 h 180"/>
                  <a:gd name="T52" fmla="*/ 10 w 104"/>
                  <a:gd name="T53" fmla="*/ 179 h 180"/>
                  <a:gd name="T54" fmla="*/ 31 w 104"/>
                  <a:gd name="T55" fmla="*/ 171 h 180"/>
                  <a:gd name="T56" fmla="*/ 45 w 104"/>
                  <a:gd name="T57" fmla="*/ 164 h 180"/>
                  <a:gd name="T58" fmla="*/ 63 w 104"/>
                  <a:gd name="T59" fmla="*/ 168 h 180"/>
                  <a:gd name="T60" fmla="*/ 79 w 104"/>
                  <a:gd name="T61" fmla="*/ 158 h 180"/>
                  <a:gd name="T62" fmla="*/ 97 w 104"/>
                  <a:gd name="T63" fmla="*/ 154 h 180"/>
                  <a:gd name="T64" fmla="*/ 86 w 104"/>
                  <a:gd name="T65" fmla="*/ 144 h 180"/>
                  <a:gd name="T66" fmla="*/ 92 w 104"/>
                  <a:gd name="T67" fmla="*/ 139 h 180"/>
                  <a:gd name="T68" fmla="*/ 102 w 104"/>
                  <a:gd name="T69" fmla="*/ 141 h 180"/>
                  <a:gd name="T70" fmla="*/ 103 w 104"/>
                  <a:gd name="T71" fmla="*/ 118 h 180"/>
                  <a:gd name="T72" fmla="*/ 84 w 104"/>
                  <a:gd name="T73" fmla="*/ 112 h 180"/>
                  <a:gd name="T74" fmla="*/ 84 w 104"/>
                  <a:gd name="T75" fmla="*/ 97 h 180"/>
                  <a:gd name="T76" fmla="*/ 81 w 104"/>
                  <a:gd name="T77" fmla="*/ 88 h 180"/>
                  <a:gd name="T78" fmla="*/ 71 w 104"/>
                  <a:gd name="T79" fmla="*/ 84 h 180"/>
                  <a:gd name="T80" fmla="*/ 73 w 104"/>
                  <a:gd name="T81" fmla="*/ 72 h 180"/>
                  <a:gd name="T82" fmla="*/ 63 w 104"/>
                  <a:gd name="T83" fmla="*/ 69 h 180"/>
                  <a:gd name="T84" fmla="*/ 66 w 104"/>
                  <a:gd name="T85" fmla="*/ 52 h 180"/>
                  <a:gd name="T86" fmla="*/ 42 w 104"/>
                  <a:gd name="T87" fmla="*/ 35 h 180"/>
                  <a:gd name="T88" fmla="*/ 55 w 104"/>
                  <a:gd name="T89" fmla="*/ 31 h 180"/>
                  <a:gd name="T90" fmla="*/ 56 w 104"/>
                  <a:gd name="T91" fmla="*/ 15 h 180"/>
                  <a:gd name="T92" fmla="*/ 34 w 104"/>
                  <a:gd name="T93" fmla="*/ 15 h 180"/>
                  <a:gd name="T94" fmla="*/ 34 w 104"/>
                  <a:gd name="T95" fmla="*/ 0 h 180"/>
                  <a:gd name="T96" fmla="*/ 16 w 104"/>
                  <a:gd name="T97" fmla="*/ 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4" h="180">
                    <a:moveTo>
                      <a:pt x="16" y="2"/>
                    </a:moveTo>
                    <a:lnTo>
                      <a:pt x="10" y="14"/>
                    </a:lnTo>
                    <a:lnTo>
                      <a:pt x="0" y="25"/>
                    </a:lnTo>
                    <a:lnTo>
                      <a:pt x="8" y="29"/>
                    </a:lnTo>
                    <a:lnTo>
                      <a:pt x="10" y="36"/>
                    </a:lnTo>
                    <a:lnTo>
                      <a:pt x="10" y="46"/>
                    </a:lnTo>
                    <a:lnTo>
                      <a:pt x="2" y="51"/>
                    </a:lnTo>
                    <a:lnTo>
                      <a:pt x="5" y="59"/>
                    </a:lnTo>
                    <a:lnTo>
                      <a:pt x="14" y="61"/>
                    </a:lnTo>
                    <a:lnTo>
                      <a:pt x="16" y="69"/>
                    </a:lnTo>
                    <a:lnTo>
                      <a:pt x="13" y="76"/>
                    </a:lnTo>
                    <a:lnTo>
                      <a:pt x="36" y="81"/>
                    </a:lnTo>
                    <a:lnTo>
                      <a:pt x="41" y="89"/>
                    </a:lnTo>
                    <a:lnTo>
                      <a:pt x="48" y="92"/>
                    </a:lnTo>
                    <a:lnTo>
                      <a:pt x="46" y="99"/>
                    </a:lnTo>
                    <a:lnTo>
                      <a:pt x="34" y="107"/>
                    </a:lnTo>
                    <a:lnTo>
                      <a:pt x="24" y="107"/>
                    </a:lnTo>
                    <a:lnTo>
                      <a:pt x="22" y="118"/>
                    </a:lnTo>
                    <a:lnTo>
                      <a:pt x="26" y="124"/>
                    </a:lnTo>
                    <a:lnTo>
                      <a:pt x="24" y="135"/>
                    </a:lnTo>
                    <a:lnTo>
                      <a:pt x="16" y="139"/>
                    </a:lnTo>
                    <a:lnTo>
                      <a:pt x="39" y="144"/>
                    </a:lnTo>
                    <a:lnTo>
                      <a:pt x="37" y="148"/>
                    </a:lnTo>
                    <a:lnTo>
                      <a:pt x="29" y="149"/>
                    </a:lnTo>
                    <a:lnTo>
                      <a:pt x="19" y="159"/>
                    </a:lnTo>
                    <a:lnTo>
                      <a:pt x="11" y="170"/>
                    </a:lnTo>
                    <a:lnTo>
                      <a:pt x="10" y="179"/>
                    </a:lnTo>
                    <a:lnTo>
                      <a:pt x="31" y="171"/>
                    </a:lnTo>
                    <a:lnTo>
                      <a:pt x="45" y="164"/>
                    </a:lnTo>
                    <a:lnTo>
                      <a:pt x="63" y="168"/>
                    </a:lnTo>
                    <a:lnTo>
                      <a:pt x="79" y="158"/>
                    </a:lnTo>
                    <a:lnTo>
                      <a:pt x="97" y="154"/>
                    </a:lnTo>
                    <a:lnTo>
                      <a:pt x="86" y="144"/>
                    </a:lnTo>
                    <a:lnTo>
                      <a:pt x="92" y="139"/>
                    </a:lnTo>
                    <a:lnTo>
                      <a:pt x="102" y="141"/>
                    </a:lnTo>
                    <a:lnTo>
                      <a:pt x="103" y="118"/>
                    </a:lnTo>
                    <a:lnTo>
                      <a:pt x="84" y="112"/>
                    </a:lnTo>
                    <a:lnTo>
                      <a:pt x="84" y="97"/>
                    </a:lnTo>
                    <a:lnTo>
                      <a:pt x="81" y="88"/>
                    </a:lnTo>
                    <a:lnTo>
                      <a:pt x="71" y="84"/>
                    </a:lnTo>
                    <a:lnTo>
                      <a:pt x="73" y="72"/>
                    </a:lnTo>
                    <a:lnTo>
                      <a:pt x="63" y="69"/>
                    </a:lnTo>
                    <a:lnTo>
                      <a:pt x="66" y="52"/>
                    </a:lnTo>
                    <a:lnTo>
                      <a:pt x="42" y="35"/>
                    </a:lnTo>
                    <a:lnTo>
                      <a:pt x="55" y="31"/>
                    </a:lnTo>
                    <a:lnTo>
                      <a:pt x="56" y="15"/>
                    </a:lnTo>
                    <a:lnTo>
                      <a:pt x="34" y="15"/>
                    </a:lnTo>
                    <a:lnTo>
                      <a:pt x="34" y="0"/>
                    </a:lnTo>
                    <a:lnTo>
                      <a:pt x="16" y="2"/>
                    </a:lnTo>
                  </a:path>
                </a:pathLst>
              </a:custGeom>
              <a:solidFill>
                <a:srgbClr val="29A8C5"/>
              </a:solid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16" name="Freeform 250">
                <a:extLst>
                  <a:ext uri="{FF2B5EF4-FFF2-40B4-BE49-F238E27FC236}">
                    <a16:creationId xmlns:a16="http://schemas.microsoft.com/office/drawing/2014/main" id="{FDCCE689-7BA5-172F-8E11-CF6CAB7F481D}"/>
                  </a:ext>
                </a:extLst>
              </p:cNvPr>
              <p:cNvSpPr>
                <a:spLocks/>
              </p:cNvSpPr>
              <p:nvPr/>
            </p:nvSpPr>
            <p:spPr bwMode="auto">
              <a:xfrm>
                <a:off x="4808215" y="2333309"/>
                <a:ext cx="23755" cy="27955"/>
              </a:xfrm>
              <a:custGeom>
                <a:avLst/>
                <a:gdLst>
                  <a:gd name="T0" fmla="*/ 11 w 15"/>
                  <a:gd name="T1" fmla="*/ 0 h 19"/>
                  <a:gd name="T2" fmla="*/ 0 w 15"/>
                  <a:gd name="T3" fmla="*/ 9 h 19"/>
                  <a:gd name="T4" fmla="*/ 4 w 15"/>
                  <a:gd name="T5" fmla="*/ 18 h 19"/>
                  <a:gd name="T6" fmla="*/ 14 w 15"/>
                  <a:gd name="T7" fmla="*/ 18 h 19"/>
                  <a:gd name="T8" fmla="*/ 11 w 15"/>
                  <a:gd name="T9" fmla="*/ 0 h 19"/>
                </a:gdLst>
                <a:ahLst/>
                <a:cxnLst>
                  <a:cxn ang="0">
                    <a:pos x="T0" y="T1"/>
                  </a:cxn>
                  <a:cxn ang="0">
                    <a:pos x="T2" y="T3"/>
                  </a:cxn>
                  <a:cxn ang="0">
                    <a:pos x="T4" y="T5"/>
                  </a:cxn>
                  <a:cxn ang="0">
                    <a:pos x="T6" y="T7"/>
                  </a:cxn>
                  <a:cxn ang="0">
                    <a:pos x="T8" y="T9"/>
                  </a:cxn>
                </a:cxnLst>
                <a:rect l="0" t="0" r="r" b="b"/>
                <a:pathLst>
                  <a:path w="15" h="19">
                    <a:moveTo>
                      <a:pt x="11" y="0"/>
                    </a:moveTo>
                    <a:lnTo>
                      <a:pt x="0" y="9"/>
                    </a:lnTo>
                    <a:lnTo>
                      <a:pt x="4" y="18"/>
                    </a:lnTo>
                    <a:lnTo>
                      <a:pt x="14" y="18"/>
                    </a:lnTo>
                    <a:lnTo>
                      <a:pt x="11" y="0"/>
                    </a:lnTo>
                  </a:path>
                </a:pathLst>
              </a:custGeom>
              <a:solidFill>
                <a:srgbClr val="29A8C5"/>
              </a:solid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17" name="Freeform 251">
                <a:extLst>
                  <a:ext uri="{FF2B5EF4-FFF2-40B4-BE49-F238E27FC236}">
                    <a16:creationId xmlns:a16="http://schemas.microsoft.com/office/drawing/2014/main" id="{FA8FDA6B-044A-61B1-D172-2F3A51317DEB}"/>
                  </a:ext>
                </a:extLst>
              </p:cNvPr>
              <p:cNvSpPr>
                <a:spLocks/>
              </p:cNvSpPr>
              <p:nvPr/>
            </p:nvSpPr>
            <p:spPr bwMode="auto">
              <a:xfrm>
                <a:off x="4943753" y="1941947"/>
                <a:ext cx="553334" cy="479419"/>
              </a:xfrm>
              <a:custGeom>
                <a:avLst/>
                <a:gdLst>
                  <a:gd name="T0" fmla="*/ 303 w 352"/>
                  <a:gd name="T1" fmla="*/ 42 h 306"/>
                  <a:gd name="T2" fmla="*/ 280 w 352"/>
                  <a:gd name="T3" fmla="*/ 30 h 306"/>
                  <a:gd name="T4" fmla="*/ 263 w 352"/>
                  <a:gd name="T5" fmla="*/ 48 h 306"/>
                  <a:gd name="T6" fmla="*/ 237 w 352"/>
                  <a:gd name="T7" fmla="*/ 66 h 306"/>
                  <a:gd name="T8" fmla="*/ 213 w 352"/>
                  <a:gd name="T9" fmla="*/ 61 h 306"/>
                  <a:gd name="T10" fmla="*/ 197 w 352"/>
                  <a:gd name="T11" fmla="*/ 78 h 306"/>
                  <a:gd name="T12" fmla="*/ 173 w 352"/>
                  <a:gd name="T13" fmla="*/ 78 h 306"/>
                  <a:gd name="T14" fmla="*/ 158 w 352"/>
                  <a:gd name="T15" fmla="*/ 90 h 306"/>
                  <a:gd name="T16" fmla="*/ 148 w 352"/>
                  <a:gd name="T17" fmla="*/ 100 h 306"/>
                  <a:gd name="T18" fmla="*/ 138 w 352"/>
                  <a:gd name="T19" fmla="*/ 117 h 306"/>
                  <a:gd name="T20" fmla="*/ 124 w 352"/>
                  <a:gd name="T21" fmla="*/ 129 h 306"/>
                  <a:gd name="T22" fmla="*/ 115 w 352"/>
                  <a:gd name="T23" fmla="*/ 151 h 306"/>
                  <a:gd name="T24" fmla="*/ 117 w 352"/>
                  <a:gd name="T25" fmla="*/ 172 h 306"/>
                  <a:gd name="T26" fmla="*/ 96 w 352"/>
                  <a:gd name="T27" fmla="*/ 174 h 306"/>
                  <a:gd name="T28" fmla="*/ 96 w 352"/>
                  <a:gd name="T29" fmla="*/ 210 h 306"/>
                  <a:gd name="T30" fmla="*/ 107 w 352"/>
                  <a:gd name="T31" fmla="*/ 242 h 306"/>
                  <a:gd name="T32" fmla="*/ 96 w 352"/>
                  <a:gd name="T33" fmla="*/ 267 h 306"/>
                  <a:gd name="T34" fmla="*/ 87 w 352"/>
                  <a:gd name="T35" fmla="*/ 295 h 306"/>
                  <a:gd name="T36" fmla="*/ 55 w 352"/>
                  <a:gd name="T37" fmla="*/ 292 h 306"/>
                  <a:gd name="T38" fmla="*/ 33 w 352"/>
                  <a:gd name="T39" fmla="*/ 303 h 306"/>
                  <a:gd name="T40" fmla="*/ 15 w 352"/>
                  <a:gd name="T41" fmla="*/ 287 h 306"/>
                  <a:gd name="T42" fmla="*/ 11 w 352"/>
                  <a:gd name="T43" fmla="*/ 256 h 306"/>
                  <a:gd name="T44" fmla="*/ 0 w 352"/>
                  <a:gd name="T45" fmla="*/ 218 h 306"/>
                  <a:gd name="T46" fmla="*/ 14 w 352"/>
                  <a:gd name="T47" fmla="*/ 205 h 306"/>
                  <a:gd name="T48" fmla="*/ 40 w 352"/>
                  <a:gd name="T49" fmla="*/ 199 h 306"/>
                  <a:gd name="T50" fmla="*/ 60 w 352"/>
                  <a:gd name="T51" fmla="*/ 189 h 306"/>
                  <a:gd name="T52" fmla="*/ 82 w 352"/>
                  <a:gd name="T53" fmla="*/ 165 h 306"/>
                  <a:gd name="T54" fmla="*/ 94 w 352"/>
                  <a:gd name="T55" fmla="*/ 144 h 306"/>
                  <a:gd name="T56" fmla="*/ 102 w 352"/>
                  <a:gd name="T57" fmla="*/ 117 h 306"/>
                  <a:gd name="T58" fmla="*/ 129 w 352"/>
                  <a:gd name="T59" fmla="*/ 87 h 306"/>
                  <a:gd name="T60" fmla="*/ 163 w 352"/>
                  <a:gd name="T61" fmla="*/ 74 h 306"/>
                  <a:gd name="T62" fmla="*/ 195 w 352"/>
                  <a:gd name="T63" fmla="*/ 64 h 306"/>
                  <a:gd name="T64" fmla="*/ 212 w 352"/>
                  <a:gd name="T65" fmla="*/ 46 h 306"/>
                  <a:gd name="T66" fmla="*/ 198 w 352"/>
                  <a:gd name="T67" fmla="*/ 23 h 306"/>
                  <a:gd name="T68" fmla="*/ 218 w 352"/>
                  <a:gd name="T69" fmla="*/ 8 h 306"/>
                  <a:gd name="T70" fmla="*/ 229 w 352"/>
                  <a:gd name="T71" fmla="*/ 25 h 306"/>
                  <a:gd name="T72" fmla="*/ 236 w 352"/>
                  <a:gd name="T73" fmla="*/ 17 h 306"/>
                  <a:gd name="T74" fmla="*/ 248 w 352"/>
                  <a:gd name="T75" fmla="*/ 26 h 306"/>
                  <a:gd name="T76" fmla="*/ 246 w 352"/>
                  <a:gd name="T77" fmla="*/ 10 h 306"/>
                  <a:gd name="T78" fmla="*/ 271 w 352"/>
                  <a:gd name="T79" fmla="*/ 12 h 306"/>
                  <a:gd name="T80" fmla="*/ 282 w 352"/>
                  <a:gd name="T81" fmla="*/ 14 h 306"/>
                  <a:gd name="T82" fmla="*/ 309 w 352"/>
                  <a:gd name="T83" fmla="*/ 5 h 306"/>
                  <a:gd name="T84" fmla="*/ 322 w 352"/>
                  <a:gd name="T85" fmla="*/ 26 h 306"/>
                  <a:gd name="T86" fmla="*/ 333 w 352"/>
                  <a:gd name="T87" fmla="*/ 48 h 306"/>
                  <a:gd name="T88" fmla="*/ 310 w 352"/>
                  <a:gd name="T89" fmla="*/ 80 h 306"/>
                  <a:gd name="T90" fmla="*/ 303 w 352"/>
                  <a:gd name="T91" fmla="*/ 42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2" h="306">
                    <a:moveTo>
                      <a:pt x="295" y="66"/>
                    </a:moveTo>
                    <a:lnTo>
                      <a:pt x="303" y="42"/>
                    </a:lnTo>
                    <a:lnTo>
                      <a:pt x="292" y="32"/>
                    </a:lnTo>
                    <a:lnTo>
                      <a:pt x="280" y="30"/>
                    </a:lnTo>
                    <a:lnTo>
                      <a:pt x="273" y="37"/>
                    </a:lnTo>
                    <a:lnTo>
                      <a:pt x="263" y="48"/>
                    </a:lnTo>
                    <a:lnTo>
                      <a:pt x="258" y="63"/>
                    </a:lnTo>
                    <a:lnTo>
                      <a:pt x="237" y="66"/>
                    </a:lnTo>
                    <a:lnTo>
                      <a:pt x="224" y="63"/>
                    </a:lnTo>
                    <a:lnTo>
                      <a:pt x="213" y="61"/>
                    </a:lnTo>
                    <a:lnTo>
                      <a:pt x="205" y="68"/>
                    </a:lnTo>
                    <a:lnTo>
                      <a:pt x="197" y="78"/>
                    </a:lnTo>
                    <a:lnTo>
                      <a:pt x="184" y="78"/>
                    </a:lnTo>
                    <a:lnTo>
                      <a:pt x="173" y="78"/>
                    </a:lnTo>
                    <a:lnTo>
                      <a:pt x="166" y="85"/>
                    </a:lnTo>
                    <a:lnTo>
                      <a:pt x="158" y="90"/>
                    </a:lnTo>
                    <a:lnTo>
                      <a:pt x="150" y="87"/>
                    </a:lnTo>
                    <a:lnTo>
                      <a:pt x="148" y="100"/>
                    </a:lnTo>
                    <a:lnTo>
                      <a:pt x="140" y="104"/>
                    </a:lnTo>
                    <a:lnTo>
                      <a:pt x="138" y="117"/>
                    </a:lnTo>
                    <a:lnTo>
                      <a:pt x="128" y="117"/>
                    </a:lnTo>
                    <a:lnTo>
                      <a:pt x="124" y="129"/>
                    </a:lnTo>
                    <a:lnTo>
                      <a:pt x="117" y="133"/>
                    </a:lnTo>
                    <a:lnTo>
                      <a:pt x="115" y="151"/>
                    </a:lnTo>
                    <a:lnTo>
                      <a:pt x="108" y="165"/>
                    </a:lnTo>
                    <a:lnTo>
                      <a:pt x="117" y="172"/>
                    </a:lnTo>
                    <a:lnTo>
                      <a:pt x="110" y="177"/>
                    </a:lnTo>
                    <a:lnTo>
                      <a:pt x="96" y="174"/>
                    </a:lnTo>
                    <a:lnTo>
                      <a:pt x="93" y="184"/>
                    </a:lnTo>
                    <a:lnTo>
                      <a:pt x="96" y="210"/>
                    </a:lnTo>
                    <a:lnTo>
                      <a:pt x="99" y="226"/>
                    </a:lnTo>
                    <a:lnTo>
                      <a:pt x="107" y="242"/>
                    </a:lnTo>
                    <a:lnTo>
                      <a:pt x="110" y="259"/>
                    </a:lnTo>
                    <a:lnTo>
                      <a:pt x="96" y="267"/>
                    </a:lnTo>
                    <a:lnTo>
                      <a:pt x="92" y="286"/>
                    </a:lnTo>
                    <a:lnTo>
                      <a:pt x="87" y="295"/>
                    </a:lnTo>
                    <a:lnTo>
                      <a:pt x="76" y="289"/>
                    </a:lnTo>
                    <a:lnTo>
                      <a:pt x="55" y="292"/>
                    </a:lnTo>
                    <a:lnTo>
                      <a:pt x="44" y="300"/>
                    </a:lnTo>
                    <a:lnTo>
                      <a:pt x="33" y="303"/>
                    </a:lnTo>
                    <a:lnTo>
                      <a:pt x="16" y="305"/>
                    </a:lnTo>
                    <a:lnTo>
                      <a:pt x="15" y="287"/>
                    </a:lnTo>
                    <a:lnTo>
                      <a:pt x="8" y="282"/>
                    </a:lnTo>
                    <a:lnTo>
                      <a:pt x="11" y="256"/>
                    </a:lnTo>
                    <a:lnTo>
                      <a:pt x="1" y="255"/>
                    </a:lnTo>
                    <a:lnTo>
                      <a:pt x="0" y="218"/>
                    </a:lnTo>
                    <a:lnTo>
                      <a:pt x="11" y="214"/>
                    </a:lnTo>
                    <a:lnTo>
                      <a:pt x="14" y="205"/>
                    </a:lnTo>
                    <a:lnTo>
                      <a:pt x="27" y="200"/>
                    </a:lnTo>
                    <a:lnTo>
                      <a:pt x="40" y="199"/>
                    </a:lnTo>
                    <a:lnTo>
                      <a:pt x="45" y="191"/>
                    </a:lnTo>
                    <a:lnTo>
                      <a:pt x="60" y="189"/>
                    </a:lnTo>
                    <a:lnTo>
                      <a:pt x="62" y="172"/>
                    </a:lnTo>
                    <a:lnTo>
                      <a:pt x="82" y="165"/>
                    </a:lnTo>
                    <a:lnTo>
                      <a:pt x="84" y="151"/>
                    </a:lnTo>
                    <a:lnTo>
                      <a:pt x="94" y="144"/>
                    </a:lnTo>
                    <a:lnTo>
                      <a:pt x="98" y="131"/>
                    </a:lnTo>
                    <a:lnTo>
                      <a:pt x="102" y="117"/>
                    </a:lnTo>
                    <a:lnTo>
                      <a:pt x="117" y="102"/>
                    </a:lnTo>
                    <a:lnTo>
                      <a:pt x="129" y="87"/>
                    </a:lnTo>
                    <a:lnTo>
                      <a:pt x="144" y="78"/>
                    </a:lnTo>
                    <a:lnTo>
                      <a:pt x="163" y="74"/>
                    </a:lnTo>
                    <a:lnTo>
                      <a:pt x="174" y="68"/>
                    </a:lnTo>
                    <a:lnTo>
                      <a:pt x="195" y="64"/>
                    </a:lnTo>
                    <a:lnTo>
                      <a:pt x="199" y="52"/>
                    </a:lnTo>
                    <a:lnTo>
                      <a:pt x="212" y="46"/>
                    </a:lnTo>
                    <a:lnTo>
                      <a:pt x="208" y="30"/>
                    </a:lnTo>
                    <a:lnTo>
                      <a:pt x="198" y="23"/>
                    </a:lnTo>
                    <a:lnTo>
                      <a:pt x="213" y="19"/>
                    </a:lnTo>
                    <a:lnTo>
                      <a:pt x="218" y="8"/>
                    </a:lnTo>
                    <a:lnTo>
                      <a:pt x="221" y="23"/>
                    </a:lnTo>
                    <a:lnTo>
                      <a:pt x="229" y="25"/>
                    </a:lnTo>
                    <a:lnTo>
                      <a:pt x="229" y="17"/>
                    </a:lnTo>
                    <a:lnTo>
                      <a:pt x="236" y="17"/>
                    </a:lnTo>
                    <a:lnTo>
                      <a:pt x="239" y="23"/>
                    </a:lnTo>
                    <a:lnTo>
                      <a:pt x="248" y="26"/>
                    </a:lnTo>
                    <a:lnTo>
                      <a:pt x="253" y="15"/>
                    </a:lnTo>
                    <a:lnTo>
                      <a:pt x="246" y="10"/>
                    </a:lnTo>
                    <a:lnTo>
                      <a:pt x="258" y="3"/>
                    </a:lnTo>
                    <a:lnTo>
                      <a:pt x="271" y="12"/>
                    </a:lnTo>
                    <a:lnTo>
                      <a:pt x="279" y="0"/>
                    </a:lnTo>
                    <a:lnTo>
                      <a:pt x="282" y="14"/>
                    </a:lnTo>
                    <a:lnTo>
                      <a:pt x="295" y="15"/>
                    </a:lnTo>
                    <a:lnTo>
                      <a:pt x="309" y="5"/>
                    </a:lnTo>
                    <a:lnTo>
                      <a:pt x="325" y="15"/>
                    </a:lnTo>
                    <a:lnTo>
                      <a:pt x="322" y="26"/>
                    </a:lnTo>
                    <a:lnTo>
                      <a:pt x="351" y="36"/>
                    </a:lnTo>
                    <a:lnTo>
                      <a:pt x="333" y="48"/>
                    </a:lnTo>
                    <a:lnTo>
                      <a:pt x="317" y="65"/>
                    </a:lnTo>
                    <a:lnTo>
                      <a:pt x="310" y="80"/>
                    </a:lnTo>
                    <a:lnTo>
                      <a:pt x="295" y="66"/>
                    </a:lnTo>
                    <a:lnTo>
                      <a:pt x="303" y="42"/>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18" name="Freeform 252">
                <a:extLst>
                  <a:ext uri="{FF2B5EF4-FFF2-40B4-BE49-F238E27FC236}">
                    <a16:creationId xmlns:a16="http://schemas.microsoft.com/office/drawing/2014/main" id="{C9D23B55-4EEA-F854-0F99-AB2918560CE6}"/>
                  </a:ext>
                </a:extLst>
              </p:cNvPr>
              <p:cNvSpPr>
                <a:spLocks/>
              </p:cNvSpPr>
              <p:nvPr/>
            </p:nvSpPr>
            <p:spPr bwMode="auto">
              <a:xfrm>
                <a:off x="4750925" y="2640809"/>
                <a:ext cx="266886" cy="276749"/>
              </a:xfrm>
              <a:custGeom>
                <a:avLst/>
                <a:gdLst>
                  <a:gd name="T0" fmla="*/ 89 w 170"/>
                  <a:gd name="T1" fmla="*/ 3 h 176"/>
                  <a:gd name="T2" fmla="*/ 85 w 170"/>
                  <a:gd name="T3" fmla="*/ 15 h 176"/>
                  <a:gd name="T4" fmla="*/ 78 w 170"/>
                  <a:gd name="T5" fmla="*/ 21 h 176"/>
                  <a:gd name="T6" fmla="*/ 74 w 170"/>
                  <a:gd name="T7" fmla="*/ 29 h 176"/>
                  <a:gd name="T8" fmla="*/ 63 w 170"/>
                  <a:gd name="T9" fmla="*/ 27 h 176"/>
                  <a:gd name="T10" fmla="*/ 61 w 170"/>
                  <a:gd name="T11" fmla="*/ 36 h 176"/>
                  <a:gd name="T12" fmla="*/ 50 w 170"/>
                  <a:gd name="T13" fmla="*/ 37 h 176"/>
                  <a:gd name="T14" fmla="*/ 42 w 170"/>
                  <a:gd name="T15" fmla="*/ 29 h 176"/>
                  <a:gd name="T16" fmla="*/ 34 w 170"/>
                  <a:gd name="T17" fmla="*/ 31 h 176"/>
                  <a:gd name="T18" fmla="*/ 38 w 170"/>
                  <a:gd name="T19" fmla="*/ 39 h 176"/>
                  <a:gd name="T20" fmla="*/ 36 w 170"/>
                  <a:gd name="T21" fmla="*/ 47 h 176"/>
                  <a:gd name="T22" fmla="*/ 23 w 170"/>
                  <a:gd name="T23" fmla="*/ 48 h 176"/>
                  <a:gd name="T24" fmla="*/ 17 w 170"/>
                  <a:gd name="T25" fmla="*/ 52 h 176"/>
                  <a:gd name="T26" fmla="*/ 15 w 170"/>
                  <a:gd name="T27" fmla="*/ 54 h 176"/>
                  <a:gd name="T28" fmla="*/ 0 w 170"/>
                  <a:gd name="T29" fmla="*/ 56 h 176"/>
                  <a:gd name="T30" fmla="*/ 0 w 170"/>
                  <a:gd name="T31" fmla="*/ 60 h 176"/>
                  <a:gd name="T32" fmla="*/ 0 w 170"/>
                  <a:gd name="T33" fmla="*/ 66 h 176"/>
                  <a:gd name="T34" fmla="*/ 18 w 170"/>
                  <a:gd name="T35" fmla="*/ 75 h 176"/>
                  <a:gd name="T36" fmla="*/ 26 w 170"/>
                  <a:gd name="T37" fmla="*/ 79 h 176"/>
                  <a:gd name="T38" fmla="*/ 34 w 170"/>
                  <a:gd name="T39" fmla="*/ 88 h 176"/>
                  <a:gd name="T40" fmla="*/ 40 w 170"/>
                  <a:gd name="T41" fmla="*/ 102 h 176"/>
                  <a:gd name="T42" fmla="*/ 48 w 170"/>
                  <a:gd name="T43" fmla="*/ 111 h 176"/>
                  <a:gd name="T44" fmla="*/ 40 w 170"/>
                  <a:gd name="T45" fmla="*/ 115 h 176"/>
                  <a:gd name="T46" fmla="*/ 36 w 170"/>
                  <a:gd name="T47" fmla="*/ 150 h 176"/>
                  <a:gd name="T48" fmla="*/ 31 w 170"/>
                  <a:gd name="T49" fmla="*/ 160 h 176"/>
                  <a:gd name="T50" fmla="*/ 50 w 170"/>
                  <a:gd name="T51" fmla="*/ 166 h 176"/>
                  <a:gd name="T52" fmla="*/ 70 w 170"/>
                  <a:gd name="T53" fmla="*/ 167 h 176"/>
                  <a:gd name="T54" fmla="*/ 80 w 170"/>
                  <a:gd name="T55" fmla="*/ 175 h 176"/>
                  <a:gd name="T56" fmla="*/ 108 w 170"/>
                  <a:gd name="T57" fmla="*/ 175 h 176"/>
                  <a:gd name="T58" fmla="*/ 105 w 170"/>
                  <a:gd name="T59" fmla="*/ 164 h 176"/>
                  <a:gd name="T60" fmla="*/ 110 w 170"/>
                  <a:gd name="T61" fmla="*/ 153 h 176"/>
                  <a:gd name="T62" fmla="*/ 122 w 170"/>
                  <a:gd name="T63" fmla="*/ 152 h 176"/>
                  <a:gd name="T64" fmla="*/ 134 w 170"/>
                  <a:gd name="T65" fmla="*/ 152 h 176"/>
                  <a:gd name="T66" fmla="*/ 143 w 170"/>
                  <a:gd name="T67" fmla="*/ 158 h 176"/>
                  <a:gd name="T68" fmla="*/ 154 w 170"/>
                  <a:gd name="T69" fmla="*/ 161 h 176"/>
                  <a:gd name="T70" fmla="*/ 162 w 170"/>
                  <a:gd name="T71" fmla="*/ 148 h 176"/>
                  <a:gd name="T72" fmla="*/ 162 w 170"/>
                  <a:gd name="T73" fmla="*/ 138 h 176"/>
                  <a:gd name="T74" fmla="*/ 151 w 170"/>
                  <a:gd name="T75" fmla="*/ 133 h 176"/>
                  <a:gd name="T76" fmla="*/ 149 w 170"/>
                  <a:gd name="T77" fmla="*/ 119 h 176"/>
                  <a:gd name="T78" fmla="*/ 155 w 170"/>
                  <a:gd name="T79" fmla="*/ 110 h 176"/>
                  <a:gd name="T80" fmla="*/ 155 w 170"/>
                  <a:gd name="T81" fmla="*/ 99 h 176"/>
                  <a:gd name="T82" fmla="*/ 148 w 170"/>
                  <a:gd name="T83" fmla="*/ 93 h 176"/>
                  <a:gd name="T84" fmla="*/ 151 w 170"/>
                  <a:gd name="T85" fmla="*/ 84 h 176"/>
                  <a:gd name="T86" fmla="*/ 157 w 170"/>
                  <a:gd name="T87" fmla="*/ 74 h 176"/>
                  <a:gd name="T88" fmla="*/ 166 w 170"/>
                  <a:gd name="T89" fmla="*/ 73 h 176"/>
                  <a:gd name="T90" fmla="*/ 163 w 170"/>
                  <a:gd name="T91" fmla="*/ 51 h 176"/>
                  <a:gd name="T92" fmla="*/ 169 w 170"/>
                  <a:gd name="T93" fmla="*/ 43 h 176"/>
                  <a:gd name="T94" fmla="*/ 156 w 170"/>
                  <a:gd name="T95" fmla="*/ 32 h 176"/>
                  <a:gd name="T96" fmla="*/ 137 w 170"/>
                  <a:gd name="T97" fmla="*/ 33 h 176"/>
                  <a:gd name="T98" fmla="*/ 119 w 170"/>
                  <a:gd name="T99" fmla="*/ 27 h 176"/>
                  <a:gd name="T100" fmla="*/ 114 w 170"/>
                  <a:gd name="T101" fmla="*/ 14 h 176"/>
                  <a:gd name="T102" fmla="*/ 102 w 170"/>
                  <a:gd name="T103" fmla="*/ 8 h 176"/>
                  <a:gd name="T104" fmla="*/ 103 w 170"/>
                  <a:gd name="T105" fmla="*/ 0 h 176"/>
                  <a:gd name="T106" fmla="*/ 89 w 170"/>
                  <a:gd name="T107" fmla="*/ 3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0" h="176">
                    <a:moveTo>
                      <a:pt x="89" y="3"/>
                    </a:moveTo>
                    <a:lnTo>
                      <a:pt x="85" y="15"/>
                    </a:lnTo>
                    <a:lnTo>
                      <a:pt x="78" y="21"/>
                    </a:lnTo>
                    <a:lnTo>
                      <a:pt x="74" y="29"/>
                    </a:lnTo>
                    <a:lnTo>
                      <a:pt x="63" y="27"/>
                    </a:lnTo>
                    <a:lnTo>
                      <a:pt x="61" y="36"/>
                    </a:lnTo>
                    <a:lnTo>
                      <a:pt x="50" y="37"/>
                    </a:lnTo>
                    <a:lnTo>
                      <a:pt x="42" y="29"/>
                    </a:lnTo>
                    <a:lnTo>
                      <a:pt x="34" y="31"/>
                    </a:lnTo>
                    <a:lnTo>
                      <a:pt x="38" y="39"/>
                    </a:lnTo>
                    <a:lnTo>
                      <a:pt x="36" y="47"/>
                    </a:lnTo>
                    <a:lnTo>
                      <a:pt x="23" y="48"/>
                    </a:lnTo>
                    <a:lnTo>
                      <a:pt x="17" y="52"/>
                    </a:lnTo>
                    <a:lnTo>
                      <a:pt x="15" y="54"/>
                    </a:lnTo>
                    <a:lnTo>
                      <a:pt x="0" y="56"/>
                    </a:lnTo>
                    <a:lnTo>
                      <a:pt x="0" y="60"/>
                    </a:lnTo>
                    <a:lnTo>
                      <a:pt x="0" y="66"/>
                    </a:lnTo>
                    <a:lnTo>
                      <a:pt x="18" y="75"/>
                    </a:lnTo>
                    <a:lnTo>
                      <a:pt x="26" y="79"/>
                    </a:lnTo>
                    <a:lnTo>
                      <a:pt x="34" y="88"/>
                    </a:lnTo>
                    <a:lnTo>
                      <a:pt x="40" y="102"/>
                    </a:lnTo>
                    <a:lnTo>
                      <a:pt x="48" y="111"/>
                    </a:lnTo>
                    <a:lnTo>
                      <a:pt x="40" y="115"/>
                    </a:lnTo>
                    <a:lnTo>
                      <a:pt x="36" y="150"/>
                    </a:lnTo>
                    <a:lnTo>
                      <a:pt x="31" y="160"/>
                    </a:lnTo>
                    <a:lnTo>
                      <a:pt x="50" y="166"/>
                    </a:lnTo>
                    <a:lnTo>
                      <a:pt x="70" y="167"/>
                    </a:lnTo>
                    <a:lnTo>
                      <a:pt x="80" y="175"/>
                    </a:lnTo>
                    <a:lnTo>
                      <a:pt x="108" y="175"/>
                    </a:lnTo>
                    <a:lnTo>
                      <a:pt x="105" y="164"/>
                    </a:lnTo>
                    <a:lnTo>
                      <a:pt x="110" y="153"/>
                    </a:lnTo>
                    <a:lnTo>
                      <a:pt x="122" y="152"/>
                    </a:lnTo>
                    <a:lnTo>
                      <a:pt x="134" y="152"/>
                    </a:lnTo>
                    <a:lnTo>
                      <a:pt x="143" y="158"/>
                    </a:lnTo>
                    <a:lnTo>
                      <a:pt x="154" y="161"/>
                    </a:lnTo>
                    <a:lnTo>
                      <a:pt x="162" y="148"/>
                    </a:lnTo>
                    <a:lnTo>
                      <a:pt x="162" y="138"/>
                    </a:lnTo>
                    <a:lnTo>
                      <a:pt x="151" y="133"/>
                    </a:lnTo>
                    <a:lnTo>
                      <a:pt x="149" y="119"/>
                    </a:lnTo>
                    <a:lnTo>
                      <a:pt x="155" y="110"/>
                    </a:lnTo>
                    <a:lnTo>
                      <a:pt x="155" y="99"/>
                    </a:lnTo>
                    <a:lnTo>
                      <a:pt x="148" y="93"/>
                    </a:lnTo>
                    <a:lnTo>
                      <a:pt x="151" y="84"/>
                    </a:lnTo>
                    <a:lnTo>
                      <a:pt x="157" y="74"/>
                    </a:lnTo>
                    <a:lnTo>
                      <a:pt x="166" y="73"/>
                    </a:lnTo>
                    <a:lnTo>
                      <a:pt x="163" y="51"/>
                    </a:lnTo>
                    <a:lnTo>
                      <a:pt x="169" y="43"/>
                    </a:lnTo>
                    <a:lnTo>
                      <a:pt x="156" y="32"/>
                    </a:lnTo>
                    <a:lnTo>
                      <a:pt x="137" y="33"/>
                    </a:lnTo>
                    <a:lnTo>
                      <a:pt x="119" y="27"/>
                    </a:lnTo>
                    <a:lnTo>
                      <a:pt x="114" y="14"/>
                    </a:lnTo>
                    <a:lnTo>
                      <a:pt x="102" y="8"/>
                    </a:lnTo>
                    <a:lnTo>
                      <a:pt x="103" y="0"/>
                    </a:lnTo>
                    <a:lnTo>
                      <a:pt x="89" y="3"/>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19" name="Freeform 253">
                <a:extLst>
                  <a:ext uri="{FF2B5EF4-FFF2-40B4-BE49-F238E27FC236}">
                    <a16:creationId xmlns:a16="http://schemas.microsoft.com/office/drawing/2014/main" id="{A41F5B04-D29E-E141-D04A-6281028DF813}"/>
                  </a:ext>
                </a:extLst>
              </p:cNvPr>
              <p:cNvSpPr>
                <a:spLocks/>
              </p:cNvSpPr>
              <p:nvPr/>
            </p:nvSpPr>
            <p:spPr bwMode="auto">
              <a:xfrm>
                <a:off x="4982878" y="2772194"/>
                <a:ext cx="268283" cy="265567"/>
              </a:xfrm>
              <a:custGeom>
                <a:avLst/>
                <a:gdLst>
                  <a:gd name="T0" fmla="*/ 13 w 172"/>
                  <a:gd name="T1" fmla="*/ 65 h 170"/>
                  <a:gd name="T2" fmla="*/ 13 w 172"/>
                  <a:gd name="T3" fmla="*/ 55 h 170"/>
                  <a:gd name="T4" fmla="*/ 2 w 172"/>
                  <a:gd name="T5" fmla="*/ 50 h 170"/>
                  <a:gd name="T6" fmla="*/ 0 w 172"/>
                  <a:gd name="T7" fmla="*/ 36 h 170"/>
                  <a:gd name="T8" fmla="*/ 6 w 172"/>
                  <a:gd name="T9" fmla="*/ 27 h 170"/>
                  <a:gd name="T10" fmla="*/ 6 w 172"/>
                  <a:gd name="T11" fmla="*/ 16 h 170"/>
                  <a:gd name="T12" fmla="*/ 20 w 172"/>
                  <a:gd name="T13" fmla="*/ 16 h 170"/>
                  <a:gd name="T14" fmla="*/ 25 w 172"/>
                  <a:gd name="T15" fmla="*/ 10 h 170"/>
                  <a:gd name="T16" fmla="*/ 30 w 172"/>
                  <a:gd name="T17" fmla="*/ 17 h 170"/>
                  <a:gd name="T18" fmla="*/ 35 w 172"/>
                  <a:gd name="T19" fmla="*/ 12 h 170"/>
                  <a:gd name="T20" fmla="*/ 41 w 172"/>
                  <a:gd name="T21" fmla="*/ 14 h 170"/>
                  <a:gd name="T22" fmla="*/ 46 w 172"/>
                  <a:gd name="T23" fmla="*/ 3 h 170"/>
                  <a:gd name="T24" fmla="*/ 52 w 172"/>
                  <a:gd name="T25" fmla="*/ 6 h 170"/>
                  <a:gd name="T26" fmla="*/ 67 w 172"/>
                  <a:gd name="T27" fmla="*/ 6 h 170"/>
                  <a:gd name="T28" fmla="*/ 80 w 172"/>
                  <a:gd name="T29" fmla="*/ 0 h 170"/>
                  <a:gd name="T30" fmla="*/ 88 w 172"/>
                  <a:gd name="T31" fmla="*/ 9 h 170"/>
                  <a:gd name="T32" fmla="*/ 91 w 172"/>
                  <a:gd name="T33" fmla="*/ 21 h 170"/>
                  <a:gd name="T34" fmla="*/ 84 w 172"/>
                  <a:gd name="T35" fmla="*/ 27 h 170"/>
                  <a:gd name="T36" fmla="*/ 80 w 172"/>
                  <a:gd name="T37" fmla="*/ 41 h 170"/>
                  <a:gd name="T38" fmla="*/ 80 w 172"/>
                  <a:gd name="T39" fmla="*/ 51 h 170"/>
                  <a:gd name="T40" fmla="*/ 86 w 172"/>
                  <a:gd name="T41" fmla="*/ 54 h 170"/>
                  <a:gd name="T42" fmla="*/ 95 w 172"/>
                  <a:gd name="T43" fmla="*/ 69 h 170"/>
                  <a:gd name="T44" fmla="*/ 106 w 172"/>
                  <a:gd name="T45" fmla="*/ 85 h 170"/>
                  <a:gd name="T46" fmla="*/ 124 w 172"/>
                  <a:gd name="T47" fmla="*/ 101 h 170"/>
                  <a:gd name="T48" fmla="*/ 133 w 172"/>
                  <a:gd name="T49" fmla="*/ 101 h 170"/>
                  <a:gd name="T50" fmla="*/ 140 w 172"/>
                  <a:gd name="T51" fmla="*/ 99 h 170"/>
                  <a:gd name="T52" fmla="*/ 141 w 172"/>
                  <a:gd name="T53" fmla="*/ 106 h 170"/>
                  <a:gd name="T54" fmla="*/ 146 w 172"/>
                  <a:gd name="T55" fmla="*/ 111 h 170"/>
                  <a:gd name="T56" fmla="*/ 149 w 172"/>
                  <a:gd name="T57" fmla="*/ 117 h 170"/>
                  <a:gd name="T58" fmla="*/ 157 w 172"/>
                  <a:gd name="T59" fmla="*/ 123 h 170"/>
                  <a:gd name="T60" fmla="*/ 163 w 172"/>
                  <a:gd name="T61" fmla="*/ 129 h 170"/>
                  <a:gd name="T62" fmla="*/ 171 w 172"/>
                  <a:gd name="T63" fmla="*/ 139 h 170"/>
                  <a:gd name="T64" fmla="*/ 166 w 172"/>
                  <a:gd name="T65" fmla="*/ 143 h 170"/>
                  <a:gd name="T66" fmla="*/ 154 w 172"/>
                  <a:gd name="T67" fmla="*/ 134 h 170"/>
                  <a:gd name="T68" fmla="*/ 145 w 172"/>
                  <a:gd name="T69" fmla="*/ 138 h 170"/>
                  <a:gd name="T70" fmla="*/ 142 w 172"/>
                  <a:gd name="T71" fmla="*/ 144 h 170"/>
                  <a:gd name="T72" fmla="*/ 148 w 172"/>
                  <a:gd name="T73" fmla="*/ 155 h 170"/>
                  <a:gd name="T74" fmla="*/ 142 w 172"/>
                  <a:gd name="T75" fmla="*/ 161 h 170"/>
                  <a:gd name="T76" fmla="*/ 138 w 172"/>
                  <a:gd name="T77" fmla="*/ 169 h 170"/>
                  <a:gd name="T78" fmla="*/ 130 w 172"/>
                  <a:gd name="T79" fmla="*/ 169 h 170"/>
                  <a:gd name="T80" fmla="*/ 131 w 172"/>
                  <a:gd name="T81" fmla="*/ 152 h 170"/>
                  <a:gd name="T82" fmla="*/ 131 w 172"/>
                  <a:gd name="T83" fmla="*/ 144 h 170"/>
                  <a:gd name="T84" fmla="*/ 121 w 172"/>
                  <a:gd name="T85" fmla="*/ 137 h 170"/>
                  <a:gd name="T86" fmla="*/ 116 w 172"/>
                  <a:gd name="T87" fmla="*/ 128 h 170"/>
                  <a:gd name="T88" fmla="*/ 108 w 172"/>
                  <a:gd name="T89" fmla="*/ 126 h 170"/>
                  <a:gd name="T90" fmla="*/ 108 w 172"/>
                  <a:gd name="T91" fmla="*/ 117 h 170"/>
                  <a:gd name="T92" fmla="*/ 87 w 172"/>
                  <a:gd name="T93" fmla="*/ 111 h 170"/>
                  <a:gd name="T94" fmla="*/ 74 w 172"/>
                  <a:gd name="T95" fmla="*/ 99 h 170"/>
                  <a:gd name="T96" fmla="*/ 66 w 172"/>
                  <a:gd name="T97" fmla="*/ 93 h 170"/>
                  <a:gd name="T98" fmla="*/ 58 w 172"/>
                  <a:gd name="T99" fmla="*/ 86 h 170"/>
                  <a:gd name="T100" fmla="*/ 53 w 172"/>
                  <a:gd name="T101" fmla="*/ 69 h 170"/>
                  <a:gd name="T102" fmla="*/ 49 w 172"/>
                  <a:gd name="T103" fmla="*/ 59 h 170"/>
                  <a:gd name="T104" fmla="*/ 32 w 172"/>
                  <a:gd name="T105" fmla="*/ 56 h 170"/>
                  <a:gd name="T106" fmla="*/ 29 w 172"/>
                  <a:gd name="T107" fmla="*/ 64 h 170"/>
                  <a:gd name="T108" fmla="*/ 13 w 172"/>
                  <a:gd name="T109" fmla="*/ 65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170">
                    <a:moveTo>
                      <a:pt x="13" y="65"/>
                    </a:moveTo>
                    <a:lnTo>
                      <a:pt x="13" y="55"/>
                    </a:lnTo>
                    <a:lnTo>
                      <a:pt x="2" y="50"/>
                    </a:lnTo>
                    <a:lnTo>
                      <a:pt x="0" y="36"/>
                    </a:lnTo>
                    <a:lnTo>
                      <a:pt x="6" y="27"/>
                    </a:lnTo>
                    <a:lnTo>
                      <a:pt x="6" y="16"/>
                    </a:lnTo>
                    <a:lnTo>
                      <a:pt x="20" y="16"/>
                    </a:lnTo>
                    <a:lnTo>
                      <a:pt x="25" y="10"/>
                    </a:lnTo>
                    <a:lnTo>
                      <a:pt x="30" y="17"/>
                    </a:lnTo>
                    <a:lnTo>
                      <a:pt x="35" y="12"/>
                    </a:lnTo>
                    <a:lnTo>
                      <a:pt x="41" y="14"/>
                    </a:lnTo>
                    <a:lnTo>
                      <a:pt x="46" y="3"/>
                    </a:lnTo>
                    <a:lnTo>
                      <a:pt x="52" y="6"/>
                    </a:lnTo>
                    <a:lnTo>
                      <a:pt x="67" y="6"/>
                    </a:lnTo>
                    <a:lnTo>
                      <a:pt x="80" y="0"/>
                    </a:lnTo>
                    <a:lnTo>
                      <a:pt x="88" y="9"/>
                    </a:lnTo>
                    <a:lnTo>
                      <a:pt x="91" y="21"/>
                    </a:lnTo>
                    <a:lnTo>
                      <a:pt x="84" y="27"/>
                    </a:lnTo>
                    <a:lnTo>
                      <a:pt x="80" y="41"/>
                    </a:lnTo>
                    <a:lnTo>
                      <a:pt x="80" y="51"/>
                    </a:lnTo>
                    <a:lnTo>
                      <a:pt x="86" y="54"/>
                    </a:lnTo>
                    <a:lnTo>
                      <a:pt x="95" y="69"/>
                    </a:lnTo>
                    <a:lnTo>
                      <a:pt x="106" y="85"/>
                    </a:lnTo>
                    <a:lnTo>
                      <a:pt x="124" y="101"/>
                    </a:lnTo>
                    <a:lnTo>
                      <a:pt x="133" y="101"/>
                    </a:lnTo>
                    <a:lnTo>
                      <a:pt x="140" y="99"/>
                    </a:lnTo>
                    <a:lnTo>
                      <a:pt x="141" y="106"/>
                    </a:lnTo>
                    <a:lnTo>
                      <a:pt x="146" y="111"/>
                    </a:lnTo>
                    <a:lnTo>
                      <a:pt x="149" y="117"/>
                    </a:lnTo>
                    <a:lnTo>
                      <a:pt x="157" y="123"/>
                    </a:lnTo>
                    <a:lnTo>
                      <a:pt x="163" y="129"/>
                    </a:lnTo>
                    <a:lnTo>
                      <a:pt x="171" y="139"/>
                    </a:lnTo>
                    <a:lnTo>
                      <a:pt x="166" y="143"/>
                    </a:lnTo>
                    <a:lnTo>
                      <a:pt x="154" y="134"/>
                    </a:lnTo>
                    <a:lnTo>
                      <a:pt x="145" y="138"/>
                    </a:lnTo>
                    <a:lnTo>
                      <a:pt x="142" y="144"/>
                    </a:lnTo>
                    <a:lnTo>
                      <a:pt x="148" y="155"/>
                    </a:lnTo>
                    <a:lnTo>
                      <a:pt x="142" y="161"/>
                    </a:lnTo>
                    <a:lnTo>
                      <a:pt x="138" y="169"/>
                    </a:lnTo>
                    <a:lnTo>
                      <a:pt x="130" y="169"/>
                    </a:lnTo>
                    <a:lnTo>
                      <a:pt x="131" y="152"/>
                    </a:lnTo>
                    <a:lnTo>
                      <a:pt x="131" y="144"/>
                    </a:lnTo>
                    <a:lnTo>
                      <a:pt x="121" y="137"/>
                    </a:lnTo>
                    <a:lnTo>
                      <a:pt x="116" y="128"/>
                    </a:lnTo>
                    <a:lnTo>
                      <a:pt x="108" y="126"/>
                    </a:lnTo>
                    <a:lnTo>
                      <a:pt x="108" y="117"/>
                    </a:lnTo>
                    <a:lnTo>
                      <a:pt x="87" y="111"/>
                    </a:lnTo>
                    <a:lnTo>
                      <a:pt x="74" y="99"/>
                    </a:lnTo>
                    <a:lnTo>
                      <a:pt x="66" y="93"/>
                    </a:lnTo>
                    <a:lnTo>
                      <a:pt x="58" y="86"/>
                    </a:lnTo>
                    <a:lnTo>
                      <a:pt x="53" y="69"/>
                    </a:lnTo>
                    <a:lnTo>
                      <a:pt x="49" y="59"/>
                    </a:lnTo>
                    <a:lnTo>
                      <a:pt x="32" y="56"/>
                    </a:lnTo>
                    <a:lnTo>
                      <a:pt x="29" y="64"/>
                    </a:lnTo>
                    <a:lnTo>
                      <a:pt x="13" y="65"/>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20" name="Freeform 256">
                <a:extLst>
                  <a:ext uri="{FF2B5EF4-FFF2-40B4-BE49-F238E27FC236}">
                    <a16:creationId xmlns:a16="http://schemas.microsoft.com/office/drawing/2014/main" id="{F612AE1C-ADD4-3A25-E775-C90A8FE8D259}"/>
                  </a:ext>
                </a:extLst>
              </p:cNvPr>
              <p:cNvSpPr>
                <a:spLocks/>
              </p:cNvSpPr>
              <p:nvPr/>
            </p:nvSpPr>
            <p:spPr bwMode="auto">
              <a:xfrm>
                <a:off x="5034579" y="2903581"/>
                <a:ext cx="25152" cy="43330"/>
              </a:xfrm>
              <a:custGeom>
                <a:avLst/>
                <a:gdLst>
                  <a:gd name="T0" fmla="*/ 14 w 15"/>
                  <a:gd name="T1" fmla="*/ 0 h 27"/>
                  <a:gd name="T2" fmla="*/ 9 w 15"/>
                  <a:gd name="T3" fmla="*/ 4 h 27"/>
                  <a:gd name="T4" fmla="*/ 0 w 15"/>
                  <a:gd name="T5" fmla="*/ 10 h 27"/>
                  <a:gd name="T6" fmla="*/ 3 w 15"/>
                  <a:gd name="T7" fmla="*/ 20 h 27"/>
                  <a:gd name="T8" fmla="*/ 10 w 15"/>
                  <a:gd name="T9" fmla="*/ 26 h 27"/>
                  <a:gd name="T10" fmla="*/ 14 w 15"/>
                  <a:gd name="T11" fmla="*/ 0 h 27"/>
                </a:gdLst>
                <a:ahLst/>
                <a:cxnLst>
                  <a:cxn ang="0">
                    <a:pos x="T0" y="T1"/>
                  </a:cxn>
                  <a:cxn ang="0">
                    <a:pos x="T2" y="T3"/>
                  </a:cxn>
                  <a:cxn ang="0">
                    <a:pos x="T4" y="T5"/>
                  </a:cxn>
                  <a:cxn ang="0">
                    <a:pos x="T6" y="T7"/>
                  </a:cxn>
                  <a:cxn ang="0">
                    <a:pos x="T8" y="T9"/>
                  </a:cxn>
                  <a:cxn ang="0">
                    <a:pos x="T10" y="T11"/>
                  </a:cxn>
                </a:cxnLst>
                <a:rect l="0" t="0" r="r" b="b"/>
                <a:pathLst>
                  <a:path w="15" h="27">
                    <a:moveTo>
                      <a:pt x="14" y="0"/>
                    </a:moveTo>
                    <a:lnTo>
                      <a:pt x="9" y="4"/>
                    </a:lnTo>
                    <a:lnTo>
                      <a:pt x="0" y="10"/>
                    </a:lnTo>
                    <a:lnTo>
                      <a:pt x="3" y="20"/>
                    </a:lnTo>
                    <a:lnTo>
                      <a:pt x="10" y="26"/>
                    </a:lnTo>
                    <a:lnTo>
                      <a:pt x="14" y="0"/>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21" name="Freeform 257">
                <a:extLst>
                  <a:ext uri="{FF2B5EF4-FFF2-40B4-BE49-F238E27FC236}">
                    <a16:creationId xmlns:a16="http://schemas.microsoft.com/office/drawing/2014/main" id="{2D0B6B7F-569B-3E11-D04E-85D94EF2AFDE}"/>
                  </a:ext>
                </a:extLst>
              </p:cNvPr>
              <p:cNvSpPr>
                <a:spLocks/>
              </p:cNvSpPr>
              <p:nvPr/>
            </p:nvSpPr>
            <p:spPr bwMode="auto">
              <a:xfrm>
                <a:off x="5027592" y="2959490"/>
                <a:ext cx="32139" cy="54511"/>
              </a:xfrm>
              <a:custGeom>
                <a:avLst/>
                <a:gdLst>
                  <a:gd name="T0" fmla="*/ 2 w 20"/>
                  <a:gd name="T1" fmla="*/ 3 h 35"/>
                  <a:gd name="T2" fmla="*/ 5 w 20"/>
                  <a:gd name="T3" fmla="*/ 3 h 35"/>
                  <a:gd name="T4" fmla="*/ 12 w 20"/>
                  <a:gd name="T5" fmla="*/ 1 h 35"/>
                  <a:gd name="T6" fmla="*/ 16 w 20"/>
                  <a:gd name="T7" fmla="*/ 0 h 35"/>
                  <a:gd name="T8" fmla="*/ 18 w 20"/>
                  <a:gd name="T9" fmla="*/ 5 h 35"/>
                  <a:gd name="T10" fmla="*/ 19 w 20"/>
                  <a:gd name="T11" fmla="*/ 13 h 35"/>
                  <a:gd name="T12" fmla="*/ 18 w 20"/>
                  <a:gd name="T13" fmla="*/ 20 h 35"/>
                  <a:gd name="T14" fmla="*/ 16 w 20"/>
                  <a:gd name="T15" fmla="*/ 31 h 35"/>
                  <a:gd name="T16" fmla="*/ 9 w 20"/>
                  <a:gd name="T17" fmla="*/ 34 h 35"/>
                  <a:gd name="T18" fmla="*/ 3 w 20"/>
                  <a:gd name="T19" fmla="*/ 31 h 35"/>
                  <a:gd name="T20" fmla="*/ 3 w 20"/>
                  <a:gd name="T21" fmla="*/ 23 h 35"/>
                  <a:gd name="T22" fmla="*/ 3 w 20"/>
                  <a:gd name="T23" fmla="*/ 14 h 35"/>
                  <a:gd name="T24" fmla="*/ 0 w 20"/>
                  <a:gd name="T25" fmla="*/ 8 h 35"/>
                  <a:gd name="T26" fmla="*/ 2 w 20"/>
                  <a:gd name="T27"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35">
                    <a:moveTo>
                      <a:pt x="2" y="3"/>
                    </a:moveTo>
                    <a:lnTo>
                      <a:pt x="5" y="3"/>
                    </a:lnTo>
                    <a:lnTo>
                      <a:pt x="12" y="1"/>
                    </a:lnTo>
                    <a:lnTo>
                      <a:pt x="16" y="0"/>
                    </a:lnTo>
                    <a:lnTo>
                      <a:pt x="18" y="5"/>
                    </a:lnTo>
                    <a:lnTo>
                      <a:pt x="19" y="13"/>
                    </a:lnTo>
                    <a:lnTo>
                      <a:pt x="18" y="20"/>
                    </a:lnTo>
                    <a:lnTo>
                      <a:pt x="16" y="31"/>
                    </a:lnTo>
                    <a:lnTo>
                      <a:pt x="9" y="34"/>
                    </a:lnTo>
                    <a:lnTo>
                      <a:pt x="3" y="31"/>
                    </a:lnTo>
                    <a:lnTo>
                      <a:pt x="3" y="23"/>
                    </a:lnTo>
                    <a:lnTo>
                      <a:pt x="3" y="14"/>
                    </a:lnTo>
                    <a:lnTo>
                      <a:pt x="0" y="8"/>
                    </a:lnTo>
                    <a:lnTo>
                      <a:pt x="2" y="3"/>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22" name="Freeform 258">
                <a:extLst>
                  <a:ext uri="{FF2B5EF4-FFF2-40B4-BE49-F238E27FC236}">
                    <a16:creationId xmlns:a16="http://schemas.microsoft.com/office/drawing/2014/main" id="{8C49C6F7-19FB-81DF-2CC0-3F6FB7AD9E2C}"/>
                  </a:ext>
                </a:extLst>
              </p:cNvPr>
              <p:cNvSpPr>
                <a:spLocks/>
              </p:cNvSpPr>
              <p:nvPr/>
            </p:nvSpPr>
            <p:spPr bwMode="auto">
              <a:xfrm>
                <a:off x="5272120" y="2934331"/>
                <a:ext cx="121566" cy="124397"/>
              </a:xfrm>
              <a:custGeom>
                <a:avLst/>
                <a:gdLst>
                  <a:gd name="T0" fmla="*/ 34 w 76"/>
                  <a:gd name="T1" fmla="*/ 58 h 80"/>
                  <a:gd name="T2" fmla="*/ 16 w 76"/>
                  <a:gd name="T3" fmla="*/ 54 h 80"/>
                  <a:gd name="T4" fmla="*/ 14 w 76"/>
                  <a:gd name="T5" fmla="*/ 45 h 80"/>
                  <a:gd name="T6" fmla="*/ 1 w 76"/>
                  <a:gd name="T7" fmla="*/ 32 h 80"/>
                  <a:gd name="T8" fmla="*/ 0 w 76"/>
                  <a:gd name="T9" fmla="*/ 21 h 80"/>
                  <a:gd name="T10" fmla="*/ 13 w 76"/>
                  <a:gd name="T11" fmla="*/ 10 h 80"/>
                  <a:gd name="T12" fmla="*/ 24 w 76"/>
                  <a:gd name="T13" fmla="*/ 14 h 80"/>
                  <a:gd name="T14" fmla="*/ 38 w 76"/>
                  <a:gd name="T15" fmla="*/ 3 h 80"/>
                  <a:gd name="T16" fmla="*/ 45 w 76"/>
                  <a:gd name="T17" fmla="*/ 3 h 80"/>
                  <a:gd name="T18" fmla="*/ 58 w 76"/>
                  <a:gd name="T19" fmla="*/ 7 h 80"/>
                  <a:gd name="T20" fmla="*/ 67 w 76"/>
                  <a:gd name="T21" fmla="*/ 0 h 80"/>
                  <a:gd name="T22" fmla="*/ 75 w 76"/>
                  <a:gd name="T23" fmla="*/ 0 h 80"/>
                  <a:gd name="T24" fmla="*/ 75 w 76"/>
                  <a:gd name="T25" fmla="*/ 13 h 80"/>
                  <a:gd name="T26" fmla="*/ 66 w 76"/>
                  <a:gd name="T27" fmla="*/ 14 h 80"/>
                  <a:gd name="T28" fmla="*/ 61 w 76"/>
                  <a:gd name="T29" fmla="*/ 19 h 80"/>
                  <a:gd name="T30" fmla="*/ 56 w 76"/>
                  <a:gd name="T31" fmla="*/ 24 h 80"/>
                  <a:gd name="T32" fmla="*/ 60 w 76"/>
                  <a:gd name="T33" fmla="*/ 31 h 80"/>
                  <a:gd name="T34" fmla="*/ 49 w 76"/>
                  <a:gd name="T35" fmla="*/ 33 h 80"/>
                  <a:gd name="T36" fmla="*/ 45 w 76"/>
                  <a:gd name="T37" fmla="*/ 30 h 80"/>
                  <a:gd name="T38" fmla="*/ 40 w 76"/>
                  <a:gd name="T39" fmla="*/ 31 h 80"/>
                  <a:gd name="T40" fmla="*/ 45 w 76"/>
                  <a:gd name="T41" fmla="*/ 37 h 80"/>
                  <a:gd name="T42" fmla="*/ 38 w 76"/>
                  <a:gd name="T43" fmla="*/ 45 h 80"/>
                  <a:gd name="T44" fmla="*/ 48 w 76"/>
                  <a:gd name="T45" fmla="*/ 49 h 80"/>
                  <a:gd name="T46" fmla="*/ 61 w 76"/>
                  <a:gd name="T47" fmla="*/ 58 h 80"/>
                  <a:gd name="T48" fmla="*/ 64 w 76"/>
                  <a:gd name="T49" fmla="*/ 65 h 80"/>
                  <a:gd name="T50" fmla="*/ 59 w 76"/>
                  <a:gd name="T51" fmla="*/ 64 h 80"/>
                  <a:gd name="T52" fmla="*/ 45 w 76"/>
                  <a:gd name="T53" fmla="*/ 69 h 80"/>
                  <a:gd name="T54" fmla="*/ 50 w 76"/>
                  <a:gd name="T55" fmla="*/ 77 h 80"/>
                  <a:gd name="T56" fmla="*/ 26 w 76"/>
                  <a:gd name="T57" fmla="*/ 79 h 80"/>
                  <a:gd name="T58" fmla="*/ 26 w 76"/>
                  <a:gd name="T59" fmla="*/ 69 h 80"/>
                  <a:gd name="T60" fmla="*/ 16 w 76"/>
                  <a:gd name="T61" fmla="*/ 65 h 80"/>
                  <a:gd name="T62" fmla="*/ 26 w 76"/>
                  <a:gd name="T63" fmla="*/ 61 h 80"/>
                  <a:gd name="T64" fmla="*/ 32 w 76"/>
                  <a:gd name="T65" fmla="*/ 60 h 80"/>
                  <a:gd name="T66" fmla="*/ 34 w 76"/>
                  <a:gd name="T67" fmla="*/ 5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6" h="80">
                    <a:moveTo>
                      <a:pt x="34" y="58"/>
                    </a:moveTo>
                    <a:lnTo>
                      <a:pt x="16" y="54"/>
                    </a:lnTo>
                    <a:lnTo>
                      <a:pt x="14" y="45"/>
                    </a:lnTo>
                    <a:lnTo>
                      <a:pt x="1" y="32"/>
                    </a:lnTo>
                    <a:lnTo>
                      <a:pt x="0" y="21"/>
                    </a:lnTo>
                    <a:lnTo>
                      <a:pt x="13" y="10"/>
                    </a:lnTo>
                    <a:lnTo>
                      <a:pt x="24" y="14"/>
                    </a:lnTo>
                    <a:lnTo>
                      <a:pt x="38" y="3"/>
                    </a:lnTo>
                    <a:lnTo>
                      <a:pt x="45" y="3"/>
                    </a:lnTo>
                    <a:lnTo>
                      <a:pt x="58" y="7"/>
                    </a:lnTo>
                    <a:lnTo>
                      <a:pt x="67" y="0"/>
                    </a:lnTo>
                    <a:lnTo>
                      <a:pt x="75" y="0"/>
                    </a:lnTo>
                    <a:lnTo>
                      <a:pt x="75" y="13"/>
                    </a:lnTo>
                    <a:lnTo>
                      <a:pt x="66" y="14"/>
                    </a:lnTo>
                    <a:lnTo>
                      <a:pt x="61" y="19"/>
                    </a:lnTo>
                    <a:lnTo>
                      <a:pt x="56" y="24"/>
                    </a:lnTo>
                    <a:lnTo>
                      <a:pt x="60" y="31"/>
                    </a:lnTo>
                    <a:lnTo>
                      <a:pt x="49" y="33"/>
                    </a:lnTo>
                    <a:lnTo>
                      <a:pt x="45" y="30"/>
                    </a:lnTo>
                    <a:lnTo>
                      <a:pt x="40" y="31"/>
                    </a:lnTo>
                    <a:lnTo>
                      <a:pt x="45" y="37"/>
                    </a:lnTo>
                    <a:lnTo>
                      <a:pt x="38" y="45"/>
                    </a:lnTo>
                    <a:lnTo>
                      <a:pt x="48" y="49"/>
                    </a:lnTo>
                    <a:lnTo>
                      <a:pt x="61" y="58"/>
                    </a:lnTo>
                    <a:lnTo>
                      <a:pt x="64" y="65"/>
                    </a:lnTo>
                    <a:lnTo>
                      <a:pt x="59" y="64"/>
                    </a:lnTo>
                    <a:lnTo>
                      <a:pt x="45" y="69"/>
                    </a:lnTo>
                    <a:lnTo>
                      <a:pt x="50" y="77"/>
                    </a:lnTo>
                    <a:lnTo>
                      <a:pt x="26" y="79"/>
                    </a:lnTo>
                    <a:lnTo>
                      <a:pt x="26" y="69"/>
                    </a:lnTo>
                    <a:lnTo>
                      <a:pt x="16" y="65"/>
                    </a:lnTo>
                    <a:lnTo>
                      <a:pt x="26" y="61"/>
                    </a:lnTo>
                    <a:lnTo>
                      <a:pt x="32" y="60"/>
                    </a:lnTo>
                    <a:lnTo>
                      <a:pt x="34" y="58"/>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23" name="Freeform 259">
                <a:extLst>
                  <a:ext uri="{FF2B5EF4-FFF2-40B4-BE49-F238E27FC236}">
                    <a16:creationId xmlns:a16="http://schemas.microsoft.com/office/drawing/2014/main" id="{202505BF-A4E5-B365-B2B1-8FBCBE460356}"/>
                  </a:ext>
                </a:extLst>
              </p:cNvPr>
              <p:cNvSpPr>
                <a:spLocks/>
              </p:cNvSpPr>
              <p:nvPr/>
            </p:nvSpPr>
            <p:spPr bwMode="auto">
              <a:xfrm>
                <a:off x="4966110" y="2526195"/>
                <a:ext cx="187239" cy="240408"/>
              </a:xfrm>
              <a:custGeom>
                <a:avLst/>
                <a:gdLst>
                  <a:gd name="T0" fmla="*/ 119 w 120"/>
                  <a:gd name="T1" fmla="*/ 73 h 152"/>
                  <a:gd name="T2" fmla="*/ 79 w 120"/>
                  <a:gd name="T3" fmla="*/ 90 h 152"/>
                  <a:gd name="T4" fmla="*/ 119 w 120"/>
                  <a:gd name="T5" fmla="*/ 73 h 152"/>
                  <a:gd name="T6" fmla="*/ 110 w 120"/>
                  <a:gd name="T7" fmla="*/ 47 h 152"/>
                  <a:gd name="T8" fmla="*/ 113 w 120"/>
                  <a:gd name="T9" fmla="*/ 18 h 152"/>
                  <a:gd name="T10" fmla="*/ 108 w 120"/>
                  <a:gd name="T11" fmla="*/ 14 h 152"/>
                  <a:gd name="T12" fmla="*/ 73 w 120"/>
                  <a:gd name="T13" fmla="*/ 20 h 152"/>
                  <a:gd name="T14" fmla="*/ 66 w 120"/>
                  <a:gd name="T15" fmla="*/ 12 h 152"/>
                  <a:gd name="T16" fmla="*/ 60 w 120"/>
                  <a:gd name="T17" fmla="*/ 0 h 152"/>
                  <a:gd name="T18" fmla="*/ 43 w 120"/>
                  <a:gd name="T19" fmla="*/ 4 h 152"/>
                  <a:gd name="T20" fmla="*/ 43 w 120"/>
                  <a:gd name="T21" fmla="*/ 19 h 152"/>
                  <a:gd name="T22" fmla="*/ 43 w 120"/>
                  <a:gd name="T23" fmla="*/ 25 h 152"/>
                  <a:gd name="T24" fmla="*/ 38 w 120"/>
                  <a:gd name="T25" fmla="*/ 25 h 152"/>
                  <a:gd name="T26" fmla="*/ 21 w 120"/>
                  <a:gd name="T27" fmla="*/ 31 h 152"/>
                  <a:gd name="T28" fmla="*/ 21 w 120"/>
                  <a:gd name="T29" fmla="*/ 46 h 152"/>
                  <a:gd name="T30" fmla="*/ 13 w 120"/>
                  <a:gd name="T31" fmla="*/ 60 h 152"/>
                  <a:gd name="T32" fmla="*/ 3 w 120"/>
                  <a:gd name="T33" fmla="*/ 67 h 152"/>
                  <a:gd name="T34" fmla="*/ 0 w 120"/>
                  <a:gd name="T35" fmla="*/ 84 h 152"/>
                  <a:gd name="T36" fmla="*/ 9 w 120"/>
                  <a:gd name="T37" fmla="*/ 88 h 152"/>
                  <a:gd name="T38" fmla="*/ 8 w 120"/>
                  <a:gd name="T39" fmla="*/ 98 h 152"/>
                  <a:gd name="T40" fmla="*/ 18 w 120"/>
                  <a:gd name="T41" fmla="*/ 105 h 152"/>
                  <a:gd name="T42" fmla="*/ 31 w 120"/>
                  <a:gd name="T43" fmla="*/ 116 h 152"/>
                  <a:gd name="T44" fmla="*/ 25 w 120"/>
                  <a:gd name="T45" fmla="*/ 124 h 152"/>
                  <a:gd name="T46" fmla="*/ 28 w 120"/>
                  <a:gd name="T47" fmla="*/ 146 h 152"/>
                  <a:gd name="T48" fmla="*/ 36 w 120"/>
                  <a:gd name="T49" fmla="*/ 147 h 152"/>
                  <a:gd name="T50" fmla="*/ 46 w 120"/>
                  <a:gd name="T51" fmla="*/ 144 h 152"/>
                  <a:gd name="T52" fmla="*/ 54 w 120"/>
                  <a:gd name="T53" fmla="*/ 149 h 152"/>
                  <a:gd name="T54" fmla="*/ 60 w 120"/>
                  <a:gd name="T55" fmla="*/ 150 h 152"/>
                  <a:gd name="T56" fmla="*/ 65 w 120"/>
                  <a:gd name="T57" fmla="*/ 151 h 152"/>
                  <a:gd name="T58" fmla="*/ 83 w 120"/>
                  <a:gd name="T59" fmla="*/ 143 h 152"/>
                  <a:gd name="T60" fmla="*/ 97 w 120"/>
                  <a:gd name="T61" fmla="*/ 136 h 152"/>
                  <a:gd name="T62" fmla="*/ 101 w 120"/>
                  <a:gd name="T63" fmla="*/ 131 h 152"/>
                  <a:gd name="T64" fmla="*/ 102 w 120"/>
                  <a:gd name="T65" fmla="*/ 115 h 152"/>
                  <a:gd name="T66" fmla="*/ 79 w 120"/>
                  <a:gd name="T67" fmla="*/ 90 h 152"/>
                  <a:gd name="T68" fmla="*/ 119 w 120"/>
                  <a:gd name="T69" fmla="*/ 7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 h="152">
                    <a:moveTo>
                      <a:pt x="119" y="73"/>
                    </a:moveTo>
                    <a:lnTo>
                      <a:pt x="79" y="90"/>
                    </a:lnTo>
                    <a:lnTo>
                      <a:pt x="119" y="73"/>
                    </a:lnTo>
                    <a:lnTo>
                      <a:pt x="110" y="47"/>
                    </a:lnTo>
                    <a:lnTo>
                      <a:pt x="113" y="18"/>
                    </a:lnTo>
                    <a:lnTo>
                      <a:pt x="108" y="14"/>
                    </a:lnTo>
                    <a:lnTo>
                      <a:pt x="73" y="20"/>
                    </a:lnTo>
                    <a:lnTo>
                      <a:pt x="66" y="12"/>
                    </a:lnTo>
                    <a:lnTo>
                      <a:pt x="60" y="0"/>
                    </a:lnTo>
                    <a:lnTo>
                      <a:pt x="43" y="4"/>
                    </a:lnTo>
                    <a:lnTo>
                      <a:pt x="43" y="19"/>
                    </a:lnTo>
                    <a:lnTo>
                      <a:pt x="43" y="25"/>
                    </a:lnTo>
                    <a:lnTo>
                      <a:pt x="38" y="25"/>
                    </a:lnTo>
                    <a:lnTo>
                      <a:pt x="21" y="31"/>
                    </a:lnTo>
                    <a:lnTo>
                      <a:pt x="21" y="46"/>
                    </a:lnTo>
                    <a:lnTo>
                      <a:pt x="13" y="60"/>
                    </a:lnTo>
                    <a:lnTo>
                      <a:pt x="3" y="67"/>
                    </a:lnTo>
                    <a:lnTo>
                      <a:pt x="0" y="84"/>
                    </a:lnTo>
                    <a:lnTo>
                      <a:pt x="9" y="88"/>
                    </a:lnTo>
                    <a:lnTo>
                      <a:pt x="8" y="98"/>
                    </a:lnTo>
                    <a:lnTo>
                      <a:pt x="18" y="105"/>
                    </a:lnTo>
                    <a:lnTo>
                      <a:pt x="31" y="116"/>
                    </a:lnTo>
                    <a:lnTo>
                      <a:pt x="25" y="124"/>
                    </a:lnTo>
                    <a:lnTo>
                      <a:pt x="28" y="146"/>
                    </a:lnTo>
                    <a:lnTo>
                      <a:pt x="36" y="147"/>
                    </a:lnTo>
                    <a:lnTo>
                      <a:pt x="46" y="144"/>
                    </a:lnTo>
                    <a:lnTo>
                      <a:pt x="54" y="149"/>
                    </a:lnTo>
                    <a:lnTo>
                      <a:pt x="60" y="150"/>
                    </a:lnTo>
                    <a:lnTo>
                      <a:pt x="65" y="151"/>
                    </a:lnTo>
                    <a:lnTo>
                      <a:pt x="83" y="143"/>
                    </a:lnTo>
                    <a:lnTo>
                      <a:pt x="97" y="136"/>
                    </a:lnTo>
                    <a:lnTo>
                      <a:pt x="101" y="131"/>
                    </a:lnTo>
                    <a:lnTo>
                      <a:pt x="102" y="115"/>
                    </a:lnTo>
                    <a:lnTo>
                      <a:pt x="79" y="90"/>
                    </a:lnTo>
                    <a:lnTo>
                      <a:pt x="119" y="73"/>
                    </a:lnTo>
                  </a:path>
                </a:pathLst>
              </a:custGeom>
              <a:solidFill>
                <a:srgbClr val="29A8C5"/>
              </a:solid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24" name="Freeform 260">
                <a:extLst>
                  <a:ext uri="{FF2B5EF4-FFF2-40B4-BE49-F238E27FC236}">
                    <a16:creationId xmlns:a16="http://schemas.microsoft.com/office/drawing/2014/main" id="{DC888887-BCA2-688A-C3C2-249743C315EF}"/>
                  </a:ext>
                </a:extLst>
              </p:cNvPr>
              <p:cNvSpPr>
                <a:spLocks/>
              </p:cNvSpPr>
              <p:nvPr/>
            </p:nvSpPr>
            <p:spPr bwMode="auto">
              <a:xfrm>
                <a:off x="5137978" y="2524798"/>
                <a:ext cx="206801" cy="164931"/>
              </a:xfrm>
              <a:custGeom>
                <a:avLst/>
                <a:gdLst>
                  <a:gd name="T0" fmla="*/ 9 w 132"/>
                  <a:gd name="T1" fmla="*/ 74 h 105"/>
                  <a:gd name="T2" fmla="*/ 0 w 132"/>
                  <a:gd name="T3" fmla="*/ 48 h 105"/>
                  <a:gd name="T4" fmla="*/ 3 w 132"/>
                  <a:gd name="T5" fmla="*/ 19 h 105"/>
                  <a:gd name="T6" fmla="*/ 43 w 132"/>
                  <a:gd name="T7" fmla="*/ 0 h 105"/>
                  <a:gd name="T8" fmla="*/ 57 w 132"/>
                  <a:gd name="T9" fmla="*/ 7 h 105"/>
                  <a:gd name="T10" fmla="*/ 77 w 132"/>
                  <a:gd name="T11" fmla="*/ 3 h 105"/>
                  <a:gd name="T12" fmla="*/ 101 w 132"/>
                  <a:gd name="T13" fmla="*/ 13 h 105"/>
                  <a:gd name="T14" fmla="*/ 120 w 132"/>
                  <a:gd name="T15" fmla="*/ 30 h 105"/>
                  <a:gd name="T16" fmla="*/ 120 w 132"/>
                  <a:gd name="T17" fmla="*/ 50 h 105"/>
                  <a:gd name="T18" fmla="*/ 129 w 132"/>
                  <a:gd name="T19" fmla="*/ 50 h 105"/>
                  <a:gd name="T20" fmla="*/ 130 w 132"/>
                  <a:gd name="T21" fmla="*/ 66 h 105"/>
                  <a:gd name="T22" fmla="*/ 131 w 132"/>
                  <a:gd name="T23" fmla="*/ 93 h 105"/>
                  <a:gd name="T24" fmla="*/ 120 w 132"/>
                  <a:gd name="T25" fmla="*/ 101 h 105"/>
                  <a:gd name="T26" fmla="*/ 96 w 132"/>
                  <a:gd name="T27" fmla="*/ 103 h 105"/>
                  <a:gd name="T28" fmla="*/ 73 w 132"/>
                  <a:gd name="T29" fmla="*/ 104 h 105"/>
                  <a:gd name="T30" fmla="*/ 57 w 132"/>
                  <a:gd name="T31" fmla="*/ 95 h 105"/>
                  <a:gd name="T32" fmla="*/ 23 w 132"/>
                  <a:gd name="T33" fmla="*/ 84 h 105"/>
                  <a:gd name="T34" fmla="*/ 9 w 132"/>
                  <a:gd name="T35" fmla="*/ 7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105">
                    <a:moveTo>
                      <a:pt x="9" y="74"/>
                    </a:moveTo>
                    <a:lnTo>
                      <a:pt x="0" y="48"/>
                    </a:lnTo>
                    <a:lnTo>
                      <a:pt x="3" y="19"/>
                    </a:lnTo>
                    <a:lnTo>
                      <a:pt x="43" y="0"/>
                    </a:lnTo>
                    <a:lnTo>
                      <a:pt x="57" y="7"/>
                    </a:lnTo>
                    <a:lnTo>
                      <a:pt x="77" y="3"/>
                    </a:lnTo>
                    <a:lnTo>
                      <a:pt x="101" y="13"/>
                    </a:lnTo>
                    <a:lnTo>
                      <a:pt x="120" y="30"/>
                    </a:lnTo>
                    <a:lnTo>
                      <a:pt x="120" y="50"/>
                    </a:lnTo>
                    <a:lnTo>
                      <a:pt x="129" y="50"/>
                    </a:lnTo>
                    <a:lnTo>
                      <a:pt x="130" y="66"/>
                    </a:lnTo>
                    <a:lnTo>
                      <a:pt x="131" y="93"/>
                    </a:lnTo>
                    <a:lnTo>
                      <a:pt x="120" y="101"/>
                    </a:lnTo>
                    <a:lnTo>
                      <a:pt x="96" y="103"/>
                    </a:lnTo>
                    <a:lnTo>
                      <a:pt x="73" y="104"/>
                    </a:lnTo>
                    <a:lnTo>
                      <a:pt x="57" y="95"/>
                    </a:lnTo>
                    <a:lnTo>
                      <a:pt x="23" y="84"/>
                    </a:lnTo>
                    <a:lnTo>
                      <a:pt x="9" y="74"/>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25" name="Freeform 261">
                <a:extLst>
                  <a:ext uri="{FF2B5EF4-FFF2-40B4-BE49-F238E27FC236}">
                    <a16:creationId xmlns:a16="http://schemas.microsoft.com/office/drawing/2014/main" id="{67D64932-6DA1-F1DD-1F77-5E16023C4202}"/>
                  </a:ext>
                </a:extLst>
              </p:cNvPr>
              <p:cNvSpPr>
                <a:spLocks/>
              </p:cNvSpPr>
              <p:nvPr/>
            </p:nvSpPr>
            <p:spPr bwMode="auto">
              <a:xfrm>
                <a:off x="5082087" y="2036991"/>
                <a:ext cx="238940" cy="472431"/>
              </a:xfrm>
              <a:custGeom>
                <a:avLst/>
                <a:gdLst>
                  <a:gd name="T0" fmla="*/ 0 w 153"/>
                  <a:gd name="T1" fmla="*/ 234 h 301"/>
                  <a:gd name="T2" fmla="*/ 5 w 153"/>
                  <a:gd name="T3" fmla="*/ 225 h 301"/>
                  <a:gd name="T4" fmla="*/ 9 w 153"/>
                  <a:gd name="T5" fmla="*/ 206 h 301"/>
                  <a:gd name="T6" fmla="*/ 24 w 153"/>
                  <a:gd name="T7" fmla="*/ 199 h 301"/>
                  <a:gd name="T8" fmla="*/ 20 w 153"/>
                  <a:gd name="T9" fmla="*/ 182 h 301"/>
                  <a:gd name="T10" fmla="*/ 13 w 153"/>
                  <a:gd name="T11" fmla="*/ 166 h 301"/>
                  <a:gd name="T12" fmla="*/ 9 w 153"/>
                  <a:gd name="T13" fmla="*/ 150 h 301"/>
                  <a:gd name="T14" fmla="*/ 6 w 153"/>
                  <a:gd name="T15" fmla="*/ 123 h 301"/>
                  <a:gd name="T16" fmla="*/ 9 w 153"/>
                  <a:gd name="T17" fmla="*/ 113 h 301"/>
                  <a:gd name="T18" fmla="*/ 24 w 153"/>
                  <a:gd name="T19" fmla="*/ 116 h 301"/>
                  <a:gd name="T20" fmla="*/ 31 w 153"/>
                  <a:gd name="T21" fmla="*/ 111 h 301"/>
                  <a:gd name="T22" fmla="*/ 21 w 153"/>
                  <a:gd name="T23" fmla="*/ 104 h 301"/>
                  <a:gd name="T24" fmla="*/ 28 w 153"/>
                  <a:gd name="T25" fmla="*/ 90 h 301"/>
                  <a:gd name="T26" fmla="*/ 31 w 153"/>
                  <a:gd name="T27" fmla="*/ 72 h 301"/>
                  <a:gd name="T28" fmla="*/ 37 w 153"/>
                  <a:gd name="T29" fmla="*/ 68 h 301"/>
                  <a:gd name="T30" fmla="*/ 42 w 153"/>
                  <a:gd name="T31" fmla="*/ 57 h 301"/>
                  <a:gd name="T32" fmla="*/ 51 w 153"/>
                  <a:gd name="T33" fmla="*/ 57 h 301"/>
                  <a:gd name="T34" fmla="*/ 53 w 153"/>
                  <a:gd name="T35" fmla="*/ 43 h 301"/>
                  <a:gd name="T36" fmla="*/ 61 w 153"/>
                  <a:gd name="T37" fmla="*/ 39 h 301"/>
                  <a:gd name="T38" fmla="*/ 63 w 153"/>
                  <a:gd name="T39" fmla="*/ 26 h 301"/>
                  <a:gd name="T40" fmla="*/ 71 w 153"/>
                  <a:gd name="T41" fmla="*/ 29 h 301"/>
                  <a:gd name="T42" fmla="*/ 79 w 153"/>
                  <a:gd name="T43" fmla="*/ 25 h 301"/>
                  <a:gd name="T44" fmla="*/ 87 w 153"/>
                  <a:gd name="T45" fmla="*/ 17 h 301"/>
                  <a:gd name="T46" fmla="*/ 97 w 153"/>
                  <a:gd name="T47" fmla="*/ 17 h 301"/>
                  <a:gd name="T48" fmla="*/ 110 w 153"/>
                  <a:gd name="T49" fmla="*/ 17 h 301"/>
                  <a:gd name="T50" fmla="*/ 118 w 153"/>
                  <a:gd name="T51" fmla="*/ 8 h 301"/>
                  <a:gd name="T52" fmla="*/ 127 w 153"/>
                  <a:gd name="T53" fmla="*/ 0 h 301"/>
                  <a:gd name="T54" fmla="*/ 138 w 153"/>
                  <a:gd name="T55" fmla="*/ 13 h 301"/>
                  <a:gd name="T56" fmla="*/ 149 w 153"/>
                  <a:gd name="T57" fmla="*/ 23 h 301"/>
                  <a:gd name="T58" fmla="*/ 150 w 153"/>
                  <a:gd name="T59" fmla="*/ 32 h 301"/>
                  <a:gd name="T60" fmla="*/ 152 w 153"/>
                  <a:gd name="T61" fmla="*/ 63 h 301"/>
                  <a:gd name="T62" fmla="*/ 142 w 153"/>
                  <a:gd name="T63" fmla="*/ 70 h 301"/>
                  <a:gd name="T64" fmla="*/ 131 w 153"/>
                  <a:gd name="T65" fmla="*/ 79 h 301"/>
                  <a:gd name="T66" fmla="*/ 127 w 153"/>
                  <a:gd name="T67" fmla="*/ 96 h 301"/>
                  <a:gd name="T68" fmla="*/ 127 w 153"/>
                  <a:gd name="T69" fmla="*/ 107 h 301"/>
                  <a:gd name="T70" fmla="*/ 112 w 153"/>
                  <a:gd name="T71" fmla="*/ 117 h 301"/>
                  <a:gd name="T72" fmla="*/ 104 w 153"/>
                  <a:gd name="T73" fmla="*/ 128 h 301"/>
                  <a:gd name="T74" fmla="*/ 84 w 153"/>
                  <a:gd name="T75" fmla="*/ 132 h 301"/>
                  <a:gd name="T76" fmla="*/ 76 w 153"/>
                  <a:gd name="T77" fmla="*/ 148 h 301"/>
                  <a:gd name="T78" fmla="*/ 76 w 153"/>
                  <a:gd name="T79" fmla="*/ 176 h 301"/>
                  <a:gd name="T80" fmla="*/ 87 w 153"/>
                  <a:gd name="T81" fmla="*/ 189 h 301"/>
                  <a:gd name="T82" fmla="*/ 93 w 153"/>
                  <a:gd name="T83" fmla="*/ 200 h 301"/>
                  <a:gd name="T84" fmla="*/ 69 w 153"/>
                  <a:gd name="T85" fmla="*/ 211 h 301"/>
                  <a:gd name="T86" fmla="*/ 80 w 153"/>
                  <a:gd name="T87" fmla="*/ 211 h 301"/>
                  <a:gd name="T88" fmla="*/ 87 w 153"/>
                  <a:gd name="T89" fmla="*/ 217 h 301"/>
                  <a:gd name="T90" fmla="*/ 90 w 153"/>
                  <a:gd name="T91" fmla="*/ 228 h 301"/>
                  <a:gd name="T92" fmla="*/ 82 w 153"/>
                  <a:gd name="T93" fmla="*/ 234 h 301"/>
                  <a:gd name="T94" fmla="*/ 71 w 153"/>
                  <a:gd name="T95" fmla="*/ 245 h 301"/>
                  <a:gd name="T96" fmla="*/ 71 w 153"/>
                  <a:gd name="T97" fmla="*/ 265 h 301"/>
                  <a:gd name="T98" fmla="*/ 60 w 153"/>
                  <a:gd name="T99" fmla="*/ 272 h 301"/>
                  <a:gd name="T100" fmla="*/ 57 w 153"/>
                  <a:gd name="T101" fmla="*/ 283 h 301"/>
                  <a:gd name="T102" fmla="*/ 45 w 153"/>
                  <a:gd name="T103" fmla="*/ 290 h 301"/>
                  <a:gd name="T104" fmla="*/ 39 w 153"/>
                  <a:gd name="T105" fmla="*/ 300 h 301"/>
                  <a:gd name="T106" fmla="*/ 23 w 153"/>
                  <a:gd name="T107" fmla="*/ 294 h 301"/>
                  <a:gd name="T108" fmla="*/ 24 w 153"/>
                  <a:gd name="T109" fmla="*/ 275 h 301"/>
                  <a:gd name="T110" fmla="*/ 15 w 153"/>
                  <a:gd name="T111" fmla="*/ 272 h 301"/>
                  <a:gd name="T112" fmla="*/ 13 w 153"/>
                  <a:gd name="T113" fmla="*/ 261 h 301"/>
                  <a:gd name="T114" fmla="*/ 6 w 153"/>
                  <a:gd name="T115" fmla="*/ 247 h 301"/>
                  <a:gd name="T116" fmla="*/ 0 w 153"/>
                  <a:gd name="T117" fmla="*/ 234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3" h="301">
                    <a:moveTo>
                      <a:pt x="0" y="234"/>
                    </a:moveTo>
                    <a:lnTo>
                      <a:pt x="5" y="225"/>
                    </a:lnTo>
                    <a:lnTo>
                      <a:pt x="9" y="206"/>
                    </a:lnTo>
                    <a:lnTo>
                      <a:pt x="24" y="199"/>
                    </a:lnTo>
                    <a:lnTo>
                      <a:pt x="20" y="182"/>
                    </a:lnTo>
                    <a:lnTo>
                      <a:pt x="13" y="166"/>
                    </a:lnTo>
                    <a:lnTo>
                      <a:pt x="9" y="150"/>
                    </a:lnTo>
                    <a:lnTo>
                      <a:pt x="6" y="123"/>
                    </a:lnTo>
                    <a:lnTo>
                      <a:pt x="9" y="113"/>
                    </a:lnTo>
                    <a:lnTo>
                      <a:pt x="24" y="116"/>
                    </a:lnTo>
                    <a:lnTo>
                      <a:pt x="31" y="111"/>
                    </a:lnTo>
                    <a:lnTo>
                      <a:pt x="21" y="104"/>
                    </a:lnTo>
                    <a:lnTo>
                      <a:pt x="28" y="90"/>
                    </a:lnTo>
                    <a:lnTo>
                      <a:pt x="31" y="72"/>
                    </a:lnTo>
                    <a:lnTo>
                      <a:pt x="37" y="68"/>
                    </a:lnTo>
                    <a:lnTo>
                      <a:pt x="42" y="57"/>
                    </a:lnTo>
                    <a:lnTo>
                      <a:pt x="51" y="57"/>
                    </a:lnTo>
                    <a:lnTo>
                      <a:pt x="53" y="43"/>
                    </a:lnTo>
                    <a:lnTo>
                      <a:pt x="61" y="39"/>
                    </a:lnTo>
                    <a:lnTo>
                      <a:pt x="63" y="26"/>
                    </a:lnTo>
                    <a:lnTo>
                      <a:pt x="71" y="29"/>
                    </a:lnTo>
                    <a:lnTo>
                      <a:pt x="79" y="25"/>
                    </a:lnTo>
                    <a:lnTo>
                      <a:pt x="87" y="17"/>
                    </a:lnTo>
                    <a:lnTo>
                      <a:pt x="97" y="17"/>
                    </a:lnTo>
                    <a:lnTo>
                      <a:pt x="110" y="17"/>
                    </a:lnTo>
                    <a:lnTo>
                      <a:pt x="118" y="8"/>
                    </a:lnTo>
                    <a:lnTo>
                      <a:pt x="127" y="0"/>
                    </a:lnTo>
                    <a:lnTo>
                      <a:pt x="138" y="13"/>
                    </a:lnTo>
                    <a:lnTo>
                      <a:pt x="149" y="23"/>
                    </a:lnTo>
                    <a:lnTo>
                      <a:pt x="150" y="32"/>
                    </a:lnTo>
                    <a:lnTo>
                      <a:pt x="152" y="63"/>
                    </a:lnTo>
                    <a:lnTo>
                      <a:pt x="142" y="70"/>
                    </a:lnTo>
                    <a:lnTo>
                      <a:pt x="131" y="79"/>
                    </a:lnTo>
                    <a:lnTo>
                      <a:pt x="127" y="96"/>
                    </a:lnTo>
                    <a:lnTo>
                      <a:pt x="127" y="107"/>
                    </a:lnTo>
                    <a:lnTo>
                      <a:pt x="112" y="117"/>
                    </a:lnTo>
                    <a:lnTo>
                      <a:pt x="104" y="128"/>
                    </a:lnTo>
                    <a:lnTo>
                      <a:pt x="84" y="132"/>
                    </a:lnTo>
                    <a:lnTo>
                      <a:pt x="76" y="148"/>
                    </a:lnTo>
                    <a:lnTo>
                      <a:pt x="76" y="176"/>
                    </a:lnTo>
                    <a:lnTo>
                      <a:pt x="87" y="189"/>
                    </a:lnTo>
                    <a:lnTo>
                      <a:pt x="93" y="200"/>
                    </a:lnTo>
                    <a:lnTo>
                      <a:pt x="69" y="211"/>
                    </a:lnTo>
                    <a:lnTo>
                      <a:pt x="80" y="211"/>
                    </a:lnTo>
                    <a:lnTo>
                      <a:pt x="87" y="217"/>
                    </a:lnTo>
                    <a:lnTo>
                      <a:pt x="90" y="228"/>
                    </a:lnTo>
                    <a:lnTo>
                      <a:pt x="82" y="234"/>
                    </a:lnTo>
                    <a:lnTo>
                      <a:pt x="71" y="245"/>
                    </a:lnTo>
                    <a:lnTo>
                      <a:pt x="71" y="265"/>
                    </a:lnTo>
                    <a:lnTo>
                      <a:pt x="60" y="272"/>
                    </a:lnTo>
                    <a:lnTo>
                      <a:pt x="57" y="283"/>
                    </a:lnTo>
                    <a:lnTo>
                      <a:pt x="45" y="290"/>
                    </a:lnTo>
                    <a:lnTo>
                      <a:pt x="39" y="300"/>
                    </a:lnTo>
                    <a:lnTo>
                      <a:pt x="23" y="294"/>
                    </a:lnTo>
                    <a:lnTo>
                      <a:pt x="24" y="275"/>
                    </a:lnTo>
                    <a:lnTo>
                      <a:pt x="15" y="272"/>
                    </a:lnTo>
                    <a:lnTo>
                      <a:pt x="13" y="261"/>
                    </a:lnTo>
                    <a:lnTo>
                      <a:pt x="6" y="247"/>
                    </a:lnTo>
                    <a:lnTo>
                      <a:pt x="0" y="234"/>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26" name="Freeform 262">
                <a:extLst>
                  <a:ext uri="{FF2B5EF4-FFF2-40B4-BE49-F238E27FC236}">
                    <a16:creationId xmlns:a16="http://schemas.microsoft.com/office/drawing/2014/main" id="{9EFB5388-EF36-DED4-FE9A-8224CEF3BA0A}"/>
                  </a:ext>
                </a:extLst>
              </p:cNvPr>
              <p:cNvSpPr>
                <a:spLocks/>
              </p:cNvSpPr>
              <p:nvPr/>
            </p:nvSpPr>
            <p:spPr bwMode="auto">
              <a:xfrm>
                <a:off x="5270723" y="2747035"/>
                <a:ext cx="184444" cy="134182"/>
              </a:xfrm>
              <a:custGeom>
                <a:avLst/>
                <a:gdLst>
                  <a:gd name="T0" fmla="*/ 42 w 118"/>
                  <a:gd name="T1" fmla="*/ 68 h 85"/>
                  <a:gd name="T2" fmla="*/ 33 w 118"/>
                  <a:gd name="T3" fmla="*/ 61 h 85"/>
                  <a:gd name="T4" fmla="*/ 20 w 118"/>
                  <a:gd name="T5" fmla="*/ 53 h 85"/>
                  <a:gd name="T6" fmla="*/ 4 w 118"/>
                  <a:gd name="T7" fmla="*/ 45 h 85"/>
                  <a:gd name="T8" fmla="*/ 0 w 118"/>
                  <a:gd name="T9" fmla="*/ 31 h 85"/>
                  <a:gd name="T10" fmla="*/ 14 w 118"/>
                  <a:gd name="T11" fmla="*/ 27 h 85"/>
                  <a:gd name="T12" fmla="*/ 25 w 118"/>
                  <a:gd name="T13" fmla="*/ 10 h 85"/>
                  <a:gd name="T14" fmla="*/ 31 w 118"/>
                  <a:gd name="T15" fmla="*/ 1 h 85"/>
                  <a:gd name="T16" fmla="*/ 51 w 118"/>
                  <a:gd name="T17" fmla="*/ 0 h 85"/>
                  <a:gd name="T18" fmla="*/ 59 w 118"/>
                  <a:gd name="T19" fmla="*/ 6 h 85"/>
                  <a:gd name="T20" fmla="*/ 80 w 118"/>
                  <a:gd name="T21" fmla="*/ 8 h 85"/>
                  <a:gd name="T22" fmla="*/ 88 w 118"/>
                  <a:gd name="T23" fmla="*/ 4 h 85"/>
                  <a:gd name="T24" fmla="*/ 108 w 118"/>
                  <a:gd name="T25" fmla="*/ 24 h 85"/>
                  <a:gd name="T26" fmla="*/ 109 w 118"/>
                  <a:gd name="T27" fmla="*/ 41 h 85"/>
                  <a:gd name="T28" fmla="*/ 117 w 118"/>
                  <a:gd name="T29" fmla="*/ 59 h 85"/>
                  <a:gd name="T30" fmla="*/ 115 w 118"/>
                  <a:gd name="T31" fmla="*/ 69 h 85"/>
                  <a:gd name="T32" fmla="*/ 104 w 118"/>
                  <a:gd name="T33" fmla="*/ 79 h 85"/>
                  <a:gd name="T34" fmla="*/ 91 w 118"/>
                  <a:gd name="T35" fmla="*/ 81 h 85"/>
                  <a:gd name="T36" fmla="*/ 70 w 118"/>
                  <a:gd name="T37" fmla="*/ 84 h 85"/>
                  <a:gd name="T38" fmla="*/ 66 w 118"/>
                  <a:gd name="T39" fmla="*/ 71 h 85"/>
                  <a:gd name="T40" fmla="*/ 50 w 118"/>
                  <a:gd name="T41" fmla="*/ 65 h 85"/>
                  <a:gd name="T42" fmla="*/ 46 w 118"/>
                  <a:gd name="T43" fmla="*/ 71 h 85"/>
                  <a:gd name="T44" fmla="*/ 42 w 118"/>
                  <a:gd name="T45" fmla="*/ 6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8" h="85">
                    <a:moveTo>
                      <a:pt x="42" y="68"/>
                    </a:moveTo>
                    <a:lnTo>
                      <a:pt x="33" y="61"/>
                    </a:lnTo>
                    <a:lnTo>
                      <a:pt x="20" y="53"/>
                    </a:lnTo>
                    <a:lnTo>
                      <a:pt x="4" y="45"/>
                    </a:lnTo>
                    <a:lnTo>
                      <a:pt x="0" y="31"/>
                    </a:lnTo>
                    <a:lnTo>
                      <a:pt x="14" y="27"/>
                    </a:lnTo>
                    <a:lnTo>
                      <a:pt x="25" y="10"/>
                    </a:lnTo>
                    <a:lnTo>
                      <a:pt x="31" y="1"/>
                    </a:lnTo>
                    <a:lnTo>
                      <a:pt x="51" y="0"/>
                    </a:lnTo>
                    <a:lnTo>
                      <a:pt x="59" y="6"/>
                    </a:lnTo>
                    <a:lnTo>
                      <a:pt x="80" y="8"/>
                    </a:lnTo>
                    <a:lnTo>
                      <a:pt x="88" y="4"/>
                    </a:lnTo>
                    <a:lnTo>
                      <a:pt x="108" y="24"/>
                    </a:lnTo>
                    <a:lnTo>
                      <a:pt x="109" y="41"/>
                    </a:lnTo>
                    <a:lnTo>
                      <a:pt x="117" y="59"/>
                    </a:lnTo>
                    <a:lnTo>
                      <a:pt x="115" y="69"/>
                    </a:lnTo>
                    <a:lnTo>
                      <a:pt x="104" y="79"/>
                    </a:lnTo>
                    <a:lnTo>
                      <a:pt x="91" y="81"/>
                    </a:lnTo>
                    <a:lnTo>
                      <a:pt x="70" y="84"/>
                    </a:lnTo>
                    <a:lnTo>
                      <a:pt x="66" y="71"/>
                    </a:lnTo>
                    <a:lnTo>
                      <a:pt x="50" y="65"/>
                    </a:lnTo>
                    <a:lnTo>
                      <a:pt x="46" y="71"/>
                    </a:lnTo>
                    <a:lnTo>
                      <a:pt x="42" y="68"/>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27" name="Freeform 264">
                <a:extLst>
                  <a:ext uri="{FF2B5EF4-FFF2-40B4-BE49-F238E27FC236}">
                    <a16:creationId xmlns:a16="http://schemas.microsoft.com/office/drawing/2014/main" id="{8BCCE3AD-5D12-81CE-06F7-377E92DAF52A}"/>
                  </a:ext>
                </a:extLst>
              </p:cNvPr>
              <p:cNvSpPr>
                <a:spLocks/>
              </p:cNvSpPr>
              <p:nvPr/>
            </p:nvSpPr>
            <p:spPr bwMode="auto">
              <a:xfrm>
                <a:off x="5122608" y="2787569"/>
                <a:ext cx="215185" cy="170523"/>
              </a:xfrm>
              <a:custGeom>
                <a:avLst/>
                <a:gdLst>
                  <a:gd name="T0" fmla="*/ 12 w 137"/>
                  <a:gd name="T1" fmla="*/ 18 h 109"/>
                  <a:gd name="T2" fmla="*/ 3 w 137"/>
                  <a:gd name="T3" fmla="*/ 12 h 109"/>
                  <a:gd name="T4" fmla="*/ 0 w 137"/>
                  <a:gd name="T5" fmla="*/ 0 h 109"/>
                  <a:gd name="T6" fmla="*/ 24 w 137"/>
                  <a:gd name="T7" fmla="*/ 6 h 109"/>
                  <a:gd name="T8" fmla="*/ 37 w 137"/>
                  <a:gd name="T9" fmla="*/ 0 h 109"/>
                  <a:gd name="T10" fmla="*/ 43 w 137"/>
                  <a:gd name="T11" fmla="*/ 2 h 109"/>
                  <a:gd name="T12" fmla="*/ 58 w 137"/>
                  <a:gd name="T13" fmla="*/ 10 h 109"/>
                  <a:gd name="T14" fmla="*/ 75 w 137"/>
                  <a:gd name="T15" fmla="*/ 14 h 109"/>
                  <a:gd name="T16" fmla="*/ 84 w 137"/>
                  <a:gd name="T17" fmla="*/ 6 h 109"/>
                  <a:gd name="T18" fmla="*/ 95 w 137"/>
                  <a:gd name="T19" fmla="*/ 7 h 109"/>
                  <a:gd name="T20" fmla="*/ 99 w 137"/>
                  <a:gd name="T21" fmla="*/ 20 h 109"/>
                  <a:gd name="T22" fmla="*/ 114 w 137"/>
                  <a:gd name="T23" fmla="*/ 29 h 109"/>
                  <a:gd name="T24" fmla="*/ 128 w 137"/>
                  <a:gd name="T25" fmla="*/ 36 h 109"/>
                  <a:gd name="T26" fmla="*/ 136 w 137"/>
                  <a:gd name="T27" fmla="*/ 43 h 109"/>
                  <a:gd name="T28" fmla="*/ 123 w 137"/>
                  <a:gd name="T29" fmla="*/ 53 h 109"/>
                  <a:gd name="T30" fmla="*/ 124 w 137"/>
                  <a:gd name="T31" fmla="*/ 62 h 109"/>
                  <a:gd name="T32" fmla="*/ 132 w 137"/>
                  <a:gd name="T33" fmla="*/ 76 h 109"/>
                  <a:gd name="T34" fmla="*/ 134 w 137"/>
                  <a:gd name="T35" fmla="*/ 97 h 109"/>
                  <a:gd name="T36" fmla="*/ 120 w 137"/>
                  <a:gd name="T37" fmla="*/ 108 h 109"/>
                  <a:gd name="T38" fmla="*/ 109 w 137"/>
                  <a:gd name="T39" fmla="*/ 105 h 109"/>
                  <a:gd name="T40" fmla="*/ 106 w 137"/>
                  <a:gd name="T41" fmla="*/ 90 h 109"/>
                  <a:gd name="T42" fmla="*/ 98 w 137"/>
                  <a:gd name="T43" fmla="*/ 77 h 109"/>
                  <a:gd name="T44" fmla="*/ 90 w 137"/>
                  <a:gd name="T45" fmla="*/ 80 h 109"/>
                  <a:gd name="T46" fmla="*/ 92 w 137"/>
                  <a:gd name="T47" fmla="*/ 91 h 109"/>
                  <a:gd name="T48" fmla="*/ 79 w 137"/>
                  <a:gd name="T49" fmla="*/ 88 h 109"/>
                  <a:gd name="T50" fmla="*/ 68 w 137"/>
                  <a:gd name="T51" fmla="*/ 80 h 109"/>
                  <a:gd name="T52" fmla="*/ 58 w 137"/>
                  <a:gd name="T53" fmla="*/ 68 h 109"/>
                  <a:gd name="T54" fmla="*/ 49 w 137"/>
                  <a:gd name="T55" fmla="*/ 62 h 109"/>
                  <a:gd name="T56" fmla="*/ 34 w 137"/>
                  <a:gd name="T57" fmla="*/ 56 h 109"/>
                  <a:gd name="T58" fmla="*/ 34 w 137"/>
                  <a:gd name="T59" fmla="*/ 46 h 109"/>
                  <a:gd name="T60" fmla="*/ 21 w 137"/>
                  <a:gd name="T61" fmla="*/ 38 h 109"/>
                  <a:gd name="T62" fmla="*/ 17 w 137"/>
                  <a:gd name="T63" fmla="*/ 21 h 109"/>
                  <a:gd name="T64" fmla="*/ 12 w 137"/>
                  <a:gd name="T65" fmla="*/ 1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7" h="109">
                    <a:moveTo>
                      <a:pt x="12" y="18"/>
                    </a:moveTo>
                    <a:lnTo>
                      <a:pt x="3" y="12"/>
                    </a:lnTo>
                    <a:lnTo>
                      <a:pt x="0" y="0"/>
                    </a:lnTo>
                    <a:lnTo>
                      <a:pt x="24" y="6"/>
                    </a:lnTo>
                    <a:lnTo>
                      <a:pt x="37" y="0"/>
                    </a:lnTo>
                    <a:lnTo>
                      <a:pt x="43" y="2"/>
                    </a:lnTo>
                    <a:lnTo>
                      <a:pt x="58" y="10"/>
                    </a:lnTo>
                    <a:lnTo>
                      <a:pt x="75" y="14"/>
                    </a:lnTo>
                    <a:lnTo>
                      <a:pt x="84" y="6"/>
                    </a:lnTo>
                    <a:lnTo>
                      <a:pt x="95" y="7"/>
                    </a:lnTo>
                    <a:lnTo>
                      <a:pt x="99" y="20"/>
                    </a:lnTo>
                    <a:lnTo>
                      <a:pt x="114" y="29"/>
                    </a:lnTo>
                    <a:lnTo>
                      <a:pt x="128" y="36"/>
                    </a:lnTo>
                    <a:lnTo>
                      <a:pt x="136" y="43"/>
                    </a:lnTo>
                    <a:lnTo>
                      <a:pt x="123" y="53"/>
                    </a:lnTo>
                    <a:lnTo>
                      <a:pt x="124" y="62"/>
                    </a:lnTo>
                    <a:lnTo>
                      <a:pt x="132" y="76"/>
                    </a:lnTo>
                    <a:lnTo>
                      <a:pt x="134" y="97"/>
                    </a:lnTo>
                    <a:lnTo>
                      <a:pt x="120" y="108"/>
                    </a:lnTo>
                    <a:lnTo>
                      <a:pt x="109" y="105"/>
                    </a:lnTo>
                    <a:lnTo>
                      <a:pt x="106" y="90"/>
                    </a:lnTo>
                    <a:lnTo>
                      <a:pt x="98" y="77"/>
                    </a:lnTo>
                    <a:lnTo>
                      <a:pt x="90" y="80"/>
                    </a:lnTo>
                    <a:lnTo>
                      <a:pt x="92" y="91"/>
                    </a:lnTo>
                    <a:lnTo>
                      <a:pt x="79" y="88"/>
                    </a:lnTo>
                    <a:lnTo>
                      <a:pt x="68" y="80"/>
                    </a:lnTo>
                    <a:lnTo>
                      <a:pt x="58" y="68"/>
                    </a:lnTo>
                    <a:lnTo>
                      <a:pt x="49" y="62"/>
                    </a:lnTo>
                    <a:lnTo>
                      <a:pt x="34" y="56"/>
                    </a:lnTo>
                    <a:lnTo>
                      <a:pt x="34" y="46"/>
                    </a:lnTo>
                    <a:lnTo>
                      <a:pt x="21" y="38"/>
                    </a:lnTo>
                    <a:lnTo>
                      <a:pt x="17" y="21"/>
                    </a:lnTo>
                    <a:lnTo>
                      <a:pt x="12" y="18"/>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28" name="Freeform 265">
                <a:extLst>
                  <a:ext uri="{FF2B5EF4-FFF2-40B4-BE49-F238E27FC236}">
                    <a16:creationId xmlns:a16="http://schemas.microsoft.com/office/drawing/2014/main" id="{B860DC3E-81A4-3BA6-9B13-7405548D0CAB}"/>
                  </a:ext>
                </a:extLst>
              </p:cNvPr>
              <p:cNvSpPr>
                <a:spLocks/>
              </p:cNvSpPr>
              <p:nvPr/>
            </p:nvSpPr>
            <p:spPr bwMode="auto">
              <a:xfrm>
                <a:off x="5318232" y="2583501"/>
                <a:ext cx="361903" cy="261374"/>
              </a:xfrm>
              <a:custGeom>
                <a:avLst/>
                <a:gdLst>
                  <a:gd name="T0" fmla="*/ 65 w 259"/>
                  <a:gd name="T1" fmla="*/ 123 h 187"/>
                  <a:gd name="T2" fmla="*/ 86 w 259"/>
                  <a:gd name="T3" fmla="*/ 121 h 187"/>
                  <a:gd name="T4" fmla="*/ 99 w 259"/>
                  <a:gd name="T5" fmla="*/ 130 h 187"/>
                  <a:gd name="T6" fmla="*/ 119 w 259"/>
                  <a:gd name="T7" fmla="*/ 160 h 187"/>
                  <a:gd name="T8" fmla="*/ 116 w 259"/>
                  <a:gd name="T9" fmla="*/ 172 h 187"/>
                  <a:gd name="T10" fmla="*/ 110 w 259"/>
                  <a:gd name="T11" fmla="*/ 187 h 187"/>
                  <a:gd name="T12" fmla="*/ 123 w 259"/>
                  <a:gd name="T13" fmla="*/ 173 h 187"/>
                  <a:gd name="T14" fmla="*/ 132 w 259"/>
                  <a:gd name="T15" fmla="*/ 138 h 187"/>
                  <a:gd name="T16" fmla="*/ 149 w 259"/>
                  <a:gd name="T17" fmla="*/ 134 h 187"/>
                  <a:gd name="T18" fmla="*/ 154 w 259"/>
                  <a:gd name="T19" fmla="*/ 157 h 187"/>
                  <a:gd name="T20" fmla="*/ 175 w 259"/>
                  <a:gd name="T21" fmla="*/ 154 h 187"/>
                  <a:gd name="T22" fmla="*/ 169 w 259"/>
                  <a:gd name="T23" fmla="*/ 174 h 187"/>
                  <a:gd name="T24" fmla="*/ 184 w 259"/>
                  <a:gd name="T25" fmla="*/ 183 h 187"/>
                  <a:gd name="T26" fmla="*/ 211 w 259"/>
                  <a:gd name="T27" fmla="*/ 178 h 187"/>
                  <a:gd name="T28" fmla="*/ 187 w 259"/>
                  <a:gd name="T29" fmla="*/ 156 h 187"/>
                  <a:gd name="T30" fmla="*/ 197 w 259"/>
                  <a:gd name="T31" fmla="*/ 152 h 187"/>
                  <a:gd name="T32" fmla="*/ 205 w 259"/>
                  <a:gd name="T33" fmla="*/ 140 h 187"/>
                  <a:gd name="T34" fmla="*/ 218 w 259"/>
                  <a:gd name="T35" fmla="*/ 142 h 187"/>
                  <a:gd name="T36" fmla="*/ 250 w 259"/>
                  <a:gd name="T37" fmla="*/ 128 h 187"/>
                  <a:gd name="T38" fmla="*/ 259 w 259"/>
                  <a:gd name="T39" fmla="*/ 78 h 187"/>
                  <a:gd name="T40" fmla="*/ 195 w 259"/>
                  <a:gd name="T41" fmla="*/ 25 h 187"/>
                  <a:gd name="T42" fmla="*/ 186 w 259"/>
                  <a:gd name="T43" fmla="*/ 0 h 187"/>
                  <a:gd name="T44" fmla="*/ 143 w 259"/>
                  <a:gd name="T45" fmla="*/ 3 h 187"/>
                  <a:gd name="T46" fmla="*/ 132 w 259"/>
                  <a:gd name="T47" fmla="*/ 21 h 187"/>
                  <a:gd name="T48" fmla="*/ 17 w 259"/>
                  <a:gd name="T49" fmla="*/ 34 h 187"/>
                  <a:gd name="T50" fmla="*/ 18 w 259"/>
                  <a:gd name="T51" fmla="*/ 63 h 187"/>
                  <a:gd name="T52" fmla="*/ 6 w 259"/>
                  <a:gd name="T53" fmla="*/ 73 h 187"/>
                  <a:gd name="T54" fmla="*/ 0 w 259"/>
                  <a:gd name="T55" fmla="*/ 120 h 187"/>
                  <a:gd name="T56" fmla="*/ 23 w 259"/>
                  <a:gd name="T57" fmla="*/ 119 h 187"/>
                  <a:gd name="T58" fmla="*/ 32 w 259"/>
                  <a:gd name="T59" fmla="*/ 125 h 187"/>
                  <a:gd name="T60" fmla="*/ 55 w 259"/>
                  <a:gd name="T61" fmla="*/ 126 h 187"/>
                  <a:gd name="T62" fmla="*/ 65 w 259"/>
                  <a:gd name="T63" fmla="*/ 123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9" h="187">
                    <a:moveTo>
                      <a:pt x="65" y="123"/>
                    </a:moveTo>
                    <a:lnTo>
                      <a:pt x="86" y="121"/>
                    </a:lnTo>
                    <a:lnTo>
                      <a:pt x="99" y="130"/>
                    </a:lnTo>
                    <a:lnTo>
                      <a:pt x="119" y="160"/>
                    </a:lnTo>
                    <a:lnTo>
                      <a:pt x="116" y="172"/>
                    </a:lnTo>
                    <a:lnTo>
                      <a:pt x="110" y="187"/>
                    </a:lnTo>
                    <a:lnTo>
                      <a:pt x="123" y="173"/>
                    </a:lnTo>
                    <a:lnTo>
                      <a:pt x="132" y="138"/>
                    </a:lnTo>
                    <a:lnTo>
                      <a:pt x="149" y="134"/>
                    </a:lnTo>
                    <a:lnTo>
                      <a:pt x="154" y="157"/>
                    </a:lnTo>
                    <a:lnTo>
                      <a:pt x="175" y="154"/>
                    </a:lnTo>
                    <a:lnTo>
                      <a:pt x="169" y="174"/>
                    </a:lnTo>
                    <a:lnTo>
                      <a:pt x="184" y="183"/>
                    </a:lnTo>
                    <a:lnTo>
                      <a:pt x="211" y="178"/>
                    </a:lnTo>
                    <a:lnTo>
                      <a:pt x="187" y="156"/>
                    </a:lnTo>
                    <a:lnTo>
                      <a:pt x="197" y="152"/>
                    </a:lnTo>
                    <a:lnTo>
                      <a:pt x="205" y="140"/>
                    </a:lnTo>
                    <a:lnTo>
                      <a:pt x="218" y="142"/>
                    </a:lnTo>
                    <a:lnTo>
                      <a:pt x="250" y="128"/>
                    </a:lnTo>
                    <a:lnTo>
                      <a:pt x="259" y="78"/>
                    </a:lnTo>
                    <a:lnTo>
                      <a:pt x="195" y="25"/>
                    </a:lnTo>
                    <a:lnTo>
                      <a:pt x="186" y="0"/>
                    </a:lnTo>
                    <a:lnTo>
                      <a:pt x="143" y="3"/>
                    </a:lnTo>
                    <a:lnTo>
                      <a:pt x="132" y="21"/>
                    </a:lnTo>
                    <a:lnTo>
                      <a:pt x="17" y="34"/>
                    </a:lnTo>
                    <a:lnTo>
                      <a:pt x="18" y="63"/>
                    </a:lnTo>
                    <a:lnTo>
                      <a:pt x="6" y="73"/>
                    </a:lnTo>
                    <a:lnTo>
                      <a:pt x="0" y="120"/>
                    </a:lnTo>
                    <a:lnTo>
                      <a:pt x="23" y="119"/>
                    </a:lnTo>
                    <a:lnTo>
                      <a:pt x="32" y="125"/>
                    </a:lnTo>
                    <a:lnTo>
                      <a:pt x="55" y="126"/>
                    </a:lnTo>
                    <a:lnTo>
                      <a:pt x="65" y="123"/>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29" name="Freeform 266">
                <a:extLst>
                  <a:ext uri="{FF2B5EF4-FFF2-40B4-BE49-F238E27FC236}">
                    <a16:creationId xmlns:a16="http://schemas.microsoft.com/office/drawing/2014/main" id="{EBF36591-5908-8B3F-6DF9-A00C09E6BE9B}"/>
                  </a:ext>
                </a:extLst>
              </p:cNvPr>
              <p:cNvSpPr>
                <a:spLocks/>
              </p:cNvSpPr>
              <p:nvPr/>
            </p:nvSpPr>
            <p:spPr bwMode="auto">
              <a:xfrm>
                <a:off x="5326615" y="2439537"/>
                <a:ext cx="210993" cy="192886"/>
              </a:xfrm>
              <a:custGeom>
                <a:avLst/>
                <a:gdLst>
                  <a:gd name="T0" fmla="*/ 11 w 136"/>
                  <a:gd name="T1" fmla="*/ 121 h 122"/>
                  <a:gd name="T2" fmla="*/ 112 w 136"/>
                  <a:gd name="T3" fmla="*/ 110 h 122"/>
                  <a:gd name="T4" fmla="*/ 122 w 136"/>
                  <a:gd name="T5" fmla="*/ 94 h 122"/>
                  <a:gd name="T6" fmla="*/ 129 w 136"/>
                  <a:gd name="T7" fmla="*/ 74 h 122"/>
                  <a:gd name="T8" fmla="*/ 135 w 136"/>
                  <a:gd name="T9" fmla="*/ 67 h 122"/>
                  <a:gd name="T10" fmla="*/ 132 w 136"/>
                  <a:gd name="T11" fmla="*/ 15 h 122"/>
                  <a:gd name="T12" fmla="*/ 93 w 136"/>
                  <a:gd name="T13" fmla="*/ 0 h 122"/>
                  <a:gd name="T14" fmla="*/ 82 w 136"/>
                  <a:gd name="T15" fmla="*/ 8 h 122"/>
                  <a:gd name="T16" fmla="*/ 68 w 136"/>
                  <a:gd name="T17" fmla="*/ 3 h 122"/>
                  <a:gd name="T18" fmla="*/ 62 w 136"/>
                  <a:gd name="T19" fmla="*/ 22 h 122"/>
                  <a:gd name="T20" fmla="*/ 58 w 136"/>
                  <a:gd name="T21" fmla="*/ 19 h 122"/>
                  <a:gd name="T22" fmla="*/ 49 w 136"/>
                  <a:gd name="T23" fmla="*/ 38 h 122"/>
                  <a:gd name="T24" fmla="*/ 56 w 136"/>
                  <a:gd name="T25" fmla="*/ 49 h 122"/>
                  <a:gd name="T26" fmla="*/ 36 w 136"/>
                  <a:gd name="T27" fmla="*/ 56 h 122"/>
                  <a:gd name="T28" fmla="*/ 33 w 136"/>
                  <a:gd name="T29" fmla="*/ 68 h 122"/>
                  <a:gd name="T30" fmla="*/ 15 w 136"/>
                  <a:gd name="T31" fmla="*/ 66 h 122"/>
                  <a:gd name="T32" fmla="*/ 0 w 136"/>
                  <a:gd name="T33" fmla="*/ 72 h 122"/>
                  <a:gd name="T34" fmla="*/ 1 w 136"/>
                  <a:gd name="T35" fmla="*/ 85 h 122"/>
                  <a:gd name="T36" fmla="*/ 1 w 136"/>
                  <a:gd name="T37" fmla="*/ 105 h 122"/>
                  <a:gd name="T38" fmla="*/ 10 w 136"/>
                  <a:gd name="T39" fmla="*/ 105 h 122"/>
                  <a:gd name="T40" fmla="*/ 11 w 136"/>
                  <a:gd name="T41" fmla="*/ 12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6" h="122">
                    <a:moveTo>
                      <a:pt x="11" y="121"/>
                    </a:moveTo>
                    <a:lnTo>
                      <a:pt x="112" y="110"/>
                    </a:lnTo>
                    <a:lnTo>
                      <a:pt x="122" y="94"/>
                    </a:lnTo>
                    <a:lnTo>
                      <a:pt x="129" y="74"/>
                    </a:lnTo>
                    <a:lnTo>
                      <a:pt x="135" y="67"/>
                    </a:lnTo>
                    <a:lnTo>
                      <a:pt x="132" y="15"/>
                    </a:lnTo>
                    <a:lnTo>
                      <a:pt x="93" y="0"/>
                    </a:lnTo>
                    <a:lnTo>
                      <a:pt x="82" y="8"/>
                    </a:lnTo>
                    <a:lnTo>
                      <a:pt x="68" y="3"/>
                    </a:lnTo>
                    <a:lnTo>
                      <a:pt x="62" y="22"/>
                    </a:lnTo>
                    <a:lnTo>
                      <a:pt x="58" y="19"/>
                    </a:lnTo>
                    <a:lnTo>
                      <a:pt x="49" y="38"/>
                    </a:lnTo>
                    <a:lnTo>
                      <a:pt x="56" y="49"/>
                    </a:lnTo>
                    <a:lnTo>
                      <a:pt x="36" y="56"/>
                    </a:lnTo>
                    <a:lnTo>
                      <a:pt x="33" y="68"/>
                    </a:lnTo>
                    <a:lnTo>
                      <a:pt x="15" y="66"/>
                    </a:lnTo>
                    <a:lnTo>
                      <a:pt x="0" y="72"/>
                    </a:lnTo>
                    <a:lnTo>
                      <a:pt x="1" y="85"/>
                    </a:lnTo>
                    <a:lnTo>
                      <a:pt x="1" y="105"/>
                    </a:lnTo>
                    <a:lnTo>
                      <a:pt x="10" y="105"/>
                    </a:lnTo>
                    <a:lnTo>
                      <a:pt x="11" y="121"/>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30" name="Freeform 268">
                <a:extLst>
                  <a:ext uri="{FF2B5EF4-FFF2-40B4-BE49-F238E27FC236}">
                    <a16:creationId xmlns:a16="http://schemas.microsoft.com/office/drawing/2014/main" id="{85C68530-F8DC-008C-6144-83B02B93F2FB}"/>
                  </a:ext>
                </a:extLst>
              </p:cNvPr>
              <p:cNvSpPr>
                <a:spLocks/>
              </p:cNvSpPr>
              <p:nvPr/>
            </p:nvSpPr>
            <p:spPr bwMode="auto">
              <a:xfrm>
                <a:off x="5259545" y="2438139"/>
                <a:ext cx="160690" cy="135579"/>
              </a:xfrm>
              <a:custGeom>
                <a:avLst/>
                <a:gdLst>
                  <a:gd name="T0" fmla="*/ 22 w 115"/>
                  <a:gd name="T1" fmla="*/ 23 h 97"/>
                  <a:gd name="T2" fmla="*/ 15 w 115"/>
                  <a:gd name="T3" fmla="*/ 42 h 97"/>
                  <a:gd name="T4" fmla="*/ 0 w 115"/>
                  <a:gd name="T5" fmla="*/ 67 h 97"/>
                  <a:gd name="T6" fmla="*/ 27 w 115"/>
                  <a:gd name="T7" fmla="*/ 78 h 97"/>
                  <a:gd name="T8" fmla="*/ 48 w 115"/>
                  <a:gd name="T9" fmla="*/ 97 h 97"/>
                  <a:gd name="T10" fmla="*/ 47 w 115"/>
                  <a:gd name="T11" fmla="*/ 81 h 97"/>
                  <a:gd name="T12" fmla="*/ 68 w 115"/>
                  <a:gd name="T13" fmla="*/ 75 h 97"/>
                  <a:gd name="T14" fmla="*/ 88 w 115"/>
                  <a:gd name="T15" fmla="*/ 75 h 97"/>
                  <a:gd name="T16" fmla="*/ 89 w 115"/>
                  <a:gd name="T17" fmla="*/ 60 h 97"/>
                  <a:gd name="T18" fmla="*/ 113 w 115"/>
                  <a:gd name="T19" fmla="*/ 57 h 97"/>
                  <a:gd name="T20" fmla="*/ 104 w 115"/>
                  <a:gd name="T21" fmla="*/ 44 h 97"/>
                  <a:gd name="T22" fmla="*/ 113 w 115"/>
                  <a:gd name="T23" fmla="*/ 21 h 97"/>
                  <a:gd name="T24" fmla="*/ 115 w 115"/>
                  <a:gd name="T25" fmla="*/ 12 h 97"/>
                  <a:gd name="T26" fmla="*/ 83 w 115"/>
                  <a:gd name="T27" fmla="*/ 0 h 97"/>
                  <a:gd name="T28" fmla="*/ 50 w 115"/>
                  <a:gd name="T29" fmla="*/ 20 h 97"/>
                  <a:gd name="T30" fmla="*/ 31 w 115"/>
                  <a:gd name="T31" fmla="*/ 23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7">
                    <a:moveTo>
                      <a:pt x="22" y="23"/>
                    </a:moveTo>
                    <a:lnTo>
                      <a:pt x="15" y="42"/>
                    </a:lnTo>
                    <a:lnTo>
                      <a:pt x="0" y="67"/>
                    </a:lnTo>
                    <a:lnTo>
                      <a:pt x="27" y="78"/>
                    </a:lnTo>
                    <a:lnTo>
                      <a:pt x="48" y="97"/>
                    </a:lnTo>
                    <a:lnTo>
                      <a:pt x="47" y="81"/>
                    </a:lnTo>
                    <a:lnTo>
                      <a:pt x="68" y="75"/>
                    </a:lnTo>
                    <a:lnTo>
                      <a:pt x="88" y="75"/>
                    </a:lnTo>
                    <a:lnTo>
                      <a:pt x="89" y="60"/>
                    </a:lnTo>
                    <a:lnTo>
                      <a:pt x="113" y="57"/>
                    </a:lnTo>
                    <a:lnTo>
                      <a:pt x="104" y="44"/>
                    </a:lnTo>
                    <a:lnTo>
                      <a:pt x="113" y="21"/>
                    </a:lnTo>
                    <a:lnTo>
                      <a:pt x="115" y="12"/>
                    </a:lnTo>
                    <a:lnTo>
                      <a:pt x="83" y="0"/>
                    </a:lnTo>
                    <a:lnTo>
                      <a:pt x="50" y="20"/>
                    </a:lnTo>
                    <a:lnTo>
                      <a:pt x="31" y="23"/>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31" name="Freeform 270">
                <a:extLst>
                  <a:ext uri="{FF2B5EF4-FFF2-40B4-BE49-F238E27FC236}">
                    <a16:creationId xmlns:a16="http://schemas.microsoft.com/office/drawing/2014/main" id="{C243BD3B-7F3D-AECB-2EB9-535B00AC3991}"/>
                  </a:ext>
                </a:extLst>
              </p:cNvPr>
              <p:cNvSpPr>
                <a:spLocks/>
              </p:cNvSpPr>
              <p:nvPr/>
            </p:nvSpPr>
            <p:spPr bwMode="auto">
              <a:xfrm>
                <a:off x="5090470" y="2643604"/>
                <a:ext cx="160690" cy="92250"/>
              </a:xfrm>
              <a:custGeom>
                <a:avLst/>
                <a:gdLst>
                  <a:gd name="T0" fmla="*/ 0 w 104"/>
                  <a:gd name="T1" fmla="*/ 16 h 59"/>
                  <a:gd name="T2" fmla="*/ 40 w 104"/>
                  <a:gd name="T3" fmla="*/ 0 h 59"/>
                  <a:gd name="T4" fmla="*/ 53 w 104"/>
                  <a:gd name="T5" fmla="*/ 9 h 59"/>
                  <a:gd name="T6" fmla="*/ 88 w 104"/>
                  <a:gd name="T7" fmla="*/ 21 h 59"/>
                  <a:gd name="T8" fmla="*/ 103 w 104"/>
                  <a:gd name="T9" fmla="*/ 30 h 59"/>
                  <a:gd name="T10" fmla="*/ 76 w 104"/>
                  <a:gd name="T11" fmla="*/ 48 h 59"/>
                  <a:gd name="T12" fmla="*/ 67 w 104"/>
                  <a:gd name="T13" fmla="*/ 58 h 59"/>
                  <a:gd name="T14" fmla="*/ 58 w 104"/>
                  <a:gd name="T15" fmla="*/ 54 h 59"/>
                  <a:gd name="T16" fmla="*/ 59 w 104"/>
                  <a:gd name="T17" fmla="*/ 44 h 59"/>
                  <a:gd name="T18" fmla="*/ 46 w 104"/>
                  <a:gd name="T19" fmla="*/ 43 h 59"/>
                  <a:gd name="T20" fmla="*/ 44 w 104"/>
                  <a:gd name="T21" fmla="*/ 51 h 59"/>
                  <a:gd name="T22" fmla="*/ 34 w 104"/>
                  <a:gd name="T23" fmla="*/ 52 h 59"/>
                  <a:gd name="T24" fmla="*/ 23 w 104"/>
                  <a:gd name="T25" fmla="*/ 42 h 59"/>
                  <a:gd name="T26" fmla="*/ 0 w 104"/>
                  <a:gd name="T27" fmla="*/ 1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59">
                    <a:moveTo>
                      <a:pt x="0" y="16"/>
                    </a:moveTo>
                    <a:lnTo>
                      <a:pt x="40" y="0"/>
                    </a:lnTo>
                    <a:lnTo>
                      <a:pt x="53" y="9"/>
                    </a:lnTo>
                    <a:lnTo>
                      <a:pt x="88" y="21"/>
                    </a:lnTo>
                    <a:lnTo>
                      <a:pt x="103" y="30"/>
                    </a:lnTo>
                    <a:lnTo>
                      <a:pt x="76" y="48"/>
                    </a:lnTo>
                    <a:lnTo>
                      <a:pt x="67" y="58"/>
                    </a:lnTo>
                    <a:lnTo>
                      <a:pt x="58" y="54"/>
                    </a:lnTo>
                    <a:lnTo>
                      <a:pt x="59" y="44"/>
                    </a:lnTo>
                    <a:lnTo>
                      <a:pt x="46" y="43"/>
                    </a:lnTo>
                    <a:lnTo>
                      <a:pt x="44" y="51"/>
                    </a:lnTo>
                    <a:lnTo>
                      <a:pt x="34" y="52"/>
                    </a:lnTo>
                    <a:lnTo>
                      <a:pt x="23" y="42"/>
                    </a:lnTo>
                    <a:lnTo>
                      <a:pt x="0" y="16"/>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32" name="Freeform 271">
                <a:extLst>
                  <a:ext uri="{FF2B5EF4-FFF2-40B4-BE49-F238E27FC236}">
                    <a16:creationId xmlns:a16="http://schemas.microsoft.com/office/drawing/2014/main" id="{57C402A8-BD40-B773-BD51-B5D27CA27614}"/>
                  </a:ext>
                </a:extLst>
              </p:cNvPr>
              <p:cNvSpPr>
                <a:spLocks/>
              </p:cNvSpPr>
              <p:nvPr/>
            </p:nvSpPr>
            <p:spPr bwMode="auto">
              <a:xfrm>
                <a:off x="5193871" y="2685536"/>
                <a:ext cx="134141" cy="65693"/>
              </a:xfrm>
              <a:custGeom>
                <a:avLst/>
                <a:gdLst>
                  <a:gd name="T0" fmla="*/ 36 w 85"/>
                  <a:gd name="T1" fmla="*/ 2 h 41"/>
                  <a:gd name="T2" fmla="*/ 84 w 85"/>
                  <a:gd name="T3" fmla="*/ 0 h 41"/>
                  <a:gd name="T4" fmla="*/ 79 w 85"/>
                  <a:gd name="T5" fmla="*/ 40 h 41"/>
                  <a:gd name="T6" fmla="*/ 67 w 85"/>
                  <a:gd name="T7" fmla="*/ 30 h 41"/>
                  <a:gd name="T8" fmla="*/ 60 w 85"/>
                  <a:gd name="T9" fmla="*/ 28 h 41"/>
                  <a:gd name="T10" fmla="*/ 36 w 85"/>
                  <a:gd name="T11" fmla="*/ 33 h 41"/>
                  <a:gd name="T12" fmla="*/ 20 w 85"/>
                  <a:gd name="T13" fmla="*/ 33 h 41"/>
                  <a:gd name="T14" fmla="*/ 0 w 85"/>
                  <a:gd name="T15" fmla="*/ 29 h 41"/>
                  <a:gd name="T16" fmla="*/ 9 w 85"/>
                  <a:gd name="T17" fmla="*/ 20 h 41"/>
                  <a:gd name="T18" fmla="*/ 36 w 85"/>
                  <a:gd name="T19" fmla="*/ 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41">
                    <a:moveTo>
                      <a:pt x="36" y="2"/>
                    </a:moveTo>
                    <a:lnTo>
                      <a:pt x="84" y="0"/>
                    </a:lnTo>
                    <a:lnTo>
                      <a:pt x="79" y="40"/>
                    </a:lnTo>
                    <a:lnTo>
                      <a:pt x="67" y="30"/>
                    </a:lnTo>
                    <a:lnTo>
                      <a:pt x="60" y="28"/>
                    </a:lnTo>
                    <a:lnTo>
                      <a:pt x="36" y="33"/>
                    </a:lnTo>
                    <a:lnTo>
                      <a:pt x="20" y="33"/>
                    </a:lnTo>
                    <a:lnTo>
                      <a:pt x="0" y="29"/>
                    </a:lnTo>
                    <a:lnTo>
                      <a:pt x="9" y="20"/>
                    </a:lnTo>
                    <a:lnTo>
                      <a:pt x="36" y="2"/>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33" name="Freeform 274">
                <a:extLst>
                  <a:ext uri="{FF2B5EF4-FFF2-40B4-BE49-F238E27FC236}">
                    <a16:creationId xmlns:a16="http://schemas.microsoft.com/office/drawing/2014/main" id="{13D0F57B-8063-8048-11D3-0CEBEFBB43ED}"/>
                  </a:ext>
                </a:extLst>
              </p:cNvPr>
              <p:cNvSpPr>
                <a:spLocks/>
              </p:cNvSpPr>
              <p:nvPr/>
            </p:nvSpPr>
            <p:spPr bwMode="auto">
              <a:xfrm>
                <a:off x="5404865" y="2748433"/>
                <a:ext cx="79647" cy="103432"/>
              </a:xfrm>
              <a:custGeom>
                <a:avLst/>
                <a:gdLst>
                  <a:gd name="T0" fmla="*/ 39 w 57"/>
                  <a:gd name="T1" fmla="*/ 74 h 74"/>
                  <a:gd name="T2" fmla="*/ 47 w 57"/>
                  <a:gd name="T3" fmla="*/ 68 h 74"/>
                  <a:gd name="T4" fmla="*/ 54 w 57"/>
                  <a:gd name="T5" fmla="*/ 53 h 74"/>
                  <a:gd name="T6" fmla="*/ 57 w 57"/>
                  <a:gd name="T7" fmla="*/ 42 h 74"/>
                  <a:gd name="T8" fmla="*/ 36 w 57"/>
                  <a:gd name="T9" fmla="*/ 12 h 74"/>
                  <a:gd name="T10" fmla="*/ 23 w 57"/>
                  <a:gd name="T11" fmla="*/ 0 h 74"/>
                  <a:gd name="T12" fmla="*/ 0 w 57"/>
                  <a:gd name="T13" fmla="*/ 5 h 74"/>
                  <a:gd name="T14" fmla="*/ 24 w 57"/>
                  <a:gd name="T15" fmla="*/ 27 h 74"/>
                  <a:gd name="T16" fmla="*/ 24 w 57"/>
                  <a:gd name="T17" fmla="*/ 42 h 74"/>
                  <a:gd name="T18" fmla="*/ 39 w 57"/>
                  <a:gd name="T1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74">
                    <a:moveTo>
                      <a:pt x="39" y="74"/>
                    </a:moveTo>
                    <a:lnTo>
                      <a:pt x="47" y="68"/>
                    </a:lnTo>
                    <a:lnTo>
                      <a:pt x="54" y="53"/>
                    </a:lnTo>
                    <a:lnTo>
                      <a:pt x="57" y="42"/>
                    </a:lnTo>
                    <a:lnTo>
                      <a:pt x="36" y="12"/>
                    </a:lnTo>
                    <a:lnTo>
                      <a:pt x="23" y="0"/>
                    </a:lnTo>
                    <a:lnTo>
                      <a:pt x="0" y="5"/>
                    </a:lnTo>
                    <a:lnTo>
                      <a:pt x="24" y="27"/>
                    </a:lnTo>
                    <a:lnTo>
                      <a:pt x="24" y="42"/>
                    </a:lnTo>
                    <a:lnTo>
                      <a:pt x="39" y="74"/>
                    </a:lnTo>
                    <a:close/>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34" name="Freeform 276">
                <a:extLst>
                  <a:ext uri="{FF2B5EF4-FFF2-40B4-BE49-F238E27FC236}">
                    <a16:creationId xmlns:a16="http://schemas.microsoft.com/office/drawing/2014/main" id="{F5F3AB0B-FF3D-AEF2-F3AE-28B3165963A5}"/>
                  </a:ext>
                </a:extLst>
              </p:cNvPr>
              <p:cNvSpPr>
                <a:spLocks/>
              </p:cNvSpPr>
              <p:nvPr/>
            </p:nvSpPr>
            <p:spPr bwMode="auto">
              <a:xfrm>
                <a:off x="4963316" y="2671558"/>
                <a:ext cx="29344" cy="20966"/>
              </a:xfrm>
              <a:custGeom>
                <a:avLst/>
                <a:gdLst>
                  <a:gd name="T0" fmla="*/ 0 w 21"/>
                  <a:gd name="T1" fmla="*/ 15 h 15"/>
                  <a:gd name="T2" fmla="*/ 21 w 21"/>
                  <a:gd name="T3" fmla="*/ 15 h 15"/>
                  <a:gd name="T4" fmla="*/ 10 w 21"/>
                  <a:gd name="T5" fmla="*/ 10 h 15"/>
                  <a:gd name="T6" fmla="*/ 7 w 21"/>
                  <a:gd name="T7" fmla="*/ 0 h 15"/>
                  <a:gd name="T8" fmla="*/ 0 w 21"/>
                  <a:gd name="T9" fmla="*/ 15 h 15"/>
                </a:gdLst>
                <a:ahLst/>
                <a:cxnLst>
                  <a:cxn ang="0">
                    <a:pos x="T0" y="T1"/>
                  </a:cxn>
                  <a:cxn ang="0">
                    <a:pos x="T2" y="T3"/>
                  </a:cxn>
                  <a:cxn ang="0">
                    <a:pos x="T4" y="T5"/>
                  </a:cxn>
                  <a:cxn ang="0">
                    <a:pos x="T6" y="T7"/>
                  </a:cxn>
                  <a:cxn ang="0">
                    <a:pos x="T8" y="T9"/>
                  </a:cxn>
                </a:cxnLst>
                <a:rect l="0" t="0" r="r" b="b"/>
                <a:pathLst>
                  <a:path w="21" h="15">
                    <a:moveTo>
                      <a:pt x="0" y="15"/>
                    </a:moveTo>
                    <a:lnTo>
                      <a:pt x="21" y="15"/>
                    </a:lnTo>
                    <a:lnTo>
                      <a:pt x="10" y="10"/>
                    </a:lnTo>
                    <a:lnTo>
                      <a:pt x="7" y="0"/>
                    </a:lnTo>
                    <a:lnTo>
                      <a:pt x="0" y="15"/>
                    </a:lnTo>
                    <a:close/>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35" name="Freeform 135">
                <a:extLst>
                  <a:ext uri="{FF2B5EF4-FFF2-40B4-BE49-F238E27FC236}">
                    <a16:creationId xmlns:a16="http://schemas.microsoft.com/office/drawing/2014/main" id="{7E7C2678-593B-5D6A-E0D3-C7F48C4B15D6}"/>
                  </a:ext>
                </a:extLst>
              </p:cNvPr>
              <p:cNvSpPr>
                <a:spLocks/>
              </p:cNvSpPr>
              <p:nvPr/>
            </p:nvSpPr>
            <p:spPr bwMode="auto">
              <a:xfrm>
                <a:off x="7356903" y="4319477"/>
                <a:ext cx="901264" cy="770146"/>
              </a:xfrm>
              <a:custGeom>
                <a:avLst/>
                <a:gdLst>
                  <a:gd name="T0" fmla="*/ 296 w 575"/>
                  <a:gd name="T1" fmla="*/ 33 h 491"/>
                  <a:gd name="T2" fmla="*/ 258 w 575"/>
                  <a:gd name="T3" fmla="*/ 51 h 491"/>
                  <a:gd name="T4" fmla="*/ 254 w 575"/>
                  <a:gd name="T5" fmla="*/ 74 h 491"/>
                  <a:gd name="T6" fmla="*/ 230 w 575"/>
                  <a:gd name="T7" fmla="*/ 66 h 491"/>
                  <a:gd name="T8" fmla="*/ 199 w 575"/>
                  <a:gd name="T9" fmla="*/ 60 h 491"/>
                  <a:gd name="T10" fmla="*/ 184 w 575"/>
                  <a:gd name="T11" fmla="*/ 85 h 491"/>
                  <a:gd name="T12" fmla="*/ 164 w 575"/>
                  <a:gd name="T13" fmla="*/ 102 h 491"/>
                  <a:gd name="T14" fmla="*/ 156 w 575"/>
                  <a:gd name="T15" fmla="*/ 113 h 491"/>
                  <a:gd name="T16" fmla="*/ 145 w 575"/>
                  <a:gd name="T17" fmla="*/ 127 h 491"/>
                  <a:gd name="T18" fmla="*/ 104 w 575"/>
                  <a:gd name="T19" fmla="*/ 161 h 491"/>
                  <a:gd name="T20" fmla="*/ 31 w 575"/>
                  <a:gd name="T21" fmla="*/ 199 h 491"/>
                  <a:gd name="T22" fmla="*/ 9 w 575"/>
                  <a:gd name="T23" fmla="*/ 248 h 491"/>
                  <a:gd name="T24" fmla="*/ 17 w 575"/>
                  <a:gd name="T25" fmla="*/ 265 h 491"/>
                  <a:gd name="T26" fmla="*/ 0 w 575"/>
                  <a:gd name="T27" fmla="*/ 270 h 491"/>
                  <a:gd name="T28" fmla="*/ 17 w 575"/>
                  <a:gd name="T29" fmla="*/ 312 h 491"/>
                  <a:gd name="T30" fmla="*/ 17 w 575"/>
                  <a:gd name="T31" fmla="*/ 344 h 491"/>
                  <a:gd name="T32" fmla="*/ 25 w 575"/>
                  <a:gd name="T33" fmla="*/ 377 h 491"/>
                  <a:gd name="T34" fmla="*/ 12 w 575"/>
                  <a:gd name="T35" fmla="*/ 389 h 491"/>
                  <a:gd name="T36" fmla="*/ 35 w 575"/>
                  <a:gd name="T37" fmla="*/ 424 h 491"/>
                  <a:gd name="T38" fmla="*/ 53 w 575"/>
                  <a:gd name="T39" fmla="*/ 420 h 491"/>
                  <a:gd name="T40" fmla="*/ 83 w 575"/>
                  <a:gd name="T41" fmla="*/ 412 h 491"/>
                  <a:gd name="T42" fmla="*/ 142 w 575"/>
                  <a:gd name="T43" fmla="*/ 391 h 491"/>
                  <a:gd name="T44" fmla="*/ 204 w 575"/>
                  <a:gd name="T45" fmla="*/ 375 h 491"/>
                  <a:gd name="T46" fmla="*/ 231 w 575"/>
                  <a:gd name="T47" fmla="*/ 365 h 491"/>
                  <a:gd name="T48" fmla="*/ 245 w 575"/>
                  <a:gd name="T49" fmla="*/ 369 h 491"/>
                  <a:gd name="T50" fmla="*/ 278 w 575"/>
                  <a:gd name="T51" fmla="*/ 383 h 491"/>
                  <a:gd name="T52" fmla="*/ 290 w 575"/>
                  <a:gd name="T53" fmla="*/ 418 h 491"/>
                  <a:gd name="T54" fmla="*/ 310 w 575"/>
                  <a:gd name="T55" fmla="*/ 409 h 491"/>
                  <a:gd name="T56" fmla="*/ 330 w 575"/>
                  <a:gd name="T57" fmla="*/ 383 h 491"/>
                  <a:gd name="T58" fmla="*/ 326 w 575"/>
                  <a:gd name="T59" fmla="*/ 409 h 491"/>
                  <a:gd name="T60" fmla="*/ 328 w 575"/>
                  <a:gd name="T61" fmla="*/ 422 h 491"/>
                  <a:gd name="T62" fmla="*/ 337 w 575"/>
                  <a:gd name="T63" fmla="*/ 405 h 491"/>
                  <a:gd name="T64" fmla="*/ 339 w 575"/>
                  <a:gd name="T65" fmla="*/ 422 h 491"/>
                  <a:gd name="T66" fmla="*/ 349 w 575"/>
                  <a:gd name="T67" fmla="*/ 442 h 491"/>
                  <a:gd name="T68" fmla="*/ 358 w 575"/>
                  <a:gd name="T69" fmla="*/ 471 h 491"/>
                  <a:gd name="T70" fmla="*/ 425 w 575"/>
                  <a:gd name="T71" fmla="*/ 490 h 491"/>
                  <a:gd name="T72" fmla="*/ 491 w 575"/>
                  <a:gd name="T73" fmla="*/ 460 h 491"/>
                  <a:gd name="T74" fmla="*/ 521 w 575"/>
                  <a:gd name="T75" fmla="*/ 415 h 491"/>
                  <a:gd name="T76" fmla="*/ 558 w 575"/>
                  <a:gd name="T77" fmla="*/ 366 h 491"/>
                  <a:gd name="T78" fmla="*/ 565 w 575"/>
                  <a:gd name="T79" fmla="*/ 316 h 491"/>
                  <a:gd name="T80" fmla="*/ 572 w 575"/>
                  <a:gd name="T81" fmla="*/ 251 h 491"/>
                  <a:gd name="T82" fmla="*/ 546 w 575"/>
                  <a:gd name="T83" fmla="*/ 201 h 491"/>
                  <a:gd name="T84" fmla="*/ 523 w 575"/>
                  <a:gd name="T85" fmla="*/ 165 h 491"/>
                  <a:gd name="T86" fmla="*/ 493 w 575"/>
                  <a:gd name="T87" fmla="*/ 117 h 491"/>
                  <a:gd name="T88" fmla="*/ 465 w 575"/>
                  <a:gd name="T89" fmla="*/ 60 h 491"/>
                  <a:gd name="T90" fmla="*/ 463 w 575"/>
                  <a:gd name="T91" fmla="*/ 19 h 491"/>
                  <a:gd name="T92" fmla="*/ 437 w 575"/>
                  <a:gd name="T93" fmla="*/ 19 h 491"/>
                  <a:gd name="T94" fmla="*/ 430 w 575"/>
                  <a:gd name="T95" fmla="*/ 89 h 491"/>
                  <a:gd name="T96" fmla="*/ 416 w 575"/>
                  <a:gd name="T97" fmla="*/ 113 h 491"/>
                  <a:gd name="T98" fmla="*/ 384 w 575"/>
                  <a:gd name="T99" fmla="*/ 100 h 491"/>
                  <a:gd name="T100" fmla="*/ 353 w 575"/>
                  <a:gd name="T101" fmla="*/ 81 h 491"/>
                  <a:gd name="T102" fmla="*/ 348 w 575"/>
                  <a:gd name="T103" fmla="*/ 62 h 491"/>
                  <a:gd name="T104" fmla="*/ 360 w 575"/>
                  <a:gd name="T105" fmla="*/ 46 h 491"/>
                  <a:gd name="T106" fmla="*/ 347 w 575"/>
                  <a:gd name="T107" fmla="*/ 25 h 491"/>
                  <a:gd name="T108" fmla="*/ 307 w 575"/>
                  <a:gd name="T109" fmla="*/ 12 h 491"/>
                  <a:gd name="T110" fmla="*/ 282 w 575"/>
                  <a:gd name="T111" fmla="*/ 15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75" h="491">
                    <a:moveTo>
                      <a:pt x="293" y="20"/>
                    </a:moveTo>
                    <a:lnTo>
                      <a:pt x="296" y="33"/>
                    </a:lnTo>
                    <a:lnTo>
                      <a:pt x="269" y="37"/>
                    </a:lnTo>
                    <a:lnTo>
                      <a:pt x="258" y="51"/>
                    </a:lnTo>
                    <a:lnTo>
                      <a:pt x="256" y="59"/>
                    </a:lnTo>
                    <a:lnTo>
                      <a:pt x="254" y="74"/>
                    </a:lnTo>
                    <a:lnTo>
                      <a:pt x="237" y="78"/>
                    </a:lnTo>
                    <a:lnTo>
                      <a:pt x="230" y="66"/>
                    </a:lnTo>
                    <a:lnTo>
                      <a:pt x="221" y="55"/>
                    </a:lnTo>
                    <a:lnTo>
                      <a:pt x="199" y="60"/>
                    </a:lnTo>
                    <a:lnTo>
                      <a:pt x="195" y="74"/>
                    </a:lnTo>
                    <a:lnTo>
                      <a:pt x="184" y="85"/>
                    </a:lnTo>
                    <a:lnTo>
                      <a:pt x="171" y="91"/>
                    </a:lnTo>
                    <a:lnTo>
                      <a:pt x="164" y="102"/>
                    </a:lnTo>
                    <a:lnTo>
                      <a:pt x="164" y="113"/>
                    </a:lnTo>
                    <a:lnTo>
                      <a:pt x="156" y="113"/>
                    </a:lnTo>
                    <a:lnTo>
                      <a:pt x="149" y="102"/>
                    </a:lnTo>
                    <a:lnTo>
                      <a:pt x="145" y="127"/>
                    </a:lnTo>
                    <a:lnTo>
                      <a:pt x="124" y="153"/>
                    </a:lnTo>
                    <a:lnTo>
                      <a:pt x="104" y="161"/>
                    </a:lnTo>
                    <a:lnTo>
                      <a:pt x="53" y="176"/>
                    </a:lnTo>
                    <a:lnTo>
                      <a:pt x="31" y="199"/>
                    </a:lnTo>
                    <a:lnTo>
                      <a:pt x="6" y="201"/>
                    </a:lnTo>
                    <a:lnTo>
                      <a:pt x="9" y="248"/>
                    </a:lnTo>
                    <a:lnTo>
                      <a:pt x="20" y="255"/>
                    </a:lnTo>
                    <a:lnTo>
                      <a:pt x="17" y="265"/>
                    </a:lnTo>
                    <a:lnTo>
                      <a:pt x="2" y="255"/>
                    </a:lnTo>
                    <a:lnTo>
                      <a:pt x="0" y="270"/>
                    </a:lnTo>
                    <a:lnTo>
                      <a:pt x="8" y="296"/>
                    </a:lnTo>
                    <a:lnTo>
                      <a:pt x="17" y="312"/>
                    </a:lnTo>
                    <a:lnTo>
                      <a:pt x="17" y="331"/>
                    </a:lnTo>
                    <a:lnTo>
                      <a:pt x="17" y="344"/>
                    </a:lnTo>
                    <a:lnTo>
                      <a:pt x="24" y="349"/>
                    </a:lnTo>
                    <a:lnTo>
                      <a:pt x="25" y="377"/>
                    </a:lnTo>
                    <a:lnTo>
                      <a:pt x="17" y="378"/>
                    </a:lnTo>
                    <a:lnTo>
                      <a:pt x="12" y="389"/>
                    </a:lnTo>
                    <a:lnTo>
                      <a:pt x="6" y="398"/>
                    </a:lnTo>
                    <a:lnTo>
                      <a:pt x="35" y="424"/>
                    </a:lnTo>
                    <a:lnTo>
                      <a:pt x="47" y="427"/>
                    </a:lnTo>
                    <a:lnTo>
                      <a:pt x="53" y="420"/>
                    </a:lnTo>
                    <a:lnTo>
                      <a:pt x="59" y="409"/>
                    </a:lnTo>
                    <a:lnTo>
                      <a:pt x="83" y="412"/>
                    </a:lnTo>
                    <a:lnTo>
                      <a:pt x="133" y="405"/>
                    </a:lnTo>
                    <a:lnTo>
                      <a:pt x="142" y="391"/>
                    </a:lnTo>
                    <a:lnTo>
                      <a:pt x="158" y="380"/>
                    </a:lnTo>
                    <a:lnTo>
                      <a:pt x="204" y="375"/>
                    </a:lnTo>
                    <a:lnTo>
                      <a:pt x="213" y="366"/>
                    </a:lnTo>
                    <a:lnTo>
                      <a:pt x="231" y="365"/>
                    </a:lnTo>
                    <a:lnTo>
                      <a:pt x="244" y="361"/>
                    </a:lnTo>
                    <a:lnTo>
                      <a:pt x="245" y="369"/>
                    </a:lnTo>
                    <a:lnTo>
                      <a:pt x="267" y="371"/>
                    </a:lnTo>
                    <a:lnTo>
                      <a:pt x="278" y="383"/>
                    </a:lnTo>
                    <a:lnTo>
                      <a:pt x="289" y="399"/>
                    </a:lnTo>
                    <a:lnTo>
                      <a:pt x="290" y="418"/>
                    </a:lnTo>
                    <a:lnTo>
                      <a:pt x="299" y="416"/>
                    </a:lnTo>
                    <a:lnTo>
                      <a:pt x="310" y="409"/>
                    </a:lnTo>
                    <a:lnTo>
                      <a:pt x="322" y="397"/>
                    </a:lnTo>
                    <a:lnTo>
                      <a:pt x="330" y="383"/>
                    </a:lnTo>
                    <a:lnTo>
                      <a:pt x="332" y="394"/>
                    </a:lnTo>
                    <a:lnTo>
                      <a:pt x="326" y="409"/>
                    </a:lnTo>
                    <a:lnTo>
                      <a:pt x="318" y="420"/>
                    </a:lnTo>
                    <a:lnTo>
                      <a:pt x="328" y="422"/>
                    </a:lnTo>
                    <a:lnTo>
                      <a:pt x="332" y="412"/>
                    </a:lnTo>
                    <a:lnTo>
                      <a:pt x="337" y="405"/>
                    </a:lnTo>
                    <a:lnTo>
                      <a:pt x="337" y="412"/>
                    </a:lnTo>
                    <a:lnTo>
                      <a:pt x="339" y="422"/>
                    </a:lnTo>
                    <a:lnTo>
                      <a:pt x="348" y="431"/>
                    </a:lnTo>
                    <a:lnTo>
                      <a:pt x="349" y="442"/>
                    </a:lnTo>
                    <a:lnTo>
                      <a:pt x="344" y="456"/>
                    </a:lnTo>
                    <a:lnTo>
                      <a:pt x="358" y="471"/>
                    </a:lnTo>
                    <a:lnTo>
                      <a:pt x="389" y="482"/>
                    </a:lnTo>
                    <a:lnTo>
                      <a:pt x="425" y="490"/>
                    </a:lnTo>
                    <a:lnTo>
                      <a:pt x="450" y="481"/>
                    </a:lnTo>
                    <a:lnTo>
                      <a:pt x="491" y="460"/>
                    </a:lnTo>
                    <a:lnTo>
                      <a:pt x="503" y="429"/>
                    </a:lnTo>
                    <a:lnTo>
                      <a:pt x="521" y="415"/>
                    </a:lnTo>
                    <a:lnTo>
                      <a:pt x="534" y="388"/>
                    </a:lnTo>
                    <a:lnTo>
                      <a:pt x="558" y="366"/>
                    </a:lnTo>
                    <a:lnTo>
                      <a:pt x="565" y="355"/>
                    </a:lnTo>
                    <a:lnTo>
                      <a:pt x="565" y="316"/>
                    </a:lnTo>
                    <a:lnTo>
                      <a:pt x="574" y="263"/>
                    </a:lnTo>
                    <a:lnTo>
                      <a:pt x="572" y="251"/>
                    </a:lnTo>
                    <a:lnTo>
                      <a:pt x="555" y="228"/>
                    </a:lnTo>
                    <a:lnTo>
                      <a:pt x="546" y="201"/>
                    </a:lnTo>
                    <a:lnTo>
                      <a:pt x="527" y="191"/>
                    </a:lnTo>
                    <a:lnTo>
                      <a:pt x="523" y="165"/>
                    </a:lnTo>
                    <a:lnTo>
                      <a:pt x="494" y="150"/>
                    </a:lnTo>
                    <a:lnTo>
                      <a:pt x="493" y="117"/>
                    </a:lnTo>
                    <a:lnTo>
                      <a:pt x="483" y="80"/>
                    </a:lnTo>
                    <a:lnTo>
                      <a:pt x="465" y="60"/>
                    </a:lnTo>
                    <a:lnTo>
                      <a:pt x="455" y="33"/>
                    </a:lnTo>
                    <a:lnTo>
                      <a:pt x="463" y="19"/>
                    </a:lnTo>
                    <a:lnTo>
                      <a:pt x="448" y="0"/>
                    </a:lnTo>
                    <a:lnTo>
                      <a:pt x="437" y="19"/>
                    </a:lnTo>
                    <a:lnTo>
                      <a:pt x="429" y="30"/>
                    </a:lnTo>
                    <a:lnTo>
                      <a:pt x="430" y="89"/>
                    </a:lnTo>
                    <a:lnTo>
                      <a:pt x="421" y="104"/>
                    </a:lnTo>
                    <a:lnTo>
                      <a:pt x="416" y="113"/>
                    </a:lnTo>
                    <a:lnTo>
                      <a:pt x="399" y="113"/>
                    </a:lnTo>
                    <a:lnTo>
                      <a:pt x="384" y="100"/>
                    </a:lnTo>
                    <a:lnTo>
                      <a:pt x="365" y="93"/>
                    </a:lnTo>
                    <a:lnTo>
                      <a:pt x="353" y="81"/>
                    </a:lnTo>
                    <a:lnTo>
                      <a:pt x="342" y="77"/>
                    </a:lnTo>
                    <a:lnTo>
                      <a:pt x="348" y="62"/>
                    </a:lnTo>
                    <a:lnTo>
                      <a:pt x="351" y="49"/>
                    </a:lnTo>
                    <a:lnTo>
                      <a:pt x="360" y="46"/>
                    </a:lnTo>
                    <a:lnTo>
                      <a:pt x="366" y="28"/>
                    </a:lnTo>
                    <a:lnTo>
                      <a:pt x="347" y="25"/>
                    </a:lnTo>
                    <a:lnTo>
                      <a:pt x="328" y="23"/>
                    </a:lnTo>
                    <a:lnTo>
                      <a:pt x="307" y="12"/>
                    </a:lnTo>
                    <a:lnTo>
                      <a:pt x="284" y="9"/>
                    </a:lnTo>
                    <a:lnTo>
                      <a:pt x="282" y="15"/>
                    </a:lnTo>
                    <a:lnTo>
                      <a:pt x="293" y="20"/>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36" name="Freeform 136">
                <a:extLst>
                  <a:ext uri="{FF2B5EF4-FFF2-40B4-BE49-F238E27FC236}">
                    <a16:creationId xmlns:a16="http://schemas.microsoft.com/office/drawing/2014/main" id="{074C2530-85B2-7410-9101-905CA6704B66}"/>
                  </a:ext>
                </a:extLst>
              </p:cNvPr>
              <p:cNvSpPr>
                <a:spLocks/>
              </p:cNvSpPr>
              <p:nvPr/>
            </p:nvSpPr>
            <p:spPr bwMode="auto">
              <a:xfrm>
                <a:off x="7988486" y="5148328"/>
                <a:ext cx="79647" cy="85261"/>
              </a:xfrm>
              <a:custGeom>
                <a:avLst/>
                <a:gdLst>
                  <a:gd name="T0" fmla="*/ 3 w 52"/>
                  <a:gd name="T1" fmla="*/ 0 h 53"/>
                  <a:gd name="T2" fmla="*/ 22 w 52"/>
                  <a:gd name="T3" fmla="*/ 4 h 53"/>
                  <a:gd name="T4" fmla="*/ 51 w 52"/>
                  <a:gd name="T5" fmla="*/ 4 h 53"/>
                  <a:gd name="T6" fmla="*/ 49 w 52"/>
                  <a:gd name="T7" fmla="*/ 21 h 53"/>
                  <a:gd name="T8" fmla="*/ 40 w 52"/>
                  <a:gd name="T9" fmla="*/ 34 h 53"/>
                  <a:gd name="T10" fmla="*/ 38 w 52"/>
                  <a:gd name="T11" fmla="*/ 47 h 53"/>
                  <a:gd name="T12" fmla="*/ 22 w 52"/>
                  <a:gd name="T13" fmla="*/ 50 h 53"/>
                  <a:gd name="T14" fmla="*/ 11 w 52"/>
                  <a:gd name="T15" fmla="*/ 52 h 53"/>
                  <a:gd name="T16" fmla="*/ 0 w 52"/>
                  <a:gd name="T17" fmla="*/ 45 h 53"/>
                  <a:gd name="T18" fmla="*/ 3 w 52"/>
                  <a:gd name="T19"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3">
                    <a:moveTo>
                      <a:pt x="3" y="0"/>
                    </a:moveTo>
                    <a:lnTo>
                      <a:pt x="22" y="4"/>
                    </a:lnTo>
                    <a:lnTo>
                      <a:pt x="51" y="4"/>
                    </a:lnTo>
                    <a:lnTo>
                      <a:pt x="49" y="21"/>
                    </a:lnTo>
                    <a:lnTo>
                      <a:pt x="40" y="34"/>
                    </a:lnTo>
                    <a:lnTo>
                      <a:pt x="38" y="47"/>
                    </a:lnTo>
                    <a:lnTo>
                      <a:pt x="22" y="50"/>
                    </a:lnTo>
                    <a:lnTo>
                      <a:pt x="11" y="52"/>
                    </a:lnTo>
                    <a:lnTo>
                      <a:pt x="0" y="45"/>
                    </a:lnTo>
                    <a:lnTo>
                      <a:pt x="3" y="0"/>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37" name="Freeform 152">
                <a:extLst>
                  <a:ext uri="{FF2B5EF4-FFF2-40B4-BE49-F238E27FC236}">
                    <a16:creationId xmlns:a16="http://schemas.microsoft.com/office/drawing/2014/main" id="{5F9979E3-F5C5-93CE-9359-9551DAD21075}"/>
                  </a:ext>
                </a:extLst>
              </p:cNvPr>
              <p:cNvSpPr>
                <a:spLocks/>
              </p:cNvSpPr>
              <p:nvPr/>
            </p:nvSpPr>
            <p:spPr bwMode="auto">
              <a:xfrm>
                <a:off x="5207844" y="4636761"/>
                <a:ext cx="371683" cy="348033"/>
              </a:xfrm>
              <a:custGeom>
                <a:avLst/>
                <a:gdLst>
                  <a:gd name="T0" fmla="*/ 217 w 237"/>
                  <a:gd name="T1" fmla="*/ 9 h 221"/>
                  <a:gd name="T2" fmla="*/ 201 w 237"/>
                  <a:gd name="T3" fmla="*/ 9 h 221"/>
                  <a:gd name="T4" fmla="*/ 197 w 237"/>
                  <a:gd name="T5" fmla="*/ 4 h 221"/>
                  <a:gd name="T6" fmla="*/ 187 w 237"/>
                  <a:gd name="T7" fmla="*/ 0 h 221"/>
                  <a:gd name="T8" fmla="*/ 184 w 237"/>
                  <a:gd name="T9" fmla="*/ 8 h 221"/>
                  <a:gd name="T10" fmla="*/ 175 w 237"/>
                  <a:gd name="T11" fmla="*/ 15 h 221"/>
                  <a:gd name="T12" fmla="*/ 167 w 237"/>
                  <a:gd name="T13" fmla="*/ 25 h 221"/>
                  <a:gd name="T14" fmla="*/ 156 w 237"/>
                  <a:gd name="T15" fmla="*/ 30 h 221"/>
                  <a:gd name="T16" fmla="*/ 151 w 237"/>
                  <a:gd name="T17" fmla="*/ 44 h 221"/>
                  <a:gd name="T18" fmla="*/ 143 w 237"/>
                  <a:gd name="T19" fmla="*/ 47 h 221"/>
                  <a:gd name="T20" fmla="*/ 137 w 237"/>
                  <a:gd name="T21" fmla="*/ 55 h 221"/>
                  <a:gd name="T22" fmla="*/ 128 w 237"/>
                  <a:gd name="T23" fmla="*/ 65 h 221"/>
                  <a:gd name="T24" fmla="*/ 114 w 237"/>
                  <a:gd name="T25" fmla="*/ 65 h 221"/>
                  <a:gd name="T26" fmla="*/ 105 w 237"/>
                  <a:gd name="T27" fmla="*/ 59 h 221"/>
                  <a:gd name="T28" fmla="*/ 96 w 237"/>
                  <a:gd name="T29" fmla="*/ 59 h 221"/>
                  <a:gd name="T30" fmla="*/ 91 w 237"/>
                  <a:gd name="T31" fmla="*/ 66 h 221"/>
                  <a:gd name="T32" fmla="*/ 88 w 237"/>
                  <a:gd name="T33" fmla="*/ 76 h 221"/>
                  <a:gd name="T34" fmla="*/ 80 w 237"/>
                  <a:gd name="T35" fmla="*/ 81 h 221"/>
                  <a:gd name="T36" fmla="*/ 61 w 237"/>
                  <a:gd name="T37" fmla="*/ 76 h 221"/>
                  <a:gd name="T38" fmla="*/ 57 w 237"/>
                  <a:gd name="T39" fmla="*/ 61 h 221"/>
                  <a:gd name="T40" fmla="*/ 52 w 237"/>
                  <a:gd name="T41" fmla="*/ 54 h 221"/>
                  <a:gd name="T42" fmla="*/ 47 w 237"/>
                  <a:gd name="T43" fmla="*/ 110 h 221"/>
                  <a:gd name="T44" fmla="*/ 40 w 237"/>
                  <a:gd name="T45" fmla="*/ 120 h 221"/>
                  <a:gd name="T46" fmla="*/ 20 w 237"/>
                  <a:gd name="T47" fmla="*/ 117 h 221"/>
                  <a:gd name="T48" fmla="*/ 14 w 237"/>
                  <a:gd name="T49" fmla="*/ 105 h 221"/>
                  <a:gd name="T50" fmla="*/ 10 w 237"/>
                  <a:gd name="T51" fmla="*/ 110 h 221"/>
                  <a:gd name="T52" fmla="*/ 0 w 237"/>
                  <a:gd name="T53" fmla="*/ 111 h 221"/>
                  <a:gd name="T54" fmla="*/ 3 w 237"/>
                  <a:gd name="T55" fmla="*/ 118 h 221"/>
                  <a:gd name="T56" fmla="*/ 3 w 237"/>
                  <a:gd name="T57" fmla="*/ 134 h 221"/>
                  <a:gd name="T58" fmla="*/ 13 w 237"/>
                  <a:gd name="T59" fmla="*/ 138 h 221"/>
                  <a:gd name="T60" fmla="*/ 14 w 237"/>
                  <a:gd name="T61" fmla="*/ 157 h 221"/>
                  <a:gd name="T62" fmla="*/ 20 w 237"/>
                  <a:gd name="T63" fmla="*/ 160 h 221"/>
                  <a:gd name="T64" fmla="*/ 20 w 237"/>
                  <a:gd name="T65" fmla="*/ 166 h 221"/>
                  <a:gd name="T66" fmla="*/ 27 w 237"/>
                  <a:gd name="T67" fmla="*/ 166 h 221"/>
                  <a:gd name="T68" fmla="*/ 25 w 237"/>
                  <a:gd name="T69" fmla="*/ 178 h 221"/>
                  <a:gd name="T70" fmla="*/ 17 w 237"/>
                  <a:gd name="T71" fmla="*/ 184 h 221"/>
                  <a:gd name="T72" fmla="*/ 43 w 237"/>
                  <a:gd name="T73" fmla="*/ 218 h 221"/>
                  <a:gd name="T74" fmla="*/ 61 w 237"/>
                  <a:gd name="T75" fmla="*/ 220 h 221"/>
                  <a:gd name="T76" fmla="*/ 70 w 237"/>
                  <a:gd name="T77" fmla="*/ 214 h 221"/>
                  <a:gd name="T78" fmla="*/ 78 w 237"/>
                  <a:gd name="T79" fmla="*/ 203 h 221"/>
                  <a:gd name="T80" fmla="*/ 108 w 237"/>
                  <a:gd name="T81" fmla="*/ 204 h 221"/>
                  <a:gd name="T82" fmla="*/ 111 w 237"/>
                  <a:gd name="T83" fmla="*/ 209 h 221"/>
                  <a:gd name="T84" fmla="*/ 128 w 237"/>
                  <a:gd name="T85" fmla="*/ 202 h 221"/>
                  <a:gd name="T86" fmla="*/ 135 w 237"/>
                  <a:gd name="T87" fmla="*/ 196 h 221"/>
                  <a:gd name="T88" fmla="*/ 156 w 237"/>
                  <a:gd name="T89" fmla="*/ 193 h 221"/>
                  <a:gd name="T90" fmla="*/ 167 w 237"/>
                  <a:gd name="T91" fmla="*/ 186 h 221"/>
                  <a:gd name="T92" fmla="*/ 178 w 237"/>
                  <a:gd name="T93" fmla="*/ 167 h 221"/>
                  <a:gd name="T94" fmla="*/ 190 w 237"/>
                  <a:gd name="T95" fmla="*/ 158 h 221"/>
                  <a:gd name="T96" fmla="*/ 209 w 237"/>
                  <a:gd name="T97" fmla="*/ 142 h 221"/>
                  <a:gd name="T98" fmla="*/ 212 w 237"/>
                  <a:gd name="T99" fmla="*/ 125 h 221"/>
                  <a:gd name="T100" fmla="*/ 217 w 237"/>
                  <a:gd name="T101" fmla="*/ 110 h 221"/>
                  <a:gd name="T102" fmla="*/ 228 w 237"/>
                  <a:gd name="T103" fmla="*/ 109 h 221"/>
                  <a:gd name="T104" fmla="*/ 236 w 237"/>
                  <a:gd name="T105" fmla="*/ 93 h 221"/>
                  <a:gd name="T106" fmla="*/ 224 w 237"/>
                  <a:gd name="T107" fmla="*/ 88 h 221"/>
                  <a:gd name="T108" fmla="*/ 222 w 237"/>
                  <a:gd name="T109" fmla="*/ 76 h 221"/>
                  <a:gd name="T110" fmla="*/ 216 w 237"/>
                  <a:gd name="T111" fmla="*/ 66 h 221"/>
                  <a:gd name="T112" fmla="*/ 217 w 237"/>
                  <a:gd name="T113" fmla="*/ 52 h 221"/>
                  <a:gd name="T114" fmla="*/ 217 w 237"/>
                  <a:gd name="T115" fmla="*/ 34 h 221"/>
                  <a:gd name="T116" fmla="*/ 217 w 237"/>
                  <a:gd name="T117" fmla="*/ 9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7" h="221">
                    <a:moveTo>
                      <a:pt x="217" y="9"/>
                    </a:moveTo>
                    <a:lnTo>
                      <a:pt x="201" y="9"/>
                    </a:lnTo>
                    <a:lnTo>
                      <a:pt x="197" y="4"/>
                    </a:lnTo>
                    <a:lnTo>
                      <a:pt x="187" y="0"/>
                    </a:lnTo>
                    <a:lnTo>
                      <a:pt x="184" y="8"/>
                    </a:lnTo>
                    <a:lnTo>
                      <a:pt x="175" y="15"/>
                    </a:lnTo>
                    <a:lnTo>
                      <a:pt x="167" y="25"/>
                    </a:lnTo>
                    <a:lnTo>
                      <a:pt x="156" y="30"/>
                    </a:lnTo>
                    <a:lnTo>
                      <a:pt x="151" y="44"/>
                    </a:lnTo>
                    <a:lnTo>
                      <a:pt x="143" y="47"/>
                    </a:lnTo>
                    <a:lnTo>
                      <a:pt x="137" y="55"/>
                    </a:lnTo>
                    <a:lnTo>
                      <a:pt x="128" y="65"/>
                    </a:lnTo>
                    <a:lnTo>
                      <a:pt x="114" y="65"/>
                    </a:lnTo>
                    <a:lnTo>
                      <a:pt x="105" y="59"/>
                    </a:lnTo>
                    <a:lnTo>
                      <a:pt x="96" y="59"/>
                    </a:lnTo>
                    <a:lnTo>
                      <a:pt x="91" y="66"/>
                    </a:lnTo>
                    <a:lnTo>
                      <a:pt x="88" y="76"/>
                    </a:lnTo>
                    <a:lnTo>
                      <a:pt x="80" y="81"/>
                    </a:lnTo>
                    <a:lnTo>
                      <a:pt x="61" y="76"/>
                    </a:lnTo>
                    <a:lnTo>
                      <a:pt x="57" y="61"/>
                    </a:lnTo>
                    <a:lnTo>
                      <a:pt x="52" y="54"/>
                    </a:lnTo>
                    <a:lnTo>
                      <a:pt x="47" y="110"/>
                    </a:lnTo>
                    <a:lnTo>
                      <a:pt x="40" y="120"/>
                    </a:lnTo>
                    <a:lnTo>
                      <a:pt x="20" y="117"/>
                    </a:lnTo>
                    <a:lnTo>
                      <a:pt x="14" y="105"/>
                    </a:lnTo>
                    <a:lnTo>
                      <a:pt x="10" y="110"/>
                    </a:lnTo>
                    <a:lnTo>
                      <a:pt x="0" y="111"/>
                    </a:lnTo>
                    <a:lnTo>
                      <a:pt x="3" y="118"/>
                    </a:lnTo>
                    <a:lnTo>
                      <a:pt x="3" y="134"/>
                    </a:lnTo>
                    <a:lnTo>
                      <a:pt x="13" y="138"/>
                    </a:lnTo>
                    <a:lnTo>
                      <a:pt x="14" y="157"/>
                    </a:lnTo>
                    <a:lnTo>
                      <a:pt x="20" y="160"/>
                    </a:lnTo>
                    <a:lnTo>
                      <a:pt x="20" y="166"/>
                    </a:lnTo>
                    <a:lnTo>
                      <a:pt x="27" y="166"/>
                    </a:lnTo>
                    <a:lnTo>
                      <a:pt x="25" y="178"/>
                    </a:lnTo>
                    <a:lnTo>
                      <a:pt x="17" y="184"/>
                    </a:lnTo>
                    <a:lnTo>
                      <a:pt x="43" y="218"/>
                    </a:lnTo>
                    <a:lnTo>
                      <a:pt x="61" y="220"/>
                    </a:lnTo>
                    <a:lnTo>
                      <a:pt x="70" y="214"/>
                    </a:lnTo>
                    <a:lnTo>
                      <a:pt x="78" y="203"/>
                    </a:lnTo>
                    <a:lnTo>
                      <a:pt x="108" y="204"/>
                    </a:lnTo>
                    <a:lnTo>
                      <a:pt x="111" y="209"/>
                    </a:lnTo>
                    <a:lnTo>
                      <a:pt x="128" y="202"/>
                    </a:lnTo>
                    <a:lnTo>
                      <a:pt x="135" y="196"/>
                    </a:lnTo>
                    <a:lnTo>
                      <a:pt x="156" y="193"/>
                    </a:lnTo>
                    <a:lnTo>
                      <a:pt x="167" y="186"/>
                    </a:lnTo>
                    <a:lnTo>
                      <a:pt x="178" y="167"/>
                    </a:lnTo>
                    <a:lnTo>
                      <a:pt x="190" y="158"/>
                    </a:lnTo>
                    <a:lnTo>
                      <a:pt x="209" y="142"/>
                    </a:lnTo>
                    <a:lnTo>
                      <a:pt x="212" y="125"/>
                    </a:lnTo>
                    <a:lnTo>
                      <a:pt x="217" y="110"/>
                    </a:lnTo>
                    <a:lnTo>
                      <a:pt x="228" y="109"/>
                    </a:lnTo>
                    <a:lnTo>
                      <a:pt x="236" y="93"/>
                    </a:lnTo>
                    <a:lnTo>
                      <a:pt x="224" y="88"/>
                    </a:lnTo>
                    <a:lnTo>
                      <a:pt x="222" y="76"/>
                    </a:lnTo>
                    <a:lnTo>
                      <a:pt x="216" y="66"/>
                    </a:lnTo>
                    <a:lnTo>
                      <a:pt x="217" y="52"/>
                    </a:lnTo>
                    <a:lnTo>
                      <a:pt x="217" y="34"/>
                    </a:lnTo>
                    <a:lnTo>
                      <a:pt x="217" y="9"/>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38" name="Freeform 189">
                <a:extLst>
                  <a:ext uri="{FF2B5EF4-FFF2-40B4-BE49-F238E27FC236}">
                    <a16:creationId xmlns:a16="http://schemas.microsoft.com/office/drawing/2014/main" id="{E737713A-2515-A084-2407-841CFAEE624B}"/>
                  </a:ext>
                </a:extLst>
              </p:cNvPr>
              <p:cNvSpPr>
                <a:spLocks/>
              </p:cNvSpPr>
              <p:nvPr/>
            </p:nvSpPr>
            <p:spPr bwMode="auto">
              <a:xfrm>
                <a:off x="4587440" y="3107650"/>
                <a:ext cx="234748" cy="219443"/>
              </a:xfrm>
              <a:custGeom>
                <a:avLst/>
                <a:gdLst>
                  <a:gd name="T0" fmla="*/ 118 w 149"/>
                  <a:gd name="T1" fmla="*/ 19 h 140"/>
                  <a:gd name="T2" fmla="*/ 135 w 149"/>
                  <a:gd name="T3" fmla="*/ 16 h 140"/>
                  <a:gd name="T4" fmla="*/ 146 w 149"/>
                  <a:gd name="T5" fmla="*/ 27 h 140"/>
                  <a:gd name="T6" fmla="*/ 139 w 149"/>
                  <a:gd name="T7" fmla="*/ 41 h 140"/>
                  <a:gd name="T8" fmla="*/ 148 w 149"/>
                  <a:gd name="T9" fmla="*/ 46 h 140"/>
                  <a:gd name="T10" fmla="*/ 141 w 149"/>
                  <a:gd name="T11" fmla="*/ 70 h 140"/>
                  <a:gd name="T12" fmla="*/ 126 w 149"/>
                  <a:gd name="T13" fmla="*/ 71 h 140"/>
                  <a:gd name="T14" fmla="*/ 122 w 149"/>
                  <a:gd name="T15" fmla="*/ 82 h 140"/>
                  <a:gd name="T16" fmla="*/ 130 w 149"/>
                  <a:gd name="T17" fmla="*/ 89 h 140"/>
                  <a:gd name="T18" fmla="*/ 111 w 149"/>
                  <a:gd name="T19" fmla="*/ 105 h 140"/>
                  <a:gd name="T20" fmla="*/ 100 w 149"/>
                  <a:gd name="T21" fmla="*/ 118 h 140"/>
                  <a:gd name="T22" fmla="*/ 88 w 149"/>
                  <a:gd name="T23" fmla="*/ 124 h 140"/>
                  <a:gd name="T24" fmla="*/ 77 w 149"/>
                  <a:gd name="T25" fmla="*/ 124 h 140"/>
                  <a:gd name="T26" fmla="*/ 74 w 149"/>
                  <a:gd name="T27" fmla="*/ 131 h 140"/>
                  <a:gd name="T28" fmla="*/ 63 w 149"/>
                  <a:gd name="T29" fmla="*/ 130 h 140"/>
                  <a:gd name="T30" fmla="*/ 61 w 149"/>
                  <a:gd name="T31" fmla="*/ 139 h 140"/>
                  <a:gd name="T32" fmla="*/ 46 w 149"/>
                  <a:gd name="T33" fmla="*/ 139 h 140"/>
                  <a:gd name="T34" fmla="*/ 48 w 149"/>
                  <a:gd name="T35" fmla="*/ 132 h 140"/>
                  <a:gd name="T36" fmla="*/ 37 w 149"/>
                  <a:gd name="T37" fmla="*/ 132 h 140"/>
                  <a:gd name="T38" fmla="*/ 0 w 149"/>
                  <a:gd name="T39" fmla="*/ 132 h 140"/>
                  <a:gd name="T40" fmla="*/ 9 w 149"/>
                  <a:gd name="T41" fmla="*/ 120 h 140"/>
                  <a:gd name="T42" fmla="*/ 17 w 149"/>
                  <a:gd name="T43" fmla="*/ 115 h 140"/>
                  <a:gd name="T44" fmla="*/ 25 w 149"/>
                  <a:gd name="T45" fmla="*/ 108 h 140"/>
                  <a:gd name="T46" fmla="*/ 31 w 149"/>
                  <a:gd name="T47" fmla="*/ 64 h 140"/>
                  <a:gd name="T48" fmla="*/ 36 w 149"/>
                  <a:gd name="T49" fmla="*/ 49 h 140"/>
                  <a:gd name="T50" fmla="*/ 42 w 149"/>
                  <a:gd name="T51" fmla="*/ 51 h 140"/>
                  <a:gd name="T52" fmla="*/ 43 w 149"/>
                  <a:gd name="T53" fmla="*/ 41 h 140"/>
                  <a:gd name="T54" fmla="*/ 67 w 149"/>
                  <a:gd name="T55" fmla="*/ 40 h 140"/>
                  <a:gd name="T56" fmla="*/ 67 w 149"/>
                  <a:gd name="T57" fmla="*/ 28 h 140"/>
                  <a:gd name="T58" fmla="*/ 76 w 149"/>
                  <a:gd name="T59" fmla="*/ 19 h 140"/>
                  <a:gd name="T60" fmla="*/ 82 w 149"/>
                  <a:gd name="T61" fmla="*/ 9 h 140"/>
                  <a:gd name="T62" fmla="*/ 85 w 149"/>
                  <a:gd name="T63" fmla="*/ 0 h 140"/>
                  <a:gd name="T64" fmla="*/ 96 w 149"/>
                  <a:gd name="T65" fmla="*/ 7 h 140"/>
                  <a:gd name="T66" fmla="*/ 108 w 149"/>
                  <a:gd name="T67" fmla="*/ 8 h 140"/>
                  <a:gd name="T68" fmla="*/ 118 w 149"/>
                  <a:gd name="T69" fmla="*/ 1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9" h="140">
                    <a:moveTo>
                      <a:pt x="118" y="19"/>
                    </a:moveTo>
                    <a:lnTo>
                      <a:pt x="135" y="16"/>
                    </a:lnTo>
                    <a:lnTo>
                      <a:pt x="146" y="27"/>
                    </a:lnTo>
                    <a:lnTo>
                      <a:pt x="139" y="41"/>
                    </a:lnTo>
                    <a:lnTo>
                      <a:pt x="148" y="46"/>
                    </a:lnTo>
                    <a:lnTo>
                      <a:pt x="141" y="70"/>
                    </a:lnTo>
                    <a:lnTo>
                      <a:pt x="126" y="71"/>
                    </a:lnTo>
                    <a:lnTo>
                      <a:pt x="122" y="82"/>
                    </a:lnTo>
                    <a:lnTo>
                      <a:pt x="130" y="89"/>
                    </a:lnTo>
                    <a:lnTo>
                      <a:pt x="111" y="105"/>
                    </a:lnTo>
                    <a:lnTo>
                      <a:pt x="100" y="118"/>
                    </a:lnTo>
                    <a:lnTo>
                      <a:pt x="88" y="124"/>
                    </a:lnTo>
                    <a:lnTo>
                      <a:pt x="77" y="124"/>
                    </a:lnTo>
                    <a:lnTo>
                      <a:pt x="74" y="131"/>
                    </a:lnTo>
                    <a:lnTo>
                      <a:pt x="63" y="130"/>
                    </a:lnTo>
                    <a:lnTo>
                      <a:pt x="61" y="139"/>
                    </a:lnTo>
                    <a:lnTo>
                      <a:pt x="46" y="139"/>
                    </a:lnTo>
                    <a:lnTo>
                      <a:pt x="48" y="132"/>
                    </a:lnTo>
                    <a:lnTo>
                      <a:pt x="37" y="132"/>
                    </a:lnTo>
                    <a:lnTo>
                      <a:pt x="0" y="132"/>
                    </a:lnTo>
                    <a:lnTo>
                      <a:pt x="9" y="120"/>
                    </a:lnTo>
                    <a:lnTo>
                      <a:pt x="17" y="115"/>
                    </a:lnTo>
                    <a:lnTo>
                      <a:pt x="25" y="108"/>
                    </a:lnTo>
                    <a:lnTo>
                      <a:pt x="31" y="64"/>
                    </a:lnTo>
                    <a:lnTo>
                      <a:pt x="36" y="49"/>
                    </a:lnTo>
                    <a:lnTo>
                      <a:pt x="42" y="51"/>
                    </a:lnTo>
                    <a:lnTo>
                      <a:pt x="43" y="41"/>
                    </a:lnTo>
                    <a:lnTo>
                      <a:pt x="67" y="40"/>
                    </a:lnTo>
                    <a:lnTo>
                      <a:pt x="67" y="28"/>
                    </a:lnTo>
                    <a:lnTo>
                      <a:pt x="76" y="19"/>
                    </a:lnTo>
                    <a:lnTo>
                      <a:pt x="82" y="9"/>
                    </a:lnTo>
                    <a:lnTo>
                      <a:pt x="85" y="0"/>
                    </a:lnTo>
                    <a:lnTo>
                      <a:pt x="96" y="7"/>
                    </a:lnTo>
                    <a:lnTo>
                      <a:pt x="108" y="8"/>
                    </a:lnTo>
                    <a:lnTo>
                      <a:pt x="118" y="19"/>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39" name="Freeform 190">
                <a:extLst>
                  <a:ext uri="{FF2B5EF4-FFF2-40B4-BE49-F238E27FC236}">
                    <a16:creationId xmlns:a16="http://schemas.microsoft.com/office/drawing/2014/main" id="{DDB520C8-1078-710C-602F-2AD1DAF2F255}"/>
                  </a:ext>
                </a:extLst>
              </p:cNvPr>
              <p:cNvSpPr>
                <a:spLocks/>
              </p:cNvSpPr>
              <p:nvPr/>
            </p:nvSpPr>
            <p:spPr bwMode="auto">
              <a:xfrm>
                <a:off x="4660100" y="3071308"/>
                <a:ext cx="447138" cy="501784"/>
              </a:xfrm>
              <a:custGeom>
                <a:avLst/>
                <a:gdLst>
                  <a:gd name="T0" fmla="*/ 89 w 285"/>
                  <a:gd name="T1" fmla="*/ 41 h 320"/>
                  <a:gd name="T2" fmla="*/ 100 w 285"/>
                  <a:gd name="T3" fmla="*/ 52 h 320"/>
                  <a:gd name="T4" fmla="*/ 94 w 285"/>
                  <a:gd name="T5" fmla="*/ 65 h 320"/>
                  <a:gd name="T6" fmla="*/ 102 w 285"/>
                  <a:gd name="T7" fmla="*/ 70 h 320"/>
                  <a:gd name="T8" fmla="*/ 95 w 285"/>
                  <a:gd name="T9" fmla="*/ 95 h 320"/>
                  <a:gd name="T10" fmla="*/ 80 w 285"/>
                  <a:gd name="T11" fmla="*/ 96 h 320"/>
                  <a:gd name="T12" fmla="*/ 77 w 285"/>
                  <a:gd name="T13" fmla="*/ 107 h 320"/>
                  <a:gd name="T14" fmla="*/ 84 w 285"/>
                  <a:gd name="T15" fmla="*/ 113 h 320"/>
                  <a:gd name="T16" fmla="*/ 65 w 285"/>
                  <a:gd name="T17" fmla="*/ 129 h 320"/>
                  <a:gd name="T18" fmla="*/ 54 w 285"/>
                  <a:gd name="T19" fmla="*/ 142 h 320"/>
                  <a:gd name="T20" fmla="*/ 42 w 285"/>
                  <a:gd name="T21" fmla="*/ 148 h 320"/>
                  <a:gd name="T22" fmla="*/ 31 w 285"/>
                  <a:gd name="T23" fmla="*/ 148 h 320"/>
                  <a:gd name="T24" fmla="*/ 28 w 285"/>
                  <a:gd name="T25" fmla="*/ 156 h 320"/>
                  <a:gd name="T26" fmla="*/ 17 w 285"/>
                  <a:gd name="T27" fmla="*/ 154 h 320"/>
                  <a:gd name="T28" fmla="*/ 15 w 285"/>
                  <a:gd name="T29" fmla="*/ 163 h 320"/>
                  <a:gd name="T30" fmla="*/ 0 w 285"/>
                  <a:gd name="T31" fmla="*/ 163 h 320"/>
                  <a:gd name="T32" fmla="*/ 31 w 285"/>
                  <a:gd name="T33" fmla="*/ 200 h 320"/>
                  <a:gd name="T34" fmla="*/ 46 w 285"/>
                  <a:gd name="T35" fmla="*/ 209 h 320"/>
                  <a:gd name="T36" fmla="*/ 146 w 285"/>
                  <a:gd name="T37" fmla="*/ 289 h 320"/>
                  <a:gd name="T38" fmla="*/ 160 w 285"/>
                  <a:gd name="T39" fmla="*/ 295 h 320"/>
                  <a:gd name="T40" fmla="*/ 163 w 285"/>
                  <a:gd name="T41" fmla="*/ 319 h 320"/>
                  <a:gd name="T42" fmla="*/ 176 w 285"/>
                  <a:gd name="T43" fmla="*/ 316 h 320"/>
                  <a:gd name="T44" fmla="*/ 178 w 285"/>
                  <a:gd name="T45" fmla="*/ 309 h 320"/>
                  <a:gd name="T46" fmla="*/ 202 w 285"/>
                  <a:gd name="T47" fmla="*/ 307 h 320"/>
                  <a:gd name="T48" fmla="*/ 212 w 285"/>
                  <a:gd name="T49" fmla="*/ 296 h 320"/>
                  <a:gd name="T50" fmla="*/ 220 w 285"/>
                  <a:gd name="T51" fmla="*/ 291 h 320"/>
                  <a:gd name="T52" fmla="*/ 223 w 285"/>
                  <a:gd name="T53" fmla="*/ 282 h 320"/>
                  <a:gd name="T54" fmla="*/ 246 w 285"/>
                  <a:gd name="T55" fmla="*/ 274 h 320"/>
                  <a:gd name="T56" fmla="*/ 253 w 285"/>
                  <a:gd name="T57" fmla="*/ 264 h 320"/>
                  <a:gd name="T58" fmla="*/ 264 w 285"/>
                  <a:gd name="T59" fmla="*/ 254 h 320"/>
                  <a:gd name="T60" fmla="*/ 279 w 285"/>
                  <a:gd name="T61" fmla="*/ 248 h 320"/>
                  <a:gd name="T62" fmla="*/ 284 w 285"/>
                  <a:gd name="T63" fmla="*/ 241 h 320"/>
                  <a:gd name="T64" fmla="*/ 282 w 285"/>
                  <a:gd name="T65" fmla="*/ 227 h 320"/>
                  <a:gd name="T66" fmla="*/ 259 w 285"/>
                  <a:gd name="T67" fmla="*/ 223 h 320"/>
                  <a:gd name="T68" fmla="*/ 252 w 285"/>
                  <a:gd name="T69" fmla="*/ 216 h 320"/>
                  <a:gd name="T70" fmla="*/ 250 w 285"/>
                  <a:gd name="T71" fmla="*/ 198 h 320"/>
                  <a:gd name="T72" fmla="*/ 253 w 285"/>
                  <a:gd name="T73" fmla="*/ 102 h 320"/>
                  <a:gd name="T74" fmla="*/ 246 w 285"/>
                  <a:gd name="T75" fmla="*/ 101 h 320"/>
                  <a:gd name="T76" fmla="*/ 242 w 285"/>
                  <a:gd name="T77" fmla="*/ 85 h 320"/>
                  <a:gd name="T78" fmla="*/ 229 w 285"/>
                  <a:gd name="T79" fmla="*/ 80 h 320"/>
                  <a:gd name="T80" fmla="*/ 224 w 285"/>
                  <a:gd name="T81" fmla="*/ 63 h 320"/>
                  <a:gd name="T82" fmla="*/ 227 w 285"/>
                  <a:gd name="T83" fmla="*/ 48 h 320"/>
                  <a:gd name="T84" fmla="*/ 241 w 285"/>
                  <a:gd name="T85" fmla="*/ 44 h 320"/>
                  <a:gd name="T86" fmla="*/ 233 w 285"/>
                  <a:gd name="T87" fmla="*/ 33 h 320"/>
                  <a:gd name="T88" fmla="*/ 235 w 285"/>
                  <a:gd name="T89" fmla="*/ 21 h 320"/>
                  <a:gd name="T90" fmla="*/ 242 w 285"/>
                  <a:gd name="T91" fmla="*/ 21 h 320"/>
                  <a:gd name="T92" fmla="*/ 239 w 285"/>
                  <a:gd name="T93" fmla="*/ 3 h 320"/>
                  <a:gd name="T94" fmla="*/ 196 w 285"/>
                  <a:gd name="T95" fmla="*/ 0 h 320"/>
                  <a:gd name="T96" fmla="*/ 176 w 285"/>
                  <a:gd name="T97" fmla="*/ 3 h 320"/>
                  <a:gd name="T98" fmla="*/ 160 w 285"/>
                  <a:gd name="T99" fmla="*/ 8 h 320"/>
                  <a:gd name="T100" fmla="*/ 128 w 285"/>
                  <a:gd name="T101" fmla="*/ 11 h 320"/>
                  <a:gd name="T102" fmla="*/ 117 w 285"/>
                  <a:gd name="T103" fmla="*/ 21 h 320"/>
                  <a:gd name="T104" fmla="*/ 96 w 285"/>
                  <a:gd name="T105" fmla="*/ 25 h 320"/>
                  <a:gd name="T106" fmla="*/ 89 w 285"/>
                  <a:gd name="T107" fmla="*/ 4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5" h="320">
                    <a:moveTo>
                      <a:pt x="89" y="41"/>
                    </a:moveTo>
                    <a:lnTo>
                      <a:pt x="100" y="52"/>
                    </a:lnTo>
                    <a:lnTo>
                      <a:pt x="94" y="65"/>
                    </a:lnTo>
                    <a:lnTo>
                      <a:pt x="102" y="70"/>
                    </a:lnTo>
                    <a:lnTo>
                      <a:pt x="95" y="95"/>
                    </a:lnTo>
                    <a:lnTo>
                      <a:pt x="80" y="96"/>
                    </a:lnTo>
                    <a:lnTo>
                      <a:pt x="77" y="107"/>
                    </a:lnTo>
                    <a:lnTo>
                      <a:pt x="84" y="113"/>
                    </a:lnTo>
                    <a:lnTo>
                      <a:pt x="65" y="129"/>
                    </a:lnTo>
                    <a:lnTo>
                      <a:pt x="54" y="142"/>
                    </a:lnTo>
                    <a:lnTo>
                      <a:pt x="42" y="148"/>
                    </a:lnTo>
                    <a:lnTo>
                      <a:pt x="31" y="148"/>
                    </a:lnTo>
                    <a:lnTo>
                      <a:pt x="28" y="156"/>
                    </a:lnTo>
                    <a:lnTo>
                      <a:pt x="17" y="154"/>
                    </a:lnTo>
                    <a:lnTo>
                      <a:pt x="15" y="163"/>
                    </a:lnTo>
                    <a:lnTo>
                      <a:pt x="0" y="163"/>
                    </a:lnTo>
                    <a:lnTo>
                      <a:pt x="31" y="200"/>
                    </a:lnTo>
                    <a:lnTo>
                      <a:pt x="46" y="209"/>
                    </a:lnTo>
                    <a:lnTo>
                      <a:pt x="146" y="289"/>
                    </a:lnTo>
                    <a:lnTo>
                      <a:pt x="160" y="295"/>
                    </a:lnTo>
                    <a:lnTo>
                      <a:pt x="163" y="319"/>
                    </a:lnTo>
                    <a:lnTo>
                      <a:pt x="176" y="316"/>
                    </a:lnTo>
                    <a:lnTo>
                      <a:pt x="178" y="309"/>
                    </a:lnTo>
                    <a:lnTo>
                      <a:pt x="202" y="307"/>
                    </a:lnTo>
                    <a:lnTo>
                      <a:pt x="212" y="296"/>
                    </a:lnTo>
                    <a:lnTo>
                      <a:pt x="220" y="291"/>
                    </a:lnTo>
                    <a:lnTo>
                      <a:pt x="223" y="282"/>
                    </a:lnTo>
                    <a:lnTo>
                      <a:pt x="246" y="274"/>
                    </a:lnTo>
                    <a:lnTo>
                      <a:pt x="253" y="264"/>
                    </a:lnTo>
                    <a:lnTo>
                      <a:pt x="264" y="254"/>
                    </a:lnTo>
                    <a:lnTo>
                      <a:pt x="279" y="248"/>
                    </a:lnTo>
                    <a:lnTo>
                      <a:pt x="284" y="241"/>
                    </a:lnTo>
                    <a:lnTo>
                      <a:pt x="282" y="227"/>
                    </a:lnTo>
                    <a:lnTo>
                      <a:pt x="259" y="223"/>
                    </a:lnTo>
                    <a:lnTo>
                      <a:pt x="252" y="216"/>
                    </a:lnTo>
                    <a:lnTo>
                      <a:pt x="250" y="198"/>
                    </a:lnTo>
                    <a:lnTo>
                      <a:pt x="253" y="102"/>
                    </a:lnTo>
                    <a:lnTo>
                      <a:pt x="246" y="101"/>
                    </a:lnTo>
                    <a:lnTo>
                      <a:pt x="242" y="85"/>
                    </a:lnTo>
                    <a:lnTo>
                      <a:pt x="229" y="80"/>
                    </a:lnTo>
                    <a:lnTo>
                      <a:pt x="224" y="63"/>
                    </a:lnTo>
                    <a:lnTo>
                      <a:pt x="227" y="48"/>
                    </a:lnTo>
                    <a:lnTo>
                      <a:pt x="241" y="44"/>
                    </a:lnTo>
                    <a:lnTo>
                      <a:pt x="233" y="33"/>
                    </a:lnTo>
                    <a:lnTo>
                      <a:pt x="235" y="21"/>
                    </a:lnTo>
                    <a:lnTo>
                      <a:pt x="242" y="21"/>
                    </a:lnTo>
                    <a:lnTo>
                      <a:pt x="239" y="3"/>
                    </a:lnTo>
                    <a:lnTo>
                      <a:pt x="196" y="0"/>
                    </a:lnTo>
                    <a:lnTo>
                      <a:pt x="176" y="3"/>
                    </a:lnTo>
                    <a:lnTo>
                      <a:pt x="160" y="8"/>
                    </a:lnTo>
                    <a:lnTo>
                      <a:pt x="128" y="11"/>
                    </a:lnTo>
                    <a:lnTo>
                      <a:pt x="117" y="21"/>
                    </a:lnTo>
                    <a:lnTo>
                      <a:pt x="96" y="25"/>
                    </a:lnTo>
                    <a:lnTo>
                      <a:pt x="89" y="41"/>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40" name="Freeform 192">
                <a:extLst>
                  <a:ext uri="{FF2B5EF4-FFF2-40B4-BE49-F238E27FC236}">
                    <a16:creationId xmlns:a16="http://schemas.microsoft.com/office/drawing/2014/main" id="{4FDEDAD7-9904-B036-49C8-0A6A9DB84F3B}"/>
                  </a:ext>
                </a:extLst>
              </p:cNvPr>
              <p:cNvSpPr>
                <a:spLocks/>
              </p:cNvSpPr>
              <p:nvPr/>
            </p:nvSpPr>
            <p:spPr bwMode="auto">
              <a:xfrm>
                <a:off x="5898114" y="2556945"/>
                <a:ext cx="830001" cy="422113"/>
              </a:xfrm>
              <a:custGeom>
                <a:avLst/>
                <a:gdLst>
                  <a:gd name="T0" fmla="*/ 516 w 531"/>
                  <a:gd name="T1" fmla="*/ 78 h 270"/>
                  <a:gd name="T2" fmla="*/ 486 w 531"/>
                  <a:gd name="T3" fmla="*/ 58 h 270"/>
                  <a:gd name="T4" fmla="*/ 449 w 531"/>
                  <a:gd name="T5" fmla="*/ 16 h 270"/>
                  <a:gd name="T6" fmla="*/ 408 w 531"/>
                  <a:gd name="T7" fmla="*/ 25 h 270"/>
                  <a:gd name="T8" fmla="*/ 391 w 531"/>
                  <a:gd name="T9" fmla="*/ 11 h 270"/>
                  <a:gd name="T10" fmla="*/ 351 w 531"/>
                  <a:gd name="T11" fmla="*/ 5 h 270"/>
                  <a:gd name="T12" fmla="*/ 294 w 531"/>
                  <a:gd name="T13" fmla="*/ 7 h 270"/>
                  <a:gd name="T14" fmla="*/ 265 w 531"/>
                  <a:gd name="T15" fmla="*/ 3 h 270"/>
                  <a:gd name="T16" fmla="*/ 252 w 531"/>
                  <a:gd name="T17" fmla="*/ 32 h 270"/>
                  <a:gd name="T18" fmla="*/ 250 w 531"/>
                  <a:gd name="T19" fmla="*/ 34 h 270"/>
                  <a:gd name="T20" fmla="*/ 247 w 531"/>
                  <a:gd name="T21" fmla="*/ 36 h 270"/>
                  <a:gd name="T22" fmla="*/ 244 w 531"/>
                  <a:gd name="T23" fmla="*/ 37 h 270"/>
                  <a:gd name="T24" fmla="*/ 242 w 531"/>
                  <a:gd name="T25" fmla="*/ 39 h 270"/>
                  <a:gd name="T26" fmla="*/ 239 w 531"/>
                  <a:gd name="T27" fmla="*/ 40 h 270"/>
                  <a:gd name="T28" fmla="*/ 237 w 531"/>
                  <a:gd name="T29" fmla="*/ 40 h 270"/>
                  <a:gd name="T30" fmla="*/ 237 w 531"/>
                  <a:gd name="T31" fmla="*/ 43 h 270"/>
                  <a:gd name="T32" fmla="*/ 238 w 531"/>
                  <a:gd name="T33" fmla="*/ 47 h 270"/>
                  <a:gd name="T34" fmla="*/ 240 w 531"/>
                  <a:gd name="T35" fmla="*/ 52 h 270"/>
                  <a:gd name="T36" fmla="*/ 242 w 531"/>
                  <a:gd name="T37" fmla="*/ 56 h 270"/>
                  <a:gd name="T38" fmla="*/ 236 w 531"/>
                  <a:gd name="T39" fmla="*/ 67 h 270"/>
                  <a:gd name="T40" fmla="*/ 196 w 531"/>
                  <a:gd name="T41" fmla="*/ 47 h 270"/>
                  <a:gd name="T42" fmla="*/ 164 w 531"/>
                  <a:gd name="T43" fmla="*/ 44 h 270"/>
                  <a:gd name="T44" fmla="*/ 130 w 531"/>
                  <a:gd name="T45" fmla="*/ 12 h 270"/>
                  <a:gd name="T46" fmla="*/ 85 w 531"/>
                  <a:gd name="T47" fmla="*/ 7 h 270"/>
                  <a:gd name="T48" fmla="*/ 59 w 531"/>
                  <a:gd name="T49" fmla="*/ 25 h 270"/>
                  <a:gd name="T50" fmla="*/ 20 w 531"/>
                  <a:gd name="T51" fmla="*/ 34 h 270"/>
                  <a:gd name="T52" fmla="*/ 7 w 531"/>
                  <a:gd name="T53" fmla="*/ 74 h 270"/>
                  <a:gd name="T54" fmla="*/ 25 w 531"/>
                  <a:gd name="T55" fmla="*/ 104 h 270"/>
                  <a:gd name="T56" fmla="*/ 6 w 531"/>
                  <a:gd name="T57" fmla="*/ 145 h 270"/>
                  <a:gd name="T58" fmla="*/ 43 w 531"/>
                  <a:gd name="T59" fmla="*/ 145 h 270"/>
                  <a:gd name="T60" fmla="*/ 59 w 531"/>
                  <a:gd name="T61" fmla="*/ 144 h 270"/>
                  <a:gd name="T62" fmla="*/ 59 w 531"/>
                  <a:gd name="T63" fmla="*/ 171 h 270"/>
                  <a:gd name="T64" fmla="*/ 31 w 531"/>
                  <a:gd name="T65" fmla="*/ 178 h 270"/>
                  <a:gd name="T66" fmla="*/ 19 w 531"/>
                  <a:gd name="T67" fmla="*/ 190 h 270"/>
                  <a:gd name="T68" fmla="*/ 26 w 531"/>
                  <a:gd name="T69" fmla="*/ 215 h 270"/>
                  <a:gd name="T70" fmla="*/ 54 w 531"/>
                  <a:gd name="T71" fmla="*/ 240 h 270"/>
                  <a:gd name="T72" fmla="*/ 75 w 531"/>
                  <a:gd name="T73" fmla="*/ 228 h 270"/>
                  <a:gd name="T74" fmla="*/ 93 w 531"/>
                  <a:gd name="T75" fmla="*/ 242 h 270"/>
                  <a:gd name="T76" fmla="*/ 105 w 531"/>
                  <a:gd name="T77" fmla="*/ 256 h 270"/>
                  <a:gd name="T78" fmla="*/ 130 w 531"/>
                  <a:gd name="T79" fmla="*/ 189 h 270"/>
                  <a:gd name="T80" fmla="*/ 174 w 531"/>
                  <a:gd name="T81" fmla="*/ 161 h 270"/>
                  <a:gd name="T82" fmla="*/ 202 w 531"/>
                  <a:gd name="T83" fmla="*/ 145 h 270"/>
                  <a:gd name="T84" fmla="*/ 210 w 531"/>
                  <a:gd name="T85" fmla="*/ 178 h 270"/>
                  <a:gd name="T86" fmla="*/ 214 w 531"/>
                  <a:gd name="T87" fmla="*/ 201 h 270"/>
                  <a:gd name="T88" fmla="*/ 237 w 531"/>
                  <a:gd name="T89" fmla="*/ 209 h 270"/>
                  <a:gd name="T90" fmla="*/ 269 w 531"/>
                  <a:gd name="T91" fmla="*/ 218 h 270"/>
                  <a:gd name="T92" fmla="*/ 275 w 531"/>
                  <a:gd name="T93" fmla="*/ 253 h 270"/>
                  <a:gd name="T94" fmla="*/ 302 w 531"/>
                  <a:gd name="T95" fmla="*/ 269 h 270"/>
                  <a:gd name="T96" fmla="*/ 354 w 531"/>
                  <a:gd name="T97" fmla="*/ 244 h 270"/>
                  <a:gd name="T98" fmla="*/ 347 w 531"/>
                  <a:gd name="T99" fmla="*/ 226 h 270"/>
                  <a:gd name="T100" fmla="*/ 323 w 531"/>
                  <a:gd name="T101" fmla="*/ 217 h 270"/>
                  <a:gd name="T102" fmla="*/ 328 w 531"/>
                  <a:gd name="T103" fmla="*/ 199 h 270"/>
                  <a:gd name="T104" fmla="*/ 338 w 531"/>
                  <a:gd name="T105" fmla="*/ 186 h 270"/>
                  <a:gd name="T106" fmla="*/ 357 w 531"/>
                  <a:gd name="T107" fmla="*/ 189 h 270"/>
                  <a:gd name="T108" fmla="*/ 387 w 531"/>
                  <a:gd name="T109" fmla="*/ 193 h 270"/>
                  <a:gd name="T110" fmla="*/ 437 w 531"/>
                  <a:gd name="T111" fmla="*/ 189 h 270"/>
                  <a:gd name="T112" fmla="*/ 459 w 531"/>
                  <a:gd name="T113" fmla="*/ 195 h 270"/>
                  <a:gd name="T114" fmla="*/ 475 w 531"/>
                  <a:gd name="T115" fmla="*/ 167 h 270"/>
                  <a:gd name="T116" fmla="*/ 499 w 531"/>
                  <a:gd name="T117" fmla="*/ 140 h 270"/>
                  <a:gd name="T118" fmla="*/ 517 w 531"/>
                  <a:gd name="T119" fmla="*/ 130 h 270"/>
                  <a:gd name="T120" fmla="*/ 530 w 531"/>
                  <a:gd name="T121" fmla="*/ 113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31" h="270">
                    <a:moveTo>
                      <a:pt x="530" y="113"/>
                    </a:moveTo>
                    <a:lnTo>
                      <a:pt x="516" y="78"/>
                    </a:lnTo>
                    <a:lnTo>
                      <a:pt x="494" y="69"/>
                    </a:lnTo>
                    <a:lnTo>
                      <a:pt x="486" y="58"/>
                    </a:lnTo>
                    <a:lnTo>
                      <a:pt x="471" y="57"/>
                    </a:lnTo>
                    <a:lnTo>
                      <a:pt x="449" y="16"/>
                    </a:lnTo>
                    <a:lnTo>
                      <a:pt x="431" y="16"/>
                    </a:lnTo>
                    <a:lnTo>
                      <a:pt x="408" y="25"/>
                    </a:lnTo>
                    <a:lnTo>
                      <a:pt x="393" y="23"/>
                    </a:lnTo>
                    <a:lnTo>
                      <a:pt x="391" y="11"/>
                    </a:lnTo>
                    <a:lnTo>
                      <a:pt x="379" y="0"/>
                    </a:lnTo>
                    <a:lnTo>
                      <a:pt x="351" y="5"/>
                    </a:lnTo>
                    <a:lnTo>
                      <a:pt x="330" y="10"/>
                    </a:lnTo>
                    <a:lnTo>
                      <a:pt x="294" y="7"/>
                    </a:lnTo>
                    <a:lnTo>
                      <a:pt x="275" y="2"/>
                    </a:lnTo>
                    <a:lnTo>
                      <a:pt x="265" y="3"/>
                    </a:lnTo>
                    <a:lnTo>
                      <a:pt x="269" y="25"/>
                    </a:lnTo>
                    <a:lnTo>
                      <a:pt x="252" y="32"/>
                    </a:lnTo>
                    <a:lnTo>
                      <a:pt x="251" y="33"/>
                    </a:lnTo>
                    <a:lnTo>
                      <a:pt x="250" y="34"/>
                    </a:lnTo>
                    <a:lnTo>
                      <a:pt x="248" y="35"/>
                    </a:lnTo>
                    <a:lnTo>
                      <a:pt x="247" y="36"/>
                    </a:lnTo>
                    <a:lnTo>
                      <a:pt x="246" y="36"/>
                    </a:lnTo>
                    <a:lnTo>
                      <a:pt x="244" y="37"/>
                    </a:lnTo>
                    <a:lnTo>
                      <a:pt x="243" y="38"/>
                    </a:lnTo>
                    <a:lnTo>
                      <a:pt x="242" y="39"/>
                    </a:lnTo>
                    <a:lnTo>
                      <a:pt x="240" y="40"/>
                    </a:lnTo>
                    <a:lnTo>
                      <a:pt x="239" y="40"/>
                    </a:lnTo>
                    <a:lnTo>
                      <a:pt x="238" y="40"/>
                    </a:lnTo>
                    <a:lnTo>
                      <a:pt x="237" y="40"/>
                    </a:lnTo>
                    <a:lnTo>
                      <a:pt x="237" y="41"/>
                    </a:lnTo>
                    <a:lnTo>
                      <a:pt x="237" y="43"/>
                    </a:lnTo>
                    <a:lnTo>
                      <a:pt x="237" y="45"/>
                    </a:lnTo>
                    <a:lnTo>
                      <a:pt x="238" y="47"/>
                    </a:lnTo>
                    <a:lnTo>
                      <a:pt x="239" y="50"/>
                    </a:lnTo>
                    <a:lnTo>
                      <a:pt x="240" y="52"/>
                    </a:lnTo>
                    <a:lnTo>
                      <a:pt x="241" y="54"/>
                    </a:lnTo>
                    <a:lnTo>
                      <a:pt x="242" y="56"/>
                    </a:lnTo>
                    <a:lnTo>
                      <a:pt x="243" y="58"/>
                    </a:lnTo>
                    <a:lnTo>
                      <a:pt x="236" y="67"/>
                    </a:lnTo>
                    <a:lnTo>
                      <a:pt x="222" y="62"/>
                    </a:lnTo>
                    <a:lnTo>
                      <a:pt x="196" y="47"/>
                    </a:lnTo>
                    <a:lnTo>
                      <a:pt x="177" y="49"/>
                    </a:lnTo>
                    <a:lnTo>
                      <a:pt x="164" y="44"/>
                    </a:lnTo>
                    <a:lnTo>
                      <a:pt x="165" y="35"/>
                    </a:lnTo>
                    <a:lnTo>
                      <a:pt x="130" y="12"/>
                    </a:lnTo>
                    <a:lnTo>
                      <a:pt x="107" y="11"/>
                    </a:lnTo>
                    <a:lnTo>
                      <a:pt x="85" y="7"/>
                    </a:lnTo>
                    <a:lnTo>
                      <a:pt x="66" y="12"/>
                    </a:lnTo>
                    <a:lnTo>
                      <a:pt x="59" y="25"/>
                    </a:lnTo>
                    <a:lnTo>
                      <a:pt x="44" y="7"/>
                    </a:lnTo>
                    <a:lnTo>
                      <a:pt x="20" y="34"/>
                    </a:lnTo>
                    <a:lnTo>
                      <a:pt x="0" y="58"/>
                    </a:lnTo>
                    <a:lnTo>
                      <a:pt x="7" y="74"/>
                    </a:lnTo>
                    <a:lnTo>
                      <a:pt x="24" y="85"/>
                    </a:lnTo>
                    <a:lnTo>
                      <a:pt x="25" y="104"/>
                    </a:lnTo>
                    <a:lnTo>
                      <a:pt x="12" y="118"/>
                    </a:lnTo>
                    <a:lnTo>
                      <a:pt x="6" y="145"/>
                    </a:lnTo>
                    <a:lnTo>
                      <a:pt x="25" y="140"/>
                    </a:lnTo>
                    <a:lnTo>
                      <a:pt x="43" y="145"/>
                    </a:lnTo>
                    <a:lnTo>
                      <a:pt x="48" y="138"/>
                    </a:lnTo>
                    <a:lnTo>
                      <a:pt x="59" y="144"/>
                    </a:lnTo>
                    <a:lnTo>
                      <a:pt x="54" y="162"/>
                    </a:lnTo>
                    <a:lnTo>
                      <a:pt x="59" y="171"/>
                    </a:lnTo>
                    <a:lnTo>
                      <a:pt x="38" y="171"/>
                    </a:lnTo>
                    <a:lnTo>
                      <a:pt x="31" y="178"/>
                    </a:lnTo>
                    <a:lnTo>
                      <a:pt x="30" y="189"/>
                    </a:lnTo>
                    <a:lnTo>
                      <a:pt x="19" y="190"/>
                    </a:lnTo>
                    <a:lnTo>
                      <a:pt x="20" y="200"/>
                    </a:lnTo>
                    <a:lnTo>
                      <a:pt x="26" y="215"/>
                    </a:lnTo>
                    <a:lnTo>
                      <a:pt x="48" y="215"/>
                    </a:lnTo>
                    <a:lnTo>
                      <a:pt x="54" y="240"/>
                    </a:lnTo>
                    <a:lnTo>
                      <a:pt x="59" y="226"/>
                    </a:lnTo>
                    <a:lnTo>
                      <a:pt x="75" y="228"/>
                    </a:lnTo>
                    <a:lnTo>
                      <a:pt x="80" y="248"/>
                    </a:lnTo>
                    <a:lnTo>
                      <a:pt x="93" y="242"/>
                    </a:lnTo>
                    <a:lnTo>
                      <a:pt x="105" y="247"/>
                    </a:lnTo>
                    <a:lnTo>
                      <a:pt x="105" y="256"/>
                    </a:lnTo>
                    <a:lnTo>
                      <a:pt x="119" y="261"/>
                    </a:lnTo>
                    <a:lnTo>
                      <a:pt x="130" y="189"/>
                    </a:lnTo>
                    <a:lnTo>
                      <a:pt x="160" y="164"/>
                    </a:lnTo>
                    <a:lnTo>
                      <a:pt x="174" y="161"/>
                    </a:lnTo>
                    <a:lnTo>
                      <a:pt x="174" y="145"/>
                    </a:lnTo>
                    <a:lnTo>
                      <a:pt x="202" y="145"/>
                    </a:lnTo>
                    <a:lnTo>
                      <a:pt x="202" y="167"/>
                    </a:lnTo>
                    <a:lnTo>
                      <a:pt x="210" y="178"/>
                    </a:lnTo>
                    <a:lnTo>
                      <a:pt x="204" y="184"/>
                    </a:lnTo>
                    <a:lnTo>
                      <a:pt x="214" y="201"/>
                    </a:lnTo>
                    <a:lnTo>
                      <a:pt x="219" y="214"/>
                    </a:lnTo>
                    <a:lnTo>
                      <a:pt x="237" y="209"/>
                    </a:lnTo>
                    <a:lnTo>
                      <a:pt x="254" y="211"/>
                    </a:lnTo>
                    <a:lnTo>
                      <a:pt x="269" y="218"/>
                    </a:lnTo>
                    <a:lnTo>
                      <a:pt x="270" y="240"/>
                    </a:lnTo>
                    <a:lnTo>
                      <a:pt x="275" y="253"/>
                    </a:lnTo>
                    <a:lnTo>
                      <a:pt x="295" y="263"/>
                    </a:lnTo>
                    <a:lnTo>
                      <a:pt x="302" y="269"/>
                    </a:lnTo>
                    <a:lnTo>
                      <a:pt x="320" y="256"/>
                    </a:lnTo>
                    <a:lnTo>
                      <a:pt x="354" y="244"/>
                    </a:lnTo>
                    <a:lnTo>
                      <a:pt x="359" y="237"/>
                    </a:lnTo>
                    <a:lnTo>
                      <a:pt x="347" y="226"/>
                    </a:lnTo>
                    <a:lnTo>
                      <a:pt x="335" y="228"/>
                    </a:lnTo>
                    <a:lnTo>
                      <a:pt x="323" y="217"/>
                    </a:lnTo>
                    <a:lnTo>
                      <a:pt x="330" y="207"/>
                    </a:lnTo>
                    <a:lnTo>
                      <a:pt x="328" y="199"/>
                    </a:lnTo>
                    <a:lnTo>
                      <a:pt x="328" y="195"/>
                    </a:lnTo>
                    <a:lnTo>
                      <a:pt x="338" y="186"/>
                    </a:lnTo>
                    <a:lnTo>
                      <a:pt x="351" y="200"/>
                    </a:lnTo>
                    <a:lnTo>
                      <a:pt x="357" y="189"/>
                    </a:lnTo>
                    <a:lnTo>
                      <a:pt x="376" y="184"/>
                    </a:lnTo>
                    <a:lnTo>
                      <a:pt x="387" y="193"/>
                    </a:lnTo>
                    <a:lnTo>
                      <a:pt x="417" y="189"/>
                    </a:lnTo>
                    <a:lnTo>
                      <a:pt x="437" y="189"/>
                    </a:lnTo>
                    <a:lnTo>
                      <a:pt x="453" y="203"/>
                    </a:lnTo>
                    <a:lnTo>
                      <a:pt x="459" y="195"/>
                    </a:lnTo>
                    <a:lnTo>
                      <a:pt x="460" y="175"/>
                    </a:lnTo>
                    <a:lnTo>
                      <a:pt x="475" y="167"/>
                    </a:lnTo>
                    <a:lnTo>
                      <a:pt x="493" y="173"/>
                    </a:lnTo>
                    <a:lnTo>
                      <a:pt x="499" y="140"/>
                    </a:lnTo>
                    <a:lnTo>
                      <a:pt x="505" y="133"/>
                    </a:lnTo>
                    <a:lnTo>
                      <a:pt x="517" y="130"/>
                    </a:lnTo>
                    <a:lnTo>
                      <a:pt x="521" y="119"/>
                    </a:lnTo>
                    <a:lnTo>
                      <a:pt x="530" y="113"/>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41" name="Freeform 199">
                <a:extLst>
                  <a:ext uri="{FF2B5EF4-FFF2-40B4-BE49-F238E27FC236}">
                    <a16:creationId xmlns:a16="http://schemas.microsoft.com/office/drawing/2014/main" id="{15683E18-CB1C-4D91-72EA-E62ED0BC2E10}"/>
                  </a:ext>
                </a:extLst>
              </p:cNvPr>
              <p:cNvSpPr>
                <a:spLocks/>
              </p:cNvSpPr>
              <p:nvPr/>
            </p:nvSpPr>
            <p:spPr bwMode="auto">
              <a:xfrm>
                <a:off x="6444461" y="2577912"/>
                <a:ext cx="1278537" cy="944863"/>
              </a:xfrm>
              <a:custGeom>
                <a:avLst/>
                <a:gdLst>
                  <a:gd name="T0" fmla="*/ 622 w 817"/>
                  <a:gd name="T1" fmla="*/ 289 h 602"/>
                  <a:gd name="T2" fmla="*/ 663 w 817"/>
                  <a:gd name="T3" fmla="*/ 292 h 602"/>
                  <a:gd name="T4" fmla="*/ 670 w 817"/>
                  <a:gd name="T5" fmla="*/ 320 h 602"/>
                  <a:gd name="T6" fmla="*/ 674 w 817"/>
                  <a:gd name="T7" fmla="*/ 378 h 602"/>
                  <a:gd name="T8" fmla="*/ 696 w 817"/>
                  <a:gd name="T9" fmla="*/ 431 h 602"/>
                  <a:gd name="T10" fmla="*/ 691 w 817"/>
                  <a:gd name="T11" fmla="*/ 487 h 602"/>
                  <a:gd name="T12" fmla="*/ 664 w 817"/>
                  <a:gd name="T13" fmla="*/ 529 h 602"/>
                  <a:gd name="T14" fmla="*/ 641 w 817"/>
                  <a:gd name="T15" fmla="*/ 548 h 602"/>
                  <a:gd name="T16" fmla="*/ 595 w 817"/>
                  <a:gd name="T17" fmla="*/ 567 h 602"/>
                  <a:gd name="T18" fmla="*/ 540 w 817"/>
                  <a:gd name="T19" fmla="*/ 601 h 602"/>
                  <a:gd name="T20" fmla="*/ 519 w 817"/>
                  <a:gd name="T21" fmla="*/ 593 h 602"/>
                  <a:gd name="T22" fmla="*/ 460 w 817"/>
                  <a:gd name="T23" fmla="*/ 555 h 602"/>
                  <a:gd name="T24" fmla="*/ 428 w 817"/>
                  <a:gd name="T25" fmla="*/ 587 h 602"/>
                  <a:gd name="T26" fmla="*/ 391 w 817"/>
                  <a:gd name="T27" fmla="*/ 577 h 602"/>
                  <a:gd name="T28" fmla="*/ 364 w 817"/>
                  <a:gd name="T29" fmla="*/ 537 h 602"/>
                  <a:gd name="T30" fmla="*/ 380 w 817"/>
                  <a:gd name="T31" fmla="*/ 504 h 602"/>
                  <a:gd name="T32" fmla="*/ 354 w 817"/>
                  <a:gd name="T33" fmla="*/ 481 h 602"/>
                  <a:gd name="T34" fmla="*/ 306 w 817"/>
                  <a:gd name="T35" fmla="*/ 458 h 602"/>
                  <a:gd name="T36" fmla="*/ 257 w 817"/>
                  <a:gd name="T37" fmla="*/ 479 h 602"/>
                  <a:gd name="T38" fmla="*/ 219 w 817"/>
                  <a:gd name="T39" fmla="*/ 480 h 602"/>
                  <a:gd name="T40" fmla="*/ 163 w 817"/>
                  <a:gd name="T41" fmla="*/ 464 h 602"/>
                  <a:gd name="T42" fmla="*/ 142 w 817"/>
                  <a:gd name="T43" fmla="*/ 450 h 602"/>
                  <a:gd name="T44" fmla="*/ 100 w 817"/>
                  <a:gd name="T45" fmla="*/ 426 h 602"/>
                  <a:gd name="T46" fmla="*/ 68 w 817"/>
                  <a:gd name="T47" fmla="*/ 387 h 602"/>
                  <a:gd name="T48" fmla="*/ 17 w 817"/>
                  <a:gd name="T49" fmla="*/ 387 h 602"/>
                  <a:gd name="T50" fmla="*/ 14 w 817"/>
                  <a:gd name="T51" fmla="*/ 344 h 602"/>
                  <a:gd name="T52" fmla="*/ 15 w 817"/>
                  <a:gd name="T53" fmla="*/ 310 h 602"/>
                  <a:gd name="T54" fmla="*/ 14 w 817"/>
                  <a:gd name="T55" fmla="*/ 269 h 602"/>
                  <a:gd name="T56" fmla="*/ 40 w 817"/>
                  <a:gd name="T57" fmla="*/ 266 h 602"/>
                  <a:gd name="T58" fmla="*/ 81 w 817"/>
                  <a:gd name="T59" fmla="*/ 248 h 602"/>
                  <a:gd name="T60" fmla="*/ 76 w 817"/>
                  <a:gd name="T61" fmla="*/ 192 h 602"/>
                  <a:gd name="T62" fmla="*/ 111 w 817"/>
                  <a:gd name="T63" fmla="*/ 161 h 602"/>
                  <a:gd name="T64" fmla="*/ 150 w 817"/>
                  <a:gd name="T65" fmla="*/ 126 h 602"/>
                  <a:gd name="T66" fmla="*/ 172 w 817"/>
                  <a:gd name="T67" fmla="*/ 105 h 602"/>
                  <a:gd name="T68" fmla="*/ 210 w 817"/>
                  <a:gd name="T69" fmla="*/ 120 h 602"/>
                  <a:gd name="T70" fmla="*/ 258 w 817"/>
                  <a:gd name="T71" fmla="*/ 167 h 602"/>
                  <a:gd name="T72" fmla="*/ 298 w 817"/>
                  <a:gd name="T73" fmla="*/ 198 h 602"/>
                  <a:gd name="T74" fmla="*/ 406 w 817"/>
                  <a:gd name="T75" fmla="*/ 218 h 602"/>
                  <a:gd name="T76" fmla="*/ 460 w 817"/>
                  <a:gd name="T77" fmla="*/ 214 h 602"/>
                  <a:gd name="T78" fmla="*/ 513 w 817"/>
                  <a:gd name="T79" fmla="*/ 182 h 602"/>
                  <a:gd name="T80" fmla="*/ 546 w 817"/>
                  <a:gd name="T81" fmla="*/ 158 h 602"/>
                  <a:gd name="T82" fmla="*/ 604 w 817"/>
                  <a:gd name="T83" fmla="*/ 124 h 602"/>
                  <a:gd name="T84" fmla="*/ 558 w 817"/>
                  <a:gd name="T85" fmla="*/ 115 h 602"/>
                  <a:gd name="T86" fmla="*/ 557 w 817"/>
                  <a:gd name="T87" fmla="*/ 65 h 602"/>
                  <a:gd name="T88" fmla="*/ 591 w 817"/>
                  <a:gd name="T89" fmla="*/ 49 h 602"/>
                  <a:gd name="T90" fmla="*/ 600 w 817"/>
                  <a:gd name="T91" fmla="*/ 0 h 602"/>
                  <a:gd name="T92" fmla="*/ 689 w 817"/>
                  <a:gd name="T93" fmla="*/ 29 h 602"/>
                  <a:gd name="T94" fmla="*/ 714 w 817"/>
                  <a:gd name="T95" fmla="*/ 73 h 602"/>
                  <a:gd name="T96" fmla="*/ 763 w 817"/>
                  <a:gd name="T97" fmla="*/ 97 h 602"/>
                  <a:gd name="T98" fmla="*/ 808 w 817"/>
                  <a:gd name="T99" fmla="*/ 103 h 602"/>
                  <a:gd name="T100" fmla="*/ 806 w 817"/>
                  <a:gd name="T101" fmla="*/ 130 h 602"/>
                  <a:gd name="T102" fmla="*/ 783 w 817"/>
                  <a:gd name="T103" fmla="*/ 178 h 602"/>
                  <a:gd name="T104" fmla="*/ 797 w 817"/>
                  <a:gd name="T105" fmla="*/ 198 h 602"/>
                  <a:gd name="T106" fmla="*/ 755 w 817"/>
                  <a:gd name="T107" fmla="*/ 230 h 602"/>
                  <a:gd name="T108" fmla="*/ 721 w 817"/>
                  <a:gd name="T109" fmla="*/ 248 h 602"/>
                  <a:gd name="T110" fmla="*/ 669 w 817"/>
                  <a:gd name="T111" fmla="*/ 275 h 602"/>
                  <a:gd name="T112" fmla="*/ 657 w 817"/>
                  <a:gd name="T113" fmla="*/ 241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17" h="602">
                    <a:moveTo>
                      <a:pt x="641" y="259"/>
                    </a:moveTo>
                    <a:lnTo>
                      <a:pt x="621" y="274"/>
                    </a:lnTo>
                    <a:lnTo>
                      <a:pt x="622" y="289"/>
                    </a:lnTo>
                    <a:lnTo>
                      <a:pt x="637" y="302"/>
                    </a:lnTo>
                    <a:lnTo>
                      <a:pt x="652" y="303"/>
                    </a:lnTo>
                    <a:lnTo>
                      <a:pt x="663" y="292"/>
                    </a:lnTo>
                    <a:lnTo>
                      <a:pt x="685" y="294"/>
                    </a:lnTo>
                    <a:lnTo>
                      <a:pt x="689" y="314"/>
                    </a:lnTo>
                    <a:lnTo>
                      <a:pt x="670" y="320"/>
                    </a:lnTo>
                    <a:lnTo>
                      <a:pt x="655" y="334"/>
                    </a:lnTo>
                    <a:lnTo>
                      <a:pt x="661" y="353"/>
                    </a:lnTo>
                    <a:lnTo>
                      <a:pt x="674" y="378"/>
                    </a:lnTo>
                    <a:lnTo>
                      <a:pt x="692" y="397"/>
                    </a:lnTo>
                    <a:lnTo>
                      <a:pt x="692" y="413"/>
                    </a:lnTo>
                    <a:lnTo>
                      <a:pt x="696" y="431"/>
                    </a:lnTo>
                    <a:lnTo>
                      <a:pt x="703" y="471"/>
                    </a:lnTo>
                    <a:lnTo>
                      <a:pt x="693" y="474"/>
                    </a:lnTo>
                    <a:lnTo>
                      <a:pt x="691" y="487"/>
                    </a:lnTo>
                    <a:lnTo>
                      <a:pt x="677" y="500"/>
                    </a:lnTo>
                    <a:lnTo>
                      <a:pt x="678" y="519"/>
                    </a:lnTo>
                    <a:lnTo>
                      <a:pt x="664" y="529"/>
                    </a:lnTo>
                    <a:lnTo>
                      <a:pt x="655" y="530"/>
                    </a:lnTo>
                    <a:lnTo>
                      <a:pt x="652" y="545"/>
                    </a:lnTo>
                    <a:lnTo>
                      <a:pt x="641" y="548"/>
                    </a:lnTo>
                    <a:lnTo>
                      <a:pt x="638" y="563"/>
                    </a:lnTo>
                    <a:lnTo>
                      <a:pt x="613" y="570"/>
                    </a:lnTo>
                    <a:lnTo>
                      <a:pt x="595" y="567"/>
                    </a:lnTo>
                    <a:lnTo>
                      <a:pt x="572" y="575"/>
                    </a:lnTo>
                    <a:lnTo>
                      <a:pt x="549" y="593"/>
                    </a:lnTo>
                    <a:lnTo>
                      <a:pt x="540" y="601"/>
                    </a:lnTo>
                    <a:lnTo>
                      <a:pt x="534" y="581"/>
                    </a:lnTo>
                    <a:lnTo>
                      <a:pt x="525" y="576"/>
                    </a:lnTo>
                    <a:lnTo>
                      <a:pt x="519" y="593"/>
                    </a:lnTo>
                    <a:lnTo>
                      <a:pt x="497" y="563"/>
                    </a:lnTo>
                    <a:lnTo>
                      <a:pt x="475" y="555"/>
                    </a:lnTo>
                    <a:lnTo>
                      <a:pt x="460" y="555"/>
                    </a:lnTo>
                    <a:lnTo>
                      <a:pt x="437" y="567"/>
                    </a:lnTo>
                    <a:lnTo>
                      <a:pt x="426" y="573"/>
                    </a:lnTo>
                    <a:lnTo>
                      <a:pt x="428" y="587"/>
                    </a:lnTo>
                    <a:lnTo>
                      <a:pt x="408" y="590"/>
                    </a:lnTo>
                    <a:lnTo>
                      <a:pt x="405" y="581"/>
                    </a:lnTo>
                    <a:lnTo>
                      <a:pt x="391" y="577"/>
                    </a:lnTo>
                    <a:lnTo>
                      <a:pt x="387" y="554"/>
                    </a:lnTo>
                    <a:lnTo>
                      <a:pt x="380" y="539"/>
                    </a:lnTo>
                    <a:lnTo>
                      <a:pt x="364" y="537"/>
                    </a:lnTo>
                    <a:lnTo>
                      <a:pt x="365" y="524"/>
                    </a:lnTo>
                    <a:lnTo>
                      <a:pt x="375" y="516"/>
                    </a:lnTo>
                    <a:lnTo>
                      <a:pt x="380" y="504"/>
                    </a:lnTo>
                    <a:lnTo>
                      <a:pt x="375" y="487"/>
                    </a:lnTo>
                    <a:lnTo>
                      <a:pt x="371" y="479"/>
                    </a:lnTo>
                    <a:lnTo>
                      <a:pt x="354" y="481"/>
                    </a:lnTo>
                    <a:lnTo>
                      <a:pt x="345" y="467"/>
                    </a:lnTo>
                    <a:lnTo>
                      <a:pt x="329" y="458"/>
                    </a:lnTo>
                    <a:lnTo>
                      <a:pt x="306" y="458"/>
                    </a:lnTo>
                    <a:lnTo>
                      <a:pt x="288" y="468"/>
                    </a:lnTo>
                    <a:lnTo>
                      <a:pt x="280" y="479"/>
                    </a:lnTo>
                    <a:lnTo>
                      <a:pt x="257" y="479"/>
                    </a:lnTo>
                    <a:lnTo>
                      <a:pt x="241" y="471"/>
                    </a:lnTo>
                    <a:lnTo>
                      <a:pt x="233" y="486"/>
                    </a:lnTo>
                    <a:lnTo>
                      <a:pt x="219" y="480"/>
                    </a:lnTo>
                    <a:lnTo>
                      <a:pt x="188" y="478"/>
                    </a:lnTo>
                    <a:lnTo>
                      <a:pt x="174" y="470"/>
                    </a:lnTo>
                    <a:lnTo>
                      <a:pt x="163" y="464"/>
                    </a:lnTo>
                    <a:lnTo>
                      <a:pt x="161" y="448"/>
                    </a:lnTo>
                    <a:lnTo>
                      <a:pt x="156" y="458"/>
                    </a:lnTo>
                    <a:lnTo>
                      <a:pt x="142" y="450"/>
                    </a:lnTo>
                    <a:lnTo>
                      <a:pt x="129" y="438"/>
                    </a:lnTo>
                    <a:lnTo>
                      <a:pt x="113" y="438"/>
                    </a:lnTo>
                    <a:lnTo>
                      <a:pt x="100" y="426"/>
                    </a:lnTo>
                    <a:lnTo>
                      <a:pt x="79" y="421"/>
                    </a:lnTo>
                    <a:lnTo>
                      <a:pt x="79" y="395"/>
                    </a:lnTo>
                    <a:lnTo>
                      <a:pt x="68" y="387"/>
                    </a:lnTo>
                    <a:lnTo>
                      <a:pt x="51" y="385"/>
                    </a:lnTo>
                    <a:lnTo>
                      <a:pt x="31" y="398"/>
                    </a:lnTo>
                    <a:lnTo>
                      <a:pt x="17" y="387"/>
                    </a:lnTo>
                    <a:lnTo>
                      <a:pt x="19" y="368"/>
                    </a:lnTo>
                    <a:lnTo>
                      <a:pt x="11" y="358"/>
                    </a:lnTo>
                    <a:lnTo>
                      <a:pt x="14" y="344"/>
                    </a:lnTo>
                    <a:lnTo>
                      <a:pt x="17" y="321"/>
                    </a:lnTo>
                    <a:lnTo>
                      <a:pt x="17" y="308"/>
                    </a:lnTo>
                    <a:lnTo>
                      <a:pt x="15" y="310"/>
                    </a:lnTo>
                    <a:lnTo>
                      <a:pt x="0" y="299"/>
                    </a:lnTo>
                    <a:lnTo>
                      <a:pt x="2" y="277"/>
                    </a:lnTo>
                    <a:lnTo>
                      <a:pt x="14" y="269"/>
                    </a:lnTo>
                    <a:lnTo>
                      <a:pt x="35" y="282"/>
                    </a:lnTo>
                    <a:lnTo>
                      <a:pt x="42" y="275"/>
                    </a:lnTo>
                    <a:lnTo>
                      <a:pt x="40" y="266"/>
                    </a:lnTo>
                    <a:lnTo>
                      <a:pt x="64" y="261"/>
                    </a:lnTo>
                    <a:lnTo>
                      <a:pt x="69" y="252"/>
                    </a:lnTo>
                    <a:lnTo>
                      <a:pt x="81" y="248"/>
                    </a:lnTo>
                    <a:lnTo>
                      <a:pt x="82" y="208"/>
                    </a:lnTo>
                    <a:lnTo>
                      <a:pt x="71" y="203"/>
                    </a:lnTo>
                    <a:lnTo>
                      <a:pt x="76" y="192"/>
                    </a:lnTo>
                    <a:lnTo>
                      <a:pt x="104" y="189"/>
                    </a:lnTo>
                    <a:lnTo>
                      <a:pt x="110" y="181"/>
                    </a:lnTo>
                    <a:lnTo>
                      <a:pt x="111" y="161"/>
                    </a:lnTo>
                    <a:lnTo>
                      <a:pt x="126" y="153"/>
                    </a:lnTo>
                    <a:lnTo>
                      <a:pt x="144" y="159"/>
                    </a:lnTo>
                    <a:lnTo>
                      <a:pt x="150" y="126"/>
                    </a:lnTo>
                    <a:lnTo>
                      <a:pt x="157" y="119"/>
                    </a:lnTo>
                    <a:lnTo>
                      <a:pt x="169" y="116"/>
                    </a:lnTo>
                    <a:lnTo>
                      <a:pt x="172" y="105"/>
                    </a:lnTo>
                    <a:lnTo>
                      <a:pt x="181" y="98"/>
                    </a:lnTo>
                    <a:lnTo>
                      <a:pt x="189" y="109"/>
                    </a:lnTo>
                    <a:lnTo>
                      <a:pt x="210" y="120"/>
                    </a:lnTo>
                    <a:lnTo>
                      <a:pt x="214" y="136"/>
                    </a:lnTo>
                    <a:lnTo>
                      <a:pt x="225" y="161"/>
                    </a:lnTo>
                    <a:lnTo>
                      <a:pt x="258" y="167"/>
                    </a:lnTo>
                    <a:lnTo>
                      <a:pt x="272" y="170"/>
                    </a:lnTo>
                    <a:lnTo>
                      <a:pt x="288" y="179"/>
                    </a:lnTo>
                    <a:lnTo>
                      <a:pt x="298" y="198"/>
                    </a:lnTo>
                    <a:lnTo>
                      <a:pt x="308" y="207"/>
                    </a:lnTo>
                    <a:lnTo>
                      <a:pt x="388" y="213"/>
                    </a:lnTo>
                    <a:lnTo>
                      <a:pt x="406" y="218"/>
                    </a:lnTo>
                    <a:lnTo>
                      <a:pt x="427" y="230"/>
                    </a:lnTo>
                    <a:lnTo>
                      <a:pt x="448" y="223"/>
                    </a:lnTo>
                    <a:lnTo>
                      <a:pt x="460" y="214"/>
                    </a:lnTo>
                    <a:lnTo>
                      <a:pt x="488" y="218"/>
                    </a:lnTo>
                    <a:lnTo>
                      <a:pt x="511" y="199"/>
                    </a:lnTo>
                    <a:lnTo>
                      <a:pt x="513" y="182"/>
                    </a:lnTo>
                    <a:lnTo>
                      <a:pt x="513" y="165"/>
                    </a:lnTo>
                    <a:lnTo>
                      <a:pt x="532" y="172"/>
                    </a:lnTo>
                    <a:lnTo>
                      <a:pt x="546" y="158"/>
                    </a:lnTo>
                    <a:lnTo>
                      <a:pt x="558" y="148"/>
                    </a:lnTo>
                    <a:lnTo>
                      <a:pt x="580" y="136"/>
                    </a:lnTo>
                    <a:lnTo>
                      <a:pt x="604" y="124"/>
                    </a:lnTo>
                    <a:lnTo>
                      <a:pt x="593" y="109"/>
                    </a:lnTo>
                    <a:lnTo>
                      <a:pt x="570" y="112"/>
                    </a:lnTo>
                    <a:lnTo>
                      <a:pt x="558" y="115"/>
                    </a:lnTo>
                    <a:lnTo>
                      <a:pt x="555" y="109"/>
                    </a:lnTo>
                    <a:lnTo>
                      <a:pt x="553" y="77"/>
                    </a:lnTo>
                    <a:lnTo>
                      <a:pt x="557" y="65"/>
                    </a:lnTo>
                    <a:lnTo>
                      <a:pt x="568" y="76"/>
                    </a:lnTo>
                    <a:lnTo>
                      <a:pt x="587" y="76"/>
                    </a:lnTo>
                    <a:lnTo>
                      <a:pt x="591" y="49"/>
                    </a:lnTo>
                    <a:lnTo>
                      <a:pt x="602" y="40"/>
                    </a:lnTo>
                    <a:lnTo>
                      <a:pt x="592" y="14"/>
                    </a:lnTo>
                    <a:lnTo>
                      <a:pt x="600" y="0"/>
                    </a:lnTo>
                    <a:lnTo>
                      <a:pt x="661" y="1"/>
                    </a:lnTo>
                    <a:lnTo>
                      <a:pt x="675" y="17"/>
                    </a:lnTo>
                    <a:lnTo>
                      <a:pt x="689" y="29"/>
                    </a:lnTo>
                    <a:lnTo>
                      <a:pt x="700" y="42"/>
                    </a:lnTo>
                    <a:lnTo>
                      <a:pt x="703" y="59"/>
                    </a:lnTo>
                    <a:lnTo>
                      <a:pt x="714" y="73"/>
                    </a:lnTo>
                    <a:lnTo>
                      <a:pt x="740" y="78"/>
                    </a:lnTo>
                    <a:lnTo>
                      <a:pt x="751" y="88"/>
                    </a:lnTo>
                    <a:lnTo>
                      <a:pt x="763" y="97"/>
                    </a:lnTo>
                    <a:lnTo>
                      <a:pt x="769" y="106"/>
                    </a:lnTo>
                    <a:lnTo>
                      <a:pt x="783" y="107"/>
                    </a:lnTo>
                    <a:lnTo>
                      <a:pt x="808" y="103"/>
                    </a:lnTo>
                    <a:lnTo>
                      <a:pt x="813" y="109"/>
                    </a:lnTo>
                    <a:lnTo>
                      <a:pt x="816" y="122"/>
                    </a:lnTo>
                    <a:lnTo>
                      <a:pt x="806" y="130"/>
                    </a:lnTo>
                    <a:lnTo>
                      <a:pt x="804" y="165"/>
                    </a:lnTo>
                    <a:lnTo>
                      <a:pt x="791" y="164"/>
                    </a:lnTo>
                    <a:lnTo>
                      <a:pt x="783" y="178"/>
                    </a:lnTo>
                    <a:lnTo>
                      <a:pt x="784" y="194"/>
                    </a:lnTo>
                    <a:lnTo>
                      <a:pt x="798" y="198"/>
                    </a:lnTo>
                    <a:lnTo>
                      <a:pt x="797" y="198"/>
                    </a:lnTo>
                    <a:lnTo>
                      <a:pt x="783" y="209"/>
                    </a:lnTo>
                    <a:lnTo>
                      <a:pt x="769" y="213"/>
                    </a:lnTo>
                    <a:lnTo>
                      <a:pt x="755" y="230"/>
                    </a:lnTo>
                    <a:lnTo>
                      <a:pt x="741" y="230"/>
                    </a:lnTo>
                    <a:lnTo>
                      <a:pt x="729" y="224"/>
                    </a:lnTo>
                    <a:lnTo>
                      <a:pt x="721" y="248"/>
                    </a:lnTo>
                    <a:lnTo>
                      <a:pt x="707" y="257"/>
                    </a:lnTo>
                    <a:lnTo>
                      <a:pt x="689" y="268"/>
                    </a:lnTo>
                    <a:lnTo>
                      <a:pt x="669" y="275"/>
                    </a:lnTo>
                    <a:lnTo>
                      <a:pt x="667" y="258"/>
                    </a:lnTo>
                    <a:lnTo>
                      <a:pt x="663" y="242"/>
                    </a:lnTo>
                    <a:lnTo>
                      <a:pt x="657" y="241"/>
                    </a:lnTo>
                    <a:lnTo>
                      <a:pt x="648" y="248"/>
                    </a:lnTo>
                    <a:lnTo>
                      <a:pt x="641" y="259"/>
                    </a:lnTo>
                  </a:path>
                </a:pathLst>
              </a:custGeom>
              <a:solidFill>
                <a:srgbClr val="29A8C5"/>
              </a:solid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42" name="Freeform 246">
                <a:extLst>
                  <a:ext uri="{FF2B5EF4-FFF2-40B4-BE49-F238E27FC236}">
                    <a16:creationId xmlns:a16="http://schemas.microsoft.com/office/drawing/2014/main" id="{00EAD48B-6278-45BD-EE45-47094E54D7FC}"/>
                  </a:ext>
                </a:extLst>
              </p:cNvPr>
              <p:cNvSpPr>
                <a:spLocks/>
              </p:cNvSpPr>
              <p:nvPr/>
            </p:nvSpPr>
            <p:spPr bwMode="auto">
              <a:xfrm>
                <a:off x="5137979" y="3037763"/>
                <a:ext cx="50303" cy="34943"/>
              </a:xfrm>
              <a:custGeom>
                <a:avLst/>
                <a:gdLst>
                  <a:gd name="T0" fmla="*/ 28 w 32"/>
                  <a:gd name="T1" fmla="*/ 0 h 22"/>
                  <a:gd name="T2" fmla="*/ 16 w 32"/>
                  <a:gd name="T3" fmla="*/ 3 h 22"/>
                  <a:gd name="T4" fmla="*/ 0 w 32"/>
                  <a:gd name="T5" fmla="*/ 2 h 22"/>
                  <a:gd name="T6" fmla="*/ 3 w 32"/>
                  <a:gd name="T7" fmla="*/ 6 h 22"/>
                  <a:gd name="T8" fmla="*/ 6 w 32"/>
                  <a:gd name="T9" fmla="*/ 14 h 22"/>
                  <a:gd name="T10" fmla="*/ 14 w 32"/>
                  <a:gd name="T11" fmla="*/ 15 h 22"/>
                  <a:gd name="T12" fmla="*/ 31 w 32"/>
                  <a:gd name="T13" fmla="*/ 21 h 22"/>
                  <a:gd name="T14" fmla="*/ 30 w 32"/>
                  <a:gd name="T15" fmla="*/ 11 h 22"/>
                  <a:gd name="T16" fmla="*/ 28 w 32"/>
                  <a:gd name="T1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2">
                    <a:moveTo>
                      <a:pt x="28" y="0"/>
                    </a:moveTo>
                    <a:lnTo>
                      <a:pt x="16" y="3"/>
                    </a:lnTo>
                    <a:lnTo>
                      <a:pt x="0" y="2"/>
                    </a:lnTo>
                    <a:lnTo>
                      <a:pt x="3" y="6"/>
                    </a:lnTo>
                    <a:lnTo>
                      <a:pt x="6" y="14"/>
                    </a:lnTo>
                    <a:lnTo>
                      <a:pt x="14" y="15"/>
                    </a:lnTo>
                    <a:lnTo>
                      <a:pt x="31" y="21"/>
                    </a:lnTo>
                    <a:lnTo>
                      <a:pt x="30" y="11"/>
                    </a:lnTo>
                    <a:lnTo>
                      <a:pt x="28" y="0"/>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43" name="Freeform 272">
                <a:extLst>
                  <a:ext uri="{FF2B5EF4-FFF2-40B4-BE49-F238E27FC236}">
                    <a16:creationId xmlns:a16="http://schemas.microsoft.com/office/drawing/2014/main" id="{8DC59E93-B6E0-AF6A-CF68-43FF65126B7C}"/>
                  </a:ext>
                </a:extLst>
              </p:cNvPr>
              <p:cNvSpPr>
                <a:spLocks/>
              </p:cNvSpPr>
              <p:nvPr/>
            </p:nvSpPr>
            <p:spPr bwMode="auto">
              <a:xfrm>
                <a:off x="5606077" y="3202695"/>
                <a:ext cx="475085" cy="454260"/>
              </a:xfrm>
              <a:custGeom>
                <a:avLst/>
                <a:gdLst>
                  <a:gd name="T0" fmla="*/ 159 w 304"/>
                  <a:gd name="T1" fmla="*/ 72 h 290"/>
                  <a:gd name="T2" fmla="*/ 169 w 304"/>
                  <a:gd name="T3" fmla="*/ 64 h 290"/>
                  <a:gd name="T4" fmla="*/ 189 w 304"/>
                  <a:gd name="T5" fmla="*/ 65 h 290"/>
                  <a:gd name="T6" fmla="*/ 205 w 304"/>
                  <a:gd name="T7" fmla="*/ 83 h 290"/>
                  <a:gd name="T8" fmla="*/ 226 w 304"/>
                  <a:gd name="T9" fmla="*/ 103 h 290"/>
                  <a:gd name="T10" fmla="*/ 227 w 304"/>
                  <a:gd name="T11" fmla="*/ 121 h 290"/>
                  <a:gd name="T12" fmla="*/ 235 w 304"/>
                  <a:gd name="T13" fmla="*/ 128 h 290"/>
                  <a:gd name="T14" fmla="*/ 247 w 304"/>
                  <a:gd name="T15" fmla="*/ 161 h 290"/>
                  <a:gd name="T16" fmla="*/ 290 w 304"/>
                  <a:gd name="T17" fmla="*/ 164 h 290"/>
                  <a:gd name="T18" fmla="*/ 303 w 304"/>
                  <a:gd name="T19" fmla="*/ 182 h 290"/>
                  <a:gd name="T20" fmla="*/ 294 w 304"/>
                  <a:gd name="T21" fmla="*/ 222 h 290"/>
                  <a:gd name="T22" fmla="*/ 252 w 304"/>
                  <a:gd name="T23" fmla="*/ 230 h 290"/>
                  <a:gd name="T24" fmla="*/ 209 w 304"/>
                  <a:gd name="T25" fmla="*/ 237 h 290"/>
                  <a:gd name="T26" fmla="*/ 197 w 304"/>
                  <a:gd name="T27" fmla="*/ 253 h 290"/>
                  <a:gd name="T28" fmla="*/ 192 w 304"/>
                  <a:gd name="T29" fmla="*/ 274 h 290"/>
                  <a:gd name="T30" fmla="*/ 172 w 304"/>
                  <a:gd name="T31" fmla="*/ 289 h 290"/>
                  <a:gd name="T32" fmla="*/ 172 w 304"/>
                  <a:gd name="T33" fmla="*/ 276 h 290"/>
                  <a:gd name="T34" fmla="*/ 172 w 304"/>
                  <a:gd name="T35" fmla="*/ 266 h 290"/>
                  <a:gd name="T36" fmla="*/ 166 w 304"/>
                  <a:gd name="T37" fmla="*/ 264 h 290"/>
                  <a:gd name="T38" fmla="*/ 149 w 304"/>
                  <a:gd name="T39" fmla="*/ 263 h 290"/>
                  <a:gd name="T40" fmla="*/ 132 w 304"/>
                  <a:gd name="T41" fmla="*/ 264 h 290"/>
                  <a:gd name="T42" fmla="*/ 121 w 304"/>
                  <a:gd name="T43" fmla="*/ 270 h 290"/>
                  <a:gd name="T44" fmla="*/ 105 w 304"/>
                  <a:gd name="T45" fmla="*/ 252 h 290"/>
                  <a:gd name="T46" fmla="*/ 100 w 304"/>
                  <a:gd name="T47" fmla="*/ 234 h 290"/>
                  <a:gd name="T48" fmla="*/ 91 w 304"/>
                  <a:gd name="T49" fmla="*/ 219 h 290"/>
                  <a:gd name="T50" fmla="*/ 72 w 304"/>
                  <a:gd name="T51" fmla="*/ 197 h 290"/>
                  <a:gd name="T52" fmla="*/ 65 w 304"/>
                  <a:gd name="T53" fmla="*/ 181 h 290"/>
                  <a:gd name="T54" fmla="*/ 54 w 304"/>
                  <a:gd name="T55" fmla="*/ 149 h 290"/>
                  <a:gd name="T56" fmla="*/ 38 w 304"/>
                  <a:gd name="T57" fmla="*/ 123 h 290"/>
                  <a:gd name="T58" fmla="*/ 18 w 304"/>
                  <a:gd name="T59" fmla="*/ 104 h 290"/>
                  <a:gd name="T60" fmla="*/ 15 w 304"/>
                  <a:gd name="T61" fmla="*/ 81 h 290"/>
                  <a:gd name="T62" fmla="*/ 3 w 304"/>
                  <a:gd name="T63" fmla="*/ 74 h 290"/>
                  <a:gd name="T64" fmla="*/ 0 w 304"/>
                  <a:gd name="T65" fmla="*/ 58 h 290"/>
                  <a:gd name="T66" fmla="*/ 18 w 304"/>
                  <a:gd name="T67" fmla="*/ 58 h 290"/>
                  <a:gd name="T68" fmla="*/ 31 w 304"/>
                  <a:gd name="T69" fmla="*/ 46 h 290"/>
                  <a:gd name="T70" fmla="*/ 43 w 304"/>
                  <a:gd name="T71" fmla="*/ 36 h 290"/>
                  <a:gd name="T72" fmla="*/ 43 w 304"/>
                  <a:gd name="T73" fmla="*/ 15 h 290"/>
                  <a:gd name="T74" fmla="*/ 59 w 304"/>
                  <a:gd name="T75" fmla="*/ 2 h 290"/>
                  <a:gd name="T76" fmla="*/ 65 w 304"/>
                  <a:gd name="T77" fmla="*/ 0 h 290"/>
                  <a:gd name="T78" fmla="*/ 74 w 304"/>
                  <a:gd name="T79" fmla="*/ 8 h 290"/>
                  <a:gd name="T80" fmla="*/ 84 w 304"/>
                  <a:gd name="T81" fmla="*/ 15 h 290"/>
                  <a:gd name="T82" fmla="*/ 100 w 304"/>
                  <a:gd name="T83" fmla="*/ 14 h 290"/>
                  <a:gd name="T84" fmla="*/ 110 w 304"/>
                  <a:gd name="T85" fmla="*/ 31 h 290"/>
                  <a:gd name="T86" fmla="*/ 121 w 304"/>
                  <a:gd name="T87" fmla="*/ 34 h 290"/>
                  <a:gd name="T88" fmla="*/ 134 w 304"/>
                  <a:gd name="T89" fmla="*/ 57 h 290"/>
                  <a:gd name="T90" fmla="*/ 159 w 304"/>
                  <a:gd name="T91" fmla="*/ 72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 h="290">
                    <a:moveTo>
                      <a:pt x="159" y="72"/>
                    </a:moveTo>
                    <a:lnTo>
                      <a:pt x="169" y="64"/>
                    </a:lnTo>
                    <a:lnTo>
                      <a:pt x="189" y="65"/>
                    </a:lnTo>
                    <a:lnTo>
                      <a:pt x="205" y="83"/>
                    </a:lnTo>
                    <a:lnTo>
                      <a:pt x="226" y="103"/>
                    </a:lnTo>
                    <a:lnTo>
                      <a:pt x="227" y="121"/>
                    </a:lnTo>
                    <a:lnTo>
                      <a:pt x="235" y="128"/>
                    </a:lnTo>
                    <a:lnTo>
                      <a:pt x="247" y="161"/>
                    </a:lnTo>
                    <a:lnTo>
                      <a:pt x="290" y="164"/>
                    </a:lnTo>
                    <a:lnTo>
                      <a:pt x="303" y="182"/>
                    </a:lnTo>
                    <a:lnTo>
                      <a:pt x="294" y="222"/>
                    </a:lnTo>
                    <a:lnTo>
                      <a:pt x="252" y="230"/>
                    </a:lnTo>
                    <a:lnTo>
                      <a:pt x="209" y="237"/>
                    </a:lnTo>
                    <a:lnTo>
                      <a:pt x="197" y="253"/>
                    </a:lnTo>
                    <a:lnTo>
                      <a:pt x="192" y="274"/>
                    </a:lnTo>
                    <a:lnTo>
                      <a:pt x="172" y="289"/>
                    </a:lnTo>
                    <a:lnTo>
                      <a:pt x="172" y="276"/>
                    </a:lnTo>
                    <a:lnTo>
                      <a:pt x="172" y="266"/>
                    </a:lnTo>
                    <a:lnTo>
                      <a:pt x="166" y="264"/>
                    </a:lnTo>
                    <a:lnTo>
                      <a:pt x="149" y="263"/>
                    </a:lnTo>
                    <a:lnTo>
                      <a:pt x="132" y="264"/>
                    </a:lnTo>
                    <a:lnTo>
                      <a:pt x="121" y="270"/>
                    </a:lnTo>
                    <a:lnTo>
                      <a:pt x="105" y="252"/>
                    </a:lnTo>
                    <a:lnTo>
                      <a:pt x="100" y="234"/>
                    </a:lnTo>
                    <a:lnTo>
                      <a:pt x="91" y="219"/>
                    </a:lnTo>
                    <a:lnTo>
                      <a:pt x="72" y="197"/>
                    </a:lnTo>
                    <a:lnTo>
                      <a:pt x="65" y="181"/>
                    </a:lnTo>
                    <a:lnTo>
                      <a:pt x="54" y="149"/>
                    </a:lnTo>
                    <a:lnTo>
                      <a:pt x="38" y="123"/>
                    </a:lnTo>
                    <a:lnTo>
                      <a:pt x="18" y="104"/>
                    </a:lnTo>
                    <a:lnTo>
                      <a:pt x="15" y="81"/>
                    </a:lnTo>
                    <a:lnTo>
                      <a:pt x="3" y="74"/>
                    </a:lnTo>
                    <a:lnTo>
                      <a:pt x="0" y="58"/>
                    </a:lnTo>
                    <a:lnTo>
                      <a:pt x="18" y="58"/>
                    </a:lnTo>
                    <a:lnTo>
                      <a:pt x="31" y="46"/>
                    </a:lnTo>
                    <a:lnTo>
                      <a:pt x="43" y="36"/>
                    </a:lnTo>
                    <a:lnTo>
                      <a:pt x="43" y="15"/>
                    </a:lnTo>
                    <a:lnTo>
                      <a:pt x="59" y="2"/>
                    </a:lnTo>
                    <a:lnTo>
                      <a:pt x="65" y="0"/>
                    </a:lnTo>
                    <a:lnTo>
                      <a:pt x="74" y="8"/>
                    </a:lnTo>
                    <a:lnTo>
                      <a:pt x="84" y="15"/>
                    </a:lnTo>
                    <a:lnTo>
                      <a:pt x="100" y="14"/>
                    </a:lnTo>
                    <a:lnTo>
                      <a:pt x="110" y="31"/>
                    </a:lnTo>
                    <a:lnTo>
                      <a:pt x="121" y="34"/>
                    </a:lnTo>
                    <a:lnTo>
                      <a:pt x="134" y="57"/>
                    </a:lnTo>
                    <a:lnTo>
                      <a:pt x="159" y="72"/>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grpSp>
        <p:grpSp>
          <p:nvGrpSpPr>
            <p:cNvPr id="544" name="Grupo 543">
              <a:extLst>
                <a:ext uri="{FF2B5EF4-FFF2-40B4-BE49-F238E27FC236}">
                  <a16:creationId xmlns:a16="http://schemas.microsoft.com/office/drawing/2014/main" id="{42B16559-A815-FA1A-7507-3C541A379674}"/>
                </a:ext>
              </a:extLst>
            </p:cNvPr>
            <p:cNvGrpSpPr/>
            <p:nvPr/>
          </p:nvGrpSpPr>
          <p:grpSpPr>
            <a:xfrm>
              <a:off x="863015" y="432880"/>
              <a:ext cx="2872278" cy="1810937"/>
              <a:chOff x="2800284" y="1416402"/>
              <a:chExt cx="5951132" cy="4209948"/>
            </a:xfrm>
            <a:solidFill>
              <a:schemeClr val="bg1"/>
            </a:solidFill>
          </p:grpSpPr>
          <p:sp>
            <p:nvSpPr>
              <p:cNvPr id="545" name="Freeform 43">
                <a:extLst>
                  <a:ext uri="{FF2B5EF4-FFF2-40B4-BE49-F238E27FC236}">
                    <a16:creationId xmlns:a16="http://schemas.microsoft.com/office/drawing/2014/main" id="{9E3EF2CD-0A81-9CE9-1DE4-FA28BA5006DB}"/>
                  </a:ext>
                </a:extLst>
              </p:cNvPr>
              <p:cNvSpPr>
                <a:spLocks/>
              </p:cNvSpPr>
              <p:nvPr/>
            </p:nvSpPr>
            <p:spPr bwMode="auto">
              <a:xfrm>
                <a:off x="3447236" y="5566248"/>
                <a:ext cx="62878" cy="60102"/>
              </a:xfrm>
              <a:custGeom>
                <a:avLst/>
                <a:gdLst>
                  <a:gd name="T0" fmla="*/ 0 w 41"/>
                  <a:gd name="T1" fmla="*/ 30 h 38"/>
                  <a:gd name="T2" fmla="*/ 10 w 41"/>
                  <a:gd name="T3" fmla="*/ 0 h 38"/>
                  <a:gd name="T4" fmla="*/ 13 w 41"/>
                  <a:gd name="T5" fmla="*/ 0 h 38"/>
                  <a:gd name="T6" fmla="*/ 22 w 41"/>
                  <a:gd name="T7" fmla="*/ 12 h 38"/>
                  <a:gd name="T8" fmla="*/ 40 w 41"/>
                  <a:gd name="T9" fmla="*/ 25 h 38"/>
                  <a:gd name="T10" fmla="*/ 19 w 41"/>
                  <a:gd name="T11" fmla="*/ 25 h 38"/>
                  <a:gd name="T12" fmla="*/ 15 w 41"/>
                  <a:gd name="T13" fmla="*/ 37 h 38"/>
                  <a:gd name="T14" fmla="*/ 0 w 41"/>
                  <a:gd name="T15" fmla="*/ 3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8">
                    <a:moveTo>
                      <a:pt x="0" y="30"/>
                    </a:moveTo>
                    <a:lnTo>
                      <a:pt x="10" y="0"/>
                    </a:lnTo>
                    <a:lnTo>
                      <a:pt x="13" y="0"/>
                    </a:lnTo>
                    <a:lnTo>
                      <a:pt x="22" y="12"/>
                    </a:lnTo>
                    <a:lnTo>
                      <a:pt x="40" y="25"/>
                    </a:lnTo>
                    <a:lnTo>
                      <a:pt x="19" y="25"/>
                    </a:lnTo>
                    <a:lnTo>
                      <a:pt x="15" y="37"/>
                    </a:lnTo>
                    <a:lnTo>
                      <a:pt x="0" y="30"/>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46" name="Freeform 44">
                <a:extLst>
                  <a:ext uri="{FF2B5EF4-FFF2-40B4-BE49-F238E27FC236}">
                    <a16:creationId xmlns:a16="http://schemas.microsoft.com/office/drawing/2014/main" id="{E76F8322-74E3-C843-4A48-AC699304097C}"/>
                  </a:ext>
                </a:extLst>
              </p:cNvPr>
              <p:cNvSpPr>
                <a:spLocks/>
              </p:cNvSpPr>
              <p:nvPr/>
            </p:nvSpPr>
            <p:spPr bwMode="auto">
              <a:xfrm>
                <a:off x="3412305" y="5557861"/>
                <a:ext cx="55892" cy="58704"/>
              </a:xfrm>
              <a:custGeom>
                <a:avLst/>
                <a:gdLst>
                  <a:gd name="T0" fmla="*/ 31 w 35"/>
                  <a:gd name="T1" fmla="*/ 5 h 38"/>
                  <a:gd name="T2" fmla="*/ 21 w 35"/>
                  <a:gd name="T3" fmla="*/ 37 h 38"/>
                  <a:gd name="T4" fmla="*/ 0 w 35"/>
                  <a:gd name="T5" fmla="*/ 25 h 38"/>
                  <a:gd name="T6" fmla="*/ 5 w 35"/>
                  <a:gd name="T7" fmla="*/ 7 h 38"/>
                  <a:gd name="T8" fmla="*/ 14 w 35"/>
                  <a:gd name="T9" fmla="*/ 0 h 38"/>
                  <a:gd name="T10" fmla="*/ 34 w 35"/>
                  <a:gd name="T11" fmla="*/ 5 h 38"/>
                  <a:gd name="T12" fmla="*/ 31 w 35"/>
                  <a:gd name="T13" fmla="*/ 5 h 38"/>
                </a:gdLst>
                <a:ahLst/>
                <a:cxnLst>
                  <a:cxn ang="0">
                    <a:pos x="T0" y="T1"/>
                  </a:cxn>
                  <a:cxn ang="0">
                    <a:pos x="T2" y="T3"/>
                  </a:cxn>
                  <a:cxn ang="0">
                    <a:pos x="T4" y="T5"/>
                  </a:cxn>
                  <a:cxn ang="0">
                    <a:pos x="T6" y="T7"/>
                  </a:cxn>
                  <a:cxn ang="0">
                    <a:pos x="T8" y="T9"/>
                  </a:cxn>
                  <a:cxn ang="0">
                    <a:pos x="T10" y="T11"/>
                  </a:cxn>
                  <a:cxn ang="0">
                    <a:pos x="T12" y="T13"/>
                  </a:cxn>
                </a:cxnLst>
                <a:rect l="0" t="0" r="r" b="b"/>
                <a:pathLst>
                  <a:path w="35" h="38">
                    <a:moveTo>
                      <a:pt x="31" y="5"/>
                    </a:moveTo>
                    <a:lnTo>
                      <a:pt x="21" y="37"/>
                    </a:lnTo>
                    <a:lnTo>
                      <a:pt x="0" y="25"/>
                    </a:lnTo>
                    <a:lnTo>
                      <a:pt x="5" y="7"/>
                    </a:lnTo>
                    <a:lnTo>
                      <a:pt x="14" y="0"/>
                    </a:lnTo>
                    <a:lnTo>
                      <a:pt x="34" y="5"/>
                    </a:lnTo>
                    <a:lnTo>
                      <a:pt x="31" y="5"/>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47" name="Freeform 46">
                <a:extLst>
                  <a:ext uri="{FF2B5EF4-FFF2-40B4-BE49-F238E27FC236}">
                    <a16:creationId xmlns:a16="http://schemas.microsoft.com/office/drawing/2014/main" id="{2AAFB347-A9EE-15E3-BB56-1DB0749D2CF1}"/>
                  </a:ext>
                </a:extLst>
              </p:cNvPr>
              <p:cNvSpPr>
                <a:spLocks/>
              </p:cNvSpPr>
              <p:nvPr/>
            </p:nvSpPr>
            <p:spPr bwMode="auto">
              <a:xfrm>
                <a:off x="3205504" y="3557718"/>
                <a:ext cx="67070" cy="62898"/>
              </a:xfrm>
              <a:custGeom>
                <a:avLst/>
                <a:gdLst>
                  <a:gd name="T0" fmla="*/ 32 w 43"/>
                  <a:gd name="T1" fmla="*/ 1 h 41"/>
                  <a:gd name="T2" fmla="*/ 26 w 43"/>
                  <a:gd name="T3" fmla="*/ 14 h 41"/>
                  <a:gd name="T4" fmla="*/ 32 w 43"/>
                  <a:gd name="T5" fmla="*/ 21 h 41"/>
                  <a:gd name="T6" fmla="*/ 23 w 43"/>
                  <a:gd name="T7" fmla="*/ 26 h 41"/>
                  <a:gd name="T8" fmla="*/ 0 w 43"/>
                  <a:gd name="T9" fmla="*/ 26 h 41"/>
                  <a:gd name="T10" fmla="*/ 3 w 43"/>
                  <a:gd name="T11" fmla="*/ 37 h 41"/>
                  <a:gd name="T12" fmla="*/ 21 w 43"/>
                  <a:gd name="T13" fmla="*/ 38 h 41"/>
                  <a:gd name="T14" fmla="*/ 37 w 43"/>
                  <a:gd name="T15" fmla="*/ 40 h 41"/>
                  <a:gd name="T16" fmla="*/ 42 w 43"/>
                  <a:gd name="T17" fmla="*/ 29 h 41"/>
                  <a:gd name="T18" fmla="*/ 42 w 43"/>
                  <a:gd name="T19" fmla="*/ 8 h 41"/>
                  <a:gd name="T20" fmla="*/ 42 w 43"/>
                  <a:gd name="T21" fmla="*/ 0 h 41"/>
                  <a:gd name="T22" fmla="*/ 32 w 43"/>
                  <a:gd name="T23" fmla="*/ 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41">
                    <a:moveTo>
                      <a:pt x="32" y="1"/>
                    </a:moveTo>
                    <a:lnTo>
                      <a:pt x="26" y="14"/>
                    </a:lnTo>
                    <a:lnTo>
                      <a:pt x="32" y="21"/>
                    </a:lnTo>
                    <a:lnTo>
                      <a:pt x="23" y="26"/>
                    </a:lnTo>
                    <a:lnTo>
                      <a:pt x="0" y="26"/>
                    </a:lnTo>
                    <a:lnTo>
                      <a:pt x="3" y="37"/>
                    </a:lnTo>
                    <a:lnTo>
                      <a:pt x="21" y="38"/>
                    </a:lnTo>
                    <a:lnTo>
                      <a:pt x="37" y="40"/>
                    </a:lnTo>
                    <a:lnTo>
                      <a:pt x="42" y="29"/>
                    </a:lnTo>
                    <a:lnTo>
                      <a:pt x="42" y="8"/>
                    </a:lnTo>
                    <a:lnTo>
                      <a:pt x="42" y="0"/>
                    </a:lnTo>
                    <a:lnTo>
                      <a:pt x="32" y="1"/>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48" name="Freeform 48">
                <a:extLst>
                  <a:ext uri="{FF2B5EF4-FFF2-40B4-BE49-F238E27FC236}">
                    <a16:creationId xmlns:a16="http://schemas.microsoft.com/office/drawing/2014/main" id="{6F03518D-0F95-1E78-7CA6-27974561E80A}"/>
                  </a:ext>
                </a:extLst>
              </p:cNvPr>
              <p:cNvSpPr>
                <a:spLocks/>
              </p:cNvSpPr>
              <p:nvPr/>
            </p:nvSpPr>
            <p:spPr bwMode="auto">
              <a:xfrm>
                <a:off x="2853381" y="3669535"/>
                <a:ext cx="153704" cy="75477"/>
              </a:xfrm>
              <a:custGeom>
                <a:avLst/>
                <a:gdLst>
                  <a:gd name="T0" fmla="*/ 15 w 98"/>
                  <a:gd name="T1" fmla="*/ 8 h 49"/>
                  <a:gd name="T2" fmla="*/ 13 w 98"/>
                  <a:gd name="T3" fmla="*/ 20 h 49"/>
                  <a:gd name="T4" fmla="*/ 3 w 98"/>
                  <a:gd name="T5" fmla="*/ 20 h 49"/>
                  <a:gd name="T6" fmla="*/ 0 w 98"/>
                  <a:gd name="T7" fmla="*/ 34 h 49"/>
                  <a:gd name="T8" fmla="*/ 11 w 98"/>
                  <a:gd name="T9" fmla="*/ 29 h 49"/>
                  <a:gd name="T10" fmla="*/ 27 w 98"/>
                  <a:gd name="T11" fmla="*/ 29 h 49"/>
                  <a:gd name="T12" fmla="*/ 29 w 98"/>
                  <a:gd name="T13" fmla="*/ 48 h 49"/>
                  <a:gd name="T14" fmla="*/ 42 w 98"/>
                  <a:gd name="T15" fmla="*/ 40 h 49"/>
                  <a:gd name="T16" fmla="*/ 61 w 98"/>
                  <a:gd name="T17" fmla="*/ 40 h 49"/>
                  <a:gd name="T18" fmla="*/ 66 w 98"/>
                  <a:gd name="T19" fmla="*/ 25 h 49"/>
                  <a:gd name="T20" fmla="*/ 88 w 98"/>
                  <a:gd name="T21" fmla="*/ 25 h 49"/>
                  <a:gd name="T22" fmla="*/ 97 w 98"/>
                  <a:gd name="T23" fmla="*/ 14 h 49"/>
                  <a:gd name="T24" fmla="*/ 82 w 98"/>
                  <a:gd name="T25" fmla="*/ 10 h 49"/>
                  <a:gd name="T26" fmla="*/ 73 w 98"/>
                  <a:gd name="T27" fmla="*/ 1 h 49"/>
                  <a:gd name="T28" fmla="*/ 50 w 98"/>
                  <a:gd name="T29" fmla="*/ 1 h 49"/>
                  <a:gd name="T30" fmla="*/ 40 w 98"/>
                  <a:gd name="T31" fmla="*/ 8 h 49"/>
                  <a:gd name="T32" fmla="*/ 35 w 98"/>
                  <a:gd name="T33" fmla="*/ 0 h 49"/>
                  <a:gd name="T34" fmla="*/ 24 w 98"/>
                  <a:gd name="T35" fmla="*/ 7 h 49"/>
                  <a:gd name="T36" fmla="*/ 15 w 98"/>
                  <a:gd name="T37"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8" h="49">
                    <a:moveTo>
                      <a:pt x="15" y="8"/>
                    </a:moveTo>
                    <a:lnTo>
                      <a:pt x="13" y="20"/>
                    </a:lnTo>
                    <a:lnTo>
                      <a:pt x="3" y="20"/>
                    </a:lnTo>
                    <a:lnTo>
                      <a:pt x="0" y="34"/>
                    </a:lnTo>
                    <a:lnTo>
                      <a:pt x="11" y="29"/>
                    </a:lnTo>
                    <a:lnTo>
                      <a:pt x="27" y="29"/>
                    </a:lnTo>
                    <a:lnTo>
                      <a:pt x="29" y="48"/>
                    </a:lnTo>
                    <a:lnTo>
                      <a:pt x="42" y="40"/>
                    </a:lnTo>
                    <a:lnTo>
                      <a:pt x="61" y="40"/>
                    </a:lnTo>
                    <a:lnTo>
                      <a:pt x="66" y="25"/>
                    </a:lnTo>
                    <a:lnTo>
                      <a:pt x="88" y="25"/>
                    </a:lnTo>
                    <a:lnTo>
                      <a:pt x="97" y="14"/>
                    </a:lnTo>
                    <a:lnTo>
                      <a:pt x="82" y="10"/>
                    </a:lnTo>
                    <a:lnTo>
                      <a:pt x="73" y="1"/>
                    </a:lnTo>
                    <a:lnTo>
                      <a:pt x="50" y="1"/>
                    </a:lnTo>
                    <a:lnTo>
                      <a:pt x="40" y="8"/>
                    </a:lnTo>
                    <a:lnTo>
                      <a:pt x="35" y="0"/>
                    </a:lnTo>
                    <a:lnTo>
                      <a:pt x="24" y="7"/>
                    </a:lnTo>
                    <a:lnTo>
                      <a:pt x="15" y="8"/>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49" name="Freeform 49">
                <a:extLst>
                  <a:ext uri="{FF2B5EF4-FFF2-40B4-BE49-F238E27FC236}">
                    <a16:creationId xmlns:a16="http://schemas.microsoft.com/office/drawing/2014/main" id="{71E9ED7F-87B6-E3A6-87A5-E1D2314F2E7B}"/>
                  </a:ext>
                </a:extLst>
              </p:cNvPr>
              <p:cNvSpPr>
                <a:spLocks/>
              </p:cNvSpPr>
              <p:nvPr/>
            </p:nvSpPr>
            <p:spPr bwMode="auto">
              <a:xfrm>
                <a:off x="2898096" y="3708671"/>
                <a:ext cx="103402" cy="100636"/>
              </a:xfrm>
              <a:custGeom>
                <a:avLst/>
                <a:gdLst>
                  <a:gd name="T0" fmla="*/ 60 w 66"/>
                  <a:gd name="T1" fmla="*/ 0 h 63"/>
                  <a:gd name="T2" fmla="*/ 38 w 66"/>
                  <a:gd name="T3" fmla="*/ 0 h 63"/>
                  <a:gd name="T4" fmla="*/ 33 w 66"/>
                  <a:gd name="T5" fmla="*/ 14 h 63"/>
                  <a:gd name="T6" fmla="*/ 14 w 66"/>
                  <a:gd name="T7" fmla="*/ 15 h 63"/>
                  <a:gd name="T8" fmla="*/ 0 w 66"/>
                  <a:gd name="T9" fmla="*/ 23 h 63"/>
                  <a:gd name="T10" fmla="*/ 8 w 66"/>
                  <a:gd name="T11" fmla="*/ 31 h 63"/>
                  <a:gd name="T12" fmla="*/ 15 w 66"/>
                  <a:gd name="T13" fmla="*/ 49 h 63"/>
                  <a:gd name="T14" fmla="*/ 25 w 66"/>
                  <a:gd name="T15" fmla="*/ 60 h 63"/>
                  <a:gd name="T16" fmla="*/ 56 w 66"/>
                  <a:gd name="T17" fmla="*/ 62 h 63"/>
                  <a:gd name="T18" fmla="*/ 60 w 66"/>
                  <a:gd name="T19" fmla="*/ 18 h 63"/>
                  <a:gd name="T20" fmla="*/ 65 w 66"/>
                  <a:gd name="T21" fmla="*/ 7 h 63"/>
                  <a:gd name="T22" fmla="*/ 60 w 66"/>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63">
                    <a:moveTo>
                      <a:pt x="60" y="0"/>
                    </a:moveTo>
                    <a:lnTo>
                      <a:pt x="38" y="0"/>
                    </a:lnTo>
                    <a:lnTo>
                      <a:pt x="33" y="14"/>
                    </a:lnTo>
                    <a:lnTo>
                      <a:pt x="14" y="15"/>
                    </a:lnTo>
                    <a:lnTo>
                      <a:pt x="0" y="23"/>
                    </a:lnTo>
                    <a:lnTo>
                      <a:pt x="8" y="31"/>
                    </a:lnTo>
                    <a:lnTo>
                      <a:pt x="15" y="49"/>
                    </a:lnTo>
                    <a:lnTo>
                      <a:pt x="25" y="60"/>
                    </a:lnTo>
                    <a:lnTo>
                      <a:pt x="56" y="62"/>
                    </a:lnTo>
                    <a:lnTo>
                      <a:pt x="60" y="18"/>
                    </a:lnTo>
                    <a:lnTo>
                      <a:pt x="65" y="7"/>
                    </a:lnTo>
                    <a:lnTo>
                      <a:pt x="60" y="0"/>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50" name="Freeform 51">
                <a:extLst>
                  <a:ext uri="{FF2B5EF4-FFF2-40B4-BE49-F238E27FC236}">
                    <a16:creationId xmlns:a16="http://schemas.microsoft.com/office/drawing/2014/main" id="{68BB304F-EC0F-ACA9-086D-2F87B05463A0}"/>
                  </a:ext>
                </a:extLst>
              </p:cNvPr>
              <p:cNvSpPr>
                <a:spLocks/>
              </p:cNvSpPr>
              <p:nvPr/>
            </p:nvSpPr>
            <p:spPr bwMode="auto">
              <a:xfrm>
                <a:off x="3464005" y="4579454"/>
                <a:ext cx="205404" cy="225033"/>
              </a:xfrm>
              <a:custGeom>
                <a:avLst/>
                <a:gdLst>
                  <a:gd name="T0" fmla="*/ 23 w 132"/>
                  <a:gd name="T1" fmla="*/ 68 h 142"/>
                  <a:gd name="T2" fmla="*/ 27 w 132"/>
                  <a:gd name="T3" fmla="*/ 75 h 142"/>
                  <a:gd name="T4" fmla="*/ 36 w 132"/>
                  <a:gd name="T5" fmla="*/ 79 h 142"/>
                  <a:gd name="T6" fmla="*/ 44 w 132"/>
                  <a:gd name="T7" fmla="*/ 86 h 142"/>
                  <a:gd name="T8" fmla="*/ 48 w 132"/>
                  <a:gd name="T9" fmla="*/ 95 h 142"/>
                  <a:gd name="T10" fmla="*/ 69 w 132"/>
                  <a:gd name="T11" fmla="*/ 98 h 142"/>
                  <a:gd name="T12" fmla="*/ 74 w 132"/>
                  <a:gd name="T13" fmla="*/ 100 h 142"/>
                  <a:gd name="T14" fmla="*/ 78 w 132"/>
                  <a:gd name="T15" fmla="*/ 106 h 142"/>
                  <a:gd name="T16" fmla="*/ 73 w 132"/>
                  <a:gd name="T17" fmla="*/ 127 h 142"/>
                  <a:gd name="T18" fmla="*/ 69 w 132"/>
                  <a:gd name="T19" fmla="*/ 140 h 142"/>
                  <a:gd name="T20" fmla="*/ 114 w 132"/>
                  <a:gd name="T21" fmla="*/ 141 h 142"/>
                  <a:gd name="T22" fmla="*/ 115 w 132"/>
                  <a:gd name="T23" fmla="*/ 133 h 142"/>
                  <a:gd name="T24" fmla="*/ 124 w 132"/>
                  <a:gd name="T25" fmla="*/ 127 h 142"/>
                  <a:gd name="T26" fmla="*/ 131 w 132"/>
                  <a:gd name="T27" fmla="*/ 116 h 142"/>
                  <a:gd name="T28" fmla="*/ 128 w 132"/>
                  <a:gd name="T29" fmla="*/ 112 h 142"/>
                  <a:gd name="T30" fmla="*/ 126 w 132"/>
                  <a:gd name="T31" fmla="*/ 75 h 142"/>
                  <a:gd name="T32" fmla="*/ 114 w 132"/>
                  <a:gd name="T33" fmla="*/ 74 h 142"/>
                  <a:gd name="T34" fmla="*/ 112 w 132"/>
                  <a:gd name="T35" fmla="*/ 57 h 142"/>
                  <a:gd name="T36" fmla="*/ 99 w 132"/>
                  <a:gd name="T37" fmla="*/ 57 h 142"/>
                  <a:gd name="T38" fmla="*/ 91 w 132"/>
                  <a:gd name="T39" fmla="*/ 53 h 142"/>
                  <a:gd name="T40" fmla="*/ 88 w 132"/>
                  <a:gd name="T41" fmla="*/ 46 h 142"/>
                  <a:gd name="T42" fmla="*/ 74 w 132"/>
                  <a:gd name="T43" fmla="*/ 43 h 142"/>
                  <a:gd name="T44" fmla="*/ 74 w 132"/>
                  <a:gd name="T45" fmla="*/ 31 h 142"/>
                  <a:gd name="T46" fmla="*/ 63 w 132"/>
                  <a:gd name="T47" fmla="*/ 28 h 142"/>
                  <a:gd name="T48" fmla="*/ 62 w 132"/>
                  <a:gd name="T49" fmla="*/ 17 h 142"/>
                  <a:gd name="T50" fmla="*/ 55 w 132"/>
                  <a:gd name="T51" fmla="*/ 6 h 142"/>
                  <a:gd name="T52" fmla="*/ 38 w 132"/>
                  <a:gd name="T53" fmla="*/ 0 h 142"/>
                  <a:gd name="T54" fmla="*/ 27 w 132"/>
                  <a:gd name="T55" fmla="*/ 8 h 142"/>
                  <a:gd name="T56" fmla="*/ 11 w 132"/>
                  <a:gd name="T57" fmla="*/ 15 h 142"/>
                  <a:gd name="T58" fmla="*/ 6 w 132"/>
                  <a:gd name="T59" fmla="*/ 28 h 142"/>
                  <a:gd name="T60" fmla="*/ 0 w 132"/>
                  <a:gd name="T61" fmla="*/ 52 h 142"/>
                  <a:gd name="T62" fmla="*/ 9 w 132"/>
                  <a:gd name="T63" fmla="*/ 62 h 142"/>
                  <a:gd name="T64" fmla="*/ 23 w 132"/>
                  <a:gd name="T65" fmla="*/ 6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2" h="142">
                    <a:moveTo>
                      <a:pt x="23" y="68"/>
                    </a:moveTo>
                    <a:lnTo>
                      <a:pt x="27" y="75"/>
                    </a:lnTo>
                    <a:lnTo>
                      <a:pt x="36" y="79"/>
                    </a:lnTo>
                    <a:lnTo>
                      <a:pt x="44" y="86"/>
                    </a:lnTo>
                    <a:lnTo>
                      <a:pt x="48" y="95"/>
                    </a:lnTo>
                    <a:lnTo>
                      <a:pt x="69" y="98"/>
                    </a:lnTo>
                    <a:lnTo>
                      <a:pt x="74" y="100"/>
                    </a:lnTo>
                    <a:lnTo>
                      <a:pt x="78" y="106"/>
                    </a:lnTo>
                    <a:lnTo>
                      <a:pt x="73" y="127"/>
                    </a:lnTo>
                    <a:lnTo>
                      <a:pt x="69" y="140"/>
                    </a:lnTo>
                    <a:lnTo>
                      <a:pt x="114" y="141"/>
                    </a:lnTo>
                    <a:lnTo>
                      <a:pt x="115" y="133"/>
                    </a:lnTo>
                    <a:lnTo>
                      <a:pt x="124" y="127"/>
                    </a:lnTo>
                    <a:lnTo>
                      <a:pt x="131" y="116"/>
                    </a:lnTo>
                    <a:lnTo>
                      <a:pt x="128" y="112"/>
                    </a:lnTo>
                    <a:lnTo>
                      <a:pt x="126" y="75"/>
                    </a:lnTo>
                    <a:lnTo>
                      <a:pt x="114" y="74"/>
                    </a:lnTo>
                    <a:lnTo>
                      <a:pt x="112" y="57"/>
                    </a:lnTo>
                    <a:lnTo>
                      <a:pt x="99" y="57"/>
                    </a:lnTo>
                    <a:lnTo>
                      <a:pt x="91" y="53"/>
                    </a:lnTo>
                    <a:lnTo>
                      <a:pt x="88" y="46"/>
                    </a:lnTo>
                    <a:lnTo>
                      <a:pt x="74" y="43"/>
                    </a:lnTo>
                    <a:lnTo>
                      <a:pt x="74" y="31"/>
                    </a:lnTo>
                    <a:lnTo>
                      <a:pt x="63" y="28"/>
                    </a:lnTo>
                    <a:lnTo>
                      <a:pt x="62" y="17"/>
                    </a:lnTo>
                    <a:lnTo>
                      <a:pt x="55" y="6"/>
                    </a:lnTo>
                    <a:lnTo>
                      <a:pt x="38" y="0"/>
                    </a:lnTo>
                    <a:lnTo>
                      <a:pt x="27" y="8"/>
                    </a:lnTo>
                    <a:lnTo>
                      <a:pt x="11" y="15"/>
                    </a:lnTo>
                    <a:lnTo>
                      <a:pt x="6" y="28"/>
                    </a:lnTo>
                    <a:lnTo>
                      <a:pt x="0" y="52"/>
                    </a:lnTo>
                    <a:lnTo>
                      <a:pt x="9" y="62"/>
                    </a:lnTo>
                    <a:lnTo>
                      <a:pt x="23" y="68"/>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51" name="Freeform 52">
                <a:extLst>
                  <a:ext uri="{FF2B5EF4-FFF2-40B4-BE49-F238E27FC236}">
                    <a16:creationId xmlns:a16="http://schemas.microsoft.com/office/drawing/2014/main" id="{E2CF21EC-A817-ED7A-230A-DA3DB33DAD0B}"/>
                  </a:ext>
                </a:extLst>
              </p:cNvPr>
              <p:cNvSpPr>
                <a:spLocks/>
              </p:cNvSpPr>
              <p:nvPr/>
            </p:nvSpPr>
            <p:spPr bwMode="auto">
              <a:xfrm>
                <a:off x="3116075" y="3595456"/>
                <a:ext cx="54495" cy="29352"/>
              </a:xfrm>
              <a:custGeom>
                <a:avLst/>
                <a:gdLst>
                  <a:gd name="T0" fmla="*/ 8 w 34"/>
                  <a:gd name="T1" fmla="*/ 0 h 18"/>
                  <a:gd name="T2" fmla="*/ 19 w 34"/>
                  <a:gd name="T3" fmla="*/ 0 h 18"/>
                  <a:gd name="T4" fmla="*/ 33 w 34"/>
                  <a:gd name="T5" fmla="*/ 6 h 18"/>
                  <a:gd name="T6" fmla="*/ 29 w 34"/>
                  <a:gd name="T7" fmla="*/ 16 h 18"/>
                  <a:gd name="T8" fmla="*/ 11 w 34"/>
                  <a:gd name="T9" fmla="*/ 17 h 18"/>
                  <a:gd name="T10" fmla="*/ 0 w 34"/>
                  <a:gd name="T11" fmla="*/ 9 h 18"/>
                  <a:gd name="T12" fmla="*/ 8 w 34"/>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8" y="0"/>
                    </a:moveTo>
                    <a:lnTo>
                      <a:pt x="19" y="0"/>
                    </a:lnTo>
                    <a:lnTo>
                      <a:pt x="33" y="6"/>
                    </a:lnTo>
                    <a:lnTo>
                      <a:pt x="29" y="16"/>
                    </a:lnTo>
                    <a:lnTo>
                      <a:pt x="11" y="17"/>
                    </a:lnTo>
                    <a:lnTo>
                      <a:pt x="0" y="9"/>
                    </a:lnTo>
                    <a:lnTo>
                      <a:pt x="8" y="0"/>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52" name="Freeform 53">
                <a:extLst>
                  <a:ext uri="{FF2B5EF4-FFF2-40B4-BE49-F238E27FC236}">
                    <a16:creationId xmlns:a16="http://schemas.microsoft.com/office/drawing/2014/main" id="{B27C1E18-7047-390C-4C82-86957F5900D8}"/>
                  </a:ext>
                </a:extLst>
              </p:cNvPr>
              <p:cNvSpPr>
                <a:spLocks/>
              </p:cNvSpPr>
              <p:nvPr/>
            </p:nvSpPr>
            <p:spPr bwMode="auto">
              <a:xfrm>
                <a:off x="3259998" y="3557718"/>
                <a:ext cx="90825" cy="62898"/>
              </a:xfrm>
              <a:custGeom>
                <a:avLst/>
                <a:gdLst>
                  <a:gd name="T0" fmla="*/ 0 w 57"/>
                  <a:gd name="T1" fmla="*/ 40 h 41"/>
                  <a:gd name="T2" fmla="*/ 5 w 57"/>
                  <a:gd name="T3" fmla="*/ 29 h 41"/>
                  <a:gd name="T4" fmla="*/ 5 w 57"/>
                  <a:gd name="T5" fmla="*/ 8 h 41"/>
                  <a:gd name="T6" fmla="*/ 5 w 57"/>
                  <a:gd name="T7" fmla="*/ 0 h 41"/>
                  <a:gd name="T8" fmla="*/ 18 w 57"/>
                  <a:gd name="T9" fmla="*/ 2 h 41"/>
                  <a:gd name="T10" fmla="*/ 23 w 57"/>
                  <a:gd name="T11" fmla="*/ 9 h 41"/>
                  <a:gd name="T12" fmla="*/ 29 w 57"/>
                  <a:gd name="T13" fmla="*/ 11 h 41"/>
                  <a:gd name="T14" fmla="*/ 36 w 57"/>
                  <a:gd name="T15" fmla="*/ 11 h 41"/>
                  <a:gd name="T16" fmla="*/ 39 w 57"/>
                  <a:gd name="T17" fmla="*/ 20 h 41"/>
                  <a:gd name="T18" fmla="*/ 47 w 57"/>
                  <a:gd name="T19" fmla="*/ 24 h 41"/>
                  <a:gd name="T20" fmla="*/ 56 w 57"/>
                  <a:gd name="T21" fmla="*/ 31 h 41"/>
                  <a:gd name="T22" fmla="*/ 53 w 57"/>
                  <a:gd name="T23" fmla="*/ 37 h 41"/>
                  <a:gd name="T24" fmla="*/ 40 w 57"/>
                  <a:gd name="T25" fmla="*/ 38 h 41"/>
                  <a:gd name="T26" fmla="*/ 18 w 57"/>
                  <a:gd name="T27" fmla="*/ 37 h 41"/>
                  <a:gd name="T28" fmla="*/ 0 w 57"/>
                  <a:gd name="T29"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 h="41">
                    <a:moveTo>
                      <a:pt x="0" y="40"/>
                    </a:moveTo>
                    <a:lnTo>
                      <a:pt x="5" y="29"/>
                    </a:lnTo>
                    <a:lnTo>
                      <a:pt x="5" y="8"/>
                    </a:lnTo>
                    <a:lnTo>
                      <a:pt x="5" y="0"/>
                    </a:lnTo>
                    <a:lnTo>
                      <a:pt x="18" y="2"/>
                    </a:lnTo>
                    <a:lnTo>
                      <a:pt x="23" y="9"/>
                    </a:lnTo>
                    <a:lnTo>
                      <a:pt x="29" y="11"/>
                    </a:lnTo>
                    <a:lnTo>
                      <a:pt x="36" y="11"/>
                    </a:lnTo>
                    <a:lnTo>
                      <a:pt x="39" y="20"/>
                    </a:lnTo>
                    <a:lnTo>
                      <a:pt x="47" y="24"/>
                    </a:lnTo>
                    <a:lnTo>
                      <a:pt x="56" y="31"/>
                    </a:lnTo>
                    <a:lnTo>
                      <a:pt x="53" y="37"/>
                    </a:lnTo>
                    <a:lnTo>
                      <a:pt x="40" y="38"/>
                    </a:lnTo>
                    <a:lnTo>
                      <a:pt x="18" y="37"/>
                    </a:lnTo>
                    <a:lnTo>
                      <a:pt x="0" y="40"/>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53" name="Freeform 54">
                <a:extLst>
                  <a:ext uri="{FF2B5EF4-FFF2-40B4-BE49-F238E27FC236}">
                    <a16:creationId xmlns:a16="http://schemas.microsoft.com/office/drawing/2014/main" id="{E3708E73-E446-6EAF-5B3D-7149A7C2C665}"/>
                  </a:ext>
                </a:extLst>
              </p:cNvPr>
              <p:cNvSpPr>
                <a:spLocks/>
              </p:cNvSpPr>
              <p:nvPr/>
            </p:nvSpPr>
            <p:spPr bwMode="auto">
              <a:xfrm>
                <a:off x="3366193" y="3599648"/>
                <a:ext cx="36330" cy="25159"/>
              </a:xfrm>
              <a:custGeom>
                <a:avLst/>
                <a:gdLst>
                  <a:gd name="T0" fmla="*/ 8 w 23"/>
                  <a:gd name="T1" fmla="*/ 2 h 16"/>
                  <a:gd name="T2" fmla="*/ 0 w 23"/>
                  <a:gd name="T3" fmla="*/ 7 h 16"/>
                  <a:gd name="T4" fmla="*/ 6 w 23"/>
                  <a:gd name="T5" fmla="*/ 11 h 16"/>
                  <a:gd name="T6" fmla="*/ 14 w 23"/>
                  <a:gd name="T7" fmla="*/ 15 h 16"/>
                  <a:gd name="T8" fmla="*/ 22 w 23"/>
                  <a:gd name="T9" fmla="*/ 11 h 16"/>
                  <a:gd name="T10" fmla="*/ 22 w 23"/>
                  <a:gd name="T11" fmla="*/ 0 h 16"/>
                  <a:gd name="T12" fmla="*/ 8 w 23"/>
                  <a:gd name="T13" fmla="*/ 2 h 16"/>
                </a:gdLst>
                <a:ahLst/>
                <a:cxnLst>
                  <a:cxn ang="0">
                    <a:pos x="T0" y="T1"/>
                  </a:cxn>
                  <a:cxn ang="0">
                    <a:pos x="T2" y="T3"/>
                  </a:cxn>
                  <a:cxn ang="0">
                    <a:pos x="T4" y="T5"/>
                  </a:cxn>
                  <a:cxn ang="0">
                    <a:pos x="T6" y="T7"/>
                  </a:cxn>
                  <a:cxn ang="0">
                    <a:pos x="T8" y="T9"/>
                  </a:cxn>
                  <a:cxn ang="0">
                    <a:pos x="T10" y="T11"/>
                  </a:cxn>
                  <a:cxn ang="0">
                    <a:pos x="T12" y="T13"/>
                  </a:cxn>
                </a:cxnLst>
                <a:rect l="0" t="0" r="r" b="b"/>
                <a:pathLst>
                  <a:path w="23" h="16">
                    <a:moveTo>
                      <a:pt x="8" y="2"/>
                    </a:moveTo>
                    <a:lnTo>
                      <a:pt x="0" y="7"/>
                    </a:lnTo>
                    <a:lnTo>
                      <a:pt x="6" y="11"/>
                    </a:lnTo>
                    <a:lnTo>
                      <a:pt x="14" y="15"/>
                    </a:lnTo>
                    <a:lnTo>
                      <a:pt x="22" y="11"/>
                    </a:lnTo>
                    <a:lnTo>
                      <a:pt x="22" y="0"/>
                    </a:lnTo>
                    <a:lnTo>
                      <a:pt x="8" y="2"/>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54" name="Freeform 55">
                <a:extLst>
                  <a:ext uri="{FF2B5EF4-FFF2-40B4-BE49-F238E27FC236}">
                    <a16:creationId xmlns:a16="http://schemas.microsoft.com/office/drawing/2014/main" id="{1DAFA25D-2A7C-AD8C-F270-9C674796C74A}"/>
                  </a:ext>
                </a:extLst>
              </p:cNvPr>
              <p:cNvSpPr>
                <a:spLocks/>
              </p:cNvSpPr>
              <p:nvPr/>
            </p:nvSpPr>
            <p:spPr bwMode="auto">
              <a:xfrm>
                <a:off x="2800284" y="3624807"/>
                <a:ext cx="78250" cy="99238"/>
              </a:xfrm>
              <a:custGeom>
                <a:avLst/>
                <a:gdLst>
                  <a:gd name="T0" fmla="*/ 0 w 50"/>
                  <a:gd name="T1" fmla="*/ 49 h 63"/>
                  <a:gd name="T2" fmla="*/ 6 w 50"/>
                  <a:gd name="T3" fmla="*/ 31 h 63"/>
                  <a:gd name="T4" fmla="*/ 19 w 50"/>
                  <a:gd name="T5" fmla="*/ 28 h 63"/>
                  <a:gd name="T6" fmla="*/ 21 w 50"/>
                  <a:gd name="T7" fmla="*/ 9 h 63"/>
                  <a:gd name="T8" fmla="*/ 43 w 50"/>
                  <a:gd name="T9" fmla="*/ 0 h 63"/>
                  <a:gd name="T10" fmla="*/ 41 w 50"/>
                  <a:gd name="T11" fmla="*/ 20 h 63"/>
                  <a:gd name="T12" fmla="*/ 41 w 50"/>
                  <a:gd name="T13" fmla="*/ 34 h 63"/>
                  <a:gd name="T14" fmla="*/ 49 w 50"/>
                  <a:gd name="T15" fmla="*/ 35 h 63"/>
                  <a:gd name="T16" fmla="*/ 47 w 50"/>
                  <a:gd name="T17" fmla="*/ 48 h 63"/>
                  <a:gd name="T18" fmla="*/ 37 w 50"/>
                  <a:gd name="T19" fmla="*/ 48 h 63"/>
                  <a:gd name="T20" fmla="*/ 34 w 50"/>
                  <a:gd name="T21" fmla="*/ 62 h 63"/>
                  <a:gd name="T22" fmla="*/ 14 w 50"/>
                  <a:gd name="T23" fmla="*/ 61 h 63"/>
                  <a:gd name="T24" fmla="*/ 0 w 50"/>
                  <a:gd name="T25" fmla="*/ 4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63">
                    <a:moveTo>
                      <a:pt x="0" y="49"/>
                    </a:moveTo>
                    <a:lnTo>
                      <a:pt x="6" y="31"/>
                    </a:lnTo>
                    <a:lnTo>
                      <a:pt x="19" y="28"/>
                    </a:lnTo>
                    <a:lnTo>
                      <a:pt x="21" y="9"/>
                    </a:lnTo>
                    <a:lnTo>
                      <a:pt x="43" y="0"/>
                    </a:lnTo>
                    <a:lnTo>
                      <a:pt x="41" y="20"/>
                    </a:lnTo>
                    <a:lnTo>
                      <a:pt x="41" y="34"/>
                    </a:lnTo>
                    <a:lnTo>
                      <a:pt x="49" y="35"/>
                    </a:lnTo>
                    <a:lnTo>
                      <a:pt x="47" y="48"/>
                    </a:lnTo>
                    <a:lnTo>
                      <a:pt x="37" y="48"/>
                    </a:lnTo>
                    <a:lnTo>
                      <a:pt x="34" y="62"/>
                    </a:lnTo>
                    <a:lnTo>
                      <a:pt x="14" y="61"/>
                    </a:lnTo>
                    <a:lnTo>
                      <a:pt x="0" y="49"/>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55" name="Freeform 60">
                <a:extLst>
                  <a:ext uri="{FF2B5EF4-FFF2-40B4-BE49-F238E27FC236}">
                    <a16:creationId xmlns:a16="http://schemas.microsoft.com/office/drawing/2014/main" id="{3CE36E1D-39E5-A427-9136-5CD83AABF861}"/>
                  </a:ext>
                </a:extLst>
              </p:cNvPr>
              <p:cNvSpPr>
                <a:spLocks/>
              </p:cNvSpPr>
              <p:nvPr/>
            </p:nvSpPr>
            <p:spPr bwMode="auto">
              <a:xfrm>
                <a:off x="2865957" y="3608036"/>
                <a:ext cx="43316" cy="74080"/>
              </a:xfrm>
              <a:custGeom>
                <a:avLst/>
                <a:gdLst>
                  <a:gd name="T0" fmla="*/ 2 w 29"/>
                  <a:gd name="T1" fmla="*/ 13 h 48"/>
                  <a:gd name="T2" fmla="*/ 10 w 29"/>
                  <a:gd name="T3" fmla="*/ 10 h 48"/>
                  <a:gd name="T4" fmla="*/ 28 w 29"/>
                  <a:gd name="T5" fmla="*/ 0 h 48"/>
                  <a:gd name="T6" fmla="*/ 25 w 29"/>
                  <a:gd name="T7" fmla="*/ 19 h 48"/>
                  <a:gd name="T8" fmla="*/ 28 w 29"/>
                  <a:gd name="T9" fmla="*/ 39 h 48"/>
                  <a:gd name="T10" fmla="*/ 18 w 29"/>
                  <a:gd name="T11" fmla="*/ 46 h 48"/>
                  <a:gd name="T12" fmla="*/ 8 w 29"/>
                  <a:gd name="T13" fmla="*/ 47 h 48"/>
                  <a:gd name="T14" fmla="*/ 0 w 29"/>
                  <a:gd name="T15" fmla="*/ 45 h 48"/>
                  <a:gd name="T16" fmla="*/ 0 w 29"/>
                  <a:gd name="T17" fmla="*/ 32 h 48"/>
                  <a:gd name="T18" fmla="*/ 2 w 29"/>
                  <a:gd name="T19" fmla="*/ 1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48">
                    <a:moveTo>
                      <a:pt x="2" y="13"/>
                    </a:moveTo>
                    <a:lnTo>
                      <a:pt x="10" y="10"/>
                    </a:lnTo>
                    <a:lnTo>
                      <a:pt x="28" y="0"/>
                    </a:lnTo>
                    <a:lnTo>
                      <a:pt x="25" y="19"/>
                    </a:lnTo>
                    <a:lnTo>
                      <a:pt x="28" y="39"/>
                    </a:lnTo>
                    <a:lnTo>
                      <a:pt x="18" y="46"/>
                    </a:lnTo>
                    <a:lnTo>
                      <a:pt x="8" y="47"/>
                    </a:lnTo>
                    <a:lnTo>
                      <a:pt x="0" y="45"/>
                    </a:lnTo>
                    <a:lnTo>
                      <a:pt x="0" y="32"/>
                    </a:lnTo>
                    <a:lnTo>
                      <a:pt x="2" y="13"/>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56" name="Freeform 61">
                <a:extLst>
                  <a:ext uri="{FF2B5EF4-FFF2-40B4-BE49-F238E27FC236}">
                    <a16:creationId xmlns:a16="http://schemas.microsoft.com/office/drawing/2014/main" id="{F6A919D3-E174-DDC2-072C-8D1B8A1ADF91}"/>
                  </a:ext>
                </a:extLst>
              </p:cNvPr>
              <p:cNvSpPr>
                <a:spLocks/>
              </p:cNvSpPr>
              <p:nvPr/>
            </p:nvSpPr>
            <p:spPr bwMode="auto">
              <a:xfrm>
                <a:off x="2934425" y="3803716"/>
                <a:ext cx="76852" cy="47522"/>
              </a:xfrm>
              <a:custGeom>
                <a:avLst/>
                <a:gdLst>
                  <a:gd name="T0" fmla="*/ 33 w 49"/>
                  <a:gd name="T1" fmla="*/ 2 h 31"/>
                  <a:gd name="T2" fmla="*/ 1 w 49"/>
                  <a:gd name="T3" fmla="*/ 0 h 31"/>
                  <a:gd name="T4" fmla="*/ 0 w 49"/>
                  <a:gd name="T5" fmla="*/ 12 h 31"/>
                  <a:gd name="T6" fmla="*/ 7 w 49"/>
                  <a:gd name="T7" fmla="*/ 23 h 31"/>
                  <a:gd name="T8" fmla="*/ 35 w 49"/>
                  <a:gd name="T9" fmla="*/ 30 h 31"/>
                  <a:gd name="T10" fmla="*/ 48 w 49"/>
                  <a:gd name="T11" fmla="*/ 23 h 31"/>
                  <a:gd name="T12" fmla="*/ 47 w 49"/>
                  <a:gd name="T13" fmla="*/ 10 h 31"/>
                  <a:gd name="T14" fmla="*/ 33 w 49"/>
                  <a:gd name="T15" fmla="*/ 2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31">
                    <a:moveTo>
                      <a:pt x="33" y="2"/>
                    </a:moveTo>
                    <a:lnTo>
                      <a:pt x="1" y="0"/>
                    </a:lnTo>
                    <a:lnTo>
                      <a:pt x="0" y="12"/>
                    </a:lnTo>
                    <a:lnTo>
                      <a:pt x="7" y="23"/>
                    </a:lnTo>
                    <a:lnTo>
                      <a:pt x="35" y="30"/>
                    </a:lnTo>
                    <a:lnTo>
                      <a:pt x="48" y="23"/>
                    </a:lnTo>
                    <a:lnTo>
                      <a:pt x="47" y="10"/>
                    </a:lnTo>
                    <a:lnTo>
                      <a:pt x="33" y="2"/>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57" name="Freeform 62">
                <a:extLst>
                  <a:ext uri="{FF2B5EF4-FFF2-40B4-BE49-F238E27FC236}">
                    <a16:creationId xmlns:a16="http://schemas.microsoft.com/office/drawing/2014/main" id="{9243F989-2912-31D8-DB34-D5C3DC59A7A3}"/>
                  </a:ext>
                </a:extLst>
              </p:cNvPr>
              <p:cNvSpPr>
                <a:spLocks/>
              </p:cNvSpPr>
              <p:nvPr/>
            </p:nvSpPr>
            <p:spPr bwMode="auto">
              <a:xfrm>
                <a:off x="3216681" y="3763182"/>
                <a:ext cx="299023" cy="300510"/>
              </a:xfrm>
              <a:custGeom>
                <a:avLst/>
                <a:gdLst>
                  <a:gd name="T0" fmla="*/ 28 w 191"/>
                  <a:gd name="T1" fmla="*/ 6 h 193"/>
                  <a:gd name="T2" fmla="*/ 16 w 191"/>
                  <a:gd name="T3" fmla="*/ 19 h 193"/>
                  <a:gd name="T4" fmla="*/ 10 w 191"/>
                  <a:gd name="T5" fmla="*/ 42 h 193"/>
                  <a:gd name="T6" fmla="*/ 0 w 191"/>
                  <a:gd name="T7" fmla="*/ 49 h 193"/>
                  <a:gd name="T8" fmla="*/ 13 w 191"/>
                  <a:gd name="T9" fmla="*/ 67 h 193"/>
                  <a:gd name="T10" fmla="*/ 9 w 191"/>
                  <a:gd name="T11" fmla="*/ 84 h 193"/>
                  <a:gd name="T12" fmla="*/ 36 w 191"/>
                  <a:gd name="T13" fmla="*/ 85 h 193"/>
                  <a:gd name="T14" fmla="*/ 36 w 191"/>
                  <a:gd name="T15" fmla="*/ 95 h 193"/>
                  <a:gd name="T16" fmla="*/ 58 w 191"/>
                  <a:gd name="T17" fmla="*/ 105 h 193"/>
                  <a:gd name="T18" fmla="*/ 80 w 191"/>
                  <a:gd name="T19" fmla="*/ 112 h 193"/>
                  <a:gd name="T20" fmla="*/ 80 w 191"/>
                  <a:gd name="T21" fmla="*/ 140 h 193"/>
                  <a:gd name="T22" fmla="*/ 75 w 191"/>
                  <a:gd name="T23" fmla="*/ 159 h 193"/>
                  <a:gd name="T24" fmla="*/ 77 w 191"/>
                  <a:gd name="T25" fmla="*/ 173 h 193"/>
                  <a:gd name="T26" fmla="*/ 87 w 191"/>
                  <a:gd name="T27" fmla="*/ 176 h 193"/>
                  <a:gd name="T28" fmla="*/ 94 w 191"/>
                  <a:gd name="T29" fmla="*/ 186 h 193"/>
                  <a:gd name="T30" fmla="*/ 105 w 191"/>
                  <a:gd name="T31" fmla="*/ 192 h 193"/>
                  <a:gd name="T32" fmla="*/ 120 w 191"/>
                  <a:gd name="T33" fmla="*/ 189 h 193"/>
                  <a:gd name="T34" fmla="*/ 132 w 191"/>
                  <a:gd name="T35" fmla="*/ 180 h 193"/>
                  <a:gd name="T36" fmla="*/ 131 w 191"/>
                  <a:gd name="T37" fmla="*/ 169 h 193"/>
                  <a:gd name="T38" fmla="*/ 122 w 191"/>
                  <a:gd name="T39" fmla="*/ 162 h 193"/>
                  <a:gd name="T40" fmla="*/ 120 w 191"/>
                  <a:gd name="T41" fmla="*/ 154 h 193"/>
                  <a:gd name="T42" fmla="*/ 124 w 191"/>
                  <a:gd name="T43" fmla="*/ 140 h 193"/>
                  <a:gd name="T44" fmla="*/ 130 w 191"/>
                  <a:gd name="T45" fmla="*/ 139 h 193"/>
                  <a:gd name="T46" fmla="*/ 143 w 191"/>
                  <a:gd name="T47" fmla="*/ 150 h 193"/>
                  <a:gd name="T48" fmla="*/ 150 w 191"/>
                  <a:gd name="T49" fmla="*/ 145 h 193"/>
                  <a:gd name="T50" fmla="*/ 176 w 191"/>
                  <a:gd name="T51" fmla="*/ 143 h 193"/>
                  <a:gd name="T52" fmla="*/ 179 w 191"/>
                  <a:gd name="T53" fmla="*/ 134 h 193"/>
                  <a:gd name="T54" fmla="*/ 179 w 191"/>
                  <a:gd name="T55" fmla="*/ 123 h 193"/>
                  <a:gd name="T56" fmla="*/ 172 w 191"/>
                  <a:gd name="T57" fmla="*/ 114 h 193"/>
                  <a:gd name="T58" fmla="*/ 173 w 191"/>
                  <a:gd name="T59" fmla="*/ 100 h 193"/>
                  <a:gd name="T60" fmla="*/ 182 w 191"/>
                  <a:gd name="T61" fmla="*/ 92 h 193"/>
                  <a:gd name="T62" fmla="*/ 184 w 191"/>
                  <a:gd name="T63" fmla="*/ 85 h 193"/>
                  <a:gd name="T64" fmla="*/ 190 w 191"/>
                  <a:gd name="T65" fmla="*/ 79 h 193"/>
                  <a:gd name="T66" fmla="*/ 190 w 191"/>
                  <a:gd name="T67" fmla="*/ 64 h 193"/>
                  <a:gd name="T68" fmla="*/ 184 w 191"/>
                  <a:gd name="T69" fmla="*/ 61 h 193"/>
                  <a:gd name="T70" fmla="*/ 179 w 191"/>
                  <a:gd name="T71" fmla="*/ 47 h 193"/>
                  <a:gd name="T72" fmla="*/ 172 w 191"/>
                  <a:gd name="T73" fmla="*/ 39 h 193"/>
                  <a:gd name="T74" fmla="*/ 176 w 191"/>
                  <a:gd name="T75" fmla="*/ 35 h 193"/>
                  <a:gd name="T76" fmla="*/ 176 w 191"/>
                  <a:gd name="T77" fmla="*/ 28 h 193"/>
                  <a:gd name="T78" fmla="*/ 154 w 191"/>
                  <a:gd name="T79" fmla="*/ 27 h 193"/>
                  <a:gd name="T80" fmla="*/ 137 w 191"/>
                  <a:gd name="T81" fmla="*/ 30 h 193"/>
                  <a:gd name="T82" fmla="*/ 128 w 191"/>
                  <a:gd name="T83" fmla="*/ 37 h 193"/>
                  <a:gd name="T84" fmla="*/ 117 w 191"/>
                  <a:gd name="T85" fmla="*/ 35 h 193"/>
                  <a:gd name="T86" fmla="*/ 86 w 191"/>
                  <a:gd name="T87" fmla="*/ 33 h 193"/>
                  <a:gd name="T88" fmla="*/ 83 w 191"/>
                  <a:gd name="T89" fmla="*/ 25 h 193"/>
                  <a:gd name="T90" fmla="*/ 75 w 191"/>
                  <a:gd name="T91" fmla="*/ 22 h 193"/>
                  <a:gd name="T92" fmla="*/ 62 w 191"/>
                  <a:gd name="T93" fmla="*/ 18 h 193"/>
                  <a:gd name="T94" fmla="*/ 59 w 191"/>
                  <a:gd name="T95" fmla="*/ 9 h 193"/>
                  <a:gd name="T96" fmla="*/ 48 w 191"/>
                  <a:gd name="T97" fmla="*/ 6 h 193"/>
                  <a:gd name="T98" fmla="*/ 48 w 191"/>
                  <a:gd name="T99" fmla="*/ 0 h 193"/>
                  <a:gd name="T100" fmla="*/ 43 w 191"/>
                  <a:gd name="T101" fmla="*/ 6 h 193"/>
                  <a:gd name="T102" fmla="*/ 28 w 191"/>
                  <a:gd name="T103" fmla="*/ 6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1" h="193">
                    <a:moveTo>
                      <a:pt x="28" y="6"/>
                    </a:moveTo>
                    <a:lnTo>
                      <a:pt x="16" y="19"/>
                    </a:lnTo>
                    <a:lnTo>
                      <a:pt x="10" y="42"/>
                    </a:lnTo>
                    <a:lnTo>
                      <a:pt x="0" y="49"/>
                    </a:lnTo>
                    <a:lnTo>
                      <a:pt x="13" y="67"/>
                    </a:lnTo>
                    <a:lnTo>
                      <a:pt x="9" y="84"/>
                    </a:lnTo>
                    <a:lnTo>
                      <a:pt x="36" y="85"/>
                    </a:lnTo>
                    <a:lnTo>
                      <a:pt x="36" y="95"/>
                    </a:lnTo>
                    <a:lnTo>
                      <a:pt x="58" y="105"/>
                    </a:lnTo>
                    <a:lnTo>
                      <a:pt x="80" y="112"/>
                    </a:lnTo>
                    <a:lnTo>
                      <a:pt x="80" y="140"/>
                    </a:lnTo>
                    <a:lnTo>
                      <a:pt x="75" y="159"/>
                    </a:lnTo>
                    <a:lnTo>
                      <a:pt x="77" y="173"/>
                    </a:lnTo>
                    <a:lnTo>
                      <a:pt x="87" y="176"/>
                    </a:lnTo>
                    <a:lnTo>
                      <a:pt x="94" y="186"/>
                    </a:lnTo>
                    <a:lnTo>
                      <a:pt x="105" y="192"/>
                    </a:lnTo>
                    <a:lnTo>
                      <a:pt x="120" y="189"/>
                    </a:lnTo>
                    <a:lnTo>
                      <a:pt x="132" y="180"/>
                    </a:lnTo>
                    <a:lnTo>
                      <a:pt x="131" y="169"/>
                    </a:lnTo>
                    <a:lnTo>
                      <a:pt x="122" y="162"/>
                    </a:lnTo>
                    <a:lnTo>
                      <a:pt x="120" y="154"/>
                    </a:lnTo>
                    <a:lnTo>
                      <a:pt x="124" y="140"/>
                    </a:lnTo>
                    <a:lnTo>
                      <a:pt x="130" y="139"/>
                    </a:lnTo>
                    <a:lnTo>
                      <a:pt x="143" y="150"/>
                    </a:lnTo>
                    <a:lnTo>
                      <a:pt x="150" y="145"/>
                    </a:lnTo>
                    <a:lnTo>
                      <a:pt x="176" y="143"/>
                    </a:lnTo>
                    <a:lnTo>
                      <a:pt x="179" y="134"/>
                    </a:lnTo>
                    <a:lnTo>
                      <a:pt x="179" y="123"/>
                    </a:lnTo>
                    <a:lnTo>
                      <a:pt x="172" y="114"/>
                    </a:lnTo>
                    <a:lnTo>
                      <a:pt x="173" y="100"/>
                    </a:lnTo>
                    <a:lnTo>
                      <a:pt x="182" y="92"/>
                    </a:lnTo>
                    <a:lnTo>
                      <a:pt x="184" y="85"/>
                    </a:lnTo>
                    <a:lnTo>
                      <a:pt x="190" y="79"/>
                    </a:lnTo>
                    <a:lnTo>
                      <a:pt x="190" y="64"/>
                    </a:lnTo>
                    <a:lnTo>
                      <a:pt x="184" y="61"/>
                    </a:lnTo>
                    <a:lnTo>
                      <a:pt x="179" y="47"/>
                    </a:lnTo>
                    <a:lnTo>
                      <a:pt x="172" y="39"/>
                    </a:lnTo>
                    <a:lnTo>
                      <a:pt x="176" y="35"/>
                    </a:lnTo>
                    <a:lnTo>
                      <a:pt x="176" y="28"/>
                    </a:lnTo>
                    <a:lnTo>
                      <a:pt x="154" y="27"/>
                    </a:lnTo>
                    <a:lnTo>
                      <a:pt x="137" y="30"/>
                    </a:lnTo>
                    <a:lnTo>
                      <a:pt x="128" y="37"/>
                    </a:lnTo>
                    <a:lnTo>
                      <a:pt x="117" y="35"/>
                    </a:lnTo>
                    <a:lnTo>
                      <a:pt x="86" y="33"/>
                    </a:lnTo>
                    <a:lnTo>
                      <a:pt x="83" y="25"/>
                    </a:lnTo>
                    <a:lnTo>
                      <a:pt x="75" y="22"/>
                    </a:lnTo>
                    <a:lnTo>
                      <a:pt x="62" y="18"/>
                    </a:lnTo>
                    <a:lnTo>
                      <a:pt x="59" y="9"/>
                    </a:lnTo>
                    <a:lnTo>
                      <a:pt x="48" y="6"/>
                    </a:lnTo>
                    <a:lnTo>
                      <a:pt x="48" y="0"/>
                    </a:lnTo>
                    <a:lnTo>
                      <a:pt x="43" y="6"/>
                    </a:lnTo>
                    <a:lnTo>
                      <a:pt x="28" y="6"/>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58" name="Freeform 63">
                <a:extLst>
                  <a:ext uri="{FF2B5EF4-FFF2-40B4-BE49-F238E27FC236}">
                    <a16:creationId xmlns:a16="http://schemas.microsoft.com/office/drawing/2014/main" id="{76DA3C05-542C-FC31-FE2B-E99AD94CEE2D}"/>
                  </a:ext>
                </a:extLst>
              </p:cNvPr>
              <p:cNvSpPr>
                <a:spLocks/>
              </p:cNvSpPr>
              <p:nvPr/>
            </p:nvSpPr>
            <p:spPr bwMode="auto">
              <a:xfrm>
                <a:off x="3582776" y="4872976"/>
                <a:ext cx="124360" cy="139772"/>
              </a:xfrm>
              <a:custGeom>
                <a:avLst/>
                <a:gdLst>
                  <a:gd name="T0" fmla="*/ 19 w 80"/>
                  <a:gd name="T1" fmla="*/ 0 h 88"/>
                  <a:gd name="T2" fmla="*/ 25 w 80"/>
                  <a:gd name="T3" fmla="*/ 8 h 88"/>
                  <a:gd name="T4" fmla="*/ 39 w 80"/>
                  <a:gd name="T5" fmla="*/ 13 h 88"/>
                  <a:gd name="T6" fmla="*/ 70 w 80"/>
                  <a:gd name="T7" fmla="*/ 42 h 88"/>
                  <a:gd name="T8" fmla="*/ 76 w 80"/>
                  <a:gd name="T9" fmla="*/ 53 h 88"/>
                  <a:gd name="T10" fmla="*/ 79 w 80"/>
                  <a:gd name="T11" fmla="*/ 65 h 88"/>
                  <a:gd name="T12" fmla="*/ 70 w 80"/>
                  <a:gd name="T13" fmla="*/ 71 h 88"/>
                  <a:gd name="T14" fmla="*/ 66 w 80"/>
                  <a:gd name="T15" fmla="*/ 75 h 88"/>
                  <a:gd name="T16" fmla="*/ 64 w 80"/>
                  <a:gd name="T17" fmla="*/ 81 h 88"/>
                  <a:gd name="T18" fmla="*/ 53 w 80"/>
                  <a:gd name="T19" fmla="*/ 83 h 88"/>
                  <a:gd name="T20" fmla="*/ 50 w 80"/>
                  <a:gd name="T21" fmla="*/ 87 h 88"/>
                  <a:gd name="T22" fmla="*/ 44 w 80"/>
                  <a:gd name="T23" fmla="*/ 84 h 88"/>
                  <a:gd name="T24" fmla="*/ 29 w 80"/>
                  <a:gd name="T25" fmla="*/ 78 h 88"/>
                  <a:gd name="T26" fmla="*/ 18 w 80"/>
                  <a:gd name="T27" fmla="*/ 72 h 88"/>
                  <a:gd name="T28" fmla="*/ 12 w 80"/>
                  <a:gd name="T29" fmla="*/ 78 h 88"/>
                  <a:gd name="T30" fmla="*/ 6 w 80"/>
                  <a:gd name="T31" fmla="*/ 81 h 88"/>
                  <a:gd name="T32" fmla="*/ 2 w 80"/>
                  <a:gd name="T33" fmla="*/ 64 h 88"/>
                  <a:gd name="T34" fmla="*/ 0 w 80"/>
                  <a:gd name="T35" fmla="*/ 40 h 88"/>
                  <a:gd name="T36" fmla="*/ 3 w 80"/>
                  <a:gd name="T37" fmla="*/ 24 h 88"/>
                  <a:gd name="T38" fmla="*/ 11 w 80"/>
                  <a:gd name="T39" fmla="*/ 10 h 88"/>
                  <a:gd name="T40" fmla="*/ 19 w 80"/>
                  <a:gd name="T41"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88">
                    <a:moveTo>
                      <a:pt x="19" y="0"/>
                    </a:moveTo>
                    <a:lnTo>
                      <a:pt x="25" y="8"/>
                    </a:lnTo>
                    <a:lnTo>
                      <a:pt x="39" y="13"/>
                    </a:lnTo>
                    <a:lnTo>
                      <a:pt x="70" y="42"/>
                    </a:lnTo>
                    <a:lnTo>
                      <a:pt x="76" y="53"/>
                    </a:lnTo>
                    <a:lnTo>
                      <a:pt x="79" y="65"/>
                    </a:lnTo>
                    <a:lnTo>
                      <a:pt x="70" y="71"/>
                    </a:lnTo>
                    <a:lnTo>
                      <a:pt x="66" y="75"/>
                    </a:lnTo>
                    <a:lnTo>
                      <a:pt x="64" y="81"/>
                    </a:lnTo>
                    <a:lnTo>
                      <a:pt x="53" y="83"/>
                    </a:lnTo>
                    <a:lnTo>
                      <a:pt x="50" y="87"/>
                    </a:lnTo>
                    <a:lnTo>
                      <a:pt x="44" y="84"/>
                    </a:lnTo>
                    <a:lnTo>
                      <a:pt x="29" y="78"/>
                    </a:lnTo>
                    <a:lnTo>
                      <a:pt x="18" y="72"/>
                    </a:lnTo>
                    <a:lnTo>
                      <a:pt x="12" y="78"/>
                    </a:lnTo>
                    <a:lnTo>
                      <a:pt x="6" y="81"/>
                    </a:lnTo>
                    <a:lnTo>
                      <a:pt x="2" y="64"/>
                    </a:lnTo>
                    <a:lnTo>
                      <a:pt x="0" y="40"/>
                    </a:lnTo>
                    <a:lnTo>
                      <a:pt x="3" y="24"/>
                    </a:lnTo>
                    <a:lnTo>
                      <a:pt x="11" y="10"/>
                    </a:lnTo>
                    <a:lnTo>
                      <a:pt x="19" y="0"/>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59" name="Freeform 64">
                <a:extLst>
                  <a:ext uri="{FF2B5EF4-FFF2-40B4-BE49-F238E27FC236}">
                    <a16:creationId xmlns:a16="http://schemas.microsoft.com/office/drawing/2014/main" id="{1830753D-FA2E-D372-775F-880FFDFFDF5E}"/>
                  </a:ext>
                </a:extLst>
              </p:cNvPr>
              <p:cNvSpPr>
                <a:spLocks/>
              </p:cNvSpPr>
              <p:nvPr/>
            </p:nvSpPr>
            <p:spPr bwMode="auto">
              <a:xfrm>
                <a:off x="3306108" y="4340443"/>
                <a:ext cx="278064" cy="348033"/>
              </a:xfrm>
              <a:custGeom>
                <a:avLst/>
                <a:gdLst>
                  <a:gd name="T0" fmla="*/ 162 w 177"/>
                  <a:gd name="T1" fmla="*/ 170 h 222"/>
                  <a:gd name="T2" fmla="*/ 169 w 177"/>
                  <a:gd name="T3" fmla="*/ 169 h 222"/>
                  <a:gd name="T4" fmla="*/ 174 w 177"/>
                  <a:gd name="T5" fmla="*/ 159 h 222"/>
                  <a:gd name="T6" fmla="*/ 176 w 177"/>
                  <a:gd name="T7" fmla="*/ 141 h 222"/>
                  <a:gd name="T8" fmla="*/ 171 w 177"/>
                  <a:gd name="T9" fmla="*/ 137 h 222"/>
                  <a:gd name="T10" fmla="*/ 169 w 177"/>
                  <a:gd name="T11" fmla="*/ 126 h 222"/>
                  <a:gd name="T12" fmla="*/ 161 w 177"/>
                  <a:gd name="T13" fmla="*/ 124 h 222"/>
                  <a:gd name="T14" fmla="*/ 160 w 177"/>
                  <a:gd name="T15" fmla="*/ 113 h 222"/>
                  <a:gd name="T16" fmla="*/ 141 w 177"/>
                  <a:gd name="T17" fmla="*/ 114 h 222"/>
                  <a:gd name="T18" fmla="*/ 136 w 177"/>
                  <a:gd name="T19" fmla="*/ 108 h 222"/>
                  <a:gd name="T20" fmla="*/ 131 w 177"/>
                  <a:gd name="T21" fmla="*/ 108 h 222"/>
                  <a:gd name="T22" fmla="*/ 131 w 177"/>
                  <a:gd name="T23" fmla="*/ 87 h 222"/>
                  <a:gd name="T24" fmla="*/ 138 w 177"/>
                  <a:gd name="T25" fmla="*/ 81 h 222"/>
                  <a:gd name="T26" fmla="*/ 131 w 177"/>
                  <a:gd name="T27" fmla="*/ 80 h 222"/>
                  <a:gd name="T28" fmla="*/ 129 w 177"/>
                  <a:gd name="T29" fmla="*/ 66 h 222"/>
                  <a:gd name="T30" fmla="*/ 121 w 177"/>
                  <a:gd name="T31" fmla="*/ 64 h 222"/>
                  <a:gd name="T32" fmla="*/ 107 w 177"/>
                  <a:gd name="T33" fmla="*/ 62 h 222"/>
                  <a:gd name="T34" fmla="*/ 104 w 177"/>
                  <a:gd name="T35" fmla="*/ 53 h 222"/>
                  <a:gd name="T36" fmla="*/ 94 w 177"/>
                  <a:gd name="T37" fmla="*/ 51 h 222"/>
                  <a:gd name="T38" fmla="*/ 93 w 177"/>
                  <a:gd name="T39" fmla="*/ 47 h 222"/>
                  <a:gd name="T40" fmla="*/ 70 w 177"/>
                  <a:gd name="T41" fmla="*/ 47 h 222"/>
                  <a:gd name="T42" fmla="*/ 67 w 177"/>
                  <a:gd name="T43" fmla="*/ 42 h 222"/>
                  <a:gd name="T44" fmla="*/ 61 w 177"/>
                  <a:gd name="T45" fmla="*/ 32 h 222"/>
                  <a:gd name="T46" fmla="*/ 60 w 177"/>
                  <a:gd name="T47" fmla="*/ 3 h 222"/>
                  <a:gd name="T48" fmla="*/ 40 w 177"/>
                  <a:gd name="T49" fmla="*/ 0 h 222"/>
                  <a:gd name="T50" fmla="*/ 39 w 177"/>
                  <a:gd name="T51" fmla="*/ 11 h 222"/>
                  <a:gd name="T52" fmla="*/ 31 w 177"/>
                  <a:gd name="T53" fmla="*/ 10 h 222"/>
                  <a:gd name="T54" fmla="*/ 28 w 177"/>
                  <a:gd name="T55" fmla="*/ 17 h 222"/>
                  <a:gd name="T56" fmla="*/ 23 w 177"/>
                  <a:gd name="T57" fmla="*/ 21 h 222"/>
                  <a:gd name="T58" fmla="*/ 13 w 177"/>
                  <a:gd name="T59" fmla="*/ 25 h 222"/>
                  <a:gd name="T60" fmla="*/ 3 w 177"/>
                  <a:gd name="T61" fmla="*/ 24 h 222"/>
                  <a:gd name="T62" fmla="*/ 14 w 177"/>
                  <a:gd name="T63" fmla="*/ 41 h 222"/>
                  <a:gd name="T64" fmla="*/ 13 w 177"/>
                  <a:gd name="T65" fmla="*/ 55 h 222"/>
                  <a:gd name="T66" fmla="*/ 6 w 177"/>
                  <a:gd name="T67" fmla="*/ 61 h 222"/>
                  <a:gd name="T68" fmla="*/ 6 w 177"/>
                  <a:gd name="T69" fmla="*/ 80 h 222"/>
                  <a:gd name="T70" fmla="*/ 4 w 177"/>
                  <a:gd name="T71" fmla="*/ 106 h 222"/>
                  <a:gd name="T72" fmla="*/ 9 w 177"/>
                  <a:gd name="T73" fmla="*/ 114 h 222"/>
                  <a:gd name="T74" fmla="*/ 4 w 177"/>
                  <a:gd name="T75" fmla="*/ 116 h 222"/>
                  <a:gd name="T76" fmla="*/ 0 w 177"/>
                  <a:gd name="T77" fmla="*/ 128 h 222"/>
                  <a:gd name="T78" fmla="*/ 8 w 177"/>
                  <a:gd name="T79" fmla="*/ 135 h 222"/>
                  <a:gd name="T80" fmla="*/ 9 w 177"/>
                  <a:gd name="T81" fmla="*/ 151 h 222"/>
                  <a:gd name="T82" fmla="*/ 23 w 177"/>
                  <a:gd name="T83" fmla="*/ 163 h 222"/>
                  <a:gd name="T84" fmla="*/ 23 w 177"/>
                  <a:gd name="T85" fmla="*/ 195 h 222"/>
                  <a:gd name="T86" fmla="*/ 34 w 177"/>
                  <a:gd name="T87" fmla="*/ 214 h 222"/>
                  <a:gd name="T88" fmla="*/ 44 w 177"/>
                  <a:gd name="T89" fmla="*/ 221 h 222"/>
                  <a:gd name="T90" fmla="*/ 53 w 177"/>
                  <a:gd name="T91" fmla="*/ 202 h 222"/>
                  <a:gd name="T92" fmla="*/ 67 w 177"/>
                  <a:gd name="T93" fmla="*/ 213 h 222"/>
                  <a:gd name="T94" fmla="*/ 83 w 177"/>
                  <a:gd name="T95" fmla="*/ 219 h 222"/>
                  <a:gd name="T96" fmla="*/ 100 w 177"/>
                  <a:gd name="T97" fmla="*/ 206 h 222"/>
                  <a:gd name="T98" fmla="*/ 106 w 177"/>
                  <a:gd name="T99" fmla="*/ 181 h 222"/>
                  <a:gd name="T100" fmla="*/ 111 w 177"/>
                  <a:gd name="T101" fmla="*/ 169 h 222"/>
                  <a:gd name="T102" fmla="*/ 127 w 177"/>
                  <a:gd name="T103" fmla="*/ 162 h 222"/>
                  <a:gd name="T104" fmla="*/ 138 w 177"/>
                  <a:gd name="T105" fmla="*/ 153 h 222"/>
                  <a:gd name="T106" fmla="*/ 155 w 177"/>
                  <a:gd name="T107" fmla="*/ 159 h 222"/>
                  <a:gd name="T108" fmla="*/ 162 w 177"/>
                  <a:gd name="T109" fmla="*/ 17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7" h="222">
                    <a:moveTo>
                      <a:pt x="162" y="170"/>
                    </a:moveTo>
                    <a:lnTo>
                      <a:pt x="169" y="169"/>
                    </a:lnTo>
                    <a:lnTo>
                      <a:pt x="174" y="159"/>
                    </a:lnTo>
                    <a:lnTo>
                      <a:pt x="176" y="141"/>
                    </a:lnTo>
                    <a:lnTo>
                      <a:pt x="171" y="137"/>
                    </a:lnTo>
                    <a:lnTo>
                      <a:pt x="169" y="126"/>
                    </a:lnTo>
                    <a:lnTo>
                      <a:pt x="161" y="124"/>
                    </a:lnTo>
                    <a:lnTo>
                      <a:pt x="160" y="113"/>
                    </a:lnTo>
                    <a:lnTo>
                      <a:pt x="141" y="114"/>
                    </a:lnTo>
                    <a:lnTo>
                      <a:pt x="136" y="108"/>
                    </a:lnTo>
                    <a:lnTo>
                      <a:pt x="131" y="108"/>
                    </a:lnTo>
                    <a:lnTo>
                      <a:pt x="131" y="87"/>
                    </a:lnTo>
                    <a:lnTo>
                      <a:pt x="138" y="81"/>
                    </a:lnTo>
                    <a:lnTo>
                      <a:pt x="131" y="80"/>
                    </a:lnTo>
                    <a:lnTo>
                      <a:pt x="129" y="66"/>
                    </a:lnTo>
                    <a:lnTo>
                      <a:pt x="121" y="64"/>
                    </a:lnTo>
                    <a:lnTo>
                      <a:pt x="107" y="62"/>
                    </a:lnTo>
                    <a:lnTo>
                      <a:pt x="104" y="53"/>
                    </a:lnTo>
                    <a:lnTo>
                      <a:pt x="94" y="51"/>
                    </a:lnTo>
                    <a:lnTo>
                      <a:pt x="93" y="47"/>
                    </a:lnTo>
                    <a:lnTo>
                      <a:pt x="70" y="47"/>
                    </a:lnTo>
                    <a:lnTo>
                      <a:pt x="67" y="42"/>
                    </a:lnTo>
                    <a:lnTo>
                      <a:pt x="61" y="32"/>
                    </a:lnTo>
                    <a:lnTo>
                      <a:pt x="60" y="3"/>
                    </a:lnTo>
                    <a:lnTo>
                      <a:pt x="40" y="0"/>
                    </a:lnTo>
                    <a:lnTo>
                      <a:pt x="39" y="11"/>
                    </a:lnTo>
                    <a:lnTo>
                      <a:pt x="31" y="10"/>
                    </a:lnTo>
                    <a:lnTo>
                      <a:pt x="28" y="17"/>
                    </a:lnTo>
                    <a:lnTo>
                      <a:pt x="23" y="21"/>
                    </a:lnTo>
                    <a:lnTo>
                      <a:pt x="13" y="25"/>
                    </a:lnTo>
                    <a:lnTo>
                      <a:pt x="3" y="24"/>
                    </a:lnTo>
                    <a:lnTo>
                      <a:pt x="14" y="41"/>
                    </a:lnTo>
                    <a:lnTo>
                      <a:pt x="13" y="55"/>
                    </a:lnTo>
                    <a:lnTo>
                      <a:pt x="6" y="61"/>
                    </a:lnTo>
                    <a:lnTo>
                      <a:pt x="6" y="80"/>
                    </a:lnTo>
                    <a:lnTo>
                      <a:pt x="4" y="106"/>
                    </a:lnTo>
                    <a:lnTo>
                      <a:pt x="9" y="114"/>
                    </a:lnTo>
                    <a:lnTo>
                      <a:pt x="4" y="116"/>
                    </a:lnTo>
                    <a:lnTo>
                      <a:pt x="0" y="128"/>
                    </a:lnTo>
                    <a:lnTo>
                      <a:pt x="8" y="135"/>
                    </a:lnTo>
                    <a:lnTo>
                      <a:pt x="9" y="151"/>
                    </a:lnTo>
                    <a:lnTo>
                      <a:pt x="23" y="163"/>
                    </a:lnTo>
                    <a:lnTo>
                      <a:pt x="23" y="195"/>
                    </a:lnTo>
                    <a:lnTo>
                      <a:pt x="34" y="214"/>
                    </a:lnTo>
                    <a:lnTo>
                      <a:pt x="44" y="221"/>
                    </a:lnTo>
                    <a:lnTo>
                      <a:pt x="53" y="202"/>
                    </a:lnTo>
                    <a:lnTo>
                      <a:pt x="67" y="213"/>
                    </a:lnTo>
                    <a:lnTo>
                      <a:pt x="83" y="219"/>
                    </a:lnTo>
                    <a:lnTo>
                      <a:pt x="100" y="206"/>
                    </a:lnTo>
                    <a:lnTo>
                      <a:pt x="106" y="181"/>
                    </a:lnTo>
                    <a:lnTo>
                      <a:pt x="111" y="169"/>
                    </a:lnTo>
                    <a:lnTo>
                      <a:pt x="127" y="162"/>
                    </a:lnTo>
                    <a:lnTo>
                      <a:pt x="138" y="153"/>
                    </a:lnTo>
                    <a:lnTo>
                      <a:pt x="155" y="159"/>
                    </a:lnTo>
                    <a:lnTo>
                      <a:pt x="162" y="170"/>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60" name="Freeform 65">
                <a:extLst>
                  <a:ext uri="{FF2B5EF4-FFF2-40B4-BE49-F238E27FC236}">
                    <a16:creationId xmlns:a16="http://schemas.microsoft.com/office/drawing/2014/main" id="{464EC8D9-4CD6-2EEE-EC48-A5CDA8B6C44E}"/>
                  </a:ext>
                </a:extLst>
              </p:cNvPr>
              <p:cNvSpPr>
                <a:spLocks/>
              </p:cNvSpPr>
              <p:nvPr/>
            </p:nvSpPr>
            <p:spPr bwMode="auto">
              <a:xfrm>
                <a:off x="3638668" y="3935102"/>
                <a:ext cx="79647" cy="100636"/>
              </a:xfrm>
              <a:custGeom>
                <a:avLst/>
                <a:gdLst>
                  <a:gd name="T0" fmla="*/ 9 w 51"/>
                  <a:gd name="T1" fmla="*/ 2 h 64"/>
                  <a:gd name="T2" fmla="*/ 4 w 51"/>
                  <a:gd name="T3" fmla="*/ 10 h 64"/>
                  <a:gd name="T4" fmla="*/ 4 w 51"/>
                  <a:gd name="T5" fmla="*/ 51 h 64"/>
                  <a:gd name="T6" fmla="*/ 0 w 51"/>
                  <a:gd name="T7" fmla="*/ 55 h 64"/>
                  <a:gd name="T8" fmla="*/ 6 w 51"/>
                  <a:gd name="T9" fmla="*/ 61 h 64"/>
                  <a:gd name="T10" fmla="*/ 22 w 51"/>
                  <a:gd name="T11" fmla="*/ 63 h 64"/>
                  <a:gd name="T12" fmla="*/ 25 w 51"/>
                  <a:gd name="T13" fmla="*/ 54 h 64"/>
                  <a:gd name="T14" fmla="*/ 30 w 51"/>
                  <a:gd name="T15" fmla="*/ 46 h 64"/>
                  <a:gd name="T16" fmla="*/ 38 w 51"/>
                  <a:gd name="T17" fmla="*/ 38 h 64"/>
                  <a:gd name="T18" fmla="*/ 50 w 51"/>
                  <a:gd name="T19" fmla="*/ 38 h 64"/>
                  <a:gd name="T20" fmla="*/ 47 w 51"/>
                  <a:gd name="T21" fmla="*/ 28 h 64"/>
                  <a:gd name="T22" fmla="*/ 37 w 51"/>
                  <a:gd name="T23" fmla="*/ 22 h 64"/>
                  <a:gd name="T24" fmla="*/ 35 w 51"/>
                  <a:gd name="T25" fmla="*/ 13 h 64"/>
                  <a:gd name="T26" fmla="*/ 28 w 51"/>
                  <a:gd name="T27" fmla="*/ 10 h 64"/>
                  <a:gd name="T28" fmla="*/ 18 w 51"/>
                  <a:gd name="T29" fmla="*/ 8 h 64"/>
                  <a:gd name="T30" fmla="*/ 16 w 51"/>
                  <a:gd name="T31" fmla="*/ 0 h 64"/>
                  <a:gd name="T32" fmla="*/ 9 w 51"/>
                  <a:gd name="T33" fmla="*/ 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 h="64">
                    <a:moveTo>
                      <a:pt x="9" y="2"/>
                    </a:moveTo>
                    <a:lnTo>
                      <a:pt x="4" y="10"/>
                    </a:lnTo>
                    <a:lnTo>
                      <a:pt x="4" y="51"/>
                    </a:lnTo>
                    <a:lnTo>
                      <a:pt x="0" y="55"/>
                    </a:lnTo>
                    <a:lnTo>
                      <a:pt x="6" y="61"/>
                    </a:lnTo>
                    <a:lnTo>
                      <a:pt x="22" y="63"/>
                    </a:lnTo>
                    <a:lnTo>
                      <a:pt x="25" y="54"/>
                    </a:lnTo>
                    <a:lnTo>
                      <a:pt x="30" y="46"/>
                    </a:lnTo>
                    <a:lnTo>
                      <a:pt x="38" y="38"/>
                    </a:lnTo>
                    <a:lnTo>
                      <a:pt x="50" y="38"/>
                    </a:lnTo>
                    <a:lnTo>
                      <a:pt x="47" y="28"/>
                    </a:lnTo>
                    <a:lnTo>
                      <a:pt x="37" y="22"/>
                    </a:lnTo>
                    <a:lnTo>
                      <a:pt x="35" y="13"/>
                    </a:lnTo>
                    <a:lnTo>
                      <a:pt x="28" y="10"/>
                    </a:lnTo>
                    <a:lnTo>
                      <a:pt x="18" y="8"/>
                    </a:lnTo>
                    <a:lnTo>
                      <a:pt x="16" y="0"/>
                    </a:lnTo>
                    <a:lnTo>
                      <a:pt x="9" y="2"/>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61" name="Freeform 66">
                <a:extLst>
                  <a:ext uri="{FF2B5EF4-FFF2-40B4-BE49-F238E27FC236}">
                    <a16:creationId xmlns:a16="http://schemas.microsoft.com/office/drawing/2014/main" id="{4AD9C596-B705-C342-E04A-985BB01CF3E7}"/>
                  </a:ext>
                </a:extLst>
              </p:cNvPr>
              <p:cNvSpPr>
                <a:spLocks/>
              </p:cNvSpPr>
              <p:nvPr/>
            </p:nvSpPr>
            <p:spPr bwMode="auto">
              <a:xfrm>
                <a:off x="3581378" y="5478192"/>
                <a:ext cx="85235" cy="58704"/>
              </a:xfrm>
              <a:custGeom>
                <a:avLst/>
                <a:gdLst>
                  <a:gd name="T0" fmla="*/ 17 w 55"/>
                  <a:gd name="T1" fmla="*/ 9 h 37"/>
                  <a:gd name="T2" fmla="*/ 2 w 55"/>
                  <a:gd name="T3" fmla="*/ 12 h 37"/>
                  <a:gd name="T4" fmla="*/ 0 w 55"/>
                  <a:gd name="T5" fmla="*/ 25 h 37"/>
                  <a:gd name="T6" fmla="*/ 3 w 55"/>
                  <a:gd name="T7" fmla="*/ 36 h 37"/>
                  <a:gd name="T8" fmla="*/ 14 w 55"/>
                  <a:gd name="T9" fmla="*/ 25 h 37"/>
                  <a:gd name="T10" fmla="*/ 21 w 55"/>
                  <a:gd name="T11" fmla="*/ 30 h 37"/>
                  <a:gd name="T12" fmla="*/ 42 w 55"/>
                  <a:gd name="T13" fmla="*/ 24 h 37"/>
                  <a:gd name="T14" fmla="*/ 54 w 55"/>
                  <a:gd name="T15" fmla="*/ 18 h 37"/>
                  <a:gd name="T16" fmla="*/ 39 w 55"/>
                  <a:gd name="T17" fmla="*/ 9 h 37"/>
                  <a:gd name="T18" fmla="*/ 31 w 55"/>
                  <a:gd name="T19" fmla="*/ 0 h 37"/>
                  <a:gd name="T20" fmla="*/ 29 w 55"/>
                  <a:gd name="T21" fmla="*/ 11 h 37"/>
                  <a:gd name="T22" fmla="*/ 17 w 55"/>
                  <a:gd name="T23" fmla="*/ 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37">
                    <a:moveTo>
                      <a:pt x="17" y="9"/>
                    </a:moveTo>
                    <a:lnTo>
                      <a:pt x="2" y="12"/>
                    </a:lnTo>
                    <a:lnTo>
                      <a:pt x="0" y="25"/>
                    </a:lnTo>
                    <a:lnTo>
                      <a:pt x="3" y="36"/>
                    </a:lnTo>
                    <a:lnTo>
                      <a:pt x="14" y="25"/>
                    </a:lnTo>
                    <a:lnTo>
                      <a:pt x="21" y="30"/>
                    </a:lnTo>
                    <a:lnTo>
                      <a:pt x="42" y="24"/>
                    </a:lnTo>
                    <a:lnTo>
                      <a:pt x="54" y="18"/>
                    </a:lnTo>
                    <a:lnTo>
                      <a:pt x="39" y="9"/>
                    </a:lnTo>
                    <a:lnTo>
                      <a:pt x="31" y="0"/>
                    </a:lnTo>
                    <a:lnTo>
                      <a:pt x="29" y="11"/>
                    </a:lnTo>
                    <a:lnTo>
                      <a:pt x="17" y="9"/>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62" name="Freeform 97">
                <a:extLst>
                  <a:ext uri="{FF2B5EF4-FFF2-40B4-BE49-F238E27FC236}">
                    <a16:creationId xmlns:a16="http://schemas.microsoft.com/office/drawing/2014/main" id="{11D36ACD-B403-DCEF-A46C-4F4D5106BCCD}"/>
                  </a:ext>
                </a:extLst>
              </p:cNvPr>
              <p:cNvSpPr>
                <a:spLocks/>
              </p:cNvSpPr>
              <p:nvPr/>
            </p:nvSpPr>
            <p:spPr bwMode="auto">
              <a:xfrm>
                <a:off x="2981934" y="3480842"/>
                <a:ext cx="231953" cy="102034"/>
              </a:xfrm>
              <a:custGeom>
                <a:avLst/>
                <a:gdLst>
                  <a:gd name="T0" fmla="*/ 0 w 148"/>
                  <a:gd name="T1" fmla="*/ 19 h 65"/>
                  <a:gd name="T2" fmla="*/ 14 w 148"/>
                  <a:gd name="T3" fmla="*/ 6 h 65"/>
                  <a:gd name="T4" fmla="*/ 26 w 148"/>
                  <a:gd name="T5" fmla="*/ 0 h 65"/>
                  <a:gd name="T6" fmla="*/ 46 w 148"/>
                  <a:gd name="T7" fmla="*/ 3 h 65"/>
                  <a:gd name="T8" fmla="*/ 74 w 148"/>
                  <a:gd name="T9" fmla="*/ 9 h 65"/>
                  <a:gd name="T10" fmla="*/ 100 w 148"/>
                  <a:gd name="T11" fmla="*/ 23 h 65"/>
                  <a:gd name="T12" fmla="*/ 140 w 148"/>
                  <a:gd name="T13" fmla="*/ 42 h 65"/>
                  <a:gd name="T14" fmla="*/ 147 w 148"/>
                  <a:gd name="T15" fmla="*/ 52 h 65"/>
                  <a:gd name="T16" fmla="*/ 127 w 148"/>
                  <a:gd name="T17" fmla="*/ 64 h 65"/>
                  <a:gd name="T18" fmla="*/ 96 w 148"/>
                  <a:gd name="T19" fmla="*/ 61 h 65"/>
                  <a:gd name="T20" fmla="*/ 100 w 148"/>
                  <a:gd name="T21" fmla="*/ 45 h 65"/>
                  <a:gd name="T22" fmla="*/ 90 w 148"/>
                  <a:gd name="T23" fmla="*/ 35 h 65"/>
                  <a:gd name="T24" fmla="*/ 68 w 148"/>
                  <a:gd name="T25" fmla="*/ 20 h 65"/>
                  <a:gd name="T26" fmla="*/ 60 w 148"/>
                  <a:gd name="T27" fmla="*/ 17 h 65"/>
                  <a:gd name="T28" fmla="*/ 17 w 148"/>
                  <a:gd name="T29" fmla="*/ 13 h 65"/>
                  <a:gd name="T30" fmla="*/ 0 w 148"/>
                  <a:gd name="T31" fmla="*/ 1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8" h="65">
                    <a:moveTo>
                      <a:pt x="0" y="19"/>
                    </a:moveTo>
                    <a:lnTo>
                      <a:pt x="14" y="6"/>
                    </a:lnTo>
                    <a:lnTo>
                      <a:pt x="26" y="0"/>
                    </a:lnTo>
                    <a:lnTo>
                      <a:pt x="46" y="3"/>
                    </a:lnTo>
                    <a:lnTo>
                      <a:pt x="74" y="9"/>
                    </a:lnTo>
                    <a:lnTo>
                      <a:pt x="100" y="23"/>
                    </a:lnTo>
                    <a:lnTo>
                      <a:pt x="140" y="42"/>
                    </a:lnTo>
                    <a:lnTo>
                      <a:pt x="147" y="52"/>
                    </a:lnTo>
                    <a:lnTo>
                      <a:pt x="127" y="64"/>
                    </a:lnTo>
                    <a:lnTo>
                      <a:pt x="96" y="61"/>
                    </a:lnTo>
                    <a:lnTo>
                      <a:pt x="100" y="45"/>
                    </a:lnTo>
                    <a:lnTo>
                      <a:pt x="90" y="35"/>
                    </a:lnTo>
                    <a:lnTo>
                      <a:pt x="68" y="20"/>
                    </a:lnTo>
                    <a:lnTo>
                      <a:pt x="60" y="17"/>
                    </a:lnTo>
                    <a:lnTo>
                      <a:pt x="17" y="13"/>
                    </a:lnTo>
                    <a:lnTo>
                      <a:pt x="0" y="19"/>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63" name="Freeform 98">
                <a:extLst>
                  <a:ext uri="{FF2B5EF4-FFF2-40B4-BE49-F238E27FC236}">
                    <a16:creationId xmlns:a16="http://schemas.microsoft.com/office/drawing/2014/main" id="{8C4A1A17-21E7-2BC2-97FE-C7B183B1E009}"/>
                  </a:ext>
                </a:extLst>
              </p:cNvPr>
              <p:cNvSpPr>
                <a:spLocks/>
              </p:cNvSpPr>
              <p:nvPr/>
            </p:nvSpPr>
            <p:spPr bwMode="auto">
              <a:xfrm>
                <a:off x="2990318" y="3834466"/>
                <a:ext cx="135538" cy="75477"/>
              </a:xfrm>
              <a:custGeom>
                <a:avLst/>
                <a:gdLst>
                  <a:gd name="T0" fmla="*/ 13 w 87"/>
                  <a:gd name="T1" fmla="*/ 4 h 49"/>
                  <a:gd name="T2" fmla="*/ 0 w 87"/>
                  <a:gd name="T3" fmla="*/ 11 h 49"/>
                  <a:gd name="T4" fmla="*/ 1 w 87"/>
                  <a:gd name="T5" fmla="*/ 26 h 49"/>
                  <a:gd name="T6" fmla="*/ 30 w 87"/>
                  <a:gd name="T7" fmla="*/ 30 h 49"/>
                  <a:gd name="T8" fmla="*/ 41 w 87"/>
                  <a:gd name="T9" fmla="*/ 40 h 49"/>
                  <a:gd name="T10" fmla="*/ 54 w 87"/>
                  <a:gd name="T11" fmla="*/ 33 h 49"/>
                  <a:gd name="T12" fmla="*/ 49 w 87"/>
                  <a:gd name="T13" fmla="*/ 22 h 49"/>
                  <a:gd name="T14" fmla="*/ 63 w 87"/>
                  <a:gd name="T15" fmla="*/ 21 h 49"/>
                  <a:gd name="T16" fmla="*/ 77 w 87"/>
                  <a:gd name="T17" fmla="*/ 37 h 49"/>
                  <a:gd name="T18" fmla="*/ 83 w 87"/>
                  <a:gd name="T19" fmla="*/ 48 h 49"/>
                  <a:gd name="T20" fmla="*/ 86 w 87"/>
                  <a:gd name="T21" fmla="*/ 17 h 49"/>
                  <a:gd name="T22" fmla="*/ 67 w 87"/>
                  <a:gd name="T23" fmla="*/ 4 h 49"/>
                  <a:gd name="T24" fmla="*/ 52 w 87"/>
                  <a:gd name="T25" fmla="*/ 0 h 49"/>
                  <a:gd name="T26" fmla="*/ 40 w 87"/>
                  <a:gd name="T27" fmla="*/ 11 h 49"/>
                  <a:gd name="T28" fmla="*/ 13 w 87"/>
                  <a:gd name="T29" fmla="*/ 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 h="49">
                    <a:moveTo>
                      <a:pt x="13" y="4"/>
                    </a:moveTo>
                    <a:lnTo>
                      <a:pt x="0" y="11"/>
                    </a:lnTo>
                    <a:lnTo>
                      <a:pt x="1" y="26"/>
                    </a:lnTo>
                    <a:lnTo>
                      <a:pt x="30" y="30"/>
                    </a:lnTo>
                    <a:lnTo>
                      <a:pt x="41" y="40"/>
                    </a:lnTo>
                    <a:lnTo>
                      <a:pt x="54" y="33"/>
                    </a:lnTo>
                    <a:lnTo>
                      <a:pt x="49" y="22"/>
                    </a:lnTo>
                    <a:lnTo>
                      <a:pt x="63" y="21"/>
                    </a:lnTo>
                    <a:lnTo>
                      <a:pt x="77" y="37"/>
                    </a:lnTo>
                    <a:lnTo>
                      <a:pt x="83" y="48"/>
                    </a:lnTo>
                    <a:lnTo>
                      <a:pt x="86" y="17"/>
                    </a:lnTo>
                    <a:lnTo>
                      <a:pt x="67" y="4"/>
                    </a:lnTo>
                    <a:lnTo>
                      <a:pt x="52" y="0"/>
                    </a:lnTo>
                    <a:lnTo>
                      <a:pt x="40" y="11"/>
                    </a:lnTo>
                    <a:lnTo>
                      <a:pt x="13" y="4"/>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64" name="Freeform 99">
                <a:extLst>
                  <a:ext uri="{FF2B5EF4-FFF2-40B4-BE49-F238E27FC236}">
                    <a16:creationId xmlns:a16="http://schemas.microsoft.com/office/drawing/2014/main" id="{096B09B5-5BB3-D9E1-6F85-83891423C8F2}"/>
                  </a:ext>
                </a:extLst>
              </p:cNvPr>
              <p:cNvSpPr>
                <a:spLocks/>
              </p:cNvSpPr>
              <p:nvPr/>
            </p:nvSpPr>
            <p:spPr bwMode="auto">
              <a:xfrm>
                <a:off x="3042018" y="4056704"/>
                <a:ext cx="171869" cy="159341"/>
              </a:xfrm>
              <a:custGeom>
                <a:avLst/>
                <a:gdLst>
                  <a:gd name="T0" fmla="*/ 109 w 110"/>
                  <a:gd name="T1" fmla="*/ 47 h 101"/>
                  <a:gd name="T2" fmla="*/ 96 w 110"/>
                  <a:gd name="T3" fmla="*/ 31 h 101"/>
                  <a:gd name="T4" fmla="*/ 81 w 110"/>
                  <a:gd name="T5" fmla="*/ 20 h 101"/>
                  <a:gd name="T6" fmla="*/ 70 w 110"/>
                  <a:gd name="T7" fmla="*/ 11 h 101"/>
                  <a:gd name="T8" fmla="*/ 47 w 110"/>
                  <a:gd name="T9" fmla="*/ 12 h 101"/>
                  <a:gd name="T10" fmla="*/ 26 w 110"/>
                  <a:gd name="T11" fmla="*/ 0 h 101"/>
                  <a:gd name="T12" fmla="*/ 14 w 110"/>
                  <a:gd name="T13" fmla="*/ 6 h 101"/>
                  <a:gd name="T14" fmla="*/ 11 w 110"/>
                  <a:gd name="T15" fmla="*/ 23 h 101"/>
                  <a:gd name="T16" fmla="*/ 4 w 110"/>
                  <a:gd name="T17" fmla="*/ 32 h 101"/>
                  <a:gd name="T18" fmla="*/ 0 w 110"/>
                  <a:gd name="T19" fmla="*/ 43 h 101"/>
                  <a:gd name="T20" fmla="*/ 4 w 110"/>
                  <a:gd name="T21" fmla="*/ 54 h 101"/>
                  <a:gd name="T22" fmla="*/ 14 w 110"/>
                  <a:gd name="T23" fmla="*/ 63 h 101"/>
                  <a:gd name="T24" fmla="*/ 15 w 110"/>
                  <a:gd name="T25" fmla="*/ 74 h 101"/>
                  <a:gd name="T26" fmla="*/ 15 w 110"/>
                  <a:gd name="T27" fmla="*/ 89 h 101"/>
                  <a:gd name="T28" fmla="*/ 26 w 110"/>
                  <a:gd name="T29" fmla="*/ 100 h 101"/>
                  <a:gd name="T30" fmla="*/ 41 w 110"/>
                  <a:gd name="T31" fmla="*/ 89 h 101"/>
                  <a:gd name="T32" fmla="*/ 60 w 110"/>
                  <a:gd name="T33" fmla="*/ 75 h 101"/>
                  <a:gd name="T34" fmla="*/ 101 w 110"/>
                  <a:gd name="T35" fmla="*/ 57 h 101"/>
                  <a:gd name="T36" fmla="*/ 109 w 110"/>
                  <a:gd name="T37" fmla="*/ 4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0" h="101">
                    <a:moveTo>
                      <a:pt x="109" y="47"/>
                    </a:moveTo>
                    <a:lnTo>
                      <a:pt x="96" y="31"/>
                    </a:lnTo>
                    <a:lnTo>
                      <a:pt x="81" y="20"/>
                    </a:lnTo>
                    <a:lnTo>
                      <a:pt x="70" y="11"/>
                    </a:lnTo>
                    <a:lnTo>
                      <a:pt x="47" y="12"/>
                    </a:lnTo>
                    <a:lnTo>
                      <a:pt x="26" y="0"/>
                    </a:lnTo>
                    <a:lnTo>
                      <a:pt x="14" y="6"/>
                    </a:lnTo>
                    <a:lnTo>
                      <a:pt x="11" y="23"/>
                    </a:lnTo>
                    <a:lnTo>
                      <a:pt x="4" y="32"/>
                    </a:lnTo>
                    <a:lnTo>
                      <a:pt x="0" y="43"/>
                    </a:lnTo>
                    <a:lnTo>
                      <a:pt x="4" y="54"/>
                    </a:lnTo>
                    <a:lnTo>
                      <a:pt x="14" y="63"/>
                    </a:lnTo>
                    <a:lnTo>
                      <a:pt x="15" y="74"/>
                    </a:lnTo>
                    <a:lnTo>
                      <a:pt x="15" y="89"/>
                    </a:lnTo>
                    <a:lnTo>
                      <a:pt x="26" y="100"/>
                    </a:lnTo>
                    <a:lnTo>
                      <a:pt x="41" y="89"/>
                    </a:lnTo>
                    <a:lnTo>
                      <a:pt x="60" y="75"/>
                    </a:lnTo>
                    <a:lnTo>
                      <a:pt x="101" y="57"/>
                    </a:lnTo>
                    <a:lnTo>
                      <a:pt x="109" y="47"/>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65" name="Freeform 100">
                <a:extLst>
                  <a:ext uri="{FF2B5EF4-FFF2-40B4-BE49-F238E27FC236}">
                    <a16:creationId xmlns:a16="http://schemas.microsoft.com/office/drawing/2014/main" id="{C3AD89A7-AB21-BE8F-D2D2-728AA6D9CD34}"/>
                  </a:ext>
                </a:extLst>
              </p:cNvPr>
              <p:cNvSpPr>
                <a:spLocks/>
              </p:cNvSpPr>
              <p:nvPr/>
            </p:nvSpPr>
            <p:spPr bwMode="auto">
              <a:xfrm>
                <a:off x="3489157" y="3862421"/>
                <a:ext cx="99209" cy="195682"/>
              </a:xfrm>
              <a:custGeom>
                <a:avLst/>
                <a:gdLst>
                  <a:gd name="T0" fmla="*/ 18 w 64"/>
                  <a:gd name="T1" fmla="*/ 0 h 125"/>
                  <a:gd name="T2" fmla="*/ 18 w 64"/>
                  <a:gd name="T3" fmla="*/ 14 h 125"/>
                  <a:gd name="T4" fmla="*/ 12 w 64"/>
                  <a:gd name="T5" fmla="*/ 20 h 125"/>
                  <a:gd name="T6" fmla="*/ 9 w 64"/>
                  <a:gd name="T7" fmla="*/ 28 h 125"/>
                  <a:gd name="T8" fmla="*/ 1 w 64"/>
                  <a:gd name="T9" fmla="*/ 36 h 125"/>
                  <a:gd name="T10" fmla="*/ 0 w 64"/>
                  <a:gd name="T11" fmla="*/ 50 h 125"/>
                  <a:gd name="T12" fmla="*/ 7 w 64"/>
                  <a:gd name="T13" fmla="*/ 59 h 125"/>
                  <a:gd name="T14" fmla="*/ 7 w 64"/>
                  <a:gd name="T15" fmla="*/ 70 h 125"/>
                  <a:gd name="T16" fmla="*/ 18 w 64"/>
                  <a:gd name="T17" fmla="*/ 73 h 125"/>
                  <a:gd name="T18" fmla="*/ 22 w 64"/>
                  <a:gd name="T19" fmla="*/ 90 h 125"/>
                  <a:gd name="T20" fmla="*/ 18 w 64"/>
                  <a:gd name="T21" fmla="*/ 101 h 125"/>
                  <a:gd name="T22" fmla="*/ 25 w 64"/>
                  <a:gd name="T23" fmla="*/ 116 h 125"/>
                  <a:gd name="T24" fmla="*/ 32 w 64"/>
                  <a:gd name="T25" fmla="*/ 124 h 125"/>
                  <a:gd name="T26" fmla="*/ 41 w 64"/>
                  <a:gd name="T27" fmla="*/ 123 h 125"/>
                  <a:gd name="T28" fmla="*/ 45 w 64"/>
                  <a:gd name="T29" fmla="*/ 117 h 125"/>
                  <a:gd name="T30" fmla="*/ 57 w 64"/>
                  <a:gd name="T31" fmla="*/ 116 h 125"/>
                  <a:gd name="T32" fmla="*/ 60 w 64"/>
                  <a:gd name="T33" fmla="*/ 109 h 125"/>
                  <a:gd name="T34" fmla="*/ 59 w 64"/>
                  <a:gd name="T35" fmla="*/ 94 h 125"/>
                  <a:gd name="T36" fmla="*/ 50 w 64"/>
                  <a:gd name="T37" fmla="*/ 89 h 125"/>
                  <a:gd name="T38" fmla="*/ 45 w 64"/>
                  <a:gd name="T39" fmla="*/ 83 h 125"/>
                  <a:gd name="T40" fmla="*/ 45 w 64"/>
                  <a:gd name="T41" fmla="*/ 70 h 125"/>
                  <a:gd name="T42" fmla="*/ 51 w 64"/>
                  <a:gd name="T43" fmla="*/ 65 h 125"/>
                  <a:gd name="T44" fmla="*/ 61 w 64"/>
                  <a:gd name="T45" fmla="*/ 66 h 125"/>
                  <a:gd name="T46" fmla="*/ 63 w 64"/>
                  <a:gd name="T47" fmla="*/ 51 h 125"/>
                  <a:gd name="T48" fmla="*/ 61 w 64"/>
                  <a:gd name="T49" fmla="*/ 36 h 125"/>
                  <a:gd name="T50" fmla="*/ 55 w 64"/>
                  <a:gd name="T51" fmla="*/ 30 h 125"/>
                  <a:gd name="T52" fmla="*/ 44 w 64"/>
                  <a:gd name="T53" fmla="*/ 29 h 125"/>
                  <a:gd name="T54" fmla="*/ 41 w 64"/>
                  <a:gd name="T55" fmla="*/ 15 h 125"/>
                  <a:gd name="T56" fmla="*/ 33 w 64"/>
                  <a:gd name="T57" fmla="*/ 14 h 125"/>
                  <a:gd name="T58" fmla="*/ 29 w 64"/>
                  <a:gd name="T59" fmla="*/ 2 h 125"/>
                  <a:gd name="T60" fmla="*/ 18 w 64"/>
                  <a:gd name="T61"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 h="125">
                    <a:moveTo>
                      <a:pt x="18" y="0"/>
                    </a:moveTo>
                    <a:lnTo>
                      <a:pt x="18" y="14"/>
                    </a:lnTo>
                    <a:lnTo>
                      <a:pt x="12" y="20"/>
                    </a:lnTo>
                    <a:lnTo>
                      <a:pt x="9" y="28"/>
                    </a:lnTo>
                    <a:lnTo>
                      <a:pt x="1" y="36"/>
                    </a:lnTo>
                    <a:lnTo>
                      <a:pt x="0" y="50"/>
                    </a:lnTo>
                    <a:lnTo>
                      <a:pt x="7" y="59"/>
                    </a:lnTo>
                    <a:lnTo>
                      <a:pt x="7" y="70"/>
                    </a:lnTo>
                    <a:lnTo>
                      <a:pt x="18" y="73"/>
                    </a:lnTo>
                    <a:lnTo>
                      <a:pt x="22" y="90"/>
                    </a:lnTo>
                    <a:lnTo>
                      <a:pt x="18" y="101"/>
                    </a:lnTo>
                    <a:lnTo>
                      <a:pt x="25" y="116"/>
                    </a:lnTo>
                    <a:lnTo>
                      <a:pt x="32" y="124"/>
                    </a:lnTo>
                    <a:lnTo>
                      <a:pt x="41" y="123"/>
                    </a:lnTo>
                    <a:lnTo>
                      <a:pt x="45" y="117"/>
                    </a:lnTo>
                    <a:lnTo>
                      <a:pt x="57" y="116"/>
                    </a:lnTo>
                    <a:lnTo>
                      <a:pt x="60" y="109"/>
                    </a:lnTo>
                    <a:lnTo>
                      <a:pt x="59" y="94"/>
                    </a:lnTo>
                    <a:lnTo>
                      <a:pt x="50" y="89"/>
                    </a:lnTo>
                    <a:lnTo>
                      <a:pt x="45" y="83"/>
                    </a:lnTo>
                    <a:lnTo>
                      <a:pt x="45" y="70"/>
                    </a:lnTo>
                    <a:lnTo>
                      <a:pt x="51" y="65"/>
                    </a:lnTo>
                    <a:lnTo>
                      <a:pt x="61" y="66"/>
                    </a:lnTo>
                    <a:lnTo>
                      <a:pt x="63" y="51"/>
                    </a:lnTo>
                    <a:lnTo>
                      <a:pt x="61" y="36"/>
                    </a:lnTo>
                    <a:lnTo>
                      <a:pt x="55" y="30"/>
                    </a:lnTo>
                    <a:lnTo>
                      <a:pt x="44" y="29"/>
                    </a:lnTo>
                    <a:lnTo>
                      <a:pt x="41" y="15"/>
                    </a:lnTo>
                    <a:lnTo>
                      <a:pt x="33" y="14"/>
                    </a:lnTo>
                    <a:lnTo>
                      <a:pt x="29" y="2"/>
                    </a:lnTo>
                    <a:lnTo>
                      <a:pt x="18" y="0"/>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66" name="Freeform 101">
                <a:extLst>
                  <a:ext uri="{FF2B5EF4-FFF2-40B4-BE49-F238E27FC236}">
                    <a16:creationId xmlns:a16="http://schemas.microsoft.com/office/drawing/2014/main" id="{732BEFF0-9B1A-D47C-F6BB-C03FDABE0FE5}"/>
                  </a:ext>
                </a:extLst>
              </p:cNvPr>
              <p:cNvSpPr>
                <a:spLocks/>
              </p:cNvSpPr>
              <p:nvPr/>
            </p:nvSpPr>
            <p:spPr bwMode="auto">
              <a:xfrm>
                <a:off x="3557625" y="3918330"/>
                <a:ext cx="93620" cy="128591"/>
              </a:xfrm>
              <a:custGeom>
                <a:avLst/>
                <a:gdLst>
                  <a:gd name="T0" fmla="*/ 19 w 61"/>
                  <a:gd name="T1" fmla="*/ 15 h 82"/>
                  <a:gd name="T2" fmla="*/ 17 w 61"/>
                  <a:gd name="T3" fmla="*/ 30 h 82"/>
                  <a:gd name="T4" fmla="*/ 7 w 61"/>
                  <a:gd name="T5" fmla="*/ 29 h 82"/>
                  <a:gd name="T6" fmla="*/ 0 w 61"/>
                  <a:gd name="T7" fmla="*/ 34 h 82"/>
                  <a:gd name="T8" fmla="*/ 1 w 61"/>
                  <a:gd name="T9" fmla="*/ 47 h 82"/>
                  <a:gd name="T10" fmla="*/ 6 w 61"/>
                  <a:gd name="T11" fmla="*/ 53 h 82"/>
                  <a:gd name="T12" fmla="*/ 14 w 61"/>
                  <a:gd name="T13" fmla="*/ 59 h 82"/>
                  <a:gd name="T14" fmla="*/ 15 w 61"/>
                  <a:gd name="T15" fmla="*/ 73 h 82"/>
                  <a:gd name="T16" fmla="*/ 13 w 61"/>
                  <a:gd name="T17" fmla="*/ 81 h 82"/>
                  <a:gd name="T18" fmla="*/ 30 w 61"/>
                  <a:gd name="T19" fmla="*/ 80 h 82"/>
                  <a:gd name="T20" fmla="*/ 30 w 61"/>
                  <a:gd name="T21" fmla="*/ 67 h 82"/>
                  <a:gd name="T22" fmla="*/ 52 w 61"/>
                  <a:gd name="T23" fmla="*/ 65 h 82"/>
                  <a:gd name="T24" fmla="*/ 56 w 61"/>
                  <a:gd name="T25" fmla="*/ 61 h 82"/>
                  <a:gd name="T26" fmla="*/ 56 w 61"/>
                  <a:gd name="T27" fmla="*/ 19 h 82"/>
                  <a:gd name="T28" fmla="*/ 60 w 61"/>
                  <a:gd name="T29" fmla="*/ 10 h 82"/>
                  <a:gd name="T30" fmla="*/ 54 w 61"/>
                  <a:gd name="T31" fmla="*/ 0 h 82"/>
                  <a:gd name="T32" fmla="*/ 37 w 61"/>
                  <a:gd name="T33" fmla="*/ 0 h 82"/>
                  <a:gd name="T34" fmla="*/ 32 w 61"/>
                  <a:gd name="T35" fmla="*/ 8 h 82"/>
                  <a:gd name="T36" fmla="*/ 19 w 61"/>
                  <a:gd name="T37" fmla="*/ 1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82">
                    <a:moveTo>
                      <a:pt x="19" y="15"/>
                    </a:moveTo>
                    <a:lnTo>
                      <a:pt x="17" y="30"/>
                    </a:lnTo>
                    <a:lnTo>
                      <a:pt x="7" y="29"/>
                    </a:lnTo>
                    <a:lnTo>
                      <a:pt x="0" y="34"/>
                    </a:lnTo>
                    <a:lnTo>
                      <a:pt x="1" y="47"/>
                    </a:lnTo>
                    <a:lnTo>
                      <a:pt x="6" y="53"/>
                    </a:lnTo>
                    <a:lnTo>
                      <a:pt x="14" y="59"/>
                    </a:lnTo>
                    <a:lnTo>
                      <a:pt x="15" y="73"/>
                    </a:lnTo>
                    <a:lnTo>
                      <a:pt x="13" y="81"/>
                    </a:lnTo>
                    <a:lnTo>
                      <a:pt x="30" y="80"/>
                    </a:lnTo>
                    <a:lnTo>
                      <a:pt x="30" y="67"/>
                    </a:lnTo>
                    <a:lnTo>
                      <a:pt x="52" y="65"/>
                    </a:lnTo>
                    <a:lnTo>
                      <a:pt x="56" y="61"/>
                    </a:lnTo>
                    <a:lnTo>
                      <a:pt x="56" y="19"/>
                    </a:lnTo>
                    <a:lnTo>
                      <a:pt x="60" y="10"/>
                    </a:lnTo>
                    <a:lnTo>
                      <a:pt x="54" y="0"/>
                    </a:lnTo>
                    <a:lnTo>
                      <a:pt x="37" y="0"/>
                    </a:lnTo>
                    <a:lnTo>
                      <a:pt x="32" y="8"/>
                    </a:lnTo>
                    <a:lnTo>
                      <a:pt x="19" y="15"/>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67" name="Freeform 103">
                <a:extLst>
                  <a:ext uri="{FF2B5EF4-FFF2-40B4-BE49-F238E27FC236}">
                    <a16:creationId xmlns:a16="http://schemas.microsoft.com/office/drawing/2014/main" id="{3F783CAB-7270-8CA2-B6CE-6B0D134EF1E3}"/>
                  </a:ext>
                </a:extLst>
              </p:cNvPr>
              <p:cNvSpPr>
                <a:spLocks/>
              </p:cNvSpPr>
              <p:nvPr/>
            </p:nvSpPr>
            <p:spPr bwMode="auto">
              <a:xfrm>
                <a:off x="4363871" y="2129241"/>
                <a:ext cx="206801" cy="127193"/>
              </a:xfrm>
              <a:custGeom>
                <a:avLst/>
                <a:gdLst>
                  <a:gd name="T0" fmla="*/ 40 w 133"/>
                  <a:gd name="T1" fmla="*/ 15 h 81"/>
                  <a:gd name="T2" fmla="*/ 22 w 133"/>
                  <a:gd name="T3" fmla="*/ 0 h 81"/>
                  <a:gd name="T4" fmla="*/ 0 w 133"/>
                  <a:gd name="T5" fmla="*/ 25 h 81"/>
                  <a:gd name="T6" fmla="*/ 2 w 133"/>
                  <a:gd name="T7" fmla="*/ 37 h 81"/>
                  <a:gd name="T8" fmla="*/ 27 w 133"/>
                  <a:gd name="T9" fmla="*/ 32 h 81"/>
                  <a:gd name="T10" fmla="*/ 27 w 133"/>
                  <a:gd name="T11" fmla="*/ 52 h 81"/>
                  <a:gd name="T12" fmla="*/ 19 w 133"/>
                  <a:gd name="T13" fmla="*/ 65 h 81"/>
                  <a:gd name="T14" fmla="*/ 41 w 133"/>
                  <a:gd name="T15" fmla="*/ 60 h 81"/>
                  <a:gd name="T16" fmla="*/ 64 w 133"/>
                  <a:gd name="T17" fmla="*/ 71 h 81"/>
                  <a:gd name="T18" fmla="*/ 72 w 133"/>
                  <a:gd name="T19" fmla="*/ 80 h 81"/>
                  <a:gd name="T20" fmla="*/ 91 w 133"/>
                  <a:gd name="T21" fmla="*/ 60 h 81"/>
                  <a:gd name="T22" fmla="*/ 109 w 133"/>
                  <a:gd name="T23" fmla="*/ 60 h 81"/>
                  <a:gd name="T24" fmla="*/ 127 w 133"/>
                  <a:gd name="T25" fmla="*/ 48 h 81"/>
                  <a:gd name="T26" fmla="*/ 132 w 133"/>
                  <a:gd name="T27" fmla="*/ 27 h 81"/>
                  <a:gd name="T28" fmla="*/ 127 w 133"/>
                  <a:gd name="T29" fmla="*/ 4 h 81"/>
                  <a:gd name="T30" fmla="*/ 102 w 133"/>
                  <a:gd name="T31" fmla="*/ 4 h 81"/>
                  <a:gd name="T32" fmla="*/ 77 w 133"/>
                  <a:gd name="T33" fmla="*/ 12 h 81"/>
                  <a:gd name="T34" fmla="*/ 49 w 133"/>
                  <a:gd name="T35" fmla="*/ 3 h 81"/>
                  <a:gd name="T36" fmla="*/ 40 w 133"/>
                  <a:gd name="T37" fmla="*/ 1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3" h="81">
                    <a:moveTo>
                      <a:pt x="40" y="15"/>
                    </a:moveTo>
                    <a:lnTo>
                      <a:pt x="22" y="0"/>
                    </a:lnTo>
                    <a:lnTo>
                      <a:pt x="0" y="25"/>
                    </a:lnTo>
                    <a:lnTo>
                      <a:pt x="2" y="37"/>
                    </a:lnTo>
                    <a:lnTo>
                      <a:pt x="27" y="32"/>
                    </a:lnTo>
                    <a:lnTo>
                      <a:pt x="27" y="52"/>
                    </a:lnTo>
                    <a:lnTo>
                      <a:pt x="19" y="65"/>
                    </a:lnTo>
                    <a:lnTo>
                      <a:pt x="41" y="60"/>
                    </a:lnTo>
                    <a:lnTo>
                      <a:pt x="64" y="71"/>
                    </a:lnTo>
                    <a:lnTo>
                      <a:pt x="72" y="80"/>
                    </a:lnTo>
                    <a:lnTo>
                      <a:pt x="91" y="60"/>
                    </a:lnTo>
                    <a:lnTo>
                      <a:pt x="109" y="60"/>
                    </a:lnTo>
                    <a:lnTo>
                      <a:pt x="127" y="48"/>
                    </a:lnTo>
                    <a:lnTo>
                      <a:pt x="132" y="27"/>
                    </a:lnTo>
                    <a:lnTo>
                      <a:pt x="127" y="4"/>
                    </a:lnTo>
                    <a:lnTo>
                      <a:pt x="102" y="4"/>
                    </a:lnTo>
                    <a:lnTo>
                      <a:pt x="77" y="12"/>
                    </a:lnTo>
                    <a:lnTo>
                      <a:pt x="49" y="3"/>
                    </a:lnTo>
                    <a:lnTo>
                      <a:pt x="40" y="15"/>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68" name="Freeform 95">
                <a:extLst>
                  <a:ext uri="{FF2B5EF4-FFF2-40B4-BE49-F238E27FC236}">
                    <a16:creationId xmlns:a16="http://schemas.microsoft.com/office/drawing/2014/main" id="{D8C0AEF3-A241-5012-B7A6-6482B07F14E5}"/>
                  </a:ext>
                </a:extLst>
              </p:cNvPr>
              <p:cNvSpPr>
                <a:spLocks/>
              </p:cNvSpPr>
              <p:nvPr/>
            </p:nvSpPr>
            <p:spPr bwMode="auto">
              <a:xfrm>
                <a:off x="3500335" y="1416402"/>
                <a:ext cx="1129024" cy="953249"/>
              </a:xfrm>
              <a:custGeom>
                <a:avLst/>
                <a:gdLst>
                  <a:gd name="T0" fmla="*/ 138 w 720"/>
                  <a:gd name="T1" fmla="*/ 83 h 608"/>
                  <a:gd name="T2" fmla="*/ 93 w 720"/>
                  <a:gd name="T3" fmla="*/ 123 h 608"/>
                  <a:gd name="T4" fmla="*/ 31 w 720"/>
                  <a:gd name="T5" fmla="*/ 155 h 608"/>
                  <a:gd name="T6" fmla="*/ 3 w 720"/>
                  <a:gd name="T7" fmla="*/ 175 h 608"/>
                  <a:gd name="T8" fmla="*/ 65 w 720"/>
                  <a:gd name="T9" fmla="*/ 187 h 608"/>
                  <a:gd name="T10" fmla="*/ 20 w 720"/>
                  <a:gd name="T11" fmla="*/ 195 h 608"/>
                  <a:gd name="T12" fmla="*/ 143 w 720"/>
                  <a:gd name="T13" fmla="*/ 220 h 608"/>
                  <a:gd name="T14" fmla="*/ 180 w 720"/>
                  <a:gd name="T15" fmla="*/ 285 h 608"/>
                  <a:gd name="T16" fmla="*/ 190 w 720"/>
                  <a:gd name="T17" fmla="*/ 342 h 608"/>
                  <a:gd name="T18" fmla="*/ 219 w 720"/>
                  <a:gd name="T19" fmla="*/ 354 h 608"/>
                  <a:gd name="T20" fmla="*/ 227 w 720"/>
                  <a:gd name="T21" fmla="*/ 377 h 608"/>
                  <a:gd name="T22" fmla="*/ 195 w 720"/>
                  <a:gd name="T23" fmla="*/ 422 h 608"/>
                  <a:gd name="T24" fmla="*/ 200 w 720"/>
                  <a:gd name="T25" fmla="*/ 490 h 608"/>
                  <a:gd name="T26" fmla="*/ 240 w 720"/>
                  <a:gd name="T27" fmla="*/ 582 h 608"/>
                  <a:gd name="T28" fmla="*/ 278 w 720"/>
                  <a:gd name="T29" fmla="*/ 607 h 608"/>
                  <a:gd name="T30" fmla="*/ 325 w 720"/>
                  <a:gd name="T31" fmla="*/ 540 h 608"/>
                  <a:gd name="T32" fmla="*/ 345 w 720"/>
                  <a:gd name="T33" fmla="*/ 485 h 608"/>
                  <a:gd name="T34" fmla="*/ 433 w 720"/>
                  <a:gd name="T35" fmla="*/ 465 h 608"/>
                  <a:gd name="T36" fmla="*/ 510 w 720"/>
                  <a:gd name="T37" fmla="*/ 425 h 608"/>
                  <a:gd name="T38" fmla="*/ 581 w 720"/>
                  <a:gd name="T39" fmla="*/ 367 h 608"/>
                  <a:gd name="T40" fmla="*/ 525 w 720"/>
                  <a:gd name="T41" fmla="*/ 354 h 608"/>
                  <a:gd name="T42" fmla="*/ 548 w 720"/>
                  <a:gd name="T43" fmla="*/ 332 h 608"/>
                  <a:gd name="T44" fmla="*/ 588 w 720"/>
                  <a:gd name="T45" fmla="*/ 358 h 608"/>
                  <a:gd name="T46" fmla="*/ 586 w 720"/>
                  <a:gd name="T47" fmla="*/ 318 h 608"/>
                  <a:gd name="T48" fmla="*/ 561 w 720"/>
                  <a:gd name="T49" fmla="*/ 290 h 608"/>
                  <a:gd name="T50" fmla="*/ 588 w 720"/>
                  <a:gd name="T51" fmla="*/ 298 h 608"/>
                  <a:gd name="T52" fmla="*/ 616 w 720"/>
                  <a:gd name="T53" fmla="*/ 280 h 608"/>
                  <a:gd name="T54" fmla="*/ 626 w 720"/>
                  <a:gd name="T55" fmla="*/ 267 h 608"/>
                  <a:gd name="T56" fmla="*/ 646 w 720"/>
                  <a:gd name="T57" fmla="*/ 237 h 608"/>
                  <a:gd name="T58" fmla="*/ 621 w 720"/>
                  <a:gd name="T59" fmla="*/ 210 h 608"/>
                  <a:gd name="T60" fmla="*/ 643 w 720"/>
                  <a:gd name="T61" fmla="*/ 195 h 608"/>
                  <a:gd name="T62" fmla="*/ 598 w 720"/>
                  <a:gd name="T63" fmla="*/ 168 h 608"/>
                  <a:gd name="T64" fmla="*/ 631 w 720"/>
                  <a:gd name="T65" fmla="*/ 128 h 608"/>
                  <a:gd name="T66" fmla="*/ 618 w 720"/>
                  <a:gd name="T67" fmla="*/ 105 h 608"/>
                  <a:gd name="T68" fmla="*/ 651 w 720"/>
                  <a:gd name="T69" fmla="*/ 95 h 608"/>
                  <a:gd name="T70" fmla="*/ 719 w 720"/>
                  <a:gd name="T71" fmla="*/ 63 h 608"/>
                  <a:gd name="T72" fmla="*/ 624 w 720"/>
                  <a:gd name="T73" fmla="*/ 68 h 608"/>
                  <a:gd name="T74" fmla="*/ 601 w 720"/>
                  <a:gd name="T75" fmla="*/ 50 h 608"/>
                  <a:gd name="T76" fmla="*/ 553 w 720"/>
                  <a:gd name="T77" fmla="*/ 45 h 608"/>
                  <a:gd name="T78" fmla="*/ 518 w 720"/>
                  <a:gd name="T79" fmla="*/ 37 h 608"/>
                  <a:gd name="T80" fmla="*/ 598 w 720"/>
                  <a:gd name="T81" fmla="*/ 23 h 608"/>
                  <a:gd name="T82" fmla="*/ 470 w 720"/>
                  <a:gd name="T83" fmla="*/ 20 h 608"/>
                  <a:gd name="T84" fmla="*/ 413 w 720"/>
                  <a:gd name="T85" fmla="*/ 3 h 608"/>
                  <a:gd name="T86" fmla="*/ 340 w 720"/>
                  <a:gd name="T87" fmla="*/ 15 h 608"/>
                  <a:gd name="T88" fmla="*/ 333 w 720"/>
                  <a:gd name="T89" fmla="*/ 58 h 608"/>
                  <a:gd name="T90" fmla="*/ 303 w 720"/>
                  <a:gd name="T91" fmla="*/ 41 h 608"/>
                  <a:gd name="T92" fmla="*/ 283 w 720"/>
                  <a:gd name="T93" fmla="*/ 65 h 608"/>
                  <a:gd name="T94" fmla="*/ 258 w 720"/>
                  <a:gd name="T95" fmla="*/ 45 h 608"/>
                  <a:gd name="T96" fmla="*/ 240 w 720"/>
                  <a:gd name="T97" fmla="*/ 55 h 608"/>
                  <a:gd name="T98" fmla="*/ 183 w 720"/>
                  <a:gd name="T99" fmla="*/ 50 h 608"/>
                  <a:gd name="T100" fmla="*/ 150 w 720"/>
                  <a:gd name="T101" fmla="*/ 65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20" h="608">
                    <a:moveTo>
                      <a:pt x="150" y="65"/>
                    </a:moveTo>
                    <a:lnTo>
                      <a:pt x="138" y="83"/>
                    </a:lnTo>
                    <a:lnTo>
                      <a:pt x="95" y="92"/>
                    </a:lnTo>
                    <a:lnTo>
                      <a:pt x="93" y="123"/>
                    </a:lnTo>
                    <a:lnTo>
                      <a:pt x="60" y="132"/>
                    </a:lnTo>
                    <a:lnTo>
                      <a:pt x="31" y="155"/>
                    </a:lnTo>
                    <a:lnTo>
                      <a:pt x="0" y="164"/>
                    </a:lnTo>
                    <a:lnTo>
                      <a:pt x="3" y="175"/>
                    </a:lnTo>
                    <a:lnTo>
                      <a:pt x="55" y="172"/>
                    </a:lnTo>
                    <a:lnTo>
                      <a:pt x="65" y="187"/>
                    </a:lnTo>
                    <a:lnTo>
                      <a:pt x="42" y="192"/>
                    </a:lnTo>
                    <a:lnTo>
                      <a:pt x="20" y="195"/>
                    </a:lnTo>
                    <a:lnTo>
                      <a:pt x="55" y="220"/>
                    </a:lnTo>
                    <a:lnTo>
                      <a:pt x="143" y="220"/>
                    </a:lnTo>
                    <a:lnTo>
                      <a:pt x="166" y="245"/>
                    </a:lnTo>
                    <a:lnTo>
                      <a:pt x="180" y="285"/>
                    </a:lnTo>
                    <a:lnTo>
                      <a:pt x="188" y="326"/>
                    </a:lnTo>
                    <a:lnTo>
                      <a:pt x="190" y="342"/>
                    </a:lnTo>
                    <a:lnTo>
                      <a:pt x="211" y="332"/>
                    </a:lnTo>
                    <a:lnTo>
                      <a:pt x="219" y="354"/>
                    </a:lnTo>
                    <a:lnTo>
                      <a:pt x="193" y="363"/>
                    </a:lnTo>
                    <a:lnTo>
                      <a:pt x="227" y="377"/>
                    </a:lnTo>
                    <a:lnTo>
                      <a:pt x="222" y="407"/>
                    </a:lnTo>
                    <a:lnTo>
                      <a:pt x="195" y="422"/>
                    </a:lnTo>
                    <a:lnTo>
                      <a:pt x="188" y="445"/>
                    </a:lnTo>
                    <a:lnTo>
                      <a:pt x="200" y="490"/>
                    </a:lnTo>
                    <a:lnTo>
                      <a:pt x="218" y="537"/>
                    </a:lnTo>
                    <a:lnTo>
                      <a:pt x="240" y="582"/>
                    </a:lnTo>
                    <a:lnTo>
                      <a:pt x="266" y="588"/>
                    </a:lnTo>
                    <a:lnTo>
                      <a:pt x="278" y="607"/>
                    </a:lnTo>
                    <a:lnTo>
                      <a:pt x="301" y="602"/>
                    </a:lnTo>
                    <a:lnTo>
                      <a:pt x="325" y="540"/>
                    </a:lnTo>
                    <a:lnTo>
                      <a:pt x="343" y="517"/>
                    </a:lnTo>
                    <a:lnTo>
                      <a:pt x="345" y="485"/>
                    </a:lnTo>
                    <a:lnTo>
                      <a:pt x="388" y="475"/>
                    </a:lnTo>
                    <a:lnTo>
                      <a:pt x="433" y="465"/>
                    </a:lnTo>
                    <a:lnTo>
                      <a:pt x="456" y="420"/>
                    </a:lnTo>
                    <a:lnTo>
                      <a:pt x="510" y="425"/>
                    </a:lnTo>
                    <a:lnTo>
                      <a:pt x="558" y="393"/>
                    </a:lnTo>
                    <a:lnTo>
                      <a:pt x="581" y="367"/>
                    </a:lnTo>
                    <a:lnTo>
                      <a:pt x="556" y="359"/>
                    </a:lnTo>
                    <a:lnTo>
                      <a:pt x="525" y="354"/>
                    </a:lnTo>
                    <a:lnTo>
                      <a:pt x="531" y="337"/>
                    </a:lnTo>
                    <a:lnTo>
                      <a:pt x="548" y="332"/>
                    </a:lnTo>
                    <a:lnTo>
                      <a:pt x="569" y="348"/>
                    </a:lnTo>
                    <a:lnTo>
                      <a:pt x="588" y="358"/>
                    </a:lnTo>
                    <a:lnTo>
                      <a:pt x="598" y="342"/>
                    </a:lnTo>
                    <a:lnTo>
                      <a:pt x="586" y="318"/>
                    </a:lnTo>
                    <a:lnTo>
                      <a:pt x="558" y="307"/>
                    </a:lnTo>
                    <a:lnTo>
                      <a:pt x="561" y="290"/>
                    </a:lnTo>
                    <a:lnTo>
                      <a:pt x="581" y="290"/>
                    </a:lnTo>
                    <a:lnTo>
                      <a:pt x="588" y="298"/>
                    </a:lnTo>
                    <a:lnTo>
                      <a:pt x="596" y="285"/>
                    </a:lnTo>
                    <a:lnTo>
                      <a:pt x="616" y="280"/>
                    </a:lnTo>
                    <a:lnTo>
                      <a:pt x="609" y="267"/>
                    </a:lnTo>
                    <a:lnTo>
                      <a:pt x="626" y="267"/>
                    </a:lnTo>
                    <a:lnTo>
                      <a:pt x="641" y="253"/>
                    </a:lnTo>
                    <a:lnTo>
                      <a:pt x="646" y="237"/>
                    </a:lnTo>
                    <a:lnTo>
                      <a:pt x="624" y="227"/>
                    </a:lnTo>
                    <a:lnTo>
                      <a:pt x="621" y="210"/>
                    </a:lnTo>
                    <a:lnTo>
                      <a:pt x="631" y="198"/>
                    </a:lnTo>
                    <a:lnTo>
                      <a:pt x="643" y="195"/>
                    </a:lnTo>
                    <a:lnTo>
                      <a:pt x="641" y="172"/>
                    </a:lnTo>
                    <a:lnTo>
                      <a:pt x="598" y="168"/>
                    </a:lnTo>
                    <a:lnTo>
                      <a:pt x="609" y="142"/>
                    </a:lnTo>
                    <a:lnTo>
                      <a:pt x="631" y="128"/>
                    </a:lnTo>
                    <a:lnTo>
                      <a:pt x="643" y="117"/>
                    </a:lnTo>
                    <a:lnTo>
                      <a:pt x="618" y="105"/>
                    </a:lnTo>
                    <a:lnTo>
                      <a:pt x="636" y="97"/>
                    </a:lnTo>
                    <a:lnTo>
                      <a:pt x="651" y="95"/>
                    </a:lnTo>
                    <a:lnTo>
                      <a:pt x="686" y="85"/>
                    </a:lnTo>
                    <a:lnTo>
                      <a:pt x="719" y="63"/>
                    </a:lnTo>
                    <a:lnTo>
                      <a:pt x="656" y="58"/>
                    </a:lnTo>
                    <a:lnTo>
                      <a:pt x="624" y="68"/>
                    </a:lnTo>
                    <a:lnTo>
                      <a:pt x="578" y="91"/>
                    </a:lnTo>
                    <a:lnTo>
                      <a:pt x="601" y="50"/>
                    </a:lnTo>
                    <a:lnTo>
                      <a:pt x="550" y="68"/>
                    </a:lnTo>
                    <a:lnTo>
                      <a:pt x="553" y="45"/>
                    </a:lnTo>
                    <a:lnTo>
                      <a:pt x="470" y="53"/>
                    </a:lnTo>
                    <a:lnTo>
                      <a:pt x="518" y="37"/>
                    </a:lnTo>
                    <a:lnTo>
                      <a:pt x="578" y="28"/>
                    </a:lnTo>
                    <a:lnTo>
                      <a:pt x="598" y="23"/>
                    </a:lnTo>
                    <a:lnTo>
                      <a:pt x="558" y="8"/>
                    </a:lnTo>
                    <a:lnTo>
                      <a:pt x="470" y="20"/>
                    </a:lnTo>
                    <a:lnTo>
                      <a:pt x="518" y="0"/>
                    </a:lnTo>
                    <a:lnTo>
                      <a:pt x="413" y="3"/>
                    </a:lnTo>
                    <a:lnTo>
                      <a:pt x="383" y="30"/>
                    </a:lnTo>
                    <a:lnTo>
                      <a:pt x="340" y="15"/>
                    </a:lnTo>
                    <a:lnTo>
                      <a:pt x="340" y="36"/>
                    </a:lnTo>
                    <a:lnTo>
                      <a:pt x="333" y="58"/>
                    </a:lnTo>
                    <a:lnTo>
                      <a:pt x="318" y="41"/>
                    </a:lnTo>
                    <a:lnTo>
                      <a:pt x="303" y="41"/>
                    </a:lnTo>
                    <a:lnTo>
                      <a:pt x="283" y="41"/>
                    </a:lnTo>
                    <a:lnTo>
                      <a:pt x="283" y="65"/>
                    </a:lnTo>
                    <a:lnTo>
                      <a:pt x="261" y="65"/>
                    </a:lnTo>
                    <a:lnTo>
                      <a:pt x="258" y="45"/>
                    </a:lnTo>
                    <a:lnTo>
                      <a:pt x="235" y="43"/>
                    </a:lnTo>
                    <a:lnTo>
                      <a:pt x="240" y="55"/>
                    </a:lnTo>
                    <a:lnTo>
                      <a:pt x="200" y="41"/>
                    </a:lnTo>
                    <a:lnTo>
                      <a:pt x="183" y="50"/>
                    </a:lnTo>
                    <a:lnTo>
                      <a:pt x="167" y="50"/>
                    </a:lnTo>
                    <a:lnTo>
                      <a:pt x="150" y="65"/>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69" name="Freeform 105">
                <a:extLst>
                  <a:ext uri="{FF2B5EF4-FFF2-40B4-BE49-F238E27FC236}">
                    <a16:creationId xmlns:a16="http://schemas.microsoft.com/office/drawing/2014/main" id="{D40218AC-24C2-A732-52A0-6E81B5CBBB86}"/>
                  </a:ext>
                </a:extLst>
              </p:cNvPr>
              <p:cNvSpPr>
                <a:spLocks/>
              </p:cNvSpPr>
              <p:nvPr/>
            </p:nvSpPr>
            <p:spPr bwMode="auto">
              <a:xfrm>
                <a:off x="5790521" y="2004845"/>
                <a:ext cx="36330" cy="39136"/>
              </a:xfrm>
              <a:custGeom>
                <a:avLst/>
                <a:gdLst>
                  <a:gd name="T0" fmla="*/ 11 w 23"/>
                  <a:gd name="T1" fmla="*/ 0 h 25"/>
                  <a:gd name="T2" fmla="*/ 0 w 23"/>
                  <a:gd name="T3" fmla="*/ 12 h 25"/>
                  <a:gd name="T4" fmla="*/ 5 w 23"/>
                  <a:gd name="T5" fmla="*/ 24 h 25"/>
                  <a:gd name="T6" fmla="*/ 14 w 23"/>
                  <a:gd name="T7" fmla="*/ 22 h 25"/>
                  <a:gd name="T8" fmla="*/ 22 w 23"/>
                  <a:gd name="T9" fmla="*/ 9 h 25"/>
                  <a:gd name="T10" fmla="*/ 11 w 23"/>
                  <a:gd name="T11" fmla="*/ 0 h 25"/>
                </a:gdLst>
                <a:ahLst/>
                <a:cxnLst>
                  <a:cxn ang="0">
                    <a:pos x="T0" y="T1"/>
                  </a:cxn>
                  <a:cxn ang="0">
                    <a:pos x="T2" y="T3"/>
                  </a:cxn>
                  <a:cxn ang="0">
                    <a:pos x="T4" y="T5"/>
                  </a:cxn>
                  <a:cxn ang="0">
                    <a:pos x="T6" y="T7"/>
                  </a:cxn>
                  <a:cxn ang="0">
                    <a:pos x="T8" y="T9"/>
                  </a:cxn>
                  <a:cxn ang="0">
                    <a:pos x="T10" y="T11"/>
                  </a:cxn>
                </a:cxnLst>
                <a:rect l="0" t="0" r="r" b="b"/>
                <a:pathLst>
                  <a:path w="23" h="25">
                    <a:moveTo>
                      <a:pt x="11" y="0"/>
                    </a:moveTo>
                    <a:lnTo>
                      <a:pt x="0" y="12"/>
                    </a:lnTo>
                    <a:lnTo>
                      <a:pt x="5" y="24"/>
                    </a:lnTo>
                    <a:lnTo>
                      <a:pt x="14" y="22"/>
                    </a:lnTo>
                    <a:lnTo>
                      <a:pt x="22" y="9"/>
                    </a:lnTo>
                    <a:lnTo>
                      <a:pt x="11" y="0"/>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70" name="Freeform 106">
                <a:extLst>
                  <a:ext uri="{FF2B5EF4-FFF2-40B4-BE49-F238E27FC236}">
                    <a16:creationId xmlns:a16="http://schemas.microsoft.com/office/drawing/2014/main" id="{690168E8-06CA-8A19-BD89-ECAAC6FCB6E0}"/>
                  </a:ext>
                </a:extLst>
              </p:cNvPr>
              <p:cNvSpPr>
                <a:spLocks/>
              </p:cNvSpPr>
              <p:nvPr/>
            </p:nvSpPr>
            <p:spPr bwMode="auto">
              <a:xfrm>
                <a:off x="5966582" y="1969901"/>
                <a:ext cx="51700" cy="27955"/>
              </a:xfrm>
              <a:custGeom>
                <a:avLst/>
                <a:gdLst>
                  <a:gd name="T0" fmla="*/ 27 w 33"/>
                  <a:gd name="T1" fmla="*/ 4 h 17"/>
                  <a:gd name="T2" fmla="*/ 13 w 33"/>
                  <a:gd name="T3" fmla="*/ 0 h 17"/>
                  <a:gd name="T4" fmla="*/ 0 w 33"/>
                  <a:gd name="T5" fmla="*/ 12 h 17"/>
                  <a:gd name="T6" fmla="*/ 9 w 33"/>
                  <a:gd name="T7" fmla="*/ 14 h 17"/>
                  <a:gd name="T8" fmla="*/ 32 w 33"/>
                  <a:gd name="T9" fmla="*/ 16 h 17"/>
                  <a:gd name="T10" fmla="*/ 27 w 33"/>
                  <a:gd name="T11" fmla="*/ 4 h 17"/>
                </a:gdLst>
                <a:ahLst/>
                <a:cxnLst>
                  <a:cxn ang="0">
                    <a:pos x="T0" y="T1"/>
                  </a:cxn>
                  <a:cxn ang="0">
                    <a:pos x="T2" y="T3"/>
                  </a:cxn>
                  <a:cxn ang="0">
                    <a:pos x="T4" y="T5"/>
                  </a:cxn>
                  <a:cxn ang="0">
                    <a:pos x="T6" y="T7"/>
                  </a:cxn>
                  <a:cxn ang="0">
                    <a:pos x="T8" y="T9"/>
                  </a:cxn>
                  <a:cxn ang="0">
                    <a:pos x="T10" y="T11"/>
                  </a:cxn>
                </a:cxnLst>
                <a:rect l="0" t="0" r="r" b="b"/>
                <a:pathLst>
                  <a:path w="33" h="17">
                    <a:moveTo>
                      <a:pt x="27" y="4"/>
                    </a:moveTo>
                    <a:lnTo>
                      <a:pt x="13" y="0"/>
                    </a:lnTo>
                    <a:lnTo>
                      <a:pt x="0" y="12"/>
                    </a:lnTo>
                    <a:lnTo>
                      <a:pt x="9" y="14"/>
                    </a:lnTo>
                    <a:lnTo>
                      <a:pt x="32" y="16"/>
                    </a:lnTo>
                    <a:lnTo>
                      <a:pt x="27" y="4"/>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71" name="Freeform 107">
                <a:extLst>
                  <a:ext uri="{FF2B5EF4-FFF2-40B4-BE49-F238E27FC236}">
                    <a16:creationId xmlns:a16="http://schemas.microsoft.com/office/drawing/2014/main" id="{559938ED-811C-9F2F-AF38-A08DA6250D81}"/>
                  </a:ext>
                </a:extLst>
              </p:cNvPr>
              <p:cNvSpPr>
                <a:spLocks/>
              </p:cNvSpPr>
              <p:nvPr/>
            </p:nvSpPr>
            <p:spPr bwMode="auto">
              <a:xfrm>
                <a:off x="6198536" y="1804969"/>
                <a:ext cx="20960" cy="25159"/>
              </a:xfrm>
              <a:custGeom>
                <a:avLst/>
                <a:gdLst>
                  <a:gd name="T0" fmla="*/ 6 w 14"/>
                  <a:gd name="T1" fmla="*/ 15 h 16"/>
                  <a:gd name="T2" fmla="*/ 7 w 14"/>
                  <a:gd name="T3" fmla="*/ 15 h 16"/>
                  <a:gd name="T4" fmla="*/ 8 w 14"/>
                  <a:gd name="T5" fmla="*/ 15 h 16"/>
                  <a:gd name="T6" fmla="*/ 9 w 14"/>
                  <a:gd name="T7" fmla="*/ 14 h 16"/>
                  <a:gd name="T8" fmla="*/ 11 w 14"/>
                  <a:gd name="T9" fmla="*/ 14 h 16"/>
                  <a:gd name="T10" fmla="*/ 11 w 14"/>
                  <a:gd name="T11" fmla="*/ 13 h 16"/>
                  <a:gd name="T12" fmla="*/ 11 w 14"/>
                  <a:gd name="T13" fmla="*/ 12 h 16"/>
                  <a:gd name="T14" fmla="*/ 11 w 14"/>
                  <a:gd name="T15" fmla="*/ 11 h 16"/>
                  <a:gd name="T16" fmla="*/ 11 w 14"/>
                  <a:gd name="T17" fmla="*/ 10 h 16"/>
                  <a:gd name="T18" fmla="*/ 11 w 14"/>
                  <a:gd name="T19" fmla="*/ 9 h 16"/>
                  <a:gd name="T20" fmla="*/ 13 w 14"/>
                  <a:gd name="T21" fmla="*/ 8 h 16"/>
                  <a:gd name="T22" fmla="*/ 11 w 14"/>
                  <a:gd name="T23" fmla="*/ 8 h 16"/>
                  <a:gd name="T24" fmla="*/ 11 w 14"/>
                  <a:gd name="T25" fmla="*/ 7 h 16"/>
                  <a:gd name="T26" fmla="*/ 11 w 14"/>
                  <a:gd name="T27" fmla="*/ 5 h 16"/>
                  <a:gd name="T28" fmla="*/ 11 w 14"/>
                  <a:gd name="T29" fmla="*/ 4 h 16"/>
                  <a:gd name="T30" fmla="*/ 11 w 14"/>
                  <a:gd name="T31" fmla="*/ 3 h 16"/>
                  <a:gd name="T32" fmla="*/ 11 w 14"/>
                  <a:gd name="T33" fmla="*/ 2 h 16"/>
                  <a:gd name="T34" fmla="*/ 9 w 14"/>
                  <a:gd name="T35" fmla="*/ 1 h 16"/>
                  <a:gd name="T36" fmla="*/ 8 w 14"/>
                  <a:gd name="T37" fmla="*/ 1 h 16"/>
                  <a:gd name="T38" fmla="*/ 7 w 14"/>
                  <a:gd name="T39" fmla="*/ 0 h 16"/>
                  <a:gd name="T40" fmla="*/ 6 w 14"/>
                  <a:gd name="T41" fmla="*/ 0 h 16"/>
                  <a:gd name="T42" fmla="*/ 4 w 14"/>
                  <a:gd name="T43" fmla="*/ 0 h 16"/>
                  <a:gd name="T44" fmla="*/ 3 w 14"/>
                  <a:gd name="T45" fmla="*/ 1 h 16"/>
                  <a:gd name="T46" fmla="*/ 2 w 14"/>
                  <a:gd name="T47" fmla="*/ 2 h 16"/>
                  <a:gd name="T48" fmla="*/ 1 w 14"/>
                  <a:gd name="T49" fmla="*/ 3 h 16"/>
                  <a:gd name="T50" fmla="*/ 0 w 14"/>
                  <a:gd name="T51" fmla="*/ 4 h 16"/>
                  <a:gd name="T52" fmla="*/ 0 w 14"/>
                  <a:gd name="T53" fmla="*/ 5 h 16"/>
                  <a:gd name="T54" fmla="*/ 0 w 14"/>
                  <a:gd name="T55" fmla="*/ 7 h 16"/>
                  <a:gd name="T56" fmla="*/ 0 w 14"/>
                  <a:gd name="T57" fmla="*/ 8 h 16"/>
                  <a:gd name="T58" fmla="*/ 0 w 14"/>
                  <a:gd name="T59" fmla="*/ 9 h 16"/>
                  <a:gd name="T60" fmla="*/ 0 w 14"/>
                  <a:gd name="T61" fmla="*/ 10 h 16"/>
                  <a:gd name="T62" fmla="*/ 0 w 14"/>
                  <a:gd name="T63" fmla="*/ 11 h 16"/>
                  <a:gd name="T64" fmla="*/ 0 w 14"/>
                  <a:gd name="T65" fmla="*/ 12 h 16"/>
                  <a:gd name="T66" fmla="*/ 1 w 14"/>
                  <a:gd name="T67" fmla="*/ 13 h 16"/>
                  <a:gd name="T68" fmla="*/ 2 w 14"/>
                  <a:gd name="T69" fmla="*/ 14 h 16"/>
                  <a:gd name="T70" fmla="*/ 3 w 14"/>
                  <a:gd name="T71" fmla="*/ 14 h 16"/>
                  <a:gd name="T72" fmla="*/ 3 w 14"/>
                  <a:gd name="T73" fmla="*/ 15 h 16"/>
                  <a:gd name="T74" fmla="*/ 4 w 14"/>
                  <a:gd name="T75" fmla="*/ 15 h 16"/>
                  <a:gd name="T76" fmla="*/ 6 w 14"/>
                  <a:gd name="T77"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16">
                    <a:moveTo>
                      <a:pt x="6" y="15"/>
                    </a:moveTo>
                    <a:lnTo>
                      <a:pt x="7" y="15"/>
                    </a:lnTo>
                    <a:lnTo>
                      <a:pt x="8" y="15"/>
                    </a:lnTo>
                    <a:lnTo>
                      <a:pt x="9" y="14"/>
                    </a:lnTo>
                    <a:lnTo>
                      <a:pt x="11" y="14"/>
                    </a:lnTo>
                    <a:lnTo>
                      <a:pt x="11" y="13"/>
                    </a:lnTo>
                    <a:lnTo>
                      <a:pt x="11" y="12"/>
                    </a:lnTo>
                    <a:lnTo>
                      <a:pt x="11" y="11"/>
                    </a:lnTo>
                    <a:lnTo>
                      <a:pt x="11" y="10"/>
                    </a:lnTo>
                    <a:lnTo>
                      <a:pt x="11" y="9"/>
                    </a:lnTo>
                    <a:lnTo>
                      <a:pt x="13" y="8"/>
                    </a:lnTo>
                    <a:lnTo>
                      <a:pt x="11" y="8"/>
                    </a:lnTo>
                    <a:lnTo>
                      <a:pt x="11" y="7"/>
                    </a:lnTo>
                    <a:lnTo>
                      <a:pt x="11" y="5"/>
                    </a:lnTo>
                    <a:lnTo>
                      <a:pt x="11" y="4"/>
                    </a:lnTo>
                    <a:lnTo>
                      <a:pt x="11" y="3"/>
                    </a:lnTo>
                    <a:lnTo>
                      <a:pt x="11" y="2"/>
                    </a:lnTo>
                    <a:lnTo>
                      <a:pt x="9" y="1"/>
                    </a:lnTo>
                    <a:lnTo>
                      <a:pt x="8" y="1"/>
                    </a:lnTo>
                    <a:lnTo>
                      <a:pt x="7" y="0"/>
                    </a:lnTo>
                    <a:lnTo>
                      <a:pt x="6" y="0"/>
                    </a:lnTo>
                    <a:lnTo>
                      <a:pt x="4" y="0"/>
                    </a:lnTo>
                    <a:lnTo>
                      <a:pt x="3" y="1"/>
                    </a:lnTo>
                    <a:lnTo>
                      <a:pt x="2" y="2"/>
                    </a:lnTo>
                    <a:lnTo>
                      <a:pt x="1" y="3"/>
                    </a:lnTo>
                    <a:lnTo>
                      <a:pt x="0" y="4"/>
                    </a:lnTo>
                    <a:lnTo>
                      <a:pt x="0" y="5"/>
                    </a:lnTo>
                    <a:lnTo>
                      <a:pt x="0" y="7"/>
                    </a:lnTo>
                    <a:lnTo>
                      <a:pt x="0" y="8"/>
                    </a:lnTo>
                    <a:lnTo>
                      <a:pt x="0" y="9"/>
                    </a:lnTo>
                    <a:lnTo>
                      <a:pt x="0" y="10"/>
                    </a:lnTo>
                    <a:lnTo>
                      <a:pt x="0" y="11"/>
                    </a:lnTo>
                    <a:lnTo>
                      <a:pt x="0" y="12"/>
                    </a:lnTo>
                    <a:lnTo>
                      <a:pt x="1" y="13"/>
                    </a:lnTo>
                    <a:lnTo>
                      <a:pt x="2" y="14"/>
                    </a:lnTo>
                    <a:lnTo>
                      <a:pt x="3" y="14"/>
                    </a:lnTo>
                    <a:lnTo>
                      <a:pt x="3" y="15"/>
                    </a:lnTo>
                    <a:lnTo>
                      <a:pt x="4" y="15"/>
                    </a:lnTo>
                    <a:lnTo>
                      <a:pt x="6" y="15"/>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72" name="Freeform 111">
                <a:extLst>
                  <a:ext uri="{FF2B5EF4-FFF2-40B4-BE49-F238E27FC236}">
                    <a16:creationId xmlns:a16="http://schemas.microsoft.com/office/drawing/2014/main" id="{975BF812-8534-AB24-CDE5-9DA5598B1FB7}"/>
                  </a:ext>
                </a:extLst>
              </p:cNvPr>
              <p:cNvSpPr>
                <a:spLocks/>
              </p:cNvSpPr>
              <p:nvPr/>
            </p:nvSpPr>
            <p:spPr bwMode="auto">
              <a:xfrm>
                <a:off x="7767711" y="3170547"/>
                <a:ext cx="27947" cy="26556"/>
              </a:xfrm>
              <a:custGeom>
                <a:avLst/>
                <a:gdLst>
                  <a:gd name="T0" fmla="*/ 1 w 18"/>
                  <a:gd name="T1" fmla="*/ 6 h 17"/>
                  <a:gd name="T2" fmla="*/ 0 w 18"/>
                  <a:gd name="T3" fmla="*/ 16 h 17"/>
                  <a:gd name="T4" fmla="*/ 9 w 18"/>
                  <a:gd name="T5" fmla="*/ 16 h 17"/>
                  <a:gd name="T6" fmla="*/ 17 w 18"/>
                  <a:gd name="T7" fmla="*/ 6 h 17"/>
                  <a:gd name="T8" fmla="*/ 7 w 18"/>
                  <a:gd name="T9" fmla="*/ 0 h 17"/>
                  <a:gd name="T10" fmla="*/ 1 w 18"/>
                  <a:gd name="T11" fmla="*/ 2 h 17"/>
                </a:gdLst>
                <a:ahLst/>
                <a:cxnLst>
                  <a:cxn ang="0">
                    <a:pos x="T0" y="T1"/>
                  </a:cxn>
                  <a:cxn ang="0">
                    <a:pos x="T2" y="T3"/>
                  </a:cxn>
                  <a:cxn ang="0">
                    <a:pos x="T4" y="T5"/>
                  </a:cxn>
                  <a:cxn ang="0">
                    <a:pos x="T6" y="T7"/>
                  </a:cxn>
                  <a:cxn ang="0">
                    <a:pos x="T8" y="T9"/>
                  </a:cxn>
                  <a:cxn ang="0">
                    <a:pos x="T10" y="T11"/>
                  </a:cxn>
                </a:cxnLst>
                <a:rect l="0" t="0" r="r" b="b"/>
                <a:pathLst>
                  <a:path w="18" h="17">
                    <a:moveTo>
                      <a:pt x="1" y="6"/>
                    </a:moveTo>
                    <a:lnTo>
                      <a:pt x="0" y="16"/>
                    </a:lnTo>
                    <a:lnTo>
                      <a:pt x="9" y="16"/>
                    </a:lnTo>
                    <a:lnTo>
                      <a:pt x="17" y="6"/>
                    </a:lnTo>
                    <a:lnTo>
                      <a:pt x="7" y="0"/>
                    </a:lnTo>
                    <a:lnTo>
                      <a:pt x="1" y="2"/>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73" name="Freeform 112">
                <a:extLst>
                  <a:ext uri="{FF2B5EF4-FFF2-40B4-BE49-F238E27FC236}">
                    <a16:creationId xmlns:a16="http://schemas.microsoft.com/office/drawing/2014/main" id="{5687F152-1BC1-B568-B806-200FCED64E35}"/>
                  </a:ext>
                </a:extLst>
              </p:cNvPr>
              <p:cNvSpPr>
                <a:spLocks/>
              </p:cNvSpPr>
              <p:nvPr/>
            </p:nvSpPr>
            <p:spPr bwMode="auto">
              <a:xfrm>
                <a:off x="5539006" y="3110445"/>
                <a:ext cx="51700" cy="25159"/>
              </a:xfrm>
              <a:custGeom>
                <a:avLst/>
                <a:gdLst>
                  <a:gd name="T0" fmla="*/ 16 w 32"/>
                  <a:gd name="T1" fmla="*/ 11 h 16"/>
                  <a:gd name="T2" fmla="*/ 15 w 32"/>
                  <a:gd name="T3" fmla="*/ 11 h 16"/>
                  <a:gd name="T4" fmla="*/ 14 w 32"/>
                  <a:gd name="T5" fmla="*/ 11 h 16"/>
                  <a:gd name="T6" fmla="*/ 12 w 32"/>
                  <a:gd name="T7" fmla="*/ 11 h 16"/>
                  <a:gd name="T8" fmla="*/ 12 w 32"/>
                  <a:gd name="T9" fmla="*/ 12 h 16"/>
                  <a:gd name="T10" fmla="*/ 11 w 32"/>
                  <a:gd name="T11" fmla="*/ 12 h 16"/>
                  <a:gd name="T12" fmla="*/ 9 w 32"/>
                  <a:gd name="T13" fmla="*/ 13 h 16"/>
                  <a:gd name="T14" fmla="*/ 8 w 32"/>
                  <a:gd name="T15" fmla="*/ 13 h 16"/>
                  <a:gd name="T16" fmla="*/ 6 w 32"/>
                  <a:gd name="T17" fmla="*/ 14 h 16"/>
                  <a:gd name="T18" fmla="*/ 5 w 32"/>
                  <a:gd name="T19" fmla="*/ 14 h 16"/>
                  <a:gd name="T20" fmla="*/ 4 w 32"/>
                  <a:gd name="T21" fmla="*/ 15 h 16"/>
                  <a:gd name="T22" fmla="*/ 3 w 32"/>
                  <a:gd name="T23" fmla="*/ 14 h 16"/>
                  <a:gd name="T24" fmla="*/ 1 w 32"/>
                  <a:gd name="T25" fmla="*/ 14 h 16"/>
                  <a:gd name="T26" fmla="*/ 0 w 32"/>
                  <a:gd name="T27" fmla="*/ 13 h 16"/>
                  <a:gd name="T28" fmla="*/ 0 w 32"/>
                  <a:gd name="T29" fmla="*/ 12 h 16"/>
                  <a:gd name="T30" fmla="*/ 0 w 32"/>
                  <a:gd name="T31" fmla="*/ 11 h 16"/>
                  <a:gd name="T32" fmla="*/ 0 w 32"/>
                  <a:gd name="T33" fmla="*/ 10 h 16"/>
                  <a:gd name="T34" fmla="*/ 0 w 32"/>
                  <a:gd name="T35" fmla="*/ 9 h 16"/>
                  <a:gd name="T36" fmla="*/ 0 w 32"/>
                  <a:gd name="T37" fmla="*/ 8 h 16"/>
                  <a:gd name="T38" fmla="*/ 0 w 32"/>
                  <a:gd name="T39" fmla="*/ 7 h 16"/>
                  <a:gd name="T40" fmla="*/ 0 w 32"/>
                  <a:gd name="T41" fmla="*/ 6 h 16"/>
                  <a:gd name="T42" fmla="*/ 0 w 32"/>
                  <a:gd name="T43" fmla="*/ 5 h 16"/>
                  <a:gd name="T44" fmla="*/ 1 w 32"/>
                  <a:gd name="T45" fmla="*/ 4 h 16"/>
                  <a:gd name="T46" fmla="*/ 2 w 32"/>
                  <a:gd name="T47" fmla="*/ 4 h 16"/>
                  <a:gd name="T48" fmla="*/ 3 w 32"/>
                  <a:gd name="T49" fmla="*/ 4 h 16"/>
                  <a:gd name="T50" fmla="*/ 4 w 32"/>
                  <a:gd name="T51" fmla="*/ 4 h 16"/>
                  <a:gd name="T52" fmla="*/ 5 w 32"/>
                  <a:gd name="T53" fmla="*/ 4 h 16"/>
                  <a:gd name="T54" fmla="*/ 7 w 32"/>
                  <a:gd name="T55" fmla="*/ 4 h 16"/>
                  <a:gd name="T56" fmla="*/ 8 w 32"/>
                  <a:gd name="T57" fmla="*/ 4 h 16"/>
                  <a:gd name="T58" fmla="*/ 10 w 32"/>
                  <a:gd name="T59" fmla="*/ 4 h 16"/>
                  <a:gd name="T60" fmla="*/ 12 w 32"/>
                  <a:gd name="T61" fmla="*/ 4 h 16"/>
                  <a:gd name="T62" fmla="*/ 14 w 32"/>
                  <a:gd name="T63" fmla="*/ 4 h 16"/>
                  <a:gd name="T64" fmla="*/ 15 w 32"/>
                  <a:gd name="T65" fmla="*/ 4 h 16"/>
                  <a:gd name="T66" fmla="*/ 16 w 32"/>
                  <a:gd name="T67" fmla="*/ 4 h 16"/>
                  <a:gd name="T68" fmla="*/ 18 w 32"/>
                  <a:gd name="T69" fmla="*/ 4 h 16"/>
                  <a:gd name="T70" fmla="*/ 19 w 32"/>
                  <a:gd name="T71" fmla="*/ 3 h 16"/>
                  <a:gd name="T72" fmla="*/ 20 w 32"/>
                  <a:gd name="T73" fmla="*/ 2 h 16"/>
                  <a:gd name="T74" fmla="*/ 23 w 32"/>
                  <a:gd name="T75" fmla="*/ 2 h 16"/>
                  <a:gd name="T76" fmla="*/ 24 w 32"/>
                  <a:gd name="T77" fmla="*/ 1 h 16"/>
                  <a:gd name="T78" fmla="*/ 26 w 32"/>
                  <a:gd name="T79" fmla="*/ 0 h 16"/>
                  <a:gd name="T80" fmla="*/ 27 w 32"/>
                  <a:gd name="T81" fmla="*/ 0 h 16"/>
                  <a:gd name="T82" fmla="*/ 28 w 32"/>
                  <a:gd name="T83" fmla="*/ 0 h 16"/>
                  <a:gd name="T84" fmla="*/ 29 w 32"/>
                  <a:gd name="T85" fmla="*/ 0 h 16"/>
                  <a:gd name="T86" fmla="*/ 31 w 32"/>
                  <a:gd name="T87" fmla="*/ 0 h 16"/>
                  <a:gd name="T88" fmla="*/ 31 w 32"/>
                  <a:gd name="T89" fmla="*/ 1 h 16"/>
                  <a:gd name="T90" fmla="*/ 31 w 32"/>
                  <a:gd name="T91" fmla="*/ 2 h 16"/>
                  <a:gd name="T92" fmla="*/ 31 w 32"/>
                  <a:gd name="T93" fmla="*/ 3 h 16"/>
                  <a:gd name="T94" fmla="*/ 30 w 32"/>
                  <a:gd name="T95" fmla="*/ 4 h 16"/>
                  <a:gd name="T96" fmla="*/ 29 w 32"/>
                  <a:gd name="T97" fmla="*/ 4 h 16"/>
                  <a:gd name="T98" fmla="*/ 28 w 32"/>
                  <a:gd name="T99" fmla="*/ 4 h 16"/>
                  <a:gd name="T100" fmla="*/ 27 w 32"/>
                  <a:gd name="T101" fmla="*/ 6 h 16"/>
                  <a:gd name="T102" fmla="*/ 27 w 32"/>
                  <a:gd name="T103" fmla="*/ 7 h 16"/>
                  <a:gd name="T104" fmla="*/ 27 w 32"/>
                  <a:gd name="T105" fmla="*/ 8 h 16"/>
                  <a:gd name="T106" fmla="*/ 27 w 32"/>
                  <a:gd name="T107" fmla="*/ 9 h 16"/>
                  <a:gd name="T108" fmla="*/ 26 w 32"/>
                  <a:gd name="T109" fmla="*/ 9 h 16"/>
                  <a:gd name="T110" fmla="*/ 26 w 32"/>
                  <a:gd name="T111" fmla="*/ 10 h 16"/>
                  <a:gd name="T112" fmla="*/ 24 w 32"/>
                  <a:gd name="T113" fmla="*/ 11 h 16"/>
                  <a:gd name="T114" fmla="*/ 23 w 32"/>
                  <a:gd name="T115" fmla="*/ 11 h 16"/>
                  <a:gd name="T116" fmla="*/ 21 w 32"/>
                  <a:gd name="T117" fmla="*/ 11 h 16"/>
                  <a:gd name="T118" fmla="*/ 19 w 32"/>
                  <a:gd name="T119" fmla="*/ 11 h 16"/>
                  <a:gd name="T120" fmla="*/ 18 w 32"/>
                  <a:gd name="T121" fmla="*/ 11 h 16"/>
                  <a:gd name="T122" fmla="*/ 16 w 32"/>
                  <a:gd name="T123" fmla="*/ 1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 h="16">
                    <a:moveTo>
                      <a:pt x="16" y="11"/>
                    </a:moveTo>
                    <a:lnTo>
                      <a:pt x="15" y="11"/>
                    </a:lnTo>
                    <a:lnTo>
                      <a:pt x="14" y="11"/>
                    </a:lnTo>
                    <a:lnTo>
                      <a:pt x="12" y="11"/>
                    </a:lnTo>
                    <a:lnTo>
                      <a:pt x="12" y="12"/>
                    </a:lnTo>
                    <a:lnTo>
                      <a:pt x="11" y="12"/>
                    </a:lnTo>
                    <a:lnTo>
                      <a:pt x="9" y="13"/>
                    </a:lnTo>
                    <a:lnTo>
                      <a:pt x="8" y="13"/>
                    </a:lnTo>
                    <a:lnTo>
                      <a:pt x="6" y="14"/>
                    </a:lnTo>
                    <a:lnTo>
                      <a:pt x="5" y="14"/>
                    </a:lnTo>
                    <a:lnTo>
                      <a:pt x="4" y="15"/>
                    </a:lnTo>
                    <a:lnTo>
                      <a:pt x="3" y="14"/>
                    </a:lnTo>
                    <a:lnTo>
                      <a:pt x="1" y="14"/>
                    </a:lnTo>
                    <a:lnTo>
                      <a:pt x="0" y="13"/>
                    </a:lnTo>
                    <a:lnTo>
                      <a:pt x="0" y="12"/>
                    </a:lnTo>
                    <a:lnTo>
                      <a:pt x="0" y="11"/>
                    </a:lnTo>
                    <a:lnTo>
                      <a:pt x="0" y="10"/>
                    </a:lnTo>
                    <a:lnTo>
                      <a:pt x="0" y="9"/>
                    </a:lnTo>
                    <a:lnTo>
                      <a:pt x="0" y="8"/>
                    </a:lnTo>
                    <a:lnTo>
                      <a:pt x="0" y="7"/>
                    </a:lnTo>
                    <a:lnTo>
                      <a:pt x="0" y="6"/>
                    </a:lnTo>
                    <a:lnTo>
                      <a:pt x="0" y="5"/>
                    </a:lnTo>
                    <a:lnTo>
                      <a:pt x="1" y="4"/>
                    </a:lnTo>
                    <a:lnTo>
                      <a:pt x="2" y="4"/>
                    </a:lnTo>
                    <a:lnTo>
                      <a:pt x="3" y="4"/>
                    </a:lnTo>
                    <a:lnTo>
                      <a:pt x="4" y="4"/>
                    </a:lnTo>
                    <a:lnTo>
                      <a:pt x="5" y="4"/>
                    </a:lnTo>
                    <a:lnTo>
                      <a:pt x="7" y="4"/>
                    </a:lnTo>
                    <a:lnTo>
                      <a:pt x="8" y="4"/>
                    </a:lnTo>
                    <a:lnTo>
                      <a:pt x="10" y="4"/>
                    </a:lnTo>
                    <a:lnTo>
                      <a:pt x="12" y="4"/>
                    </a:lnTo>
                    <a:lnTo>
                      <a:pt x="14" y="4"/>
                    </a:lnTo>
                    <a:lnTo>
                      <a:pt x="15" y="4"/>
                    </a:lnTo>
                    <a:lnTo>
                      <a:pt x="16" y="4"/>
                    </a:lnTo>
                    <a:lnTo>
                      <a:pt x="18" y="4"/>
                    </a:lnTo>
                    <a:lnTo>
                      <a:pt x="19" y="3"/>
                    </a:lnTo>
                    <a:lnTo>
                      <a:pt x="20" y="2"/>
                    </a:lnTo>
                    <a:lnTo>
                      <a:pt x="23" y="2"/>
                    </a:lnTo>
                    <a:lnTo>
                      <a:pt x="24" y="1"/>
                    </a:lnTo>
                    <a:lnTo>
                      <a:pt x="26" y="0"/>
                    </a:lnTo>
                    <a:lnTo>
                      <a:pt x="27" y="0"/>
                    </a:lnTo>
                    <a:lnTo>
                      <a:pt x="28" y="0"/>
                    </a:lnTo>
                    <a:lnTo>
                      <a:pt x="29" y="0"/>
                    </a:lnTo>
                    <a:lnTo>
                      <a:pt x="31" y="0"/>
                    </a:lnTo>
                    <a:lnTo>
                      <a:pt x="31" y="1"/>
                    </a:lnTo>
                    <a:lnTo>
                      <a:pt x="31" y="2"/>
                    </a:lnTo>
                    <a:lnTo>
                      <a:pt x="31" y="3"/>
                    </a:lnTo>
                    <a:lnTo>
                      <a:pt x="30" y="4"/>
                    </a:lnTo>
                    <a:lnTo>
                      <a:pt x="29" y="4"/>
                    </a:lnTo>
                    <a:lnTo>
                      <a:pt x="28" y="4"/>
                    </a:lnTo>
                    <a:lnTo>
                      <a:pt x="27" y="6"/>
                    </a:lnTo>
                    <a:lnTo>
                      <a:pt x="27" y="7"/>
                    </a:lnTo>
                    <a:lnTo>
                      <a:pt x="27" y="8"/>
                    </a:lnTo>
                    <a:lnTo>
                      <a:pt x="27" y="9"/>
                    </a:lnTo>
                    <a:lnTo>
                      <a:pt x="26" y="9"/>
                    </a:lnTo>
                    <a:lnTo>
                      <a:pt x="26" y="10"/>
                    </a:lnTo>
                    <a:lnTo>
                      <a:pt x="24" y="11"/>
                    </a:lnTo>
                    <a:lnTo>
                      <a:pt x="23" y="11"/>
                    </a:lnTo>
                    <a:lnTo>
                      <a:pt x="21" y="11"/>
                    </a:lnTo>
                    <a:lnTo>
                      <a:pt x="19" y="11"/>
                    </a:lnTo>
                    <a:lnTo>
                      <a:pt x="18" y="11"/>
                    </a:lnTo>
                    <a:lnTo>
                      <a:pt x="16" y="11"/>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74" name="Freeform 116">
                <a:extLst>
                  <a:ext uri="{FF2B5EF4-FFF2-40B4-BE49-F238E27FC236}">
                    <a16:creationId xmlns:a16="http://schemas.microsoft.com/office/drawing/2014/main" id="{80829D31-6B49-9198-728C-86CE5510D85F}"/>
                  </a:ext>
                </a:extLst>
              </p:cNvPr>
              <p:cNvSpPr>
                <a:spLocks/>
              </p:cNvSpPr>
              <p:nvPr/>
            </p:nvSpPr>
            <p:spPr bwMode="auto">
              <a:xfrm>
                <a:off x="7453318" y="4264966"/>
                <a:ext cx="20960" cy="20966"/>
              </a:xfrm>
              <a:custGeom>
                <a:avLst/>
                <a:gdLst>
                  <a:gd name="T0" fmla="*/ 7 w 14"/>
                  <a:gd name="T1" fmla="*/ 12 h 13"/>
                  <a:gd name="T2" fmla="*/ 7 w 14"/>
                  <a:gd name="T3" fmla="*/ 11 h 13"/>
                  <a:gd name="T4" fmla="*/ 8 w 14"/>
                  <a:gd name="T5" fmla="*/ 11 h 13"/>
                  <a:gd name="T6" fmla="*/ 9 w 14"/>
                  <a:gd name="T7" fmla="*/ 11 h 13"/>
                  <a:gd name="T8" fmla="*/ 10 w 14"/>
                  <a:gd name="T9" fmla="*/ 10 h 13"/>
                  <a:gd name="T10" fmla="*/ 11 w 14"/>
                  <a:gd name="T11" fmla="*/ 8 h 13"/>
                  <a:gd name="T12" fmla="*/ 13 w 14"/>
                  <a:gd name="T13" fmla="*/ 8 h 13"/>
                  <a:gd name="T14" fmla="*/ 13 w 14"/>
                  <a:gd name="T15" fmla="*/ 6 h 13"/>
                  <a:gd name="T16" fmla="*/ 13 w 14"/>
                  <a:gd name="T17" fmla="*/ 5 h 13"/>
                  <a:gd name="T18" fmla="*/ 13 w 14"/>
                  <a:gd name="T19" fmla="*/ 4 h 13"/>
                  <a:gd name="T20" fmla="*/ 13 w 14"/>
                  <a:gd name="T21" fmla="*/ 3 h 13"/>
                  <a:gd name="T22" fmla="*/ 11 w 14"/>
                  <a:gd name="T23" fmla="*/ 3 h 13"/>
                  <a:gd name="T24" fmla="*/ 11 w 14"/>
                  <a:gd name="T25" fmla="*/ 2 h 13"/>
                  <a:gd name="T26" fmla="*/ 11 w 14"/>
                  <a:gd name="T27" fmla="*/ 1 h 13"/>
                  <a:gd name="T28" fmla="*/ 10 w 14"/>
                  <a:gd name="T29" fmla="*/ 1 h 13"/>
                  <a:gd name="T30" fmla="*/ 9 w 14"/>
                  <a:gd name="T31" fmla="*/ 0 h 13"/>
                  <a:gd name="T32" fmla="*/ 8 w 14"/>
                  <a:gd name="T33" fmla="*/ 0 h 13"/>
                  <a:gd name="T34" fmla="*/ 7 w 14"/>
                  <a:gd name="T35" fmla="*/ 0 h 13"/>
                  <a:gd name="T36" fmla="*/ 4 w 14"/>
                  <a:gd name="T37" fmla="*/ 0 h 13"/>
                  <a:gd name="T38" fmla="*/ 3 w 14"/>
                  <a:gd name="T39" fmla="*/ 0 h 13"/>
                  <a:gd name="T40" fmla="*/ 2 w 14"/>
                  <a:gd name="T41" fmla="*/ 0 h 13"/>
                  <a:gd name="T42" fmla="*/ 2 w 14"/>
                  <a:gd name="T43" fmla="*/ 1 h 13"/>
                  <a:gd name="T44" fmla="*/ 1 w 14"/>
                  <a:gd name="T45" fmla="*/ 1 h 13"/>
                  <a:gd name="T46" fmla="*/ 1 w 14"/>
                  <a:gd name="T47" fmla="*/ 2 h 13"/>
                  <a:gd name="T48" fmla="*/ 1 w 14"/>
                  <a:gd name="T49" fmla="*/ 3 h 13"/>
                  <a:gd name="T50" fmla="*/ 0 w 14"/>
                  <a:gd name="T51" fmla="*/ 3 h 13"/>
                  <a:gd name="T52" fmla="*/ 0 w 14"/>
                  <a:gd name="T53" fmla="*/ 4 h 13"/>
                  <a:gd name="T54" fmla="*/ 0 w 14"/>
                  <a:gd name="T55" fmla="*/ 5 h 13"/>
                  <a:gd name="T56" fmla="*/ 0 w 14"/>
                  <a:gd name="T57" fmla="*/ 6 h 13"/>
                  <a:gd name="T58" fmla="*/ 0 w 14"/>
                  <a:gd name="T59" fmla="*/ 8 h 13"/>
                  <a:gd name="T60" fmla="*/ 1 w 14"/>
                  <a:gd name="T61" fmla="*/ 8 h 13"/>
                  <a:gd name="T62" fmla="*/ 2 w 14"/>
                  <a:gd name="T63" fmla="*/ 10 h 13"/>
                  <a:gd name="T64" fmla="*/ 2 w 14"/>
                  <a:gd name="T65" fmla="*/ 11 h 13"/>
                  <a:gd name="T66" fmla="*/ 3 w 14"/>
                  <a:gd name="T67" fmla="*/ 11 h 13"/>
                  <a:gd name="T68" fmla="*/ 4 w 14"/>
                  <a:gd name="T69" fmla="*/ 11 h 13"/>
                  <a:gd name="T70" fmla="*/ 7 w 14"/>
                  <a:gd name="T71"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13">
                    <a:moveTo>
                      <a:pt x="7" y="12"/>
                    </a:moveTo>
                    <a:lnTo>
                      <a:pt x="7" y="11"/>
                    </a:lnTo>
                    <a:lnTo>
                      <a:pt x="8" y="11"/>
                    </a:lnTo>
                    <a:lnTo>
                      <a:pt x="9" y="11"/>
                    </a:lnTo>
                    <a:lnTo>
                      <a:pt x="10" y="10"/>
                    </a:lnTo>
                    <a:lnTo>
                      <a:pt x="11" y="8"/>
                    </a:lnTo>
                    <a:lnTo>
                      <a:pt x="13" y="8"/>
                    </a:lnTo>
                    <a:lnTo>
                      <a:pt x="13" y="6"/>
                    </a:lnTo>
                    <a:lnTo>
                      <a:pt x="13" y="5"/>
                    </a:lnTo>
                    <a:lnTo>
                      <a:pt x="13" y="4"/>
                    </a:lnTo>
                    <a:lnTo>
                      <a:pt x="13" y="3"/>
                    </a:lnTo>
                    <a:lnTo>
                      <a:pt x="11" y="3"/>
                    </a:lnTo>
                    <a:lnTo>
                      <a:pt x="11" y="2"/>
                    </a:lnTo>
                    <a:lnTo>
                      <a:pt x="11" y="1"/>
                    </a:lnTo>
                    <a:lnTo>
                      <a:pt x="10" y="1"/>
                    </a:lnTo>
                    <a:lnTo>
                      <a:pt x="9" y="0"/>
                    </a:lnTo>
                    <a:lnTo>
                      <a:pt x="8" y="0"/>
                    </a:lnTo>
                    <a:lnTo>
                      <a:pt x="7" y="0"/>
                    </a:lnTo>
                    <a:lnTo>
                      <a:pt x="4" y="0"/>
                    </a:lnTo>
                    <a:lnTo>
                      <a:pt x="3" y="0"/>
                    </a:lnTo>
                    <a:lnTo>
                      <a:pt x="2" y="0"/>
                    </a:lnTo>
                    <a:lnTo>
                      <a:pt x="2" y="1"/>
                    </a:lnTo>
                    <a:lnTo>
                      <a:pt x="1" y="1"/>
                    </a:lnTo>
                    <a:lnTo>
                      <a:pt x="1" y="2"/>
                    </a:lnTo>
                    <a:lnTo>
                      <a:pt x="1" y="3"/>
                    </a:lnTo>
                    <a:lnTo>
                      <a:pt x="0" y="3"/>
                    </a:lnTo>
                    <a:lnTo>
                      <a:pt x="0" y="4"/>
                    </a:lnTo>
                    <a:lnTo>
                      <a:pt x="0" y="5"/>
                    </a:lnTo>
                    <a:lnTo>
                      <a:pt x="0" y="6"/>
                    </a:lnTo>
                    <a:lnTo>
                      <a:pt x="0" y="8"/>
                    </a:lnTo>
                    <a:lnTo>
                      <a:pt x="1" y="8"/>
                    </a:lnTo>
                    <a:lnTo>
                      <a:pt x="2" y="10"/>
                    </a:lnTo>
                    <a:lnTo>
                      <a:pt x="2" y="11"/>
                    </a:lnTo>
                    <a:lnTo>
                      <a:pt x="3" y="11"/>
                    </a:lnTo>
                    <a:lnTo>
                      <a:pt x="4" y="11"/>
                    </a:lnTo>
                    <a:lnTo>
                      <a:pt x="7" y="12"/>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75" name="Freeform 117">
                <a:extLst>
                  <a:ext uri="{FF2B5EF4-FFF2-40B4-BE49-F238E27FC236}">
                    <a16:creationId xmlns:a16="http://schemas.microsoft.com/office/drawing/2014/main" id="{BE23E841-3D83-1AA9-B35C-785841EF2BE7}"/>
                  </a:ext>
                </a:extLst>
              </p:cNvPr>
              <p:cNvSpPr>
                <a:spLocks/>
              </p:cNvSpPr>
              <p:nvPr/>
            </p:nvSpPr>
            <p:spPr bwMode="auto">
              <a:xfrm>
                <a:off x="7506415" y="4257978"/>
                <a:ext cx="23755" cy="25159"/>
              </a:xfrm>
              <a:custGeom>
                <a:avLst/>
                <a:gdLst>
                  <a:gd name="T0" fmla="*/ 2 w 15"/>
                  <a:gd name="T1" fmla="*/ 5 h 16"/>
                  <a:gd name="T2" fmla="*/ 9 w 15"/>
                  <a:gd name="T3" fmla="*/ 0 h 16"/>
                  <a:gd name="T4" fmla="*/ 14 w 15"/>
                  <a:gd name="T5" fmla="*/ 5 h 16"/>
                  <a:gd name="T6" fmla="*/ 13 w 15"/>
                  <a:gd name="T7" fmla="*/ 15 h 16"/>
                  <a:gd name="T8" fmla="*/ 0 w 15"/>
                  <a:gd name="T9" fmla="*/ 11 h 16"/>
                  <a:gd name="T10" fmla="*/ 2 w 15"/>
                  <a:gd name="T11" fmla="*/ 5 h 16"/>
                </a:gdLst>
                <a:ahLst/>
                <a:cxnLst>
                  <a:cxn ang="0">
                    <a:pos x="T0" y="T1"/>
                  </a:cxn>
                  <a:cxn ang="0">
                    <a:pos x="T2" y="T3"/>
                  </a:cxn>
                  <a:cxn ang="0">
                    <a:pos x="T4" y="T5"/>
                  </a:cxn>
                  <a:cxn ang="0">
                    <a:pos x="T6" y="T7"/>
                  </a:cxn>
                  <a:cxn ang="0">
                    <a:pos x="T8" y="T9"/>
                  </a:cxn>
                  <a:cxn ang="0">
                    <a:pos x="T10" y="T11"/>
                  </a:cxn>
                </a:cxnLst>
                <a:rect l="0" t="0" r="r" b="b"/>
                <a:pathLst>
                  <a:path w="15" h="16">
                    <a:moveTo>
                      <a:pt x="2" y="5"/>
                    </a:moveTo>
                    <a:lnTo>
                      <a:pt x="9" y="0"/>
                    </a:lnTo>
                    <a:lnTo>
                      <a:pt x="14" y="5"/>
                    </a:lnTo>
                    <a:lnTo>
                      <a:pt x="13" y="15"/>
                    </a:lnTo>
                    <a:lnTo>
                      <a:pt x="0" y="11"/>
                    </a:lnTo>
                    <a:lnTo>
                      <a:pt x="2" y="5"/>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76" name="Freeform 118">
                <a:extLst>
                  <a:ext uri="{FF2B5EF4-FFF2-40B4-BE49-F238E27FC236}">
                    <a16:creationId xmlns:a16="http://schemas.microsoft.com/office/drawing/2014/main" id="{E888829D-13FE-431C-7BD7-650F5BEB25E6}"/>
                  </a:ext>
                </a:extLst>
              </p:cNvPr>
              <p:cNvSpPr>
                <a:spLocks/>
              </p:cNvSpPr>
              <p:nvPr/>
            </p:nvSpPr>
            <p:spPr bwMode="auto">
              <a:xfrm>
                <a:off x="7520389" y="3396979"/>
                <a:ext cx="40521" cy="79670"/>
              </a:xfrm>
              <a:custGeom>
                <a:avLst/>
                <a:gdLst>
                  <a:gd name="T0" fmla="*/ 12 w 25"/>
                  <a:gd name="T1" fmla="*/ 0 h 51"/>
                  <a:gd name="T2" fmla="*/ 2 w 25"/>
                  <a:gd name="T3" fmla="*/ 15 h 51"/>
                  <a:gd name="T4" fmla="*/ 0 w 25"/>
                  <a:gd name="T5" fmla="*/ 34 h 51"/>
                  <a:gd name="T6" fmla="*/ 16 w 25"/>
                  <a:gd name="T7" fmla="*/ 50 h 51"/>
                  <a:gd name="T8" fmla="*/ 24 w 25"/>
                  <a:gd name="T9" fmla="*/ 26 h 51"/>
                  <a:gd name="T10" fmla="*/ 12 w 25"/>
                  <a:gd name="T11" fmla="*/ 0 h 51"/>
                </a:gdLst>
                <a:ahLst/>
                <a:cxnLst>
                  <a:cxn ang="0">
                    <a:pos x="T0" y="T1"/>
                  </a:cxn>
                  <a:cxn ang="0">
                    <a:pos x="T2" y="T3"/>
                  </a:cxn>
                  <a:cxn ang="0">
                    <a:pos x="T4" y="T5"/>
                  </a:cxn>
                  <a:cxn ang="0">
                    <a:pos x="T6" y="T7"/>
                  </a:cxn>
                  <a:cxn ang="0">
                    <a:pos x="T8" y="T9"/>
                  </a:cxn>
                  <a:cxn ang="0">
                    <a:pos x="T10" y="T11"/>
                  </a:cxn>
                </a:cxnLst>
                <a:rect l="0" t="0" r="r" b="b"/>
                <a:pathLst>
                  <a:path w="25" h="51">
                    <a:moveTo>
                      <a:pt x="12" y="0"/>
                    </a:moveTo>
                    <a:lnTo>
                      <a:pt x="2" y="15"/>
                    </a:lnTo>
                    <a:lnTo>
                      <a:pt x="0" y="34"/>
                    </a:lnTo>
                    <a:lnTo>
                      <a:pt x="16" y="50"/>
                    </a:lnTo>
                    <a:lnTo>
                      <a:pt x="24" y="26"/>
                    </a:lnTo>
                    <a:lnTo>
                      <a:pt x="12" y="0"/>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77" name="Freeform 119">
                <a:extLst>
                  <a:ext uri="{FF2B5EF4-FFF2-40B4-BE49-F238E27FC236}">
                    <a16:creationId xmlns:a16="http://schemas.microsoft.com/office/drawing/2014/main" id="{3C0CDA95-B795-9804-59C5-0A6AC70D7860}"/>
                  </a:ext>
                </a:extLst>
              </p:cNvPr>
              <p:cNvSpPr>
                <a:spLocks/>
              </p:cNvSpPr>
              <p:nvPr/>
            </p:nvSpPr>
            <p:spPr bwMode="auto">
              <a:xfrm>
                <a:off x="8648014" y="4970817"/>
                <a:ext cx="103402" cy="205466"/>
              </a:xfrm>
              <a:custGeom>
                <a:avLst/>
                <a:gdLst>
                  <a:gd name="T0" fmla="*/ 5 w 66"/>
                  <a:gd name="T1" fmla="*/ 0 h 132"/>
                  <a:gd name="T2" fmla="*/ 5 w 66"/>
                  <a:gd name="T3" fmla="*/ 16 h 132"/>
                  <a:gd name="T4" fmla="*/ 13 w 66"/>
                  <a:gd name="T5" fmla="*/ 34 h 132"/>
                  <a:gd name="T6" fmla="*/ 20 w 66"/>
                  <a:gd name="T7" fmla="*/ 48 h 132"/>
                  <a:gd name="T8" fmla="*/ 14 w 66"/>
                  <a:gd name="T9" fmla="*/ 66 h 132"/>
                  <a:gd name="T10" fmla="*/ 0 w 66"/>
                  <a:gd name="T11" fmla="*/ 83 h 132"/>
                  <a:gd name="T12" fmla="*/ 2 w 66"/>
                  <a:gd name="T13" fmla="*/ 94 h 132"/>
                  <a:gd name="T14" fmla="*/ 7 w 66"/>
                  <a:gd name="T15" fmla="*/ 125 h 132"/>
                  <a:gd name="T16" fmla="*/ 20 w 66"/>
                  <a:gd name="T17" fmla="*/ 131 h 132"/>
                  <a:gd name="T18" fmla="*/ 24 w 66"/>
                  <a:gd name="T19" fmla="*/ 110 h 132"/>
                  <a:gd name="T20" fmla="*/ 38 w 66"/>
                  <a:gd name="T21" fmla="*/ 96 h 132"/>
                  <a:gd name="T22" fmla="*/ 60 w 66"/>
                  <a:gd name="T23" fmla="*/ 83 h 132"/>
                  <a:gd name="T24" fmla="*/ 65 w 66"/>
                  <a:gd name="T25" fmla="*/ 67 h 132"/>
                  <a:gd name="T26" fmla="*/ 64 w 66"/>
                  <a:gd name="T27" fmla="*/ 55 h 132"/>
                  <a:gd name="T28" fmla="*/ 40 w 66"/>
                  <a:gd name="T29" fmla="*/ 55 h 132"/>
                  <a:gd name="T30" fmla="*/ 39 w 66"/>
                  <a:gd name="T31" fmla="*/ 36 h 132"/>
                  <a:gd name="T32" fmla="*/ 32 w 66"/>
                  <a:gd name="T33" fmla="*/ 36 h 132"/>
                  <a:gd name="T34" fmla="*/ 23 w 66"/>
                  <a:gd name="T35" fmla="*/ 32 h 132"/>
                  <a:gd name="T36" fmla="*/ 24 w 66"/>
                  <a:gd name="T37" fmla="*/ 14 h 132"/>
                  <a:gd name="T38" fmla="*/ 19 w 66"/>
                  <a:gd name="T39" fmla="*/ 2 h 132"/>
                  <a:gd name="T40" fmla="*/ 5 w 66"/>
                  <a:gd name="T41"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 h="132">
                    <a:moveTo>
                      <a:pt x="5" y="0"/>
                    </a:moveTo>
                    <a:lnTo>
                      <a:pt x="5" y="16"/>
                    </a:lnTo>
                    <a:lnTo>
                      <a:pt x="13" y="34"/>
                    </a:lnTo>
                    <a:lnTo>
                      <a:pt x="20" y="48"/>
                    </a:lnTo>
                    <a:lnTo>
                      <a:pt x="14" y="66"/>
                    </a:lnTo>
                    <a:lnTo>
                      <a:pt x="0" y="83"/>
                    </a:lnTo>
                    <a:lnTo>
                      <a:pt x="2" y="94"/>
                    </a:lnTo>
                    <a:lnTo>
                      <a:pt x="7" y="125"/>
                    </a:lnTo>
                    <a:lnTo>
                      <a:pt x="20" y="131"/>
                    </a:lnTo>
                    <a:lnTo>
                      <a:pt x="24" y="110"/>
                    </a:lnTo>
                    <a:lnTo>
                      <a:pt x="38" y="96"/>
                    </a:lnTo>
                    <a:lnTo>
                      <a:pt x="60" y="83"/>
                    </a:lnTo>
                    <a:lnTo>
                      <a:pt x="65" y="67"/>
                    </a:lnTo>
                    <a:lnTo>
                      <a:pt x="64" y="55"/>
                    </a:lnTo>
                    <a:lnTo>
                      <a:pt x="40" y="55"/>
                    </a:lnTo>
                    <a:lnTo>
                      <a:pt x="39" y="36"/>
                    </a:lnTo>
                    <a:lnTo>
                      <a:pt x="32" y="36"/>
                    </a:lnTo>
                    <a:lnTo>
                      <a:pt x="23" y="32"/>
                    </a:lnTo>
                    <a:lnTo>
                      <a:pt x="24" y="14"/>
                    </a:lnTo>
                    <a:lnTo>
                      <a:pt x="19" y="2"/>
                    </a:lnTo>
                    <a:lnTo>
                      <a:pt x="5" y="0"/>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78" name="Freeform 120">
                <a:extLst>
                  <a:ext uri="{FF2B5EF4-FFF2-40B4-BE49-F238E27FC236}">
                    <a16:creationId xmlns:a16="http://schemas.microsoft.com/office/drawing/2014/main" id="{C51083C2-DBE8-76FA-D63B-DF5AE2F4C57C}"/>
                  </a:ext>
                </a:extLst>
              </p:cNvPr>
              <p:cNvSpPr>
                <a:spLocks/>
              </p:cNvSpPr>
              <p:nvPr/>
            </p:nvSpPr>
            <p:spPr bwMode="auto">
              <a:xfrm>
                <a:off x="8437021" y="5139942"/>
                <a:ext cx="197020" cy="197079"/>
              </a:xfrm>
              <a:custGeom>
                <a:avLst/>
                <a:gdLst>
                  <a:gd name="T0" fmla="*/ 98 w 126"/>
                  <a:gd name="T1" fmla="*/ 1 h 126"/>
                  <a:gd name="T2" fmla="*/ 95 w 126"/>
                  <a:gd name="T3" fmla="*/ 21 h 126"/>
                  <a:gd name="T4" fmla="*/ 75 w 126"/>
                  <a:gd name="T5" fmla="*/ 31 h 126"/>
                  <a:gd name="T6" fmla="*/ 60 w 126"/>
                  <a:gd name="T7" fmla="*/ 51 h 126"/>
                  <a:gd name="T8" fmla="*/ 24 w 126"/>
                  <a:gd name="T9" fmla="*/ 67 h 126"/>
                  <a:gd name="T10" fmla="*/ 0 w 126"/>
                  <a:gd name="T11" fmla="*/ 89 h 126"/>
                  <a:gd name="T12" fmla="*/ 4 w 126"/>
                  <a:gd name="T13" fmla="*/ 105 h 126"/>
                  <a:gd name="T14" fmla="*/ 26 w 126"/>
                  <a:gd name="T15" fmla="*/ 125 h 126"/>
                  <a:gd name="T16" fmla="*/ 54 w 126"/>
                  <a:gd name="T17" fmla="*/ 103 h 126"/>
                  <a:gd name="T18" fmla="*/ 63 w 126"/>
                  <a:gd name="T19" fmla="*/ 81 h 126"/>
                  <a:gd name="T20" fmla="*/ 82 w 126"/>
                  <a:gd name="T21" fmla="*/ 65 h 126"/>
                  <a:gd name="T22" fmla="*/ 94 w 126"/>
                  <a:gd name="T23" fmla="*/ 65 h 126"/>
                  <a:gd name="T24" fmla="*/ 99 w 126"/>
                  <a:gd name="T25" fmla="*/ 48 h 126"/>
                  <a:gd name="T26" fmla="*/ 112 w 126"/>
                  <a:gd name="T27" fmla="*/ 33 h 126"/>
                  <a:gd name="T28" fmla="*/ 125 w 126"/>
                  <a:gd name="T29" fmla="*/ 21 h 126"/>
                  <a:gd name="T30" fmla="*/ 120 w 126"/>
                  <a:gd name="T31" fmla="*/ 4 h 126"/>
                  <a:gd name="T32" fmla="*/ 112 w 126"/>
                  <a:gd name="T33" fmla="*/ 14 h 126"/>
                  <a:gd name="T34" fmla="*/ 111 w 126"/>
                  <a:gd name="T35" fmla="*/ 0 h 126"/>
                  <a:gd name="T36" fmla="*/ 98 w 126"/>
                  <a:gd name="T37" fmla="*/ 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6" h="126">
                    <a:moveTo>
                      <a:pt x="98" y="1"/>
                    </a:moveTo>
                    <a:lnTo>
                      <a:pt x="95" y="21"/>
                    </a:lnTo>
                    <a:lnTo>
                      <a:pt x="75" y="31"/>
                    </a:lnTo>
                    <a:lnTo>
                      <a:pt x="60" y="51"/>
                    </a:lnTo>
                    <a:lnTo>
                      <a:pt x="24" y="67"/>
                    </a:lnTo>
                    <a:lnTo>
                      <a:pt x="0" y="89"/>
                    </a:lnTo>
                    <a:lnTo>
                      <a:pt x="4" y="105"/>
                    </a:lnTo>
                    <a:lnTo>
                      <a:pt x="26" y="125"/>
                    </a:lnTo>
                    <a:lnTo>
                      <a:pt x="54" y="103"/>
                    </a:lnTo>
                    <a:lnTo>
                      <a:pt x="63" y="81"/>
                    </a:lnTo>
                    <a:lnTo>
                      <a:pt x="82" y="65"/>
                    </a:lnTo>
                    <a:lnTo>
                      <a:pt x="94" y="65"/>
                    </a:lnTo>
                    <a:lnTo>
                      <a:pt x="99" y="48"/>
                    </a:lnTo>
                    <a:lnTo>
                      <a:pt x="112" y="33"/>
                    </a:lnTo>
                    <a:lnTo>
                      <a:pt x="125" y="21"/>
                    </a:lnTo>
                    <a:lnTo>
                      <a:pt x="120" y="4"/>
                    </a:lnTo>
                    <a:lnTo>
                      <a:pt x="112" y="14"/>
                    </a:lnTo>
                    <a:lnTo>
                      <a:pt x="111" y="0"/>
                    </a:lnTo>
                    <a:lnTo>
                      <a:pt x="98" y="1"/>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79" name="Freeform 121">
                <a:extLst>
                  <a:ext uri="{FF2B5EF4-FFF2-40B4-BE49-F238E27FC236}">
                    <a16:creationId xmlns:a16="http://schemas.microsoft.com/office/drawing/2014/main" id="{D9E4EF70-210B-F77F-B330-5992AD7F069B}"/>
                  </a:ext>
                </a:extLst>
              </p:cNvPr>
              <p:cNvSpPr>
                <a:spLocks/>
              </p:cNvSpPr>
              <p:nvPr/>
            </p:nvSpPr>
            <p:spPr bwMode="auto">
              <a:xfrm>
                <a:off x="7224159" y="4087455"/>
                <a:ext cx="40521" cy="37739"/>
              </a:xfrm>
              <a:custGeom>
                <a:avLst/>
                <a:gdLst>
                  <a:gd name="T0" fmla="*/ 2 w 26"/>
                  <a:gd name="T1" fmla="*/ 0 h 24"/>
                  <a:gd name="T2" fmla="*/ 13 w 26"/>
                  <a:gd name="T3" fmla="*/ 2 h 24"/>
                  <a:gd name="T4" fmla="*/ 21 w 26"/>
                  <a:gd name="T5" fmla="*/ 10 h 24"/>
                  <a:gd name="T6" fmla="*/ 25 w 26"/>
                  <a:gd name="T7" fmla="*/ 21 h 24"/>
                  <a:gd name="T8" fmla="*/ 15 w 26"/>
                  <a:gd name="T9" fmla="*/ 23 h 24"/>
                  <a:gd name="T10" fmla="*/ 0 w 26"/>
                  <a:gd name="T11" fmla="*/ 9 h 24"/>
                  <a:gd name="T12" fmla="*/ 2 w 26"/>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26" h="24">
                    <a:moveTo>
                      <a:pt x="2" y="0"/>
                    </a:moveTo>
                    <a:lnTo>
                      <a:pt x="13" y="2"/>
                    </a:lnTo>
                    <a:lnTo>
                      <a:pt x="21" y="10"/>
                    </a:lnTo>
                    <a:lnTo>
                      <a:pt x="25" y="21"/>
                    </a:lnTo>
                    <a:lnTo>
                      <a:pt x="15" y="23"/>
                    </a:lnTo>
                    <a:lnTo>
                      <a:pt x="0" y="9"/>
                    </a:lnTo>
                    <a:lnTo>
                      <a:pt x="2" y="0"/>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80" name="Freeform 122">
                <a:extLst>
                  <a:ext uri="{FF2B5EF4-FFF2-40B4-BE49-F238E27FC236}">
                    <a16:creationId xmlns:a16="http://schemas.microsoft.com/office/drawing/2014/main" id="{B4835287-22AE-32BD-3069-812F00D72D73}"/>
                  </a:ext>
                </a:extLst>
              </p:cNvPr>
              <p:cNvSpPr>
                <a:spLocks/>
              </p:cNvSpPr>
              <p:nvPr/>
            </p:nvSpPr>
            <p:spPr bwMode="auto">
              <a:xfrm>
                <a:off x="7535759" y="4297114"/>
                <a:ext cx="34933" cy="25159"/>
              </a:xfrm>
              <a:custGeom>
                <a:avLst/>
                <a:gdLst>
                  <a:gd name="T0" fmla="*/ 3 w 21"/>
                  <a:gd name="T1" fmla="*/ 2 h 15"/>
                  <a:gd name="T2" fmla="*/ 0 w 21"/>
                  <a:gd name="T3" fmla="*/ 14 h 15"/>
                  <a:gd name="T4" fmla="*/ 16 w 21"/>
                  <a:gd name="T5" fmla="*/ 8 h 15"/>
                  <a:gd name="T6" fmla="*/ 20 w 21"/>
                  <a:gd name="T7" fmla="*/ 0 h 15"/>
                  <a:gd name="T8" fmla="*/ 3 w 21"/>
                  <a:gd name="T9" fmla="*/ 2 h 15"/>
                </a:gdLst>
                <a:ahLst/>
                <a:cxnLst>
                  <a:cxn ang="0">
                    <a:pos x="T0" y="T1"/>
                  </a:cxn>
                  <a:cxn ang="0">
                    <a:pos x="T2" y="T3"/>
                  </a:cxn>
                  <a:cxn ang="0">
                    <a:pos x="T4" y="T5"/>
                  </a:cxn>
                  <a:cxn ang="0">
                    <a:pos x="T6" y="T7"/>
                  </a:cxn>
                  <a:cxn ang="0">
                    <a:pos x="T8" y="T9"/>
                  </a:cxn>
                </a:cxnLst>
                <a:rect l="0" t="0" r="r" b="b"/>
                <a:pathLst>
                  <a:path w="21" h="15">
                    <a:moveTo>
                      <a:pt x="3" y="2"/>
                    </a:moveTo>
                    <a:lnTo>
                      <a:pt x="0" y="14"/>
                    </a:lnTo>
                    <a:lnTo>
                      <a:pt x="16" y="8"/>
                    </a:lnTo>
                    <a:lnTo>
                      <a:pt x="20" y="0"/>
                    </a:lnTo>
                    <a:lnTo>
                      <a:pt x="3" y="2"/>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81" name="Freeform 123">
                <a:extLst>
                  <a:ext uri="{FF2B5EF4-FFF2-40B4-BE49-F238E27FC236}">
                    <a16:creationId xmlns:a16="http://schemas.microsoft.com/office/drawing/2014/main" id="{91EF4B0B-4A85-B8D4-85C4-0941BE7BCAA9}"/>
                  </a:ext>
                </a:extLst>
              </p:cNvPr>
              <p:cNvSpPr>
                <a:spLocks/>
              </p:cNvSpPr>
              <p:nvPr/>
            </p:nvSpPr>
            <p:spPr bwMode="auto">
              <a:xfrm>
                <a:off x="7661516" y="4095840"/>
                <a:ext cx="44713" cy="23762"/>
              </a:xfrm>
              <a:custGeom>
                <a:avLst/>
                <a:gdLst>
                  <a:gd name="T0" fmla="*/ 14 w 28"/>
                  <a:gd name="T1" fmla="*/ 13 h 14"/>
                  <a:gd name="T2" fmla="*/ 11 w 28"/>
                  <a:gd name="T3" fmla="*/ 13 h 14"/>
                  <a:gd name="T4" fmla="*/ 10 w 28"/>
                  <a:gd name="T5" fmla="*/ 13 h 14"/>
                  <a:gd name="T6" fmla="*/ 8 w 28"/>
                  <a:gd name="T7" fmla="*/ 13 h 14"/>
                  <a:gd name="T8" fmla="*/ 6 w 28"/>
                  <a:gd name="T9" fmla="*/ 13 h 14"/>
                  <a:gd name="T10" fmla="*/ 5 w 28"/>
                  <a:gd name="T11" fmla="*/ 13 h 14"/>
                  <a:gd name="T12" fmla="*/ 3 w 28"/>
                  <a:gd name="T13" fmla="*/ 13 h 14"/>
                  <a:gd name="T14" fmla="*/ 2 w 28"/>
                  <a:gd name="T15" fmla="*/ 13 h 14"/>
                  <a:gd name="T16" fmla="*/ 1 w 28"/>
                  <a:gd name="T17" fmla="*/ 13 h 14"/>
                  <a:gd name="T18" fmla="*/ 0 w 28"/>
                  <a:gd name="T19" fmla="*/ 10 h 14"/>
                  <a:gd name="T20" fmla="*/ 0 w 28"/>
                  <a:gd name="T21" fmla="*/ 7 h 14"/>
                  <a:gd name="T22" fmla="*/ 0 w 28"/>
                  <a:gd name="T23" fmla="*/ 5 h 14"/>
                  <a:gd name="T24" fmla="*/ 1 w 28"/>
                  <a:gd name="T25" fmla="*/ 5 h 14"/>
                  <a:gd name="T26" fmla="*/ 2 w 28"/>
                  <a:gd name="T27" fmla="*/ 2 h 14"/>
                  <a:gd name="T28" fmla="*/ 3 w 28"/>
                  <a:gd name="T29" fmla="*/ 2 h 14"/>
                  <a:gd name="T30" fmla="*/ 3 w 28"/>
                  <a:gd name="T31" fmla="*/ 0 h 14"/>
                  <a:gd name="T32" fmla="*/ 5 w 28"/>
                  <a:gd name="T33" fmla="*/ 0 h 14"/>
                  <a:gd name="T34" fmla="*/ 6 w 28"/>
                  <a:gd name="T35" fmla="*/ 0 h 14"/>
                  <a:gd name="T36" fmla="*/ 8 w 28"/>
                  <a:gd name="T37" fmla="*/ 0 h 14"/>
                  <a:gd name="T38" fmla="*/ 10 w 28"/>
                  <a:gd name="T39" fmla="*/ 0 h 14"/>
                  <a:gd name="T40" fmla="*/ 11 w 28"/>
                  <a:gd name="T41" fmla="*/ 0 h 14"/>
                  <a:gd name="T42" fmla="*/ 14 w 28"/>
                  <a:gd name="T43" fmla="*/ 0 h 14"/>
                  <a:gd name="T44" fmla="*/ 17 w 28"/>
                  <a:gd name="T45" fmla="*/ 0 h 14"/>
                  <a:gd name="T46" fmla="*/ 18 w 28"/>
                  <a:gd name="T47" fmla="*/ 0 h 14"/>
                  <a:gd name="T48" fmla="*/ 20 w 28"/>
                  <a:gd name="T49" fmla="*/ 0 h 14"/>
                  <a:gd name="T50" fmla="*/ 21 w 28"/>
                  <a:gd name="T51" fmla="*/ 0 h 14"/>
                  <a:gd name="T52" fmla="*/ 23 w 28"/>
                  <a:gd name="T53" fmla="*/ 0 h 14"/>
                  <a:gd name="T54" fmla="*/ 24 w 28"/>
                  <a:gd name="T55" fmla="*/ 2 h 14"/>
                  <a:gd name="T56" fmla="*/ 25 w 28"/>
                  <a:gd name="T57" fmla="*/ 5 h 14"/>
                  <a:gd name="T58" fmla="*/ 26 w 28"/>
                  <a:gd name="T59" fmla="*/ 5 h 14"/>
                  <a:gd name="T60" fmla="*/ 26 w 28"/>
                  <a:gd name="T61" fmla="*/ 7 h 14"/>
                  <a:gd name="T62" fmla="*/ 27 w 28"/>
                  <a:gd name="T63" fmla="*/ 7 h 14"/>
                  <a:gd name="T64" fmla="*/ 26 w 28"/>
                  <a:gd name="T65" fmla="*/ 10 h 14"/>
                  <a:gd name="T66" fmla="*/ 25 w 28"/>
                  <a:gd name="T67" fmla="*/ 13 h 14"/>
                  <a:gd name="T68" fmla="*/ 24 w 28"/>
                  <a:gd name="T69" fmla="*/ 13 h 14"/>
                  <a:gd name="T70" fmla="*/ 23 w 28"/>
                  <a:gd name="T71" fmla="*/ 13 h 14"/>
                  <a:gd name="T72" fmla="*/ 21 w 28"/>
                  <a:gd name="T73" fmla="*/ 13 h 14"/>
                  <a:gd name="T74" fmla="*/ 20 w 28"/>
                  <a:gd name="T75" fmla="*/ 13 h 14"/>
                  <a:gd name="T76" fmla="*/ 18 w 28"/>
                  <a:gd name="T77" fmla="*/ 13 h 14"/>
                  <a:gd name="T78" fmla="*/ 17 w 28"/>
                  <a:gd name="T79" fmla="*/ 13 h 14"/>
                  <a:gd name="T80" fmla="*/ 14 w 28"/>
                  <a:gd name="T81"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 h="14">
                    <a:moveTo>
                      <a:pt x="14" y="13"/>
                    </a:moveTo>
                    <a:lnTo>
                      <a:pt x="11" y="13"/>
                    </a:lnTo>
                    <a:lnTo>
                      <a:pt x="10" y="13"/>
                    </a:lnTo>
                    <a:lnTo>
                      <a:pt x="8" y="13"/>
                    </a:lnTo>
                    <a:lnTo>
                      <a:pt x="6" y="13"/>
                    </a:lnTo>
                    <a:lnTo>
                      <a:pt x="5" y="13"/>
                    </a:lnTo>
                    <a:lnTo>
                      <a:pt x="3" y="13"/>
                    </a:lnTo>
                    <a:lnTo>
                      <a:pt x="2" y="13"/>
                    </a:lnTo>
                    <a:lnTo>
                      <a:pt x="1" y="13"/>
                    </a:lnTo>
                    <a:lnTo>
                      <a:pt x="0" y="10"/>
                    </a:lnTo>
                    <a:lnTo>
                      <a:pt x="0" y="7"/>
                    </a:lnTo>
                    <a:lnTo>
                      <a:pt x="0" y="5"/>
                    </a:lnTo>
                    <a:lnTo>
                      <a:pt x="1" y="5"/>
                    </a:lnTo>
                    <a:lnTo>
                      <a:pt x="2" y="2"/>
                    </a:lnTo>
                    <a:lnTo>
                      <a:pt x="3" y="2"/>
                    </a:lnTo>
                    <a:lnTo>
                      <a:pt x="3" y="0"/>
                    </a:lnTo>
                    <a:lnTo>
                      <a:pt x="5" y="0"/>
                    </a:lnTo>
                    <a:lnTo>
                      <a:pt x="6" y="0"/>
                    </a:lnTo>
                    <a:lnTo>
                      <a:pt x="8" y="0"/>
                    </a:lnTo>
                    <a:lnTo>
                      <a:pt x="10" y="0"/>
                    </a:lnTo>
                    <a:lnTo>
                      <a:pt x="11" y="0"/>
                    </a:lnTo>
                    <a:lnTo>
                      <a:pt x="14" y="0"/>
                    </a:lnTo>
                    <a:lnTo>
                      <a:pt x="17" y="0"/>
                    </a:lnTo>
                    <a:lnTo>
                      <a:pt x="18" y="0"/>
                    </a:lnTo>
                    <a:lnTo>
                      <a:pt x="20" y="0"/>
                    </a:lnTo>
                    <a:lnTo>
                      <a:pt x="21" y="0"/>
                    </a:lnTo>
                    <a:lnTo>
                      <a:pt x="23" y="0"/>
                    </a:lnTo>
                    <a:lnTo>
                      <a:pt x="24" y="2"/>
                    </a:lnTo>
                    <a:lnTo>
                      <a:pt x="25" y="5"/>
                    </a:lnTo>
                    <a:lnTo>
                      <a:pt x="26" y="5"/>
                    </a:lnTo>
                    <a:lnTo>
                      <a:pt x="26" y="7"/>
                    </a:lnTo>
                    <a:lnTo>
                      <a:pt x="27" y="7"/>
                    </a:lnTo>
                    <a:lnTo>
                      <a:pt x="26" y="10"/>
                    </a:lnTo>
                    <a:lnTo>
                      <a:pt x="25" y="13"/>
                    </a:lnTo>
                    <a:lnTo>
                      <a:pt x="24" y="13"/>
                    </a:lnTo>
                    <a:lnTo>
                      <a:pt x="23" y="13"/>
                    </a:lnTo>
                    <a:lnTo>
                      <a:pt x="21" y="13"/>
                    </a:lnTo>
                    <a:lnTo>
                      <a:pt x="20" y="13"/>
                    </a:lnTo>
                    <a:lnTo>
                      <a:pt x="18" y="13"/>
                    </a:lnTo>
                    <a:lnTo>
                      <a:pt x="17" y="13"/>
                    </a:lnTo>
                    <a:lnTo>
                      <a:pt x="14" y="13"/>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82" name="Freeform 124">
                <a:extLst>
                  <a:ext uri="{FF2B5EF4-FFF2-40B4-BE49-F238E27FC236}">
                    <a16:creationId xmlns:a16="http://schemas.microsoft.com/office/drawing/2014/main" id="{CF543DD6-DDE2-14FE-23B8-C8773B0482AA}"/>
                  </a:ext>
                </a:extLst>
              </p:cNvPr>
              <p:cNvSpPr>
                <a:spLocks/>
              </p:cNvSpPr>
              <p:nvPr/>
            </p:nvSpPr>
            <p:spPr bwMode="auto">
              <a:xfrm>
                <a:off x="7274462" y="3532559"/>
                <a:ext cx="46111" cy="67091"/>
              </a:xfrm>
              <a:custGeom>
                <a:avLst/>
                <a:gdLst>
                  <a:gd name="T0" fmla="*/ 9 w 29"/>
                  <a:gd name="T1" fmla="*/ 9 h 43"/>
                  <a:gd name="T2" fmla="*/ 0 w 29"/>
                  <a:gd name="T3" fmla="*/ 23 h 43"/>
                  <a:gd name="T4" fmla="*/ 2 w 29"/>
                  <a:gd name="T5" fmla="*/ 42 h 43"/>
                  <a:gd name="T6" fmla="*/ 14 w 29"/>
                  <a:gd name="T7" fmla="*/ 42 h 43"/>
                  <a:gd name="T8" fmla="*/ 28 w 29"/>
                  <a:gd name="T9" fmla="*/ 25 h 43"/>
                  <a:gd name="T10" fmla="*/ 19 w 29"/>
                  <a:gd name="T11" fmla="*/ 0 h 43"/>
                  <a:gd name="T12" fmla="*/ 9 w 29"/>
                  <a:gd name="T13" fmla="*/ 9 h 43"/>
                </a:gdLst>
                <a:ahLst/>
                <a:cxnLst>
                  <a:cxn ang="0">
                    <a:pos x="T0" y="T1"/>
                  </a:cxn>
                  <a:cxn ang="0">
                    <a:pos x="T2" y="T3"/>
                  </a:cxn>
                  <a:cxn ang="0">
                    <a:pos x="T4" y="T5"/>
                  </a:cxn>
                  <a:cxn ang="0">
                    <a:pos x="T6" y="T7"/>
                  </a:cxn>
                  <a:cxn ang="0">
                    <a:pos x="T8" y="T9"/>
                  </a:cxn>
                  <a:cxn ang="0">
                    <a:pos x="T10" y="T11"/>
                  </a:cxn>
                  <a:cxn ang="0">
                    <a:pos x="T12" y="T13"/>
                  </a:cxn>
                </a:cxnLst>
                <a:rect l="0" t="0" r="r" b="b"/>
                <a:pathLst>
                  <a:path w="29" h="43">
                    <a:moveTo>
                      <a:pt x="9" y="9"/>
                    </a:moveTo>
                    <a:lnTo>
                      <a:pt x="0" y="23"/>
                    </a:lnTo>
                    <a:lnTo>
                      <a:pt x="2" y="42"/>
                    </a:lnTo>
                    <a:lnTo>
                      <a:pt x="14" y="42"/>
                    </a:lnTo>
                    <a:lnTo>
                      <a:pt x="28" y="25"/>
                    </a:lnTo>
                    <a:lnTo>
                      <a:pt x="19" y="0"/>
                    </a:lnTo>
                    <a:lnTo>
                      <a:pt x="9" y="9"/>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83" name="Freeform 125">
                <a:extLst>
                  <a:ext uri="{FF2B5EF4-FFF2-40B4-BE49-F238E27FC236}">
                    <a16:creationId xmlns:a16="http://schemas.microsoft.com/office/drawing/2014/main" id="{338023E5-841F-B70D-0809-4DBC16C9BFE8}"/>
                  </a:ext>
                </a:extLst>
              </p:cNvPr>
              <p:cNvSpPr>
                <a:spLocks/>
              </p:cNvSpPr>
              <p:nvPr/>
            </p:nvSpPr>
            <p:spPr bwMode="auto">
              <a:xfrm>
                <a:off x="7542745" y="3707274"/>
                <a:ext cx="44713" cy="41932"/>
              </a:xfrm>
              <a:custGeom>
                <a:avLst/>
                <a:gdLst>
                  <a:gd name="T0" fmla="*/ 16 w 28"/>
                  <a:gd name="T1" fmla="*/ 5 h 26"/>
                  <a:gd name="T2" fmla="*/ 2 w 28"/>
                  <a:gd name="T3" fmla="*/ 0 h 26"/>
                  <a:gd name="T4" fmla="*/ 0 w 28"/>
                  <a:gd name="T5" fmla="*/ 12 h 26"/>
                  <a:gd name="T6" fmla="*/ 9 w 28"/>
                  <a:gd name="T7" fmla="*/ 22 h 26"/>
                  <a:gd name="T8" fmla="*/ 17 w 28"/>
                  <a:gd name="T9" fmla="*/ 25 h 26"/>
                  <a:gd name="T10" fmla="*/ 18 w 28"/>
                  <a:gd name="T11" fmla="*/ 25 h 26"/>
                  <a:gd name="T12" fmla="*/ 19 w 28"/>
                  <a:gd name="T13" fmla="*/ 25 h 26"/>
                  <a:gd name="T14" fmla="*/ 20 w 28"/>
                  <a:gd name="T15" fmla="*/ 25 h 26"/>
                  <a:gd name="T16" fmla="*/ 21 w 28"/>
                  <a:gd name="T17" fmla="*/ 24 h 26"/>
                  <a:gd name="T18" fmla="*/ 23 w 28"/>
                  <a:gd name="T19" fmla="*/ 23 h 26"/>
                  <a:gd name="T20" fmla="*/ 24 w 28"/>
                  <a:gd name="T21" fmla="*/ 22 h 26"/>
                  <a:gd name="T22" fmla="*/ 25 w 28"/>
                  <a:gd name="T23" fmla="*/ 22 h 26"/>
                  <a:gd name="T24" fmla="*/ 26 w 28"/>
                  <a:gd name="T25" fmla="*/ 21 h 26"/>
                  <a:gd name="T26" fmla="*/ 27 w 28"/>
                  <a:gd name="T27" fmla="*/ 19 h 26"/>
                  <a:gd name="T28" fmla="*/ 27 w 28"/>
                  <a:gd name="T29" fmla="*/ 18 h 26"/>
                  <a:gd name="T30" fmla="*/ 27 w 28"/>
                  <a:gd name="T31" fmla="*/ 16 h 26"/>
                  <a:gd name="T32" fmla="*/ 26 w 28"/>
                  <a:gd name="T33" fmla="*/ 15 h 26"/>
                  <a:gd name="T34" fmla="*/ 25 w 28"/>
                  <a:gd name="T35" fmla="*/ 13 h 26"/>
                  <a:gd name="T36" fmla="*/ 24 w 28"/>
                  <a:gd name="T37" fmla="*/ 11 h 26"/>
                  <a:gd name="T38" fmla="*/ 23 w 28"/>
                  <a:gd name="T39" fmla="*/ 10 h 26"/>
                  <a:gd name="T40" fmla="*/ 21 w 28"/>
                  <a:gd name="T41" fmla="*/ 9 h 26"/>
                  <a:gd name="T42" fmla="*/ 20 w 28"/>
                  <a:gd name="T43" fmla="*/ 8 h 26"/>
                  <a:gd name="T44" fmla="*/ 19 w 28"/>
                  <a:gd name="T45" fmla="*/ 8 h 26"/>
                  <a:gd name="T46" fmla="*/ 18 w 28"/>
                  <a:gd name="T47" fmla="*/ 7 h 26"/>
                  <a:gd name="T48" fmla="*/ 17 w 28"/>
                  <a:gd name="T49" fmla="*/ 6 h 26"/>
                  <a:gd name="T50" fmla="*/ 16 w 28"/>
                  <a:gd name="T51" fmla="*/ 6 h 26"/>
                  <a:gd name="T52" fmla="*/ 16 w 28"/>
                  <a:gd name="T53"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26">
                    <a:moveTo>
                      <a:pt x="16" y="5"/>
                    </a:moveTo>
                    <a:lnTo>
                      <a:pt x="2" y="0"/>
                    </a:lnTo>
                    <a:lnTo>
                      <a:pt x="0" y="12"/>
                    </a:lnTo>
                    <a:lnTo>
                      <a:pt x="9" y="22"/>
                    </a:lnTo>
                    <a:lnTo>
                      <a:pt x="17" y="25"/>
                    </a:lnTo>
                    <a:lnTo>
                      <a:pt x="18" y="25"/>
                    </a:lnTo>
                    <a:lnTo>
                      <a:pt x="19" y="25"/>
                    </a:lnTo>
                    <a:lnTo>
                      <a:pt x="20" y="25"/>
                    </a:lnTo>
                    <a:lnTo>
                      <a:pt x="21" y="24"/>
                    </a:lnTo>
                    <a:lnTo>
                      <a:pt x="23" y="23"/>
                    </a:lnTo>
                    <a:lnTo>
                      <a:pt x="24" y="22"/>
                    </a:lnTo>
                    <a:lnTo>
                      <a:pt x="25" y="22"/>
                    </a:lnTo>
                    <a:lnTo>
                      <a:pt x="26" y="21"/>
                    </a:lnTo>
                    <a:lnTo>
                      <a:pt x="27" y="19"/>
                    </a:lnTo>
                    <a:lnTo>
                      <a:pt x="27" y="18"/>
                    </a:lnTo>
                    <a:lnTo>
                      <a:pt x="27" y="16"/>
                    </a:lnTo>
                    <a:lnTo>
                      <a:pt x="26" y="15"/>
                    </a:lnTo>
                    <a:lnTo>
                      <a:pt x="25" y="13"/>
                    </a:lnTo>
                    <a:lnTo>
                      <a:pt x="24" y="11"/>
                    </a:lnTo>
                    <a:lnTo>
                      <a:pt x="23" y="10"/>
                    </a:lnTo>
                    <a:lnTo>
                      <a:pt x="21" y="9"/>
                    </a:lnTo>
                    <a:lnTo>
                      <a:pt x="20" y="8"/>
                    </a:lnTo>
                    <a:lnTo>
                      <a:pt x="19" y="8"/>
                    </a:lnTo>
                    <a:lnTo>
                      <a:pt x="18" y="7"/>
                    </a:lnTo>
                    <a:lnTo>
                      <a:pt x="17" y="6"/>
                    </a:lnTo>
                    <a:lnTo>
                      <a:pt x="16" y="6"/>
                    </a:lnTo>
                    <a:lnTo>
                      <a:pt x="16" y="5"/>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84" name="Freeform 126">
                <a:extLst>
                  <a:ext uri="{FF2B5EF4-FFF2-40B4-BE49-F238E27FC236}">
                    <a16:creationId xmlns:a16="http://schemas.microsoft.com/office/drawing/2014/main" id="{22CF3989-4325-E239-2A36-12B9042AB940}"/>
                  </a:ext>
                </a:extLst>
              </p:cNvPr>
              <p:cNvSpPr>
                <a:spLocks/>
              </p:cNvSpPr>
              <p:nvPr/>
            </p:nvSpPr>
            <p:spPr bwMode="auto">
              <a:xfrm>
                <a:off x="7602829" y="3691898"/>
                <a:ext cx="50303" cy="36341"/>
              </a:xfrm>
              <a:custGeom>
                <a:avLst/>
                <a:gdLst>
                  <a:gd name="T0" fmla="*/ 2 w 32"/>
                  <a:gd name="T1" fmla="*/ 3 h 24"/>
                  <a:gd name="T2" fmla="*/ 0 w 32"/>
                  <a:gd name="T3" fmla="*/ 15 h 24"/>
                  <a:gd name="T4" fmla="*/ 11 w 32"/>
                  <a:gd name="T5" fmla="*/ 21 h 24"/>
                  <a:gd name="T6" fmla="*/ 31 w 32"/>
                  <a:gd name="T7" fmla="*/ 23 h 24"/>
                  <a:gd name="T8" fmla="*/ 31 w 32"/>
                  <a:gd name="T9" fmla="*/ 9 h 24"/>
                  <a:gd name="T10" fmla="*/ 16 w 32"/>
                  <a:gd name="T11" fmla="*/ 0 h 24"/>
                  <a:gd name="T12" fmla="*/ 2 w 32"/>
                  <a:gd name="T13" fmla="*/ 3 h 24"/>
                </a:gdLst>
                <a:ahLst/>
                <a:cxnLst>
                  <a:cxn ang="0">
                    <a:pos x="T0" y="T1"/>
                  </a:cxn>
                  <a:cxn ang="0">
                    <a:pos x="T2" y="T3"/>
                  </a:cxn>
                  <a:cxn ang="0">
                    <a:pos x="T4" y="T5"/>
                  </a:cxn>
                  <a:cxn ang="0">
                    <a:pos x="T6" y="T7"/>
                  </a:cxn>
                  <a:cxn ang="0">
                    <a:pos x="T8" y="T9"/>
                  </a:cxn>
                  <a:cxn ang="0">
                    <a:pos x="T10" y="T11"/>
                  </a:cxn>
                  <a:cxn ang="0">
                    <a:pos x="T12" y="T13"/>
                  </a:cxn>
                </a:cxnLst>
                <a:rect l="0" t="0" r="r" b="b"/>
                <a:pathLst>
                  <a:path w="32" h="24">
                    <a:moveTo>
                      <a:pt x="2" y="3"/>
                    </a:moveTo>
                    <a:lnTo>
                      <a:pt x="0" y="15"/>
                    </a:lnTo>
                    <a:lnTo>
                      <a:pt x="11" y="21"/>
                    </a:lnTo>
                    <a:lnTo>
                      <a:pt x="31" y="23"/>
                    </a:lnTo>
                    <a:lnTo>
                      <a:pt x="31" y="9"/>
                    </a:lnTo>
                    <a:lnTo>
                      <a:pt x="16" y="0"/>
                    </a:lnTo>
                    <a:lnTo>
                      <a:pt x="2" y="3"/>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85" name="Freeform 127">
                <a:extLst>
                  <a:ext uri="{FF2B5EF4-FFF2-40B4-BE49-F238E27FC236}">
                    <a16:creationId xmlns:a16="http://schemas.microsoft.com/office/drawing/2014/main" id="{87F4C2BC-0187-FE6E-BBB2-F59C13B1185D}"/>
                  </a:ext>
                </a:extLst>
              </p:cNvPr>
              <p:cNvSpPr>
                <a:spLocks/>
              </p:cNvSpPr>
              <p:nvPr/>
            </p:nvSpPr>
            <p:spPr bwMode="auto">
              <a:xfrm>
                <a:off x="7594446" y="3752000"/>
                <a:ext cx="34933" cy="32147"/>
              </a:xfrm>
              <a:custGeom>
                <a:avLst/>
                <a:gdLst>
                  <a:gd name="T0" fmla="*/ 4 w 21"/>
                  <a:gd name="T1" fmla="*/ 0 h 20"/>
                  <a:gd name="T2" fmla="*/ 0 w 21"/>
                  <a:gd name="T3" fmla="*/ 12 h 20"/>
                  <a:gd name="T4" fmla="*/ 4 w 21"/>
                  <a:gd name="T5" fmla="*/ 19 h 20"/>
                  <a:gd name="T6" fmla="*/ 20 w 21"/>
                  <a:gd name="T7" fmla="*/ 15 h 20"/>
                  <a:gd name="T8" fmla="*/ 16 w 21"/>
                  <a:gd name="T9" fmla="*/ 4 h 20"/>
                  <a:gd name="T10" fmla="*/ 4 w 21"/>
                  <a:gd name="T11" fmla="*/ 0 h 20"/>
                </a:gdLst>
                <a:ahLst/>
                <a:cxnLst>
                  <a:cxn ang="0">
                    <a:pos x="T0" y="T1"/>
                  </a:cxn>
                  <a:cxn ang="0">
                    <a:pos x="T2" y="T3"/>
                  </a:cxn>
                  <a:cxn ang="0">
                    <a:pos x="T4" y="T5"/>
                  </a:cxn>
                  <a:cxn ang="0">
                    <a:pos x="T6" y="T7"/>
                  </a:cxn>
                  <a:cxn ang="0">
                    <a:pos x="T8" y="T9"/>
                  </a:cxn>
                  <a:cxn ang="0">
                    <a:pos x="T10" y="T11"/>
                  </a:cxn>
                </a:cxnLst>
                <a:rect l="0" t="0" r="r" b="b"/>
                <a:pathLst>
                  <a:path w="21" h="20">
                    <a:moveTo>
                      <a:pt x="4" y="0"/>
                    </a:moveTo>
                    <a:lnTo>
                      <a:pt x="0" y="12"/>
                    </a:lnTo>
                    <a:lnTo>
                      <a:pt x="4" y="19"/>
                    </a:lnTo>
                    <a:lnTo>
                      <a:pt x="20" y="15"/>
                    </a:lnTo>
                    <a:lnTo>
                      <a:pt x="16" y="4"/>
                    </a:lnTo>
                    <a:lnTo>
                      <a:pt x="4" y="0"/>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86" name="Freeform 128">
                <a:extLst>
                  <a:ext uri="{FF2B5EF4-FFF2-40B4-BE49-F238E27FC236}">
                    <a16:creationId xmlns:a16="http://schemas.microsoft.com/office/drawing/2014/main" id="{7AB5585A-6B23-4B0F-4573-B5196295830B}"/>
                  </a:ext>
                </a:extLst>
              </p:cNvPr>
              <p:cNvSpPr>
                <a:spLocks/>
              </p:cNvSpPr>
              <p:nvPr/>
            </p:nvSpPr>
            <p:spPr bwMode="auto">
              <a:xfrm>
                <a:off x="7654530" y="3745012"/>
                <a:ext cx="27947" cy="23762"/>
              </a:xfrm>
              <a:custGeom>
                <a:avLst/>
                <a:gdLst>
                  <a:gd name="T0" fmla="*/ 0 w 19"/>
                  <a:gd name="T1" fmla="*/ 3 h 14"/>
                  <a:gd name="T2" fmla="*/ 3 w 19"/>
                  <a:gd name="T3" fmla="*/ 13 h 14"/>
                  <a:gd name="T4" fmla="*/ 10 w 19"/>
                  <a:gd name="T5" fmla="*/ 13 h 14"/>
                  <a:gd name="T6" fmla="*/ 16 w 19"/>
                  <a:gd name="T7" fmla="*/ 9 h 14"/>
                  <a:gd name="T8" fmla="*/ 18 w 19"/>
                  <a:gd name="T9" fmla="*/ 0 h 14"/>
                  <a:gd name="T10" fmla="*/ 8 w 19"/>
                  <a:gd name="T11" fmla="*/ 0 h 14"/>
                  <a:gd name="T12" fmla="*/ 0 w 19"/>
                  <a:gd name="T13" fmla="*/ 3 h 14"/>
                </a:gdLst>
                <a:ahLst/>
                <a:cxnLst>
                  <a:cxn ang="0">
                    <a:pos x="T0" y="T1"/>
                  </a:cxn>
                  <a:cxn ang="0">
                    <a:pos x="T2" y="T3"/>
                  </a:cxn>
                  <a:cxn ang="0">
                    <a:pos x="T4" y="T5"/>
                  </a:cxn>
                  <a:cxn ang="0">
                    <a:pos x="T6" y="T7"/>
                  </a:cxn>
                  <a:cxn ang="0">
                    <a:pos x="T8" y="T9"/>
                  </a:cxn>
                  <a:cxn ang="0">
                    <a:pos x="T10" y="T11"/>
                  </a:cxn>
                  <a:cxn ang="0">
                    <a:pos x="T12" y="T13"/>
                  </a:cxn>
                </a:cxnLst>
                <a:rect l="0" t="0" r="r" b="b"/>
                <a:pathLst>
                  <a:path w="19" h="14">
                    <a:moveTo>
                      <a:pt x="0" y="3"/>
                    </a:moveTo>
                    <a:lnTo>
                      <a:pt x="3" y="13"/>
                    </a:lnTo>
                    <a:lnTo>
                      <a:pt x="10" y="13"/>
                    </a:lnTo>
                    <a:lnTo>
                      <a:pt x="16" y="9"/>
                    </a:lnTo>
                    <a:lnTo>
                      <a:pt x="18" y="0"/>
                    </a:lnTo>
                    <a:lnTo>
                      <a:pt x="8" y="0"/>
                    </a:lnTo>
                    <a:lnTo>
                      <a:pt x="0" y="3"/>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87" name="Freeform 129">
                <a:extLst>
                  <a:ext uri="{FF2B5EF4-FFF2-40B4-BE49-F238E27FC236}">
                    <a16:creationId xmlns:a16="http://schemas.microsoft.com/office/drawing/2014/main" id="{A5174939-65A6-CF30-6C5C-765F6587C83E}"/>
                  </a:ext>
                </a:extLst>
              </p:cNvPr>
              <p:cNvSpPr>
                <a:spLocks/>
              </p:cNvSpPr>
              <p:nvPr/>
            </p:nvSpPr>
            <p:spPr bwMode="auto">
              <a:xfrm>
                <a:off x="7587459" y="3812103"/>
                <a:ext cx="41919" cy="58704"/>
              </a:xfrm>
              <a:custGeom>
                <a:avLst/>
                <a:gdLst>
                  <a:gd name="T0" fmla="*/ 18 w 27"/>
                  <a:gd name="T1" fmla="*/ 0 h 37"/>
                  <a:gd name="T2" fmla="*/ 8 w 27"/>
                  <a:gd name="T3" fmla="*/ 11 h 37"/>
                  <a:gd name="T4" fmla="*/ 3 w 27"/>
                  <a:gd name="T5" fmla="*/ 27 h 37"/>
                  <a:gd name="T6" fmla="*/ 0 w 27"/>
                  <a:gd name="T7" fmla="*/ 36 h 37"/>
                  <a:gd name="T8" fmla="*/ 13 w 27"/>
                  <a:gd name="T9" fmla="*/ 32 h 37"/>
                  <a:gd name="T10" fmla="*/ 20 w 27"/>
                  <a:gd name="T11" fmla="*/ 19 h 37"/>
                  <a:gd name="T12" fmla="*/ 26 w 27"/>
                  <a:gd name="T13" fmla="*/ 5 h 37"/>
                  <a:gd name="T14" fmla="*/ 18 w 27"/>
                  <a:gd name="T15" fmla="*/ 0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37">
                    <a:moveTo>
                      <a:pt x="18" y="0"/>
                    </a:moveTo>
                    <a:lnTo>
                      <a:pt x="8" y="11"/>
                    </a:lnTo>
                    <a:lnTo>
                      <a:pt x="3" y="27"/>
                    </a:lnTo>
                    <a:lnTo>
                      <a:pt x="0" y="36"/>
                    </a:lnTo>
                    <a:lnTo>
                      <a:pt x="13" y="32"/>
                    </a:lnTo>
                    <a:lnTo>
                      <a:pt x="20" y="19"/>
                    </a:lnTo>
                    <a:lnTo>
                      <a:pt x="26" y="5"/>
                    </a:lnTo>
                    <a:lnTo>
                      <a:pt x="18" y="0"/>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88" name="Freeform 130">
                <a:extLst>
                  <a:ext uri="{FF2B5EF4-FFF2-40B4-BE49-F238E27FC236}">
                    <a16:creationId xmlns:a16="http://schemas.microsoft.com/office/drawing/2014/main" id="{9EC73A12-635B-16CF-53EB-00FEB09CCF55}"/>
                  </a:ext>
                </a:extLst>
              </p:cNvPr>
              <p:cNvSpPr>
                <a:spLocks/>
              </p:cNvSpPr>
              <p:nvPr/>
            </p:nvSpPr>
            <p:spPr bwMode="auto">
              <a:xfrm>
                <a:off x="7630775" y="3779955"/>
                <a:ext cx="23755" cy="23762"/>
              </a:xfrm>
              <a:custGeom>
                <a:avLst/>
                <a:gdLst>
                  <a:gd name="T0" fmla="*/ 7 w 14"/>
                  <a:gd name="T1" fmla="*/ 14 h 15"/>
                  <a:gd name="T2" fmla="*/ 5 w 14"/>
                  <a:gd name="T3" fmla="*/ 14 h 15"/>
                  <a:gd name="T4" fmla="*/ 3 w 14"/>
                  <a:gd name="T5" fmla="*/ 14 h 15"/>
                  <a:gd name="T6" fmla="*/ 2 w 14"/>
                  <a:gd name="T7" fmla="*/ 14 h 15"/>
                  <a:gd name="T8" fmla="*/ 2 w 14"/>
                  <a:gd name="T9" fmla="*/ 12 h 15"/>
                  <a:gd name="T10" fmla="*/ 1 w 14"/>
                  <a:gd name="T11" fmla="*/ 11 h 15"/>
                  <a:gd name="T12" fmla="*/ 0 w 14"/>
                  <a:gd name="T13" fmla="*/ 11 h 15"/>
                  <a:gd name="T14" fmla="*/ 0 w 14"/>
                  <a:gd name="T15" fmla="*/ 10 h 15"/>
                  <a:gd name="T16" fmla="*/ 0 w 14"/>
                  <a:gd name="T17" fmla="*/ 9 h 15"/>
                  <a:gd name="T18" fmla="*/ 0 w 14"/>
                  <a:gd name="T19" fmla="*/ 7 h 15"/>
                  <a:gd name="T20" fmla="*/ 0 w 14"/>
                  <a:gd name="T21" fmla="*/ 5 h 15"/>
                  <a:gd name="T22" fmla="*/ 0 w 14"/>
                  <a:gd name="T23" fmla="*/ 4 h 15"/>
                  <a:gd name="T24" fmla="*/ 1 w 14"/>
                  <a:gd name="T25" fmla="*/ 3 h 15"/>
                  <a:gd name="T26" fmla="*/ 2 w 14"/>
                  <a:gd name="T27" fmla="*/ 2 h 15"/>
                  <a:gd name="T28" fmla="*/ 2 w 14"/>
                  <a:gd name="T29" fmla="*/ 1 h 15"/>
                  <a:gd name="T30" fmla="*/ 3 w 14"/>
                  <a:gd name="T31" fmla="*/ 1 h 15"/>
                  <a:gd name="T32" fmla="*/ 5 w 14"/>
                  <a:gd name="T33" fmla="*/ 1 h 15"/>
                  <a:gd name="T34" fmla="*/ 7 w 14"/>
                  <a:gd name="T35" fmla="*/ 0 h 15"/>
                  <a:gd name="T36" fmla="*/ 7 w 14"/>
                  <a:gd name="T37" fmla="*/ 1 h 15"/>
                  <a:gd name="T38" fmla="*/ 9 w 14"/>
                  <a:gd name="T39" fmla="*/ 1 h 15"/>
                  <a:gd name="T40" fmla="*/ 10 w 14"/>
                  <a:gd name="T41" fmla="*/ 1 h 15"/>
                  <a:gd name="T42" fmla="*/ 10 w 14"/>
                  <a:gd name="T43" fmla="*/ 2 h 15"/>
                  <a:gd name="T44" fmla="*/ 11 w 14"/>
                  <a:gd name="T45" fmla="*/ 3 h 15"/>
                  <a:gd name="T46" fmla="*/ 11 w 14"/>
                  <a:gd name="T47" fmla="*/ 4 h 15"/>
                  <a:gd name="T48" fmla="*/ 11 w 14"/>
                  <a:gd name="T49" fmla="*/ 5 h 15"/>
                  <a:gd name="T50" fmla="*/ 13 w 14"/>
                  <a:gd name="T51" fmla="*/ 7 h 15"/>
                  <a:gd name="T52" fmla="*/ 11 w 14"/>
                  <a:gd name="T53" fmla="*/ 9 h 15"/>
                  <a:gd name="T54" fmla="*/ 11 w 14"/>
                  <a:gd name="T55" fmla="*/ 10 h 15"/>
                  <a:gd name="T56" fmla="*/ 11 w 14"/>
                  <a:gd name="T57" fmla="*/ 11 h 15"/>
                  <a:gd name="T58" fmla="*/ 10 w 14"/>
                  <a:gd name="T59" fmla="*/ 12 h 15"/>
                  <a:gd name="T60" fmla="*/ 10 w 14"/>
                  <a:gd name="T61" fmla="*/ 14 h 15"/>
                  <a:gd name="T62" fmla="*/ 9 w 14"/>
                  <a:gd name="T63" fmla="*/ 14 h 15"/>
                  <a:gd name="T64" fmla="*/ 7 w 14"/>
                  <a:gd name="T65"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 h="15">
                    <a:moveTo>
                      <a:pt x="7" y="14"/>
                    </a:moveTo>
                    <a:lnTo>
                      <a:pt x="5" y="14"/>
                    </a:lnTo>
                    <a:lnTo>
                      <a:pt x="3" y="14"/>
                    </a:lnTo>
                    <a:lnTo>
                      <a:pt x="2" y="14"/>
                    </a:lnTo>
                    <a:lnTo>
                      <a:pt x="2" y="12"/>
                    </a:lnTo>
                    <a:lnTo>
                      <a:pt x="1" y="11"/>
                    </a:lnTo>
                    <a:lnTo>
                      <a:pt x="0" y="11"/>
                    </a:lnTo>
                    <a:lnTo>
                      <a:pt x="0" y="10"/>
                    </a:lnTo>
                    <a:lnTo>
                      <a:pt x="0" y="9"/>
                    </a:lnTo>
                    <a:lnTo>
                      <a:pt x="0" y="7"/>
                    </a:lnTo>
                    <a:lnTo>
                      <a:pt x="0" y="5"/>
                    </a:lnTo>
                    <a:lnTo>
                      <a:pt x="0" y="4"/>
                    </a:lnTo>
                    <a:lnTo>
                      <a:pt x="1" y="3"/>
                    </a:lnTo>
                    <a:lnTo>
                      <a:pt x="2" y="2"/>
                    </a:lnTo>
                    <a:lnTo>
                      <a:pt x="2" y="1"/>
                    </a:lnTo>
                    <a:lnTo>
                      <a:pt x="3" y="1"/>
                    </a:lnTo>
                    <a:lnTo>
                      <a:pt x="5" y="1"/>
                    </a:lnTo>
                    <a:lnTo>
                      <a:pt x="7" y="0"/>
                    </a:lnTo>
                    <a:lnTo>
                      <a:pt x="7" y="1"/>
                    </a:lnTo>
                    <a:lnTo>
                      <a:pt x="9" y="1"/>
                    </a:lnTo>
                    <a:lnTo>
                      <a:pt x="10" y="1"/>
                    </a:lnTo>
                    <a:lnTo>
                      <a:pt x="10" y="2"/>
                    </a:lnTo>
                    <a:lnTo>
                      <a:pt x="11" y="3"/>
                    </a:lnTo>
                    <a:lnTo>
                      <a:pt x="11" y="4"/>
                    </a:lnTo>
                    <a:lnTo>
                      <a:pt x="11" y="5"/>
                    </a:lnTo>
                    <a:lnTo>
                      <a:pt x="13" y="7"/>
                    </a:lnTo>
                    <a:lnTo>
                      <a:pt x="11" y="9"/>
                    </a:lnTo>
                    <a:lnTo>
                      <a:pt x="11" y="10"/>
                    </a:lnTo>
                    <a:lnTo>
                      <a:pt x="11" y="11"/>
                    </a:lnTo>
                    <a:lnTo>
                      <a:pt x="10" y="12"/>
                    </a:lnTo>
                    <a:lnTo>
                      <a:pt x="10" y="14"/>
                    </a:lnTo>
                    <a:lnTo>
                      <a:pt x="9" y="14"/>
                    </a:lnTo>
                    <a:lnTo>
                      <a:pt x="7" y="14"/>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89" name="Freeform 131">
                <a:extLst>
                  <a:ext uri="{FF2B5EF4-FFF2-40B4-BE49-F238E27FC236}">
                    <a16:creationId xmlns:a16="http://schemas.microsoft.com/office/drawing/2014/main" id="{380A058B-BFF3-F90F-5F55-DA8DC4422B62}"/>
                  </a:ext>
                </a:extLst>
              </p:cNvPr>
              <p:cNvSpPr>
                <a:spLocks/>
              </p:cNvSpPr>
              <p:nvPr/>
            </p:nvSpPr>
            <p:spPr bwMode="auto">
              <a:xfrm>
                <a:off x="5420234" y="4456454"/>
                <a:ext cx="170472" cy="195682"/>
              </a:xfrm>
              <a:custGeom>
                <a:avLst/>
                <a:gdLst>
                  <a:gd name="T0" fmla="*/ 65 w 108"/>
                  <a:gd name="T1" fmla="*/ 0 h 125"/>
                  <a:gd name="T2" fmla="*/ 59 w 108"/>
                  <a:gd name="T3" fmla="*/ 7 h 125"/>
                  <a:gd name="T4" fmla="*/ 47 w 108"/>
                  <a:gd name="T5" fmla="*/ 9 h 125"/>
                  <a:gd name="T6" fmla="*/ 45 w 108"/>
                  <a:gd name="T7" fmla="*/ 20 h 125"/>
                  <a:gd name="T8" fmla="*/ 40 w 108"/>
                  <a:gd name="T9" fmla="*/ 23 h 125"/>
                  <a:gd name="T10" fmla="*/ 32 w 108"/>
                  <a:gd name="T11" fmla="*/ 25 h 125"/>
                  <a:gd name="T12" fmla="*/ 30 w 108"/>
                  <a:gd name="T13" fmla="*/ 36 h 125"/>
                  <a:gd name="T14" fmla="*/ 22 w 108"/>
                  <a:gd name="T15" fmla="*/ 39 h 125"/>
                  <a:gd name="T16" fmla="*/ 8 w 108"/>
                  <a:gd name="T17" fmla="*/ 39 h 125"/>
                  <a:gd name="T18" fmla="*/ 0 w 108"/>
                  <a:gd name="T19" fmla="*/ 42 h 125"/>
                  <a:gd name="T20" fmla="*/ 6 w 108"/>
                  <a:gd name="T21" fmla="*/ 64 h 125"/>
                  <a:gd name="T22" fmla="*/ 8 w 108"/>
                  <a:gd name="T23" fmla="*/ 75 h 125"/>
                  <a:gd name="T24" fmla="*/ 15 w 108"/>
                  <a:gd name="T25" fmla="*/ 79 h 125"/>
                  <a:gd name="T26" fmla="*/ 19 w 108"/>
                  <a:gd name="T27" fmla="*/ 91 h 125"/>
                  <a:gd name="T28" fmla="*/ 27 w 108"/>
                  <a:gd name="T29" fmla="*/ 92 h 125"/>
                  <a:gd name="T30" fmla="*/ 31 w 108"/>
                  <a:gd name="T31" fmla="*/ 107 h 125"/>
                  <a:gd name="T32" fmla="*/ 37 w 108"/>
                  <a:gd name="T33" fmla="*/ 109 h 125"/>
                  <a:gd name="T34" fmla="*/ 52 w 108"/>
                  <a:gd name="T35" fmla="*/ 115 h 125"/>
                  <a:gd name="T36" fmla="*/ 62 w 108"/>
                  <a:gd name="T37" fmla="*/ 119 h 125"/>
                  <a:gd name="T38" fmla="*/ 66 w 108"/>
                  <a:gd name="T39" fmla="*/ 124 h 125"/>
                  <a:gd name="T40" fmla="*/ 82 w 108"/>
                  <a:gd name="T41" fmla="*/ 124 h 125"/>
                  <a:gd name="T42" fmla="*/ 85 w 108"/>
                  <a:gd name="T43" fmla="*/ 113 h 125"/>
                  <a:gd name="T44" fmla="*/ 93 w 108"/>
                  <a:gd name="T45" fmla="*/ 108 h 125"/>
                  <a:gd name="T46" fmla="*/ 92 w 108"/>
                  <a:gd name="T47" fmla="*/ 87 h 125"/>
                  <a:gd name="T48" fmla="*/ 102 w 108"/>
                  <a:gd name="T49" fmla="*/ 82 h 125"/>
                  <a:gd name="T50" fmla="*/ 107 w 108"/>
                  <a:gd name="T51" fmla="*/ 75 h 125"/>
                  <a:gd name="T52" fmla="*/ 101 w 108"/>
                  <a:gd name="T53" fmla="*/ 61 h 125"/>
                  <a:gd name="T54" fmla="*/ 100 w 108"/>
                  <a:gd name="T55" fmla="*/ 51 h 125"/>
                  <a:gd name="T56" fmla="*/ 105 w 108"/>
                  <a:gd name="T57" fmla="*/ 31 h 125"/>
                  <a:gd name="T58" fmla="*/ 98 w 108"/>
                  <a:gd name="T59" fmla="*/ 16 h 125"/>
                  <a:gd name="T60" fmla="*/ 77 w 108"/>
                  <a:gd name="T61" fmla="*/ 13 h 125"/>
                  <a:gd name="T62" fmla="*/ 70 w 108"/>
                  <a:gd name="T63" fmla="*/ 1 h 125"/>
                  <a:gd name="T64" fmla="*/ 65 w 108"/>
                  <a:gd name="T65"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8" h="125">
                    <a:moveTo>
                      <a:pt x="65" y="0"/>
                    </a:moveTo>
                    <a:lnTo>
                      <a:pt x="59" y="7"/>
                    </a:lnTo>
                    <a:lnTo>
                      <a:pt x="47" y="9"/>
                    </a:lnTo>
                    <a:lnTo>
                      <a:pt x="45" y="20"/>
                    </a:lnTo>
                    <a:lnTo>
                      <a:pt x="40" y="23"/>
                    </a:lnTo>
                    <a:lnTo>
                      <a:pt x="32" y="25"/>
                    </a:lnTo>
                    <a:lnTo>
                      <a:pt x="30" y="36"/>
                    </a:lnTo>
                    <a:lnTo>
                      <a:pt x="22" y="39"/>
                    </a:lnTo>
                    <a:lnTo>
                      <a:pt x="8" y="39"/>
                    </a:lnTo>
                    <a:lnTo>
                      <a:pt x="0" y="42"/>
                    </a:lnTo>
                    <a:lnTo>
                      <a:pt x="6" y="64"/>
                    </a:lnTo>
                    <a:lnTo>
                      <a:pt x="8" y="75"/>
                    </a:lnTo>
                    <a:lnTo>
                      <a:pt x="15" y="79"/>
                    </a:lnTo>
                    <a:lnTo>
                      <a:pt x="19" y="91"/>
                    </a:lnTo>
                    <a:lnTo>
                      <a:pt x="27" y="92"/>
                    </a:lnTo>
                    <a:lnTo>
                      <a:pt x="31" y="107"/>
                    </a:lnTo>
                    <a:lnTo>
                      <a:pt x="37" y="109"/>
                    </a:lnTo>
                    <a:lnTo>
                      <a:pt x="52" y="115"/>
                    </a:lnTo>
                    <a:lnTo>
                      <a:pt x="62" y="119"/>
                    </a:lnTo>
                    <a:lnTo>
                      <a:pt x="66" y="124"/>
                    </a:lnTo>
                    <a:lnTo>
                      <a:pt x="82" y="124"/>
                    </a:lnTo>
                    <a:lnTo>
                      <a:pt x="85" y="113"/>
                    </a:lnTo>
                    <a:lnTo>
                      <a:pt x="93" y="108"/>
                    </a:lnTo>
                    <a:lnTo>
                      <a:pt x="92" y="87"/>
                    </a:lnTo>
                    <a:lnTo>
                      <a:pt x="102" y="82"/>
                    </a:lnTo>
                    <a:lnTo>
                      <a:pt x="107" y="75"/>
                    </a:lnTo>
                    <a:lnTo>
                      <a:pt x="101" y="61"/>
                    </a:lnTo>
                    <a:lnTo>
                      <a:pt x="100" y="51"/>
                    </a:lnTo>
                    <a:lnTo>
                      <a:pt x="105" y="31"/>
                    </a:lnTo>
                    <a:lnTo>
                      <a:pt x="98" y="16"/>
                    </a:lnTo>
                    <a:lnTo>
                      <a:pt x="77" y="13"/>
                    </a:lnTo>
                    <a:lnTo>
                      <a:pt x="70" y="1"/>
                    </a:lnTo>
                    <a:lnTo>
                      <a:pt x="65" y="0"/>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90" name="Freeform 132">
                <a:extLst>
                  <a:ext uri="{FF2B5EF4-FFF2-40B4-BE49-F238E27FC236}">
                    <a16:creationId xmlns:a16="http://schemas.microsoft.com/office/drawing/2014/main" id="{E2046017-6129-DE1A-08B7-037239CD147B}"/>
                  </a:ext>
                </a:extLst>
              </p:cNvPr>
              <p:cNvSpPr>
                <a:spLocks/>
              </p:cNvSpPr>
              <p:nvPr/>
            </p:nvSpPr>
            <p:spPr bwMode="auto">
              <a:xfrm>
                <a:off x="5101650" y="4492795"/>
                <a:ext cx="222172" cy="332659"/>
              </a:xfrm>
              <a:custGeom>
                <a:avLst/>
                <a:gdLst>
                  <a:gd name="T0" fmla="*/ 1 w 141"/>
                  <a:gd name="T1" fmla="*/ 6 h 212"/>
                  <a:gd name="T2" fmla="*/ 15 w 141"/>
                  <a:gd name="T3" fmla="*/ 0 h 212"/>
                  <a:gd name="T4" fmla="*/ 31 w 141"/>
                  <a:gd name="T5" fmla="*/ 7 h 212"/>
                  <a:gd name="T6" fmla="*/ 56 w 141"/>
                  <a:gd name="T7" fmla="*/ 9 h 212"/>
                  <a:gd name="T8" fmla="*/ 93 w 141"/>
                  <a:gd name="T9" fmla="*/ 8 h 212"/>
                  <a:gd name="T10" fmla="*/ 98 w 141"/>
                  <a:gd name="T11" fmla="*/ 16 h 212"/>
                  <a:gd name="T12" fmla="*/ 129 w 141"/>
                  <a:gd name="T13" fmla="*/ 20 h 212"/>
                  <a:gd name="T14" fmla="*/ 140 w 141"/>
                  <a:gd name="T15" fmla="*/ 22 h 212"/>
                  <a:gd name="T16" fmla="*/ 133 w 141"/>
                  <a:gd name="T17" fmla="*/ 35 h 212"/>
                  <a:gd name="T18" fmla="*/ 132 w 141"/>
                  <a:gd name="T19" fmla="*/ 87 h 212"/>
                  <a:gd name="T20" fmla="*/ 126 w 141"/>
                  <a:gd name="T21" fmla="*/ 91 h 212"/>
                  <a:gd name="T22" fmla="*/ 118 w 141"/>
                  <a:gd name="T23" fmla="*/ 95 h 212"/>
                  <a:gd name="T24" fmla="*/ 119 w 141"/>
                  <a:gd name="T25" fmla="*/ 146 h 212"/>
                  <a:gd name="T26" fmla="*/ 115 w 141"/>
                  <a:gd name="T27" fmla="*/ 202 h 212"/>
                  <a:gd name="T28" fmla="*/ 107 w 141"/>
                  <a:gd name="T29" fmla="*/ 211 h 212"/>
                  <a:gd name="T30" fmla="*/ 87 w 141"/>
                  <a:gd name="T31" fmla="*/ 208 h 212"/>
                  <a:gd name="T32" fmla="*/ 81 w 141"/>
                  <a:gd name="T33" fmla="*/ 197 h 212"/>
                  <a:gd name="T34" fmla="*/ 77 w 141"/>
                  <a:gd name="T35" fmla="*/ 202 h 212"/>
                  <a:gd name="T36" fmla="*/ 67 w 141"/>
                  <a:gd name="T37" fmla="*/ 203 h 212"/>
                  <a:gd name="T38" fmla="*/ 63 w 141"/>
                  <a:gd name="T39" fmla="*/ 190 h 212"/>
                  <a:gd name="T40" fmla="*/ 55 w 141"/>
                  <a:gd name="T41" fmla="*/ 181 h 212"/>
                  <a:gd name="T42" fmla="*/ 45 w 141"/>
                  <a:gd name="T43" fmla="*/ 179 h 212"/>
                  <a:gd name="T44" fmla="*/ 46 w 141"/>
                  <a:gd name="T45" fmla="*/ 160 h 212"/>
                  <a:gd name="T46" fmla="*/ 42 w 141"/>
                  <a:gd name="T47" fmla="*/ 138 h 212"/>
                  <a:gd name="T48" fmla="*/ 41 w 141"/>
                  <a:gd name="T49" fmla="*/ 123 h 212"/>
                  <a:gd name="T50" fmla="*/ 40 w 141"/>
                  <a:gd name="T51" fmla="*/ 103 h 212"/>
                  <a:gd name="T52" fmla="*/ 35 w 141"/>
                  <a:gd name="T53" fmla="*/ 89 h 212"/>
                  <a:gd name="T54" fmla="*/ 30 w 141"/>
                  <a:gd name="T55" fmla="*/ 78 h 212"/>
                  <a:gd name="T56" fmla="*/ 25 w 141"/>
                  <a:gd name="T57" fmla="*/ 68 h 212"/>
                  <a:gd name="T58" fmla="*/ 16 w 141"/>
                  <a:gd name="T59" fmla="*/ 50 h 212"/>
                  <a:gd name="T60" fmla="*/ 11 w 141"/>
                  <a:gd name="T61" fmla="*/ 40 h 212"/>
                  <a:gd name="T62" fmla="*/ 0 w 141"/>
                  <a:gd name="T63" fmla="*/ 25 h 212"/>
                  <a:gd name="T64" fmla="*/ 1 w 141"/>
                  <a:gd name="T65" fmla="*/ 6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1" h="212">
                    <a:moveTo>
                      <a:pt x="1" y="6"/>
                    </a:moveTo>
                    <a:lnTo>
                      <a:pt x="15" y="0"/>
                    </a:lnTo>
                    <a:lnTo>
                      <a:pt x="31" y="7"/>
                    </a:lnTo>
                    <a:lnTo>
                      <a:pt x="56" y="9"/>
                    </a:lnTo>
                    <a:lnTo>
                      <a:pt x="93" y="8"/>
                    </a:lnTo>
                    <a:lnTo>
                      <a:pt x="98" y="16"/>
                    </a:lnTo>
                    <a:lnTo>
                      <a:pt x="129" y="20"/>
                    </a:lnTo>
                    <a:lnTo>
                      <a:pt x="140" y="22"/>
                    </a:lnTo>
                    <a:lnTo>
                      <a:pt x="133" y="35"/>
                    </a:lnTo>
                    <a:lnTo>
                      <a:pt x="132" y="87"/>
                    </a:lnTo>
                    <a:lnTo>
                      <a:pt x="126" y="91"/>
                    </a:lnTo>
                    <a:lnTo>
                      <a:pt x="118" y="95"/>
                    </a:lnTo>
                    <a:lnTo>
                      <a:pt x="119" y="146"/>
                    </a:lnTo>
                    <a:lnTo>
                      <a:pt x="115" y="202"/>
                    </a:lnTo>
                    <a:lnTo>
                      <a:pt x="107" y="211"/>
                    </a:lnTo>
                    <a:lnTo>
                      <a:pt x="87" y="208"/>
                    </a:lnTo>
                    <a:lnTo>
                      <a:pt x="81" y="197"/>
                    </a:lnTo>
                    <a:lnTo>
                      <a:pt x="77" y="202"/>
                    </a:lnTo>
                    <a:lnTo>
                      <a:pt x="67" y="203"/>
                    </a:lnTo>
                    <a:lnTo>
                      <a:pt x="63" y="190"/>
                    </a:lnTo>
                    <a:lnTo>
                      <a:pt x="55" y="181"/>
                    </a:lnTo>
                    <a:lnTo>
                      <a:pt x="45" y="179"/>
                    </a:lnTo>
                    <a:lnTo>
                      <a:pt x="46" y="160"/>
                    </a:lnTo>
                    <a:lnTo>
                      <a:pt x="42" y="138"/>
                    </a:lnTo>
                    <a:lnTo>
                      <a:pt x="41" y="123"/>
                    </a:lnTo>
                    <a:lnTo>
                      <a:pt x="40" y="103"/>
                    </a:lnTo>
                    <a:lnTo>
                      <a:pt x="35" y="89"/>
                    </a:lnTo>
                    <a:lnTo>
                      <a:pt x="30" y="78"/>
                    </a:lnTo>
                    <a:lnTo>
                      <a:pt x="25" y="68"/>
                    </a:lnTo>
                    <a:lnTo>
                      <a:pt x="16" y="50"/>
                    </a:lnTo>
                    <a:lnTo>
                      <a:pt x="11" y="40"/>
                    </a:lnTo>
                    <a:lnTo>
                      <a:pt x="0" y="25"/>
                    </a:lnTo>
                    <a:lnTo>
                      <a:pt x="1" y="6"/>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91" name="Freeform 133">
                <a:extLst>
                  <a:ext uri="{FF2B5EF4-FFF2-40B4-BE49-F238E27FC236}">
                    <a16:creationId xmlns:a16="http://schemas.microsoft.com/office/drawing/2014/main" id="{568842E0-3233-AA97-35B5-57DCA3D98D94}"/>
                  </a:ext>
                </a:extLst>
              </p:cNvPr>
              <p:cNvSpPr>
                <a:spLocks/>
              </p:cNvSpPr>
              <p:nvPr/>
            </p:nvSpPr>
            <p:spPr bwMode="auto">
              <a:xfrm>
                <a:off x="5800302" y="4358614"/>
                <a:ext cx="181650" cy="374591"/>
              </a:xfrm>
              <a:custGeom>
                <a:avLst/>
                <a:gdLst>
                  <a:gd name="T0" fmla="*/ 88 w 116"/>
                  <a:gd name="T1" fmla="*/ 3 h 238"/>
                  <a:gd name="T2" fmla="*/ 87 w 116"/>
                  <a:gd name="T3" fmla="*/ 23 h 238"/>
                  <a:gd name="T4" fmla="*/ 81 w 116"/>
                  <a:gd name="T5" fmla="*/ 26 h 238"/>
                  <a:gd name="T6" fmla="*/ 79 w 116"/>
                  <a:gd name="T7" fmla="*/ 41 h 238"/>
                  <a:gd name="T8" fmla="*/ 70 w 116"/>
                  <a:gd name="T9" fmla="*/ 41 h 238"/>
                  <a:gd name="T10" fmla="*/ 66 w 116"/>
                  <a:gd name="T11" fmla="*/ 47 h 238"/>
                  <a:gd name="T12" fmla="*/ 64 w 116"/>
                  <a:gd name="T13" fmla="*/ 55 h 238"/>
                  <a:gd name="T14" fmla="*/ 56 w 116"/>
                  <a:gd name="T15" fmla="*/ 62 h 238"/>
                  <a:gd name="T16" fmla="*/ 53 w 116"/>
                  <a:gd name="T17" fmla="*/ 70 h 238"/>
                  <a:gd name="T18" fmla="*/ 48 w 116"/>
                  <a:gd name="T19" fmla="*/ 69 h 238"/>
                  <a:gd name="T20" fmla="*/ 46 w 116"/>
                  <a:gd name="T21" fmla="*/ 61 h 238"/>
                  <a:gd name="T22" fmla="*/ 37 w 116"/>
                  <a:gd name="T23" fmla="*/ 61 h 238"/>
                  <a:gd name="T24" fmla="*/ 35 w 116"/>
                  <a:gd name="T25" fmla="*/ 67 h 238"/>
                  <a:gd name="T26" fmla="*/ 26 w 116"/>
                  <a:gd name="T27" fmla="*/ 71 h 238"/>
                  <a:gd name="T28" fmla="*/ 23 w 116"/>
                  <a:gd name="T29" fmla="*/ 84 h 238"/>
                  <a:gd name="T30" fmla="*/ 17 w 116"/>
                  <a:gd name="T31" fmla="*/ 85 h 238"/>
                  <a:gd name="T32" fmla="*/ 20 w 116"/>
                  <a:gd name="T33" fmla="*/ 127 h 238"/>
                  <a:gd name="T34" fmla="*/ 24 w 116"/>
                  <a:gd name="T35" fmla="*/ 128 h 238"/>
                  <a:gd name="T36" fmla="*/ 26 w 116"/>
                  <a:gd name="T37" fmla="*/ 139 h 238"/>
                  <a:gd name="T38" fmla="*/ 20 w 116"/>
                  <a:gd name="T39" fmla="*/ 143 h 238"/>
                  <a:gd name="T40" fmla="*/ 17 w 116"/>
                  <a:gd name="T41" fmla="*/ 157 h 238"/>
                  <a:gd name="T42" fmla="*/ 10 w 116"/>
                  <a:gd name="T43" fmla="*/ 160 h 238"/>
                  <a:gd name="T44" fmla="*/ 9 w 116"/>
                  <a:gd name="T45" fmla="*/ 167 h 238"/>
                  <a:gd name="T46" fmla="*/ 0 w 116"/>
                  <a:gd name="T47" fmla="*/ 170 h 238"/>
                  <a:gd name="T48" fmla="*/ 1 w 116"/>
                  <a:gd name="T49" fmla="*/ 189 h 238"/>
                  <a:gd name="T50" fmla="*/ 11 w 116"/>
                  <a:gd name="T51" fmla="*/ 189 h 238"/>
                  <a:gd name="T52" fmla="*/ 11 w 116"/>
                  <a:gd name="T53" fmla="*/ 228 h 238"/>
                  <a:gd name="T54" fmla="*/ 20 w 116"/>
                  <a:gd name="T55" fmla="*/ 228 h 238"/>
                  <a:gd name="T56" fmla="*/ 26 w 116"/>
                  <a:gd name="T57" fmla="*/ 234 h 238"/>
                  <a:gd name="T58" fmla="*/ 33 w 116"/>
                  <a:gd name="T59" fmla="*/ 237 h 238"/>
                  <a:gd name="T60" fmla="*/ 42 w 116"/>
                  <a:gd name="T61" fmla="*/ 228 h 238"/>
                  <a:gd name="T62" fmla="*/ 52 w 116"/>
                  <a:gd name="T63" fmla="*/ 227 h 238"/>
                  <a:gd name="T64" fmla="*/ 59 w 116"/>
                  <a:gd name="T65" fmla="*/ 222 h 238"/>
                  <a:gd name="T66" fmla="*/ 66 w 116"/>
                  <a:gd name="T67" fmla="*/ 217 h 238"/>
                  <a:gd name="T68" fmla="*/ 70 w 116"/>
                  <a:gd name="T69" fmla="*/ 198 h 238"/>
                  <a:gd name="T70" fmla="*/ 78 w 116"/>
                  <a:gd name="T71" fmla="*/ 195 h 238"/>
                  <a:gd name="T72" fmla="*/ 78 w 116"/>
                  <a:gd name="T73" fmla="*/ 170 h 238"/>
                  <a:gd name="T74" fmla="*/ 83 w 116"/>
                  <a:gd name="T75" fmla="*/ 167 h 238"/>
                  <a:gd name="T76" fmla="*/ 82 w 116"/>
                  <a:gd name="T77" fmla="*/ 132 h 238"/>
                  <a:gd name="T78" fmla="*/ 92 w 116"/>
                  <a:gd name="T79" fmla="*/ 125 h 238"/>
                  <a:gd name="T80" fmla="*/ 98 w 116"/>
                  <a:gd name="T81" fmla="*/ 119 h 238"/>
                  <a:gd name="T82" fmla="*/ 98 w 116"/>
                  <a:gd name="T83" fmla="*/ 91 h 238"/>
                  <a:gd name="T84" fmla="*/ 106 w 116"/>
                  <a:gd name="T85" fmla="*/ 86 h 238"/>
                  <a:gd name="T86" fmla="*/ 107 w 116"/>
                  <a:gd name="T87" fmla="*/ 64 h 238"/>
                  <a:gd name="T88" fmla="*/ 114 w 116"/>
                  <a:gd name="T89" fmla="*/ 64 h 238"/>
                  <a:gd name="T90" fmla="*/ 115 w 116"/>
                  <a:gd name="T91" fmla="*/ 28 h 238"/>
                  <a:gd name="T92" fmla="*/ 106 w 116"/>
                  <a:gd name="T93" fmla="*/ 23 h 238"/>
                  <a:gd name="T94" fmla="*/ 105 w 116"/>
                  <a:gd name="T95" fmla="*/ 6 h 238"/>
                  <a:gd name="T96" fmla="*/ 96 w 116"/>
                  <a:gd name="T97" fmla="*/ 0 h 238"/>
                  <a:gd name="T98" fmla="*/ 88 w 116"/>
                  <a:gd name="T99" fmla="*/ 3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6" h="238">
                    <a:moveTo>
                      <a:pt x="88" y="3"/>
                    </a:moveTo>
                    <a:lnTo>
                      <a:pt x="87" y="23"/>
                    </a:lnTo>
                    <a:lnTo>
                      <a:pt x="81" y="26"/>
                    </a:lnTo>
                    <a:lnTo>
                      <a:pt x="79" y="41"/>
                    </a:lnTo>
                    <a:lnTo>
                      <a:pt x="70" y="41"/>
                    </a:lnTo>
                    <a:lnTo>
                      <a:pt x="66" y="47"/>
                    </a:lnTo>
                    <a:lnTo>
                      <a:pt x="64" y="55"/>
                    </a:lnTo>
                    <a:lnTo>
                      <a:pt x="56" y="62"/>
                    </a:lnTo>
                    <a:lnTo>
                      <a:pt x="53" y="70"/>
                    </a:lnTo>
                    <a:lnTo>
                      <a:pt x="48" y="69"/>
                    </a:lnTo>
                    <a:lnTo>
                      <a:pt x="46" y="61"/>
                    </a:lnTo>
                    <a:lnTo>
                      <a:pt x="37" y="61"/>
                    </a:lnTo>
                    <a:lnTo>
                      <a:pt x="35" y="67"/>
                    </a:lnTo>
                    <a:lnTo>
                      <a:pt x="26" y="71"/>
                    </a:lnTo>
                    <a:lnTo>
                      <a:pt x="23" y="84"/>
                    </a:lnTo>
                    <a:lnTo>
                      <a:pt x="17" y="85"/>
                    </a:lnTo>
                    <a:lnTo>
                      <a:pt x="20" y="127"/>
                    </a:lnTo>
                    <a:lnTo>
                      <a:pt x="24" y="128"/>
                    </a:lnTo>
                    <a:lnTo>
                      <a:pt x="26" y="139"/>
                    </a:lnTo>
                    <a:lnTo>
                      <a:pt x="20" y="143"/>
                    </a:lnTo>
                    <a:lnTo>
                      <a:pt x="17" y="157"/>
                    </a:lnTo>
                    <a:lnTo>
                      <a:pt x="10" y="160"/>
                    </a:lnTo>
                    <a:lnTo>
                      <a:pt x="9" y="167"/>
                    </a:lnTo>
                    <a:lnTo>
                      <a:pt x="0" y="170"/>
                    </a:lnTo>
                    <a:lnTo>
                      <a:pt x="1" y="189"/>
                    </a:lnTo>
                    <a:lnTo>
                      <a:pt x="11" y="189"/>
                    </a:lnTo>
                    <a:lnTo>
                      <a:pt x="11" y="228"/>
                    </a:lnTo>
                    <a:lnTo>
                      <a:pt x="20" y="228"/>
                    </a:lnTo>
                    <a:lnTo>
                      <a:pt x="26" y="234"/>
                    </a:lnTo>
                    <a:lnTo>
                      <a:pt x="33" y="237"/>
                    </a:lnTo>
                    <a:lnTo>
                      <a:pt x="42" y="228"/>
                    </a:lnTo>
                    <a:lnTo>
                      <a:pt x="52" y="227"/>
                    </a:lnTo>
                    <a:lnTo>
                      <a:pt x="59" y="222"/>
                    </a:lnTo>
                    <a:lnTo>
                      <a:pt x="66" y="217"/>
                    </a:lnTo>
                    <a:lnTo>
                      <a:pt x="70" y="198"/>
                    </a:lnTo>
                    <a:lnTo>
                      <a:pt x="78" y="195"/>
                    </a:lnTo>
                    <a:lnTo>
                      <a:pt x="78" y="170"/>
                    </a:lnTo>
                    <a:lnTo>
                      <a:pt x="83" y="167"/>
                    </a:lnTo>
                    <a:lnTo>
                      <a:pt x="82" y="132"/>
                    </a:lnTo>
                    <a:lnTo>
                      <a:pt x="92" y="125"/>
                    </a:lnTo>
                    <a:lnTo>
                      <a:pt x="98" y="119"/>
                    </a:lnTo>
                    <a:lnTo>
                      <a:pt x="98" y="91"/>
                    </a:lnTo>
                    <a:lnTo>
                      <a:pt x="106" y="86"/>
                    </a:lnTo>
                    <a:lnTo>
                      <a:pt x="107" y="64"/>
                    </a:lnTo>
                    <a:lnTo>
                      <a:pt x="114" y="64"/>
                    </a:lnTo>
                    <a:lnTo>
                      <a:pt x="115" y="28"/>
                    </a:lnTo>
                    <a:lnTo>
                      <a:pt x="106" y="23"/>
                    </a:lnTo>
                    <a:lnTo>
                      <a:pt x="105" y="6"/>
                    </a:lnTo>
                    <a:lnTo>
                      <a:pt x="96" y="0"/>
                    </a:lnTo>
                    <a:lnTo>
                      <a:pt x="88" y="3"/>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92" name="Freeform 134">
                <a:extLst>
                  <a:ext uri="{FF2B5EF4-FFF2-40B4-BE49-F238E27FC236}">
                    <a16:creationId xmlns:a16="http://schemas.microsoft.com/office/drawing/2014/main" id="{71767713-76E4-CDA3-F34B-F522AC3526F6}"/>
                  </a:ext>
                </a:extLst>
              </p:cNvPr>
              <p:cNvSpPr>
                <a:spLocks/>
              </p:cNvSpPr>
              <p:nvPr/>
            </p:nvSpPr>
            <p:spPr bwMode="auto">
              <a:xfrm>
                <a:off x="5286093" y="4516556"/>
                <a:ext cx="216583" cy="248795"/>
              </a:xfrm>
              <a:custGeom>
                <a:avLst/>
                <a:gdLst>
                  <a:gd name="T0" fmla="*/ 47 w 139"/>
                  <a:gd name="T1" fmla="*/ 3 h 159"/>
                  <a:gd name="T2" fmla="*/ 86 w 139"/>
                  <a:gd name="T3" fmla="*/ 4 h 159"/>
                  <a:gd name="T4" fmla="*/ 92 w 139"/>
                  <a:gd name="T5" fmla="*/ 26 h 159"/>
                  <a:gd name="T6" fmla="*/ 93 w 139"/>
                  <a:gd name="T7" fmla="*/ 37 h 159"/>
                  <a:gd name="T8" fmla="*/ 101 w 139"/>
                  <a:gd name="T9" fmla="*/ 42 h 159"/>
                  <a:gd name="T10" fmla="*/ 105 w 139"/>
                  <a:gd name="T11" fmla="*/ 54 h 159"/>
                  <a:gd name="T12" fmla="*/ 113 w 139"/>
                  <a:gd name="T13" fmla="*/ 54 h 159"/>
                  <a:gd name="T14" fmla="*/ 117 w 139"/>
                  <a:gd name="T15" fmla="*/ 70 h 159"/>
                  <a:gd name="T16" fmla="*/ 123 w 139"/>
                  <a:gd name="T17" fmla="*/ 71 h 159"/>
                  <a:gd name="T18" fmla="*/ 138 w 139"/>
                  <a:gd name="T19" fmla="*/ 77 h 159"/>
                  <a:gd name="T20" fmla="*/ 135 w 139"/>
                  <a:gd name="T21" fmla="*/ 86 h 159"/>
                  <a:gd name="T22" fmla="*/ 126 w 139"/>
                  <a:gd name="T23" fmla="*/ 93 h 159"/>
                  <a:gd name="T24" fmla="*/ 117 w 139"/>
                  <a:gd name="T25" fmla="*/ 102 h 159"/>
                  <a:gd name="T26" fmla="*/ 106 w 139"/>
                  <a:gd name="T27" fmla="*/ 107 h 159"/>
                  <a:gd name="T28" fmla="*/ 102 w 139"/>
                  <a:gd name="T29" fmla="*/ 121 h 159"/>
                  <a:gd name="T30" fmla="*/ 93 w 139"/>
                  <a:gd name="T31" fmla="*/ 124 h 159"/>
                  <a:gd name="T32" fmla="*/ 87 w 139"/>
                  <a:gd name="T33" fmla="*/ 133 h 159"/>
                  <a:gd name="T34" fmla="*/ 78 w 139"/>
                  <a:gd name="T35" fmla="*/ 142 h 159"/>
                  <a:gd name="T36" fmla="*/ 64 w 139"/>
                  <a:gd name="T37" fmla="*/ 142 h 159"/>
                  <a:gd name="T38" fmla="*/ 55 w 139"/>
                  <a:gd name="T39" fmla="*/ 136 h 159"/>
                  <a:gd name="T40" fmla="*/ 46 w 139"/>
                  <a:gd name="T41" fmla="*/ 136 h 159"/>
                  <a:gd name="T42" fmla="*/ 41 w 139"/>
                  <a:gd name="T43" fmla="*/ 144 h 159"/>
                  <a:gd name="T44" fmla="*/ 38 w 139"/>
                  <a:gd name="T45" fmla="*/ 153 h 159"/>
                  <a:gd name="T46" fmla="*/ 30 w 139"/>
                  <a:gd name="T47" fmla="*/ 158 h 159"/>
                  <a:gd name="T48" fmla="*/ 10 w 139"/>
                  <a:gd name="T49" fmla="*/ 153 h 159"/>
                  <a:gd name="T50" fmla="*/ 6 w 139"/>
                  <a:gd name="T51" fmla="*/ 138 h 159"/>
                  <a:gd name="T52" fmla="*/ 1 w 139"/>
                  <a:gd name="T53" fmla="*/ 132 h 159"/>
                  <a:gd name="T54" fmla="*/ 0 w 139"/>
                  <a:gd name="T55" fmla="*/ 80 h 159"/>
                  <a:gd name="T56" fmla="*/ 8 w 139"/>
                  <a:gd name="T57" fmla="*/ 76 h 159"/>
                  <a:gd name="T58" fmla="*/ 15 w 139"/>
                  <a:gd name="T59" fmla="*/ 72 h 159"/>
                  <a:gd name="T60" fmla="*/ 15 w 139"/>
                  <a:gd name="T61" fmla="*/ 20 h 159"/>
                  <a:gd name="T62" fmla="*/ 22 w 139"/>
                  <a:gd name="T63" fmla="*/ 7 h 159"/>
                  <a:gd name="T64" fmla="*/ 40 w 139"/>
                  <a:gd name="T65" fmla="*/ 0 h 159"/>
                  <a:gd name="T66" fmla="*/ 47 w 139"/>
                  <a:gd name="T67" fmla="*/ 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9" h="159">
                    <a:moveTo>
                      <a:pt x="47" y="3"/>
                    </a:moveTo>
                    <a:lnTo>
                      <a:pt x="86" y="4"/>
                    </a:lnTo>
                    <a:lnTo>
                      <a:pt x="92" y="26"/>
                    </a:lnTo>
                    <a:lnTo>
                      <a:pt x="93" y="37"/>
                    </a:lnTo>
                    <a:lnTo>
                      <a:pt x="101" y="42"/>
                    </a:lnTo>
                    <a:lnTo>
                      <a:pt x="105" y="54"/>
                    </a:lnTo>
                    <a:lnTo>
                      <a:pt x="113" y="54"/>
                    </a:lnTo>
                    <a:lnTo>
                      <a:pt x="117" y="70"/>
                    </a:lnTo>
                    <a:lnTo>
                      <a:pt x="123" y="71"/>
                    </a:lnTo>
                    <a:lnTo>
                      <a:pt x="138" y="77"/>
                    </a:lnTo>
                    <a:lnTo>
                      <a:pt x="135" y="86"/>
                    </a:lnTo>
                    <a:lnTo>
                      <a:pt x="126" y="93"/>
                    </a:lnTo>
                    <a:lnTo>
                      <a:pt x="117" y="102"/>
                    </a:lnTo>
                    <a:lnTo>
                      <a:pt x="106" y="107"/>
                    </a:lnTo>
                    <a:lnTo>
                      <a:pt x="102" y="121"/>
                    </a:lnTo>
                    <a:lnTo>
                      <a:pt x="93" y="124"/>
                    </a:lnTo>
                    <a:lnTo>
                      <a:pt x="87" y="133"/>
                    </a:lnTo>
                    <a:lnTo>
                      <a:pt x="78" y="142"/>
                    </a:lnTo>
                    <a:lnTo>
                      <a:pt x="64" y="142"/>
                    </a:lnTo>
                    <a:lnTo>
                      <a:pt x="55" y="136"/>
                    </a:lnTo>
                    <a:lnTo>
                      <a:pt x="46" y="136"/>
                    </a:lnTo>
                    <a:lnTo>
                      <a:pt x="41" y="144"/>
                    </a:lnTo>
                    <a:lnTo>
                      <a:pt x="38" y="153"/>
                    </a:lnTo>
                    <a:lnTo>
                      <a:pt x="30" y="158"/>
                    </a:lnTo>
                    <a:lnTo>
                      <a:pt x="10" y="153"/>
                    </a:lnTo>
                    <a:lnTo>
                      <a:pt x="6" y="138"/>
                    </a:lnTo>
                    <a:lnTo>
                      <a:pt x="1" y="132"/>
                    </a:lnTo>
                    <a:lnTo>
                      <a:pt x="0" y="80"/>
                    </a:lnTo>
                    <a:lnTo>
                      <a:pt x="8" y="76"/>
                    </a:lnTo>
                    <a:lnTo>
                      <a:pt x="15" y="72"/>
                    </a:lnTo>
                    <a:lnTo>
                      <a:pt x="15" y="20"/>
                    </a:lnTo>
                    <a:lnTo>
                      <a:pt x="22" y="7"/>
                    </a:lnTo>
                    <a:lnTo>
                      <a:pt x="40" y="0"/>
                    </a:lnTo>
                    <a:lnTo>
                      <a:pt x="47" y="3"/>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93" name="Freeform 137">
                <a:extLst>
                  <a:ext uri="{FF2B5EF4-FFF2-40B4-BE49-F238E27FC236}">
                    <a16:creationId xmlns:a16="http://schemas.microsoft.com/office/drawing/2014/main" id="{2ACBAC1B-4FE9-4841-2F5B-D1BA9B1BC88C}"/>
                  </a:ext>
                </a:extLst>
              </p:cNvPr>
              <p:cNvSpPr>
                <a:spLocks/>
              </p:cNvSpPr>
              <p:nvPr/>
            </p:nvSpPr>
            <p:spPr bwMode="auto">
              <a:xfrm>
                <a:off x="8520860" y="4587840"/>
                <a:ext cx="57290" cy="46125"/>
              </a:xfrm>
              <a:custGeom>
                <a:avLst/>
                <a:gdLst>
                  <a:gd name="T0" fmla="*/ 11 w 37"/>
                  <a:gd name="T1" fmla="*/ 0 h 29"/>
                  <a:gd name="T2" fmla="*/ 0 w 37"/>
                  <a:gd name="T3" fmla="*/ 5 h 29"/>
                  <a:gd name="T4" fmla="*/ 8 w 37"/>
                  <a:gd name="T5" fmla="*/ 13 h 29"/>
                  <a:gd name="T6" fmla="*/ 18 w 37"/>
                  <a:gd name="T7" fmla="*/ 22 h 29"/>
                  <a:gd name="T8" fmla="*/ 32 w 37"/>
                  <a:gd name="T9" fmla="*/ 28 h 29"/>
                  <a:gd name="T10" fmla="*/ 36 w 37"/>
                  <a:gd name="T11" fmla="*/ 20 h 29"/>
                  <a:gd name="T12" fmla="*/ 26 w 37"/>
                  <a:gd name="T13" fmla="*/ 5 h 29"/>
                  <a:gd name="T14" fmla="*/ 11 w 37"/>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29">
                    <a:moveTo>
                      <a:pt x="11" y="0"/>
                    </a:moveTo>
                    <a:lnTo>
                      <a:pt x="0" y="5"/>
                    </a:lnTo>
                    <a:lnTo>
                      <a:pt x="8" y="13"/>
                    </a:lnTo>
                    <a:lnTo>
                      <a:pt x="18" y="22"/>
                    </a:lnTo>
                    <a:lnTo>
                      <a:pt x="32" y="28"/>
                    </a:lnTo>
                    <a:lnTo>
                      <a:pt x="36" y="20"/>
                    </a:lnTo>
                    <a:lnTo>
                      <a:pt x="26" y="5"/>
                    </a:lnTo>
                    <a:lnTo>
                      <a:pt x="11" y="0"/>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94" name="Freeform 138">
                <a:extLst>
                  <a:ext uri="{FF2B5EF4-FFF2-40B4-BE49-F238E27FC236}">
                    <a16:creationId xmlns:a16="http://schemas.microsoft.com/office/drawing/2014/main" id="{A17CADF4-BE07-D18B-73D1-37CB41BBEF9E}"/>
                  </a:ext>
                </a:extLst>
              </p:cNvPr>
              <p:cNvSpPr>
                <a:spLocks/>
              </p:cNvSpPr>
              <p:nvPr/>
            </p:nvSpPr>
            <p:spPr bwMode="auto">
              <a:xfrm>
                <a:off x="8263757" y="4088852"/>
                <a:ext cx="44713" cy="67091"/>
              </a:xfrm>
              <a:custGeom>
                <a:avLst/>
                <a:gdLst>
                  <a:gd name="T0" fmla="*/ 0 w 28"/>
                  <a:gd name="T1" fmla="*/ 0 h 42"/>
                  <a:gd name="T2" fmla="*/ 10 w 28"/>
                  <a:gd name="T3" fmla="*/ 20 h 42"/>
                  <a:gd name="T4" fmla="*/ 23 w 28"/>
                  <a:gd name="T5" fmla="*/ 41 h 42"/>
                  <a:gd name="T6" fmla="*/ 27 w 28"/>
                  <a:gd name="T7" fmla="*/ 15 h 42"/>
                  <a:gd name="T8" fmla="*/ 0 w 28"/>
                  <a:gd name="T9" fmla="*/ 0 h 42"/>
                </a:gdLst>
                <a:ahLst/>
                <a:cxnLst>
                  <a:cxn ang="0">
                    <a:pos x="T0" y="T1"/>
                  </a:cxn>
                  <a:cxn ang="0">
                    <a:pos x="T2" y="T3"/>
                  </a:cxn>
                  <a:cxn ang="0">
                    <a:pos x="T4" y="T5"/>
                  </a:cxn>
                  <a:cxn ang="0">
                    <a:pos x="T6" y="T7"/>
                  </a:cxn>
                  <a:cxn ang="0">
                    <a:pos x="T8" y="T9"/>
                  </a:cxn>
                </a:cxnLst>
                <a:rect l="0" t="0" r="r" b="b"/>
                <a:pathLst>
                  <a:path w="28" h="42">
                    <a:moveTo>
                      <a:pt x="0" y="0"/>
                    </a:moveTo>
                    <a:lnTo>
                      <a:pt x="10" y="20"/>
                    </a:lnTo>
                    <a:lnTo>
                      <a:pt x="23" y="41"/>
                    </a:lnTo>
                    <a:lnTo>
                      <a:pt x="27" y="15"/>
                    </a:lnTo>
                    <a:lnTo>
                      <a:pt x="0" y="0"/>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95" name="Freeform 139">
                <a:extLst>
                  <a:ext uri="{FF2B5EF4-FFF2-40B4-BE49-F238E27FC236}">
                    <a16:creationId xmlns:a16="http://schemas.microsoft.com/office/drawing/2014/main" id="{4DA21FA2-516C-D172-7ECB-8AF482DB79D2}"/>
                  </a:ext>
                </a:extLst>
              </p:cNvPr>
              <p:cNvSpPr>
                <a:spLocks/>
              </p:cNvSpPr>
              <p:nvPr/>
            </p:nvSpPr>
            <p:spPr bwMode="auto">
              <a:xfrm>
                <a:off x="8056953" y="4125194"/>
                <a:ext cx="188636" cy="197079"/>
              </a:xfrm>
              <a:custGeom>
                <a:avLst/>
                <a:gdLst>
                  <a:gd name="T0" fmla="*/ 19 w 119"/>
                  <a:gd name="T1" fmla="*/ 74 h 125"/>
                  <a:gd name="T2" fmla="*/ 0 w 119"/>
                  <a:gd name="T3" fmla="*/ 0 h 125"/>
                  <a:gd name="T4" fmla="*/ 16 w 119"/>
                  <a:gd name="T5" fmla="*/ 6 h 125"/>
                  <a:gd name="T6" fmla="*/ 40 w 119"/>
                  <a:gd name="T7" fmla="*/ 5 h 125"/>
                  <a:gd name="T8" fmla="*/ 40 w 119"/>
                  <a:gd name="T9" fmla="*/ 25 h 125"/>
                  <a:gd name="T10" fmla="*/ 55 w 119"/>
                  <a:gd name="T11" fmla="*/ 30 h 125"/>
                  <a:gd name="T12" fmla="*/ 59 w 119"/>
                  <a:gd name="T13" fmla="*/ 40 h 125"/>
                  <a:gd name="T14" fmla="*/ 70 w 119"/>
                  <a:gd name="T15" fmla="*/ 51 h 125"/>
                  <a:gd name="T16" fmla="*/ 78 w 119"/>
                  <a:gd name="T17" fmla="*/ 59 h 125"/>
                  <a:gd name="T18" fmla="*/ 76 w 119"/>
                  <a:gd name="T19" fmla="*/ 76 h 125"/>
                  <a:gd name="T20" fmla="*/ 87 w 119"/>
                  <a:gd name="T21" fmla="*/ 95 h 125"/>
                  <a:gd name="T22" fmla="*/ 107 w 119"/>
                  <a:gd name="T23" fmla="*/ 101 h 125"/>
                  <a:gd name="T24" fmla="*/ 118 w 119"/>
                  <a:gd name="T25" fmla="*/ 120 h 125"/>
                  <a:gd name="T26" fmla="*/ 116 w 119"/>
                  <a:gd name="T27" fmla="*/ 120 h 125"/>
                  <a:gd name="T28" fmla="*/ 115 w 119"/>
                  <a:gd name="T29" fmla="*/ 121 h 125"/>
                  <a:gd name="T30" fmla="*/ 113 w 119"/>
                  <a:gd name="T31" fmla="*/ 121 h 125"/>
                  <a:gd name="T32" fmla="*/ 110 w 119"/>
                  <a:gd name="T33" fmla="*/ 121 h 125"/>
                  <a:gd name="T34" fmla="*/ 108 w 119"/>
                  <a:gd name="T35" fmla="*/ 122 h 125"/>
                  <a:gd name="T36" fmla="*/ 106 w 119"/>
                  <a:gd name="T37" fmla="*/ 123 h 125"/>
                  <a:gd name="T38" fmla="*/ 103 w 119"/>
                  <a:gd name="T39" fmla="*/ 123 h 125"/>
                  <a:gd name="T40" fmla="*/ 101 w 119"/>
                  <a:gd name="T41" fmla="*/ 124 h 125"/>
                  <a:gd name="T42" fmla="*/ 99 w 119"/>
                  <a:gd name="T43" fmla="*/ 124 h 125"/>
                  <a:gd name="T44" fmla="*/ 97 w 119"/>
                  <a:gd name="T45" fmla="*/ 124 h 125"/>
                  <a:gd name="T46" fmla="*/ 96 w 119"/>
                  <a:gd name="T47" fmla="*/ 124 h 125"/>
                  <a:gd name="T48" fmla="*/ 95 w 119"/>
                  <a:gd name="T49" fmla="*/ 122 h 125"/>
                  <a:gd name="T50" fmla="*/ 93 w 119"/>
                  <a:gd name="T51" fmla="*/ 121 h 125"/>
                  <a:gd name="T52" fmla="*/ 91 w 119"/>
                  <a:gd name="T53" fmla="*/ 121 h 125"/>
                  <a:gd name="T54" fmla="*/ 88 w 119"/>
                  <a:gd name="T55" fmla="*/ 121 h 125"/>
                  <a:gd name="T56" fmla="*/ 86 w 119"/>
                  <a:gd name="T57" fmla="*/ 120 h 125"/>
                  <a:gd name="T58" fmla="*/ 83 w 119"/>
                  <a:gd name="T59" fmla="*/ 119 h 125"/>
                  <a:gd name="T60" fmla="*/ 81 w 119"/>
                  <a:gd name="T61" fmla="*/ 118 h 125"/>
                  <a:gd name="T62" fmla="*/ 78 w 119"/>
                  <a:gd name="T63" fmla="*/ 117 h 125"/>
                  <a:gd name="T64" fmla="*/ 76 w 119"/>
                  <a:gd name="T65" fmla="*/ 117 h 125"/>
                  <a:gd name="T66" fmla="*/ 75 w 119"/>
                  <a:gd name="T67" fmla="*/ 117 h 125"/>
                  <a:gd name="T68" fmla="*/ 74 w 119"/>
                  <a:gd name="T69" fmla="*/ 117 h 125"/>
                  <a:gd name="T70" fmla="*/ 55 w 119"/>
                  <a:gd name="T71" fmla="*/ 97 h 125"/>
                  <a:gd name="T72" fmla="*/ 41 w 119"/>
                  <a:gd name="T73" fmla="*/ 78 h 125"/>
                  <a:gd name="T74" fmla="*/ 19 w 119"/>
                  <a:gd name="T75" fmla="*/ 7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9" h="125">
                    <a:moveTo>
                      <a:pt x="19" y="74"/>
                    </a:moveTo>
                    <a:lnTo>
                      <a:pt x="0" y="0"/>
                    </a:lnTo>
                    <a:lnTo>
                      <a:pt x="16" y="6"/>
                    </a:lnTo>
                    <a:lnTo>
                      <a:pt x="40" y="5"/>
                    </a:lnTo>
                    <a:lnTo>
                      <a:pt x="40" y="25"/>
                    </a:lnTo>
                    <a:lnTo>
                      <a:pt x="55" y="30"/>
                    </a:lnTo>
                    <a:lnTo>
                      <a:pt x="59" y="40"/>
                    </a:lnTo>
                    <a:lnTo>
                      <a:pt x="70" y="51"/>
                    </a:lnTo>
                    <a:lnTo>
                      <a:pt x="78" y="59"/>
                    </a:lnTo>
                    <a:lnTo>
                      <a:pt x="76" y="76"/>
                    </a:lnTo>
                    <a:lnTo>
                      <a:pt x="87" y="95"/>
                    </a:lnTo>
                    <a:lnTo>
                      <a:pt x="107" y="101"/>
                    </a:lnTo>
                    <a:lnTo>
                      <a:pt x="118" y="120"/>
                    </a:lnTo>
                    <a:lnTo>
                      <a:pt x="116" y="120"/>
                    </a:lnTo>
                    <a:lnTo>
                      <a:pt x="115" y="121"/>
                    </a:lnTo>
                    <a:lnTo>
                      <a:pt x="113" y="121"/>
                    </a:lnTo>
                    <a:lnTo>
                      <a:pt x="110" y="121"/>
                    </a:lnTo>
                    <a:lnTo>
                      <a:pt x="108" y="122"/>
                    </a:lnTo>
                    <a:lnTo>
                      <a:pt x="106" y="123"/>
                    </a:lnTo>
                    <a:lnTo>
                      <a:pt x="103" y="123"/>
                    </a:lnTo>
                    <a:lnTo>
                      <a:pt x="101" y="124"/>
                    </a:lnTo>
                    <a:lnTo>
                      <a:pt x="99" y="124"/>
                    </a:lnTo>
                    <a:lnTo>
                      <a:pt x="97" y="124"/>
                    </a:lnTo>
                    <a:lnTo>
                      <a:pt x="96" y="124"/>
                    </a:lnTo>
                    <a:lnTo>
                      <a:pt x="95" y="122"/>
                    </a:lnTo>
                    <a:lnTo>
                      <a:pt x="93" y="121"/>
                    </a:lnTo>
                    <a:lnTo>
                      <a:pt x="91" y="121"/>
                    </a:lnTo>
                    <a:lnTo>
                      <a:pt x="88" y="121"/>
                    </a:lnTo>
                    <a:lnTo>
                      <a:pt x="86" y="120"/>
                    </a:lnTo>
                    <a:lnTo>
                      <a:pt x="83" y="119"/>
                    </a:lnTo>
                    <a:lnTo>
                      <a:pt x="81" y="118"/>
                    </a:lnTo>
                    <a:lnTo>
                      <a:pt x="78" y="117"/>
                    </a:lnTo>
                    <a:lnTo>
                      <a:pt x="76" y="117"/>
                    </a:lnTo>
                    <a:lnTo>
                      <a:pt x="75" y="117"/>
                    </a:lnTo>
                    <a:lnTo>
                      <a:pt x="74" y="117"/>
                    </a:lnTo>
                    <a:lnTo>
                      <a:pt x="55" y="97"/>
                    </a:lnTo>
                    <a:lnTo>
                      <a:pt x="41" y="78"/>
                    </a:lnTo>
                    <a:lnTo>
                      <a:pt x="19" y="74"/>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96" name="Freeform 140">
                <a:extLst>
                  <a:ext uri="{FF2B5EF4-FFF2-40B4-BE49-F238E27FC236}">
                    <a16:creationId xmlns:a16="http://schemas.microsoft.com/office/drawing/2014/main" id="{5F273037-A1E2-F6BC-A731-64CDF056341F}"/>
                  </a:ext>
                </a:extLst>
              </p:cNvPr>
              <p:cNvSpPr>
                <a:spLocks/>
              </p:cNvSpPr>
              <p:nvPr/>
            </p:nvSpPr>
            <p:spPr bwMode="auto">
              <a:xfrm>
                <a:off x="8209260" y="4161534"/>
                <a:ext cx="64276" cy="51715"/>
              </a:xfrm>
              <a:custGeom>
                <a:avLst/>
                <a:gdLst>
                  <a:gd name="T0" fmla="*/ 2 w 41"/>
                  <a:gd name="T1" fmla="*/ 16 h 33"/>
                  <a:gd name="T2" fmla="*/ 0 w 41"/>
                  <a:gd name="T3" fmla="*/ 28 h 33"/>
                  <a:gd name="T4" fmla="*/ 16 w 41"/>
                  <a:gd name="T5" fmla="*/ 32 h 33"/>
                  <a:gd name="T6" fmla="*/ 32 w 41"/>
                  <a:gd name="T7" fmla="*/ 22 h 33"/>
                  <a:gd name="T8" fmla="*/ 40 w 41"/>
                  <a:gd name="T9" fmla="*/ 11 h 33"/>
                  <a:gd name="T10" fmla="*/ 38 w 41"/>
                  <a:gd name="T11" fmla="*/ 0 h 33"/>
                  <a:gd name="T12" fmla="*/ 26 w 41"/>
                  <a:gd name="T13" fmla="*/ 1 h 33"/>
                  <a:gd name="T14" fmla="*/ 24 w 41"/>
                  <a:gd name="T15" fmla="*/ 11 h 33"/>
                  <a:gd name="T16" fmla="*/ 2 w 41"/>
                  <a:gd name="T17"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3">
                    <a:moveTo>
                      <a:pt x="2" y="16"/>
                    </a:moveTo>
                    <a:lnTo>
                      <a:pt x="0" y="28"/>
                    </a:lnTo>
                    <a:lnTo>
                      <a:pt x="16" y="32"/>
                    </a:lnTo>
                    <a:lnTo>
                      <a:pt x="32" y="22"/>
                    </a:lnTo>
                    <a:lnTo>
                      <a:pt x="40" y="11"/>
                    </a:lnTo>
                    <a:lnTo>
                      <a:pt x="38" y="0"/>
                    </a:lnTo>
                    <a:lnTo>
                      <a:pt x="26" y="1"/>
                    </a:lnTo>
                    <a:lnTo>
                      <a:pt x="24" y="11"/>
                    </a:lnTo>
                    <a:lnTo>
                      <a:pt x="2" y="16"/>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97" name="Freeform 141">
                <a:extLst>
                  <a:ext uri="{FF2B5EF4-FFF2-40B4-BE49-F238E27FC236}">
                    <a16:creationId xmlns:a16="http://schemas.microsoft.com/office/drawing/2014/main" id="{653B8D89-FD86-D5F9-D6F4-6CD0AB9A1708}"/>
                  </a:ext>
                </a:extLst>
              </p:cNvPr>
              <p:cNvSpPr>
                <a:spLocks/>
              </p:cNvSpPr>
              <p:nvPr/>
            </p:nvSpPr>
            <p:spPr bwMode="auto">
              <a:xfrm>
                <a:off x="8314058" y="4175512"/>
                <a:ext cx="32139" cy="25159"/>
              </a:xfrm>
              <a:custGeom>
                <a:avLst/>
                <a:gdLst>
                  <a:gd name="T0" fmla="*/ 10 w 21"/>
                  <a:gd name="T1" fmla="*/ 15 h 16"/>
                  <a:gd name="T2" fmla="*/ 11 w 21"/>
                  <a:gd name="T3" fmla="*/ 14 h 16"/>
                  <a:gd name="T4" fmla="*/ 13 w 21"/>
                  <a:gd name="T5" fmla="*/ 14 h 16"/>
                  <a:gd name="T6" fmla="*/ 15 w 21"/>
                  <a:gd name="T7" fmla="*/ 13 h 16"/>
                  <a:gd name="T8" fmla="*/ 16 w 21"/>
                  <a:gd name="T9" fmla="*/ 13 h 16"/>
                  <a:gd name="T10" fmla="*/ 17 w 21"/>
                  <a:gd name="T11" fmla="*/ 12 h 16"/>
                  <a:gd name="T12" fmla="*/ 18 w 21"/>
                  <a:gd name="T13" fmla="*/ 11 h 16"/>
                  <a:gd name="T14" fmla="*/ 19 w 21"/>
                  <a:gd name="T15" fmla="*/ 11 h 16"/>
                  <a:gd name="T16" fmla="*/ 20 w 21"/>
                  <a:gd name="T17" fmla="*/ 9 h 16"/>
                  <a:gd name="T18" fmla="*/ 20 w 21"/>
                  <a:gd name="T19" fmla="*/ 8 h 16"/>
                  <a:gd name="T20" fmla="*/ 20 w 21"/>
                  <a:gd name="T21" fmla="*/ 7 h 16"/>
                  <a:gd name="T22" fmla="*/ 20 w 21"/>
                  <a:gd name="T23" fmla="*/ 6 h 16"/>
                  <a:gd name="T24" fmla="*/ 20 w 21"/>
                  <a:gd name="T25" fmla="*/ 5 h 16"/>
                  <a:gd name="T26" fmla="*/ 19 w 21"/>
                  <a:gd name="T27" fmla="*/ 4 h 16"/>
                  <a:gd name="T28" fmla="*/ 18 w 21"/>
                  <a:gd name="T29" fmla="*/ 4 h 16"/>
                  <a:gd name="T30" fmla="*/ 18 w 21"/>
                  <a:gd name="T31" fmla="*/ 3 h 16"/>
                  <a:gd name="T32" fmla="*/ 17 w 21"/>
                  <a:gd name="T33" fmla="*/ 2 h 16"/>
                  <a:gd name="T34" fmla="*/ 16 w 21"/>
                  <a:gd name="T35" fmla="*/ 1 h 16"/>
                  <a:gd name="T36" fmla="*/ 15 w 21"/>
                  <a:gd name="T37" fmla="*/ 1 h 16"/>
                  <a:gd name="T38" fmla="*/ 13 w 21"/>
                  <a:gd name="T39" fmla="*/ 0 h 16"/>
                  <a:gd name="T40" fmla="*/ 11 w 21"/>
                  <a:gd name="T41" fmla="*/ 0 h 16"/>
                  <a:gd name="T42" fmla="*/ 10 w 21"/>
                  <a:gd name="T43" fmla="*/ 0 h 16"/>
                  <a:gd name="T44" fmla="*/ 8 w 21"/>
                  <a:gd name="T45" fmla="*/ 0 h 16"/>
                  <a:gd name="T46" fmla="*/ 7 w 21"/>
                  <a:gd name="T47" fmla="*/ 0 h 16"/>
                  <a:gd name="T48" fmla="*/ 5 w 21"/>
                  <a:gd name="T49" fmla="*/ 0 h 16"/>
                  <a:gd name="T50" fmla="*/ 5 w 21"/>
                  <a:gd name="T51" fmla="*/ 1 h 16"/>
                  <a:gd name="T52" fmla="*/ 3 w 21"/>
                  <a:gd name="T53" fmla="*/ 1 h 16"/>
                  <a:gd name="T54" fmla="*/ 3 w 21"/>
                  <a:gd name="T55" fmla="*/ 2 h 16"/>
                  <a:gd name="T56" fmla="*/ 2 w 21"/>
                  <a:gd name="T57" fmla="*/ 3 h 16"/>
                  <a:gd name="T58" fmla="*/ 1 w 21"/>
                  <a:gd name="T59" fmla="*/ 4 h 16"/>
                  <a:gd name="T60" fmla="*/ 0 w 21"/>
                  <a:gd name="T61" fmla="*/ 5 h 16"/>
                  <a:gd name="T62" fmla="*/ 0 w 21"/>
                  <a:gd name="T63" fmla="*/ 6 h 16"/>
                  <a:gd name="T64" fmla="*/ 0 w 21"/>
                  <a:gd name="T65" fmla="*/ 7 h 16"/>
                  <a:gd name="T66" fmla="*/ 0 w 21"/>
                  <a:gd name="T67" fmla="*/ 8 h 16"/>
                  <a:gd name="T68" fmla="*/ 0 w 21"/>
                  <a:gd name="T69" fmla="*/ 9 h 16"/>
                  <a:gd name="T70" fmla="*/ 1 w 21"/>
                  <a:gd name="T71" fmla="*/ 11 h 16"/>
                  <a:gd name="T72" fmla="*/ 2 w 21"/>
                  <a:gd name="T73" fmla="*/ 11 h 16"/>
                  <a:gd name="T74" fmla="*/ 3 w 21"/>
                  <a:gd name="T75" fmla="*/ 12 h 16"/>
                  <a:gd name="T76" fmla="*/ 3 w 21"/>
                  <a:gd name="T77" fmla="*/ 13 h 16"/>
                  <a:gd name="T78" fmla="*/ 5 w 21"/>
                  <a:gd name="T79" fmla="*/ 13 h 16"/>
                  <a:gd name="T80" fmla="*/ 5 w 21"/>
                  <a:gd name="T81" fmla="*/ 14 h 16"/>
                  <a:gd name="T82" fmla="*/ 7 w 21"/>
                  <a:gd name="T83" fmla="*/ 14 h 16"/>
                  <a:gd name="T84" fmla="*/ 8 w 21"/>
                  <a:gd name="T85" fmla="*/ 14 h 16"/>
                  <a:gd name="T86" fmla="*/ 10 w 21"/>
                  <a:gd name="T87"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 h="16">
                    <a:moveTo>
                      <a:pt x="10" y="15"/>
                    </a:moveTo>
                    <a:lnTo>
                      <a:pt x="11" y="14"/>
                    </a:lnTo>
                    <a:lnTo>
                      <a:pt x="13" y="14"/>
                    </a:lnTo>
                    <a:lnTo>
                      <a:pt x="15" y="13"/>
                    </a:lnTo>
                    <a:lnTo>
                      <a:pt x="16" y="13"/>
                    </a:lnTo>
                    <a:lnTo>
                      <a:pt x="17" y="12"/>
                    </a:lnTo>
                    <a:lnTo>
                      <a:pt x="18" y="11"/>
                    </a:lnTo>
                    <a:lnTo>
                      <a:pt x="19" y="11"/>
                    </a:lnTo>
                    <a:lnTo>
                      <a:pt x="20" y="9"/>
                    </a:lnTo>
                    <a:lnTo>
                      <a:pt x="20" y="8"/>
                    </a:lnTo>
                    <a:lnTo>
                      <a:pt x="20" y="7"/>
                    </a:lnTo>
                    <a:lnTo>
                      <a:pt x="20" y="6"/>
                    </a:lnTo>
                    <a:lnTo>
                      <a:pt x="20" y="5"/>
                    </a:lnTo>
                    <a:lnTo>
                      <a:pt x="19" y="4"/>
                    </a:lnTo>
                    <a:lnTo>
                      <a:pt x="18" y="4"/>
                    </a:lnTo>
                    <a:lnTo>
                      <a:pt x="18" y="3"/>
                    </a:lnTo>
                    <a:lnTo>
                      <a:pt x="17" y="2"/>
                    </a:lnTo>
                    <a:lnTo>
                      <a:pt x="16" y="1"/>
                    </a:lnTo>
                    <a:lnTo>
                      <a:pt x="15" y="1"/>
                    </a:lnTo>
                    <a:lnTo>
                      <a:pt x="13" y="0"/>
                    </a:lnTo>
                    <a:lnTo>
                      <a:pt x="11" y="0"/>
                    </a:lnTo>
                    <a:lnTo>
                      <a:pt x="10" y="0"/>
                    </a:lnTo>
                    <a:lnTo>
                      <a:pt x="8" y="0"/>
                    </a:lnTo>
                    <a:lnTo>
                      <a:pt x="7" y="0"/>
                    </a:lnTo>
                    <a:lnTo>
                      <a:pt x="5" y="0"/>
                    </a:lnTo>
                    <a:lnTo>
                      <a:pt x="5" y="1"/>
                    </a:lnTo>
                    <a:lnTo>
                      <a:pt x="3" y="1"/>
                    </a:lnTo>
                    <a:lnTo>
                      <a:pt x="3" y="2"/>
                    </a:lnTo>
                    <a:lnTo>
                      <a:pt x="2" y="3"/>
                    </a:lnTo>
                    <a:lnTo>
                      <a:pt x="1" y="4"/>
                    </a:lnTo>
                    <a:lnTo>
                      <a:pt x="0" y="5"/>
                    </a:lnTo>
                    <a:lnTo>
                      <a:pt x="0" y="6"/>
                    </a:lnTo>
                    <a:lnTo>
                      <a:pt x="0" y="7"/>
                    </a:lnTo>
                    <a:lnTo>
                      <a:pt x="0" y="8"/>
                    </a:lnTo>
                    <a:lnTo>
                      <a:pt x="0" y="9"/>
                    </a:lnTo>
                    <a:lnTo>
                      <a:pt x="1" y="11"/>
                    </a:lnTo>
                    <a:lnTo>
                      <a:pt x="2" y="11"/>
                    </a:lnTo>
                    <a:lnTo>
                      <a:pt x="3" y="12"/>
                    </a:lnTo>
                    <a:lnTo>
                      <a:pt x="3" y="13"/>
                    </a:lnTo>
                    <a:lnTo>
                      <a:pt x="5" y="13"/>
                    </a:lnTo>
                    <a:lnTo>
                      <a:pt x="5" y="14"/>
                    </a:lnTo>
                    <a:lnTo>
                      <a:pt x="7" y="14"/>
                    </a:lnTo>
                    <a:lnTo>
                      <a:pt x="8" y="14"/>
                    </a:lnTo>
                    <a:lnTo>
                      <a:pt x="10" y="15"/>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98" name="Freeform 142">
                <a:extLst>
                  <a:ext uri="{FF2B5EF4-FFF2-40B4-BE49-F238E27FC236}">
                    <a16:creationId xmlns:a16="http://schemas.microsoft.com/office/drawing/2014/main" id="{76ED06B7-110C-3C2C-3718-99958859E0CA}"/>
                  </a:ext>
                </a:extLst>
              </p:cNvPr>
              <p:cNvSpPr>
                <a:spLocks/>
              </p:cNvSpPr>
              <p:nvPr/>
            </p:nvSpPr>
            <p:spPr bwMode="auto">
              <a:xfrm>
                <a:off x="7722997" y="4090251"/>
                <a:ext cx="29344" cy="25159"/>
              </a:xfrm>
              <a:custGeom>
                <a:avLst/>
                <a:gdLst>
                  <a:gd name="T0" fmla="*/ 9 w 19"/>
                  <a:gd name="T1" fmla="*/ 14 h 15"/>
                  <a:gd name="T2" fmla="*/ 8 w 19"/>
                  <a:gd name="T3" fmla="*/ 14 h 15"/>
                  <a:gd name="T4" fmla="*/ 6 w 19"/>
                  <a:gd name="T5" fmla="*/ 14 h 15"/>
                  <a:gd name="T6" fmla="*/ 5 w 19"/>
                  <a:gd name="T7" fmla="*/ 14 h 15"/>
                  <a:gd name="T8" fmla="*/ 4 w 19"/>
                  <a:gd name="T9" fmla="*/ 14 h 15"/>
                  <a:gd name="T10" fmla="*/ 3 w 19"/>
                  <a:gd name="T11" fmla="*/ 12 h 15"/>
                  <a:gd name="T12" fmla="*/ 2 w 19"/>
                  <a:gd name="T13" fmla="*/ 12 h 15"/>
                  <a:gd name="T14" fmla="*/ 1 w 19"/>
                  <a:gd name="T15" fmla="*/ 12 h 15"/>
                  <a:gd name="T16" fmla="*/ 0 w 19"/>
                  <a:gd name="T17" fmla="*/ 12 h 15"/>
                  <a:gd name="T18" fmla="*/ 0 w 19"/>
                  <a:gd name="T19" fmla="*/ 11 h 15"/>
                  <a:gd name="T20" fmla="*/ 0 w 19"/>
                  <a:gd name="T21" fmla="*/ 9 h 15"/>
                  <a:gd name="T22" fmla="*/ 0 w 19"/>
                  <a:gd name="T23" fmla="*/ 7 h 15"/>
                  <a:gd name="T24" fmla="*/ 0 w 19"/>
                  <a:gd name="T25" fmla="*/ 6 h 15"/>
                  <a:gd name="T26" fmla="*/ 0 w 19"/>
                  <a:gd name="T27" fmla="*/ 4 h 15"/>
                  <a:gd name="T28" fmla="*/ 1 w 19"/>
                  <a:gd name="T29" fmla="*/ 4 h 15"/>
                  <a:gd name="T30" fmla="*/ 2 w 19"/>
                  <a:gd name="T31" fmla="*/ 3 h 15"/>
                  <a:gd name="T32" fmla="*/ 3 w 19"/>
                  <a:gd name="T33" fmla="*/ 3 h 15"/>
                  <a:gd name="T34" fmla="*/ 4 w 19"/>
                  <a:gd name="T35" fmla="*/ 1 h 15"/>
                  <a:gd name="T36" fmla="*/ 5 w 19"/>
                  <a:gd name="T37" fmla="*/ 1 h 15"/>
                  <a:gd name="T38" fmla="*/ 6 w 19"/>
                  <a:gd name="T39" fmla="*/ 1 h 15"/>
                  <a:gd name="T40" fmla="*/ 8 w 19"/>
                  <a:gd name="T41" fmla="*/ 1 h 15"/>
                  <a:gd name="T42" fmla="*/ 9 w 19"/>
                  <a:gd name="T43" fmla="*/ 0 h 15"/>
                  <a:gd name="T44" fmla="*/ 9 w 19"/>
                  <a:gd name="T45" fmla="*/ 1 h 15"/>
                  <a:gd name="T46" fmla="*/ 11 w 19"/>
                  <a:gd name="T47" fmla="*/ 1 h 15"/>
                  <a:gd name="T48" fmla="*/ 13 w 19"/>
                  <a:gd name="T49" fmla="*/ 1 h 15"/>
                  <a:gd name="T50" fmla="*/ 14 w 19"/>
                  <a:gd name="T51" fmla="*/ 3 h 15"/>
                  <a:gd name="T52" fmla="*/ 15 w 19"/>
                  <a:gd name="T53" fmla="*/ 3 h 15"/>
                  <a:gd name="T54" fmla="*/ 15 w 19"/>
                  <a:gd name="T55" fmla="*/ 4 h 15"/>
                  <a:gd name="T56" fmla="*/ 16 w 19"/>
                  <a:gd name="T57" fmla="*/ 4 h 15"/>
                  <a:gd name="T58" fmla="*/ 17 w 19"/>
                  <a:gd name="T59" fmla="*/ 6 h 15"/>
                  <a:gd name="T60" fmla="*/ 17 w 19"/>
                  <a:gd name="T61" fmla="*/ 7 h 15"/>
                  <a:gd name="T62" fmla="*/ 18 w 19"/>
                  <a:gd name="T63" fmla="*/ 7 h 15"/>
                  <a:gd name="T64" fmla="*/ 17 w 19"/>
                  <a:gd name="T65" fmla="*/ 9 h 15"/>
                  <a:gd name="T66" fmla="*/ 17 w 19"/>
                  <a:gd name="T67" fmla="*/ 11 h 15"/>
                  <a:gd name="T68" fmla="*/ 16 w 19"/>
                  <a:gd name="T69" fmla="*/ 11 h 15"/>
                  <a:gd name="T70" fmla="*/ 16 w 19"/>
                  <a:gd name="T71" fmla="*/ 12 h 15"/>
                  <a:gd name="T72" fmla="*/ 15 w 19"/>
                  <a:gd name="T73" fmla="*/ 12 h 15"/>
                  <a:gd name="T74" fmla="*/ 14 w 19"/>
                  <a:gd name="T75" fmla="*/ 12 h 15"/>
                  <a:gd name="T76" fmla="*/ 13 w 19"/>
                  <a:gd name="T77" fmla="*/ 14 h 15"/>
                  <a:gd name="T78" fmla="*/ 11 w 19"/>
                  <a:gd name="T79" fmla="*/ 14 h 15"/>
                  <a:gd name="T80" fmla="*/ 9 w 19"/>
                  <a:gd name="T81"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 h="15">
                    <a:moveTo>
                      <a:pt x="9" y="14"/>
                    </a:moveTo>
                    <a:lnTo>
                      <a:pt x="8" y="14"/>
                    </a:lnTo>
                    <a:lnTo>
                      <a:pt x="6" y="14"/>
                    </a:lnTo>
                    <a:lnTo>
                      <a:pt x="5" y="14"/>
                    </a:lnTo>
                    <a:lnTo>
                      <a:pt x="4" y="14"/>
                    </a:lnTo>
                    <a:lnTo>
                      <a:pt x="3" y="12"/>
                    </a:lnTo>
                    <a:lnTo>
                      <a:pt x="2" y="12"/>
                    </a:lnTo>
                    <a:lnTo>
                      <a:pt x="1" y="12"/>
                    </a:lnTo>
                    <a:lnTo>
                      <a:pt x="0" y="12"/>
                    </a:lnTo>
                    <a:lnTo>
                      <a:pt x="0" y="11"/>
                    </a:lnTo>
                    <a:lnTo>
                      <a:pt x="0" y="9"/>
                    </a:lnTo>
                    <a:lnTo>
                      <a:pt x="0" y="7"/>
                    </a:lnTo>
                    <a:lnTo>
                      <a:pt x="0" y="6"/>
                    </a:lnTo>
                    <a:lnTo>
                      <a:pt x="0" y="4"/>
                    </a:lnTo>
                    <a:lnTo>
                      <a:pt x="1" y="4"/>
                    </a:lnTo>
                    <a:lnTo>
                      <a:pt x="2" y="3"/>
                    </a:lnTo>
                    <a:lnTo>
                      <a:pt x="3" y="3"/>
                    </a:lnTo>
                    <a:lnTo>
                      <a:pt x="4" y="1"/>
                    </a:lnTo>
                    <a:lnTo>
                      <a:pt x="5" y="1"/>
                    </a:lnTo>
                    <a:lnTo>
                      <a:pt x="6" y="1"/>
                    </a:lnTo>
                    <a:lnTo>
                      <a:pt x="8" y="1"/>
                    </a:lnTo>
                    <a:lnTo>
                      <a:pt x="9" y="0"/>
                    </a:lnTo>
                    <a:lnTo>
                      <a:pt x="9" y="1"/>
                    </a:lnTo>
                    <a:lnTo>
                      <a:pt x="11" y="1"/>
                    </a:lnTo>
                    <a:lnTo>
                      <a:pt x="13" y="1"/>
                    </a:lnTo>
                    <a:lnTo>
                      <a:pt x="14" y="3"/>
                    </a:lnTo>
                    <a:lnTo>
                      <a:pt x="15" y="3"/>
                    </a:lnTo>
                    <a:lnTo>
                      <a:pt x="15" y="4"/>
                    </a:lnTo>
                    <a:lnTo>
                      <a:pt x="16" y="4"/>
                    </a:lnTo>
                    <a:lnTo>
                      <a:pt x="17" y="6"/>
                    </a:lnTo>
                    <a:lnTo>
                      <a:pt x="17" y="7"/>
                    </a:lnTo>
                    <a:lnTo>
                      <a:pt x="18" y="7"/>
                    </a:lnTo>
                    <a:lnTo>
                      <a:pt x="17" y="9"/>
                    </a:lnTo>
                    <a:lnTo>
                      <a:pt x="17" y="11"/>
                    </a:lnTo>
                    <a:lnTo>
                      <a:pt x="16" y="11"/>
                    </a:lnTo>
                    <a:lnTo>
                      <a:pt x="16" y="12"/>
                    </a:lnTo>
                    <a:lnTo>
                      <a:pt x="15" y="12"/>
                    </a:lnTo>
                    <a:lnTo>
                      <a:pt x="14" y="12"/>
                    </a:lnTo>
                    <a:lnTo>
                      <a:pt x="13" y="14"/>
                    </a:lnTo>
                    <a:lnTo>
                      <a:pt x="11" y="14"/>
                    </a:lnTo>
                    <a:lnTo>
                      <a:pt x="9" y="14"/>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599" name="Freeform 143">
                <a:extLst>
                  <a:ext uri="{FF2B5EF4-FFF2-40B4-BE49-F238E27FC236}">
                    <a16:creationId xmlns:a16="http://schemas.microsoft.com/office/drawing/2014/main" id="{59C5AF32-964F-ECFC-4309-1319D5B3404F}"/>
                  </a:ext>
                </a:extLst>
              </p:cNvPr>
              <p:cNvSpPr>
                <a:spLocks/>
              </p:cNvSpPr>
              <p:nvPr/>
            </p:nvSpPr>
            <p:spPr bwMode="auto">
              <a:xfrm>
                <a:off x="7228351" y="4200671"/>
                <a:ext cx="213788" cy="72681"/>
              </a:xfrm>
              <a:custGeom>
                <a:avLst/>
                <a:gdLst>
                  <a:gd name="T0" fmla="*/ 19 w 135"/>
                  <a:gd name="T1" fmla="*/ 2 h 46"/>
                  <a:gd name="T2" fmla="*/ 8 w 135"/>
                  <a:gd name="T3" fmla="*/ 7 h 46"/>
                  <a:gd name="T4" fmla="*/ 0 w 135"/>
                  <a:gd name="T5" fmla="*/ 17 h 46"/>
                  <a:gd name="T6" fmla="*/ 8 w 135"/>
                  <a:gd name="T7" fmla="*/ 31 h 46"/>
                  <a:gd name="T8" fmla="*/ 35 w 135"/>
                  <a:gd name="T9" fmla="*/ 31 h 46"/>
                  <a:gd name="T10" fmla="*/ 45 w 135"/>
                  <a:gd name="T11" fmla="*/ 36 h 46"/>
                  <a:gd name="T12" fmla="*/ 68 w 135"/>
                  <a:gd name="T13" fmla="*/ 36 h 46"/>
                  <a:gd name="T14" fmla="*/ 70 w 135"/>
                  <a:gd name="T15" fmla="*/ 45 h 46"/>
                  <a:gd name="T16" fmla="*/ 112 w 135"/>
                  <a:gd name="T17" fmla="*/ 45 h 46"/>
                  <a:gd name="T18" fmla="*/ 123 w 135"/>
                  <a:gd name="T19" fmla="*/ 45 h 46"/>
                  <a:gd name="T20" fmla="*/ 133 w 135"/>
                  <a:gd name="T21" fmla="*/ 45 h 46"/>
                  <a:gd name="T22" fmla="*/ 134 w 135"/>
                  <a:gd name="T23" fmla="*/ 34 h 46"/>
                  <a:gd name="T24" fmla="*/ 121 w 135"/>
                  <a:gd name="T25" fmla="*/ 28 h 46"/>
                  <a:gd name="T26" fmla="*/ 123 w 135"/>
                  <a:gd name="T27" fmla="*/ 17 h 46"/>
                  <a:gd name="T28" fmla="*/ 110 w 135"/>
                  <a:gd name="T29" fmla="*/ 18 h 46"/>
                  <a:gd name="T30" fmla="*/ 94 w 135"/>
                  <a:gd name="T31" fmla="*/ 17 h 46"/>
                  <a:gd name="T32" fmla="*/ 82 w 135"/>
                  <a:gd name="T33" fmla="*/ 9 h 46"/>
                  <a:gd name="T34" fmla="*/ 61 w 135"/>
                  <a:gd name="T35" fmla="*/ 8 h 46"/>
                  <a:gd name="T36" fmla="*/ 40 w 135"/>
                  <a:gd name="T37" fmla="*/ 0 h 46"/>
                  <a:gd name="T38" fmla="*/ 19 w 135"/>
                  <a:gd name="T39" fmla="*/ 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5" h="46">
                    <a:moveTo>
                      <a:pt x="19" y="2"/>
                    </a:moveTo>
                    <a:lnTo>
                      <a:pt x="8" y="7"/>
                    </a:lnTo>
                    <a:lnTo>
                      <a:pt x="0" y="17"/>
                    </a:lnTo>
                    <a:lnTo>
                      <a:pt x="8" y="31"/>
                    </a:lnTo>
                    <a:lnTo>
                      <a:pt x="35" y="31"/>
                    </a:lnTo>
                    <a:lnTo>
                      <a:pt x="45" y="36"/>
                    </a:lnTo>
                    <a:lnTo>
                      <a:pt x="68" y="36"/>
                    </a:lnTo>
                    <a:lnTo>
                      <a:pt x="70" y="45"/>
                    </a:lnTo>
                    <a:lnTo>
                      <a:pt x="112" y="45"/>
                    </a:lnTo>
                    <a:lnTo>
                      <a:pt x="123" y="45"/>
                    </a:lnTo>
                    <a:lnTo>
                      <a:pt x="133" y="45"/>
                    </a:lnTo>
                    <a:lnTo>
                      <a:pt x="134" y="34"/>
                    </a:lnTo>
                    <a:lnTo>
                      <a:pt x="121" y="28"/>
                    </a:lnTo>
                    <a:lnTo>
                      <a:pt x="123" y="17"/>
                    </a:lnTo>
                    <a:lnTo>
                      <a:pt x="110" y="18"/>
                    </a:lnTo>
                    <a:lnTo>
                      <a:pt x="94" y="17"/>
                    </a:lnTo>
                    <a:lnTo>
                      <a:pt x="82" y="9"/>
                    </a:lnTo>
                    <a:lnTo>
                      <a:pt x="61" y="8"/>
                    </a:lnTo>
                    <a:lnTo>
                      <a:pt x="40" y="0"/>
                    </a:lnTo>
                    <a:lnTo>
                      <a:pt x="19" y="2"/>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00" name="Freeform 144">
                <a:extLst>
                  <a:ext uri="{FF2B5EF4-FFF2-40B4-BE49-F238E27FC236}">
                    <a16:creationId xmlns:a16="http://schemas.microsoft.com/office/drawing/2014/main" id="{AD157D02-0B94-333B-A5E4-7A11347A0868}"/>
                  </a:ext>
                </a:extLst>
              </p:cNvPr>
              <p:cNvSpPr>
                <a:spLocks/>
              </p:cNvSpPr>
              <p:nvPr/>
            </p:nvSpPr>
            <p:spPr bwMode="auto">
              <a:xfrm>
                <a:off x="7481264" y="4264966"/>
                <a:ext cx="23755" cy="20966"/>
              </a:xfrm>
              <a:custGeom>
                <a:avLst/>
                <a:gdLst>
                  <a:gd name="T0" fmla="*/ 7 w 15"/>
                  <a:gd name="T1" fmla="*/ 12 h 13"/>
                  <a:gd name="T2" fmla="*/ 4 w 15"/>
                  <a:gd name="T3" fmla="*/ 11 h 13"/>
                  <a:gd name="T4" fmla="*/ 2 w 15"/>
                  <a:gd name="T5" fmla="*/ 11 h 13"/>
                  <a:gd name="T6" fmla="*/ 0 w 15"/>
                  <a:gd name="T7" fmla="*/ 10 h 13"/>
                  <a:gd name="T8" fmla="*/ 0 w 15"/>
                  <a:gd name="T9" fmla="*/ 8 h 13"/>
                  <a:gd name="T10" fmla="*/ 0 w 15"/>
                  <a:gd name="T11" fmla="*/ 6 h 13"/>
                  <a:gd name="T12" fmla="*/ 0 w 15"/>
                  <a:gd name="T13" fmla="*/ 5 h 13"/>
                  <a:gd name="T14" fmla="*/ 0 w 15"/>
                  <a:gd name="T15" fmla="*/ 4 h 13"/>
                  <a:gd name="T16" fmla="*/ 0 w 15"/>
                  <a:gd name="T17" fmla="*/ 3 h 13"/>
                  <a:gd name="T18" fmla="*/ 0 w 15"/>
                  <a:gd name="T19" fmla="*/ 2 h 13"/>
                  <a:gd name="T20" fmla="*/ 0 w 15"/>
                  <a:gd name="T21" fmla="*/ 1 h 13"/>
                  <a:gd name="T22" fmla="*/ 2 w 15"/>
                  <a:gd name="T23" fmla="*/ 0 h 13"/>
                  <a:gd name="T24" fmla="*/ 4 w 15"/>
                  <a:gd name="T25" fmla="*/ 0 h 13"/>
                  <a:gd name="T26" fmla="*/ 7 w 15"/>
                  <a:gd name="T27" fmla="*/ 0 h 13"/>
                  <a:gd name="T28" fmla="*/ 9 w 15"/>
                  <a:gd name="T29" fmla="*/ 0 h 13"/>
                  <a:gd name="T30" fmla="*/ 11 w 15"/>
                  <a:gd name="T31" fmla="*/ 1 h 13"/>
                  <a:gd name="T32" fmla="*/ 11 w 15"/>
                  <a:gd name="T33" fmla="*/ 2 h 13"/>
                  <a:gd name="T34" fmla="*/ 11 w 15"/>
                  <a:gd name="T35" fmla="*/ 3 h 13"/>
                  <a:gd name="T36" fmla="*/ 11 w 15"/>
                  <a:gd name="T37" fmla="*/ 4 h 13"/>
                  <a:gd name="T38" fmla="*/ 14 w 15"/>
                  <a:gd name="T39" fmla="*/ 5 h 13"/>
                  <a:gd name="T40" fmla="*/ 11 w 15"/>
                  <a:gd name="T41" fmla="*/ 5 h 13"/>
                  <a:gd name="T42" fmla="*/ 11 w 15"/>
                  <a:gd name="T43" fmla="*/ 6 h 13"/>
                  <a:gd name="T44" fmla="*/ 11 w 15"/>
                  <a:gd name="T45" fmla="*/ 8 h 13"/>
                  <a:gd name="T46" fmla="*/ 11 w 15"/>
                  <a:gd name="T47" fmla="*/ 10 h 13"/>
                  <a:gd name="T48" fmla="*/ 9 w 15"/>
                  <a:gd name="T49" fmla="*/ 11 h 13"/>
                  <a:gd name="T50" fmla="*/ 7 w 15"/>
                  <a:gd name="T51" fmla="*/ 11 h 13"/>
                  <a:gd name="T52" fmla="*/ 7 w 15"/>
                  <a:gd name="T53"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 h="13">
                    <a:moveTo>
                      <a:pt x="7" y="12"/>
                    </a:moveTo>
                    <a:lnTo>
                      <a:pt x="4" y="11"/>
                    </a:lnTo>
                    <a:lnTo>
                      <a:pt x="2" y="11"/>
                    </a:lnTo>
                    <a:lnTo>
                      <a:pt x="0" y="10"/>
                    </a:lnTo>
                    <a:lnTo>
                      <a:pt x="0" y="8"/>
                    </a:lnTo>
                    <a:lnTo>
                      <a:pt x="0" y="6"/>
                    </a:lnTo>
                    <a:lnTo>
                      <a:pt x="0" y="5"/>
                    </a:lnTo>
                    <a:lnTo>
                      <a:pt x="0" y="4"/>
                    </a:lnTo>
                    <a:lnTo>
                      <a:pt x="0" y="3"/>
                    </a:lnTo>
                    <a:lnTo>
                      <a:pt x="0" y="2"/>
                    </a:lnTo>
                    <a:lnTo>
                      <a:pt x="0" y="1"/>
                    </a:lnTo>
                    <a:lnTo>
                      <a:pt x="2" y="0"/>
                    </a:lnTo>
                    <a:lnTo>
                      <a:pt x="4" y="0"/>
                    </a:lnTo>
                    <a:lnTo>
                      <a:pt x="7" y="0"/>
                    </a:lnTo>
                    <a:lnTo>
                      <a:pt x="9" y="0"/>
                    </a:lnTo>
                    <a:lnTo>
                      <a:pt x="11" y="1"/>
                    </a:lnTo>
                    <a:lnTo>
                      <a:pt x="11" y="2"/>
                    </a:lnTo>
                    <a:lnTo>
                      <a:pt x="11" y="3"/>
                    </a:lnTo>
                    <a:lnTo>
                      <a:pt x="11" y="4"/>
                    </a:lnTo>
                    <a:lnTo>
                      <a:pt x="14" y="5"/>
                    </a:lnTo>
                    <a:lnTo>
                      <a:pt x="11" y="5"/>
                    </a:lnTo>
                    <a:lnTo>
                      <a:pt x="11" y="6"/>
                    </a:lnTo>
                    <a:lnTo>
                      <a:pt x="11" y="8"/>
                    </a:lnTo>
                    <a:lnTo>
                      <a:pt x="11" y="10"/>
                    </a:lnTo>
                    <a:lnTo>
                      <a:pt x="9" y="11"/>
                    </a:lnTo>
                    <a:lnTo>
                      <a:pt x="7" y="11"/>
                    </a:lnTo>
                    <a:lnTo>
                      <a:pt x="7" y="12"/>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01" name="Freeform 145">
                <a:extLst>
                  <a:ext uri="{FF2B5EF4-FFF2-40B4-BE49-F238E27FC236}">
                    <a16:creationId xmlns:a16="http://schemas.microsoft.com/office/drawing/2014/main" id="{2EA880D2-6397-5F4B-C73A-FA9FE8D9A61E}"/>
                  </a:ext>
                </a:extLst>
              </p:cNvPr>
              <p:cNvSpPr>
                <a:spLocks/>
              </p:cNvSpPr>
              <p:nvPr/>
            </p:nvSpPr>
            <p:spPr bwMode="auto">
              <a:xfrm>
                <a:off x="7558115" y="4267762"/>
                <a:ext cx="51700" cy="22363"/>
              </a:xfrm>
              <a:custGeom>
                <a:avLst/>
                <a:gdLst>
                  <a:gd name="T0" fmla="*/ 0 w 33"/>
                  <a:gd name="T1" fmla="*/ 2 h 15"/>
                  <a:gd name="T2" fmla="*/ 17 w 33"/>
                  <a:gd name="T3" fmla="*/ 0 h 15"/>
                  <a:gd name="T4" fmla="*/ 32 w 33"/>
                  <a:gd name="T5" fmla="*/ 6 h 15"/>
                  <a:gd name="T6" fmla="*/ 21 w 33"/>
                  <a:gd name="T7" fmla="*/ 14 h 15"/>
                  <a:gd name="T8" fmla="*/ 3 w 33"/>
                  <a:gd name="T9" fmla="*/ 11 h 15"/>
                  <a:gd name="T10" fmla="*/ 0 w 33"/>
                  <a:gd name="T11" fmla="*/ 2 h 15"/>
                </a:gdLst>
                <a:ahLst/>
                <a:cxnLst>
                  <a:cxn ang="0">
                    <a:pos x="T0" y="T1"/>
                  </a:cxn>
                  <a:cxn ang="0">
                    <a:pos x="T2" y="T3"/>
                  </a:cxn>
                  <a:cxn ang="0">
                    <a:pos x="T4" y="T5"/>
                  </a:cxn>
                  <a:cxn ang="0">
                    <a:pos x="T6" y="T7"/>
                  </a:cxn>
                  <a:cxn ang="0">
                    <a:pos x="T8" y="T9"/>
                  </a:cxn>
                  <a:cxn ang="0">
                    <a:pos x="T10" y="T11"/>
                  </a:cxn>
                </a:cxnLst>
                <a:rect l="0" t="0" r="r" b="b"/>
                <a:pathLst>
                  <a:path w="33" h="15">
                    <a:moveTo>
                      <a:pt x="0" y="2"/>
                    </a:moveTo>
                    <a:lnTo>
                      <a:pt x="17" y="0"/>
                    </a:lnTo>
                    <a:lnTo>
                      <a:pt x="32" y="6"/>
                    </a:lnTo>
                    <a:lnTo>
                      <a:pt x="21" y="14"/>
                    </a:lnTo>
                    <a:lnTo>
                      <a:pt x="3" y="11"/>
                    </a:lnTo>
                    <a:lnTo>
                      <a:pt x="0" y="2"/>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02" name="Freeform 146">
                <a:extLst>
                  <a:ext uri="{FF2B5EF4-FFF2-40B4-BE49-F238E27FC236}">
                    <a16:creationId xmlns:a16="http://schemas.microsoft.com/office/drawing/2014/main" id="{42717B4C-2AA8-ABA4-B631-6F922152D2C6}"/>
                  </a:ext>
                </a:extLst>
              </p:cNvPr>
              <p:cNvSpPr>
                <a:spLocks/>
              </p:cNvSpPr>
              <p:nvPr/>
            </p:nvSpPr>
            <p:spPr bwMode="auto">
              <a:xfrm>
                <a:off x="7625185" y="4297114"/>
                <a:ext cx="27947" cy="25159"/>
              </a:xfrm>
              <a:custGeom>
                <a:avLst/>
                <a:gdLst>
                  <a:gd name="T0" fmla="*/ 16 w 17"/>
                  <a:gd name="T1" fmla="*/ 0 h 15"/>
                  <a:gd name="T2" fmla="*/ 6 w 17"/>
                  <a:gd name="T3" fmla="*/ 2 h 15"/>
                  <a:gd name="T4" fmla="*/ 0 w 17"/>
                  <a:gd name="T5" fmla="*/ 14 h 15"/>
                  <a:gd name="T6" fmla="*/ 8 w 17"/>
                  <a:gd name="T7" fmla="*/ 14 h 15"/>
                  <a:gd name="T8" fmla="*/ 16 w 17"/>
                  <a:gd name="T9" fmla="*/ 5 h 15"/>
                  <a:gd name="T10" fmla="*/ 16 w 17"/>
                  <a:gd name="T11" fmla="*/ 0 h 15"/>
                </a:gdLst>
                <a:ahLst/>
                <a:cxnLst>
                  <a:cxn ang="0">
                    <a:pos x="T0" y="T1"/>
                  </a:cxn>
                  <a:cxn ang="0">
                    <a:pos x="T2" y="T3"/>
                  </a:cxn>
                  <a:cxn ang="0">
                    <a:pos x="T4" y="T5"/>
                  </a:cxn>
                  <a:cxn ang="0">
                    <a:pos x="T6" y="T7"/>
                  </a:cxn>
                  <a:cxn ang="0">
                    <a:pos x="T8" y="T9"/>
                  </a:cxn>
                  <a:cxn ang="0">
                    <a:pos x="T10" y="T11"/>
                  </a:cxn>
                </a:cxnLst>
                <a:rect l="0" t="0" r="r" b="b"/>
                <a:pathLst>
                  <a:path w="17" h="15">
                    <a:moveTo>
                      <a:pt x="16" y="0"/>
                    </a:moveTo>
                    <a:lnTo>
                      <a:pt x="6" y="2"/>
                    </a:lnTo>
                    <a:lnTo>
                      <a:pt x="0" y="14"/>
                    </a:lnTo>
                    <a:lnTo>
                      <a:pt x="8" y="14"/>
                    </a:lnTo>
                    <a:lnTo>
                      <a:pt x="16" y="5"/>
                    </a:lnTo>
                    <a:lnTo>
                      <a:pt x="16" y="0"/>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03" name="Freeform 147">
                <a:extLst>
                  <a:ext uri="{FF2B5EF4-FFF2-40B4-BE49-F238E27FC236}">
                    <a16:creationId xmlns:a16="http://schemas.microsoft.com/office/drawing/2014/main" id="{CB0AF70D-23EE-D076-21FA-41499A16BF4E}"/>
                  </a:ext>
                </a:extLst>
              </p:cNvPr>
              <p:cNvSpPr>
                <a:spLocks/>
              </p:cNvSpPr>
              <p:nvPr/>
            </p:nvSpPr>
            <p:spPr bwMode="auto">
              <a:xfrm>
                <a:off x="7520389" y="4004989"/>
                <a:ext cx="150910" cy="195682"/>
              </a:xfrm>
              <a:custGeom>
                <a:avLst/>
                <a:gdLst>
                  <a:gd name="T0" fmla="*/ 24 w 97"/>
                  <a:gd name="T1" fmla="*/ 17 h 124"/>
                  <a:gd name="T2" fmla="*/ 21 w 97"/>
                  <a:gd name="T3" fmla="*/ 36 h 124"/>
                  <a:gd name="T4" fmla="*/ 14 w 97"/>
                  <a:gd name="T5" fmla="*/ 46 h 124"/>
                  <a:gd name="T6" fmla="*/ 11 w 97"/>
                  <a:gd name="T7" fmla="*/ 60 h 124"/>
                  <a:gd name="T8" fmla="*/ 0 w 97"/>
                  <a:gd name="T9" fmla="*/ 68 h 124"/>
                  <a:gd name="T10" fmla="*/ 0 w 97"/>
                  <a:gd name="T11" fmla="*/ 94 h 124"/>
                  <a:gd name="T12" fmla="*/ 13 w 97"/>
                  <a:gd name="T13" fmla="*/ 100 h 124"/>
                  <a:gd name="T14" fmla="*/ 15 w 97"/>
                  <a:gd name="T15" fmla="*/ 118 h 124"/>
                  <a:gd name="T16" fmla="*/ 27 w 97"/>
                  <a:gd name="T17" fmla="*/ 120 h 124"/>
                  <a:gd name="T18" fmla="*/ 32 w 97"/>
                  <a:gd name="T19" fmla="*/ 92 h 124"/>
                  <a:gd name="T20" fmla="*/ 42 w 97"/>
                  <a:gd name="T21" fmla="*/ 89 h 124"/>
                  <a:gd name="T22" fmla="*/ 42 w 97"/>
                  <a:gd name="T23" fmla="*/ 112 h 124"/>
                  <a:gd name="T24" fmla="*/ 53 w 97"/>
                  <a:gd name="T25" fmla="*/ 115 h 124"/>
                  <a:gd name="T26" fmla="*/ 56 w 97"/>
                  <a:gd name="T27" fmla="*/ 123 h 124"/>
                  <a:gd name="T28" fmla="*/ 69 w 97"/>
                  <a:gd name="T29" fmla="*/ 120 h 124"/>
                  <a:gd name="T30" fmla="*/ 68 w 97"/>
                  <a:gd name="T31" fmla="*/ 104 h 124"/>
                  <a:gd name="T32" fmla="*/ 49 w 97"/>
                  <a:gd name="T33" fmla="*/ 72 h 124"/>
                  <a:gd name="T34" fmla="*/ 59 w 97"/>
                  <a:gd name="T35" fmla="*/ 64 h 124"/>
                  <a:gd name="T36" fmla="*/ 68 w 97"/>
                  <a:gd name="T37" fmla="*/ 48 h 124"/>
                  <a:gd name="T38" fmla="*/ 61 w 97"/>
                  <a:gd name="T39" fmla="*/ 42 h 124"/>
                  <a:gd name="T40" fmla="*/ 51 w 97"/>
                  <a:gd name="T41" fmla="*/ 47 h 124"/>
                  <a:gd name="T42" fmla="*/ 42 w 97"/>
                  <a:gd name="T43" fmla="*/ 52 h 124"/>
                  <a:gd name="T44" fmla="*/ 35 w 97"/>
                  <a:gd name="T45" fmla="*/ 33 h 124"/>
                  <a:gd name="T46" fmla="*/ 32 w 97"/>
                  <a:gd name="T47" fmla="*/ 15 h 124"/>
                  <a:gd name="T48" fmla="*/ 40 w 97"/>
                  <a:gd name="T49" fmla="*/ 18 h 124"/>
                  <a:gd name="T50" fmla="*/ 49 w 97"/>
                  <a:gd name="T51" fmla="*/ 25 h 124"/>
                  <a:gd name="T52" fmla="*/ 64 w 97"/>
                  <a:gd name="T53" fmla="*/ 21 h 124"/>
                  <a:gd name="T54" fmla="*/ 71 w 97"/>
                  <a:gd name="T55" fmla="*/ 26 h 124"/>
                  <a:gd name="T56" fmla="*/ 88 w 97"/>
                  <a:gd name="T57" fmla="*/ 21 h 124"/>
                  <a:gd name="T58" fmla="*/ 96 w 97"/>
                  <a:gd name="T59" fmla="*/ 17 h 124"/>
                  <a:gd name="T60" fmla="*/ 93 w 97"/>
                  <a:gd name="T61" fmla="*/ 0 h 124"/>
                  <a:gd name="T62" fmla="*/ 83 w 97"/>
                  <a:gd name="T63" fmla="*/ 0 h 124"/>
                  <a:gd name="T64" fmla="*/ 77 w 97"/>
                  <a:gd name="T65" fmla="*/ 12 h 124"/>
                  <a:gd name="T66" fmla="*/ 45 w 97"/>
                  <a:gd name="T67" fmla="*/ 9 h 124"/>
                  <a:gd name="T68" fmla="*/ 26 w 97"/>
                  <a:gd name="T69" fmla="*/ 10 h 124"/>
                  <a:gd name="T70" fmla="*/ 24 w 97"/>
                  <a:gd name="T71" fmla="*/ 1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7" h="124">
                    <a:moveTo>
                      <a:pt x="24" y="17"/>
                    </a:moveTo>
                    <a:lnTo>
                      <a:pt x="21" y="36"/>
                    </a:lnTo>
                    <a:lnTo>
                      <a:pt x="14" y="46"/>
                    </a:lnTo>
                    <a:lnTo>
                      <a:pt x="11" y="60"/>
                    </a:lnTo>
                    <a:lnTo>
                      <a:pt x="0" y="68"/>
                    </a:lnTo>
                    <a:lnTo>
                      <a:pt x="0" y="94"/>
                    </a:lnTo>
                    <a:lnTo>
                      <a:pt x="13" y="100"/>
                    </a:lnTo>
                    <a:lnTo>
                      <a:pt x="15" y="118"/>
                    </a:lnTo>
                    <a:lnTo>
                      <a:pt x="27" y="120"/>
                    </a:lnTo>
                    <a:lnTo>
                      <a:pt x="32" y="92"/>
                    </a:lnTo>
                    <a:lnTo>
                      <a:pt x="42" y="89"/>
                    </a:lnTo>
                    <a:lnTo>
                      <a:pt x="42" y="112"/>
                    </a:lnTo>
                    <a:lnTo>
                      <a:pt x="53" y="115"/>
                    </a:lnTo>
                    <a:lnTo>
                      <a:pt x="56" y="123"/>
                    </a:lnTo>
                    <a:lnTo>
                      <a:pt x="69" y="120"/>
                    </a:lnTo>
                    <a:lnTo>
                      <a:pt x="68" y="104"/>
                    </a:lnTo>
                    <a:lnTo>
                      <a:pt x="49" y="72"/>
                    </a:lnTo>
                    <a:lnTo>
                      <a:pt x="59" y="64"/>
                    </a:lnTo>
                    <a:lnTo>
                      <a:pt x="68" y="48"/>
                    </a:lnTo>
                    <a:lnTo>
                      <a:pt x="61" y="42"/>
                    </a:lnTo>
                    <a:lnTo>
                      <a:pt x="51" y="47"/>
                    </a:lnTo>
                    <a:lnTo>
                      <a:pt x="42" y="52"/>
                    </a:lnTo>
                    <a:lnTo>
                      <a:pt x="35" y="33"/>
                    </a:lnTo>
                    <a:lnTo>
                      <a:pt x="32" y="15"/>
                    </a:lnTo>
                    <a:lnTo>
                      <a:pt x="40" y="18"/>
                    </a:lnTo>
                    <a:lnTo>
                      <a:pt x="49" y="25"/>
                    </a:lnTo>
                    <a:lnTo>
                      <a:pt x="64" y="21"/>
                    </a:lnTo>
                    <a:lnTo>
                      <a:pt x="71" y="26"/>
                    </a:lnTo>
                    <a:lnTo>
                      <a:pt x="88" y="21"/>
                    </a:lnTo>
                    <a:lnTo>
                      <a:pt x="96" y="17"/>
                    </a:lnTo>
                    <a:lnTo>
                      <a:pt x="93" y="0"/>
                    </a:lnTo>
                    <a:lnTo>
                      <a:pt x="83" y="0"/>
                    </a:lnTo>
                    <a:lnTo>
                      <a:pt x="77" y="12"/>
                    </a:lnTo>
                    <a:lnTo>
                      <a:pt x="45" y="9"/>
                    </a:lnTo>
                    <a:lnTo>
                      <a:pt x="26" y="10"/>
                    </a:lnTo>
                    <a:lnTo>
                      <a:pt x="24" y="17"/>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04" name="Freeform 148">
                <a:extLst>
                  <a:ext uri="{FF2B5EF4-FFF2-40B4-BE49-F238E27FC236}">
                    <a16:creationId xmlns:a16="http://schemas.microsoft.com/office/drawing/2014/main" id="{B6D3CDFA-A393-0A24-B49C-40988A28344A}"/>
                  </a:ext>
                </a:extLst>
              </p:cNvPr>
              <p:cNvSpPr>
                <a:spLocks/>
              </p:cNvSpPr>
              <p:nvPr/>
            </p:nvSpPr>
            <p:spPr bwMode="auto">
              <a:xfrm>
                <a:off x="7134731" y="3676523"/>
                <a:ext cx="128552" cy="111817"/>
              </a:xfrm>
              <a:custGeom>
                <a:avLst/>
                <a:gdLst>
                  <a:gd name="T0" fmla="*/ 34 w 83"/>
                  <a:gd name="T1" fmla="*/ 60 h 71"/>
                  <a:gd name="T2" fmla="*/ 15 w 83"/>
                  <a:gd name="T3" fmla="*/ 64 h 71"/>
                  <a:gd name="T4" fmla="*/ 13 w 83"/>
                  <a:gd name="T5" fmla="*/ 41 h 71"/>
                  <a:gd name="T6" fmla="*/ 0 w 83"/>
                  <a:gd name="T7" fmla="*/ 30 h 71"/>
                  <a:gd name="T8" fmla="*/ 6 w 83"/>
                  <a:gd name="T9" fmla="*/ 13 h 71"/>
                  <a:gd name="T10" fmla="*/ 21 w 83"/>
                  <a:gd name="T11" fmla="*/ 0 h 71"/>
                  <a:gd name="T12" fmla="*/ 34 w 83"/>
                  <a:gd name="T13" fmla="*/ 8 h 71"/>
                  <a:gd name="T14" fmla="*/ 50 w 83"/>
                  <a:gd name="T15" fmla="*/ 6 h 71"/>
                  <a:gd name="T16" fmla="*/ 60 w 83"/>
                  <a:gd name="T17" fmla="*/ 17 h 71"/>
                  <a:gd name="T18" fmla="*/ 74 w 83"/>
                  <a:gd name="T19" fmla="*/ 6 h 71"/>
                  <a:gd name="T20" fmla="*/ 80 w 83"/>
                  <a:gd name="T21" fmla="*/ 11 h 71"/>
                  <a:gd name="T22" fmla="*/ 82 w 83"/>
                  <a:gd name="T23" fmla="*/ 38 h 71"/>
                  <a:gd name="T24" fmla="*/ 73 w 83"/>
                  <a:gd name="T25" fmla="*/ 46 h 71"/>
                  <a:gd name="T26" fmla="*/ 58 w 83"/>
                  <a:gd name="T27" fmla="*/ 60 h 71"/>
                  <a:gd name="T28" fmla="*/ 44 w 83"/>
                  <a:gd name="T29" fmla="*/ 70 h 71"/>
                  <a:gd name="T30" fmla="*/ 34 w 83"/>
                  <a:gd name="T31"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3" h="71">
                    <a:moveTo>
                      <a:pt x="34" y="60"/>
                    </a:moveTo>
                    <a:lnTo>
                      <a:pt x="15" y="64"/>
                    </a:lnTo>
                    <a:lnTo>
                      <a:pt x="13" y="41"/>
                    </a:lnTo>
                    <a:lnTo>
                      <a:pt x="0" y="30"/>
                    </a:lnTo>
                    <a:lnTo>
                      <a:pt x="6" y="13"/>
                    </a:lnTo>
                    <a:lnTo>
                      <a:pt x="21" y="0"/>
                    </a:lnTo>
                    <a:lnTo>
                      <a:pt x="34" y="8"/>
                    </a:lnTo>
                    <a:lnTo>
                      <a:pt x="50" y="6"/>
                    </a:lnTo>
                    <a:lnTo>
                      <a:pt x="60" y="17"/>
                    </a:lnTo>
                    <a:lnTo>
                      <a:pt x="74" y="6"/>
                    </a:lnTo>
                    <a:lnTo>
                      <a:pt x="80" y="11"/>
                    </a:lnTo>
                    <a:lnTo>
                      <a:pt x="82" y="38"/>
                    </a:lnTo>
                    <a:lnTo>
                      <a:pt x="73" y="46"/>
                    </a:lnTo>
                    <a:lnTo>
                      <a:pt x="58" y="60"/>
                    </a:lnTo>
                    <a:lnTo>
                      <a:pt x="44" y="70"/>
                    </a:lnTo>
                    <a:lnTo>
                      <a:pt x="34" y="60"/>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05" name="Freeform 149">
                <a:extLst>
                  <a:ext uri="{FF2B5EF4-FFF2-40B4-BE49-F238E27FC236}">
                    <a16:creationId xmlns:a16="http://schemas.microsoft.com/office/drawing/2014/main" id="{6CDCFD18-B5D1-FC40-B36A-5AC91C320561}"/>
                  </a:ext>
                </a:extLst>
              </p:cNvPr>
              <p:cNvSpPr>
                <a:spLocks/>
              </p:cNvSpPr>
              <p:nvPr/>
            </p:nvSpPr>
            <p:spPr bwMode="auto">
              <a:xfrm>
                <a:off x="7083031" y="3468263"/>
                <a:ext cx="166280" cy="237613"/>
              </a:xfrm>
              <a:custGeom>
                <a:avLst/>
                <a:gdLst>
                  <a:gd name="T0" fmla="*/ 0 w 106"/>
                  <a:gd name="T1" fmla="*/ 23 h 152"/>
                  <a:gd name="T2" fmla="*/ 3 w 106"/>
                  <a:gd name="T3" fmla="*/ 36 h 152"/>
                  <a:gd name="T4" fmla="*/ 6 w 106"/>
                  <a:gd name="T5" fmla="*/ 50 h 152"/>
                  <a:gd name="T6" fmla="*/ 13 w 106"/>
                  <a:gd name="T7" fmla="*/ 57 h 152"/>
                  <a:gd name="T8" fmla="*/ 24 w 106"/>
                  <a:gd name="T9" fmla="*/ 61 h 152"/>
                  <a:gd name="T10" fmla="*/ 38 w 106"/>
                  <a:gd name="T11" fmla="*/ 81 h 152"/>
                  <a:gd name="T12" fmla="*/ 50 w 106"/>
                  <a:gd name="T13" fmla="*/ 71 h 152"/>
                  <a:gd name="T14" fmla="*/ 60 w 106"/>
                  <a:gd name="T15" fmla="*/ 84 h 152"/>
                  <a:gd name="T16" fmla="*/ 68 w 106"/>
                  <a:gd name="T17" fmla="*/ 103 h 152"/>
                  <a:gd name="T18" fmla="*/ 73 w 106"/>
                  <a:gd name="T19" fmla="*/ 114 h 152"/>
                  <a:gd name="T20" fmla="*/ 81 w 106"/>
                  <a:gd name="T21" fmla="*/ 116 h 152"/>
                  <a:gd name="T22" fmla="*/ 81 w 106"/>
                  <a:gd name="T23" fmla="*/ 140 h 152"/>
                  <a:gd name="T24" fmla="*/ 91 w 106"/>
                  <a:gd name="T25" fmla="*/ 151 h 152"/>
                  <a:gd name="T26" fmla="*/ 105 w 106"/>
                  <a:gd name="T27" fmla="*/ 140 h 152"/>
                  <a:gd name="T28" fmla="*/ 105 w 106"/>
                  <a:gd name="T29" fmla="*/ 111 h 152"/>
                  <a:gd name="T30" fmla="*/ 92 w 106"/>
                  <a:gd name="T31" fmla="*/ 102 h 152"/>
                  <a:gd name="T32" fmla="*/ 71 w 106"/>
                  <a:gd name="T33" fmla="*/ 69 h 152"/>
                  <a:gd name="T34" fmla="*/ 60 w 106"/>
                  <a:gd name="T35" fmla="*/ 58 h 152"/>
                  <a:gd name="T36" fmla="*/ 65 w 106"/>
                  <a:gd name="T37" fmla="*/ 42 h 152"/>
                  <a:gd name="T38" fmla="*/ 62 w 106"/>
                  <a:gd name="T39" fmla="*/ 32 h 152"/>
                  <a:gd name="T40" fmla="*/ 37 w 106"/>
                  <a:gd name="T41" fmla="*/ 23 h 152"/>
                  <a:gd name="T42" fmla="*/ 29 w 106"/>
                  <a:gd name="T43" fmla="*/ 0 h 152"/>
                  <a:gd name="T44" fmla="*/ 18 w 106"/>
                  <a:gd name="T45" fmla="*/ 6 h 152"/>
                  <a:gd name="T46" fmla="*/ 19 w 106"/>
                  <a:gd name="T47" fmla="*/ 20 h 152"/>
                  <a:gd name="T48" fmla="*/ 0 w 106"/>
                  <a:gd name="T49" fmla="*/ 2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6" h="152">
                    <a:moveTo>
                      <a:pt x="0" y="23"/>
                    </a:moveTo>
                    <a:lnTo>
                      <a:pt x="3" y="36"/>
                    </a:lnTo>
                    <a:lnTo>
                      <a:pt x="6" y="50"/>
                    </a:lnTo>
                    <a:lnTo>
                      <a:pt x="13" y="57"/>
                    </a:lnTo>
                    <a:lnTo>
                      <a:pt x="24" y="61"/>
                    </a:lnTo>
                    <a:lnTo>
                      <a:pt x="38" y="81"/>
                    </a:lnTo>
                    <a:lnTo>
                      <a:pt x="50" y="71"/>
                    </a:lnTo>
                    <a:lnTo>
                      <a:pt x="60" y="84"/>
                    </a:lnTo>
                    <a:lnTo>
                      <a:pt x="68" y="103"/>
                    </a:lnTo>
                    <a:lnTo>
                      <a:pt x="73" y="114"/>
                    </a:lnTo>
                    <a:lnTo>
                      <a:pt x="81" y="116"/>
                    </a:lnTo>
                    <a:lnTo>
                      <a:pt x="81" y="140"/>
                    </a:lnTo>
                    <a:lnTo>
                      <a:pt x="91" y="151"/>
                    </a:lnTo>
                    <a:lnTo>
                      <a:pt x="105" y="140"/>
                    </a:lnTo>
                    <a:lnTo>
                      <a:pt x="105" y="111"/>
                    </a:lnTo>
                    <a:lnTo>
                      <a:pt x="92" y="102"/>
                    </a:lnTo>
                    <a:lnTo>
                      <a:pt x="71" y="69"/>
                    </a:lnTo>
                    <a:lnTo>
                      <a:pt x="60" y="58"/>
                    </a:lnTo>
                    <a:lnTo>
                      <a:pt x="65" y="42"/>
                    </a:lnTo>
                    <a:lnTo>
                      <a:pt x="62" y="32"/>
                    </a:lnTo>
                    <a:lnTo>
                      <a:pt x="37" y="23"/>
                    </a:lnTo>
                    <a:lnTo>
                      <a:pt x="29" y="0"/>
                    </a:lnTo>
                    <a:lnTo>
                      <a:pt x="18" y="6"/>
                    </a:lnTo>
                    <a:lnTo>
                      <a:pt x="19" y="20"/>
                    </a:lnTo>
                    <a:lnTo>
                      <a:pt x="0" y="23"/>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06" name="Freeform 150">
                <a:extLst>
                  <a:ext uri="{FF2B5EF4-FFF2-40B4-BE49-F238E27FC236}">
                    <a16:creationId xmlns:a16="http://schemas.microsoft.com/office/drawing/2014/main" id="{5844B96E-D5F9-38A6-BC23-81B3D4912164}"/>
                  </a:ext>
                </a:extLst>
              </p:cNvPr>
              <p:cNvSpPr>
                <a:spLocks/>
              </p:cNvSpPr>
              <p:nvPr/>
            </p:nvSpPr>
            <p:spPr bwMode="auto">
              <a:xfrm>
                <a:off x="7713217" y="3979830"/>
                <a:ext cx="40521" cy="83863"/>
              </a:xfrm>
              <a:custGeom>
                <a:avLst/>
                <a:gdLst>
                  <a:gd name="T0" fmla="*/ 13 w 26"/>
                  <a:gd name="T1" fmla="*/ 21 h 54"/>
                  <a:gd name="T2" fmla="*/ 0 w 26"/>
                  <a:gd name="T3" fmla="*/ 27 h 54"/>
                  <a:gd name="T4" fmla="*/ 4 w 26"/>
                  <a:gd name="T5" fmla="*/ 43 h 54"/>
                  <a:gd name="T6" fmla="*/ 19 w 26"/>
                  <a:gd name="T7" fmla="*/ 53 h 54"/>
                  <a:gd name="T8" fmla="*/ 24 w 26"/>
                  <a:gd name="T9" fmla="*/ 32 h 54"/>
                  <a:gd name="T10" fmla="*/ 25 w 26"/>
                  <a:gd name="T11" fmla="*/ 14 h 54"/>
                  <a:gd name="T12" fmla="*/ 20 w 26"/>
                  <a:gd name="T13" fmla="*/ 0 h 54"/>
                  <a:gd name="T14" fmla="*/ 13 w 26"/>
                  <a:gd name="T15" fmla="*/ 6 h 54"/>
                  <a:gd name="T16" fmla="*/ 13 w 26"/>
                  <a:gd name="T17" fmla="*/ 2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54">
                    <a:moveTo>
                      <a:pt x="13" y="21"/>
                    </a:moveTo>
                    <a:lnTo>
                      <a:pt x="0" y="27"/>
                    </a:lnTo>
                    <a:lnTo>
                      <a:pt x="4" y="43"/>
                    </a:lnTo>
                    <a:lnTo>
                      <a:pt x="19" y="53"/>
                    </a:lnTo>
                    <a:lnTo>
                      <a:pt x="24" y="32"/>
                    </a:lnTo>
                    <a:lnTo>
                      <a:pt x="25" y="14"/>
                    </a:lnTo>
                    <a:lnTo>
                      <a:pt x="20" y="0"/>
                    </a:lnTo>
                    <a:lnTo>
                      <a:pt x="13" y="6"/>
                    </a:lnTo>
                    <a:lnTo>
                      <a:pt x="13" y="21"/>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07" name="Freeform 151">
                <a:extLst>
                  <a:ext uri="{FF2B5EF4-FFF2-40B4-BE49-F238E27FC236}">
                    <a16:creationId xmlns:a16="http://schemas.microsoft.com/office/drawing/2014/main" id="{A7B47FE5-5011-3DF2-DDF4-DB2BF98913D0}"/>
                  </a:ext>
                </a:extLst>
              </p:cNvPr>
              <p:cNvSpPr>
                <a:spLocks/>
              </p:cNvSpPr>
              <p:nvPr/>
            </p:nvSpPr>
            <p:spPr bwMode="auto">
              <a:xfrm>
                <a:off x="7746752" y="4119602"/>
                <a:ext cx="55892" cy="26556"/>
              </a:xfrm>
              <a:custGeom>
                <a:avLst/>
                <a:gdLst>
                  <a:gd name="T0" fmla="*/ 4 w 35"/>
                  <a:gd name="T1" fmla="*/ 3 h 18"/>
                  <a:gd name="T2" fmla="*/ 16 w 35"/>
                  <a:gd name="T3" fmla="*/ 0 h 18"/>
                  <a:gd name="T4" fmla="*/ 27 w 35"/>
                  <a:gd name="T5" fmla="*/ 0 h 18"/>
                  <a:gd name="T6" fmla="*/ 33 w 35"/>
                  <a:gd name="T7" fmla="*/ 9 h 18"/>
                  <a:gd name="T8" fmla="*/ 34 w 35"/>
                  <a:gd name="T9" fmla="*/ 17 h 18"/>
                  <a:gd name="T10" fmla="*/ 23 w 35"/>
                  <a:gd name="T11" fmla="*/ 12 h 18"/>
                  <a:gd name="T12" fmla="*/ 12 w 35"/>
                  <a:gd name="T13" fmla="*/ 9 h 18"/>
                  <a:gd name="T14" fmla="*/ 0 w 35"/>
                  <a:gd name="T15" fmla="*/ 12 h 18"/>
                  <a:gd name="T16" fmla="*/ 4 w 35"/>
                  <a:gd name="T17"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18">
                    <a:moveTo>
                      <a:pt x="4" y="3"/>
                    </a:moveTo>
                    <a:lnTo>
                      <a:pt x="16" y="0"/>
                    </a:lnTo>
                    <a:lnTo>
                      <a:pt x="27" y="0"/>
                    </a:lnTo>
                    <a:lnTo>
                      <a:pt x="33" y="9"/>
                    </a:lnTo>
                    <a:lnTo>
                      <a:pt x="34" y="17"/>
                    </a:lnTo>
                    <a:lnTo>
                      <a:pt x="23" y="12"/>
                    </a:lnTo>
                    <a:lnTo>
                      <a:pt x="12" y="9"/>
                    </a:lnTo>
                    <a:lnTo>
                      <a:pt x="0" y="12"/>
                    </a:lnTo>
                    <a:lnTo>
                      <a:pt x="4" y="3"/>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08" name="Freeform 153">
                <a:extLst>
                  <a:ext uri="{FF2B5EF4-FFF2-40B4-BE49-F238E27FC236}">
                    <a16:creationId xmlns:a16="http://schemas.microsoft.com/office/drawing/2014/main" id="{BF6AD586-B6AC-7C3A-0D95-3C561626F1B0}"/>
                  </a:ext>
                </a:extLst>
              </p:cNvPr>
              <p:cNvSpPr>
                <a:spLocks/>
              </p:cNvSpPr>
              <p:nvPr/>
            </p:nvSpPr>
            <p:spPr bwMode="auto">
              <a:xfrm>
                <a:off x="5522238" y="4332057"/>
                <a:ext cx="234748" cy="452863"/>
              </a:xfrm>
              <a:custGeom>
                <a:avLst/>
                <a:gdLst>
                  <a:gd name="T0" fmla="*/ 24 w 150"/>
                  <a:gd name="T1" fmla="*/ 284 h 289"/>
                  <a:gd name="T2" fmla="*/ 15 w 150"/>
                  <a:gd name="T3" fmla="*/ 262 h 289"/>
                  <a:gd name="T4" fmla="*/ 16 w 150"/>
                  <a:gd name="T5" fmla="*/ 229 h 289"/>
                  <a:gd name="T6" fmla="*/ 19 w 150"/>
                  <a:gd name="T7" fmla="*/ 194 h 289"/>
                  <a:gd name="T8" fmla="*/ 26 w 150"/>
                  <a:gd name="T9" fmla="*/ 168 h 289"/>
                  <a:gd name="T10" fmla="*/ 41 w 150"/>
                  <a:gd name="T11" fmla="*/ 155 h 289"/>
                  <a:gd name="T12" fmla="*/ 35 w 150"/>
                  <a:gd name="T13" fmla="*/ 132 h 289"/>
                  <a:gd name="T14" fmla="*/ 32 w 150"/>
                  <a:gd name="T15" fmla="*/ 97 h 289"/>
                  <a:gd name="T16" fmla="*/ 5 w 150"/>
                  <a:gd name="T17" fmla="*/ 82 h 289"/>
                  <a:gd name="T18" fmla="*/ 23 w 150"/>
                  <a:gd name="T19" fmla="*/ 75 h 289"/>
                  <a:gd name="T20" fmla="*/ 38 w 150"/>
                  <a:gd name="T21" fmla="*/ 60 h 289"/>
                  <a:gd name="T22" fmla="*/ 60 w 150"/>
                  <a:gd name="T23" fmla="*/ 68 h 289"/>
                  <a:gd name="T24" fmla="*/ 55 w 150"/>
                  <a:gd name="T25" fmla="*/ 94 h 289"/>
                  <a:gd name="T26" fmla="*/ 71 w 150"/>
                  <a:gd name="T27" fmla="*/ 99 h 289"/>
                  <a:gd name="T28" fmla="*/ 85 w 150"/>
                  <a:gd name="T29" fmla="*/ 81 h 289"/>
                  <a:gd name="T30" fmla="*/ 78 w 150"/>
                  <a:gd name="T31" fmla="*/ 59 h 289"/>
                  <a:gd name="T32" fmla="*/ 69 w 150"/>
                  <a:gd name="T33" fmla="*/ 44 h 289"/>
                  <a:gd name="T34" fmla="*/ 64 w 150"/>
                  <a:gd name="T35" fmla="*/ 26 h 289"/>
                  <a:gd name="T36" fmla="*/ 64 w 150"/>
                  <a:gd name="T37" fmla="*/ 0 h 289"/>
                  <a:gd name="T38" fmla="*/ 80 w 150"/>
                  <a:gd name="T39" fmla="*/ 18 h 289"/>
                  <a:gd name="T40" fmla="*/ 112 w 150"/>
                  <a:gd name="T41" fmla="*/ 11 h 289"/>
                  <a:gd name="T42" fmla="*/ 132 w 150"/>
                  <a:gd name="T43" fmla="*/ 4 h 289"/>
                  <a:gd name="T44" fmla="*/ 149 w 150"/>
                  <a:gd name="T45" fmla="*/ 30 h 289"/>
                  <a:gd name="T46" fmla="*/ 140 w 150"/>
                  <a:gd name="T47" fmla="*/ 93 h 289"/>
                  <a:gd name="T48" fmla="*/ 113 w 150"/>
                  <a:gd name="T49" fmla="*/ 106 h 289"/>
                  <a:gd name="T50" fmla="*/ 101 w 150"/>
                  <a:gd name="T51" fmla="*/ 117 h 289"/>
                  <a:gd name="T52" fmla="*/ 93 w 150"/>
                  <a:gd name="T53" fmla="*/ 139 h 289"/>
                  <a:gd name="T54" fmla="*/ 73 w 150"/>
                  <a:gd name="T55" fmla="*/ 149 h 289"/>
                  <a:gd name="T56" fmla="*/ 68 w 150"/>
                  <a:gd name="T57" fmla="*/ 189 h 289"/>
                  <a:gd name="T58" fmla="*/ 71 w 150"/>
                  <a:gd name="T59" fmla="*/ 220 h 289"/>
                  <a:gd name="T60" fmla="*/ 68 w 150"/>
                  <a:gd name="T61" fmla="*/ 234 h 289"/>
                  <a:gd name="T62" fmla="*/ 56 w 150"/>
                  <a:gd name="T63" fmla="*/ 242 h 289"/>
                  <a:gd name="T64" fmla="*/ 39 w 150"/>
                  <a:gd name="T65" fmla="*/ 248 h 289"/>
                  <a:gd name="T66" fmla="*/ 37 w 150"/>
                  <a:gd name="T67" fmla="*/ 269 h 289"/>
                  <a:gd name="T68" fmla="*/ 36 w 150"/>
                  <a:gd name="T69" fmla="*/ 288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0" h="289">
                    <a:moveTo>
                      <a:pt x="36" y="288"/>
                    </a:moveTo>
                    <a:lnTo>
                      <a:pt x="24" y="284"/>
                    </a:lnTo>
                    <a:lnTo>
                      <a:pt x="21" y="272"/>
                    </a:lnTo>
                    <a:lnTo>
                      <a:pt x="15" y="262"/>
                    </a:lnTo>
                    <a:lnTo>
                      <a:pt x="16" y="247"/>
                    </a:lnTo>
                    <a:lnTo>
                      <a:pt x="16" y="229"/>
                    </a:lnTo>
                    <a:lnTo>
                      <a:pt x="16" y="205"/>
                    </a:lnTo>
                    <a:lnTo>
                      <a:pt x="19" y="194"/>
                    </a:lnTo>
                    <a:lnTo>
                      <a:pt x="27" y="189"/>
                    </a:lnTo>
                    <a:lnTo>
                      <a:pt x="26" y="168"/>
                    </a:lnTo>
                    <a:lnTo>
                      <a:pt x="36" y="162"/>
                    </a:lnTo>
                    <a:lnTo>
                      <a:pt x="41" y="155"/>
                    </a:lnTo>
                    <a:lnTo>
                      <a:pt x="36" y="142"/>
                    </a:lnTo>
                    <a:lnTo>
                      <a:pt x="35" y="132"/>
                    </a:lnTo>
                    <a:lnTo>
                      <a:pt x="40" y="111"/>
                    </a:lnTo>
                    <a:lnTo>
                      <a:pt x="32" y="97"/>
                    </a:lnTo>
                    <a:lnTo>
                      <a:pt x="12" y="93"/>
                    </a:lnTo>
                    <a:lnTo>
                      <a:pt x="5" y="82"/>
                    </a:lnTo>
                    <a:lnTo>
                      <a:pt x="0" y="81"/>
                    </a:lnTo>
                    <a:lnTo>
                      <a:pt x="23" y="75"/>
                    </a:lnTo>
                    <a:lnTo>
                      <a:pt x="26" y="66"/>
                    </a:lnTo>
                    <a:lnTo>
                      <a:pt x="38" y="60"/>
                    </a:lnTo>
                    <a:lnTo>
                      <a:pt x="49" y="65"/>
                    </a:lnTo>
                    <a:lnTo>
                      <a:pt x="60" y="68"/>
                    </a:lnTo>
                    <a:lnTo>
                      <a:pt x="59" y="80"/>
                    </a:lnTo>
                    <a:lnTo>
                      <a:pt x="55" y="94"/>
                    </a:lnTo>
                    <a:lnTo>
                      <a:pt x="61" y="101"/>
                    </a:lnTo>
                    <a:lnTo>
                      <a:pt x="71" y="99"/>
                    </a:lnTo>
                    <a:lnTo>
                      <a:pt x="75" y="88"/>
                    </a:lnTo>
                    <a:lnTo>
                      <a:pt x="85" y="81"/>
                    </a:lnTo>
                    <a:lnTo>
                      <a:pt x="82" y="68"/>
                    </a:lnTo>
                    <a:lnTo>
                      <a:pt x="78" y="59"/>
                    </a:lnTo>
                    <a:lnTo>
                      <a:pt x="72" y="49"/>
                    </a:lnTo>
                    <a:lnTo>
                      <a:pt x="69" y="44"/>
                    </a:lnTo>
                    <a:lnTo>
                      <a:pt x="63" y="37"/>
                    </a:lnTo>
                    <a:lnTo>
                      <a:pt x="64" y="26"/>
                    </a:lnTo>
                    <a:lnTo>
                      <a:pt x="67" y="14"/>
                    </a:lnTo>
                    <a:lnTo>
                      <a:pt x="64" y="0"/>
                    </a:lnTo>
                    <a:lnTo>
                      <a:pt x="77" y="9"/>
                    </a:lnTo>
                    <a:lnTo>
                      <a:pt x="80" y="18"/>
                    </a:lnTo>
                    <a:lnTo>
                      <a:pt x="109" y="20"/>
                    </a:lnTo>
                    <a:lnTo>
                      <a:pt x="112" y="11"/>
                    </a:lnTo>
                    <a:lnTo>
                      <a:pt x="129" y="11"/>
                    </a:lnTo>
                    <a:lnTo>
                      <a:pt x="132" y="4"/>
                    </a:lnTo>
                    <a:lnTo>
                      <a:pt x="149" y="0"/>
                    </a:lnTo>
                    <a:lnTo>
                      <a:pt x="149" y="30"/>
                    </a:lnTo>
                    <a:lnTo>
                      <a:pt x="149" y="83"/>
                    </a:lnTo>
                    <a:lnTo>
                      <a:pt x="140" y="93"/>
                    </a:lnTo>
                    <a:lnTo>
                      <a:pt x="136" y="103"/>
                    </a:lnTo>
                    <a:lnTo>
                      <a:pt x="113" y="106"/>
                    </a:lnTo>
                    <a:lnTo>
                      <a:pt x="111" y="114"/>
                    </a:lnTo>
                    <a:lnTo>
                      <a:pt x="101" y="117"/>
                    </a:lnTo>
                    <a:lnTo>
                      <a:pt x="97" y="121"/>
                    </a:lnTo>
                    <a:lnTo>
                      <a:pt x="93" y="139"/>
                    </a:lnTo>
                    <a:lnTo>
                      <a:pt x="81" y="143"/>
                    </a:lnTo>
                    <a:lnTo>
                      <a:pt x="73" y="149"/>
                    </a:lnTo>
                    <a:lnTo>
                      <a:pt x="69" y="157"/>
                    </a:lnTo>
                    <a:lnTo>
                      <a:pt x="68" y="189"/>
                    </a:lnTo>
                    <a:lnTo>
                      <a:pt x="71" y="190"/>
                    </a:lnTo>
                    <a:lnTo>
                      <a:pt x="71" y="220"/>
                    </a:lnTo>
                    <a:lnTo>
                      <a:pt x="73" y="233"/>
                    </a:lnTo>
                    <a:lnTo>
                      <a:pt x="68" y="234"/>
                    </a:lnTo>
                    <a:lnTo>
                      <a:pt x="67" y="242"/>
                    </a:lnTo>
                    <a:lnTo>
                      <a:pt x="56" y="242"/>
                    </a:lnTo>
                    <a:lnTo>
                      <a:pt x="52" y="246"/>
                    </a:lnTo>
                    <a:lnTo>
                      <a:pt x="39" y="248"/>
                    </a:lnTo>
                    <a:lnTo>
                      <a:pt x="37" y="259"/>
                    </a:lnTo>
                    <a:lnTo>
                      <a:pt x="37" y="269"/>
                    </a:lnTo>
                    <a:lnTo>
                      <a:pt x="37" y="280"/>
                    </a:lnTo>
                    <a:lnTo>
                      <a:pt x="36" y="288"/>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09" name="Freeform 154">
                <a:extLst>
                  <a:ext uri="{FF2B5EF4-FFF2-40B4-BE49-F238E27FC236}">
                    <a16:creationId xmlns:a16="http://schemas.microsoft.com/office/drawing/2014/main" id="{A54D9819-38C8-BC7B-B2F7-8AA8DD2D24A4}"/>
                  </a:ext>
                </a:extLst>
              </p:cNvPr>
              <p:cNvSpPr>
                <a:spLocks/>
              </p:cNvSpPr>
              <p:nvPr/>
            </p:nvSpPr>
            <p:spPr bwMode="auto">
              <a:xfrm>
                <a:off x="5435606" y="4812874"/>
                <a:ext cx="58687" cy="60102"/>
              </a:xfrm>
              <a:custGeom>
                <a:avLst/>
                <a:gdLst>
                  <a:gd name="T0" fmla="*/ 12 w 38"/>
                  <a:gd name="T1" fmla="*/ 2 h 38"/>
                  <a:gd name="T2" fmla="*/ 9 w 38"/>
                  <a:gd name="T3" fmla="*/ 9 h 38"/>
                  <a:gd name="T4" fmla="*/ 0 w 38"/>
                  <a:gd name="T5" fmla="*/ 11 h 38"/>
                  <a:gd name="T6" fmla="*/ 1 w 38"/>
                  <a:gd name="T7" fmla="*/ 34 h 38"/>
                  <a:gd name="T8" fmla="*/ 13 w 38"/>
                  <a:gd name="T9" fmla="*/ 33 h 38"/>
                  <a:gd name="T10" fmla="*/ 16 w 38"/>
                  <a:gd name="T11" fmla="*/ 37 h 38"/>
                  <a:gd name="T12" fmla="*/ 23 w 38"/>
                  <a:gd name="T13" fmla="*/ 36 h 38"/>
                  <a:gd name="T14" fmla="*/ 28 w 38"/>
                  <a:gd name="T15" fmla="*/ 30 h 38"/>
                  <a:gd name="T16" fmla="*/ 31 w 38"/>
                  <a:gd name="T17" fmla="*/ 22 h 38"/>
                  <a:gd name="T18" fmla="*/ 37 w 38"/>
                  <a:gd name="T19" fmla="*/ 22 h 38"/>
                  <a:gd name="T20" fmla="*/ 37 w 38"/>
                  <a:gd name="T21" fmla="*/ 1 h 38"/>
                  <a:gd name="T22" fmla="*/ 23 w 38"/>
                  <a:gd name="T23" fmla="*/ 0 h 38"/>
                  <a:gd name="T24" fmla="*/ 12 w 38"/>
                  <a:gd name="T25" fmla="*/ 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38">
                    <a:moveTo>
                      <a:pt x="12" y="2"/>
                    </a:moveTo>
                    <a:lnTo>
                      <a:pt x="9" y="9"/>
                    </a:lnTo>
                    <a:lnTo>
                      <a:pt x="0" y="11"/>
                    </a:lnTo>
                    <a:lnTo>
                      <a:pt x="1" y="34"/>
                    </a:lnTo>
                    <a:lnTo>
                      <a:pt x="13" y="33"/>
                    </a:lnTo>
                    <a:lnTo>
                      <a:pt x="16" y="37"/>
                    </a:lnTo>
                    <a:lnTo>
                      <a:pt x="23" y="36"/>
                    </a:lnTo>
                    <a:lnTo>
                      <a:pt x="28" y="30"/>
                    </a:lnTo>
                    <a:lnTo>
                      <a:pt x="31" y="22"/>
                    </a:lnTo>
                    <a:lnTo>
                      <a:pt x="37" y="22"/>
                    </a:lnTo>
                    <a:lnTo>
                      <a:pt x="37" y="1"/>
                    </a:lnTo>
                    <a:lnTo>
                      <a:pt x="23" y="0"/>
                    </a:lnTo>
                    <a:lnTo>
                      <a:pt x="12" y="2"/>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10" name="Freeform 155">
                <a:extLst>
                  <a:ext uri="{FF2B5EF4-FFF2-40B4-BE49-F238E27FC236}">
                    <a16:creationId xmlns:a16="http://schemas.microsoft.com/office/drawing/2014/main" id="{A85DA20C-CAF0-5494-B503-A1D759C8DFAD}"/>
                  </a:ext>
                </a:extLst>
              </p:cNvPr>
              <p:cNvSpPr>
                <a:spLocks/>
              </p:cNvSpPr>
              <p:nvPr/>
            </p:nvSpPr>
            <p:spPr bwMode="auto">
              <a:xfrm>
                <a:off x="5326616" y="4252386"/>
                <a:ext cx="272475" cy="271159"/>
              </a:xfrm>
              <a:custGeom>
                <a:avLst/>
                <a:gdLst>
                  <a:gd name="T0" fmla="*/ 59 w 174"/>
                  <a:gd name="T1" fmla="*/ 172 h 173"/>
                  <a:gd name="T2" fmla="*/ 68 w 174"/>
                  <a:gd name="T3" fmla="*/ 169 h 173"/>
                  <a:gd name="T4" fmla="*/ 81 w 174"/>
                  <a:gd name="T5" fmla="*/ 169 h 173"/>
                  <a:gd name="T6" fmla="*/ 89 w 174"/>
                  <a:gd name="T7" fmla="*/ 166 h 173"/>
                  <a:gd name="T8" fmla="*/ 92 w 174"/>
                  <a:gd name="T9" fmla="*/ 156 h 173"/>
                  <a:gd name="T10" fmla="*/ 99 w 174"/>
                  <a:gd name="T11" fmla="*/ 153 h 173"/>
                  <a:gd name="T12" fmla="*/ 104 w 174"/>
                  <a:gd name="T13" fmla="*/ 150 h 173"/>
                  <a:gd name="T14" fmla="*/ 106 w 174"/>
                  <a:gd name="T15" fmla="*/ 140 h 173"/>
                  <a:gd name="T16" fmla="*/ 119 w 174"/>
                  <a:gd name="T17" fmla="*/ 137 h 173"/>
                  <a:gd name="T18" fmla="*/ 125 w 174"/>
                  <a:gd name="T19" fmla="*/ 130 h 173"/>
                  <a:gd name="T20" fmla="*/ 148 w 174"/>
                  <a:gd name="T21" fmla="*/ 125 h 173"/>
                  <a:gd name="T22" fmla="*/ 151 w 174"/>
                  <a:gd name="T23" fmla="*/ 116 h 173"/>
                  <a:gd name="T24" fmla="*/ 163 w 174"/>
                  <a:gd name="T25" fmla="*/ 110 h 173"/>
                  <a:gd name="T26" fmla="*/ 165 w 174"/>
                  <a:gd name="T27" fmla="*/ 83 h 173"/>
                  <a:gd name="T28" fmla="*/ 173 w 174"/>
                  <a:gd name="T29" fmla="*/ 76 h 173"/>
                  <a:gd name="T30" fmla="*/ 170 w 174"/>
                  <a:gd name="T31" fmla="*/ 59 h 173"/>
                  <a:gd name="T32" fmla="*/ 170 w 174"/>
                  <a:gd name="T33" fmla="*/ 39 h 173"/>
                  <a:gd name="T34" fmla="*/ 162 w 174"/>
                  <a:gd name="T35" fmla="*/ 25 h 173"/>
                  <a:gd name="T36" fmla="*/ 148 w 174"/>
                  <a:gd name="T37" fmla="*/ 19 h 173"/>
                  <a:gd name="T38" fmla="*/ 139 w 174"/>
                  <a:gd name="T39" fmla="*/ 8 h 173"/>
                  <a:gd name="T40" fmla="*/ 137 w 174"/>
                  <a:gd name="T41" fmla="*/ 0 h 173"/>
                  <a:gd name="T42" fmla="*/ 126 w 174"/>
                  <a:gd name="T43" fmla="*/ 1 h 173"/>
                  <a:gd name="T44" fmla="*/ 123 w 174"/>
                  <a:gd name="T45" fmla="*/ 10 h 173"/>
                  <a:gd name="T46" fmla="*/ 112 w 174"/>
                  <a:gd name="T47" fmla="*/ 14 h 173"/>
                  <a:gd name="T48" fmla="*/ 107 w 174"/>
                  <a:gd name="T49" fmla="*/ 25 h 173"/>
                  <a:gd name="T50" fmla="*/ 103 w 174"/>
                  <a:gd name="T51" fmla="*/ 69 h 173"/>
                  <a:gd name="T52" fmla="*/ 109 w 174"/>
                  <a:gd name="T53" fmla="*/ 75 h 173"/>
                  <a:gd name="T54" fmla="*/ 119 w 174"/>
                  <a:gd name="T55" fmla="*/ 75 h 173"/>
                  <a:gd name="T56" fmla="*/ 122 w 174"/>
                  <a:gd name="T57" fmla="*/ 93 h 173"/>
                  <a:gd name="T58" fmla="*/ 118 w 174"/>
                  <a:gd name="T59" fmla="*/ 103 h 173"/>
                  <a:gd name="T60" fmla="*/ 102 w 174"/>
                  <a:gd name="T61" fmla="*/ 103 h 173"/>
                  <a:gd name="T62" fmla="*/ 96 w 174"/>
                  <a:gd name="T63" fmla="*/ 96 h 173"/>
                  <a:gd name="T64" fmla="*/ 92 w 174"/>
                  <a:gd name="T65" fmla="*/ 80 h 173"/>
                  <a:gd name="T66" fmla="*/ 81 w 174"/>
                  <a:gd name="T67" fmla="*/ 74 h 173"/>
                  <a:gd name="T68" fmla="*/ 80 w 174"/>
                  <a:gd name="T69" fmla="*/ 69 h 173"/>
                  <a:gd name="T70" fmla="*/ 68 w 174"/>
                  <a:gd name="T71" fmla="*/ 70 h 173"/>
                  <a:gd name="T72" fmla="*/ 64 w 174"/>
                  <a:gd name="T73" fmla="*/ 80 h 173"/>
                  <a:gd name="T74" fmla="*/ 57 w 174"/>
                  <a:gd name="T75" fmla="*/ 77 h 173"/>
                  <a:gd name="T76" fmla="*/ 53 w 174"/>
                  <a:gd name="T77" fmla="*/ 62 h 173"/>
                  <a:gd name="T78" fmla="*/ 37 w 174"/>
                  <a:gd name="T79" fmla="*/ 60 h 173"/>
                  <a:gd name="T80" fmla="*/ 35 w 174"/>
                  <a:gd name="T81" fmla="*/ 94 h 173"/>
                  <a:gd name="T82" fmla="*/ 22 w 174"/>
                  <a:gd name="T83" fmla="*/ 94 h 173"/>
                  <a:gd name="T84" fmla="*/ 17 w 174"/>
                  <a:gd name="T85" fmla="*/ 85 h 173"/>
                  <a:gd name="T86" fmla="*/ 11 w 174"/>
                  <a:gd name="T87" fmla="*/ 86 h 173"/>
                  <a:gd name="T88" fmla="*/ 11 w 174"/>
                  <a:gd name="T89" fmla="*/ 94 h 173"/>
                  <a:gd name="T90" fmla="*/ 1 w 174"/>
                  <a:gd name="T91" fmla="*/ 95 h 173"/>
                  <a:gd name="T92" fmla="*/ 0 w 174"/>
                  <a:gd name="T93" fmla="*/ 134 h 173"/>
                  <a:gd name="T94" fmla="*/ 2 w 174"/>
                  <a:gd name="T95" fmla="*/ 146 h 173"/>
                  <a:gd name="T96" fmla="*/ 14 w 174"/>
                  <a:gd name="T97" fmla="*/ 160 h 173"/>
                  <a:gd name="T98" fmla="*/ 14 w 174"/>
                  <a:gd name="T99" fmla="*/ 168 h 173"/>
                  <a:gd name="T100" fmla="*/ 21 w 174"/>
                  <a:gd name="T101" fmla="*/ 170 h 173"/>
                  <a:gd name="T102" fmla="*/ 59 w 174"/>
                  <a:gd name="T103" fmla="*/ 17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4" h="173">
                    <a:moveTo>
                      <a:pt x="59" y="172"/>
                    </a:moveTo>
                    <a:lnTo>
                      <a:pt x="68" y="169"/>
                    </a:lnTo>
                    <a:lnTo>
                      <a:pt x="81" y="169"/>
                    </a:lnTo>
                    <a:lnTo>
                      <a:pt x="89" y="166"/>
                    </a:lnTo>
                    <a:lnTo>
                      <a:pt x="92" y="156"/>
                    </a:lnTo>
                    <a:lnTo>
                      <a:pt x="99" y="153"/>
                    </a:lnTo>
                    <a:lnTo>
                      <a:pt x="104" y="150"/>
                    </a:lnTo>
                    <a:lnTo>
                      <a:pt x="106" y="140"/>
                    </a:lnTo>
                    <a:lnTo>
                      <a:pt x="119" y="137"/>
                    </a:lnTo>
                    <a:lnTo>
                      <a:pt x="125" y="130"/>
                    </a:lnTo>
                    <a:lnTo>
                      <a:pt x="148" y="125"/>
                    </a:lnTo>
                    <a:lnTo>
                      <a:pt x="151" y="116"/>
                    </a:lnTo>
                    <a:lnTo>
                      <a:pt x="163" y="110"/>
                    </a:lnTo>
                    <a:lnTo>
                      <a:pt x="165" y="83"/>
                    </a:lnTo>
                    <a:lnTo>
                      <a:pt x="173" y="76"/>
                    </a:lnTo>
                    <a:lnTo>
                      <a:pt x="170" y="59"/>
                    </a:lnTo>
                    <a:lnTo>
                      <a:pt x="170" y="39"/>
                    </a:lnTo>
                    <a:lnTo>
                      <a:pt x="162" y="25"/>
                    </a:lnTo>
                    <a:lnTo>
                      <a:pt x="148" y="19"/>
                    </a:lnTo>
                    <a:lnTo>
                      <a:pt x="139" y="8"/>
                    </a:lnTo>
                    <a:lnTo>
                      <a:pt x="137" y="0"/>
                    </a:lnTo>
                    <a:lnTo>
                      <a:pt x="126" y="1"/>
                    </a:lnTo>
                    <a:lnTo>
                      <a:pt x="123" y="10"/>
                    </a:lnTo>
                    <a:lnTo>
                      <a:pt x="112" y="14"/>
                    </a:lnTo>
                    <a:lnTo>
                      <a:pt x="107" y="25"/>
                    </a:lnTo>
                    <a:lnTo>
                      <a:pt x="103" y="69"/>
                    </a:lnTo>
                    <a:lnTo>
                      <a:pt x="109" y="75"/>
                    </a:lnTo>
                    <a:lnTo>
                      <a:pt x="119" y="75"/>
                    </a:lnTo>
                    <a:lnTo>
                      <a:pt x="122" y="93"/>
                    </a:lnTo>
                    <a:lnTo>
                      <a:pt x="118" y="103"/>
                    </a:lnTo>
                    <a:lnTo>
                      <a:pt x="102" y="103"/>
                    </a:lnTo>
                    <a:lnTo>
                      <a:pt x="96" y="96"/>
                    </a:lnTo>
                    <a:lnTo>
                      <a:pt x="92" y="80"/>
                    </a:lnTo>
                    <a:lnTo>
                      <a:pt x="81" y="74"/>
                    </a:lnTo>
                    <a:lnTo>
                      <a:pt x="80" y="69"/>
                    </a:lnTo>
                    <a:lnTo>
                      <a:pt x="68" y="70"/>
                    </a:lnTo>
                    <a:lnTo>
                      <a:pt x="64" y="80"/>
                    </a:lnTo>
                    <a:lnTo>
                      <a:pt x="57" y="77"/>
                    </a:lnTo>
                    <a:lnTo>
                      <a:pt x="53" y="62"/>
                    </a:lnTo>
                    <a:lnTo>
                      <a:pt x="37" y="60"/>
                    </a:lnTo>
                    <a:lnTo>
                      <a:pt x="35" y="94"/>
                    </a:lnTo>
                    <a:lnTo>
                      <a:pt x="22" y="94"/>
                    </a:lnTo>
                    <a:lnTo>
                      <a:pt x="17" y="85"/>
                    </a:lnTo>
                    <a:lnTo>
                      <a:pt x="11" y="86"/>
                    </a:lnTo>
                    <a:lnTo>
                      <a:pt x="11" y="94"/>
                    </a:lnTo>
                    <a:lnTo>
                      <a:pt x="1" y="95"/>
                    </a:lnTo>
                    <a:lnTo>
                      <a:pt x="0" y="134"/>
                    </a:lnTo>
                    <a:lnTo>
                      <a:pt x="2" y="146"/>
                    </a:lnTo>
                    <a:lnTo>
                      <a:pt x="14" y="160"/>
                    </a:lnTo>
                    <a:lnTo>
                      <a:pt x="14" y="168"/>
                    </a:lnTo>
                    <a:lnTo>
                      <a:pt x="21" y="170"/>
                    </a:lnTo>
                    <a:lnTo>
                      <a:pt x="59" y="172"/>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11" name="Freeform 157">
                <a:extLst>
                  <a:ext uri="{FF2B5EF4-FFF2-40B4-BE49-F238E27FC236}">
                    <a16:creationId xmlns:a16="http://schemas.microsoft.com/office/drawing/2014/main" id="{6445A34F-4DC8-4FC0-2641-BDA1A69BE35F}"/>
                  </a:ext>
                </a:extLst>
              </p:cNvPr>
              <p:cNvSpPr>
                <a:spLocks/>
              </p:cNvSpPr>
              <p:nvPr/>
            </p:nvSpPr>
            <p:spPr bwMode="auto">
              <a:xfrm>
                <a:off x="5770960" y="2893798"/>
                <a:ext cx="88030" cy="122999"/>
              </a:xfrm>
              <a:custGeom>
                <a:avLst/>
                <a:gdLst>
                  <a:gd name="T0" fmla="*/ 55 w 56"/>
                  <a:gd name="T1" fmla="*/ 69 h 78"/>
                  <a:gd name="T2" fmla="*/ 44 w 56"/>
                  <a:gd name="T3" fmla="*/ 77 h 78"/>
                  <a:gd name="T4" fmla="*/ 37 w 56"/>
                  <a:gd name="T5" fmla="*/ 65 h 78"/>
                  <a:gd name="T6" fmla="*/ 24 w 56"/>
                  <a:gd name="T7" fmla="*/ 58 h 78"/>
                  <a:gd name="T8" fmla="*/ 13 w 56"/>
                  <a:gd name="T9" fmla="*/ 46 h 78"/>
                  <a:gd name="T10" fmla="*/ 0 w 56"/>
                  <a:gd name="T11" fmla="*/ 25 h 78"/>
                  <a:gd name="T12" fmla="*/ 16 w 56"/>
                  <a:gd name="T13" fmla="*/ 18 h 78"/>
                  <a:gd name="T14" fmla="*/ 25 w 56"/>
                  <a:gd name="T15" fmla="*/ 0 h 78"/>
                  <a:gd name="T16" fmla="*/ 31 w 56"/>
                  <a:gd name="T17" fmla="*/ 21 h 78"/>
                  <a:gd name="T18" fmla="*/ 42 w 56"/>
                  <a:gd name="T19" fmla="*/ 43 h 78"/>
                  <a:gd name="T20" fmla="*/ 55 w 56"/>
                  <a:gd name="T21" fmla="*/ 6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78">
                    <a:moveTo>
                      <a:pt x="55" y="69"/>
                    </a:moveTo>
                    <a:lnTo>
                      <a:pt x="44" y="77"/>
                    </a:lnTo>
                    <a:lnTo>
                      <a:pt x="37" y="65"/>
                    </a:lnTo>
                    <a:lnTo>
                      <a:pt x="24" y="58"/>
                    </a:lnTo>
                    <a:lnTo>
                      <a:pt x="13" y="46"/>
                    </a:lnTo>
                    <a:lnTo>
                      <a:pt x="0" y="25"/>
                    </a:lnTo>
                    <a:lnTo>
                      <a:pt x="16" y="18"/>
                    </a:lnTo>
                    <a:lnTo>
                      <a:pt x="25" y="0"/>
                    </a:lnTo>
                    <a:lnTo>
                      <a:pt x="31" y="21"/>
                    </a:lnTo>
                    <a:lnTo>
                      <a:pt x="42" y="43"/>
                    </a:lnTo>
                    <a:lnTo>
                      <a:pt x="55" y="69"/>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12" name="Freeform 159">
                <a:extLst>
                  <a:ext uri="{FF2B5EF4-FFF2-40B4-BE49-F238E27FC236}">
                    <a16:creationId xmlns:a16="http://schemas.microsoft.com/office/drawing/2014/main" id="{83D873AF-054B-9317-89AE-9341DA648A24}"/>
                  </a:ext>
                </a:extLst>
              </p:cNvPr>
              <p:cNvSpPr>
                <a:spLocks/>
              </p:cNvSpPr>
              <p:nvPr/>
            </p:nvSpPr>
            <p:spPr bwMode="auto">
              <a:xfrm>
                <a:off x="5772356" y="3745012"/>
                <a:ext cx="50303" cy="50318"/>
              </a:xfrm>
              <a:custGeom>
                <a:avLst/>
                <a:gdLst>
                  <a:gd name="T0" fmla="*/ 16 w 32"/>
                  <a:gd name="T1" fmla="*/ 30 h 31"/>
                  <a:gd name="T2" fmla="*/ 0 w 32"/>
                  <a:gd name="T3" fmla="*/ 27 h 31"/>
                  <a:gd name="T4" fmla="*/ 3 w 32"/>
                  <a:gd name="T5" fmla="*/ 0 h 31"/>
                  <a:gd name="T6" fmla="*/ 31 w 32"/>
                  <a:gd name="T7" fmla="*/ 17 h 31"/>
                  <a:gd name="T8" fmla="*/ 16 w 32"/>
                  <a:gd name="T9" fmla="*/ 30 h 31"/>
                </a:gdLst>
                <a:ahLst/>
                <a:cxnLst>
                  <a:cxn ang="0">
                    <a:pos x="T0" y="T1"/>
                  </a:cxn>
                  <a:cxn ang="0">
                    <a:pos x="T2" y="T3"/>
                  </a:cxn>
                  <a:cxn ang="0">
                    <a:pos x="T4" y="T5"/>
                  </a:cxn>
                  <a:cxn ang="0">
                    <a:pos x="T6" y="T7"/>
                  </a:cxn>
                  <a:cxn ang="0">
                    <a:pos x="T8" y="T9"/>
                  </a:cxn>
                </a:cxnLst>
                <a:rect l="0" t="0" r="r" b="b"/>
                <a:pathLst>
                  <a:path w="32" h="31">
                    <a:moveTo>
                      <a:pt x="16" y="30"/>
                    </a:moveTo>
                    <a:lnTo>
                      <a:pt x="0" y="27"/>
                    </a:lnTo>
                    <a:lnTo>
                      <a:pt x="3" y="0"/>
                    </a:lnTo>
                    <a:lnTo>
                      <a:pt x="31" y="17"/>
                    </a:lnTo>
                    <a:lnTo>
                      <a:pt x="16" y="30"/>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13" name="Freeform 160">
                <a:extLst>
                  <a:ext uri="{FF2B5EF4-FFF2-40B4-BE49-F238E27FC236}">
                    <a16:creationId xmlns:a16="http://schemas.microsoft.com/office/drawing/2014/main" id="{CD37D1EF-D9AE-C71E-0644-0A2154C3EFC4}"/>
                  </a:ext>
                </a:extLst>
              </p:cNvPr>
              <p:cNvSpPr>
                <a:spLocks/>
              </p:cNvSpPr>
              <p:nvPr/>
            </p:nvSpPr>
            <p:spPr bwMode="auto">
              <a:xfrm>
                <a:off x="4850133" y="3739421"/>
                <a:ext cx="75455" cy="163534"/>
              </a:xfrm>
              <a:custGeom>
                <a:avLst/>
                <a:gdLst>
                  <a:gd name="T0" fmla="*/ 0 w 48"/>
                  <a:gd name="T1" fmla="*/ 36 h 104"/>
                  <a:gd name="T2" fmla="*/ 7 w 48"/>
                  <a:gd name="T3" fmla="*/ 46 h 104"/>
                  <a:gd name="T4" fmla="*/ 10 w 48"/>
                  <a:gd name="T5" fmla="*/ 66 h 104"/>
                  <a:gd name="T6" fmla="*/ 11 w 48"/>
                  <a:gd name="T7" fmla="*/ 84 h 104"/>
                  <a:gd name="T8" fmla="*/ 16 w 48"/>
                  <a:gd name="T9" fmla="*/ 103 h 104"/>
                  <a:gd name="T10" fmla="*/ 34 w 48"/>
                  <a:gd name="T11" fmla="*/ 95 h 104"/>
                  <a:gd name="T12" fmla="*/ 31 w 48"/>
                  <a:gd name="T13" fmla="*/ 62 h 104"/>
                  <a:gd name="T14" fmla="*/ 39 w 48"/>
                  <a:gd name="T15" fmla="*/ 51 h 104"/>
                  <a:gd name="T16" fmla="*/ 47 w 48"/>
                  <a:gd name="T17" fmla="*/ 19 h 104"/>
                  <a:gd name="T18" fmla="*/ 44 w 48"/>
                  <a:gd name="T19" fmla="*/ 0 h 104"/>
                  <a:gd name="T20" fmla="*/ 31 w 48"/>
                  <a:gd name="T21" fmla="*/ 1 h 104"/>
                  <a:gd name="T22" fmla="*/ 27 w 48"/>
                  <a:gd name="T23" fmla="*/ 16 h 104"/>
                  <a:gd name="T24" fmla="*/ 11 w 48"/>
                  <a:gd name="T25" fmla="*/ 21 h 104"/>
                  <a:gd name="T26" fmla="*/ 0 w 48"/>
                  <a:gd name="T27" fmla="*/ 3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04">
                    <a:moveTo>
                      <a:pt x="0" y="36"/>
                    </a:moveTo>
                    <a:lnTo>
                      <a:pt x="7" y="46"/>
                    </a:lnTo>
                    <a:lnTo>
                      <a:pt x="10" y="66"/>
                    </a:lnTo>
                    <a:lnTo>
                      <a:pt x="11" y="84"/>
                    </a:lnTo>
                    <a:lnTo>
                      <a:pt x="16" y="103"/>
                    </a:lnTo>
                    <a:lnTo>
                      <a:pt x="34" y="95"/>
                    </a:lnTo>
                    <a:lnTo>
                      <a:pt x="31" y="62"/>
                    </a:lnTo>
                    <a:lnTo>
                      <a:pt x="39" y="51"/>
                    </a:lnTo>
                    <a:lnTo>
                      <a:pt x="47" y="19"/>
                    </a:lnTo>
                    <a:lnTo>
                      <a:pt x="44" y="0"/>
                    </a:lnTo>
                    <a:lnTo>
                      <a:pt x="31" y="1"/>
                    </a:lnTo>
                    <a:lnTo>
                      <a:pt x="27" y="16"/>
                    </a:lnTo>
                    <a:lnTo>
                      <a:pt x="11" y="21"/>
                    </a:lnTo>
                    <a:lnTo>
                      <a:pt x="0" y="36"/>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14" name="Freeform 161">
                <a:extLst>
                  <a:ext uri="{FF2B5EF4-FFF2-40B4-BE49-F238E27FC236}">
                    <a16:creationId xmlns:a16="http://schemas.microsoft.com/office/drawing/2014/main" id="{93D3FAEA-4BF1-8B20-E082-84A870F3B120}"/>
                  </a:ext>
                </a:extLst>
              </p:cNvPr>
              <p:cNvSpPr>
                <a:spLocks/>
              </p:cNvSpPr>
              <p:nvPr/>
            </p:nvSpPr>
            <p:spPr bwMode="auto">
              <a:xfrm>
                <a:off x="4544123" y="3805114"/>
                <a:ext cx="78250" cy="83863"/>
              </a:xfrm>
              <a:custGeom>
                <a:avLst/>
                <a:gdLst>
                  <a:gd name="T0" fmla="*/ 48 w 49"/>
                  <a:gd name="T1" fmla="*/ 26 h 53"/>
                  <a:gd name="T2" fmla="*/ 44 w 49"/>
                  <a:gd name="T3" fmla="*/ 9 h 53"/>
                  <a:gd name="T4" fmla="*/ 27 w 49"/>
                  <a:gd name="T5" fmla="*/ 0 h 53"/>
                  <a:gd name="T6" fmla="*/ 15 w 49"/>
                  <a:gd name="T7" fmla="*/ 6 h 53"/>
                  <a:gd name="T8" fmla="*/ 0 w 49"/>
                  <a:gd name="T9" fmla="*/ 10 h 53"/>
                  <a:gd name="T10" fmla="*/ 3 w 49"/>
                  <a:gd name="T11" fmla="*/ 25 h 53"/>
                  <a:gd name="T12" fmla="*/ 14 w 49"/>
                  <a:gd name="T13" fmla="*/ 28 h 53"/>
                  <a:gd name="T14" fmla="*/ 16 w 49"/>
                  <a:gd name="T15" fmla="*/ 40 h 53"/>
                  <a:gd name="T16" fmla="*/ 29 w 49"/>
                  <a:gd name="T17" fmla="*/ 44 h 53"/>
                  <a:gd name="T18" fmla="*/ 33 w 49"/>
                  <a:gd name="T19" fmla="*/ 52 h 53"/>
                  <a:gd name="T20" fmla="*/ 48 w 49"/>
                  <a:gd name="T2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53">
                    <a:moveTo>
                      <a:pt x="48" y="26"/>
                    </a:moveTo>
                    <a:lnTo>
                      <a:pt x="44" y="9"/>
                    </a:lnTo>
                    <a:lnTo>
                      <a:pt x="27" y="0"/>
                    </a:lnTo>
                    <a:lnTo>
                      <a:pt x="15" y="6"/>
                    </a:lnTo>
                    <a:lnTo>
                      <a:pt x="0" y="10"/>
                    </a:lnTo>
                    <a:lnTo>
                      <a:pt x="3" y="25"/>
                    </a:lnTo>
                    <a:lnTo>
                      <a:pt x="14" y="28"/>
                    </a:lnTo>
                    <a:lnTo>
                      <a:pt x="16" y="40"/>
                    </a:lnTo>
                    <a:lnTo>
                      <a:pt x="29" y="44"/>
                    </a:lnTo>
                    <a:lnTo>
                      <a:pt x="33" y="52"/>
                    </a:lnTo>
                    <a:lnTo>
                      <a:pt x="48" y="26"/>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15" name="Freeform 162">
                <a:extLst>
                  <a:ext uri="{FF2B5EF4-FFF2-40B4-BE49-F238E27FC236}">
                    <a16:creationId xmlns:a16="http://schemas.microsoft.com/office/drawing/2014/main" id="{DD3584B9-5910-EA68-858D-924C604DA4EA}"/>
                  </a:ext>
                </a:extLst>
              </p:cNvPr>
              <p:cNvSpPr>
                <a:spLocks/>
              </p:cNvSpPr>
              <p:nvPr/>
            </p:nvSpPr>
            <p:spPr bwMode="auto">
              <a:xfrm>
                <a:off x="5974966" y="3380206"/>
                <a:ext cx="120168" cy="83863"/>
              </a:xfrm>
              <a:custGeom>
                <a:avLst/>
                <a:gdLst>
                  <a:gd name="T0" fmla="*/ 0 w 78"/>
                  <a:gd name="T1" fmla="*/ 16 h 54"/>
                  <a:gd name="T2" fmla="*/ 12 w 78"/>
                  <a:gd name="T3" fmla="*/ 50 h 54"/>
                  <a:gd name="T4" fmla="*/ 56 w 78"/>
                  <a:gd name="T5" fmla="*/ 53 h 54"/>
                  <a:gd name="T6" fmla="*/ 77 w 78"/>
                  <a:gd name="T7" fmla="*/ 19 h 54"/>
                  <a:gd name="T8" fmla="*/ 73 w 78"/>
                  <a:gd name="T9" fmla="*/ 0 h 54"/>
                  <a:gd name="T10" fmla="*/ 61 w 78"/>
                  <a:gd name="T11" fmla="*/ 15 h 54"/>
                  <a:gd name="T12" fmla="*/ 50 w 78"/>
                  <a:gd name="T13" fmla="*/ 27 h 54"/>
                  <a:gd name="T14" fmla="*/ 26 w 78"/>
                  <a:gd name="T15" fmla="*/ 31 h 54"/>
                  <a:gd name="T16" fmla="*/ 14 w 78"/>
                  <a:gd name="T17" fmla="*/ 27 h 54"/>
                  <a:gd name="T18" fmla="*/ 0 w 78"/>
                  <a:gd name="T19" fmla="*/ 1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54">
                    <a:moveTo>
                      <a:pt x="0" y="16"/>
                    </a:moveTo>
                    <a:lnTo>
                      <a:pt x="12" y="50"/>
                    </a:lnTo>
                    <a:lnTo>
                      <a:pt x="56" y="53"/>
                    </a:lnTo>
                    <a:lnTo>
                      <a:pt x="77" y="19"/>
                    </a:lnTo>
                    <a:lnTo>
                      <a:pt x="73" y="0"/>
                    </a:lnTo>
                    <a:lnTo>
                      <a:pt x="61" y="15"/>
                    </a:lnTo>
                    <a:lnTo>
                      <a:pt x="50" y="27"/>
                    </a:lnTo>
                    <a:lnTo>
                      <a:pt x="26" y="31"/>
                    </a:lnTo>
                    <a:lnTo>
                      <a:pt x="14" y="27"/>
                    </a:lnTo>
                    <a:lnTo>
                      <a:pt x="0" y="16"/>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16" name="Freeform 163">
                <a:extLst>
                  <a:ext uri="{FF2B5EF4-FFF2-40B4-BE49-F238E27FC236}">
                    <a16:creationId xmlns:a16="http://schemas.microsoft.com/office/drawing/2014/main" id="{98C108A4-2C3B-7F78-EA2F-EFECA7EA6423}"/>
                  </a:ext>
                </a:extLst>
              </p:cNvPr>
              <p:cNvSpPr>
                <a:spLocks/>
              </p:cNvSpPr>
              <p:nvPr/>
            </p:nvSpPr>
            <p:spPr bwMode="auto">
              <a:xfrm>
                <a:off x="5491497" y="4090251"/>
                <a:ext cx="43316" cy="43330"/>
              </a:xfrm>
              <a:custGeom>
                <a:avLst/>
                <a:gdLst>
                  <a:gd name="T0" fmla="*/ 13 w 28"/>
                  <a:gd name="T1" fmla="*/ 0 h 28"/>
                  <a:gd name="T2" fmla="*/ 3 w 28"/>
                  <a:gd name="T3" fmla="*/ 4 h 28"/>
                  <a:gd name="T4" fmla="*/ 6 w 28"/>
                  <a:gd name="T5" fmla="*/ 14 h 28"/>
                  <a:gd name="T6" fmla="*/ 0 w 28"/>
                  <a:gd name="T7" fmla="*/ 19 h 28"/>
                  <a:gd name="T8" fmla="*/ 1 w 28"/>
                  <a:gd name="T9" fmla="*/ 27 h 28"/>
                  <a:gd name="T10" fmla="*/ 10 w 28"/>
                  <a:gd name="T11" fmla="*/ 26 h 28"/>
                  <a:gd name="T12" fmla="*/ 22 w 28"/>
                  <a:gd name="T13" fmla="*/ 26 h 28"/>
                  <a:gd name="T14" fmla="*/ 27 w 28"/>
                  <a:gd name="T15" fmla="*/ 19 h 28"/>
                  <a:gd name="T16" fmla="*/ 24 w 28"/>
                  <a:gd name="T17" fmla="*/ 4 h 28"/>
                  <a:gd name="T18" fmla="*/ 13 w 28"/>
                  <a:gd name="T1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3" y="0"/>
                    </a:moveTo>
                    <a:lnTo>
                      <a:pt x="3" y="4"/>
                    </a:lnTo>
                    <a:lnTo>
                      <a:pt x="6" y="14"/>
                    </a:lnTo>
                    <a:lnTo>
                      <a:pt x="0" y="19"/>
                    </a:lnTo>
                    <a:lnTo>
                      <a:pt x="1" y="27"/>
                    </a:lnTo>
                    <a:lnTo>
                      <a:pt x="10" y="26"/>
                    </a:lnTo>
                    <a:lnTo>
                      <a:pt x="22" y="26"/>
                    </a:lnTo>
                    <a:lnTo>
                      <a:pt x="27" y="19"/>
                    </a:lnTo>
                    <a:lnTo>
                      <a:pt x="24" y="4"/>
                    </a:lnTo>
                    <a:lnTo>
                      <a:pt x="13" y="0"/>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17" name="Freeform 164">
                <a:extLst>
                  <a:ext uri="{FF2B5EF4-FFF2-40B4-BE49-F238E27FC236}">
                    <a16:creationId xmlns:a16="http://schemas.microsoft.com/office/drawing/2014/main" id="{D406E7C8-B60A-4282-2B56-F16854187404}"/>
                  </a:ext>
                </a:extLst>
              </p:cNvPr>
              <p:cNvSpPr>
                <a:spLocks/>
              </p:cNvSpPr>
              <p:nvPr/>
            </p:nvSpPr>
            <p:spPr bwMode="auto">
              <a:xfrm>
                <a:off x="5502676" y="4119602"/>
                <a:ext cx="37726" cy="46125"/>
              </a:xfrm>
              <a:custGeom>
                <a:avLst/>
                <a:gdLst>
                  <a:gd name="T0" fmla="*/ 13 w 25"/>
                  <a:gd name="T1" fmla="*/ 26 h 29"/>
                  <a:gd name="T2" fmla="*/ 24 w 25"/>
                  <a:gd name="T3" fmla="*/ 25 h 29"/>
                  <a:gd name="T4" fmla="*/ 23 w 25"/>
                  <a:gd name="T5" fmla="*/ 7 h 29"/>
                  <a:gd name="T6" fmla="*/ 19 w 25"/>
                  <a:gd name="T7" fmla="*/ 0 h 29"/>
                  <a:gd name="T8" fmla="*/ 14 w 25"/>
                  <a:gd name="T9" fmla="*/ 7 h 29"/>
                  <a:gd name="T10" fmla="*/ 2 w 25"/>
                  <a:gd name="T11" fmla="*/ 7 h 29"/>
                  <a:gd name="T12" fmla="*/ 0 w 25"/>
                  <a:gd name="T13" fmla="*/ 23 h 29"/>
                  <a:gd name="T14" fmla="*/ 6 w 25"/>
                  <a:gd name="T15" fmla="*/ 28 h 29"/>
                  <a:gd name="T16" fmla="*/ 13 w 25"/>
                  <a:gd name="T17" fmla="*/ 2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29">
                    <a:moveTo>
                      <a:pt x="13" y="26"/>
                    </a:moveTo>
                    <a:lnTo>
                      <a:pt x="24" y="25"/>
                    </a:lnTo>
                    <a:lnTo>
                      <a:pt x="23" y="7"/>
                    </a:lnTo>
                    <a:lnTo>
                      <a:pt x="19" y="0"/>
                    </a:lnTo>
                    <a:lnTo>
                      <a:pt x="14" y="7"/>
                    </a:lnTo>
                    <a:lnTo>
                      <a:pt x="2" y="7"/>
                    </a:lnTo>
                    <a:lnTo>
                      <a:pt x="0" y="23"/>
                    </a:lnTo>
                    <a:lnTo>
                      <a:pt x="6" y="28"/>
                    </a:lnTo>
                    <a:lnTo>
                      <a:pt x="13" y="26"/>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18" name="Freeform 167">
                <a:extLst>
                  <a:ext uri="{FF2B5EF4-FFF2-40B4-BE49-F238E27FC236}">
                    <a16:creationId xmlns:a16="http://schemas.microsoft.com/office/drawing/2014/main" id="{0A25387E-49E9-E0F2-E454-2E86ED0C3B69}"/>
                  </a:ext>
                </a:extLst>
              </p:cNvPr>
              <p:cNvSpPr>
                <a:spLocks/>
              </p:cNvSpPr>
              <p:nvPr/>
            </p:nvSpPr>
            <p:spPr bwMode="auto">
              <a:xfrm>
                <a:off x="5035975" y="4002194"/>
                <a:ext cx="145320" cy="170523"/>
              </a:xfrm>
              <a:custGeom>
                <a:avLst/>
                <a:gdLst>
                  <a:gd name="T0" fmla="*/ 68 w 93"/>
                  <a:gd name="T1" fmla="*/ 0 h 109"/>
                  <a:gd name="T2" fmla="*/ 45 w 93"/>
                  <a:gd name="T3" fmla="*/ 2 h 109"/>
                  <a:gd name="T4" fmla="*/ 37 w 93"/>
                  <a:gd name="T5" fmla="*/ 8 h 109"/>
                  <a:gd name="T6" fmla="*/ 37 w 93"/>
                  <a:gd name="T7" fmla="*/ 16 h 109"/>
                  <a:gd name="T8" fmla="*/ 33 w 93"/>
                  <a:gd name="T9" fmla="*/ 27 h 109"/>
                  <a:gd name="T10" fmla="*/ 18 w 93"/>
                  <a:gd name="T11" fmla="*/ 28 h 109"/>
                  <a:gd name="T12" fmla="*/ 14 w 93"/>
                  <a:gd name="T13" fmla="*/ 23 h 109"/>
                  <a:gd name="T14" fmla="*/ 14 w 93"/>
                  <a:gd name="T15" fmla="*/ 42 h 109"/>
                  <a:gd name="T16" fmla="*/ 2 w 93"/>
                  <a:gd name="T17" fmla="*/ 48 h 109"/>
                  <a:gd name="T18" fmla="*/ 0 w 93"/>
                  <a:gd name="T19" fmla="*/ 52 h 109"/>
                  <a:gd name="T20" fmla="*/ 7 w 93"/>
                  <a:gd name="T21" fmla="*/ 56 h 109"/>
                  <a:gd name="T22" fmla="*/ 6 w 93"/>
                  <a:gd name="T23" fmla="*/ 69 h 109"/>
                  <a:gd name="T24" fmla="*/ 24 w 93"/>
                  <a:gd name="T25" fmla="*/ 85 h 109"/>
                  <a:gd name="T26" fmla="*/ 38 w 93"/>
                  <a:gd name="T27" fmla="*/ 102 h 109"/>
                  <a:gd name="T28" fmla="*/ 43 w 93"/>
                  <a:gd name="T29" fmla="*/ 108 h 109"/>
                  <a:gd name="T30" fmla="*/ 49 w 93"/>
                  <a:gd name="T31" fmla="*/ 100 h 109"/>
                  <a:gd name="T32" fmla="*/ 54 w 93"/>
                  <a:gd name="T33" fmla="*/ 89 h 109"/>
                  <a:gd name="T34" fmla="*/ 47 w 93"/>
                  <a:gd name="T35" fmla="*/ 84 h 109"/>
                  <a:gd name="T36" fmla="*/ 45 w 93"/>
                  <a:gd name="T37" fmla="*/ 76 h 109"/>
                  <a:gd name="T38" fmla="*/ 55 w 93"/>
                  <a:gd name="T39" fmla="*/ 71 h 109"/>
                  <a:gd name="T40" fmla="*/ 63 w 93"/>
                  <a:gd name="T41" fmla="*/ 69 h 109"/>
                  <a:gd name="T42" fmla="*/ 71 w 93"/>
                  <a:gd name="T43" fmla="*/ 79 h 109"/>
                  <a:gd name="T44" fmla="*/ 83 w 93"/>
                  <a:gd name="T45" fmla="*/ 74 h 109"/>
                  <a:gd name="T46" fmla="*/ 92 w 93"/>
                  <a:gd name="T47" fmla="*/ 61 h 109"/>
                  <a:gd name="T48" fmla="*/ 89 w 93"/>
                  <a:gd name="T49" fmla="*/ 47 h 109"/>
                  <a:gd name="T50" fmla="*/ 83 w 93"/>
                  <a:gd name="T51" fmla="*/ 41 h 109"/>
                  <a:gd name="T52" fmla="*/ 78 w 93"/>
                  <a:gd name="T53" fmla="*/ 30 h 109"/>
                  <a:gd name="T54" fmla="*/ 82 w 93"/>
                  <a:gd name="T55" fmla="*/ 23 h 109"/>
                  <a:gd name="T56" fmla="*/ 78 w 93"/>
                  <a:gd name="T57" fmla="*/ 14 h 109"/>
                  <a:gd name="T58" fmla="*/ 68 w 93"/>
                  <a:gd name="T59" fmla="*/ 13 h 109"/>
                  <a:gd name="T60" fmla="*/ 68 w 93"/>
                  <a:gd name="T61"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109">
                    <a:moveTo>
                      <a:pt x="68" y="0"/>
                    </a:moveTo>
                    <a:lnTo>
                      <a:pt x="45" y="2"/>
                    </a:lnTo>
                    <a:lnTo>
                      <a:pt x="37" y="8"/>
                    </a:lnTo>
                    <a:lnTo>
                      <a:pt x="37" y="16"/>
                    </a:lnTo>
                    <a:lnTo>
                      <a:pt x="33" y="27"/>
                    </a:lnTo>
                    <a:lnTo>
                      <a:pt x="18" y="28"/>
                    </a:lnTo>
                    <a:lnTo>
                      <a:pt x="14" y="23"/>
                    </a:lnTo>
                    <a:lnTo>
                      <a:pt x="14" y="42"/>
                    </a:lnTo>
                    <a:lnTo>
                      <a:pt x="2" y="48"/>
                    </a:lnTo>
                    <a:lnTo>
                      <a:pt x="0" y="52"/>
                    </a:lnTo>
                    <a:lnTo>
                      <a:pt x="7" y="56"/>
                    </a:lnTo>
                    <a:lnTo>
                      <a:pt x="6" y="69"/>
                    </a:lnTo>
                    <a:lnTo>
                      <a:pt x="24" y="85"/>
                    </a:lnTo>
                    <a:lnTo>
                      <a:pt x="38" y="102"/>
                    </a:lnTo>
                    <a:lnTo>
                      <a:pt x="43" y="108"/>
                    </a:lnTo>
                    <a:lnTo>
                      <a:pt x="49" y="100"/>
                    </a:lnTo>
                    <a:lnTo>
                      <a:pt x="54" y="89"/>
                    </a:lnTo>
                    <a:lnTo>
                      <a:pt x="47" y="84"/>
                    </a:lnTo>
                    <a:lnTo>
                      <a:pt x="45" y="76"/>
                    </a:lnTo>
                    <a:lnTo>
                      <a:pt x="55" y="71"/>
                    </a:lnTo>
                    <a:lnTo>
                      <a:pt x="63" y="69"/>
                    </a:lnTo>
                    <a:lnTo>
                      <a:pt x="71" y="79"/>
                    </a:lnTo>
                    <a:lnTo>
                      <a:pt x="83" y="74"/>
                    </a:lnTo>
                    <a:lnTo>
                      <a:pt x="92" y="61"/>
                    </a:lnTo>
                    <a:lnTo>
                      <a:pt x="89" y="47"/>
                    </a:lnTo>
                    <a:lnTo>
                      <a:pt x="83" y="41"/>
                    </a:lnTo>
                    <a:lnTo>
                      <a:pt x="78" y="30"/>
                    </a:lnTo>
                    <a:lnTo>
                      <a:pt x="82" y="23"/>
                    </a:lnTo>
                    <a:lnTo>
                      <a:pt x="78" y="14"/>
                    </a:lnTo>
                    <a:lnTo>
                      <a:pt x="68" y="13"/>
                    </a:lnTo>
                    <a:lnTo>
                      <a:pt x="68" y="0"/>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19" name="Freeform 168">
                <a:extLst>
                  <a:ext uri="{FF2B5EF4-FFF2-40B4-BE49-F238E27FC236}">
                    <a16:creationId xmlns:a16="http://schemas.microsoft.com/office/drawing/2014/main" id="{31E947A8-FA78-2013-49A0-2B876660437A}"/>
                  </a:ext>
                </a:extLst>
              </p:cNvPr>
              <p:cNvSpPr>
                <a:spLocks/>
              </p:cNvSpPr>
              <p:nvPr/>
            </p:nvSpPr>
            <p:spPr bwMode="auto">
              <a:xfrm>
                <a:off x="4484039" y="3315911"/>
                <a:ext cx="180253" cy="199874"/>
              </a:xfrm>
              <a:custGeom>
                <a:avLst/>
                <a:gdLst>
                  <a:gd name="T0" fmla="*/ 112 w 115"/>
                  <a:gd name="T1" fmla="*/ 7 h 127"/>
                  <a:gd name="T2" fmla="*/ 114 w 115"/>
                  <a:gd name="T3" fmla="*/ 0 h 127"/>
                  <a:gd name="T4" fmla="*/ 104 w 115"/>
                  <a:gd name="T5" fmla="*/ 0 h 127"/>
                  <a:gd name="T6" fmla="*/ 67 w 115"/>
                  <a:gd name="T7" fmla="*/ 0 h 127"/>
                  <a:gd name="T8" fmla="*/ 61 w 115"/>
                  <a:gd name="T9" fmla="*/ 9 h 127"/>
                  <a:gd name="T10" fmla="*/ 44 w 115"/>
                  <a:gd name="T11" fmla="*/ 6 h 127"/>
                  <a:gd name="T12" fmla="*/ 41 w 115"/>
                  <a:gd name="T13" fmla="*/ 25 h 127"/>
                  <a:gd name="T14" fmla="*/ 35 w 115"/>
                  <a:gd name="T15" fmla="*/ 35 h 127"/>
                  <a:gd name="T16" fmla="*/ 23 w 115"/>
                  <a:gd name="T17" fmla="*/ 40 h 127"/>
                  <a:gd name="T18" fmla="*/ 16 w 115"/>
                  <a:gd name="T19" fmla="*/ 46 h 127"/>
                  <a:gd name="T20" fmla="*/ 18 w 115"/>
                  <a:gd name="T21" fmla="*/ 68 h 127"/>
                  <a:gd name="T22" fmla="*/ 8 w 115"/>
                  <a:gd name="T23" fmla="*/ 70 h 127"/>
                  <a:gd name="T24" fmla="*/ 12 w 115"/>
                  <a:gd name="T25" fmla="*/ 81 h 127"/>
                  <a:gd name="T26" fmla="*/ 5 w 115"/>
                  <a:gd name="T27" fmla="*/ 86 h 127"/>
                  <a:gd name="T28" fmla="*/ 0 w 115"/>
                  <a:gd name="T29" fmla="*/ 100 h 127"/>
                  <a:gd name="T30" fmla="*/ 1 w 115"/>
                  <a:gd name="T31" fmla="*/ 121 h 127"/>
                  <a:gd name="T32" fmla="*/ 7 w 115"/>
                  <a:gd name="T33" fmla="*/ 123 h 127"/>
                  <a:gd name="T34" fmla="*/ 27 w 115"/>
                  <a:gd name="T35" fmla="*/ 126 h 127"/>
                  <a:gd name="T36" fmla="*/ 41 w 115"/>
                  <a:gd name="T37" fmla="*/ 126 h 127"/>
                  <a:gd name="T38" fmla="*/ 41 w 115"/>
                  <a:gd name="T39" fmla="*/ 105 h 127"/>
                  <a:gd name="T40" fmla="*/ 45 w 115"/>
                  <a:gd name="T41" fmla="*/ 92 h 127"/>
                  <a:gd name="T42" fmla="*/ 53 w 115"/>
                  <a:gd name="T43" fmla="*/ 84 h 127"/>
                  <a:gd name="T44" fmla="*/ 67 w 115"/>
                  <a:gd name="T45" fmla="*/ 88 h 127"/>
                  <a:gd name="T46" fmla="*/ 67 w 115"/>
                  <a:gd name="T47" fmla="*/ 39 h 127"/>
                  <a:gd name="T48" fmla="*/ 100 w 115"/>
                  <a:gd name="T49" fmla="*/ 36 h 127"/>
                  <a:gd name="T50" fmla="*/ 107 w 115"/>
                  <a:gd name="T51" fmla="*/ 27 h 127"/>
                  <a:gd name="T52" fmla="*/ 112 w 115"/>
                  <a:gd name="T53" fmla="*/ 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5" h="127">
                    <a:moveTo>
                      <a:pt x="112" y="7"/>
                    </a:moveTo>
                    <a:lnTo>
                      <a:pt x="114" y="0"/>
                    </a:lnTo>
                    <a:lnTo>
                      <a:pt x="104" y="0"/>
                    </a:lnTo>
                    <a:lnTo>
                      <a:pt x="67" y="0"/>
                    </a:lnTo>
                    <a:lnTo>
                      <a:pt x="61" y="9"/>
                    </a:lnTo>
                    <a:lnTo>
                      <a:pt x="44" y="6"/>
                    </a:lnTo>
                    <a:lnTo>
                      <a:pt x="41" y="25"/>
                    </a:lnTo>
                    <a:lnTo>
                      <a:pt x="35" y="35"/>
                    </a:lnTo>
                    <a:lnTo>
                      <a:pt x="23" y="40"/>
                    </a:lnTo>
                    <a:lnTo>
                      <a:pt x="16" y="46"/>
                    </a:lnTo>
                    <a:lnTo>
                      <a:pt x="18" y="68"/>
                    </a:lnTo>
                    <a:lnTo>
                      <a:pt x="8" y="70"/>
                    </a:lnTo>
                    <a:lnTo>
                      <a:pt x="12" y="81"/>
                    </a:lnTo>
                    <a:lnTo>
                      <a:pt x="5" y="86"/>
                    </a:lnTo>
                    <a:lnTo>
                      <a:pt x="0" y="100"/>
                    </a:lnTo>
                    <a:lnTo>
                      <a:pt x="1" y="121"/>
                    </a:lnTo>
                    <a:lnTo>
                      <a:pt x="7" y="123"/>
                    </a:lnTo>
                    <a:lnTo>
                      <a:pt x="27" y="126"/>
                    </a:lnTo>
                    <a:lnTo>
                      <a:pt x="41" y="126"/>
                    </a:lnTo>
                    <a:lnTo>
                      <a:pt x="41" y="105"/>
                    </a:lnTo>
                    <a:lnTo>
                      <a:pt x="45" y="92"/>
                    </a:lnTo>
                    <a:lnTo>
                      <a:pt x="53" y="84"/>
                    </a:lnTo>
                    <a:lnTo>
                      <a:pt x="67" y="88"/>
                    </a:lnTo>
                    <a:lnTo>
                      <a:pt x="67" y="39"/>
                    </a:lnTo>
                    <a:lnTo>
                      <a:pt x="100" y="36"/>
                    </a:lnTo>
                    <a:lnTo>
                      <a:pt x="107" y="27"/>
                    </a:lnTo>
                    <a:lnTo>
                      <a:pt x="112" y="7"/>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20" name="Freeform 169">
                <a:extLst>
                  <a:ext uri="{FF2B5EF4-FFF2-40B4-BE49-F238E27FC236}">
                    <a16:creationId xmlns:a16="http://schemas.microsoft.com/office/drawing/2014/main" id="{776BC0D4-876F-764C-C80D-4755B8F201C2}"/>
                  </a:ext>
                </a:extLst>
              </p:cNvPr>
              <p:cNvSpPr>
                <a:spLocks/>
              </p:cNvSpPr>
              <p:nvPr/>
            </p:nvSpPr>
            <p:spPr bwMode="auto">
              <a:xfrm>
                <a:off x="4447709" y="3629001"/>
                <a:ext cx="155101" cy="131387"/>
              </a:xfrm>
              <a:custGeom>
                <a:avLst/>
                <a:gdLst>
                  <a:gd name="T0" fmla="*/ 17 w 99"/>
                  <a:gd name="T1" fmla="*/ 66 h 84"/>
                  <a:gd name="T2" fmla="*/ 18 w 99"/>
                  <a:gd name="T3" fmla="*/ 77 h 84"/>
                  <a:gd name="T4" fmla="*/ 31 w 99"/>
                  <a:gd name="T5" fmla="*/ 77 h 84"/>
                  <a:gd name="T6" fmla="*/ 36 w 99"/>
                  <a:gd name="T7" fmla="*/ 83 h 84"/>
                  <a:gd name="T8" fmla="*/ 43 w 99"/>
                  <a:gd name="T9" fmla="*/ 74 h 84"/>
                  <a:gd name="T10" fmla="*/ 61 w 99"/>
                  <a:gd name="T11" fmla="*/ 68 h 84"/>
                  <a:gd name="T12" fmla="*/ 81 w 99"/>
                  <a:gd name="T13" fmla="*/ 71 h 84"/>
                  <a:gd name="T14" fmla="*/ 98 w 99"/>
                  <a:gd name="T15" fmla="*/ 71 h 84"/>
                  <a:gd name="T16" fmla="*/ 90 w 99"/>
                  <a:gd name="T17" fmla="*/ 54 h 84"/>
                  <a:gd name="T18" fmla="*/ 82 w 99"/>
                  <a:gd name="T19" fmla="*/ 48 h 84"/>
                  <a:gd name="T20" fmla="*/ 79 w 99"/>
                  <a:gd name="T21" fmla="*/ 36 h 84"/>
                  <a:gd name="T22" fmla="*/ 68 w 99"/>
                  <a:gd name="T23" fmla="*/ 28 h 84"/>
                  <a:gd name="T24" fmla="*/ 57 w 99"/>
                  <a:gd name="T25" fmla="*/ 13 h 84"/>
                  <a:gd name="T26" fmla="*/ 47 w 99"/>
                  <a:gd name="T27" fmla="*/ 8 h 84"/>
                  <a:gd name="T28" fmla="*/ 41 w 99"/>
                  <a:gd name="T29" fmla="*/ 0 h 84"/>
                  <a:gd name="T30" fmla="*/ 28 w 99"/>
                  <a:gd name="T31" fmla="*/ 3 h 84"/>
                  <a:gd name="T32" fmla="*/ 10 w 99"/>
                  <a:gd name="T33" fmla="*/ 24 h 84"/>
                  <a:gd name="T34" fmla="*/ 0 w 99"/>
                  <a:gd name="T35" fmla="*/ 28 h 84"/>
                  <a:gd name="T36" fmla="*/ 11 w 99"/>
                  <a:gd name="T37" fmla="*/ 32 h 84"/>
                  <a:gd name="T38" fmla="*/ 21 w 99"/>
                  <a:gd name="T39" fmla="*/ 44 h 84"/>
                  <a:gd name="T40" fmla="*/ 28 w 99"/>
                  <a:gd name="T41" fmla="*/ 50 h 84"/>
                  <a:gd name="T42" fmla="*/ 19 w 99"/>
                  <a:gd name="T43" fmla="*/ 56 h 84"/>
                  <a:gd name="T44" fmla="*/ 17 w 99"/>
                  <a:gd name="T45" fmla="*/ 6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9" h="84">
                    <a:moveTo>
                      <a:pt x="17" y="66"/>
                    </a:moveTo>
                    <a:lnTo>
                      <a:pt x="18" y="77"/>
                    </a:lnTo>
                    <a:lnTo>
                      <a:pt x="31" y="77"/>
                    </a:lnTo>
                    <a:lnTo>
                      <a:pt x="36" y="83"/>
                    </a:lnTo>
                    <a:lnTo>
                      <a:pt x="43" y="74"/>
                    </a:lnTo>
                    <a:lnTo>
                      <a:pt x="61" y="68"/>
                    </a:lnTo>
                    <a:lnTo>
                      <a:pt x="81" y="71"/>
                    </a:lnTo>
                    <a:lnTo>
                      <a:pt x="98" y="71"/>
                    </a:lnTo>
                    <a:lnTo>
                      <a:pt x="90" y="54"/>
                    </a:lnTo>
                    <a:lnTo>
                      <a:pt x="82" y="48"/>
                    </a:lnTo>
                    <a:lnTo>
                      <a:pt x="79" y="36"/>
                    </a:lnTo>
                    <a:lnTo>
                      <a:pt x="68" y="28"/>
                    </a:lnTo>
                    <a:lnTo>
                      <a:pt x="57" y="13"/>
                    </a:lnTo>
                    <a:lnTo>
                      <a:pt x="47" y="8"/>
                    </a:lnTo>
                    <a:lnTo>
                      <a:pt x="41" y="0"/>
                    </a:lnTo>
                    <a:lnTo>
                      <a:pt x="28" y="3"/>
                    </a:lnTo>
                    <a:lnTo>
                      <a:pt x="10" y="24"/>
                    </a:lnTo>
                    <a:lnTo>
                      <a:pt x="0" y="28"/>
                    </a:lnTo>
                    <a:lnTo>
                      <a:pt x="11" y="32"/>
                    </a:lnTo>
                    <a:lnTo>
                      <a:pt x="21" y="44"/>
                    </a:lnTo>
                    <a:lnTo>
                      <a:pt x="28" y="50"/>
                    </a:lnTo>
                    <a:lnTo>
                      <a:pt x="19" y="56"/>
                    </a:lnTo>
                    <a:lnTo>
                      <a:pt x="17" y="66"/>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21" name="Freeform 170">
                <a:extLst>
                  <a:ext uri="{FF2B5EF4-FFF2-40B4-BE49-F238E27FC236}">
                    <a16:creationId xmlns:a16="http://schemas.microsoft.com/office/drawing/2014/main" id="{C6E159E4-8FAE-9A2C-B1A2-8AA1DCB8E7CA}"/>
                  </a:ext>
                </a:extLst>
              </p:cNvPr>
              <p:cNvSpPr>
                <a:spLocks/>
              </p:cNvSpPr>
              <p:nvPr/>
            </p:nvSpPr>
            <p:spPr bwMode="auto">
              <a:xfrm>
                <a:off x="5012221" y="3062922"/>
                <a:ext cx="85236" cy="167727"/>
              </a:xfrm>
              <a:custGeom>
                <a:avLst/>
                <a:gdLst>
                  <a:gd name="T0" fmla="*/ 29 w 55"/>
                  <a:gd name="T1" fmla="*/ 106 h 107"/>
                  <a:gd name="T2" fmla="*/ 22 w 55"/>
                  <a:gd name="T3" fmla="*/ 105 h 107"/>
                  <a:gd name="T4" fmla="*/ 18 w 55"/>
                  <a:gd name="T5" fmla="*/ 89 h 107"/>
                  <a:gd name="T6" fmla="*/ 5 w 55"/>
                  <a:gd name="T7" fmla="*/ 85 h 107"/>
                  <a:gd name="T8" fmla="*/ 0 w 55"/>
                  <a:gd name="T9" fmla="*/ 68 h 107"/>
                  <a:gd name="T10" fmla="*/ 3 w 55"/>
                  <a:gd name="T11" fmla="*/ 53 h 107"/>
                  <a:gd name="T12" fmla="*/ 17 w 55"/>
                  <a:gd name="T13" fmla="*/ 48 h 107"/>
                  <a:gd name="T14" fmla="*/ 9 w 55"/>
                  <a:gd name="T15" fmla="*/ 37 h 107"/>
                  <a:gd name="T16" fmla="*/ 11 w 55"/>
                  <a:gd name="T17" fmla="*/ 25 h 107"/>
                  <a:gd name="T18" fmla="*/ 18 w 55"/>
                  <a:gd name="T19" fmla="*/ 25 h 107"/>
                  <a:gd name="T20" fmla="*/ 15 w 55"/>
                  <a:gd name="T21" fmla="*/ 7 h 107"/>
                  <a:gd name="T22" fmla="*/ 25 w 55"/>
                  <a:gd name="T23" fmla="*/ 1 h 107"/>
                  <a:gd name="T24" fmla="*/ 32 w 55"/>
                  <a:gd name="T25" fmla="*/ 0 h 107"/>
                  <a:gd name="T26" fmla="*/ 39 w 55"/>
                  <a:gd name="T27" fmla="*/ 5 h 107"/>
                  <a:gd name="T28" fmla="*/ 51 w 55"/>
                  <a:gd name="T29" fmla="*/ 9 h 107"/>
                  <a:gd name="T30" fmla="*/ 47 w 55"/>
                  <a:gd name="T31" fmla="*/ 21 h 107"/>
                  <a:gd name="T32" fmla="*/ 52 w 55"/>
                  <a:gd name="T33" fmla="*/ 30 h 107"/>
                  <a:gd name="T34" fmla="*/ 51 w 55"/>
                  <a:gd name="T35" fmla="*/ 47 h 107"/>
                  <a:gd name="T36" fmla="*/ 40 w 55"/>
                  <a:gd name="T37" fmla="*/ 50 h 107"/>
                  <a:gd name="T38" fmla="*/ 40 w 55"/>
                  <a:gd name="T39" fmla="*/ 64 h 107"/>
                  <a:gd name="T40" fmla="*/ 47 w 55"/>
                  <a:gd name="T41" fmla="*/ 67 h 107"/>
                  <a:gd name="T42" fmla="*/ 54 w 55"/>
                  <a:gd name="T43" fmla="*/ 75 h 107"/>
                  <a:gd name="T44" fmla="*/ 51 w 55"/>
                  <a:gd name="T45" fmla="*/ 97 h 107"/>
                  <a:gd name="T46" fmla="*/ 43 w 55"/>
                  <a:gd name="T47" fmla="*/ 99 h 107"/>
                  <a:gd name="T48" fmla="*/ 29 w 55"/>
                  <a:gd name="T49" fmla="*/ 10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 h="107">
                    <a:moveTo>
                      <a:pt x="29" y="106"/>
                    </a:moveTo>
                    <a:lnTo>
                      <a:pt x="22" y="105"/>
                    </a:lnTo>
                    <a:lnTo>
                      <a:pt x="18" y="89"/>
                    </a:lnTo>
                    <a:lnTo>
                      <a:pt x="5" y="85"/>
                    </a:lnTo>
                    <a:lnTo>
                      <a:pt x="0" y="68"/>
                    </a:lnTo>
                    <a:lnTo>
                      <a:pt x="3" y="53"/>
                    </a:lnTo>
                    <a:lnTo>
                      <a:pt x="17" y="48"/>
                    </a:lnTo>
                    <a:lnTo>
                      <a:pt x="9" y="37"/>
                    </a:lnTo>
                    <a:lnTo>
                      <a:pt x="11" y="25"/>
                    </a:lnTo>
                    <a:lnTo>
                      <a:pt x="18" y="25"/>
                    </a:lnTo>
                    <a:lnTo>
                      <a:pt x="15" y="7"/>
                    </a:lnTo>
                    <a:lnTo>
                      <a:pt x="25" y="1"/>
                    </a:lnTo>
                    <a:lnTo>
                      <a:pt x="32" y="0"/>
                    </a:lnTo>
                    <a:lnTo>
                      <a:pt x="39" y="5"/>
                    </a:lnTo>
                    <a:lnTo>
                      <a:pt x="51" y="9"/>
                    </a:lnTo>
                    <a:lnTo>
                      <a:pt x="47" y="21"/>
                    </a:lnTo>
                    <a:lnTo>
                      <a:pt x="52" y="30"/>
                    </a:lnTo>
                    <a:lnTo>
                      <a:pt x="51" y="47"/>
                    </a:lnTo>
                    <a:lnTo>
                      <a:pt x="40" y="50"/>
                    </a:lnTo>
                    <a:lnTo>
                      <a:pt x="40" y="64"/>
                    </a:lnTo>
                    <a:lnTo>
                      <a:pt x="47" y="67"/>
                    </a:lnTo>
                    <a:lnTo>
                      <a:pt x="54" y="75"/>
                    </a:lnTo>
                    <a:lnTo>
                      <a:pt x="51" y="97"/>
                    </a:lnTo>
                    <a:lnTo>
                      <a:pt x="43" y="99"/>
                    </a:lnTo>
                    <a:lnTo>
                      <a:pt x="29" y="106"/>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22" name="Freeform 171">
                <a:extLst>
                  <a:ext uri="{FF2B5EF4-FFF2-40B4-BE49-F238E27FC236}">
                    <a16:creationId xmlns:a16="http://schemas.microsoft.com/office/drawing/2014/main" id="{A4CD2A1A-BA85-EEED-6F03-BA0D31D179A0}"/>
                  </a:ext>
                </a:extLst>
              </p:cNvPr>
              <p:cNvSpPr>
                <a:spLocks/>
              </p:cNvSpPr>
              <p:nvPr/>
            </p:nvSpPr>
            <p:spPr bwMode="auto">
              <a:xfrm>
                <a:off x="6616330" y="3264194"/>
                <a:ext cx="192828" cy="102034"/>
              </a:xfrm>
              <a:custGeom>
                <a:avLst/>
                <a:gdLst>
                  <a:gd name="T0" fmla="*/ 0 w 122"/>
                  <a:gd name="T1" fmla="*/ 0 h 65"/>
                  <a:gd name="T2" fmla="*/ 16 w 122"/>
                  <a:gd name="T3" fmla="*/ 0 h 65"/>
                  <a:gd name="T4" fmla="*/ 29 w 122"/>
                  <a:gd name="T5" fmla="*/ 12 h 65"/>
                  <a:gd name="T6" fmla="*/ 43 w 122"/>
                  <a:gd name="T7" fmla="*/ 20 h 65"/>
                  <a:gd name="T8" fmla="*/ 49 w 122"/>
                  <a:gd name="T9" fmla="*/ 10 h 65"/>
                  <a:gd name="T10" fmla="*/ 50 w 122"/>
                  <a:gd name="T11" fmla="*/ 26 h 65"/>
                  <a:gd name="T12" fmla="*/ 61 w 122"/>
                  <a:gd name="T13" fmla="*/ 33 h 65"/>
                  <a:gd name="T14" fmla="*/ 76 w 122"/>
                  <a:gd name="T15" fmla="*/ 41 h 65"/>
                  <a:gd name="T16" fmla="*/ 107 w 122"/>
                  <a:gd name="T17" fmla="*/ 42 h 65"/>
                  <a:gd name="T18" fmla="*/ 121 w 122"/>
                  <a:gd name="T19" fmla="*/ 48 h 65"/>
                  <a:gd name="T20" fmla="*/ 113 w 122"/>
                  <a:gd name="T21" fmla="*/ 63 h 65"/>
                  <a:gd name="T22" fmla="*/ 100 w 122"/>
                  <a:gd name="T23" fmla="*/ 63 h 65"/>
                  <a:gd name="T24" fmla="*/ 84 w 122"/>
                  <a:gd name="T25" fmla="*/ 64 h 65"/>
                  <a:gd name="T26" fmla="*/ 72 w 122"/>
                  <a:gd name="T27" fmla="*/ 56 h 65"/>
                  <a:gd name="T28" fmla="*/ 54 w 122"/>
                  <a:gd name="T29" fmla="*/ 53 h 65"/>
                  <a:gd name="T30" fmla="*/ 32 w 122"/>
                  <a:gd name="T31" fmla="*/ 44 h 65"/>
                  <a:gd name="T32" fmla="*/ 14 w 122"/>
                  <a:gd name="T33" fmla="*/ 39 h 65"/>
                  <a:gd name="T34" fmla="*/ 3 w 122"/>
                  <a:gd name="T35" fmla="*/ 25 h 65"/>
                  <a:gd name="T36" fmla="*/ 0 w 122"/>
                  <a:gd name="T37"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65">
                    <a:moveTo>
                      <a:pt x="0" y="0"/>
                    </a:moveTo>
                    <a:lnTo>
                      <a:pt x="16" y="0"/>
                    </a:lnTo>
                    <a:lnTo>
                      <a:pt x="29" y="12"/>
                    </a:lnTo>
                    <a:lnTo>
                      <a:pt x="43" y="20"/>
                    </a:lnTo>
                    <a:lnTo>
                      <a:pt x="49" y="10"/>
                    </a:lnTo>
                    <a:lnTo>
                      <a:pt x="50" y="26"/>
                    </a:lnTo>
                    <a:lnTo>
                      <a:pt x="61" y="33"/>
                    </a:lnTo>
                    <a:lnTo>
                      <a:pt x="76" y="41"/>
                    </a:lnTo>
                    <a:lnTo>
                      <a:pt x="107" y="42"/>
                    </a:lnTo>
                    <a:lnTo>
                      <a:pt x="121" y="48"/>
                    </a:lnTo>
                    <a:lnTo>
                      <a:pt x="113" y="63"/>
                    </a:lnTo>
                    <a:lnTo>
                      <a:pt x="100" y="63"/>
                    </a:lnTo>
                    <a:lnTo>
                      <a:pt x="84" y="64"/>
                    </a:lnTo>
                    <a:lnTo>
                      <a:pt x="72" y="56"/>
                    </a:lnTo>
                    <a:lnTo>
                      <a:pt x="54" y="53"/>
                    </a:lnTo>
                    <a:lnTo>
                      <a:pt x="32" y="44"/>
                    </a:lnTo>
                    <a:lnTo>
                      <a:pt x="14" y="39"/>
                    </a:lnTo>
                    <a:lnTo>
                      <a:pt x="3" y="25"/>
                    </a:lnTo>
                    <a:lnTo>
                      <a:pt x="0" y="0"/>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23" name="Freeform 172">
                <a:extLst>
                  <a:ext uri="{FF2B5EF4-FFF2-40B4-BE49-F238E27FC236}">
                    <a16:creationId xmlns:a16="http://schemas.microsoft.com/office/drawing/2014/main" id="{76FB694F-FFDF-B362-4803-1044C3BDBF01}"/>
                  </a:ext>
                </a:extLst>
              </p:cNvPr>
              <p:cNvSpPr>
                <a:spLocks/>
              </p:cNvSpPr>
              <p:nvPr/>
            </p:nvSpPr>
            <p:spPr bwMode="auto">
              <a:xfrm>
                <a:off x="7032727" y="3504604"/>
                <a:ext cx="180253" cy="310295"/>
              </a:xfrm>
              <a:custGeom>
                <a:avLst/>
                <a:gdLst>
                  <a:gd name="T0" fmla="*/ 14 w 115"/>
                  <a:gd name="T1" fmla="*/ 178 h 199"/>
                  <a:gd name="T2" fmla="*/ 21 w 115"/>
                  <a:gd name="T3" fmla="*/ 167 h 199"/>
                  <a:gd name="T4" fmla="*/ 30 w 115"/>
                  <a:gd name="T5" fmla="*/ 146 h 199"/>
                  <a:gd name="T6" fmla="*/ 18 w 115"/>
                  <a:gd name="T7" fmla="*/ 135 h 199"/>
                  <a:gd name="T8" fmla="*/ 13 w 115"/>
                  <a:gd name="T9" fmla="*/ 116 h 199"/>
                  <a:gd name="T10" fmla="*/ 11 w 115"/>
                  <a:gd name="T11" fmla="*/ 105 h 199"/>
                  <a:gd name="T12" fmla="*/ 15 w 115"/>
                  <a:gd name="T13" fmla="*/ 79 h 199"/>
                  <a:gd name="T14" fmla="*/ 3 w 115"/>
                  <a:gd name="T15" fmla="*/ 65 h 199"/>
                  <a:gd name="T16" fmla="*/ 0 w 115"/>
                  <a:gd name="T17" fmla="*/ 54 h 199"/>
                  <a:gd name="T18" fmla="*/ 2 w 115"/>
                  <a:gd name="T19" fmla="*/ 27 h 199"/>
                  <a:gd name="T20" fmla="*/ 16 w 115"/>
                  <a:gd name="T21" fmla="*/ 21 h 199"/>
                  <a:gd name="T22" fmla="*/ 25 w 115"/>
                  <a:gd name="T23" fmla="*/ 14 h 199"/>
                  <a:gd name="T24" fmla="*/ 32 w 115"/>
                  <a:gd name="T25" fmla="*/ 0 h 199"/>
                  <a:gd name="T26" fmla="*/ 34 w 115"/>
                  <a:gd name="T27" fmla="*/ 13 h 199"/>
                  <a:gd name="T28" fmla="*/ 38 w 115"/>
                  <a:gd name="T29" fmla="*/ 27 h 199"/>
                  <a:gd name="T30" fmla="*/ 45 w 115"/>
                  <a:gd name="T31" fmla="*/ 34 h 199"/>
                  <a:gd name="T32" fmla="*/ 56 w 115"/>
                  <a:gd name="T33" fmla="*/ 38 h 199"/>
                  <a:gd name="T34" fmla="*/ 70 w 115"/>
                  <a:gd name="T35" fmla="*/ 58 h 199"/>
                  <a:gd name="T36" fmla="*/ 82 w 115"/>
                  <a:gd name="T37" fmla="*/ 48 h 199"/>
                  <a:gd name="T38" fmla="*/ 93 w 115"/>
                  <a:gd name="T39" fmla="*/ 60 h 199"/>
                  <a:gd name="T40" fmla="*/ 101 w 115"/>
                  <a:gd name="T41" fmla="*/ 80 h 199"/>
                  <a:gd name="T42" fmla="*/ 106 w 115"/>
                  <a:gd name="T43" fmla="*/ 91 h 199"/>
                  <a:gd name="T44" fmla="*/ 114 w 115"/>
                  <a:gd name="T45" fmla="*/ 93 h 199"/>
                  <a:gd name="T46" fmla="*/ 114 w 115"/>
                  <a:gd name="T47" fmla="*/ 116 h 199"/>
                  <a:gd name="T48" fmla="*/ 99 w 115"/>
                  <a:gd name="T49" fmla="*/ 119 h 199"/>
                  <a:gd name="T50" fmla="*/ 85 w 115"/>
                  <a:gd name="T51" fmla="*/ 110 h 199"/>
                  <a:gd name="T52" fmla="*/ 70 w 115"/>
                  <a:gd name="T53" fmla="*/ 124 h 199"/>
                  <a:gd name="T54" fmla="*/ 64 w 115"/>
                  <a:gd name="T55" fmla="*/ 141 h 199"/>
                  <a:gd name="T56" fmla="*/ 50 w 115"/>
                  <a:gd name="T57" fmla="*/ 139 h 199"/>
                  <a:gd name="T58" fmla="*/ 40 w 115"/>
                  <a:gd name="T59" fmla="*/ 170 h 199"/>
                  <a:gd name="T60" fmla="*/ 49 w 115"/>
                  <a:gd name="T61" fmla="*/ 185 h 199"/>
                  <a:gd name="T62" fmla="*/ 36 w 115"/>
                  <a:gd name="T63" fmla="*/ 198 h 199"/>
                  <a:gd name="T64" fmla="*/ 25 w 115"/>
                  <a:gd name="T65" fmla="*/ 190 h 199"/>
                  <a:gd name="T66" fmla="*/ 14 w 115"/>
                  <a:gd name="T67" fmla="*/ 178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5" h="199">
                    <a:moveTo>
                      <a:pt x="14" y="178"/>
                    </a:moveTo>
                    <a:lnTo>
                      <a:pt x="21" y="167"/>
                    </a:lnTo>
                    <a:lnTo>
                      <a:pt x="30" y="146"/>
                    </a:lnTo>
                    <a:lnTo>
                      <a:pt x="18" y="135"/>
                    </a:lnTo>
                    <a:lnTo>
                      <a:pt x="13" y="116"/>
                    </a:lnTo>
                    <a:lnTo>
                      <a:pt x="11" y="105"/>
                    </a:lnTo>
                    <a:lnTo>
                      <a:pt x="15" y="79"/>
                    </a:lnTo>
                    <a:lnTo>
                      <a:pt x="3" y="65"/>
                    </a:lnTo>
                    <a:lnTo>
                      <a:pt x="0" y="54"/>
                    </a:lnTo>
                    <a:lnTo>
                      <a:pt x="2" y="27"/>
                    </a:lnTo>
                    <a:lnTo>
                      <a:pt x="16" y="21"/>
                    </a:lnTo>
                    <a:lnTo>
                      <a:pt x="25" y="14"/>
                    </a:lnTo>
                    <a:lnTo>
                      <a:pt x="32" y="0"/>
                    </a:lnTo>
                    <a:lnTo>
                      <a:pt x="34" y="13"/>
                    </a:lnTo>
                    <a:lnTo>
                      <a:pt x="38" y="27"/>
                    </a:lnTo>
                    <a:lnTo>
                      <a:pt x="45" y="34"/>
                    </a:lnTo>
                    <a:lnTo>
                      <a:pt x="56" y="38"/>
                    </a:lnTo>
                    <a:lnTo>
                      <a:pt x="70" y="58"/>
                    </a:lnTo>
                    <a:lnTo>
                      <a:pt x="82" y="48"/>
                    </a:lnTo>
                    <a:lnTo>
                      <a:pt x="93" y="60"/>
                    </a:lnTo>
                    <a:lnTo>
                      <a:pt x="101" y="80"/>
                    </a:lnTo>
                    <a:lnTo>
                      <a:pt x="106" y="91"/>
                    </a:lnTo>
                    <a:lnTo>
                      <a:pt x="114" y="93"/>
                    </a:lnTo>
                    <a:lnTo>
                      <a:pt x="114" y="116"/>
                    </a:lnTo>
                    <a:lnTo>
                      <a:pt x="99" y="119"/>
                    </a:lnTo>
                    <a:lnTo>
                      <a:pt x="85" y="110"/>
                    </a:lnTo>
                    <a:lnTo>
                      <a:pt x="70" y="124"/>
                    </a:lnTo>
                    <a:lnTo>
                      <a:pt x="64" y="141"/>
                    </a:lnTo>
                    <a:lnTo>
                      <a:pt x="50" y="139"/>
                    </a:lnTo>
                    <a:lnTo>
                      <a:pt x="40" y="170"/>
                    </a:lnTo>
                    <a:lnTo>
                      <a:pt x="49" y="185"/>
                    </a:lnTo>
                    <a:lnTo>
                      <a:pt x="36" y="198"/>
                    </a:lnTo>
                    <a:lnTo>
                      <a:pt x="25" y="190"/>
                    </a:lnTo>
                    <a:lnTo>
                      <a:pt x="14" y="178"/>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24" name="Freeform 173">
                <a:extLst>
                  <a:ext uri="{FF2B5EF4-FFF2-40B4-BE49-F238E27FC236}">
                    <a16:creationId xmlns:a16="http://schemas.microsoft.com/office/drawing/2014/main" id="{28D9BECE-8274-EDEF-CCD2-3C7883B0BCDA}"/>
                  </a:ext>
                </a:extLst>
              </p:cNvPr>
              <p:cNvSpPr>
                <a:spLocks/>
              </p:cNvSpPr>
              <p:nvPr/>
            </p:nvSpPr>
            <p:spPr bwMode="auto">
              <a:xfrm>
                <a:off x="5854797" y="1711323"/>
                <a:ext cx="303216" cy="258579"/>
              </a:xfrm>
              <a:custGeom>
                <a:avLst/>
                <a:gdLst>
                  <a:gd name="T0" fmla="*/ 47 w 193"/>
                  <a:gd name="T1" fmla="*/ 94 h 166"/>
                  <a:gd name="T2" fmla="*/ 58 w 193"/>
                  <a:gd name="T3" fmla="*/ 84 h 166"/>
                  <a:gd name="T4" fmla="*/ 63 w 193"/>
                  <a:gd name="T5" fmla="*/ 77 h 166"/>
                  <a:gd name="T6" fmla="*/ 80 w 193"/>
                  <a:gd name="T7" fmla="*/ 64 h 166"/>
                  <a:gd name="T8" fmla="*/ 100 w 193"/>
                  <a:gd name="T9" fmla="*/ 53 h 166"/>
                  <a:gd name="T10" fmla="*/ 122 w 193"/>
                  <a:gd name="T11" fmla="*/ 37 h 166"/>
                  <a:gd name="T12" fmla="*/ 135 w 193"/>
                  <a:gd name="T13" fmla="*/ 32 h 166"/>
                  <a:gd name="T14" fmla="*/ 162 w 193"/>
                  <a:gd name="T15" fmla="*/ 23 h 166"/>
                  <a:gd name="T16" fmla="*/ 183 w 193"/>
                  <a:gd name="T17" fmla="*/ 16 h 166"/>
                  <a:gd name="T18" fmla="*/ 192 w 193"/>
                  <a:gd name="T19" fmla="*/ 11 h 166"/>
                  <a:gd name="T20" fmla="*/ 185 w 193"/>
                  <a:gd name="T21" fmla="*/ 2 h 166"/>
                  <a:gd name="T22" fmla="*/ 161 w 193"/>
                  <a:gd name="T23" fmla="*/ 0 h 166"/>
                  <a:gd name="T24" fmla="*/ 145 w 193"/>
                  <a:gd name="T25" fmla="*/ 13 h 166"/>
                  <a:gd name="T26" fmla="*/ 122 w 193"/>
                  <a:gd name="T27" fmla="*/ 19 h 166"/>
                  <a:gd name="T28" fmla="*/ 94 w 193"/>
                  <a:gd name="T29" fmla="*/ 20 h 166"/>
                  <a:gd name="T30" fmla="*/ 80 w 193"/>
                  <a:gd name="T31" fmla="*/ 32 h 166"/>
                  <a:gd name="T32" fmla="*/ 64 w 193"/>
                  <a:gd name="T33" fmla="*/ 32 h 166"/>
                  <a:gd name="T34" fmla="*/ 57 w 193"/>
                  <a:gd name="T35" fmla="*/ 44 h 166"/>
                  <a:gd name="T36" fmla="*/ 32 w 193"/>
                  <a:gd name="T37" fmla="*/ 49 h 166"/>
                  <a:gd name="T38" fmla="*/ 28 w 193"/>
                  <a:gd name="T39" fmla="*/ 67 h 166"/>
                  <a:gd name="T40" fmla="*/ 27 w 193"/>
                  <a:gd name="T41" fmla="*/ 77 h 166"/>
                  <a:gd name="T42" fmla="*/ 16 w 193"/>
                  <a:gd name="T43" fmla="*/ 76 h 166"/>
                  <a:gd name="T44" fmla="*/ 16 w 193"/>
                  <a:gd name="T45" fmla="*/ 79 h 166"/>
                  <a:gd name="T46" fmla="*/ 17 w 193"/>
                  <a:gd name="T47" fmla="*/ 84 h 166"/>
                  <a:gd name="T48" fmla="*/ 13 w 193"/>
                  <a:gd name="T49" fmla="*/ 92 h 166"/>
                  <a:gd name="T50" fmla="*/ 6 w 193"/>
                  <a:gd name="T51" fmla="*/ 97 h 166"/>
                  <a:gd name="T52" fmla="*/ 2 w 193"/>
                  <a:gd name="T53" fmla="*/ 113 h 166"/>
                  <a:gd name="T54" fmla="*/ 0 w 193"/>
                  <a:gd name="T55" fmla="*/ 132 h 166"/>
                  <a:gd name="T56" fmla="*/ 12 w 193"/>
                  <a:gd name="T57" fmla="*/ 139 h 166"/>
                  <a:gd name="T58" fmla="*/ 23 w 193"/>
                  <a:gd name="T59" fmla="*/ 162 h 166"/>
                  <a:gd name="T60" fmla="*/ 41 w 193"/>
                  <a:gd name="T61" fmla="*/ 165 h 166"/>
                  <a:gd name="T62" fmla="*/ 66 w 193"/>
                  <a:gd name="T63" fmla="*/ 162 h 166"/>
                  <a:gd name="T64" fmla="*/ 68 w 193"/>
                  <a:gd name="T65" fmla="*/ 152 h 166"/>
                  <a:gd name="T66" fmla="*/ 53 w 193"/>
                  <a:gd name="T67" fmla="*/ 144 h 166"/>
                  <a:gd name="T68" fmla="*/ 43 w 193"/>
                  <a:gd name="T69" fmla="*/ 134 h 166"/>
                  <a:gd name="T70" fmla="*/ 43 w 193"/>
                  <a:gd name="T71" fmla="*/ 114 h 166"/>
                  <a:gd name="T72" fmla="*/ 47 w 193"/>
                  <a:gd name="T73" fmla="*/ 98 h 166"/>
                  <a:gd name="T74" fmla="*/ 47 w 193"/>
                  <a:gd name="T75" fmla="*/ 94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3" h="166">
                    <a:moveTo>
                      <a:pt x="47" y="94"/>
                    </a:moveTo>
                    <a:lnTo>
                      <a:pt x="58" y="84"/>
                    </a:lnTo>
                    <a:lnTo>
                      <a:pt x="63" y="77"/>
                    </a:lnTo>
                    <a:lnTo>
                      <a:pt x="80" y="64"/>
                    </a:lnTo>
                    <a:lnTo>
                      <a:pt x="100" y="53"/>
                    </a:lnTo>
                    <a:lnTo>
                      <a:pt x="122" y="37"/>
                    </a:lnTo>
                    <a:lnTo>
                      <a:pt x="135" y="32"/>
                    </a:lnTo>
                    <a:lnTo>
                      <a:pt x="162" y="23"/>
                    </a:lnTo>
                    <a:lnTo>
                      <a:pt x="183" y="16"/>
                    </a:lnTo>
                    <a:lnTo>
                      <a:pt x="192" y="11"/>
                    </a:lnTo>
                    <a:lnTo>
                      <a:pt x="185" y="2"/>
                    </a:lnTo>
                    <a:lnTo>
                      <a:pt x="161" y="0"/>
                    </a:lnTo>
                    <a:lnTo>
                      <a:pt x="145" y="13"/>
                    </a:lnTo>
                    <a:lnTo>
                      <a:pt x="122" y="19"/>
                    </a:lnTo>
                    <a:lnTo>
                      <a:pt x="94" y="20"/>
                    </a:lnTo>
                    <a:lnTo>
                      <a:pt x="80" y="32"/>
                    </a:lnTo>
                    <a:lnTo>
                      <a:pt x="64" y="32"/>
                    </a:lnTo>
                    <a:lnTo>
                      <a:pt x="57" y="44"/>
                    </a:lnTo>
                    <a:lnTo>
                      <a:pt x="32" y="49"/>
                    </a:lnTo>
                    <a:lnTo>
                      <a:pt x="28" y="67"/>
                    </a:lnTo>
                    <a:lnTo>
                      <a:pt x="27" y="77"/>
                    </a:lnTo>
                    <a:lnTo>
                      <a:pt x="16" y="76"/>
                    </a:lnTo>
                    <a:lnTo>
                      <a:pt x="16" y="79"/>
                    </a:lnTo>
                    <a:lnTo>
                      <a:pt x="17" y="84"/>
                    </a:lnTo>
                    <a:lnTo>
                      <a:pt x="13" y="92"/>
                    </a:lnTo>
                    <a:lnTo>
                      <a:pt x="6" y="97"/>
                    </a:lnTo>
                    <a:lnTo>
                      <a:pt x="2" y="113"/>
                    </a:lnTo>
                    <a:lnTo>
                      <a:pt x="0" y="132"/>
                    </a:lnTo>
                    <a:lnTo>
                      <a:pt x="12" y="139"/>
                    </a:lnTo>
                    <a:lnTo>
                      <a:pt x="23" y="162"/>
                    </a:lnTo>
                    <a:lnTo>
                      <a:pt x="41" y="165"/>
                    </a:lnTo>
                    <a:lnTo>
                      <a:pt x="66" y="162"/>
                    </a:lnTo>
                    <a:lnTo>
                      <a:pt x="68" y="152"/>
                    </a:lnTo>
                    <a:lnTo>
                      <a:pt x="53" y="144"/>
                    </a:lnTo>
                    <a:lnTo>
                      <a:pt x="43" y="134"/>
                    </a:lnTo>
                    <a:lnTo>
                      <a:pt x="43" y="114"/>
                    </a:lnTo>
                    <a:lnTo>
                      <a:pt x="47" y="98"/>
                    </a:lnTo>
                    <a:lnTo>
                      <a:pt x="47" y="94"/>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25" name="Freeform 174">
                <a:extLst>
                  <a:ext uri="{FF2B5EF4-FFF2-40B4-BE49-F238E27FC236}">
                    <a16:creationId xmlns:a16="http://schemas.microsoft.com/office/drawing/2014/main" id="{65C397FD-6B58-2A26-FB64-238DDE875060}"/>
                  </a:ext>
                </a:extLst>
              </p:cNvPr>
              <p:cNvSpPr>
                <a:spLocks/>
              </p:cNvSpPr>
              <p:nvPr/>
            </p:nvSpPr>
            <p:spPr bwMode="auto">
              <a:xfrm>
                <a:off x="6538081" y="1505856"/>
                <a:ext cx="106195" cy="81069"/>
              </a:xfrm>
              <a:custGeom>
                <a:avLst/>
                <a:gdLst>
                  <a:gd name="T0" fmla="*/ 33 w 67"/>
                  <a:gd name="T1" fmla="*/ 7 h 52"/>
                  <a:gd name="T2" fmla="*/ 22 w 67"/>
                  <a:gd name="T3" fmla="*/ 17 h 52"/>
                  <a:gd name="T4" fmla="*/ 11 w 67"/>
                  <a:gd name="T5" fmla="*/ 19 h 52"/>
                  <a:gd name="T6" fmla="*/ 0 w 67"/>
                  <a:gd name="T7" fmla="*/ 26 h 52"/>
                  <a:gd name="T8" fmla="*/ 8 w 67"/>
                  <a:gd name="T9" fmla="*/ 40 h 52"/>
                  <a:gd name="T10" fmla="*/ 25 w 67"/>
                  <a:gd name="T11" fmla="*/ 51 h 52"/>
                  <a:gd name="T12" fmla="*/ 48 w 67"/>
                  <a:gd name="T13" fmla="*/ 41 h 52"/>
                  <a:gd name="T14" fmla="*/ 66 w 67"/>
                  <a:gd name="T15" fmla="*/ 32 h 52"/>
                  <a:gd name="T16" fmla="*/ 62 w 67"/>
                  <a:gd name="T17" fmla="*/ 11 h 52"/>
                  <a:gd name="T18" fmla="*/ 43 w 67"/>
                  <a:gd name="T19" fmla="*/ 0 h 52"/>
                  <a:gd name="T20" fmla="*/ 33 w 67"/>
                  <a:gd name="T21" fmla="*/ 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52">
                    <a:moveTo>
                      <a:pt x="33" y="7"/>
                    </a:moveTo>
                    <a:lnTo>
                      <a:pt x="22" y="17"/>
                    </a:lnTo>
                    <a:lnTo>
                      <a:pt x="11" y="19"/>
                    </a:lnTo>
                    <a:lnTo>
                      <a:pt x="0" y="26"/>
                    </a:lnTo>
                    <a:lnTo>
                      <a:pt x="8" y="40"/>
                    </a:lnTo>
                    <a:lnTo>
                      <a:pt x="25" y="51"/>
                    </a:lnTo>
                    <a:lnTo>
                      <a:pt x="48" y="41"/>
                    </a:lnTo>
                    <a:lnTo>
                      <a:pt x="66" y="32"/>
                    </a:lnTo>
                    <a:lnTo>
                      <a:pt x="62" y="11"/>
                    </a:lnTo>
                    <a:lnTo>
                      <a:pt x="43" y="0"/>
                    </a:lnTo>
                    <a:lnTo>
                      <a:pt x="33" y="7"/>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26" name="Freeform 175">
                <a:extLst>
                  <a:ext uri="{FF2B5EF4-FFF2-40B4-BE49-F238E27FC236}">
                    <a16:creationId xmlns:a16="http://schemas.microsoft.com/office/drawing/2014/main" id="{E365F8F2-3E61-FE11-3352-1953411495F1}"/>
                  </a:ext>
                </a:extLst>
              </p:cNvPr>
              <p:cNvSpPr>
                <a:spLocks/>
              </p:cNvSpPr>
              <p:nvPr/>
            </p:nvSpPr>
            <p:spPr bwMode="auto">
              <a:xfrm>
                <a:off x="6609343" y="1564560"/>
                <a:ext cx="102004" cy="68489"/>
              </a:xfrm>
              <a:custGeom>
                <a:avLst/>
                <a:gdLst>
                  <a:gd name="T0" fmla="*/ 17 w 64"/>
                  <a:gd name="T1" fmla="*/ 15 h 44"/>
                  <a:gd name="T2" fmla="*/ 24 w 64"/>
                  <a:gd name="T3" fmla="*/ 3 h 44"/>
                  <a:gd name="T4" fmla="*/ 36 w 64"/>
                  <a:gd name="T5" fmla="*/ 0 h 44"/>
                  <a:gd name="T6" fmla="*/ 46 w 64"/>
                  <a:gd name="T7" fmla="*/ 3 h 44"/>
                  <a:gd name="T8" fmla="*/ 56 w 64"/>
                  <a:gd name="T9" fmla="*/ 17 h 44"/>
                  <a:gd name="T10" fmla="*/ 56 w 64"/>
                  <a:gd name="T11" fmla="*/ 28 h 44"/>
                  <a:gd name="T12" fmla="*/ 63 w 64"/>
                  <a:gd name="T13" fmla="*/ 26 h 44"/>
                  <a:gd name="T14" fmla="*/ 63 w 64"/>
                  <a:gd name="T15" fmla="*/ 37 h 44"/>
                  <a:gd name="T16" fmla="*/ 41 w 64"/>
                  <a:gd name="T17" fmla="*/ 43 h 44"/>
                  <a:gd name="T18" fmla="*/ 21 w 64"/>
                  <a:gd name="T19" fmla="*/ 34 h 44"/>
                  <a:gd name="T20" fmla="*/ 0 w 64"/>
                  <a:gd name="T21" fmla="*/ 26 h 44"/>
                  <a:gd name="T22" fmla="*/ 4 w 64"/>
                  <a:gd name="T23" fmla="*/ 16 h 44"/>
                  <a:gd name="T24" fmla="*/ 17 w 64"/>
                  <a:gd name="T25" fmla="*/ 1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44">
                    <a:moveTo>
                      <a:pt x="17" y="15"/>
                    </a:moveTo>
                    <a:lnTo>
                      <a:pt x="24" y="3"/>
                    </a:lnTo>
                    <a:lnTo>
                      <a:pt x="36" y="0"/>
                    </a:lnTo>
                    <a:lnTo>
                      <a:pt x="46" y="3"/>
                    </a:lnTo>
                    <a:lnTo>
                      <a:pt x="56" y="17"/>
                    </a:lnTo>
                    <a:lnTo>
                      <a:pt x="56" y="28"/>
                    </a:lnTo>
                    <a:lnTo>
                      <a:pt x="63" y="26"/>
                    </a:lnTo>
                    <a:lnTo>
                      <a:pt x="63" y="37"/>
                    </a:lnTo>
                    <a:lnTo>
                      <a:pt x="41" y="43"/>
                    </a:lnTo>
                    <a:lnTo>
                      <a:pt x="21" y="34"/>
                    </a:lnTo>
                    <a:lnTo>
                      <a:pt x="0" y="26"/>
                    </a:lnTo>
                    <a:lnTo>
                      <a:pt x="4" y="16"/>
                    </a:lnTo>
                    <a:lnTo>
                      <a:pt x="17" y="15"/>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27" name="Freeform 176">
                <a:extLst>
                  <a:ext uri="{FF2B5EF4-FFF2-40B4-BE49-F238E27FC236}">
                    <a16:creationId xmlns:a16="http://schemas.microsoft.com/office/drawing/2014/main" id="{483E7D95-6549-19D6-C68F-B28F5A2A026D}"/>
                  </a:ext>
                </a:extLst>
              </p:cNvPr>
              <p:cNvSpPr>
                <a:spLocks/>
              </p:cNvSpPr>
              <p:nvPr/>
            </p:nvSpPr>
            <p:spPr bwMode="auto">
              <a:xfrm>
                <a:off x="6722525" y="1592515"/>
                <a:ext cx="83838" cy="67091"/>
              </a:xfrm>
              <a:custGeom>
                <a:avLst/>
                <a:gdLst>
                  <a:gd name="T0" fmla="*/ 7 w 54"/>
                  <a:gd name="T1" fmla="*/ 19 h 43"/>
                  <a:gd name="T2" fmla="*/ 12 w 54"/>
                  <a:gd name="T3" fmla="*/ 8 h 43"/>
                  <a:gd name="T4" fmla="*/ 24 w 54"/>
                  <a:gd name="T5" fmla="*/ 0 h 43"/>
                  <a:gd name="T6" fmla="*/ 27 w 54"/>
                  <a:gd name="T7" fmla="*/ 8 h 43"/>
                  <a:gd name="T8" fmla="*/ 33 w 54"/>
                  <a:gd name="T9" fmla="*/ 11 h 43"/>
                  <a:gd name="T10" fmla="*/ 41 w 54"/>
                  <a:gd name="T11" fmla="*/ 11 h 43"/>
                  <a:gd name="T12" fmla="*/ 51 w 54"/>
                  <a:gd name="T13" fmla="*/ 15 h 43"/>
                  <a:gd name="T14" fmla="*/ 53 w 54"/>
                  <a:gd name="T15" fmla="*/ 27 h 43"/>
                  <a:gd name="T16" fmla="*/ 46 w 54"/>
                  <a:gd name="T17" fmla="*/ 39 h 43"/>
                  <a:gd name="T18" fmla="*/ 29 w 54"/>
                  <a:gd name="T19" fmla="*/ 42 h 43"/>
                  <a:gd name="T20" fmla="*/ 7 w 54"/>
                  <a:gd name="T21" fmla="*/ 39 h 43"/>
                  <a:gd name="T22" fmla="*/ 0 w 54"/>
                  <a:gd name="T23" fmla="*/ 33 h 43"/>
                  <a:gd name="T24" fmla="*/ 7 w 54"/>
                  <a:gd name="T25" fmla="*/ 1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43">
                    <a:moveTo>
                      <a:pt x="7" y="19"/>
                    </a:moveTo>
                    <a:lnTo>
                      <a:pt x="12" y="8"/>
                    </a:lnTo>
                    <a:lnTo>
                      <a:pt x="24" y="0"/>
                    </a:lnTo>
                    <a:lnTo>
                      <a:pt x="27" y="8"/>
                    </a:lnTo>
                    <a:lnTo>
                      <a:pt x="33" y="11"/>
                    </a:lnTo>
                    <a:lnTo>
                      <a:pt x="41" y="11"/>
                    </a:lnTo>
                    <a:lnTo>
                      <a:pt x="51" y="15"/>
                    </a:lnTo>
                    <a:lnTo>
                      <a:pt x="53" y="27"/>
                    </a:lnTo>
                    <a:lnTo>
                      <a:pt x="46" y="39"/>
                    </a:lnTo>
                    <a:lnTo>
                      <a:pt x="29" y="42"/>
                    </a:lnTo>
                    <a:lnTo>
                      <a:pt x="7" y="39"/>
                    </a:lnTo>
                    <a:lnTo>
                      <a:pt x="0" y="33"/>
                    </a:lnTo>
                    <a:lnTo>
                      <a:pt x="7" y="19"/>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28" name="Freeform 177">
                <a:extLst>
                  <a:ext uri="{FF2B5EF4-FFF2-40B4-BE49-F238E27FC236}">
                    <a16:creationId xmlns:a16="http://schemas.microsoft.com/office/drawing/2014/main" id="{859C2D99-6DE5-EC24-B2DE-9B1780B7E6A9}"/>
                  </a:ext>
                </a:extLst>
              </p:cNvPr>
              <p:cNvSpPr>
                <a:spLocks/>
              </p:cNvSpPr>
              <p:nvPr/>
            </p:nvSpPr>
            <p:spPr bwMode="auto">
              <a:xfrm>
                <a:off x="7460304" y="1735083"/>
                <a:ext cx="148115" cy="68489"/>
              </a:xfrm>
              <a:custGeom>
                <a:avLst/>
                <a:gdLst>
                  <a:gd name="T0" fmla="*/ 51 w 94"/>
                  <a:gd name="T1" fmla="*/ 4 h 44"/>
                  <a:gd name="T2" fmla="*/ 49 w 94"/>
                  <a:gd name="T3" fmla="*/ 15 h 44"/>
                  <a:gd name="T4" fmla="*/ 33 w 94"/>
                  <a:gd name="T5" fmla="*/ 15 h 44"/>
                  <a:gd name="T6" fmla="*/ 28 w 94"/>
                  <a:gd name="T7" fmla="*/ 8 h 44"/>
                  <a:gd name="T8" fmla="*/ 13 w 94"/>
                  <a:gd name="T9" fmla="*/ 0 h 44"/>
                  <a:gd name="T10" fmla="*/ 0 w 94"/>
                  <a:gd name="T11" fmla="*/ 8 h 44"/>
                  <a:gd name="T12" fmla="*/ 0 w 94"/>
                  <a:gd name="T13" fmla="*/ 26 h 44"/>
                  <a:gd name="T14" fmla="*/ 19 w 94"/>
                  <a:gd name="T15" fmla="*/ 40 h 44"/>
                  <a:gd name="T16" fmla="*/ 43 w 94"/>
                  <a:gd name="T17" fmla="*/ 43 h 44"/>
                  <a:gd name="T18" fmla="*/ 53 w 94"/>
                  <a:gd name="T19" fmla="*/ 34 h 44"/>
                  <a:gd name="T20" fmla="*/ 67 w 94"/>
                  <a:gd name="T21" fmla="*/ 40 h 44"/>
                  <a:gd name="T22" fmla="*/ 86 w 94"/>
                  <a:gd name="T23" fmla="*/ 39 h 44"/>
                  <a:gd name="T24" fmla="*/ 93 w 94"/>
                  <a:gd name="T25" fmla="*/ 29 h 44"/>
                  <a:gd name="T26" fmla="*/ 79 w 94"/>
                  <a:gd name="T27" fmla="*/ 23 h 44"/>
                  <a:gd name="T28" fmla="*/ 71 w 94"/>
                  <a:gd name="T29" fmla="*/ 8 h 44"/>
                  <a:gd name="T30" fmla="*/ 57 w 94"/>
                  <a:gd name="T31" fmla="*/ 1 h 44"/>
                  <a:gd name="T32" fmla="*/ 51 w 94"/>
                  <a:gd name="T33"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 h="44">
                    <a:moveTo>
                      <a:pt x="51" y="4"/>
                    </a:moveTo>
                    <a:lnTo>
                      <a:pt x="49" y="15"/>
                    </a:lnTo>
                    <a:lnTo>
                      <a:pt x="33" y="15"/>
                    </a:lnTo>
                    <a:lnTo>
                      <a:pt x="28" y="8"/>
                    </a:lnTo>
                    <a:lnTo>
                      <a:pt x="13" y="0"/>
                    </a:lnTo>
                    <a:lnTo>
                      <a:pt x="0" y="8"/>
                    </a:lnTo>
                    <a:lnTo>
                      <a:pt x="0" y="26"/>
                    </a:lnTo>
                    <a:lnTo>
                      <a:pt x="19" y="40"/>
                    </a:lnTo>
                    <a:lnTo>
                      <a:pt x="43" y="43"/>
                    </a:lnTo>
                    <a:lnTo>
                      <a:pt x="53" y="34"/>
                    </a:lnTo>
                    <a:lnTo>
                      <a:pt x="67" y="40"/>
                    </a:lnTo>
                    <a:lnTo>
                      <a:pt x="86" y="39"/>
                    </a:lnTo>
                    <a:lnTo>
                      <a:pt x="93" y="29"/>
                    </a:lnTo>
                    <a:lnTo>
                      <a:pt x="79" y="23"/>
                    </a:lnTo>
                    <a:lnTo>
                      <a:pt x="71" y="8"/>
                    </a:lnTo>
                    <a:lnTo>
                      <a:pt x="57" y="1"/>
                    </a:lnTo>
                    <a:lnTo>
                      <a:pt x="51" y="4"/>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29" name="Freeform 178">
                <a:extLst>
                  <a:ext uri="{FF2B5EF4-FFF2-40B4-BE49-F238E27FC236}">
                    <a16:creationId xmlns:a16="http://schemas.microsoft.com/office/drawing/2014/main" id="{AA3166FF-8FE2-A4C4-7B36-B8FB13A7EC4A}"/>
                  </a:ext>
                </a:extLst>
              </p:cNvPr>
              <p:cNvSpPr>
                <a:spLocks/>
              </p:cNvSpPr>
              <p:nvPr/>
            </p:nvSpPr>
            <p:spPr bwMode="auto">
              <a:xfrm>
                <a:off x="7643351" y="1757447"/>
                <a:ext cx="89428" cy="36341"/>
              </a:xfrm>
              <a:custGeom>
                <a:avLst/>
                <a:gdLst>
                  <a:gd name="T0" fmla="*/ 1 w 58"/>
                  <a:gd name="T1" fmla="*/ 0 h 23"/>
                  <a:gd name="T2" fmla="*/ 9 w 58"/>
                  <a:gd name="T3" fmla="*/ 6 h 23"/>
                  <a:gd name="T4" fmla="*/ 30 w 58"/>
                  <a:gd name="T5" fmla="*/ 6 h 23"/>
                  <a:gd name="T6" fmla="*/ 54 w 58"/>
                  <a:gd name="T7" fmla="*/ 6 h 23"/>
                  <a:gd name="T8" fmla="*/ 57 w 58"/>
                  <a:gd name="T9" fmla="*/ 19 h 23"/>
                  <a:gd name="T10" fmla="*/ 26 w 58"/>
                  <a:gd name="T11" fmla="*/ 22 h 23"/>
                  <a:gd name="T12" fmla="*/ 9 w 58"/>
                  <a:gd name="T13" fmla="*/ 17 h 23"/>
                  <a:gd name="T14" fmla="*/ 0 w 58"/>
                  <a:gd name="T15" fmla="*/ 7 h 23"/>
                  <a:gd name="T16" fmla="*/ 1 w 58"/>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23">
                    <a:moveTo>
                      <a:pt x="1" y="0"/>
                    </a:moveTo>
                    <a:lnTo>
                      <a:pt x="9" y="6"/>
                    </a:lnTo>
                    <a:lnTo>
                      <a:pt x="30" y="6"/>
                    </a:lnTo>
                    <a:lnTo>
                      <a:pt x="54" y="6"/>
                    </a:lnTo>
                    <a:lnTo>
                      <a:pt x="57" y="19"/>
                    </a:lnTo>
                    <a:lnTo>
                      <a:pt x="26" y="22"/>
                    </a:lnTo>
                    <a:lnTo>
                      <a:pt x="9" y="17"/>
                    </a:lnTo>
                    <a:lnTo>
                      <a:pt x="0" y="7"/>
                    </a:lnTo>
                    <a:lnTo>
                      <a:pt x="1" y="0"/>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30" name="Freeform 179">
                <a:extLst>
                  <a:ext uri="{FF2B5EF4-FFF2-40B4-BE49-F238E27FC236}">
                    <a16:creationId xmlns:a16="http://schemas.microsoft.com/office/drawing/2014/main" id="{11D77279-7F4E-1D95-DB10-99DE1D39D8DF}"/>
                  </a:ext>
                </a:extLst>
              </p:cNvPr>
              <p:cNvSpPr>
                <a:spLocks/>
              </p:cNvSpPr>
              <p:nvPr/>
            </p:nvSpPr>
            <p:spPr bwMode="auto">
              <a:xfrm>
                <a:off x="8358773" y="1916788"/>
                <a:ext cx="62878" cy="41932"/>
              </a:xfrm>
              <a:custGeom>
                <a:avLst/>
                <a:gdLst>
                  <a:gd name="T0" fmla="*/ 15 w 41"/>
                  <a:gd name="T1" fmla="*/ 2 h 27"/>
                  <a:gd name="T2" fmla="*/ 3 w 41"/>
                  <a:gd name="T3" fmla="*/ 13 h 27"/>
                  <a:gd name="T4" fmla="*/ 0 w 41"/>
                  <a:gd name="T5" fmla="*/ 26 h 27"/>
                  <a:gd name="T6" fmla="*/ 20 w 41"/>
                  <a:gd name="T7" fmla="*/ 24 h 27"/>
                  <a:gd name="T8" fmla="*/ 36 w 41"/>
                  <a:gd name="T9" fmla="*/ 23 h 27"/>
                  <a:gd name="T10" fmla="*/ 40 w 41"/>
                  <a:gd name="T11" fmla="*/ 8 h 27"/>
                  <a:gd name="T12" fmla="*/ 26 w 41"/>
                  <a:gd name="T13" fmla="*/ 0 h 27"/>
                  <a:gd name="T14" fmla="*/ 15 w 41"/>
                  <a:gd name="T15" fmla="*/ 2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27">
                    <a:moveTo>
                      <a:pt x="15" y="2"/>
                    </a:moveTo>
                    <a:lnTo>
                      <a:pt x="3" y="13"/>
                    </a:lnTo>
                    <a:lnTo>
                      <a:pt x="0" y="26"/>
                    </a:lnTo>
                    <a:lnTo>
                      <a:pt x="20" y="24"/>
                    </a:lnTo>
                    <a:lnTo>
                      <a:pt x="36" y="23"/>
                    </a:lnTo>
                    <a:lnTo>
                      <a:pt x="40" y="8"/>
                    </a:lnTo>
                    <a:lnTo>
                      <a:pt x="26" y="0"/>
                    </a:lnTo>
                    <a:lnTo>
                      <a:pt x="15" y="2"/>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31" name="Freeform 180">
                <a:extLst>
                  <a:ext uri="{FF2B5EF4-FFF2-40B4-BE49-F238E27FC236}">
                    <a16:creationId xmlns:a16="http://schemas.microsoft.com/office/drawing/2014/main" id="{7A044A37-66FA-DD69-2B3A-7E849BC57503}"/>
                  </a:ext>
                </a:extLst>
              </p:cNvPr>
              <p:cNvSpPr>
                <a:spLocks/>
              </p:cNvSpPr>
              <p:nvPr/>
            </p:nvSpPr>
            <p:spPr bwMode="auto">
              <a:xfrm>
                <a:off x="4570672" y="3383001"/>
                <a:ext cx="371683" cy="417920"/>
              </a:xfrm>
              <a:custGeom>
                <a:avLst/>
                <a:gdLst>
                  <a:gd name="T0" fmla="*/ 0 w 237"/>
                  <a:gd name="T1" fmla="*/ 191 h 266"/>
                  <a:gd name="T2" fmla="*/ 14 w 237"/>
                  <a:gd name="T3" fmla="*/ 173 h 266"/>
                  <a:gd name="T4" fmla="*/ 26 w 237"/>
                  <a:gd name="T5" fmla="*/ 179 h 266"/>
                  <a:gd name="T6" fmla="*/ 78 w 237"/>
                  <a:gd name="T7" fmla="*/ 182 h 266"/>
                  <a:gd name="T8" fmla="*/ 96 w 237"/>
                  <a:gd name="T9" fmla="*/ 180 h 266"/>
                  <a:gd name="T10" fmla="*/ 95 w 237"/>
                  <a:gd name="T11" fmla="*/ 162 h 266"/>
                  <a:gd name="T12" fmla="*/ 83 w 237"/>
                  <a:gd name="T13" fmla="*/ 158 h 266"/>
                  <a:gd name="T14" fmla="*/ 85 w 237"/>
                  <a:gd name="T15" fmla="*/ 47 h 266"/>
                  <a:gd name="T16" fmla="*/ 78 w 237"/>
                  <a:gd name="T17" fmla="*/ 38 h 266"/>
                  <a:gd name="T18" fmla="*/ 78 w 237"/>
                  <a:gd name="T19" fmla="*/ 16 h 266"/>
                  <a:gd name="T20" fmla="*/ 87 w 237"/>
                  <a:gd name="T21" fmla="*/ 14 h 266"/>
                  <a:gd name="T22" fmla="*/ 88 w 237"/>
                  <a:gd name="T23" fmla="*/ 0 h 266"/>
                  <a:gd name="T24" fmla="*/ 103 w 237"/>
                  <a:gd name="T25" fmla="*/ 9 h 266"/>
                  <a:gd name="T26" fmla="*/ 204 w 237"/>
                  <a:gd name="T27" fmla="*/ 89 h 266"/>
                  <a:gd name="T28" fmla="*/ 217 w 237"/>
                  <a:gd name="T29" fmla="*/ 96 h 266"/>
                  <a:gd name="T30" fmla="*/ 221 w 237"/>
                  <a:gd name="T31" fmla="*/ 119 h 266"/>
                  <a:gd name="T32" fmla="*/ 233 w 237"/>
                  <a:gd name="T33" fmla="*/ 117 h 266"/>
                  <a:gd name="T34" fmla="*/ 236 w 237"/>
                  <a:gd name="T35" fmla="*/ 164 h 266"/>
                  <a:gd name="T36" fmla="*/ 226 w 237"/>
                  <a:gd name="T37" fmla="*/ 166 h 266"/>
                  <a:gd name="T38" fmla="*/ 226 w 237"/>
                  <a:gd name="T39" fmla="*/ 174 h 266"/>
                  <a:gd name="T40" fmla="*/ 188 w 237"/>
                  <a:gd name="T41" fmla="*/ 179 h 266"/>
                  <a:gd name="T42" fmla="*/ 177 w 237"/>
                  <a:gd name="T43" fmla="*/ 187 h 266"/>
                  <a:gd name="T44" fmla="*/ 153 w 237"/>
                  <a:gd name="T45" fmla="*/ 186 h 266"/>
                  <a:gd name="T46" fmla="*/ 145 w 237"/>
                  <a:gd name="T47" fmla="*/ 196 h 266"/>
                  <a:gd name="T48" fmla="*/ 137 w 237"/>
                  <a:gd name="T49" fmla="*/ 203 h 266"/>
                  <a:gd name="T50" fmla="*/ 118 w 237"/>
                  <a:gd name="T51" fmla="*/ 209 h 266"/>
                  <a:gd name="T52" fmla="*/ 115 w 237"/>
                  <a:gd name="T53" fmla="*/ 217 h 266"/>
                  <a:gd name="T54" fmla="*/ 110 w 237"/>
                  <a:gd name="T55" fmla="*/ 228 h 266"/>
                  <a:gd name="T56" fmla="*/ 100 w 237"/>
                  <a:gd name="T57" fmla="*/ 242 h 266"/>
                  <a:gd name="T58" fmla="*/ 95 w 237"/>
                  <a:gd name="T59" fmla="*/ 262 h 266"/>
                  <a:gd name="T60" fmla="*/ 78 w 237"/>
                  <a:gd name="T61" fmla="*/ 264 h 266"/>
                  <a:gd name="T62" fmla="*/ 65 w 237"/>
                  <a:gd name="T63" fmla="*/ 265 h 266"/>
                  <a:gd name="T64" fmla="*/ 60 w 237"/>
                  <a:gd name="T65" fmla="*/ 246 h 266"/>
                  <a:gd name="T66" fmla="*/ 49 w 237"/>
                  <a:gd name="T67" fmla="*/ 235 h 266"/>
                  <a:gd name="T68" fmla="*/ 33 w 237"/>
                  <a:gd name="T69" fmla="*/ 231 h 266"/>
                  <a:gd name="T70" fmla="*/ 19 w 237"/>
                  <a:gd name="T71" fmla="*/ 227 h 266"/>
                  <a:gd name="T72" fmla="*/ 11 w 237"/>
                  <a:gd name="T73" fmla="*/ 210 h 266"/>
                  <a:gd name="T74" fmla="*/ 3 w 237"/>
                  <a:gd name="T75" fmla="*/ 204 h 266"/>
                  <a:gd name="T76" fmla="*/ 0 w 237"/>
                  <a:gd name="T77" fmla="*/ 191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7" h="266">
                    <a:moveTo>
                      <a:pt x="0" y="191"/>
                    </a:moveTo>
                    <a:lnTo>
                      <a:pt x="14" y="173"/>
                    </a:lnTo>
                    <a:lnTo>
                      <a:pt x="26" y="179"/>
                    </a:lnTo>
                    <a:lnTo>
                      <a:pt x="78" y="182"/>
                    </a:lnTo>
                    <a:lnTo>
                      <a:pt x="96" y="180"/>
                    </a:lnTo>
                    <a:lnTo>
                      <a:pt x="95" y="162"/>
                    </a:lnTo>
                    <a:lnTo>
                      <a:pt x="83" y="158"/>
                    </a:lnTo>
                    <a:lnTo>
                      <a:pt x="85" y="47"/>
                    </a:lnTo>
                    <a:lnTo>
                      <a:pt x="78" y="38"/>
                    </a:lnTo>
                    <a:lnTo>
                      <a:pt x="78" y="16"/>
                    </a:lnTo>
                    <a:lnTo>
                      <a:pt x="87" y="14"/>
                    </a:lnTo>
                    <a:lnTo>
                      <a:pt x="88" y="0"/>
                    </a:lnTo>
                    <a:lnTo>
                      <a:pt x="103" y="9"/>
                    </a:lnTo>
                    <a:lnTo>
                      <a:pt x="204" y="89"/>
                    </a:lnTo>
                    <a:lnTo>
                      <a:pt x="217" y="96"/>
                    </a:lnTo>
                    <a:lnTo>
                      <a:pt x="221" y="119"/>
                    </a:lnTo>
                    <a:lnTo>
                      <a:pt x="233" y="117"/>
                    </a:lnTo>
                    <a:lnTo>
                      <a:pt x="236" y="164"/>
                    </a:lnTo>
                    <a:lnTo>
                      <a:pt x="226" y="166"/>
                    </a:lnTo>
                    <a:lnTo>
                      <a:pt x="226" y="174"/>
                    </a:lnTo>
                    <a:lnTo>
                      <a:pt x="188" y="179"/>
                    </a:lnTo>
                    <a:lnTo>
                      <a:pt x="177" y="187"/>
                    </a:lnTo>
                    <a:lnTo>
                      <a:pt x="153" y="186"/>
                    </a:lnTo>
                    <a:lnTo>
                      <a:pt x="145" y="196"/>
                    </a:lnTo>
                    <a:lnTo>
                      <a:pt x="137" y="203"/>
                    </a:lnTo>
                    <a:lnTo>
                      <a:pt x="118" y="209"/>
                    </a:lnTo>
                    <a:lnTo>
                      <a:pt x="115" y="217"/>
                    </a:lnTo>
                    <a:lnTo>
                      <a:pt x="110" y="228"/>
                    </a:lnTo>
                    <a:lnTo>
                      <a:pt x="100" y="242"/>
                    </a:lnTo>
                    <a:lnTo>
                      <a:pt x="95" y="262"/>
                    </a:lnTo>
                    <a:lnTo>
                      <a:pt x="78" y="264"/>
                    </a:lnTo>
                    <a:lnTo>
                      <a:pt x="65" y="265"/>
                    </a:lnTo>
                    <a:lnTo>
                      <a:pt x="60" y="246"/>
                    </a:lnTo>
                    <a:lnTo>
                      <a:pt x="49" y="235"/>
                    </a:lnTo>
                    <a:lnTo>
                      <a:pt x="33" y="231"/>
                    </a:lnTo>
                    <a:lnTo>
                      <a:pt x="19" y="227"/>
                    </a:lnTo>
                    <a:lnTo>
                      <a:pt x="11" y="210"/>
                    </a:lnTo>
                    <a:lnTo>
                      <a:pt x="3" y="204"/>
                    </a:lnTo>
                    <a:lnTo>
                      <a:pt x="0" y="191"/>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32" name="Freeform 181">
                <a:extLst>
                  <a:ext uri="{FF2B5EF4-FFF2-40B4-BE49-F238E27FC236}">
                    <a16:creationId xmlns:a16="http://schemas.microsoft.com/office/drawing/2014/main" id="{1B3C0FD6-FC99-6638-3D67-8598073A6C2D}"/>
                  </a:ext>
                </a:extLst>
              </p:cNvPr>
              <p:cNvSpPr>
                <a:spLocks/>
              </p:cNvSpPr>
              <p:nvPr/>
            </p:nvSpPr>
            <p:spPr bwMode="auto">
              <a:xfrm>
                <a:off x="4899040" y="3703080"/>
                <a:ext cx="247324" cy="246000"/>
              </a:xfrm>
              <a:custGeom>
                <a:avLst/>
                <a:gdLst>
                  <a:gd name="T0" fmla="*/ 126 w 158"/>
                  <a:gd name="T1" fmla="*/ 101 h 156"/>
                  <a:gd name="T2" fmla="*/ 135 w 158"/>
                  <a:gd name="T3" fmla="*/ 84 h 156"/>
                  <a:gd name="T4" fmla="*/ 142 w 158"/>
                  <a:gd name="T5" fmla="*/ 57 h 156"/>
                  <a:gd name="T6" fmla="*/ 146 w 158"/>
                  <a:gd name="T7" fmla="*/ 49 h 156"/>
                  <a:gd name="T8" fmla="*/ 154 w 158"/>
                  <a:gd name="T9" fmla="*/ 44 h 156"/>
                  <a:gd name="T10" fmla="*/ 157 w 158"/>
                  <a:gd name="T11" fmla="*/ 24 h 156"/>
                  <a:gd name="T12" fmla="*/ 154 w 158"/>
                  <a:gd name="T13" fmla="*/ 0 h 156"/>
                  <a:gd name="T14" fmla="*/ 143 w 158"/>
                  <a:gd name="T15" fmla="*/ 6 h 156"/>
                  <a:gd name="T16" fmla="*/ 137 w 158"/>
                  <a:gd name="T17" fmla="*/ 13 h 156"/>
                  <a:gd name="T18" fmla="*/ 129 w 158"/>
                  <a:gd name="T19" fmla="*/ 6 h 156"/>
                  <a:gd name="T20" fmla="*/ 111 w 158"/>
                  <a:gd name="T21" fmla="*/ 6 h 156"/>
                  <a:gd name="T22" fmla="*/ 109 w 158"/>
                  <a:gd name="T23" fmla="*/ 13 h 156"/>
                  <a:gd name="T24" fmla="*/ 96 w 158"/>
                  <a:gd name="T25" fmla="*/ 13 h 156"/>
                  <a:gd name="T26" fmla="*/ 89 w 158"/>
                  <a:gd name="T27" fmla="*/ 4 h 156"/>
                  <a:gd name="T28" fmla="*/ 78 w 158"/>
                  <a:gd name="T29" fmla="*/ 6 h 156"/>
                  <a:gd name="T30" fmla="*/ 60 w 158"/>
                  <a:gd name="T31" fmla="*/ 7 h 156"/>
                  <a:gd name="T32" fmla="*/ 59 w 158"/>
                  <a:gd name="T33" fmla="*/ 13 h 156"/>
                  <a:gd name="T34" fmla="*/ 52 w 158"/>
                  <a:gd name="T35" fmla="*/ 3 h 156"/>
                  <a:gd name="T36" fmla="*/ 41 w 158"/>
                  <a:gd name="T37" fmla="*/ 2 h 156"/>
                  <a:gd name="T38" fmla="*/ 28 w 158"/>
                  <a:gd name="T39" fmla="*/ 6 h 156"/>
                  <a:gd name="T40" fmla="*/ 23 w 158"/>
                  <a:gd name="T41" fmla="*/ 16 h 156"/>
                  <a:gd name="T42" fmla="*/ 18 w 158"/>
                  <a:gd name="T43" fmla="*/ 23 h 156"/>
                  <a:gd name="T44" fmla="*/ 14 w 158"/>
                  <a:gd name="T45" fmla="*/ 23 h 156"/>
                  <a:gd name="T46" fmla="*/ 16 w 158"/>
                  <a:gd name="T47" fmla="*/ 42 h 156"/>
                  <a:gd name="T48" fmla="*/ 8 w 158"/>
                  <a:gd name="T49" fmla="*/ 74 h 156"/>
                  <a:gd name="T50" fmla="*/ 0 w 158"/>
                  <a:gd name="T51" fmla="*/ 85 h 156"/>
                  <a:gd name="T52" fmla="*/ 3 w 158"/>
                  <a:gd name="T53" fmla="*/ 117 h 156"/>
                  <a:gd name="T54" fmla="*/ 15 w 158"/>
                  <a:gd name="T55" fmla="*/ 119 h 156"/>
                  <a:gd name="T56" fmla="*/ 28 w 158"/>
                  <a:gd name="T57" fmla="*/ 117 h 156"/>
                  <a:gd name="T58" fmla="*/ 34 w 158"/>
                  <a:gd name="T59" fmla="*/ 124 h 156"/>
                  <a:gd name="T60" fmla="*/ 40 w 158"/>
                  <a:gd name="T61" fmla="*/ 132 h 156"/>
                  <a:gd name="T62" fmla="*/ 39 w 158"/>
                  <a:gd name="T63" fmla="*/ 147 h 156"/>
                  <a:gd name="T64" fmla="*/ 50 w 158"/>
                  <a:gd name="T65" fmla="*/ 154 h 156"/>
                  <a:gd name="T66" fmla="*/ 63 w 158"/>
                  <a:gd name="T67" fmla="*/ 155 h 156"/>
                  <a:gd name="T68" fmla="*/ 89 w 158"/>
                  <a:gd name="T69" fmla="*/ 133 h 156"/>
                  <a:gd name="T70" fmla="*/ 98 w 158"/>
                  <a:gd name="T71" fmla="*/ 122 h 156"/>
                  <a:gd name="T72" fmla="*/ 110 w 158"/>
                  <a:gd name="T73" fmla="*/ 111 h 156"/>
                  <a:gd name="T74" fmla="*/ 126 w 158"/>
                  <a:gd name="T75" fmla="*/ 101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8" h="156">
                    <a:moveTo>
                      <a:pt x="126" y="101"/>
                    </a:moveTo>
                    <a:lnTo>
                      <a:pt x="135" y="84"/>
                    </a:lnTo>
                    <a:lnTo>
                      <a:pt x="142" y="57"/>
                    </a:lnTo>
                    <a:lnTo>
                      <a:pt x="146" y="49"/>
                    </a:lnTo>
                    <a:lnTo>
                      <a:pt x="154" y="44"/>
                    </a:lnTo>
                    <a:lnTo>
                      <a:pt x="157" y="24"/>
                    </a:lnTo>
                    <a:lnTo>
                      <a:pt x="154" y="0"/>
                    </a:lnTo>
                    <a:lnTo>
                      <a:pt x="143" y="6"/>
                    </a:lnTo>
                    <a:lnTo>
                      <a:pt x="137" y="13"/>
                    </a:lnTo>
                    <a:lnTo>
                      <a:pt x="129" y="6"/>
                    </a:lnTo>
                    <a:lnTo>
                      <a:pt x="111" y="6"/>
                    </a:lnTo>
                    <a:lnTo>
                      <a:pt x="109" y="13"/>
                    </a:lnTo>
                    <a:lnTo>
                      <a:pt x="96" y="13"/>
                    </a:lnTo>
                    <a:lnTo>
                      <a:pt x="89" y="4"/>
                    </a:lnTo>
                    <a:lnTo>
                      <a:pt x="78" y="6"/>
                    </a:lnTo>
                    <a:lnTo>
                      <a:pt x="60" y="7"/>
                    </a:lnTo>
                    <a:lnTo>
                      <a:pt x="59" y="13"/>
                    </a:lnTo>
                    <a:lnTo>
                      <a:pt x="52" y="3"/>
                    </a:lnTo>
                    <a:lnTo>
                      <a:pt x="41" y="2"/>
                    </a:lnTo>
                    <a:lnTo>
                      <a:pt x="28" y="6"/>
                    </a:lnTo>
                    <a:lnTo>
                      <a:pt x="23" y="16"/>
                    </a:lnTo>
                    <a:lnTo>
                      <a:pt x="18" y="23"/>
                    </a:lnTo>
                    <a:lnTo>
                      <a:pt x="14" y="23"/>
                    </a:lnTo>
                    <a:lnTo>
                      <a:pt x="16" y="42"/>
                    </a:lnTo>
                    <a:lnTo>
                      <a:pt x="8" y="74"/>
                    </a:lnTo>
                    <a:lnTo>
                      <a:pt x="0" y="85"/>
                    </a:lnTo>
                    <a:lnTo>
                      <a:pt x="3" y="117"/>
                    </a:lnTo>
                    <a:lnTo>
                      <a:pt x="15" y="119"/>
                    </a:lnTo>
                    <a:lnTo>
                      <a:pt x="28" y="117"/>
                    </a:lnTo>
                    <a:lnTo>
                      <a:pt x="34" y="124"/>
                    </a:lnTo>
                    <a:lnTo>
                      <a:pt x="40" y="132"/>
                    </a:lnTo>
                    <a:lnTo>
                      <a:pt x="39" y="147"/>
                    </a:lnTo>
                    <a:lnTo>
                      <a:pt x="50" y="154"/>
                    </a:lnTo>
                    <a:lnTo>
                      <a:pt x="63" y="155"/>
                    </a:lnTo>
                    <a:lnTo>
                      <a:pt x="89" y="133"/>
                    </a:lnTo>
                    <a:lnTo>
                      <a:pt x="98" y="122"/>
                    </a:lnTo>
                    <a:lnTo>
                      <a:pt x="110" y="111"/>
                    </a:lnTo>
                    <a:lnTo>
                      <a:pt x="126" y="101"/>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33" name="Freeform 182">
                <a:extLst>
                  <a:ext uri="{FF2B5EF4-FFF2-40B4-BE49-F238E27FC236}">
                    <a16:creationId xmlns:a16="http://schemas.microsoft.com/office/drawing/2014/main" id="{D3C77ABF-60F4-F70B-A540-BF308ABE3B47}"/>
                  </a:ext>
                </a:extLst>
              </p:cNvPr>
              <p:cNvSpPr>
                <a:spLocks/>
              </p:cNvSpPr>
              <p:nvPr/>
            </p:nvSpPr>
            <p:spPr bwMode="auto">
              <a:xfrm>
                <a:off x="5178501" y="3772967"/>
                <a:ext cx="276666" cy="223636"/>
              </a:xfrm>
              <a:custGeom>
                <a:avLst/>
                <a:gdLst>
                  <a:gd name="T0" fmla="*/ 174 w 177"/>
                  <a:gd name="T1" fmla="*/ 101 h 142"/>
                  <a:gd name="T2" fmla="*/ 166 w 177"/>
                  <a:gd name="T3" fmla="*/ 100 h 142"/>
                  <a:gd name="T4" fmla="*/ 150 w 177"/>
                  <a:gd name="T5" fmla="*/ 103 h 142"/>
                  <a:gd name="T6" fmla="*/ 136 w 177"/>
                  <a:gd name="T7" fmla="*/ 101 h 142"/>
                  <a:gd name="T8" fmla="*/ 135 w 177"/>
                  <a:gd name="T9" fmla="*/ 108 h 142"/>
                  <a:gd name="T10" fmla="*/ 106 w 177"/>
                  <a:gd name="T11" fmla="*/ 110 h 142"/>
                  <a:gd name="T12" fmla="*/ 103 w 177"/>
                  <a:gd name="T13" fmla="*/ 116 h 142"/>
                  <a:gd name="T14" fmla="*/ 79 w 177"/>
                  <a:gd name="T15" fmla="*/ 120 h 142"/>
                  <a:gd name="T16" fmla="*/ 74 w 177"/>
                  <a:gd name="T17" fmla="*/ 109 h 142"/>
                  <a:gd name="T18" fmla="*/ 64 w 177"/>
                  <a:gd name="T19" fmla="*/ 105 h 142"/>
                  <a:gd name="T20" fmla="*/ 58 w 177"/>
                  <a:gd name="T21" fmla="*/ 114 h 142"/>
                  <a:gd name="T22" fmla="*/ 51 w 177"/>
                  <a:gd name="T23" fmla="*/ 117 h 142"/>
                  <a:gd name="T24" fmla="*/ 46 w 177"/>
                  <a:gd name="T25" fmla="*/ 121 h 142"/>
                  <a:gd name="T26" fmla="*/ 35 w 177"/>
                  <a:gd name="T27" fmla="*/ 123 h 142"/>
                  <a:gd name="T28" fmla="*/ 28 w 177"/>
                  <a:gd name="T29" fmla="*/ 132 h 142"/>
                  <a:gd name="T30" fmla="*/ 22 w 177"/>
                  <a:gd name="T31" fmla="*/ 141 h 142"/>
                  <a:gd name="T32" fmla="*/ 17 w 177"/>
                  <a:gd name="T33" fmla="*/ 132 h 142"/>
                  <a:gd name="T34" fmla="*/ 10 w 177"/>
                  <a:gd name="T35" fmla="*/ 111 h 142"/>
                  <a:gd name="T36" fmla="*/ 0 w 177"/>
                  <a:gd name="T37" fmla="*/ 94 h 142"/>
                  <a:gd name="T38" fmla="*/ 6 w 177"/>
                  <a:gd name="T39" fmla="*/ 75 h 142"/>
                  <a:gd name="T40" fmla="*/ 13 w 177"/>
                  <a:gd name="T41" fmla="*/ 66 h 142"/>
                  <a:gd name="T42" fmla="*/ 21 w 177"/>
                  <a:gd name="T43" fmla="*/ 61 h 142"/>
                  <a:gd name="T44" fmla="*/ 35 w 177"/>
                  <a:gd name="T45" fmla="*/ 62 h 142"/>
                  <a:gd name="T46" fmla="*/ 39 w 177"/>
                  <a:gd name="T47" fmla="*/ 53 h 142"/>
                  <a:gd name="T48" fmla="*/ 55 w 177"/>
                  <a:gd name="T49" fmla="*/ 52 h 142"/>
                  <a:gd name="T50" fmla="*/ 62 w 177"/>
                  <a:gd name="T51" fmla="*/ 42 h 142"/>
                  <a:gd name="T52" fmla="*/ 75 w 177"/>
                  <a:gd name="T53" fmla="*/ 38 h 142"/>
                  <a:gd name="T54" fmla="*/ 80 w 177"/>
                  <a:gd name="T55" fmla="*/ 27 h 142"/>
                  <a:gd name="T56" fmla="*/ 90 w 177"/>
                  <a:gd name="T57" fmla="*/ 24 h 142"/>
                  <a:gd name="T58" fmla="*/ 96 w 177"/>
                  <a:gd name="T59" fmla="*/ 12 h 142"/>
                  <a:gd name="T60" fmla="*/ 106 w 177"/>
                  <a:gd name="T61" fmla="*/ 3 h 142"/>
                  <a:gd name="T62" fmla="*/ 113 w 177"/>
                  <a:gd name="T63" fmla="*/ 0 h 142"/>
                  <a:gd name="T64" fmla="*/ 119 w 177"/>
                  <a:gd name="T65" fmla="*/ 11 h 142"/>
                  <a:gd name="T66" fmla="*/ 126 w 177"/>
                  <a:gd name="T67" fmla="*/ 26 h 142"/>
                  <a:gd name="T68" fmla="*/ 124 w 177"/>
                  <a:gd name="T69" fmla="*/ 38 h 142"/>
                  <a:gd name="T70" fmla="*/ 131 w 177"/>
                  <a:gd name="T71" fmla="*/ 41 h 142"/>
                  <a:gd name="T72" fmla="*/ 132 w 177"/>
                  <a:gd name="T73" fmla="*/ 50 h 142"/>
                  <a:gd name="T74" fmla="*/ 143 w 177"/>
                  <a:gd name="T75" fmla="*/ 47 h 142"/>
                  <a:gd name="T76" fmla="*/ 146 w 177"/>
                  <a:gd name="T77" fmla="*/ 61 h 142"/>
                  <a:gd name="T78" fmla="*/ 159 w 177"/>
                  <a:gd name="T79" fmla="*/ 64 h 142"/>
                  <a:gd name="T80" fmla="*/ 162 w 177"/>
                  <a:gd name="T81" fmla="*/ 80 h 142"/>
                  <a:gd name="T82" fmla="*/ 169 w 177"/>
                  <a:gd name="T83" fmla="*/ 83 h 142"/>
                  <a:gd name="T84" fmla="*/ 173 w 177"/>
                  <a:gd name="T85" fmla="*/ 89 h 142"/>
                  <a:gd name="T86" fmla="*/ 176 w 177"/>
                  <a:gd name="T87" fmla="*/ 94 h 142"/>
                  <a:gd name="T88" fmla="*/ 174 w 177"/>
                  <a:gd name="T89" fmla="*/ 10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7" h="142">
                    <a:moveTo>
                      <a:pt x="174" y="101"/>
                    </a:moveTo>
                    <a:lnTo>
                      <a:pt x="166" y="100"/>
                    </a:lnTo>
                    <a:lnTo>
                      <a:pt x="150" y="103"/>
                    </a:lnTo>
                    <a:lnTo>
                      <a:pt x="136" y="101"/>
                    </a:lnTo>
                    <a:lnTo>
                      <a:pt x="135" y="108"/>
                    </a:lnTo>
                    <a:lnTo>
                      <a:pt x="106" y="110"/>
                    </a:lnTo>
                    <a:lnTo>
                      <a:pt x="103" y="116"/>
                    </a:lnTo>
                    <a:lnTo>
                      <a:pt x="79" y="120"/>
                    </a:lnTo>
                    <a:lnTo>
                      <a:pt x="74" y="109"/>
                    </a:lnTo>
                    <a:lnTo>
                      <a:pt x="64" y="105"/>
                    </a:lnTo>
                    <a:lnTo>
                      <a:pt x="58" y="114"/>
                    </a:lnTo>
                    <a:lnTo>
                      <a:pt x="51" y="117"/>
                    </a:lnTo>
                    <a:lnTo>
                      <a:pt x="46" y="121"/>
                    </a:lnTo>
                    <a:lnTo>
                      <a:pt x="35" y="123"/>
                    </a:lnTo>
                    <a:lnTo>
                      <a:pt x="28" y="132"/>
                    </a:lnTo>
                    <a:lnTo>
                      <a:pt x="22" y="141"/>
                    </a:lnTo>
                    <a:lnTo>
                      <a:pt x="17" y="132"/>
                    </a:lnTo>
                    <a:lnTo>
                      <a:pt x="10" y="111"/>
                    </a:lnTo>
                    <a:lnTo>
                      <a:pt x="0" y="94"/>
                    </a:lnTo>
                    <a:lnTo>
                      <a:pt x="6" y="75"/>
                    </a:lnTo>
                    <a:lnTo>
                      <a:pt x="13" y="66"/>
                    </a:lnTo>
                    <a:lnTo>
                      <a:pt x="21" y="61"/>
                    </a:lnTo>
                    <a:lnTo>
                      <a:pt x="35" y="62"/>
                    </a:lnTo>
                    <a:lnTo>
                      <a:pt x="39" y="53"/>
                    </a:lnTo>
                    <a:lnTo>
                      <a:pt x="55" y="52"/>
                    </a:lnTo>
                    <a:lnTo>
                      <a:pt x="62" y="42"/>
                    </a:lnTo>
                    <a:lnTo>
                      <a:pt x="75" y="38"/>
                    </a:lnTo>
                    <a:lnTo>
                      <a:pt x="80" y="27"/>
                    </a:lnTo>
                    <a:lnTo>
                      <a:pt x="90" y="24"/>
                    </a:lnTo>
                    <a:lnTo>
                      <a:pt x="96" y="12"/>
                    </a:lnTo>
                    <a:lnTo>
                      <a:pt x="106" y="3"/>
                    </a:lnTo>
                    <a:lnTo>
                      <a:pt x="113" y="0"/>
                    </a:lnTo>
                    <a:lnTo>
                      <a:pt x="119" y="11"/>
                    </a:lnTo>
                    <a:lnTo>
                      <a:pt x="126" y="26"/>
                    </a:lnTo>
                    <a:lnTo>
                      <a:pt x="124" y="38"/>
                    </a:lnTo>
                    <a:lnTo>
                      <a:pt x="131" y="41"/>
                    </a:lnTo>
                    <a:lnTo>
                      <a:pt x="132" y="50"/>
                    </a:lnTo>
                    <a:lnTo>
                      <a:pt x="143" y="47"/>
                    </a:lnTo>
                    <a:lnTo>
                      <a:pt x="146" y="61"/>
                    </a:lnTo>
                    <a:lnTo>
                      <a:pt x="159" y="64"/>
                    </a:lnTo>
                    <a:lnTo>
                      <a:pt x="162" y="80"/>
                    </a:lnTo>
                    <a:lnTo>
                      <a:pt x="169" y="83"/>
                    </a:lnTo>
                    <a:lnTo>
                      <a:pt x="173" y="89"/>
                    </a:lnTo>
                    <a:lnTo>
                      <a:pt x="176" y="94"/>
                    </a:lnTo>
                    <a:lnTo>
                      <a:pt x="174" y="101"/>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34" name="Freeform 183">
                <a:extLst>
                  <a:ext uri="{FF2B5EF4-FFF2-40B4-BE49-F238E27FC236}">
                    <a16:creationId xmlns:a16="http://schemas.microsoft.com/office/drawing/2014/main" id="{82D08EA1-C0A3-44BA-DFFA-2D15C8B32F69}"/>
                  </a:ext>
                </a:extLst>
              </p:cNvPr>
              <p:cNvSpPr>
                <a:spLocks/>
              </p:cNvSpPr>
              <p:nvPr/>
            </p:nvSpPr>
            <p:spPr bwMode="auto">
              <a:xfrm>
                <a:off x="5395083" y="3225059"/>
                <a:ext cx="240337" cy="280943"/>
              </a:xfrm>
              <a:custGeom>
                <a:avLst/>
                <a:gdLst>
                  <a:gd name="T0" fmla="*/ 0 w 172"/>
                  <a:gd name="T1" fmla="*/ 2 h 201"/>
                  <a:gd name="T2" fmla="*/ 0 w 172"/>
                  <a:gd name="T3" fmla="*/ 201 h 201"/>
                  <a:gd name="T4" fmla="*/ 10 w 172"/>
                  <a:gd name="T5" fmla="*/ 195 h 201"/>
                  <a:gd name="T6" fmla="*/ 22 w 172"/>
                  <a:gd name="T7" fmla="*/ 186 h 201"/>
                  <a:gd name="T8" fmla="*/ 129 w 172"/>
                  <a:gd name="T9" fmla="*/ 186 h 201"/>
                  <a:gd name="T10" fmla="*/ 138 w 172"/>
                  <a:gd name="T11" fmla="*/ 195 h 201"/>
                  <a:gd name="T12" fmla="*/ 166 w 172"/>
                  <a:gd name="T13" fmla="*/ 172 h 201"/>
                  <a:gd name="T14" fmla="*/ 166 w 172"/>
                  <a:gd name="T15" fmla="*/ 149 h 201"/>
                  <a:gd name="T16" fmla="*/ 172 w 172"/>
                  <a:gd name="T17" fmla="*/ 146 h 201"/>
                  <a:gd name="T18" fmla="*/ 134 w 172"/>
                  <a:gd name="T19" fmla="*/ 85 h 201"/>
                  <a:gd name="T20" fmla="*/ 112 w 172"/>
                  <a:gd name="T21" fmla="*/ 48 h 201"/>
                  <a:gd name="T22" fmla="*/ 112 w 172"/>
                  <a:gd name="T23" fmla="*/ 32 h 201"/>
                  <a:gd name="T24" fmla="*/ 125 w 172"/>
                  <a:gd name="T25" fmla="*/ 45 h 201"/>
                  <a:gd name="T26" fmla="*/ 143 w 172"/>
                  <a:gd name="T27" fmla="*/ 65 h 201"/>
                  <a:gd name="T28" fmla="*/ 151 w 172"/>
                  <a:gd name="T29" fmla="*/ 48 h 201"/>
                  <a:gd name="T30" fmla="*/ 151 w 172"/>
                  <a:gd name="T31" fmla="*/ 28 h 201"/>
                  <a:gd name="T32" fmla="*/ 136 w 172"/>
                  <a:gd name="T33" fmla="*/ 5 h 201"/>
                  <a:gd name="T34" fmla="*/ 112 w 172"/>
                  <a:gd name="T35" fmla="*/ 2 h 201"/>
                  <a:gd name="T36" fmla="*/ 91 w 172"/>
                  <a:gd name="T37" fmla="*/ 3 h 201"/>
                  <a:gd name="T38" fmla="*/ 67 w 172"/>
                  <a:gd name="T39" fmla="*/ 19 h 201"/>
                  <a:gd name="T40" fmla="*/ 55 w 172"/>
                  <a:gd name="T41" fmla="*/ 12 h 201"/>
                  <a:gd name="T42" fmla="*/ 44 w 172"/>
                  <a:gd name="T43" fmla="*/ 0 h 201"/>
                  <a:gd name="T44" fmla="*/ 0 w 172"/>
                  <a:gd name="T45" fmla="*/ 2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2" h="201">
                    <a:moveTo>
                      <a:pt x="0" y="2"/>
                    </a:moveTo>
                    <a:lnTo>
                      <a:pt x="0" y="201"/>
                    </a:lnTo>
                    <a:lnTo>
                      <a:pt x="10" y="195"/>
                    </a:lnTo>
                    <a:lnTo>
                      <a:pt x="22" y="186"/>
                    </a:lnTo>
                    <a:lnTo>
                      <a:pt x="129" y="186"/>
                    </a:lnTo>
                    <a:lnTo>
                      <a:pt x="138" y="195"/>
                    </a:lnTo>
                    <a:lnTo>
                      <a:pt x="166" y="172"/>
                    </a:lnTo>
                    <a:lnTo>
                      <a:pt x="166" y="149"/>
                    </a:lnTo>
                    <a:lnTo>
                      <a:pt x="172" y="146"/>
                    </a:lnTo>
                    <a:lnTo>
                      <a:pt x="134" y="85"/>
                    </a:lnTo>
                    <a:lnTo>
                      <a:pt x="112" y="48"/>
                    </a:lnTo>
                    <a:lnTo>
                      <a:pt x="112" y="32"/>
                    </a:lnTo>
                    <a:lnTo>
                      <a:pt x="125" y="45"/>
                    </a:lnTo>
                    <a:lnTo>
                      <a:pt x="143" y="65"/>
                    </a:lnTo>
                    <a:lnTo>
                      <a:pt x="151" y="48"/>
                    </a:lnTo>
                    <a:lnTo>
                      <a:pt x="151" y="28"/>
                    </a:lnTo>
                    <a:lnTo>
                      <a:pt x="136" y="5"/>
                    </a:lnTo>
                    <a:lnTo>
                      <a:pt x="112" y="2"/>
                    </a:lnTo>
                    <a:lnTo>
                      <a:pt x="91" y="3"/>
                    </a:lnTo>
                    <a:lnTo>
                      <a:pt x="67" y="19"/>
                    </a:lnTo>
                    <a:lnTo>
                      <a:pt x="55" y="12"/>
                    </a:lnTo>
                    <a:lnTo>
                      <a:pt x="44" y="0"/>
                    </a:lnTo>
                    <a:lnTo>
                      <a:pt x="0" y="2"/>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35" name="Freeform 184">
                <a:extLst>
                  <a:ext uri="{FF2B5EF4-FFF2-40B4-BE49-F238E27FC236}">
                    <a16:creationId xmlns:a16="http://schemas.microsoft.com/office/drawing/2014/main" id="{D53D0411-E8F0-E7EE-A238-4B941A411AED}"/>
                  </a:ext>
                </a:extLst>
              </p:cNvPr>
              <p:cNvSpPr>
                <a:spLocks/>
              </p:cNvSpPr>
              <p:nvPr/>
            </p:nvSpPr>
            <p:spPr bwMode="auto">
              <a:xfrm>
                <a:off x="6215304" y="3103455"/>
                <a:ext cx="279461" cy="335454"/>
              </a:xfrm>
              <a:custGeom>
                <a:avLst/>
                <a:gdLst>
                  <a:gd name="T0" fmla="*/ 136 w 177"/>
                  <a:gd name="T1" fmla="*/ 0 h 214"/>
                  <a:gd name="T2" fmla="*/ 123 w 177"/>
                  <a:gd name="T3" fmla="*/ 4 h 214"/>
                  <a:gd name="T4" fmla="*/ 119 w 177"/>
                  <a:gd name="T5" fmla="*/ 20 h 214"/>
                  <a:gd name="T6" fmla="*/ 113 w 177"/>
                  <a:gd name="T7" fmla="*/ 38 h 214"/>
                  <a:gd name="T8" fmla="*/ 107 w 177"/>
                  <a:gd name="T9" fmla="*/ 54 h 214"/>
                  <a:gd name="T10" fmla="*/ 97 w 177"/>
                  <a:gd name="T11" fmla="*/ 60 h 214"/>
                  <a:gd name="T12" fmla="*/ 94 w 177"/>
                  <a:gd name="T13" fmla="*/ 78 h 214"/>
                  <a:gd name="T14" fmla="*/ 81 w 177"/>
                  <a:gd name="T15" fmla="*/ 78 h 214"/>
                  <a:gd name="T16" fmla="*/ 65 w 177"/>
                  <a:gd name="T17" fmla="*/ 89 h 214"/>
                  <a:gd name="T18" fmla="*/ 53 w 177"/>
                  <a:gd name="T19" fmla="*/ 97 h 214"/>
                  <a:gd name="T20" fmla="*/ 47 w 177"/>
                  <a:gd name="T21" fmla="*/ 112 h 214"/>
                  <a:gd name="T22" fmla="*/ 6 w 177"/>
                  <a:gd name="T23" fmla="*/ 117 h 214"/>
                  <a:gd name="T24" fmla="*/ 0 w 177"/>
                  <a:gd name="T25" fmla="*/ 129 h 214"/>
                  <a:gd name="T26" fmla="*/ 4 w 177"/>
                  <a:gd name="T27" fmla="*/ 145 h 214"/>
                  <a:gd name="T28" fmla="*/ 15 w 177"/>
                  <a:gd name="T29" fmla="*/ 147 h 214"/>
                  <a:gd name="T30" fmla="*/ 20 w 177"/>
                  <a:gd name="T31" fmla="*/ 155 h 214"/>
                  <a:gd name="T32" fmla="*/ 12 w 177"/>
                  <a:gd name="T33" fmla="*/ 166 h 214"/>
                  <a:gd name="T34" fmla="*/ 0 w 177"/>
                  <a:gd name="T35" fmla="*/ 170 h 214"/>
                  <a:gd name="T36" fmla="*/ 12 w 177"/>
                  <a:gd name="T37" fmla="*/ 174 h 214"/>
                  <a:gd name="T38" fmla="*/ 18 w 177"/>
                  <a:gd name="T39" fmla="*/ 187 h 214"/>
                  <a:gd name="T40" fmla="*/ 42 w 177"/>
                  <a:gd name="T41" fmla="*/ 187 h 214"/>
                  <a:gd name="T42" fmla="*/ 59 w 177"/>
                  <a:gd name="T43" fmla="*/ 181 h 214"/>
                  <a:gd name="T44" fmla="*/ 61 w 177"/>
                  <a:gd name="T45" fmla="*/ 193 h 214"/>
                  <a:gd name="T46" fmla="*/ 78 w 177"/>
                  <a:gd name="T47" fmla="*/ 204 h 214"/>
                  <a:gd name="T48" fmla="*/ 91 w 177"/>
                  <a:gd name="T49" fmla="*/ 213 h 214"/>
                  <a:gd name="T50" fmla="*/ 99 w 177"/>
                  <a:gd name="T51" fmla="*/ 204 h 214"/>
                  <a:gd name="T52" fmla="*/ 127 w 177"/>
                  <a:gd name="T53" fmla="*/ 204 h 214"/>
                  <a:gd name="T54" fmla="*/ 129 w 177"/>
                  <a:gd name="T55" fmla="*/ 192 h 214"/>
                  <a:gd name="T56" fmla="*/ 113 w 177"/>
                  <a:gd name="T57" fmla="*/ 171 h 214"/>
                  <a:gd name="T58" fmla="*/ 102 w 177"/>
                  <a:gd name="T59" fmla="*/ 158 h 214"/>
                  <a:gd name="T60" fmla="*/ 106 w 177"/>
                  <a:gd name="T61" fmla="*/ 144 h 214"/>
                  <a:gd name="T62" fmla="*/ 115 w 177"/>
                  <a:gd name="T63" fmla="*/ 135 h 214"/>
                  <a:gd name="T64" fmla="*/ 140 w 177"/>
                  <a:gd name="T65" fmla="*/ 144 h 214"/>
                  <a:gd name="T66" fmla="*/ 144 w 177"/>
                  <a:gd name="T67" fmla="*/ 134 h 214"/>
                  <a:gd name="T68" fmla="*/ 146 w 177"/>
                  <a:gd name="T69" fmla="*/ 123 h 214"/>
                  <a:gd name="T70" fmla="*/ 161 w 177"/>
                  <a:gd name="T71" fmla="*/ 109 h 214"/>
                  <a:gd name="T72" fmla="*/ 167 w 177"/>
                  <a:gd name="T73" fmla="*/ 95 h 214"/>
                  <a:gd name="T74" fmla="*/ 176 w 177"/>
                  <a:gd name="T75" fmla="*/ 85 h 214"/>
                  <a:gd name="T76" fmla="*/ 174 w 177"/>
                  <a:gd name="T77" fmla="*/ 63 h 214"/>
                  <a:gd name="T78" fmla="*/ 161 w 177"/>
                  <a:gd name="T79" fmla="*/ 52 h 214"/>
                  <a:gd name="T80" fmla="*/ 162 w 177"/>
                  <a:gd name="T81" fmla="*/ 32 h 214"/>
                  <a:gd name="T82" fmla="*/ 155 w 177"/>
                  <a:gd name="T83" fmla="*/ 22 h 214"/>
                  <a:gd name="T84" fmla="*/ 157 w 177"/>
                  <a:gd name="T85" fmla="*/ 9 h 214"/>
                  <a:gd name="T86" fmla="*/ 146 w 177"/>
                  <a:gd name="T87" fmla="*/ 2 h 214"/>
                  <a:gd name="T88" fmla="*/ 136 w 177"/>
                  <a:gd name="T89"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7" h="214">
                    <a:moveTo>
                      <a:pt x="136" y="0"/>
                    </a:moveTo>
                    <a:lnTo>
                      <a:pt x="123" y="4"/>
                    </a:lnTo>
                    <a:lnTo>
                      <a:pt x="119" y="20"/>
                    </a:lnTo>
                    <a:lnTo>
                      <a:pt x="113" y="38"/>
                    </a:lnTo>
                    <a:lnTo>
                      <a:pt x="107" y="54"/>
                    </a:lnTo>
                    <a:lnTo>
                      <a:pt x="97" y="60"/>
                    </a:lnTo>
                    <a:lnTo>
                      <a:pt x="94" y="78"/>
                    </a:lnTo>
                    <a:lnTo>
                      <a:pt x="81" y="78"/>
                    </a:lnTo>
                    <a:lnTo>
                      <a:pt x="65" y="89"/>
                    </a:lnTo>
                    <a:lnTo>
                      <a:pt x="53" y="97"/>
                    </a:lnTo>
                    <a:lnTo>
                      <a:pt x="47" y="112"/>
                    </a:lnTo>
                    <a:lnTo>
                      <a:pt x="6" y="117"/>
                    </a:lnTo>
                    <a:lnTo>
                      <a:pt x="0" y="129"/>
                    </a:lnTo>
                    <a:lnTo>
                      <a:pt x="4" y="145"/>
                    </a:lnTo>
                    <a:lnTo>
                      <a:pt x="15" y="147"/>
                    </a:lnTo>
                    <a:lnTo>
                      <a:pt x="20" y="155"/>
                    </a:lnTo>
                    <a:lnTo>
                      <a:pt x="12" y="166"/>
                    </a:lnTo>
                    <a:lnTo>
                      <a:pt x="0" y="170"/>
                    </a:lnTo>
                    <a:lnTo>
                      <a:pt x="12" y="174"/>
                    </a:lnTo>
                    <a:lnTo>
                      <a:pt x="18" y="187"/>
                    </a:lnTo>
                    <a:lnTo>
                      <a:pt x="42" y="187"/>
                    </a:lnTo>
                    <a:lnTo>
                      <a:pt x="59" y="181"/>
                    </a:lnTo>
                    <a:lnTo>
                      <a:pt x="61" y="193"/>
                    </a:lnTo>
                    <a:lnTo>
                      <a:pt x="78" y="204"/>
                    </a:lnTo>
                    <a:lnTo>
                      <a:pt x="91" y="213"/>
                    </a:lnTo>
                    <a:lnTo>
                      <a:pt x="99" y="204"/>
                    </a:lnTo>
                    <a:lnTo>
                      <a:pt x="127" y="204"/>
                    </a:lnTo>
                    <a:lnTo>
                      <a:pt x="129" y="192"/>
                    </a:lnTo>
                    <a:lnTo>
                      <a:pt x="113" y="171"/>
                    </a:lnTo>
                    <a:lnTo>
                      <a:pt x="102" y="158"/>
                    </a:lnTo>
                    <a:lnTo>
                      <a:pt x="106" y="144"/>
                    </a:lnTo>
                    <a:lnTo>
                      <a:pt x="115" y="135"/>
                    </a:lnTo>
                    <a:lnTo>
                      <a:pt x="140" y="144"/>
                    </a:lnTo>
                    <a:lnTo>
                      <a:pt x="144" y="134"/>
                    </a:lnTo>
                    <a:lnTo>
                      <a:pt x="146" y="123"/>
                    </a:lnTo>
                    <a:lnTo>
                      <a:pt x="161" y="109"/>
                    </a:lnTo>
                    <a:lnTo>
                      <a:pt x="167" y="95"/>
                    </a:lnTo>
                    <a:lnTo>
                      <a:pt x="176" y="85"/>
                    </a:lnTo>
                    <a:lnTo>
                      <a:pt x="174" y="63"/>
                    </a:lnTo>
                    <a:lnTo>
                      <a:pt x="161" y="52"/>
                    </a:lnTo>
                    <a:lnTo>
                      <a:pt x="162" y="32"/>
                    </a:lnTo>
                    <a:lnTo>
                      <a:pt x="155" y="22"/>
                    </a:lnTo>
                    <a:lnTo>
                      <a:pt x="157" y="9"/>
                    </a:lnTo>
                    <a:lnTo>
                      <a:pt x="146" y="2"/>
                    </a:lnTo>
                    <a:lnTo>
                      <a:pt x="136" y="0"/>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36" name="Freeform 185">
                <a:extLst>
                  <a:ext uri="{FF2B5EF4-FFF2-40B4-BE49-F238E27FC236}">
                    <a16:creationId xmlns:a16="http://schemas.microsoft.com/office/drawing/2014/main" id="{4DF8CBF1-AF5D-271F-8622-D44402D9415D}"/>
                  </a:ext>
                </a:extLst>
              </p:cNvPr>
              <p:cNvSpPr>
                <a:spLocks/>
              </p:cNvSpPr>
              <p:nvPr/>
            </p:nvSpPr>
            <p:spPr bwMode="auto">
              <a:xfrm>
                <a:off x="7597241" y="3015399"/>
                <a:ext cx="85236" cy="138375"/>
              </a:xfrm>
              <a:custGeom>
                <a:avLst/>
                <a:gdLst>
                  <a:gd name="T0" fmla="*/ 25 w 55"/>
                  <a:gd name="T1" fmla="*/ 0 h 87"/>
                  <a:gd name="T2" fmla="*/ 20 w 55"/>
                  <a:gd name="T3" fmla="*/ 15 h 87"/>
                  <a:gd name="T4" fmla="*/ 0 w 55"/>
                  <a:gd name="T5" fmla="*/ 23 h 87"/>
                  <a:gd name="T6" fmla="*/ 8 w 55"/>
                  <a:gd name="T7" fmla="*/ 35 h 87"/>
                  <a:gd name="T8" fmla="*/ 7 w 55"/>
                  <a:gd name="T9" fmla="*/ 46 h 87"/>
                  <a:gd name="T10" fmla="*/ 19 w 55"/>
                  <a:gd name="T11" fmla="*/ 51 h 87"/>
                  <a:gd name="T12" fmla="*/ 17 w 55"/>
                  <a:gd name="T13" fmla="*/ 79 h 87"/>
                  <a:gd name="T14" fmla="*/ 32 w 55"/>
                  <a:gd name="T15" fmla="*/ 86 h 87"/>
                  <a:gd name="T16" fmla="*/ 54 w 55"/>
                  <a:gd name="T17" fmla="*/ 72 h 87"/>
                  <a:gd name="T18" fmla="*/ 54 w 55"/>
                  <a:gd name="T19" fmla="*/ 38 h 87"/>
                  <a:gd name="T20" fmla="*/ 25 w 55"/>
                  <a:gd name="T21"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 h="87">
                    <a:moveTo>
                      <a:pt x="25" y="0"/>
                    </a:moveTo>
                    <a:lnTo>
                      <a:pt x="20" y="15"/>
                    </a:lnTo>
                    <a:lnTo>
                      <a:pt x="0" y="23"/>
                    </a:lnTo>
                    <a:lnTo>
                      <a:pt x="8" y="35"/>
                    </a:lnTo>
                    <a:lnTo>
                      <a:pt x="7" y="46"/>
                    </a:lnTo>
                    <a:lnTo>
                      <a:pt x="19" y="51"/>
                    </a:lnTo>
                    <a:lnTo>
                      <a:pt x="17" y="79"/>
                    </a:lnTo>
                    <a:lnTo>
                      <a:pt x="32" y="86"/>
                    </a:lnTo>
                    <a:lnTo>
                      <a:pt x="54" y="72"/>
                    </a:lnTo>
                    <a:lnTo>
                      <a:pt x="54" y="38"/>
                    </a:lnTo>
                    <a:lnTo>
                      <a:pt x="25" y="0"/>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37" name="Freeform 186">
                <a:extLst>
                  <a:ext uri="{FF2B5EF4-FFF2-40B4-BE49-F238E27FC236}">
                    <a16:creationId xmlns:a16="http://schemas.microsoft.com/office/drawing/2014/main" id="{0F196F46-FB2F-293F-013B-9E7010E4955E}"/>
                  </a:ext>
                </a:extLst>
              </p:cNvPr>
              <p:cNvSpPr>
                <a:spLocks/>
              </p:cNvSpPr>
              <p:nvPr/>
            </p:nvSpPr>
            <p:spPr bwMode="auto">
              <a:xfrm>
                <a:off x="7838973" y="2549957"/>
                <a:ext cx="83838" cy="170523"/>
              </a:xfrm>
              <a:custGeom>
                <a:avLst/>
                <a:gdLst>
                  <a:gd name="T0" fmla="*/ 3 w 54"/>
                  <a:gd name="T1" fmla="*/ 9 h 109"/>
                  <a:gd name="T2" fmla="*/ 3 w 54"/>
                  <a:gd name="T3" fmla="*/ 20 h 109"/>
                  <a:gd name="T4" fmla="*/ 8 w 54"/>
                  <a:gd name="T5" fmla="*/ 34 h 109"/>
                  <a:gd name="T6" fmla="*/ 12 w 54"/>
                  <a:gd name="T7" fmla="*/ 52 h 109"/>
                  <a:gd name="T8" fmla="*/ 17 w 54"/>
                  <a:gd name="T9" fmla="*/ 72 h 109"/>
                  <a:gd name="T10" fmla="*/ 26 w 54"/>
                  <a:gd name="T11" fmla="*/ 81 h 109"/>
                  <a:gd name="T12" fmla="*/ 21 w 54"/>
                  <a:gd name="T13" fmla="*/ 95 h 109"/>
                  <a:gd name="T14" fmla="*/ 23 w 54"/>
                  <a:gd name="T15" fmla="*/ 101 h 109"/>
                  <a:gd name="T16" fmla="*/ 29 w 54"/>
                  <a:gd name="T17" fmla="*/ 101 h 109"/>
                  <a:gd name="T18" fmla="*/ 45 w 54"/>
                  <a:gd name="T19" fmla="*/ 108 h 109"/>
                  <a:gd name="T20" fmla="*/ 53 w 54"/>
                  <a:gd name="T21" fmla="*/ 102 h 109"/>
                  <a:gd name="T22" fmla="*/ 45 w 54"/>
                  <a:gd name="T23" fmla="*/ 83 h 109"/>
                  <a:gd name="T24" fmla="*/ 34 w 54"/>
                  <a:gd name="T25" fmla="*/ 55 h 109"/>
                  <a:gd name="T26" fmla="*/ 44 w 54"/>
                  <a:gd name="T27" fmla="*/ 57 h 109"/>
                  <a:gd name="T28" fmla="*/ 30 w 54"/>
                  <a:gd name="T29" fmla="*/ 37 h 109"/>
                  <a:gd name="T30" fmla="*/ 19 w 54"/>
                  <a:gd name="T31" fmla="*/ 23 h 109"/>
                  <a:gd name="T32" fmla="*/ 16 w 54"/>
                  <a:gd name="T33" fmla="*/ 3 h 109"/>
                  <a:gd name="T34" fmla="*/ 0 w 54"/>
                  <a:gd name="T35" fmla="*/ 0 h 109"/>
                  <a:gd name="T36" fmla="*/ 3 w 54"/>
                  <a:gd name="T37" fmla="*/ 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 h="109">
                    <a:moveTo>
                      <a:pt x="3" y="9"/>
                    </a:moveTo>
                    <a:lnTo>
                      <a:pt x="3" y="20"/>
                    </a:lnTo>
                    <a:lnTo>
                      <a:pt x="8" y="34"/>
                    </a:lnTo>
                    <a:lnTo>
                      <a:pt x="12" y="52"/>
                    </a:lnTo>
                    <a:lnTo>
                      <a:pt x="17" y="72"/>
                    </a:lnTo>
                    <a:lnTo>
                      <a:pt x="26" y="81"/>
                    </a:lnTo>
                    <a:lnTo>
                      <a:pt x="21" y="95"/>
                    </a:lnTo>
                    <a:lnTo>
                      <a:pt x="23" y="101"/>
                    </a:lnTo>
                    <a:lnTo>
                      <a:pt x="29" y="101"/>
                    </a:lnTo>
                    <a:lnTo>
                      <a:pt x="45" y="108"/>
                    </a:lnTo>
                    <a:lnTo>
                      <a:pt x="53" y="102"/>
                    </a:lnTo>
                    <a:lnTo>
                      <a:pt x="45" y="83"/>
                    </a:lnTo>
                    <a:lnTo>
                      <a:pt x="34" y="55"/>
                    </a:lnTo>
                    <a:lnTo>
                      <a:pt x="44" y="57"/>
                    </a:lnTo>
                    <a:lnTo>
                      <a:pt x="30" y="37"/>
                    </a:lnTo>
                    <a:lnTo>
                      <a:pt x="19" y="23"/>
                    </a:lnTo>
                    <a:lnTo>
                      <a:pt x="16" y="3"/>
                    </a:lnTo>
                    <a:lnTo>
                      <a:pt x="0" y="0"/>
                    </a:lnTo>
                    <a:lnTo>
                      <a:pt x="3" y="9"/>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38" name="Freeform 187">
                <a:extLst>
                  <a:ext uri="{FF2B5EF4-FFF2-40B4-BE49-F238E27FC236}">
                    <a16:creationId xmlns:a16="http://schemas.microsoft.com/office/drawing/2014/main" id="{4BC65CD4-BA2B-0D51-4E52-914A6FE9BC56}"/>
                  </a:ext>
                </a:extLst>
              </p:cNvPr>
              <p:cNvSpPr>
                <a:spLocks/>
              </p:cNvSpPr>
              <p:nvPr/>
            </p:nvSpPr>
            <p:spPr bwMode="auto">
              <a:xfrm>
                <a:off x="6359226" y="3181728"/>
                <a:ext cx="641364" cy="669509"/>
              </a:xfrm>
              <a:custGeom>
                <a:avLst/>
                <a:gdLst>
                  <a:gd name="T0" fmla="*/ 407 w 409"/>
                  <a:gd name="T1" fmla="*/ 105 h 426"/>
                  <a:gd name="T2" fmla="*/ 377 w 409"/>
                  <a:gd name="T3" fmla="*/ 129 h 426"/>
                  <a:gd name="T4" fmla="*/ 359 w 409"/>
                  <a:gd name="T5" fmla="*/ 163 h 426"/>
                  <a:gd name="T6" fmla="*/ 349 w 409"/>
                  <a:gd name="T7" fmla="*/ 184 h 426"/>
                  <a:gd name="T8" fmla="*/ 341 w 409"/>
                  <a:gd name="T9" fmla="*/ 143 h 426"/>
                  <a:gd name="T10" fmla="*/ 309 w 409"/>
                  <a:gd name="T11" fmla="*/ 131 h 426"/>
                  <a:gd name="T12" fmla="*/ 281 w 409"/>
                  <a:gd name="T13" fmla="*/ 148 h 426"/>
                  <a:gd name="T14" fmla="*/ 292 w 409"/>
                  <a:gd name="T15" fmla="*/ 190 h 426"/>
                  <a:gd name="T16" fmla="*/ 272 w 409"/>
                  <a:gd name="T17" fmla="*/ 198 h 426"/>
                  <a:gd name="T18" fmla="*/ 267 w 409"/>
                  <a:gd name="T19" fmla="*/ 221 h 426"/>
                  <a:gd name="T20" fmla="*/ 238 w 409"/>
                  <a:gd name="T21" fmla="*/ 243 h 426"/>
                  <a:gd name="T22" fmla="*/ 213 w 409"/>
                  <a:gd name="T23" fmla="*/ 262 h 426"/>
                  <a:gd name="T24" fmla="*/ 191 w 409"/>
                  <a:gd name="T25" fmla="*/ 293 h 426"/>
                  <a:gd name="T26" fmla="*/ 176 w 409"/>
                  <a:gd name="T27" fmla="*/ 357 h 426"/>
                  <a:gd name="T28" fmla="*/ 176 w 409"/>
                  <a:gd name="T29" fmla="*/ 383 h 426"/>
                  <a:gd name="T30" fmla="*/ 156 w 409"/>
                  <a:gd name="T31" fmla="*/ 417 h 426"/>
                  <a:gd name="T32" fmla="*/ 131 w 409"/>
                  <a:gd name="T33" fmla="*/ 419 h 426"/>
                  <a:gd name="T34" fmla="*/ 110 w 409"/>
                  <a:gd name="T35" fmla="*/ 361 h 426"/>
                  <a:gd name="T36" fmla="*/ 77 w 409"/>
                  <a:gd name="T37" fmla="*/ 290 h 426"/>
                  <a:gd name="T38" fmla="*/ 70 w 409"/>
                  <a:gd name="T39" fmla="*/ 224 h 426"/>
                  <a:gd name="T40" fmla="*/ 59 w 409"/>
                  <a:gd name="T41" fmla="*/ 184 h 426"/>
                  <a:gd name="T42" fmla="*/ 48 w 409"/>
                  <a:gd name="T43" fmla="*/ 208 h 426"/>
                  <a:gd name="T44" fmla="*/ 11 w 409"/>
                  <a:gd name="T45" fmla="*/ 185 h 426"/>
                  <a:gd name="T46" fmla="*/ 7 w 409"/>
                  <a:gd name="T47" fmla="*/ 175 h 426"/>
                  <a:gd name="T48" fmla="*/ 8 w 409"/>
                  <a:gd name="T49" fmla="*/ 154 h 426"/>
                  <a:gd name="T50" fmla="*/ 38 w 409"/>
                  <a:gd name="T51" fmla="*/ 142 h 426"/>
                  <a:gd name="T52" fmla="*/ 11 w 409"/>
                  <a:gd name="T53" fmla="*/ 109 h 426"/>
                  <a:gd name="T54" fmla="*/ 25 w 409"/>
                  <a:gd name="T55" fmla="*/ 86 h 426"/>
                  <a:gd name="T56" fmla="*/ 53 w 409"/>
                  <a:gd name="T57" fmla="*/ 84 h 426"/>
                  <a:gd name="T58" fmla="*/ 70 w 409"/>
                  <a:gd name="T59" fmla="*/ 59 h 426"/>
                  <a:gd name="T60" fmla="*/ 86 w 409"/>
                  <a:gd name="T61" fmla="*/ 36 h 426"/>
                  <a:gd name="T62" fmla="*/ 104 w 409"/>
                  <a:gd name="T63" fmla="*/ 0 h 426"/>
                  <a:gd name="T64" fmla="*/ 132 w 409"/>
                  <a:gd name="T65" fmla="*/ 10 h 426"/>
                  <a:gd name="T66" fmla="*/ 154 w 409"/>
                  <a:gd name="T67" fmla="*/ 41 h 426"/>
                  <a:gd name="T68" fmla="*/ 169 w 409"/>
                  <a:gd name="T69" fmla="*/ 78 h 426"/>
                  <a:gd name="T70" fmla="*/ 198 w 409"/>
                  <a:gd name="T71" fmla="*/ 97 h 426"/>
                  <a:gd name="T72" fmla="*/ 238 w 409"/>
                  <a:gd name="T73" fmla="*/ 109 h 426"/>
                  <a:gd name="T74" fmla="*/ 265 w 409"/>
                  <a:gd name="T75" fmla="*/ 115 h 426"/>
                  <a:gd name="T76" fmla="*/ 287 w 409"/>
                  <a:gd name="T77" fmla="*/ 101 h 426"/>
                  <a:gd name="T78" fmla="*/ 310 w 409"/>
                  <a:gd name="T79" fmla="*/ 94 h 426"/>
                  <a:gd name="T80" fmla="*/ 342 w 409"/>
                  <a:gd name="T81" fmla="*/ 83 h 426"/>
                  <a:gd name="T82" fmla="*/ 383 w 409"/>
                  <a:gd name="T83" fmla="*/ 73 h 426"/>
                  <a:gd name="T84" fmla="*/ 408 w 409"/>
                  <a:gd name="T85" fmla="*/ 97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09" h="426">
                    <a:moveTo>
                      <a:pt x="408" y="97"/>
                    </a:moveTo>
                    <a:lnTo>
                      <a:pt x="407" y="105"/>
                    </a:lnTo>
                    <a:lnTo>
                      <a:pt x="388" y="115"/>
                    </a:lnTo>
                    <a:lnTo>
                      <a:pt x="377" y="129"/>
                    </a:lnTo>
                    <a:lnTo>
                      <a:pt x="372" y="148"/>
                    </a:lnTo>
                    <a:lnTo>
                      <a:pt x="359" y="163"/>
                    </a:lnTo>
                    <a:lnTo>
                      <a:pt x="359" y="192"/>
                    </a:lnTo>
                    <a:lnTo>
                      <a:pt x="349" y="184"/>
                    </a:lnTo>
                    <a:lnTo>
                      <a:pt x="344" y="160"/>
                    </a:lnTo>
                    <a:lnTo>
                      <a:pt x="341" y="143"/>
                    </a:lnTo>
                    <a:lnTo>
                      <a:pt x="323" y="133"/>
                    </a:lnTo>
                    <a:lnTo>
                      <a:pt x="309" y="131"/>
                    </a:lnTo>
                    <a:lnTo>
                      <a:pt x="291" y="118"/>
                    </a:lnTo>
                    <a:lnTo>
                      <a:pt x="281" y="148"/>
                    </a:lnTo>
                    <a:lnTo>
                      <a:pt x="291" y="152"/>
                    </a:lnTo>
                    <a:lnTo>
                      <a:pt x="292" y="190"/>
                    </a:lnTo>
                    <a:lnTo>
                      <a:pt x="282" y="192"/>
                    </a:lnTo>
                    <a:lnTo>
                      <a:pt x="272" y="198"/>
                    </a:lnTo>
                    <a:lnTo>
                      <a:pt x="272" y="216"/>
                    </a:lnTo>
                    <a:lnTo>
                      <a:pt x="267" y="221"/>
                    </a:lnTo>
                    <a:lnTo>
                      <a:pt x="256" y="237"/>
                    </a:lnTo>
                    <a:lnTo>
                      <a:pt x="238" y="243"/>
                    </a:lnTo>
                    <a:lnTo>
                      <a:pt x="228" y="256"/>
                    </a:lnTo>
                    <a:lnTo>
                      <a:pt x="213" y="262"/>
                    </a:lnTo>
                    <a:lnTo>
                      <a:pt x="206" y="282"/>
                    </a:lnTo>
                    <a:lnTo>
                      <a:pt x="191" y="293"/>
                    </a:lnTo>
                    <a:lnTo>
                      <a:pt x="170" y="305"/>
                    </a:lnTo>
                    <a:lnTo>
                      <a:pt x="176" y="357"/>
                    </a:lnTo>
                    <a:lnTo>
                      <a:pt x="170" y="359"/>
                    </a:lnTo>
                    <a:lnTo>
                      <a:pt x="176" y="383"/>
                    </a:lnTo>
                    <a:lnTo>
                      <a:pt x="165" y="400"/>
                    </a:lnTo>
                    <a:lnTo>
                      <a:pt x="156" y="417"/>
                    </a:lnTo>
                    <a:lnTo>
                      <a:pt x="139" y="425"/>
                    </a:lnTo>
                    <a:lnTo>
                      <a:pt x="131" y="419"/>
                    </a:lnTo>
                    <a:lnTo>
                      <a:pt x="128" y="400"/>
                    </a:lnTo>
                    <a:lnTo>
                      <a:pt x="110" y="361"/>
                    </a:lnTo>
                    <a:lnTo>
                      <a:pt x="95" y="316"/>
                    </a:lnTo>
                    <a:lnTo>
                      <a:pt x="77" y="290"/>
                    </a:lnTo>
                    <a:lnTo>
                      <a:pt x="70" y="255"/>
                    </a:lnTo>
                    <a:lnTo>
                      <a:pt x="70" y="224"/>
                    </a:lnTo>
                    <a:lnTo>
                      <a:pt x="66" y="199"/>
                    </a:lnTo>
                    <a:lnTo>
                      <a:pt x="59" y="184"/>
                    </a:lnTo>
                    <a:lnTo>
                      <a:pt x="59" y="198"/>
                    </a:lnTo>
                    <a:lnTo>
                      <a:pt x="48" y="208"/>
                    </a:lnTo>
                    <a:lnTo>
                      <a:pt x="27" y="207"/>
                    </a:lnTo>
                    <a:lnTo>
                      <a:pt x="11" y="185"/>
                    </a:lnTo>
                    <a:lnTo>
                      <a:pt x="20" y="174"/>
                    </a:lnTo>
                    <a:lnTo>
                      <a:pt x="7" y="175"/>
                    </a:lnTo>
                    <a:lnTo>
                      <a:pt x="0" y="163"/>
                    </a:lnTo>
                    <a:lnTo>
                      <a:pt x="8" y="154"/>
                    </a:lnTo>
                    <a:lnTo>
                      <a:pt x="36" y="154"/>
                    </a:lnTo>
                    <a:lnTo>
                      <a:pt x="38" y="142"/>
                    </a:lnTo>
                    <a:lnTo>
                      <a:pt x="23" y="121"/>
                    </a:lnTo>
                    <a:lnTo>
                      <a:pt x="11" y="109"/>
                    </a:lnTo>
                    <a:lnTo>
                      <a:pt x="15" y="94"/>
                    </a:lnTo>
                    <a:lnTo>
                      <a:pt x="25" y="86"/>
                    </a:lnTo>
                    <a:lnTo>
                      <a:pt x="49" y="94"/>
                    </a:lnTo>
                    <a:lnTo>
                      <a:pt x="53" y="84"/>
                    </a:lnTo>
                    <a:lnTo>
                      <a:pt x="55" y="73"/>
                    </a:lnTo>
                    <a:lnTo>
                      <a:pt x="70" y="59"/>
                    </a:lnTo>
                    <a:lnTo>
                      <a:pt x="76" y="46"/>
                    </a:lnTo>
                    <a:lnTo>
                      <a:pt x="86" y="36"/>
                    </a:lnTo>
                    <a:lnTo>
                      <a:pt x="84" y="14"/>
                    </a:lnTo>
                    <a:lnTo>
                      <a:pt x="104" y="0"/>
                    </a:lnTo>
                    <a:lnTo>
                      <a:pt x="121" y="2"/>
                    </a:lnTo>
                    <a:lnTo>
                      <a:pt x="132" y="10"/>
                    </a:lnTo>
                    <a:lnTo>
                      <a:pt x="132" y="36"/>
                    </a:lnTo>
                    <a:lnTo>
                      <a:pt x="154" y="41"/>
                    </a:lnTo>
                    <a:lnTo>
                      <a:pt x="166" y="53"/>
                    </a:lnTo>
                    <a:lnTo>
                      <a:pt x="169" y="78"/>
                    </a:lnTo>
                    <a:lnTo>
                      <a:pt x="180" y="92"/>
                    </a:lnTo>
                    <a:lnTo>
                      <a:pt x="198" y="97"/>
                    </a:lnTo>
                    <a:lnTo>
                      <a:pt x="220" y="105"/>
                    </a:lnTo>
                    <a:lnTo>
                      <a:pt x="238" y="109"/>
                    </a:lnTo>
                    <a:lnTo>
                      <a:pt x="250" y="116"/>
                    </a:lnTo>
                    <a:lnTo>
                      <a:pt x="265" y="115"/>
                    </a:lnTo>
                    <a:lnTo>
                      <a:pt x="279" y="115"/>
                    </a:lnTo>
                    <a:lnTo>
                      <a:pt x="287" y="101"/>
                    </a:lnTo>
                    <a:lnTo>
                      <a:pt x="294" y="87"/>
                    </a:lnTo>
                    <a:lnTo>
                      <a:pt x="310" y="94"/>
                    </a:lnTo>
                    <a:lnTo>
                      <a:pt x="334" y="94"/>
                    </a:lnTo>
                    <a:lnTo>
                      <a:pt x="342" y="83"/>
                    </a:lnTo>
                    <a:lnTo>
                      <a:pt x="360" y="73"/>
                    </a:lnTo>
                    <a:lnTo>
                      <a:pt x="383" y="73"/>
                    </a:lnTo>
                    <a:lnTo>
                      <a:pt x="399" y="82"/>
                    </a:lnTo>
                    <a:lnTo>
                      <a:pt x="408" y="97"/>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39" name="Freeform 188">
                <a:extLst>
                  <a:ext uri="{FF2B5EF4-FFF2-40B4-BE49-F238E27FC236}">
                    <a16:creationId xmlns:a16="http://schemas.microsoft.com/office/drawing/2014/main" id="{A34E755B-D358-2573-01CC-E1249E18F746}"/>
                  </a:ext>
                </a:extLst>
              </p:cNvPr>
              <p:cNvSpPr>
                <a:spLocks/>
              </p:cNvSpPr>
              <p:nvPr/>
            </p:nvSpPr>
            <p:spPr bwMode="auto">
              <a:xfrm>
                <a:off x="6796583" y="3367626"/>
                <a:ext cx="127155" cy="134182"/>
              </a:xfrm>
              <a:custGeom>
                <a:avLst/>
                <a:gdLst>
                  <a:gd name="T0" fmla="*/ 79 w 80"/>
                  <a:gd name="T1" fmla="*/ 72 h 85"/>
                  <a:gd name="T2" fmla="*/ 72 w 80"/>
                  <a:gd name="T3" fmla="*/ 84 h 85"/>
                  <a:gd name="T4" fmla="*/ 64 w 80"/>
                  <a:gd name="T5" fmla="*/ 82 h 85"/>
                  <a:gd name="T6" fmla="*/ 52 w 80"/>
                  <a:gd name="T7" fmla="*/ 66 h 85"/>
                  <a:gd name="T8" fmla="*/ 54 w 80"/>
                  <a:gd name="T9" fmla="*/ 52 h 85"/>
                  <a:gd name="T10" fmla="*/ 46 w 80"/>
                  <a:gd name="T11" fmla="*/ 41 h 85"/>
                  <a:gd name="T12" fmla="*/ 42 w 80"/>
                  <a:gd name="T13" fmla="*/ 52 h 85"/>
                  <a:gd name="T14" fmla="*/ 29 w 80"/>
                  <a:gd name="T15" fmla="*/ 57 h 85"/>
                  <a:gd name="T16" fmla="*/ 28 w 80"/>
                  <a:gd name="T17" fmla="*/ 73 h 85"/>
                  <a:gd name="T18" fmla="*/ 11 w 80"/>
                  <a:gd name="T19" fmla="*/ 71 h 85"/>
                  <a:gd name="T20" fmla="*/ 10 w 80"/>
                  <a:gd name="T21" fmla="*/ 33 h 85"/>
                  <a:gd name="T22" fmla="*/ 0 w 80"/>
                  <a:gd name="T23" fmla="*/ 30 h 85"/>
                  <a:gd name="T24" fmla="*/ 10 w 80"/>
                  <a:gd name="T25" fmla="*/ 0 h 85"/>
                  <a:gd name="T26" fmla="*/ 28 w 80"/>
                  <a:gd name="T27" fmla="*/ 12 h 85"/>
                  <a:gd name="T28" fmla="*/ 43 w 80"/>
                  <a:gd name="T29" fmla="*/ 15 h 85"/>
                  <a:gd name="T30" fmla="*/ 61 w 80"/>
                  <a:gd name="T31" fmla="*/ 24 h 85"/>
                  <a:gd name="T32" fmla="*/ 64 w 80"/>
                  <a:gd name="T33" fmla="*/ 42 h 85"/>
                  <a:gd name="T34" fmla="*/ 70 w 80"/>
                  <a:gd name="T35" fmla="*/ 65 h 85"/>
                  <a:gd name="T36" fmla="*/ 79 w 80"/>
                  <a:gd name="T37" fmla="*/ 72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 h="85">
                    <a:moveTo>
                      <a:pt x="79" y="72"/>
                    </a:moveTo>
                    <a:lnTo>
                      <a:pt x="72" y="84"/>
                    </a:lnTo>
                    <a:lnTo>
                      <a:pt x="64" y="82"/>
                    </a:lnTo>
                    <a:lnTo>
                      <a:pt x="52" y="66"/>
                    </a:lnTo>
                    <a:lnTo>
                      <a:pt x="54" y="52"/>
                    </a:lnTo>
                    <a:lnTo>
                      <a:pt x="46" y="41"/>
                    </a:lnTo>
                    <a:lnTo>
                      <a:pt x="42" y="52"/>
                    </a:lnTo>
                    <a:lnTo>
                      <a:pt x="29" y="57"/>
                    </a:lnTo>
                    <a:lnTo>
                      <a:pt x="28" y="73"/>
                    </a:lnTo>
                    <a:lnTo>
                      <a:pt x="11" y="71"/>
                    </a:lnTo>
                    <a:lnTo>
                      <a:pt x="10" y="33"/>
                    </a:lnTo>
                    <a:lnTo>
                      <a:pt x="0" y="30"/>
                    </a:lnTo>
                    <a:lnTo>
                      <a:pt x="10" y="0"/>
                    </a:lnTo>
                    <a:lnTo>
                      <a:pt x="28" y="12"/>
                    </a:lnTo>
                    <a:lnTo>
                      <a:pt x="43" y="15"/>
                    </a:lnTo>
                    <a:lnTo>
                      <a:pt x="61" y="24"/>
                    </a:lnTo>
                    <a:lnTo>
                      <a:pt x="64" y="42"/>
                    </a:lnTo>
                    <a:lnTo>
                      <a:pt x="70" y="65"/>
                    </a:lnTo>
                    <a:lnTo>
                      <a:pt x="79" y="72"/>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40" name="Freeform 191">
                <a:extLst>
                  <a:ext uri="{FF2B5EF4-FFF2-40B4-BE49-F238E27FC236}">
                    <a16:creationId xmlns:a16="http://schemas.microsoft.com/office/drawing/2014/main" id="{D5AFF973-A2C7-7A71-42E0-3B8111FB36F2}"/>
                  </a:ext>
                </a:extLst>
              </p:cNvPr>
              <p:cNvSpPr>
                <a:spLocks/>
              </p:cNvSpPr>
              <p:nvPr/>
            </p:nvSpPr>
            <p:spPr bwMode="auto">
              <a:xfrm>
                <a:off x="4998248" y="3703080"/>
                <a:ext cx="215185" cy="328465"/>
              </a:xfrm>
              <a:custGeom>
                <a:avLst/>
                <a:gdLst>
                  <a:gd name="T0" fmla="*/ 0 w 138"/>
                  <a:gd name="T1" fmla="*/ 157 h 209"/>
                  <a:gd name="T2" fmla="*/ 26 w 138"/>
                  <a:gd name="T3" fmla="*/ 135 h 209"/>
                  <a:gd name="T4" fmla="*/ 35 w 138"/>
                  <a:gd name="T5" fmla="*/ 124 h 209"/>
                  <a:gd name="T6" fmla="*/ 47 w 138"/>
                  <a:gd name="T7" fmla="*/ 113 h 209"/>
                  <a:gd name="T8" fmla="*/ 63 w 138"/>
                  <a:gd name="T9" fmla="*/ 102 h 209"/>
                  <a:gd name="T10" fmla="*/ 72 w 138"/>
                  <a:gd name="T11" fmla="*/ 85 h 209"/>
                  <a:gd name="T12" fmla="*/ 79 w 138"/>
                  <a:gd name="T13" fmla="*/ 58 h 209"/>
                  <a:gd name="T14" fmla="*/ 83 w 138"/>
                  <a:gd name="T15" fmla="*/ 51 h 209"/>
                  <a:gd name="T16" fmla="*/ 92 w 138"/>
                  <a:gd name="T17" fmla="*/ 45 h 209"/>
                  <a:gd name="T18" fmla="*/ 94 w 138"/>
                  <a:gd name="T19" fmla="*/ 25 h 209"/>
                  <a:gd name="T20" fmla="*/ 91 w 138"/>
                  <a:gd name="T21" fmla="*/ 1 h 209"/>
                  <a:gd name="T22" fmla="*/ 97 w 138"/>
                  <a:gd name="T23" fmla="*/ 0 h 209"/>
                  <a:gd name="T24" fmla="*/ 100 w 138"/>
                  <a:gd name="T25" fmla="*/ 10 h 209"/>
                  <a:gd name="T26" fmla="*/ 104 w 138"/>
                  <a:gd name="T27" fmla="*/ 18 h 209"/>
                  <a:gd name="T28" fmla="*/ 111 w 138"/>
                  <a:gd name="T29" fmla="*/ 32 h 209"/>
                  <a:gd name="T30" fmla="*/ 111 w 138"/>
                  <a:gd name="T31" fmla="*/ 40 h 209"/>
                  <a:gd name="T32" fmla="*/ 105 w 138"/>
                  <a:gd name="T33" fmla="*/ 43 h 209"/>
                  <a:gd name="T34" fmla="*/ 108 w 138"/>
                  <a:gd name="T35" fmla="*/ 46 h 209"/>
                  <a:gd name="T36" fmla="*/ 111 w 138"/>
                  <a:gd name="T37" fmla="*/ 54 h 209"/>
                  <a:gd name="T38" fmla="*/ 116 w 138"/>
                  <a:gd name="T39" fmla="*/ 62 h 209"/>
                  <a:gd name="T40" fmla="*/ 115 w 138"/>
                  <a:gd name="T41" fmla="*/ 69 h 209"/>
                  <a:gd name="T42" fmla="*/ 108 w 138"/>
                  <a:gd name="T43" fmla="*/ 73 h 209"/>
                  <a:gd name="T44" fmla="*/ 109 w 138"/>
                  <a:gd name="T45" fmla="*/ 81 h 209"/>
                  <a:gd name="T46" fmla="*/ 120 w 138"/>
                  <a:gd name="T47" fmla="*/ 95 h 209"/>
                  <a:gd name="T48" fmla="*/ 128 w 138"/>
                  <a:gd name="T49" fmla="*/ 111 h 209"/>
                  <a:gd name="T50" fmla="*/ 121 w 138"/>
                  <a:gd name="T51" fmla="*/ 120 h 209"/>
                  <a:gd name="T52" fmla="*/ 115 w 138"/>
                  <a:gd name="T53" fmla="*/ 139 h 209"/>
                  <a:gd name="T54" fmla="*/ 125 w 138"/>
                  <a:gd name="T55" fmla="*/ 156 h 209"/>
                  <a:gd name="T56" fmla="*/ 132 w 138"/>
                  <a:gd name="T57" fmla="*/ 176 h 209"/>
                  <a:gd name="T58" fmla="*/ 137 w 138"/>
                  <a:gd name="T59" fmla="*/ 185 h 209"/>
                  <a:gd name="T60" fmla="*/ 92 w 138"/>
                  <a:gd name="T61" fmla="*/ 190 h 209"/>
                  <a:gd name="T62" fmla="*/ 69 w 138"/>
                  <a:gd name="T63" fmla="*/ 193 h 209"/>
                  <a:gd name="T64" fmla="*/ 60 w 138"/>
                  <a:gd name="T65" fmla="*/ 200 h 209"/>
                  <a:gd name="T66" fmla="*/ 60 w 138"/>
                  <a:gd name="T67" fmla="*/ 206 h 209"/>
                  <a:gd name="T68" fmla="*/ 40 w 138"/>
                  <a:gd name="T69" fmla="*/ 208 h 209"/>
                  <a:gd name="T70" fmla="*/ 37 w 138"/>
                  <a:gd name="T71" fmla="*/ 193 h 209"/>
                  <a:gd name="T72" fmla="*/ 44 w 138"/>
                  <a:gd name="T73" fmla="*/ 178 h 209"/>
                  <a:gd name="T74" fmla="*/ 37 w 138"/>
                  <a:gd name="T75" fmla="*/ 170 h 209"/>
                  <a:gd name="T76" fmla="*/ 22 w 138"/>
                  <a:gd name="T77" fmla="*/ 164 h 209"/>
                  <a:gd name="T78" fmla="*/ 0 w 138"/>
                  <a:gd name="T79" fmla="*/ 1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8" h="209">
                    <a:moveTo>
                      <a:pt x="0" y="157"/>
                    </a:moveTo>
                    <a:lnTo>
                      <a:pt x="26" y="135"/>
                    </a:lnTo>
                    <a:lnTo>
                      <a:pt x="35" y="124"/>
                    </a:lnTo>
                    <a:lnTo>
                      <a:pt x="47" y="113"/>
                    </a:lnTo>
                    <a:lnTo>
                      <a:pt x="63" y="102"/>
                    </a:lnTo>
                    <a:lnTo>
                      <a:pt x="72" y="85"/>
                    </a:lnTo>
                    <a:lnTo>
                      <a:pt x="79" y="58"/>
                    </a:lnTo>
                    <a:lnTo>
                      <a:pt x="83" y="51"/>
                    </a:lnTo>
                    <a:lnTo>
                      <a:pt x="92" y="45"/>
                    </a:lnTo>
                    <a:lnTo>
                      <a:pt x="94" y="25"/>
                    </a:lnTo>
                    <a:lnTo>
                      <a:pt x="91" y="1"/>
                    </a:lnTo>
                    <a:lnTo>
                      <a:pt x="97" y="0"/>
                    </a:lnTo>
                    <a:lnTo>
                      <a:pt x="100" y="10"/>
                    </a:lnTo>
                    <a:lnTo>
                      <a:pt x="104" y="18"/>
                    </a:lnTo>
                    <a:lnTo>
                      <a:pt x="111" y="32"/>
                    </a:lnTo>
                    <a:lnTo>
                      <a:pt x="111" y="40"/>
                    </a:lnTo>
                    <a:lnTo>
                      <a:pt x="105" y="43"/>
                    </a:lnTo>
                    <a:lnTo>
                      <a:pt x="108" y="46"/>
                    </a:lnTo>
                    <a:lnTo>
                      <a:pt x="111" y="54"/>
                    </a:lnTo>
                    <a:lnTo>
                      <a:pt x="116" y="62"/>
                    </a:lnTo>
                    <a:lnTo>
                      <a:pt x="115" y="69"/>
                    </a:lnTo>
                    <a:lnTo>
                      <a:pt x="108" y="73"/>
                    </a:lnTo>
                    <a:lnTo>
                      <a:pt x="109" y="81"/>
                    </a:lnTo>
                    <a:lnTo>
                      <a:pt x="120" y="95"/>
                    </a:lnTo>
                    <a:lnTo>
                      <a:pt x="128" y="111"/>
                    </a:lnTo>
                    <a:lnTo>
                      <a:pt x="121" y="120"/>
                    </a:lnTo>
                    <a:lnTo>
                      <a:pt x="115" y="139"/>
                    </a:lnTo>
                    <a:lnTo>
                      <a:pt x="125" y="156"/>
                    </a:lnTo>
                    <a:lnTo>
                      <a:pt x="132" y="176"/>
                    </a:lnTo>
                    <a:lnTo>
                      <a:pt x="137" y="185"/>
                    </a:lnTo>
                    <a:lnTo>
                      <a:pt x="92" y="190"/>
                    </a:lnTo>
                    <a:lnTo>
                      <a:pt x="69" y="193"/>
                    </a:lnTo>
                    <a:lnTo>
                      <a:pt x="60" y="200"/>
                    </a:lnTo>
                    <a:lnTo>
                      <a:pt x="60" y="206"/>
                    </a:lnTo>
                    <a:lnTo>
                      <a:pt x="40" y="208"/>
                    </a:lnTo>
                    <a:lnTo>
                      <a:pt x="37" y="193"/>
                    </a:lnTo>
                    <a:lnTo>
                      <a:pt x="44" y="178"/>
                    </a:lnTo>
                    <a:lnTo>
                      <a:pt x="37" y="170"/>
                    </a:lnTo>
                    <a:lnTo>
                      <a:pt x="22" y="164"/>
                    </a:lnTo>
                    <a:lnTo>
                      <a:pt x="0" y="157"/>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41" name="Freeform 193">
                <a:extLst>
                  <a:ext uri="{FF2B5EF4-FFF2-40B4-BE49-F238E27FC236}">
                    <a16:creationId xmlns:a16="http://schemas.microsoft.com/office/drawing/2014/main" id="{ED9EEC47-6C1F-6DA2-DEC3-FBD5904C81BE}"/>
                  </a:ext>
                </a:extLst>
              </p:cNvPr>
              <p:cNvSpPr>
                <a:spLocks/>
              </p:cNvSpPr>
              <p:nvPr/>
            </p:nvSpPr>
            <p:spPr bwMode="auto">
              <a:xfrm>
                <a:off x="6369006" y="2844877"/>
                <a:ext cx="236145" cy="176113"/>
              </a:xfrm>
              <a:custGeom>
                <a:avLst/>
                <a:gdLst>
                  <a:gd name="T0" fmla="*/ 144 w 169"/>
                  <a:gd name="T1" fmla="*/ 21 h 126"/>
                  <a:gd name="T2" fmla="*/ 134 w 169"/>
                  <a:gd name="T3" fmla="*/ 33 h 126"/>
                  <a:gd name="T4" fmla="*/ 144 w 169"/>
                  <a:gd name="T5" fmla="*/ 42 h 126"/>
                  <a:gd name="T6" fmla="*/ 143 w 169"/>
                  <a:gd name="T7" fmla="*/ 87 h 126"/>
                  <a:gd name="T8" fmla="*/ 130 w 169"/>
                  <a:gd name="T9" fmla="*/ 91 h 126"/>
                  <a:gd name="T10" fmla="*/ 124 w 169"/>
                  <a:gd name="T11" fmla="*/ 102 h 126"/>
                  <a:gd name="T12" fmla="*/ 97 w 169"/>
                  <a:gd name="T13" fmla="*/ 108 h 126"/>
                  <a:gd name="T14" fmla="*/ 98 w 169"/>
                  <a:gd name="T15" fmla="*/ 117 h 126"/>
                  <a:gd name="T16" fmla="*/ 91 w 169"/>
                  <a:gd name="T17" fmla="*/ 126 h 126"/>
                  <a:gd name="T18" fmla="*/ 76 w 169"/>
                  <a:gd name="T19" fmla="*/ 85 h 126"/>
                  <a:gd name="T20" fmla="*/ 57 w 169"/>
                  <a:gd name="T21" fmla="*/ 99 h 126"/>
                  <a:gd name="T22" fmla="*/ 40 w 169"/>
                  <a:gd name="T23" fmla="*/ 101 h 126"/>
                  <a:gd name="T24" fmla="*/ 0 w 169"/>
                  <a:gd name="T25" fmla="*/ 96 h 126"/>
                  <a:gd name="T26" fmla="*/ 20 w 169"/>
                  <a:gd name="T27" fmla="*/ 81 h 126"/>
                  <a:gd name="T28" fmla="*/ 58 w 169"/>
                  <a:gd name="T29" fmla="*/ 68 h 126"/>
                  <a:gd name="T30" fmla="*/ 64 w 169"/>
                  <a:gd name="T31" fmla="*/ 60 h 126"/>
                  <a:gd name="T32" fmla="*/ 50 w 169"/>
                  <a:gd name="T33" fmla="*/ 47 h 126"/>
                  <a:gd name="T34" fmla="*/ 37 w 169"/>
                  <a:gd name="T35" fmla="*/ 50 h 126"/>
                  <a:gd name="T36" fmla="*/ 23 w 169"/>
                  <a:gd name="T37" fmla="*/ 38 h 126"/>
                  <a:gd name="T38" fmla="*/ 31 w 169"/>
                  <a:gd name="T39" fmla="*/ 27 h 126"/>
                  <a:gd name="T40" fmla="*/ 29 w 169"/>
                  <a:gd name="T41" fmla="*/ 12 h 126"/>
                  <a:gd name="T42" fmla="*/ 40 w 169"/>
                  <a:gd name="T43" fmla="*/ 3 h 126"/>
                  <a:gd name="T44" fmla="*/ 55 w 169"/>
                  <a:gd name="T45" fmla="*/ 18 h 126"/>
                  <a:gd name="T46" fmla="*/ 62 w 169"/>
                  <a:gd name="T47" fmla="*/ 6 h 126"/>
                  <a:gd name="T48" fmla="*/ 83 w 169"/>
                  <a:gd name="T49" fmla="*/ 0 h 126"/>
                  <a:gd name="T50" fmla="*/ 95 w 169"/>
                  <a:gd name="T51" fmla="*/ 10 h 126"/>
                  <a:gd name="T52" fmla="*/ 129 w 169"/>
                  <a:gd name="T53" fmla="*/ 6 h 126"/>
                  <a:gd name="T54" fmla="*/ 151 w 169"/>
                  <a:gd name="T55" fmla="*/ 7 h 126"/>
                  <a:gd name="T56" fmla="*/ 169 w 169"/>
                  <a:gd name="T57" fmla="*/ 2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9" h="126">
                    <a:moveTo>
                      <a:pt x="144" y="21"/>
                    </a:moveTo>
                    <a:lnTo>
                      <a:pt x="134" y="33"/>
                    </a:lnTo>
                    <a:lnTo>
                      <a:pt x="144" y="42"/>
                    </a:lnTo>
                    <a:lnTo>
                      <a:pt x="143" y="87"/>
                    </a:lnTo>
                    <a:lnTo>
                      <a:pt x="130" y="91"/>
                    </a:lnTo>
                    <a:lnTo>
                      <a:pt x="124" y="102"/>
                    </a:lnTo>
                    <a:lnTo>
                      <a:pt x="97" y="108"/>
                    </a:lnTo>
                    <a:lnTo>
                      <a:pt x="98" y="117"/>
                    </a:lnTo>
                    <a:lnTo>
                      <a:pt x="91" y="126"/>
                    </a:lnTo>
                    <a:lnTo>
                      <a:pt x="76" y="85"/>
                    </a:lnTo>
                    <a:lnTo>
                      <a:pt x="57" y="99"/>
                    </a:lnTo>
                    <a:lnTo>
                      <a:pt x="40" y="101"/>
                    </a:lnTo>
                    <a:lnTo>
                      <a:pt x="0" y="96"/>
                    </a:lnTo>
                    <a:lnTo>
                      <a:pt x="20" y="81"/>
                    </a:lnTo>
                    <a:lnTo>
                      <a:pt x="58" y="68"/>
                    </a:lnTo>
                    <a:lnTo>
                      <a:pt x="64" y="60"/>
                    </a:lnTo>
                    <a:lnTo>
                      <a:pt x="50" y="47"/>
                    </a:lnTo>
                    <a:lnTo>
                      <a:pt x="37" y="50"/>
                    </a:lnTo>
                    <a:lnTo>
                      <a:pt x="23" y="38"/>
                    </a:lnTo>
                    <a:lnTo>
                      <a:pt x="31" y="27"/>
                    </a:lnTo>
                    <a:lnTo>
                      <a:pt x="29" y="12"/>
                    </a:lnTo>
                    <a:lnTo>
                      <a:pt x="40" y="3"/>
                    </a:lnTo>
                    <a:lnTo>
                      <a:pt x="55" y="18"/>
                    </a:lnTo>
                    <a:lnTo>
                      <a:pt x="62" y="6"/>
                    </a:lnTo>
                    <a:lnTo>
                      <a:pt x="83" y="0"/>
                    </a:lnTo>
                    <a:lnTo>
                      <a:pt x="95" y="10"/>
                    </a:lnTo>
                    <a:lnTo>
                      <a:pt x="129" y="6"/>
                    </a:lnTo>
                    <a:lnTo>
                      <a:pt x="151" y="7"/>
                    </a:lnTo>
                    <a:lnTo>
                      <a:pt x="169" y="22"/>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42" name="Freeform 194">
                <a:extLst>
                  <a:ext uri="{FF2B5EF4-FFF2-40B4-BE49-F238E27FC236}">
                    <a16:creationId xmlns:a16="http://schemas.microsoft.com/office/drawing/2014/main" id="{C3C8F683-FA7A-CAC4-1ECB-209F81F22342}"/>
                  </a:ext>
                </a:extLst>
              </p:cNvPr>
              <p:cNvSpPr>
                <a:spLocks/>
              </p:cNvSpPr>
              <p:nvPr/>
            </p:nvSpPr>
            <p:spPr bwMode="auto">
              <a:xfrm>
                <a:off x="5673148" y="2836491"/>
                <a:ext cx="139731" cy="102034"/>
              </a:xfrm>
              <a:custGeom>
                <a:avLst/>
                <a:gdLst>
                  <a:gd name="T0" fmla="*/ 0 w 90"/>
                  <a:gd name="T1" fmla="*/ 18 h 65"/>
                  <a:gd name="T2" fmla="*/ 32 w 90"/>
                  <a:gd name="T3" fmla="*/ 0 h 65"/>
                  <a:gd name="T4" fmla="*/ 50 w 90"/>
                  <a:gd name="T5" fmla="*/ 9 h 65"/>
                  <a:gd name="T6" fmla="*/ 62 w 90"/>
                  <a:gd name="T7" fmla="*/ 9 h 65"/>
                  <a:gd name="T8" fmla="*/ 74 w 90"/>
                  <a:gd name="T9" fmla="*/ 21 h 65"/>
                  <a:gd name="T10" fmla="*/ 89 w 90"/>
                  <a:gd name="T11" fmla="*/ 37 h 65"/>
                  <a:gd name="T12" fmla="*/ 80 w 90"/>
                  <a:gd name="T13" fmla="*/ 55 h 65"/>
                  <a:gd name="T14" fmla="*/ 64 w 90"/>
                  <a:gd name="T15" fmla="*/ 62 h 65"/>
                  <a:gd name="T16" fmla="*/ 45 w 90"/>
                  <a:gd name="T17" fmla="*/ 64 h 65"/>
                  <a:gd name="T18" fmla="*/ 42 w 90"/>
                  <a:gd name="T19" fmla="*/ 50 h 65"/>
                  <a:gd name="T20" fmla="*/ 35 w 90"/>
                  <a:gd name="T21" fmla="*/ 37 h 65"/>
                  <a:gd name="T22" fmla="*/ 15 w 90"/>
                  <a:gd name="T23" fmla="*/ 31 h 65"/>
                  <a:gd name="T24" fmla="*/ 0 w 90"/>
                  <a:gd name="T25" fmla="*/ 1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0" h="65">
                    <a:moveTo>
                      <a:pt x="0" y="18"/>
                    </a:moveTo>
                    <a:lnTo>
                      <a:pt x="32" y="0"/>
                    </a:lnTo>
                    <a:lnTo>
                      <a:pt x="50" y="9"/>
                    </a:lnTo>
                    <a:lnTo>
                      <a:pt x="62" y="9"/>
                    </a:lnTo>
                    <a:lnTo>
                      <a:pt x="74" y="21"/>
                    </a:lnTo>
                    <a:lnTo>
                      <a:pt x="89" y="37"/>
                    </a:lnTo>
                    <a:lnTo>
                      <a:pt x="80" y="55"/>
                    </a:lnTo>
                    <a:lnTo>
                      <a:pt x="64" y="62"/>
                    </a:lnTo>
                    <a:lnTo>
                      <a:pt x="45" y="64"/>
                    </a:lnTo>
                    <a:lnTo>
                      <a:pt x="42" y="50"/>
                    </a:lnTo>
                    <a:lnTo>
                      <a:pt x="35" y="37"/>
                    </a:lnTo>
                    <a:lnTo>
                      <a:pt x="15" y="31"/>
                    </a:lnTo>
                    <a:lnTo>
                      <a:pt x="0" y="18"/>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43" name="Freeform 195">
                <a:extLst>
                  <a:ext uri="{FF2B5EF4-FFF2-40B4-BE49-F238E27FC236}">
                    <a16:creationId xmlns:a16="http://schemas.microsoft.com/office/drawing/2014/main" id="{E9BFE44A-65B9-C1EC-DDDE-0C3CC9ACFF74}"/>
                  </a:ext>
                </a:extLst>
              </p:cNvPr>
              <p:cNvSpPr>
                <a:spLocks/>
              </p:cNvSpPr>
              <p:nvPr/>
            </p:nvSpPr>
            <p:spPr bwMode="auto">
              <a:xfrm>
                <a:off x="7090018" y="3793932"/>
                <a:ext cx="113181" cy="216648"/>
              </a:xfrm>
              <a:custGeom>
                <a:avLst/>
                <a:gdLst>
                  <a:gd name="T0" fmla="*/ 46 w 73"/>
                  <a:gd name="T1" fmla="*/ 46 h 138"/>
                  <a:gd name="T2" fmla="*/ 25 w 73"/>
                  <a:gd name="T3" fmla="*/ 35 h 138"/>
                  <a:gd name="T4" fmla="*/ 13 w 73"/>
                  <a:gd name="T5" fmla="*/ 0 h 138"/>
                  <a:gd name="T6" fmla="*/ 0 w 73"/>
                  <a:gd name="T7" fmla="*/ 13 h 138"/>
                  <a:gd name="T8" fmla="*/ 2 w 73"/>
                  <a:gd name="T9" fmla="*/ 36 h 138"/>
                  <a:gd name="T10" fmla="*/ 8 w 73"/>
                  <a:gd name="T11" fmla="*/ 91 h 138"/>
                  <a:gd name="T12" fmla="*/ 26 w 73"/>
                  <a:gd name="T13" fmla="*/ 116 h 138"/>
                  <a:gd name="T14" fmla="*/ 41 w 73"/>
                  <a:gd name="T15" fmla="*/ 133 h 138"/>
                  <a:gd name="T16" fmla="*/ 70 w 73"/>
                  <a:gd name="T17" fmla="*/ 137 h 138"/>
                  <a:gd name="T18" fmla="*/ 72 w 73"/>
                  <a:gd name="T19" fmla="*/ 127 h 138"/>
                  <a:gd name="T20" fmla="*/ 68 w 73"/>
                  <a:gd name="T21" fmla="*/ 78 h 138"/>
                  <a:gd name="T22" fmla="*/ 46 w 73"/>
                  <a:gd name="T23" fmla="*/ 4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138">
                    <a:moveTo>
                      <a:pt x="46" y="46"/>
                    </a:moveTo>
                    <a:lnTo>
                      <a:pt x="25" y="35"/>
                    </a:lnTo>
                    <a:lnTo>
                      <a:pt x="13" y="0"/>
                    </a:lnTo>
                    <a:lnTo>
                      <a:pt x="0" y="13"/>
                    </a:lnTo>
                    <a:lnTo>
                      <a:pt x="2" y="36"/>
                    </a:lnTo>
                    <a:lnTo>
                      <a:pt x="8" y="91"/>
                    </a:lnTo>
                    <a:lnTo>
                      <a:pt x="26" y="116"/>
                    </a:lnTo>
                    <a:lnTo>
                      <a:pt x="41" y="133"/>
                    </a:lnTo>
                    <a:lnTo>
                      <a:pt x="70" y="137"/>
                    </a:lnTo>
                    <a:lnTo>
                      <a:pt x="72" y="127"/>
                    </a:lnTo>
                    <a:lnTo>
                      <a:pt x="68" y="78"/>
                    </a:lnTo>
                    <a:lnTo>
                      <a:pt x="46" y="46"/>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44" name="Freeform 196">
                <a:extLst>
                  <a:ext uri="{FF2B5EF4-FFF2-40B4-BE49-F238E27FC236}">
                    <a16:creationId xmlns:a16="http://schemas.microsoft.com/office/drawing/2014/main" id="{60C546BC-45B6-5BB2-1124-BC8CBEE1C865}"/>
                  </a:ext>
                </a:extLst>
              </p:cNvPr>
              <p:cNvSpPr>
                <a:spLocks/>
              </p:cNvSpPr>
              <p:nvPr/>
            </p:nvSpPr>
            <p:spPr bwMode="auto">
              <a:xfrm>
                <a:off x="7875304" y="2790366"/>
                <a:ext cx="110386" cy="138375"/>
              </a:xfrm>
              <a:custGeom>
                <a:avLst/>
                <a:gdLst>
                  <a:gd name="T0" fmla="*/ 12 w 71"/>
                  <a:gd name="T1" fmla="*/ 8 h 89"/>
                  <a:gd name="T2" fmla="*/ 15 w 71"/>
                  <a:gd name="T3" fmla="*/ 26 h 89"/>
                  <a:gd name="T4" fmla="*/ 17 w 71"/>
                  <a:gd name="T5" fmla="*/ 42 h 89"/>
                  <a:gd name="T6" fmla="*/ 8 w 71"/>
                  <a:gd name="T7" fmla="*/ 58 h 89"/>
                  <a:gd name="T8" fmla="*/ 0 w 71"/>
                  <a:gd name="T9" fmla="*/ 73 h 89"/>
                  <a:gd name="T10" fmla="*/ 9 w 71"/>
                  <a:gd name="T11" fmla="*/ 80 h 89"/>
                  <a:gd name="T12" fmla="*/ 26 w 71"/>
                  <a:gd name="T13" fmla="*/ 74 h 89"/>
                  <a:gd name="T14" fmla="*/ 42 w 71"/>
                  <a:gd name="T15" fmla="*/ 77 h 89"/>
                  <a:gd name="T16" fmla="*/ 42 w 71"/>
                  <a:gd name="T17" fmla="*/ 78 h 89"/>
                  <a:gd name="T18" fmla="*/ 42 w 71"/>
                  <a:gd name="T19" fmla="*/ 79 h 89"/>
                  <a:gd name="T20" fmla="*/ 43 w 71"/>
                  <a:gd name="T21" fmla="*/ 80 h 89"/>
                  <a:gd name="T22" fmla="*/ 44 w 71"/>
                  <a:gd name="T23" fmla="*/ 80 h 89"/>
                  <a:gd name="T24" fmla="*/ 44 w 71"/>
                  <a:gd name="T25" fmla="*/ 83 h 89"/>
                  <a:gd name="T26" fmla="*/ 45 w 71"/>
                  <a:gd name="T27" fmla="*/ 85 h 89"/>
                  <a:gd name="T28" fmla="*/ 46 w 71"/>
                  <a:gd name="T29" fmla="*/ 85 h 89"/>
                  <a:gd name="T30" fmla="*/ 48 w 71"/>
                  <a:gd name="T31" fmla="*/ 87 h 89"/>
                  <a:gd name="T32" fmla="*/ 48 w 71"/>
                  <a:gd name="T33" fmla="*/ 88 h 89"/>
                  <a:gd name="T34" fmla="*/ 49 w 71"/>
                  <a:gd name="T35" fmla="*/ 88 h 89"/>
                  <a:gd name="T36" fmla="*/ 50 w 71"/>
                  <a:gd name="T37" fmla="*/ 87 h 89"/>
                  <a:gd name="T38" fmla="*/ 50 w 71"/>
                  <a:gd name="T39" fmla="*/ 86 h 89"/>
                  <a:gd name="T40" fmla="*/ 50 w 71"/>
                  <a:gd name="T41" fmla="*/ 85 h 89"/>
                  <a:gd name="T42" fmla="*/ 51 w 71"/>
                  <a:gd name="T43" fmla="*/ 83 h 89"/>
                  <a:gd name="T44" fmla="*/ 51 w 71"/>
                  <a:gd name="T45" fmla="*/ 80 h 89"/>
                  <a:gd name="T46" fmla="*/ 53 w 71"/>
                  <a:gd name="T47" fmla="*/ 78 h 89"/>
                  <a:gd name="T48" fmla="*/ 55 w 71"/>
                  <a:gd name="T49" fmla="*/ 76 h 89"/>
                  <a:gd name="T50" fmla="*/ 55 w 71"/>
                  <a:gd name="T51" fmla="*/ 74 h 89"/>
                  <a:gd name="T52" fmla="*/ 57 w 71"/>
                  <a:gd name="T53" fmla="*/ 71 h 89"/>
                  <a:gd name="T54" fmla="*/ 58 w 71"/>
                  <a:gd name="T55" fmla="*/ 69 h 89"/>
                  <a:gd name="T56" fmla="*/ 59 w 71"/>
                  <a:gd name="T57" fmla="*/ 68 h 89"/>
                  <a:gd name="T58" fmla="*/ 59 w 71"/>
                  <a:gd name="T59" fmla="*/ 67 h 89"/>
                  <a:gd name="T60" fmla="*/ 60 w 71"/>
                  <a:gd name="T61" fmla="*/ 66 h 89"/>
                  <a:gd name="T62" fmla="*/ 70 w 71"/>
                  <a:gd name="T63" fmla="*/ 61 h 89"/>
                  <a:gd name="T64" fmla="*/ 67 w 71"/>
                  <a:gd name="T65" fmla="*/ 42 h 89"/>
                  <a:gd name="T66" fmla="*/ 52 w 71"/>
                  <a:gd name="T67" fmla="*/ 37 h 89"/>
                  <a:gd name="T68" fmla="*/ 31 w 71"/>
                  <a:gd name="T69" fmla="*/ 30 h 89"/>
                  <a:gd name="T70" fmla="*/ 25 w 71"/>
                  <a:gd name="T71" fmla="*/ 14 h 89"/>
                  <a:gd name="T72" fmla="*/ 18 w 71"/>
                  <a:gd name="T73" fmla="*/ 0 h 89"/>
                  <a:gd name="T74" fmla="*/ 12 w 71"/>
                  <a:gd name="T75" fmla="*/ 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1" h="89">
                    <a:moveTo>
                      <a:pt x="12" y="8"/>
                    </a:moveTo>
                    <a:lnTo>
                      <a:pt x="15" y="26"/>
                    </a:lnTo>
                    <a:lnTo>
                      <a:pt x="17" y="42"/>
                    </a:lnTo>
                    <a:lnTo>
                      <a:pt x="8" y="58"/>
                    </a:lnTo>
                    <a:lnTo>
                      <a:pt x="0" y="73"/>
                    </a:lnTo>
                    <a:lnTo>
                      <a:pt x="9" y="80"/>
                    </a:lnTo>
                    <a:lnTo>
                      <a:pt x="26" y="74"/>
                    </a:lnTo>
                    <a:lnTo>
                      <a:pt x="42" y="77"/>
                    </a:lnTo>
                    <a:lnTo>
                      <a:pt x="42" y="78"/>
                    </a:lnTo>
                    <a:lnTo>
                      <a:pt x="42" y="79"/>
                    </a:lnTo>
                    <a:lnTo>
                      <a:pt x="43" y="80"/>
                    </a:lnTo>
                    <a:lnTo>
                      <a:pt x="44" y="80"/>
                    </a:lnTo>
                    <a:lnTo>
                      <a:pt x="44" y="83"/>
                    </a:lnTo>
                    <a:lnTo>
                      <a:pt x="45" y="85"/>
                    </a:lnTo>
                    <a:lnTo>
                      <a:pt x="46" y="85"/>
                    </a:lnTo>
                    <a:lnTo>
                      <a:pt x="48" y="87"/>
                    </a:lnTo>
                    <a:lnTo>
                      <a:pt x="48" y="88"/>
                    </a:lnTo>
                    <a:lnTo>
                      <a:pt x="49" y="88"/>
                    </a:lnTo>
                    <a:lnTo>
                      <a:pt x="50" y="87"/>
                    </a:lnTo>
                    <a:lnTo>
                      <a:pt x="50" y="86"/>
                    </a:lnTo>
                    <a:lnTo>
                      <a:pt x="50" y="85"/>
                    </a:lnTo>
                    <a:lnTo>
                      <a:pt x="51" y="83"/>
                    </a:lnTo>
                    <a:lnTo>
                      <a:pt x="51" y="80"/>
                    </a:lnTo>
                    <a:lnTo>
                      <a:pt x="53" y="78"/>
                    </a:lnTo>
                    <a:lnTo>
                      <a:pt x="55" y="76"/>
                    </a:lnTo>
                    <a:lnTo>
                      <a:pt x="55" y="74"/>
                    </a:lnTo>
                    <a:lnTo>
                      <a:pt x="57" y="71"/>
                    </a:lnTo>
                    <a:lnTo>
                      <a:pt x="58" y="69"/>
                    </a:lnTo>
                    <a:lnTo>
                      <a:pt x="59" y="68"/>
                    </a:lnTo>
                    <a:lnTo>
                      <a:pt x="59" y="67"/>
                    </a:lnTo>
                    <a:lnTo>
                      <a:pt x="60" y="66"/>
                    </a:lnTo>
                    <a:lnTo>
                      <a:pt x="70" y="61"/>
                    </a:lnTo>
                    <a:lnTo>
                      <a:pt x="67" y="42"/>
                    </a:lnTo>
                    <a:lnTo>
                      <a:pt x="52" y="37"/>
                    </a:lnTo>
                    <a:lnTo>
                      <a:pt x="31" y="30"/>
                    </a:lnTo>
                    <a:lnTo>
                      <a:pt x="25" y="14"/>
                    </a:lnTo>
                    <a:lnTo>
                      <a:pt x="18" y="0"/>
                    </a:lnTo>
                    <a:lnTo>
                      <a:pt x="12" y="8"/>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45" name="Freeform 197">
                <a:extLst>
                  <a:ext uri="{FF2B5EF4-FFF2-40B4-BE49-F238E27FC236}">
                    <a16:creationId xmlns:a16="http://schemas.microsoft.com/office/drawing/2014/main" id="{89233BC8-3440-FF7C-8742-7A5196A5F440}"/>
                  </a:ext>
                </a:extLst>
              </p:cNvPr>
              <p:cNvSpPr>
                <a:spLocks/>
              </p:cNvSpPr>
              <p:nvPr/>
            </p:nvSpPr>
            <p:spPr bwMode="auto">
              <a:xfrm>
                <a:off x="7748149" y="2938524"/>
                <a:ext cx="213788" cy="225033"/>
              </a:xfrm>
              <a:custGeom>
                <a:avLst/>
                <a:gdLst>
                  <a:gd name="T0" fmla="*/ 99 w 136"/>
                  <a:gd name="T1" fmla="*/ 0 h 143"/>
                  <a:gd name="T2" fmla="*/ 114 w 136"/>
                  <a:gd name="T3" fmla="*/ 0 h 143"/>
                  <a:gd name="T4" fmla="*/ 118 w 136"/>
                  <a:gd name="T5" fmla="*/ 25 h 143"/>
                  <a:gd name="T6" fmla="*/ 123 w 136"/>
                  <a:gd name="T7" fmla="*/ 34 h 143"/>
                  <a:gd name="T8" fmla="*/ 135 w 136"/>
                  <a:gd name="T9" fmla="*/ 45 h 143"/>
                  <a:gd name="T10" fmla="*/ 117 w 136"/>
                  <a:gd name="T11" fmla="*/ 60 h 143"/>
                  <a:gd name="T12" fmla="*/ 125 w 136"/>
                  <a:gd name="T13" fmla="*/ 87 h 143"/>
                  <a:gd name="T14" fmla="*/ 121 w 136"/>
                  <a:gd name="T15" fmla="*/ 103 h 143"/>
                  <a:gd name="T16" fmla="*/ 114 w 136"/>
                  <a:gd name="T17" fmla="*/ 112 h 143"/>
                  <a:gd name="T18" fmla="*/ 106 w 136"/>
                  <a:gd name="T19" fmla="*/ 114 h 143"/>
                  <a:gd name="T20" fmla="*/ 101 w 136"/>
                  <a:gd name="T21" fmla="*/ 127 h 143"/>
                  <a:gd name="T22" fmla="*/ 91 w 136"/>
                  <a:gd name="T23" fmla="*/ 116 h 143"/>
                  <a:gd name="T24" fmla="*/ 86 w 136"/>
                  <a:gd name="T25" fmla="*/ 122 h 143"/>
                  <a:gd name="T26" fmla="*/ 67 w 136"/>
                  <a:gd name="T27" fmla="*/ 123 h 143"/>
                  <a:gd name="T28" fmla="*/ 63 w 136"/>
                  <a:gd name="T29" fmla="*/ 114 h 143"/>
                  <a:gd name="T30" fmla="*/ 55 w 136"/>
                  <a:gd name="T31" fmla="*/ 116 h 143"/>
                  <a:gd name="T32" fmla="*/ 55 w 136"/>
                  <a:gd name="T33" fmla="*/ 139 h 143"/>
                  <a:gd name="T34" fmla="*/ 46 w 136"/>
                  <a:gd name="T35" fmla="*/ 133 h 143"/>
                  <a:gd name="T36" fmla="*/ 40 w 136"/>
                  <a:gd name="T37" fmla="*/ 124 h 143"/>
                  <a:gd name="T38" fmla="*/ 36 w 136"/>
                  <a:gd name="T39" fmla="*/ 139 h 143"/>
                  <a:gd name="T40" fmla="*/ 26 w 136"/>
                  <a:gd name="T41" fmla="*/ 142 h 143"/>
                  <a:gd name="T42" fmla="*/ 19 w 136"/>
                  <a:gd name="T43" fmla="*/ 131 h 143"/>
                  <a:gd name="T44" fmla="*/ 7 w 136"/>
                  <a:gd name="T45" fmla="*/ 129 h 143"/>
                  <a:gd name="T46" fmla="*/ 0 w 136"/>
                  <a:gd name="T47" fmla="*/ 123 h 143"/>
                  <a:gd name="T48" fmla="*/ 11 w 136"/>
                  <a:gd name="T49" fmla="*/ 112 h 143"/>
                  <a:gd name="T50" fmla="*/ 23 w 136"/>
                  <a:gd name="T51" fmla="*/ 105 h 143"/>
                  <a:gd name="T52" fmla="*/ 32 w 136"/>
                  <a:gd name="T53" fmla="*/ 97 h 143"/>
                  <a:gd name="T54" fmla="*/ 54 w 136"/>
                  <a:gd name="T55" fmla="*/ 99 h 143"/>
                  <a:gd name="T56" fmla="*/ 55 w 136"/>
                  <a:gd name="T57" fmla="*/ 84 h 143"/>
                  <a:gd name="T58" fmla="*/ 60 w 136"/>
                  <a:gd name="T59" fmla="*/ 72 h 143"/>
                  <a:gd name="T60" fmla="*/ 68 w 136"/>
                  <a:gd name="T61" fmla="*/ 76 h 143"/>
                  <a:gd name="T62" fmla="*/ 88 w 136"/>
                  <a:gd name="T63" fmla="*/ 73 h 143"/>
                  <a:gd name="T64" fmla="*/ 91 w 136"/>
                  <a:gd name="T65" fmla="*/ 62 h 143"/>
                  <a:gd name="T66" fmla="*/ 91 w 136"/>
                  <a:gd name="T67" fmla="*/ 44 h 143"/>
                  <a:gd name="T68" fmla="*/ 97 w 136"/>
                  <a:gd name="T69" fmla="*/ 34 h 143"/>
                  <a:gd name="T70" fmla="*/ 92 w 136"/>
                  <a:gd name="T71" fmla="*/ 10 h 143"/>
                  <a:gd name="T72" fmla="*/ 99 w 136"/>
                  <a:gd name="T7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6" h="143">
                    <a:moveTo>
                      <a:pt x="99" y="0"/>
                    </a:moveTo>
                    <a:lnTo>
                      <a:pt x="114" y="0"/>
                    </a:lnTo>
                    <a:lnTo>
                      <a:pt x="118" y="25"/>
                    </a:lnTo>
                    <a:lnTo>
                      <a:pt x="123" y="34"/>
                    </a:lnTo>
                    <a:lnTo>
                      <a:pt x="135" y="45"/>
                    </a:lnTo>
                    <a:lnTo>
                      <a:pt x="117" y="60"/>
                    </a:lnTo>
                    <a:lnTo>
                      <a:pt x="125" y="87"/>
                    </a:lnTo>
                    <a:lnTo>
                      <a:pt x="121" y="103"/>
                    </a:lnTo>
                    <a:lnTo>
                      <a:pt x="114" y="112"/>
                    </a:lnTo>
                    <a:lnTo>
                      <a:pt x="106" y="114"/>
                    </a:lnTo>
                    <a:lnTo>
                      <a:pt x="101" y="127"/>
                    </a:lnTo>
                    <a:lnTo>
                      <a:pt x="91" y="116"/>
                    </a:lnTo>
                    <a:lnTo>
                      <a:pt x="86" y="122"/>
                    </a:lnTo>
                    <a:lnTo>
                      <a:pt x="67" y="123"/>
                    </a:lnTo>
                    <a:lnTo>
                      <a:pt x="63" y="114"/>
                    </a:lnTo>
                    <a:lnTo>
                      <a:pt x="55" y="116"/>
                    </a:lnTo>
                    <a:lnTo>
                      <a:pt x="55" y="139"/>
                    </a:lnTo>
                    <a:lnTo>
                      <a:pt x="46" y="133"/>
                    </a:lnTo>
                    <a:lnTo>
                      <a:pt x="40" y="124"/>
                    </a:lnTo>
                    <a:lnTo>
                      <a:pt x="36" y="139"/>
                    </a:lnTo>
                    <a:lnTo>
                      <a:pt x="26" y="142"/>
                    </a:lnTo>
                    <a:lnTo>
                      <a:pt x="19" y="131"/>
                    </a:lnTo>
                    <a:lnTo>
                      <a:pt x="7" y="129"/>
                    </a:lnTo>
                    <a:lnTo>
                      <a:pt x="0" y="123"/>
                    </a:lnTo>
                    <a:lnTo>
                      <a:pt x="11" y="112"/>
                    </a:lnTo>
                    <a:lnTo>
                      <a:pt x="23" y="105"/>
                    </a:lnTo>
                    <a:lnTo>
                      <a:pt x="32" y="97"/>
                    </a:lnTo>
                    <a:lnTo>
                      <a:pt x="54" y="99"/>
                    </a:lnTo>
                    <a:lnTo>
                      <a:pt x="55" y="84"/>
                    </a:lnTo>
                    <a:lnTo>
                      <a:pt x="60" y="72"/>
                    </a:lnTo>
                    <a:lnTo>
                      <a:pt x="68" y="76"/>
                    </a:lnTo>
                    <a:lnTo>
                      <a:pt x="88" y="73"/>
                    </a:lnTo>
                    <a:lnTo>
                      <a:pt x="91" y="62"/>
                    </a:lnTo>
                    <a:lnTo>
                      <a:pt x="91" y="44"/>
                    </a:lnTo>
                    <a:lnTo>
                      <a:pt x="97" y="34"/>
                    </a:lnTo>
                    <a:lnTo>
                      <a:pt x="92" y="10"/>
                    </a:lnTo>
                    <a:lnTo>
                      <a:pt x="99" y="0"/>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46" name="Freeform 198">
                <a:extLst>
                  <a:ext uri="{FF2B5EF4-FFF2-40B4-BE49-F238E27FC236}">
                    <a16:creationId xmlns:a16="http://schemas.microsoft.com/office/drawing/2014/main" id="{8D8CE4F0-65D7-8C61-1660-30F39BD7D974}"/>
                  </a:ext>
                </a:extLst>
              </p:cNvPr>
              <p:cNvSpPr>
                <a:spLocks/>
              </p:cNvSpPr>
              <p:nvPr/>
            </p:nvSpPr>
            <p:spPr bwMode="auto">
              <a:xfrm>
                <a:off x="7696448" y="3149581"/>
                <a:ext cx="51700" cy="86659"/>
              </a:xfrm>
              <a:custGeom>
                <a:avLst/>
                <a:gdLst>
                  <a:gd name="T0" fmla="*/ 14 w 34"/>
                  <a:gd name="T1" fmla="*/ 5 h 54"/>
                  <a:gd name="T2" fmla="*/ 8 w 34"/>
                  <a:gd name="T3" fmla="*/ 15 h 54"/>
                  <a:gd name="T4" fmla="*/ 0 w 34"/>
                  <a:gd name="T5" fmla="*/ 21 h 54"/>
                  <a:gd name="T6" fmla="*/ 7 w 34"/>
                  <a:gd name="T7" fmla="*/ 36 h 54"/>
                  <a:gd name="T8" fmla="*/ 14 w 34"/>
                  <a:gd name="T9" fmla="*/ 28 h 54"/>
                  <a:gd name="T10" fmla="*/ 21 w 34"/>
                  <a:gd name="T11" fmla="*/ 31 h 54"/>
                  <a:gd name="T12" fmla="*/ 19 w 34"/>
                  <a:gd name="T13" fmla="*/ 40 h 54"/>
                  <a:gd name="T14" fmla="*/ 25 w 34"/>
                  <a:gd name="T15" fmla="*/ 53 h 54"/>
                  <a:gd name="T16" fmla="*/ 33 w 34"/>
                  <a:gd name="T17" fmla="*/ 47 h 54"/>
                  <a:gd name="T18" fmla="*/ 33 w 34"/>
                  <a:gd name="T19" fmla="*/ 32 h 54"/>
                  <a:gd name="T20" fmla="*/ 31 w 34"/>
                  <a:gd name="T21" fmla="*/ 8 h 54"/>
                  <a:gd name="T22" fmla="*/ 25 w 34"/>
                  <a:gd name="T23" fmla="*/ 0 h 54"/>
                  <a:gd name="T24" fmla="*/ 14 w 34"/>
                  <a:gd name="T25" fmla="*/ 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54">
                    <a:moveTo>
                      <a:pt x="14" y="5"/>
                    </a:moveTo>
                    <a:lnTo>
                      <a:pt x="8" y="15"/>
                    </a:lnTo>
                    <a:lnTo>
                      <a:pt x="0" y="21"/>
                    </a:lnTo>
                    <a:lnTo>
                      <a:pt x="7" y="36"/>
                    </a:lnTo>
                    <a:lnTo>
                      <a:pt x="14" y="28"/>
                    </a:lnTo>
                    <a:lnTo>
                      <a:pt x="21" y="31"/>
                    </a:lnTo>
                    <a:lnTo>
                      <a:pt x="19" y="40"/>
                    </a:lnTo>
                    <a:lnTo>
                      <a:pt x="25" y="53"/>
                    </a:lnTo>
                    <a:lnTo>
                      <a:pt x="33" y="47"/>
                    </a:lnTo>
                    <a:lnTo>
                      <a:pt x="33" y="32"/>
                    </a:lnTo>
                    <a:lnTo>
                      <a:pt x="31" y="8"/>
                    </a:lnTo>
                    <a:lnTo>
                      <a:pt x="25" y="0"/>
                    </a:lnTo>
                    <a:lnTo>
                      <a:pt x="14" y="5"/>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47" name="Freeform 200">
                <a:extLst>
                  <a:ext uri="{FF2B5EF4-FFF2-40B4-BE49-F238E27FC236}">
                    <a16:creationId xmlns:a16="http://schemas.microsoft.com/office/drawing/2014/main" id="{05950A12-154E-37ED-07C6-FDB8FD549311}"/>
                  </a:ext>
                </a:extLst>
              </p:cNvPr>
              <p:cNvSpPr>
                <a:spLocks/>
              </p:cNvSpPr>
              <p:nvPr/>
            </p:nvSpPr>
            <p:spPr bwMode="auto">
              <a:xfrm>
                <a:off x="7552526" y="2911968"/>
                <a:ext cx="108990" cy="141171"/>
              </a:xfrm>
              <a:custGeom>
                <a:avLst/>
                <a:gdLst>
                  <a:gd name="T0" fmla="*/ 67 w 70"/>
                  <a:gd name="T1" fmla="*/ 0 h 91"/>
                  <a:gd name="T2" fmla="*/ 69 w 70"/>
                  <a:gd name="T3" fmla="*/ 25 h 91"/>
                  <a:gd name="T4" fmla="*/ 60 w 70"/>
                  <a:gd name="T5" fmla="*/ 31 h 91"/>
                  <a:gd name="T6" fmla="*/ 52 w 70"/>
                  <a:gd name="T7" fmla="*/ 45 h 91"/>
                  <a:gd name="T8" fmla="*/ 39 w 70"/>
                  <a:gd name="T9" fmla="*/ 51 h 91"/>
                  <a:gd name="T10" fmla="*/ 55 w 70"/>
                  <a:gd name="T11" fmla="*/ 67 h 91"/>
                  <a:gd name="T12" fmla="*/ 50 w 70"/>
                  <a:gd name="T13" fmla="*/ 82 h 91"/>
                  <a:gd name="T14" fmla="*/ 29 w 70"/>
                  <a:gd name="T15" fmla="*/ 90 h 91"/>
                  <a:gd name="T16" fmla="*/ 22 w 70"/>
                  <a:gd name="T17" fmla="*/ 81 h 91"/>
                  <a:gd name="T18" fmla="*/ 4 w 70"/>
                  <a:gd name="T19" fmla="*/ 73 h 91"/>
                  <a:gd name="T20" fmla="*/ 15 w 70"/>
                  <a:gd name="T21" fmla="*/ 65 h 91"/>
                  <a:gd name="T22" fmla="*/ 16 w 70"/>
                  <a:gd name="T23" fmla="*/ 48 h 91"/>
                  <a:gd name="T24" fmla="*/ 4 w 70"/>
                  <a:gd name="T25" fmla="*/ 45 h 91"/>
                  <a:gd name="T26" fmla="*/ 0 w 70"/>
                  <a:gd name="T27" fmla="*/ 45 h 91"/>
                  <a:gd name="T28" fmla="*/ 14 w 70"/>
                  <a:gd name="T29" fmla="*/ 37 h 91"/>
                  <a:gd name="T30" fmla="*/ 22 w 70"/>
                  <a:gd name="T31" fmla="*/ 12 h 91"/>
                  <a:gd name="T32" fmla="*/ 34 w 70"/>
                  <a:gd name="T33" fmla="*/ 18 h 91"/>
                  <a:gd name="T34" fmla="*/ 48 w 70"/>
                  <a:gd name="T35" fmla="*/ 18 h 91"/>
                  <a:gd name="T36" fmla="*/ 62 w 70"/>
                  <a:gd name="T37" fmla="*/ 1 h 91"/>
                  <a:gd name="T38" fmla="*/ 67 w 70"/>
                  <a:gd name="T39"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91">
                    <a:moveTo>
                      <a:pt x="67" y="0"/>
                    </a:moveTo>
                    <a:lnTo>
                      <a:pt x="69" y="25"/>
                    </a:lnTo>
                    <a:lnTo>
                      <a:pt x="60" y="31"/>
                    </a:lnTo>
                    <a:lnTo>
                      <a:pt x="52" y="45"/>
                    </a:lnTo>
                    <a:lnTo>
                      <a:pt x="39" y="51"/>
                    </a:lnTo>
                    <a:lnTo>
                      <a:pt x="55" y="67"/>
                    </a:lnTo>
                    <a:lnTo>
                      <a:pt x="50" y="82"/>
                    </a:lnTo>
                    <a:lnTo>
                      <a:pt x="29" y="90"/>
                    </a:lnTo>
                    <a:lnTo>
                      <a:pt x="22" y="81"/>
                    </a:lnTo>
                    <a:lnTo>
                      <a:pt x="4" y="73"/>
                    </a:lnTo>
                    <a:lnTo>
                      <a:pt x="15" y="65"/>
                    </a:lnTo>
                    <a:lnTo>
                      <a:pt x="16" y="48"/>
                    </a:lnTo>
                    <a:lnTo>
                      <a:pt x="4" y="45"/>
                    </a:lnTo>
                    <a:lnTo>
                      <a:pt x="0" y="45"/>
                    </a:lnTo>
                    <a:lnTo>
                      <a:pt x="14" y="37"/>
                    </a:lnTo>
                    <a:lnTo>
                      <a:pt x="22" y="12"/>
                    </a:lnTo>
                    <a:lnTo>
                      <a:pt x="34" y="18"/>
                    </a:lnTo>
                    <a:lnTo>
                      <a:pt x="48" y="18"/>
                    </a:lnTo>
                    <a:lnTo>
                      <a:pt x="62" y="1"/>
                    </a:lnTo>
                    <a:lnTo>
                      <a:pt x="67" y="0"/>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48" name="Freeform 201">
                <a:extLst>
                  <a:ext uri="{FF2B5EF4-FFF2-40B4-BE49-F238E27FC236}">
                    <a16:creationId xmlns:a16="http://schemas.microsoft.com/office/drawing/2014/main" id="{6A2E44D5-DC60-0399-FF75-798E01454CFC}"/>
                  </a:ext>
                </a:extLst>
              </p:cNvPr>
              <p:cNvSpPr>
                <a:spLocks/>
              </p:cNvSpPr>
              <p:nvPr/>
            </p:nvSpPr>
            <p:spPr bwMode="auto">
              <a:xfrm>
                <a:off x="6908368" y="3329888"/>
                <a:ext cx="176062" cy="454260"/>
              </a:xfrm>
              <a:custGeom>
                <a:avLst/>
                <a:gdLst>
                  <a:gd name="T0" fmla="*/ 1 w 113"/>
                  <a:gd name="T1" fmla="*/ 109 h 289"/>
                  <a:gd name="T2" fmla="*/ 8 w 113"/>
                  <a:gd name="T3" fmla="*/ 97 h 289"/>
                  <a:gd name="T4" fmla="*/ 8 w 113"/>
                  <a:gd name="T5" fmla="*/ 69 h 289"/>
                  <a:gd name="T6" fmla="*/ 21 w 113"/>
                  <a:gd name="T7" fmla="*/ 54 h 289"/>
                  <a:gd name="T8" fmla="*/ 27 w 113"/>
                  <a:gd name="T9" fmla="*/ 35 h 289"/>
                  <a:gd name="T10" fmla="*/ 38 w 113"/>
                  <a:gd name="T11" fmla="*/ 20 h 289"/>
                  <a:gd name="T12" fmla="*/ 56 w 113"/>
                  <a:gd name="T13" fmla="*/ 11 h 289"/>
                  <a:gd name="T14" fmla="*/ 57 w 113"/>
                  <a:gd name="T15" fmla="*/ 3 h 289"/>
                  <a:gd name="T16" fmla="*/ 74 w 113"/>
                  <a:gd name="T17" fmla="*/ 0 h 289"/>
                  <a:gd name="T18" fmla="*/ 78 w 113"/>
                  <a:gd name="T19" fmla="*/ 8 h 289"/>
                  <a:gd name="T20" fmla="*/ 84 w 113"/>
                  <a:gd name="T21" fmla="*/ 25 h 289"/>
                  <a:gd name="T22" fmla="*/ 78 w 113"/>
                  <a:gd name="T23" fmla="*/ 37 h 289"/>
                  <a:gd name="T24" fmla="*/ 68 w 113"/>
                  <a:gd name="T25" fmla="*/ 45 h 289"/>
                  <a:gd name="T26" fmla="*/ 67 w 113"/>
                  <a:gd name="T27" fmla="*/ 58 h 289"/>
                  <a:gd name="T28" fmla="*/ 83 w 113"/>
                  <a:gd name="T29" fmla="*/ 60 h 289"/>
                  <a:gd name="T30" fmla="*/ 91 w 113"/>
                  <a:gd name="T31" fmla="*/ 75 h 289"/>
                  <a:gd name="T32" fmla="*/ 94 w 113"/>
                  <a:gd name="T33" fmla="*/ 98 h 289"/>
                  <a:gd name="T34" fmla="*/ 109 w 113"/>
                  <a:gd name="T35" fmla="*/ 102 h 289"/>
                  <a:gd name="T36" fmla="*/ 112 w 113"/>
                  <a:gd name="T37" fmla="*/ 111 h 289"/>
                  <a:gd name="T38" fmla="*/ 105 w 113"/>
                  <a:gd name="T39" fmla="*/ 125 h 289"/>
                  <a:gd name="T40" fmla="*/ 97 w 113"/>
                  <a:gd name="T41" fmla="*/ 132 h 289"/>
                  <a:gd name="T42" fmla="*/ 82 w 113"/>
                  <a:gd name="T43" fmla="*/ 138 h 289"/>
                  <a:gd name="T44" fmla="*/ 80 w 113"/>
                  <a:gd name="T45" fmla="*/ 164 h 289"/>
                  <a:gd name="T46" fmla="*/ 84 w 113"/>
                  <a:gd name="T47" fmla="*/ 175 h 289"/>
                  <a:gd name="T48" fmla="*/ 96 w 113"/>
                  <a:gd name="T49" fmla="*/ 190 h 289"/>
                  <a:gd name="T50" fmla="*/ 91 w 113"/>
                  <a:gd name="T51" fmla="*/ 215 h 289"/>
                  <a:gd name="T52" fmla="*/ 93 w 113"/>
                  <a:gd name="T53" fmla="*/ 227 h 289"/>
                  <a:gd name="T54" fmla="*/ 98 w 113"/>
                  <a:gd name="T55" fmla="*/ 246 h 289"/>
                  <a:gd name="T56" fmla="*/ 110 w 113"/>
                  <a:gd name="T57" fmla="*/ 257 h 289"/>
                  <a:gd name="T58" fmla="*/ 101 w 113"/>
                  <a:gd name="T59" fmla="*/ 278 h 289"/>
                  <a:gd name="T60" fmla="*/ 94 w 113"/>
                  <a:gd name="T61" fmla="*/ 288 h 289"/>
                  <a:gd name="T62" fmla="*/ 88 w 113"/>
                  <a:gd name="T63" fmla="*/ 261 h 289"/>
                  <a:gd name="T64" fmla="*/ 84 w 113"/>
                  <a:gd name="T65" fmla="*/ 242 h 289"/>
                  <a:gd name="T66" fmla="*/ 73 w 113"/>
                  <a:gd name="T67" fmla="*/ 234 h 289"/>
                  <a:gd name="T68" fmla="*/ 78 w 113"/>
                  <a:gd name="T69" fmla="*/ 197 h 289"/>
                  <a:gd name="T70" fmla="*/ 64 w 113"/>
                  <a:gd name="T71" fmla="*/ 175 h 289"/>
                  <a:gd name="T72" fmla="*/ 56 w 113"/>
                  <a:gd name="T73" fmla="*/ 187 h 289"/>
                  <a:gd name="T74" fmla="*/ 46 w 113"/>
                  <a:gd name="T75" fmla="*/ 197 h 289"/>
                  <a:gd name="T76" fmla="*/ 32 w 113"/>
                  <a:gd name="T77" fmla="*/ 192 h 289"/>
                  <a:gd name="T78" fmla="*/ 28 w 113"/>
                  <a:gd name="T79" fmla="*/ 160 h 289"/>
                  <a:gd name="T80" fmla="*/ 25 w 113"/>
                  <a:gd name="T81" fmla="*/ 145 h 289"/>
                  <a:gd name="T82" fmla="*/ 13 w 113"/>
                  <a:gd name="T83" fmla="*/ 128 h 289"/>
                  <a:gd name="T84" fmla="*/ 0 w 113"/>
                  <a:gd name="T85" fmla="*/ 117 h 289"/>
                  <a:gd name="T86" fmla="*/ 1 w 113"/>
                  <a:gd name="T87" fmla="*/ 10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3" h="289">
                    <a:moveTo>
                      <a:pt x="1" y="109"/>
                    </a:moveTo>
                    <a:lnTo>
                      <a:pt x="8" y="97"/>
                    </a:lnTo>
                    <a:lnTo>
                      <a:pt x="8" y="69"/>
                    </a:lnTo>
                    <a:lnTo>
                      <a:pt x="21" y="54"/>
                    </a:lnTo>
                    <a:lnTo>
                      <a:pt x="27" y="35"/>
                    </a:lnTo>
                    <a:lnTo>
                      <a:pt x="38" y="20"/>
                    </a:lnTo>
                    <a:lnTo>
                      <a:pt x="56" y="11"/>
                    </a:lnTo>
                    <a:lnTo>
                      <a:pt x="57" y="3"/>
                    </a:lnTo>
                    <a:lnTo>
                      <a:pt x="74" y="0"/>
                    </a:lnTo>
                    <a:lnTo>
                      <a:pt x="78" y="8"/>
                    </a:lnTo>
                    <a:lnTo>
                      <a:pt x="84" y="25"/>
                    </a:lnTo>
                    <a:lnTo>
                      <a:pt x="78" y="37"/>
                    </a:lnTo>
                    <a:lnTo>
                      <a:pt x="68" y="45"/>
                    </a:lnTo>
                    <a:lnTo>
                      <a:pt x="67" y="58"/>
                    </a:lnTo>
                    <a:lnTo>
                      <a:pt x="83" y="60"/>
                    </a:lnTo>
                    <a:lnTo>
                      <a:pt x="91" y="75"/>
                    </a:lnTo>
                    <a:lnTo>
                      <a:pt x="94" y="98"/>
                    </a:lnTo>
                    <a:lnTo>
                      <a:pt x="109" y="102"/>
                    </a:lnTo>
                    <a:lnTo>
                      <a:pt x="112" y="111"/>
                    </a:lnTo>
                    <a:lnTo>
                      <a:pt x="105" y="125"/>
                    </a:lnTo>
                    <a:lnTo>
                      <a:pt x="97" y="132"/>
                    </a:lnTo>
                    <a:lnTo>
                      <a:pt x="82" y="138"/>
                    </a:lnTo>
                    <a:lnTo>
                      <a:pt x="80" y="164"/>
                    </a:lnTo>
                    <a:lnTo>
                      <a:pt x="84" y="175"/>
                    </a:lnTo>
                    <a:lnTo>
                      <a:pt x="96" y="190"/>
                    </a:lnTo>
                    <a:lnTo>
                      <a:pt x="91" y="215"/>
                    </a:lnTo>
                    <a:lnTo>
                      <a:pt x="93" y="227"/>
                    </a:lnTo>
                    <a:lnTo>
                      <a:pt x="98" y="246"/>
                    </a:lnTo>
                    <a:lnTo>
                      <a:pt x="110" y="257"/>
                    </a:lnTo>
                    <a:lnTo>
                      <a:pt x="101" y="278"/>
                    </a:lnTo>
                    <a:lnTo>
                      <a:pt x="94" y="288"/>
                    </a:lnTo>
                    <a:lnTo>
                      <a:pt x="88" y="261"/>
                    </a:lnTo>
                    <a:lnTo>
                      <a:pt x="84" y="242"/>
                    </a:lnTo>
                    <a:lnTo>
                      <a:pt x="73" y="234"/>
                    </a:lnTo>
                    <a:lnTo>
                      <a:pt x="78" y="197"/>
                    </a:lnTo>
                    <a:lnTo>
                      <a:pt x="64" y="175"/>
                    </a:lnTo>
                    <a:lnTo>
                      <a:pt x="56" y="187"/>
                    </a:lnTo>
                    <a:lnTo>
                      <a:pt x="46" y="197"/>
                    </a:lnTo>
                    <a:lnTo>
                      <a:pt x="32" y="192"/>
                    </a:lnTo>
                    <a:lnTo>
                      <a:pt x="28" y="160"/>
                    </a:lnTo>
                    <a:lnTo>
                      <a:pt x="25" y="145"/>
                    </a:lnTo>
                    <a:lnTo>
                      <a:pt x="13" y="128"/>
                    </a:lnTo>
                    <a:lnTo>
                      <a:pt x="0" y="117"/>
                    </a:lnTo>
                    <a:lnTo>
                      <a:pt x="1" y="109"/>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49" name="Freeform 202">
                <a:extLst>
                  <a:ext uri="{FF2B5EF4-FFF2-40B4-BE49-F238E27FC236}">
                    <a16:creationId xmlns:a16="http://schemas.microsoft.com/office/drawing/2014/main" id="{8D64039F-9503-A571-39FE-6971E8F79CA4}"/>
                  </a:ext>
                </a:extLst>
              </p:cNvPr>
              <p:cNvSpPr>
                <a:spLocks/>
              </p:cNvSpPr>
              <p:nvPr/>
            </p:nvSpPr>
            <p:spPr bwMode="auto">
              <a:xfrm>
                <a:off x="6976836" y="3914138"/>
                <a:ext cx="265488" cy="293522"/>
              </a:xfrm>
              <a:custGeom>
                <a:avLst/>
                <a:gdLst>
                  <a:gd name="T0" fmla="*/ 65 w 170"/>
                  <a:gd name="T1" fmla="*/ 29 h 187"/>
                  <a:gd name="T2" fmla="*/ 43 w 170"/>
                  <a:gd name="T3" fmla="*/ 20 h 187"/>
                  <a:gd name="T4" fmla="*/ 25 w 170"/>
                  <a:gd name="T5" fmla="*/ 0 h 187"/>
                  <a:gd name="T6" fmla="*/ 3 w 170"/>
                  <a:gd name="T7" fmla="*/ 3 h 187"/>
                  <a:gd name="T8" fmla="*/ 0 w 170"/>
                  <a:gd name="T9" fmla="*/ 11 h 187"/>
                  <a:gd name="T10" fmla="*/ 26 w 170"/>
                  <a:gd name="T11" fmla="*/ 29 h 187"/>
                  <a:gd name="T12" fmla="*/ 49 w 170"/>
                  <a:gd name="T13" fmla="*/ 49 h 187"/>
                  <a:gd name="T14" fmla="*/ 65 w 170"/>
                  <a:gd name="T15" fmla="*/ 63 h 187"/>
                  <a:gd name="T16" fmla="*/ 69 w 170"/>
                  <a:gd name="T17" fmla="*/ 84 h 187"/>
                  <a:gd name="T18" fmla="*/ 78 w 170"/>
                  <a:gd name="T19" fmla="*/ 103 h 187"/>
                  <a:gd name="T20" fmla="*/ 108 w 170"/>
                  <a:gd name="T21" fmla="*/ 143 h 187"/>
                  <a:gd name="T22" fmla="*/ 134 w 170"/>
                  <a:gd name="T23" fmla="*/ 174 h 187"/>
                  <a:gd name="T24" fmla="*/ 143 w 170"/>
                  <a:gd name="T25" fmla="*/ 186 h 187"/>
                  <a:gd name="T26" fmla="*/ 169 w 170"/>
                  <a:gd name="T27" fmla="*/ 174 h 187"/>
                  <a:gd name="T28" fmla="*/ 166 w 170"/>
                  <a:gd name="T29" fmla="*/ 158 h 187"/>
                  <a:gd name="T30" fmla="*/ 166 w 170"/>
                  <a:gd name="T31" fmla="*/ 138 h 187"/>
                  <a:gd name="T32" fmla="*/ 158 w 170"/>
                  <a:gd name="T33" fmla="*/ 127 h 187"/>
                  <a:gd name="T34" fmla="*/ 135 w 170"/>
                  <a:gd name="T35" fmla="*/ 119 h 187"/>
                  <a:gd name="T36" fmla="*/ 135 w 170"/>
                  <a:gd name="T37" fmla="*/ 110 h 187"/>
                  <a:gd name="T38" fmla="*/ 127 w 170"/>
                  <a:gd name="T39" fmla="*/ 97 h 187"/>
                  <a:gd name="T40" fmla="*/ 127 w 170"/>
                  <a:gd name="T41" fmla="*/ 79 h 187"/>
                  <a:gd name="T42" fmla="*/ 112 w 170"/>
                  <a:gd name="T43" fmla="*/ 65 h 187"/>
                  <a:gd name="T44" fmla="*/ 92 w 170"/>
                  <a:gd name="T45" fmla="*/ 53 h 187"/>
                  <a:gd name="T46" fmla="*/ 65 w 170"/>
                  <a:gd name="T47" fmla="*/ 2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0" h="187">
                    <a:moveTo>
                      <a:pt x="65" y="29"/>
                    </a:moveTo>
                    <a:lnTo>
                      <a:pt x="43" y="20"/>
                    </a:lnTo>
                    <a:lnTo>
                      <a:pt x="25" y="0"/>
                    </a:lnTo>
                    <a:lnTo>
                      <a:pt x="3" y="3"/>
                    </a:lnTo>
                    <a:lnTo>
                      <a:pt x="0" y="11"/>
                    </a:lnTo>
                    <a:lnTo>
                      <a:pt x="26" y="29"/>
                    </a:lnTo>
                    <a:lnTo>
                      <a:pt x="49" y="49"/>
                    </a:lnTo>
                    <a:lnTo>
                      <a:pt x="65" y="63"/>
                    </a:lnTo>
                    <a:lnTo>
                      <a:pt x="69" y="84"/>
                    </a:lnTo>
                    <a:lnTo>
                      <a:pt x="78" y="103"/>
                    </a:lnTo>
                    <a:lnTo>
                      <a:pt x="108" y="143"/>
                    </a:lnTo>
                    <a:lnTo>
                      <a:pt x="134" y="174"/>
                    </a:lnTo>
                    <a:lnTo>
                      <a:pt x="143" y="186"/>
                    </a:lnTo>
                    <a:lnTo>
                      <a:pt x="169" y="174"/>
                    </a:lnTo>
                    <a:lnTo>
                      <a:pt x="166" y="158"/>
                    </a:lnTo>
                    <a:lnTo>
                      <a:pt x="166" y="138"/>
                    </a:lnTo>
                    <a:lnTo>
                      <a:pt x="158" y="127"/>
                    </a:lnTo>
                    <a:lnTo>
                      <a:pt x="135" y="119"/>
                    </a:lnTo>
                    <a:lnTo>
                      <a:pt x="135" y="110"/>
                    </a:lnTo>
                    <a:lnTo>
                      <a:pt x="127" y="97"/>
                    </a:lnTo>
                    <a:lnTo>
                      <a:pt x="127" y="79"/>
                    </a:lnTo>
                    <a:lnTo>
                      <a:pt x="112" y="65"/>
                    </a:lnTo>
                    <a:lnTo>
                      <a:pt x="92" y="53"/>
                    </a:lnTo>
                    <a:lnTo>
                      <a:pt x="65" y="29"/>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50" name="Freeform 203">
                <a:extLst>
                  <a:ext uri="{FF2B5EF4-FFF2-40B4-BE49-F238E27FC236}">
                    <a16:creationId xmlns:a16="http://schemas.microsoft.com/office/drawing/2014/main" id="{0ADAB2A1-1E7F-2C1A-AB8F-48D7729FD4DA}"/>
                  </a:ext>
                </a:extLst>
              </p:cNvPr>
              <p:cNvSpPr>
                <a:spLocks/>
              </p:cNvSpPr>
              <p:nvPr/>
            </p:nvSpPr>
            <p:spPr bwMode="auto">
              <a:xfrm>
                <a:off x="7291229" y="3873603"/>
                <a:ext cx="255708" cy="287931"/>
              </a:xfrm>
              <a:custGeom>
                <a:avLst/>
                <a:gdLst>
                  <a:gd name="T0" fmla="*/ 35 w 163"/>
                  <a:gd name="T1" fmla="*/ 89 h 184"/>
                  <a:gd name="T2" fmla="*/ 4 w 163"/>
                  <a:gd name="T3" fmla="*/ 89 h 184"/>
                  <a:gd name="T4" fmla="*/ 0 w 163"/>
                  <a:gd name="T5" fmla="*/ 112 h 184"/>
                  <a:gd name="T6" fmla="*/ 11 w 163"/>
                  <a:gd name="T7" fmla="*/ 118 h 184"/>
                  <a:gd name="T8" fmla="*/ 12 w 163"/>
                  <a:gd name="T9" fmla="*/ 136 h 184"/>
                  <a:gd name="T10" fmla="*/ 25 w 163"/>
                  <a:gd name="T11" fmla="*/ 139 h 184"/>
                  <a:gd name="T12" fmla="*/ 26 w 163"/>
                  <a:gd name="T13" fmla="*/ 160 h 184"/>
                  <a:gd name="T14" fmla="*/ 34 w 163"/>
                  <a:gd name="T15" fmla="*/ 161 h 184"/>
                  <a:gd name="T16" fmla="*/ 41 w 163"/>
                  <a:gd name="T17" fmla="*/ 170 h 184"/>
                  <a:gd name="T18" fmla="*/ 62 w 163"/>
                  <a:gd name="T19" fmla="*/ 175 h 184"/>
                  <a:gd name="T20" fmla="*/ 70 w 163"/>
                  <a:gd name="T21" fmla="*/ 164 h 184"/>
                  <a:gd name="T22" fmla="*/ 81 w 163"/>
                  <a:gd name="T23" fmla="*/ 168 h 184"/>
                  <a:gd name="T24" fmla="*/ 89 w 163"/>
                  <a:gd name="T25" fmla="*/ 183 h 184"/>
                  <a:gd name="T26" fmla="*/ 108 w 163"/>
                  <a:gd name="T27" fmla="*/ 181 h 184"/>
                  <a:gd name="T28" fmla="*/ 112 w 163"/>
                  <a:gd name="T29" fmla="*/ 169 h 184"/>
                  <a:gd name="T30" fmla="*/ 120 w 163"/>
                  <a:gd name="T31" fmla="*/ 157 h 184"/>
                  <a:gd name="T32" fmla="*/ 120 w 163"/>
                  <a:gd name="T33" fmla="*/ 142 h 184"/>
                  <a:gd name="T34" fmla="*/ 132 w 163"/>
                  <a:gd name="T35" fmla="*/ 131 h 184"/>
                  <a:gd name="T36" fmla="*/ 138 w 163"/>
                  <a:gd name="T37" fmla="*/ 107 h 184"/>
                  <a:gd name="T38" fmla="*/ 151 w 163"/>
                  <a:gd name="T39" fmla="*/ 102 h 184"/>
                  <a:gd name="T40" fmla="*/ 151 w 163"/>
                  <a:gd name="T41" fmla="*/ 88 h 184"/>
                  <a:gd name="T42" fmla="*/ 137 w 163"/>
                  <a:gd name="T43" fmla="*/ 77 h 184"/>
                  <a:gd name="T44" fmla="*/ 137 w 163"/>
                  <a:gd name="T45" fmla="*/ 52 h 184"/>
                  <a:gd name="T46" fmla="*/ 148 w 163"/>
                  <a:gd name="T47" fmla="*/ 43 h 184"/>
                  <a:gd name="T48" fmla="*/ 162 w 163"/>
                  <a:gd name="T49" fmla="*/ 32 h 184"/>
                  <a:gd name="T50" fmla="*/ 159 w 163"/>
                  <a:gd name="T51" fmla="*/ 17 h 184"/>
                  <a:gd name="T52" fmla="*/ 141 w 163"/>
                  <a:gd name="T53" fmla="*/ 13 h 184"/>
                  <a:gd name="T54" fmla="*/ 131 w 163"/>
                  <a:gd name="T55" fmla="*/ 9 h 184"/>
                  <a:gd name="T56" fmla="*/ 114 w 163"/>
                  <a:gd name="T57" fmla="*/ 0 h 184"/>
                  <a:gd name="T58" fmla="*/ 110 w 163"/>
                  <a:gd name="T59" fmla="*/ 14 h 184"/>
                  <a:gd name="T60" fmla="*/ 99 w 163"/>
                  <a:gd name="T61" fmla="*/ 20 h 184"/>
                  <a:gd name="T62" fmla="*/ 96 w 163"/>
                  <a:gd name="T63" fmla="*/ 37 h 184"/>
                  <a:gd name="T64" fmla="*/ 84 w 163"/>
                  <a:gd name="T65" fmla="*/ 43 h 184"/>
                  <a:gd name="T66" fmla="*/ 70 w 163"/>
                  <a:gd name="T67" fmla="*/ 53 h 184"/>
                  <a:gd name="T68" fmla="*/ 63 w 163"/>
                  <a:gd name="T69" fmla="*/ 68 h 184"/>
                  <a:gd name="T70" fmla="*/ 44 w 163"/>
                  <a:gd name="T71" fmla="*/ 66 h 184"/>
                  <a:gd name="T72" fmla="*/ 41 w 163"/>
                  <a:gd name="T73" fmla="*/ 80 h 184"/>
                  <a:gd name="T74" fmla="*/ 35 w 163"/>
                  <a:gd name="T75" fmla="*/ 89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3" h="184">
                    <a:moveTo>
                      <a:pt x="35" y="89"/>
                    </a:moveTo>
                    <a:lnTo>
                      <a:pt x="4" y="89"/>
                    </a:lnTo>
                    <a:lnTo>
                      <a:pt x="0" y="112"/>
                    </a:lnTo>
                    <a:lnTo>
                      <a:pt x="11" y="118"/>
                    </a:lnTo>
                    <a:lnTo>
                      <a:pt x="12" y="136"/>
                    </a:lnTo>
                    <a:lnTo>
                      <a:pt x="25" y="139"/>
                    </a:lnTo>
                    <a:lnTo>
                      <a:pt x="26" y="160"/>
                    </a:lnTo>
                    <a:lnTo>
                      <a:pt x="34" y="161"/>
                    </a:lnTo>
                    <a:lnTo>
                      <a:pt x="41" y="170"/>
                    </a:lnTo>
                    <a:lnTo>
                      <a:pt x="62" y="175"/>
                    </a:lnTo>
                    <a:lnTo>
                      <a:pt x="70" y="164"/>
                    </a:lnTo>
                    <a:lnTo>
                      <a:pt x="81" y="168"/>
                    </a:lnTo>
                    <a:lnTo>
                      <a:pt x="89" y="183"/>
                    </a:lnTo>
                    <a:lnTo>
                      <a:pt x="108" y="181"/>
                    </a:lnTo>
                    <a:lnTo>
                      <a:pt x="112" y="169"/>
                    </a:lnTo>
                    <a:lnTo>
                      <a:pt x="120" y="157"/>
                    </a:lnTo>
                    <a:lnTo>
                      <a:pt x="120" y="142"/>
                    </a:lnTo>
                    <a:lnTo>
                      <a:pt x="132" y="131"/>
                    </a:lnTo>
                    <a:lnTo>
                      <a:pt x="138" y="107"/>
                    </a:lnTo>
                    <a:lnTo>
                      <a:pt x="151" y="102"/>
                    </a:lnTo>
                    <a:lnTo>
                      <a:pt x="151" y="88"/>
                    </a:lnTo>
                    <a:lnTo>
                      <a:pt x="137" y="77"/>
                    </a:lnTo>
                    <a:lnTo>
                      <a:pt x="137" y="52"/>
                    </a:lnTo>
                    <a:lnTo>
                      <a:pt x="148" y="43"/>
                    </a:lnTo>
                    <a:lnTo>
                      <a:pt x="162" y="32"/>
                    </a:lnTo>
                    <a:lnTo>
                      <a:pt x="159" y="17"/>
                    </a:lnTo>
                    <a:lnTo>
                      <a:pt x="141" y="13"/>
                    </a:lnTo>
                    <a:lnTo>
                      <a:pt x="131" y="9"/>
                    </a:lnTo>
                    <a:lnTo>
                      <a:pt x="114" y="0"/>
                    </a:lnTo>
                    <a:lnTo>
                      <a:pt x="110" y="14"/>
                    </a:lnTo>
                    <a:lnTo>
                      <a:pt x="99" y="20"/>
                    </a:lnTo>
                    <a:lnTo>
                      <a:pt x="96" y="37"/>
                    </a:lnTo>
                    <a:lnTo>
                      <a:pt x="84" y="43"/>
                    </a:lnTo>
                    <a:lnTo>
                      <a:pt x="70" y="53"/>
                    </a:lnTo>
                    <a:lnTo>
                      <a:pt x="63" y="68"/>
                    </a:lnTo>
                    <a:lnTo>
                      <a:pt x="44" y="66"/>
                    </a:lnTo>
                    <a:lnTo>
                      <a:pt x="41" y="80"/>
                    </a:lnTo>
                    <a:lnTo>
                      <a:pt x="35" y="89"/>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51" name="Freeform 204">
                <a:extLst>
                  <a:ext uri="{FF2B5EF4-FFF2-40B4-BE49-F238E27FC236}">
                    <a16:creationId xmlns:a16="http://schemas.microsoft.com/office/drawing/2014/main" id="{96DAEC92-D413-85FE-67E2-02A5A59630F8}"/>
                  </a:ext>
                </a:extLst>
              </p:cNvPr>
              <p:cNvSpPr>
                <a:spLocks/>
              </p:cNvSpPr>
              <p:nvPr/>
            </p:nvSpPr>
            <p:spPr bwMode="auto">
              <a:xfrm>
                <a:off x="7126347" y="3448694"/>
                <a:ext cx="174664" cy="391363"/>
              </a:xfrm>
              <a:custGeom>
                <a:avLst/>
                <a:gdLst>
                  <a:gd name="T0" fmla="*/ 0 w 111"/>
                  <a:gd name="T1" fmla="*/ 12 h 250"/>
                  <a:gd name="T2" fmla="*/ 8 w 111"/>
                  <a:gd name="T3" fmla="*/ 35 h 250"/>
                  <a:gd name="T4" fmla="*/ 34 w 111"/>
                  <a:gd name="T5" fmla="*/ 44 h 250"/>
                  <a:gd name="T6" fmla="*/ 36 w 111"/>
                  <a:gd name="T7" fmla="*/ 53 h 250"/>
                  <a:gd name="T8" fmla="*/ 32 w 111"/>
                  <a:gd name="T9" fmla="*/ 69 h 250"/>
                  <a:gd name="T10" fmla="*/ 42 w 111"/>
                  <a:gd name="T11" fmla="*/ 80 h 250"/>
                  <a:gd name="T12" fmla="*/ 64 w 111"/>
                  <a:gd name="T13" fmla="*/ 113 h 250"/>
                  <a:gd name="T14" fmla="*/ 77 w 111"/>
                  <a:gd name="T15" fmla="*/ 122 h 250"/>
                  <a:gd name="T16" fmla="*/ 77 w 111"/>
                  <a:gd name="T17" fmla="*/ 151 h 250"/>
                  <a:gd name="T18" fmla="*/ 83 w 111"/>
                  <a:gd name="T19" fmla="*/ 156 h 250"/>
                  <a:gd name="T20" fmla="*/ 85 w 111"/>
                  <a:gd name="T21" fmla="*/ 183 h 250"/>
                  <a:gd name="T22" fmla="*/ 75 w 111"/>
                  <a:gd name="T23" fmla="*/ 191 h 250"/>
                  <a:gd name="T24" fmla="*/ 61 w 111"/>
                  <a:gd name="T25" fmla="*/ 205 h 250"/>
                  <a:gd name="T26" fmla="*/ 47 w 111"/>
                  <a:gd name="T27" fmla="*/ 215 h 250"/>
                  <a:gd name="T28" fmla="*/ 53 w 111"/>
                  <a:gd name="T29" fmla="*/ 224 h 250"/>
                  <a:gd name="T30" fmla="*/ 46 w 111"/>
                  <a:gd name="T31" fmla="*/ 234 h 250"/>
                  <a:gd name="T32" fmla="*/ 51 w 111"/>
                  <a:gd name="T33" fmla="*/ 249 h 250"/>
                  <a:gd name="T34" fmla="*/ 77 w 111"/>
                  <a:gd name="T35" fmla="*/ 230 h 250"/>
                  <a:gd name="T36" fmla="*/ 100 w 111"/>
                  <a:gd name="T37" fmla="*/ 209 h 250"/>
                  <a:gd name="T38" fmla="*/ 106 w 111"/>
                  <a:gd name="T39" fmla="*/ 201 h 250"/>
                  <a:gd name="T40" fmla="*/ 110 w 111"/>
                  <a:gd name="T41" fmla="*/ 163 h 250"/>
                  <a:gd name="T42" fmla="*/ 102 w 111"/>
                  <a:gd name="T43" fmla="*/ 131 h 250"/>
                  <a:gd name="T44" fmla="*/ 81 w 111"/>
                  <a:gd name="T45" fmla="*/ 108 h 250"/>
                  <a:gd name="T46" fmla="*/ 57 w 111"/>
                  <a:gd name="T47" fmla="*/ 80 h 250"/>
                  <a:gd name="T48" fmla="*/ 57 w 111"/>
                  <a:gd name="T49" fmla="*/ 59 h 250"/>
                  <a:gd name="T50" fmla="*/ 63 w 111"/>
                  <a:gd name="T51" fmla="*/ 52 h 250"/>
                  <a:gd name="T52" fmla="*/ 81 w 111"/>
                  <a:gd name="T53" fmla="*/ 38 h 250"/>
                  <a:gd name="T54" fmla="*/ 60 w 111"/>
                  <a:gd name="T55" fmla="*/ 8 h 250"/>
                  <a:gd name="T56" fmla="*/ 37 w 111"/>
                  <a:gd name="T57" fmla="*/ 0 h 250"/>
                  <a:gd name="T58" fmla="*/ 23 w 111"/>
                  <a:gd name="T59" fmla="*/ 0 h 250"/>
                  <a:gd name="T60" fmla="*/ 0 w 111"/>
                  <a:gd name="T61" fmla="*/ 12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1" h="250">
                    <a:moveTo>
                      <a:pt x="0" y="12"/>
                    </a:moveTo>
                    <a:lnTo>
                      <a:pt x="8" y="35"/>
                    </a:lnTo>
                    <a:lnTo>
                      <a:pt x="34" y="44"/>
                    </a:lnTo>
                    <a:lnTo>
                      <a:pt x="36" y="53"/>
                    </a:lnTo>
                    <a:lnTo>
                      <a:pt x="32" y="69"/>
                    </a:lnTo>
                    <a:lnTo>
                      <a:pt x="42" y="80"/>
                    </a:lnTo>
                    <a:lnTo>
                      <a:pt x="64" y="113"/>
                    </a:lnTo>
                    <a:lnTo>
                      <a:pt x="77" y="122"/>
                    </a:lnTo>
                    <a:lnTo>
                      <a:pt x="77" y="151"/>
                    </a:lnTo>
                    <a:lnTo>
                      <a:pt x="83" y="156"/>
                    </a:lnTo>
                    <a:lnTo>
                      <a:pt x="85" y="183"/>
                    </a:lnTo>
                    <a:lnTo>
                      <a:pt x="75" y="191"/>
                    </a:lnTo>
                    <a:lnTo>
                      <a:pt x="61" y="205"/>
                    </a:lnTo>
                    <a:lnTo>
                      <a:pt x="47" y="215"/>
                    </a:lnTo>
                    <a:lnTo>
                      <a:pt x="53" y="224"/>
                    </a:lnTo>
                    <a:lnTo>
                      <a:pt x="46" y="234"/>
                    </a:lnTo>
                    <a:lnTo>
                      <a:pt x="51" y="249"/>
                    </a:lnTo>
                    <a:lnTo>
                      <a:pt x="77" y="230"/>
                    </a:lnTo>
                    <a:lnTo>
                      <a:pt x="100" y="209"/>
                    </a:lnTo>
                    <a:lnTo>
                      <a:pt x="106" y="201"/>
                    </a:lnTo>
                    <a:lnTo>
                      <a:pt x="110" y="163"/>
                    </a:lnTo>
                    <a:lnTo>
                      <a:pt x="102" y="131"/>
                    </a:lnTo>
                    <a:lnTo>
                      <a:pt x="81" y="108"/>
                    </a:lnTo>
                    <a:lnTo>
                      <a:pt x="57" y="80"/>
                    </a:lnTo>
                    <a:lnTo>
                      <a:pt x="57" y="59"/>
                    </a:lnTo>
                    <a:lnTo>
                      <a:pt x="63" y="52"/>
                    </a:lnTo>
                    <a:lnTo>
                      <a:pt x="81" y="38"/>
                    </a:lnTo>
                    <a:lnTo>
                      <a:pt x="60" y="8"/>
                    </a:lnTo>
                    <a:lnTo>
                      <a:pt x="37" y="0"/>
                    </a:lnTo>
                    <a:lnTo>
                      <a:pt x="23" y="0"/>
                    </a:lnTo>
                    <a:lnTo>
                      <a:pt x="0" y="12"/>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52" name="Freeform 205">
                <a:extLst>
                  <a:ext uri="{FF2B5EF4-FFF2-40B4-BE49-F238E27FC236}">
                    <a16:creationId xmlns:a16="http://schemas.microsoft.com/office/drawing/2014/main" id="{52EC73C9-65CC-DED9-C29D-9B887A4DD815}"/>
                  </a:ext>
                </a:extLst>
              </p:cNvPr>
              <p:cNvSpPr>
                <a:spLocks/>
              </p:cNvSpPr>
              <p:nvPr/>
            </p:nvSpPr>
            <p:spPr bwMode="auto">
              <a:xfrm>
                <a:off x="7864125" y="4090251"/>
                <a:ext cx="224967" cy="199874"/>
              </a:xfrm>
              <a:custGeom>
                <a:avLst/>
                <a:gdLst>
                  <a:gd name="T0" fmla="*/ 124 w 144"/>
                  <a:gd name="T1" fmla="*/ 24 h 128"/>
                  <a:gd name="T2" fmla="*/ 110 w 144"/>
                  <a:gd name="T3" fmla="*/ 19 h 128"/>
                  <a:gd name="T4" fmla="*/ 80 w 144"/>
                  <a:gd name="T5" fmla="*/ 6 h 128"/>
                  <a:gd name="T6" fmla="*/ 71 w 144"/>
                  <a:gd name="T7" fmla="*/ 0 h 128"/>
                  <a:gd name="T8" fmla="*/ 55 w 144"/>
                  <a:gd name="T9" fmla="*/ 3 h 128"/>
                  <a:gd name="T10" fmla="*/ 40 w 144"/>
                  <a:gd name="T11" fmla="*/ 19 h 128"/>
                  <a:gd name="T12" fmla="*/ 22 w 144"/>
                  <a:gd name="T13" fmla="*/ 29 h 128"/>
                  <a:gd name="T14" fmla="*/ 6 w 144"/>
                  <a:gd name="T15" fmla="*/ 32 h 128"/>
                  <a:gd name="T16" fmla="*/ 0 w 144"/>
                  <a:gd name="T17" fmla="*/ 34 h 128"/>
                  <a:gd name="T18" fmla="*/ 6 w 144"/>
                  <a:gd name="T19" fmla="*/ 45 h 128"/>
                  <a:gd name="T20" fmla="*/ 21 w 144"/>
                  <a:gd name="T21" fmla="*/ 43 h 128"/>
                  <a:gd name="T22" fmla="*/ 41 w 144"/>
                  <a:gd name="T23" fmla="*/ 54 h 128"/>
                  <a:gd name="T24" fmla="*/ 55 w 144"/>
                  <a:gd name="T25" fmla="*/ 62 h 128"/>
                  <a:gd name="T26" fmla="*/ 69 w 144"/>
                  <a:gd name="T27" fmla="*/ 75 h 128"/>
                  <a:gd name="T28" fmla="*/ 69 w 144"/>
                  <a:gd name="T29" fmla="*/ 92 h 128"/>
                  <a:gd name="T30" fmla="*/ 66 w 144"/>
                  <a:gd name="T31" fmla="*/ 98 h 128"/>
                  <a:gd name="T32" fmla="*/ 53 w 144"/>
                  <a:gd name="T33" fmla="*/ 103 h 128"/>
                  <a:gd name="T34" fmla="*/ 56 w 144"/>
                  <a:gd name="T35" fmla="*/ 116 h 128"/>
                  <a:gd name="T36" fmla="*/ 74 w 144"/>
                  <a:gd name="T37" fmla="*/ 114 h 128"/>
                  <a:gd name="T38" fmla="*/ 92 w 144"/>
                  <a:gd name="T39" fmla="*/ 114 h 128"/>
                  <a:gd name="T40" fmla="*/ 99 w 144"/>
                  <a:gd name="T41" fmla="*/ 122 h 128"/>
                  <a:gd name="T42" fmla="*/ 111 w 144"/>
                  <a:gd name="T43" fmla="*/ 127 h 128"/>
                  <a:gd name="T44" fmla="*/ 128 w 144"/>
                  <a:gd name="T45" fmla="*/ 120 h 128"/>
                  <a:gd name="T46" fmla="*/ 135 w 144"/>
                  <a:gd name="T47" fmla="*/ 107 h 128"/>
                  <a:gd name="T48" fmla="*/ 143 w 144"/>
                  <a:gd name="T49" fmla="*/ 97 h 128"/>
                  <a:gd name="T50" fmla="*/ 124 w 144"/>
                  <a:gd name="T51" fmla="*/ 2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4" h="128">
                    <a:moveTo>
                      <a:pt x="124" y="24"/>
                    </a:moveTo>
                    <a:lnTo>
                      <a:pt x="110" y="19"/>
                    </a:lnTo>
                    <a:lnTo>
                      <a:pt x="80" y="6"/>
                    </a:lnTo>
                    <a:lnTo>
                      <a:pt x="71" y="0"/>
                    </a:lnTo>
                    <a:lnTo>
                      <a:pt x="55" y="3"/>
                    </a:lnTo>
                    <a:lnTo>
                      <a:pt x="40" y="19"/>
                    </a:lnTo>
                    <a:lnTo>
                      <a:pt x="22" y="29"/>
                    </a:lnTo>
                    <a:lnTo>
                      <a:pt x="6" y="32"/>
                    </a:lnTo>
                    <a:lnTo>
                      <a:pt x="0" y="34"/>
                    </a:lnTo>
                    <a:lnTo>
                      <a:pt x="6" y="45"/>
                    </a:lnTo>
                    <a:lnTo>
                      <a:pt x="21" y="43"/>
                    </a:lnTo>
                    <a:lnTo>
                      <a:pt x="41" y="54"/>
                    </a:lnTo>
                    <a:lnTo>
                      <a:pt x="55" y="62"/>
                    </a:lnTo>
                    <a:lnTo>
                      <a:pt x="69" y="75"/>
                    </a:lnTo>
                    <a:lnTo>
                      <a:pt x="69" y="92"/>
                    </a:lnTo>
                    <a:lnTo>
                      <a:pt x="66" y="98"/>
                    </a:lnTo>
                    <a:lnTo>
                      <a:pt x="53" y="103"/>
                    </a:lnTo>
                    <a:lnTo>
                      <a:pt x="56" y="116"/>
                    </a:lnTo>
                    <a:lnTo>
                      <a:pt x="74" y="114"/>
                    </a:lnTo>
                    <a:lnTo>
                      <a:pt x="92" y="114"/>
                    </a:lnTo>
                    <a:lnTo>
                      <a:pt x="99" y="122"/>
                    </a:lnTo>
                    <a:lnTo>
                      <a:pt x="111" y="127"/>
                    </a:lnTo>
                    <a:lnTo>
                      <a:pt x="128" y="120"/>
                    </a:lnTo>
                    <a:lnTo>
                      <a:pt x="135" y="107"/>
                    </a:lnTo>
                    <a:lnTo>
                      <a:pt x="143" y="97"/>
                    </a:lnTo>
                    <a:lnTo>
                      <a:pt x="124" y="24"/>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53" name="Freeform 206">
                <a:extLst>
                  <a:ext uri="{FF2B5EF4-FFF2-40B4-BE49-F238E27FC236}">
                    <a16:creationId xmlns:a16="http://schemas.microsoft.com/office/drawing/2014/main" id="{CB99A855-C43B-13EB-95BF-A0829450036E}"/>
                  </a:ext>
                </a:extLst>
              </p:cNvPr>
              <p:cNvSpPr>
                <a:spLocks/>
              </p:cNvSpPr>
              <p:nvPr/>
            </p:nvSpPr>
            <p:spPr bwMode="auto">
              <a:xfrm>
                <a:off x="7872510" y="4069284"/>
                <a:ext cx="60084" cy="40534"/>
              </a:xfrm>
              <a:custGeom>
                <a:avLst/>
                <a:gdLst>
                  <a:gd name="T0" fmla="*/ 14 w 38"/>
                  <a:gd name="T1" fmla="*/ 24 h 26"/>
                  <a:gd name="T2" fmla="*/ 0 w 38"/>
                  <a:gd name="T3" fmla="*/ 25 h 26"/>
                  <a:gd name="T4" fmla="*/ 3 w 38"/>
                  <a:gd name="T5" fmla="*/ 13 h 26"/>
                  <a:gd name="T6" fmla="*/ 9 w 38"/>
                  <a:gd name="T7" fmla="*/ 0 h 26"/>
                  <a:gd name="T8" fmla="*/ 24 w 38"/>
                  <a:gd name="T9" fmla="*/ 3 h 26"/>
                  <a:gd name="T10" fmla="*/ 37 w 38"/>
                  <a:gd name="T11" fmla="*/ 6 h 26"/>
                  <a:gd name="T12" fmla="*/ 33 w 38"/>
                  <a:gd name="T13" fmla="*/ 16 h 26"/>
                  <a:gd name="T14" fmla="*/ 23 w 38"/>
                  <a:gd name="T15" fmla="*/ 25 h 26"/>
                  <a:gd name="T16" fmla="*/ 14 w 38"/>
                  <a:gd name="T17"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6">
                    <a:moveTo>
                      <a:pt x="14" y="24"/>
                    </a:moveTo>
                    <a:lnTo>
                      <a:pt x="0" y="25"/>
                    </a:lnTo>
                    <a:lnTo>
                      <a:pt x="3" y="13"/>
                    </a:lnTo>
                    <a:lnTo>
                      <a:pt x="9" y="0"/>
                    </a:lnTo>
                    <a:lnTo>
                      <a:pt x="24" y="3"/>
                    </a:lnTo>
                    <a:lnTo>
                      <a:pt x="37" y="6"/>
                    </a:lnTo>
                    <a:lnTo>
                      <a:pt x="33" y="16"/>
                    </a:lnTo>
                    <a:lnTo>
                      <a:pt x="23" y="25"/>
                    </a:lnTo>
                    <a:lnTo>
                      <a:pt x="14" y="24"/>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54" name="Freeform 207">
                <a:extLst>
                  <a:ext uri="{FF2B5EF4-FFF2-40B4-BE49-F238E27FC236}">
                    <a16:creationId xmlns:a16="http://schemas.microsoft.com/office/drawing/2014/main" id="{12CE0195-BED8-55C2-9D3D-2C8715BDFA6B}"/>
                  </a:ext>
                </a:extLst>
              </p:cNvPr>
              <p:cNvSpPr>
                <a:spLocks/>
              </p:cNvSpPr>
              <p:nvPr/>
            </p:nvSpPr>
            <p:spPr bwMode="auto">
              <a:xfrm>
                <a:off x="5801700" y="2984650"/>
                <a:ext cx="451330" cy="408136"/>
              </a:xfrm>
              <a:custGeom>
                <a:avLst/>
                <a:gdLst>
                  <a:gd name="T0" fmla="*/ 0 w 286"/>
                  <a:gd name="T1" fmla="*/ 6 h 261"/>
                  <a:gd name="T2" fmla="*/ 14 w 286"/>
                  <a:gd name="T3" fmla="*/ 43 h 261"/>
                  <a:gd name="T4" fmla="*/ 20 w 286"/>
                  <a:gd name="T5" fmla="*/ 73 h 261"/>
                  <a:gd name="T6" fmla="*/ 32 w 286"/>
                  <a:gd name="T7" fmla="*/ 92 h 261"/>
                  <a:gd name="T8" fmla="*/ 22 w 286"/>
                  <a:gd name="T9" fmla="*/ 114 h 261"/>
                  <a:gd name="T10" fmla="*/ 39 w 286"/>
                  <a:gd name="T11" fmla="*/ 133 h 261"/>
                  <a:gd name="T12" fmla="*/ 59 w 286"/>
                  <a:gd name="T13" fmla="*/ 133 h 261"/>
                  <a:gd name="T14" fmla="*/ 56 w 286"/>
                  <a:gd name="T15" fmla="*/ 159 h 261"/>
                  <a:gd name="T16" fmla="*/ 66 w 286"/>
                  <a:gd name="T17" fmla="*/ 176 h 261"/>
                  <a:gd name="T18" fmla="*/ 87 w 286"/>
                  <a:gd name="T19" fmla="*/ 180 h 261"/>
                  <a:gd name="T20" fmla="*/ 94 w 286"/>
                  <a:gd name="T21" fmla="*/ 187 h 261"/>
                  <a:gd name="T22" fmla="*/ 111 w 286"/>
                  <a:gd name="T23" fmla="*/ 212 h 261"/>
                  <a:gd name="T24" fmla="*/ 122 w 286"/>
                  <a:gd name="T25" fmla="*/ 221 h 261"/>
                  <a:gd name="T26" fmla="*/ 174 w 286"/>
                  <a:gd name="T27" fmla="*/ 235 h 261"/>
                  <a:gd name="T28" fmla="*/ 189 w 286"/>
                  <a:gd name="T29" fmla="*/ 227 h 261"/>
                  <a:gd name="T30" fmla="*/ 209 w 286"/>
                  <a:gd name="T31" fmla="*/ 260 h 261"/>
                  <a:gd name="T32" fmla="*/ 261 w 286"/>
                  <a:gd name="T33" fmla="*/ 260 h 261"/>
                  <a:gd name="T34" fmla="*/ 277 w 286"/>
                  <a:gd name="T35" fmla="*/ 242 h 261"/>
                  <a:gd name="T36" fmla="*/ 280 w 286"/>
                  <a:gd name="T37" fmla="*/ 223 h 261"/>
                  <a:gd name="T38" fmla="*/ 265 w 286"/>
                  <a:gd name="T39" fmla="*/ 205 h 261"/>
                  <a:gd name="T40" fmla="*/ 249 w 286"/>
                  <a:gd name="T41" fmla="*/ 184 h 261"/>
                  <a:gd name="T42" fmla="*/ 252 w 286"/>
                  <a:gd name="T43" fmla="*/ 156 h 261"/>
                  <a:gd name="T44" fmla="*/ 238 w 286"/>
                  <a:gd name="T45" fmla="*/ 121 h 261"/>
                  <a:gd name="T46" fmla="*/ 240 w 286"/>
                  <a:gd name="T47" fmla="*/ 66 h 261"/>
                  <a:gd name="T48" fmla="*/ 197 w 286"/>
                  <a:gd name="T49" fmla="*/ 40 h 261"/>
                  <a:gd name="T50" fmla="*/ 156 w 286"/>
                  <a:gd name="T51" fmla="*/ 33 h 261"/>
                  <a:gd name="T52" fmla="*/ 135 w 286"/>
                  <a:gd name="T53" fmla="*/ 52 h 261"/>
                  <a:gd name="T54" fmla="*/ 112 w 286"/>
                  <a:gd name="T55" fmla="*/ 65 h 261"/>
                  <a:gd name="T56" fmla="*/ 79 w 286"/>
                  <a:gd name="T57" fmla="*/ 50 h 261"/>
                  <a:gd name="T58" fmla="*/ 60 w 286"/>
                  <a:gd name="T59" fmla="*/ 21 h 261"/>
                  <a:gd name="T60" fmla="*/ 46 w 286"/>
                  <a:gd name="T61" fmla="*/ 8 h 261"/>
                  <a:gd name="T62" fmla="*/ 24 w 286"/>
                  <a:gd name="T63" fmla="*/ 20 h 261"/>
                  <a:gd name="T64" fmla="*/ 5 w 286"/>
                  <a:gd name="T65"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6" h="261">
                    <a:moveTo>
                      <a:pt x="5" y="0"/>
                    </a:moveTo>
                    <a:lnTo>
                      <a:pt x="0" y="6"/>
                    </a:lnTo>
                    <a:lnTo>
                      <a:pt x="6" y="25"/>
                    </a:lnTo>
                    <a:lnTo>
                      <a:pt x="14" y="43"/>
                    </a:lnTo>
                    <a:lnTo>
                      <a:pt x="17" y="62"/>
                    </a:lnTo>
                    <a:lnTo>
                      <a:pt x="20" y="73"/>
                    </a:lnTo>
                    <a:lnTo>
                      <a:pt x="35" y="76"/>
                    </a:lnTo>
                    <a:lnTo>
                      <a:pt x="32" y="92"/>
                    </a:lnTo>
                    <a:lnTo>
                      <a:pt x="22" y="99"/>
                    </a:lnTo>
                    <a:lnTo>
                      <a:pt x="22" y="114"/>
                    </a:lnTo>
                    <a:lnTo>
                      <a:pt x="36" y="120"/>
                    </a:lnTo>
                    <a:lnTo>
                      <a:pt x="39" y="133"/>
                    </a:lnTo>
                    <a:lnTo>
                      <a:pt x="48" y="135"/>
                    </a:lnTo>
                    <a:lnTo>
                      <a:pt x="59" y="133"/>
                    </a:lnTo>
                    <a:lnTo>
                      <a:pt x="61" y="145"/>
                    </a:lnTo>
                    <a:lnTo>
                      <a:pt x="56" y="159"/>
                    </a:lnTo>
                    <a:lnTo>
                      <a:pt x="64" y="162"/>
                    </a:lnTo>
                    <a:lnTo>
                      <a:pt x="66" y="176"/>
                    </a:lnTo>
                    <a:lnTo>
                      <a:pt x="72" y="183"/>
                    </a:lnTo>
                    <a:lnTo>
                      <a:pt x="87" y="180"/>
                    </a:lnTo>
                    <a:lnTo>
                      <a:pt x="87" y="173"/>
                    </a:lnTo>
                    <a:lnTo>
                      <a:pt x="94" y="187"/>
                    </a:lnTo>
                    <a:lnTo>
                      <a:pt x="98" y="207"/>
                    </a:lnTo>
                    <a:lnTo>
                      <a:pt x="111" y="212"/>
                    </a:lnTo>
                    <a:lnTo>
                      <a:pt x="109" y="220"/>
                    </a:lnTo>
                    <a:lnTo>
                      <a:pt x="122" y="221"/>
                    </a:lnTo>
                    <a:lnTo>
                      <a:pt x="130" y="233"/>
                    </a:lnTo>
                    <a:lnTo>
                      <a:pt x="174" y="235"/>
                    </a:lnTo>
                    <a:lnTo>
                      <a:pt x="180" y="223"/>
                    </a:lnTo>
                    <a:lnTo>
                      <a:pt x="189" y="227"/>
                    </a:lnTo>
                    <a:lnTo>
                      <a:pt x="193" y="250"/>
                    </a:lnTo>
                    <a:lnTo>
                      <a:pt x="209" y="260"/>
                    </a:lnTo>
                    <a:lnTo>
                      <a:pt x="252" y="257"/>
                    </a:lnTo>
                    <a:lnTo>
                      <a:pt x="261" y="260"/>
                    </a:lnTo>
                    <a:lnTo>
                      <a:pt x="265" y="246"/>
                    </a:lnTo>
                    <a:lnTo>
                      <a:pt x="277" y="242"/>
                    </a:lnTo>
                    <a:lnTo>
                      <a:pt x="285" y="231"/>
                    </a:lnTo>
                    <a:lnTo>
                      <a:pt x="280" y="223"/>
                    </a:lnTo>
                    <a:lnTo>
                      <a:pt x="269" y="221"/>
                    </a:lnTo>
                    <a:lnTo>
                      <a:pt x="265" y="205"/>
                    </a:lnTo>
                    <a:lnTo>
                      <a:pt x="249" y="198"/>
                    </a:lnTo>
                    <a:lnTo>
                      <a:pt x="249" y="184"/>
                    </a:lnTo>
                    <a:lnTo>
                      <a:pt x="257" y="173"/>
                    </a:lnTo>
                    <a:lnTo>
                      <a:pt x="252" y="156"/>
                    </a:lnTo>
                    <a:lnTo>
                      <a:pt x="235" y="156"/>
                    </a:lnTo>
                    <a:lnTo>
                      <a:pt x="238" y="121"/>
                    </a:lnTo>
                    <a:lnTo>
                      <a:pt x="235" y="99"/>
                    </a:lnTo>
                    <a:lnTo>
                      <a:pt x="240" y="66"/>
                    </a:lnTo>
                    <a:lnTo>
                      <a:pt x="220" y="56"/>
                    </a:lnTo>
                    <a:lnTo>
                      <a:pt x="197" y="40"/>
                    </a:lnTo>
                    <a:lnTo>
                      <a:pt x="182" y="38"/>
                    </a:lnTo>
                    <a:lnTo>
                      <a:pt x="156" y="33"/>
                    </a:lnTo>
                    <a:lnTo>
                      <a:pt x="149" y="46"/>
                    </a:lnTo>
                    <a:lnTo>
                      <a:pt x="135" y="52"/>
                    </a:lnTo>
                    <a:lnTo>
                      <a:pt x="120" y="58"/>
                    </a:lnTo>
                    <a:lnTo>
                      <a:pt x="112" y="65"/>
                    </a:lnTo>
                    <a:lnTo>
                      <a:pt x="94" y="62"/>
                    </a:lnTo>
                    <a:lnTo>
                      <a:pt x="79" y="50"/>
                    </a:lnTo>
                    <a:lnTo>
                      <a:pt x="64" y="40"/>
                    </a:lnTo>
                    <a:lnTo>
                      <a:pt x="60" y="21"/>
                    </a:lnTo>
                    <a:lnTo>
                      <a:pt x="54" y="3"/>
                    </a:lnTo>
                    <a:lnTo>
                      <a:pt x="46" y="8"/>
                    </a:lnTo>
                    <a:lnTo>
                      <a:pt x="42" y="20"/>
                    </a:lnTo>
                    <a:lnTo>
                      <a:pt x="24" y="20"/>
                    </a:lnTo>
                    <a:lnTo>
                      <a:pt x="17" y="8"/>
                    </a:lnTo>
                    <a:lnTo>
                      <a:pt x="5" y="0"/>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55" name="Freeform 208">
                <a:extLst>
                  <a:ext uri="{FF2B5EF4-FFF2-40B4-BE49-F238E27FC236}">
                    <a16:creationId xmlns:a16="http://schemas.microsoft.com/office/drawing/2014/main" id="{89B11F9F-AA5D-96EF-7C4D-5A85C1570577}"/>
                  </a:ext>
                </a:extLst>
              </p:cNvPr>
              <p:cNvSpPr>
                <a:spLocks/>
              </p:cNvSpPr>
              <p:nvPr/>
            </p:nvSpPr>
            <p:spPr bwMode="auto">
              <a:xfrm>
                <a:off x="6001515" y="3408160"/>
                <a:ext cx="170472" cy="220841"/>
              </a:xfrm>
              <a:custGeom>
                <a:avLst/>
                <a:gdLst>
                  <a:gd name="T0" fmla="*/ 38 w 109"/>
                  <a:gd name="T1" fmla="*/ 34 h 141"/>
                  <a:gd name="T2" fmla="*/ 51 w 109"/>
                  <a:gd name="T3" fmla="*/ 52 h 141"/>
                  <a:gd name="T4" fmla="*/ 41 w 109"/>
                  <a:gd name="T5" fmla="*/ 92 h 141"/>
                  <a:gd name="T6" fmla="*/ 0 w 109"/>
                  <a:gd name="T7" fmla="*/ 99 h 141"/>
                  <a:gd name="T8" fmla="*/ 6 w 109"/>
                  <a:gd name="T9" fmla="*/ 118 h 141"/>
                  <a:gd name="T10" fmla="*/ 15 w 109"/>
                  <a:gd name="T11" fmla="*/ 140 h 141"/>
                  <a:gd name="T12" fmla="*/ 40 w 109"/>
                  <a:gd name="T13" fmla="*/ 136 h 141"/>
                  <a:gd name="T14" fmla="*/ 48 w 109"/>
                  <a:gd name="T15" fmla="*/ 121 h 141"/>
                  <a:gd name="T16" fmla="*/ 61 w 109"/>
                  <a:gd name="T17" fmla="*/ 118 h 141"/>
                  <a:gd name="T18" fmla="*/ 68 w 109"/>
                  <a:gd name="T19" fmla="*/ 109 h 141"/>
                  <a:gd name="T20" fmla="*/ 84 w 109"/>
                  <a:gd name="T21" fmla="*/ 105 h 141"/>
                  <a:gd name="T22" fmla="*/ 87 w 109"/>
                  <a:gd name="T23" fmla="*/ 78 h 141"/>
                  <a:gd name="T24" fmla="*/ 93 w 109"/>
                  <a:gd name="T25" fmla="*/ 67 h 141"/>
                  <a:gd name="T26" fmla="*/ 104 w 109"/>
                  <a:gd name="T27" fmla="*/ 61 h 141"/>
                  <a:gd name="T28" fmla="*/ 108 w 109"/>
                  <a:gd name="T29" fmla="*/ 34 h 141"/>
                  <a:gd name="T30" fmla="*/ 96 w 109"/>
                  <a:gd name="T31" fmla="*/ 30 h 141"/>
                  <a:gd name="T32" fmla="*/ 95 w 109"/>
                  <a:gd name="T33" fmla="*/ 16 h 141"/>
                  <a:gd name="T34" fmla="*/ 69 w 109"/>
                  <a:gd name="T35" fmla="*/ 12 h 141"/>
                  <a:gd name="T36" fmla="*/ 59 w 109"/>
                  <a:gd name="T37" fmla="*/ 0 h 141"/>
                  <a:gd name="T38" fmla="*/ 38 w 109"/>
                  <a:gd name="T39" fmla="*/ 3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9" h="141">
                    <a:moveTo>
                      <a:pt x="38" y="34"/>
                    </a:moveTo>
                    <a:lnTo>
                      <a:pt x="51" y="52"/>
                    </a:lnTo>
                    <a:lnTo>
                      <a:pt x="41" y="92"/>
                    </a:lnTo>
                    <a:lnTo>
                      <a:pt x="0" y="99"/>
                    </a:lnTo>
                    <a:lnTo>
                      <a:pt x="6" y="118"/>
                    </a:lnTo>
                    <a:lnTo>
                      <a:pt x="15" y="140"/>
                    </a:lnTo>
                    <a:lnTo>
                      <a:pt x="40" y="136"/>
                    </a:lnTo>
                    <a:lnTo>
                      <a:pt x="48" y="121"/>
                    </a:lnTo>
                    <a:lnTo>
                      <a:pt x="61" y="118"/>
                    </a:lnTo>
                    <a:lnTo>
                      <a:pt x="68" y="109"/>
                    </a:lnTo>
                    <a:lnTo>
                      <a:pt x="84" y="105"/>
                    </a:lnTo>
                    <a:lnTo>
                      <a:pt x="87" y="78"/>
                    </a:lnTo>
                    <a:lnTo>
                      <a:pt x="93" y="67"/>
                    </a:lnTo>
                    <a:lnTo>
                      <a:pt x="104" y="61"/>
                    </a:lnTo>
                    <a:lnTo>
                      <a:pt x="108" y="34"/>
                    </a:lnTo>
                    <a:lnTo>
                      <a:pt x="96" y="30"/>
                    </a:lnTo>
                    <a:lnTo>
                      <a:pt x="95" y="16"/>
                    </a:lnTo>
                    <a:lnTo>
                      <a:pt x="69" y="12"/>
                    </a:lnTo>
                    <a:lnTo>
                      <a:pt x="59" y="0"/>
                    </a:lnTo>
                    <a:lnTo>
                      <a:pt x="38" y="34"/>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56" name="Freeform 209">
                <a:extLst>
                  <a:ext uri="{FF2B5EF4-FFF2-40B4-BE49-F238E27FC236}">
                    <a16:creationId xmlns:a16="http://schemas.microsoft.com/office/drawing/2014/main" id="{D7F813CC-D9E7-3539-630D-0D2AEC1D15FA}"/>
                  </a:ext>
                </a:extLst>
              </p:cNvPr>
              <p:cNvSpPr>
                <a:spLocks/>
              </p:cNvSpPr>
              <p:nvPr/>
            </p:nvSpPr>
            <p:spPr bwMode="auto">
              <a:xfrm>
                <a:off x="5682929" y="3065717"/>
                <a:ext cx="224967" cy="250192"/>
              </a:xfrm>
              <a:custGeom>
                <a:avLst/>
                <a:gdLst>
                  <a:gd name="T0" fmla="*/ 109 w 143"/>
                  <a:gd name="T1" fmla="*/ 160 h 161"/>
                  <a:gd name="T2" fmla="*/ 100 w 143"/>
                  <a:gd name="T3" fmla="*/ 155 h 161"/>
                  <a:gd name="T4" fmla="*/ 84 w 143"/>
                  <a:gd name="T5" fmla="*/ 145 h 161"/>
                  <a:gd name="T6" fmla="*/ 71 w 143"/>
                  <a:gd name="T7" fmla="*/ 122 h 161"/>
                  <a:gd name="T8" fmla="*/ 60 w 143"/>
                  <a:gd name="T9" fmla="*/ 119 h 161"/>
                  <a:gd name="T10" fmla="*/ 50 w 143"/>
                  <a:gd name="T11" fmla="*/ 102 h 161"/>
                  <a:gd name="T12" fmla="*/ 34 w 143"/>
                  <a:gd name="T13" fmla="*/ 103 h 161"/>
                  <a:gd name="T14" fmla="*/ 24 w 143"/>
                  <a:gd name="T15" fmla="*/ 96 h 161"/>
                  <a:gd name="T16" fmla="*/ 14 w 143"/>
                  <a:gd name="T17" fmla="*/ 88 h 161"/>
                  <a:gd name="T18" fmla="*/ 9 w 143"/>
                  <a:gd name="T19" fmla="*/ 90 h 161"/>
                  <a:gd name="T20" fmla="*/ 0 w 143"/>
                  <a:gd name="T21" fmla="*/ 74 h 161"/>
                  <a:gd name="T22" fmla="*/ 15 w 143"/>
                  <a:gd name="T23" fmla="*/ 66 h 161"/>
                  <a:gd name="T24" fmla="*/ 34 w 143"/>
                  <a:gd name="T25" fmla="*/ 54 h 161"/>
                  <a:gd name="T26" fmla="*/ 37 w 143"/>
                  <a:gd name="T27" fmla="*/ 41 h 161"/>
                  <a:gd name="T28" fmla="*/ 37 w 143"/>
                  <a:gd name="T29" fmla="*/ 21 h 161"/>
                  <a:gd name="T30" fmla="*/ 47 w 143"/>
                  <a:gd name="T31" fmla="*/ 12 h 161"/>
                  <a:gd name="T32" fmla="*/ 55 w 143"/>
                  <a:gd name="T33" fmla="*/ 3 h 161"/>
                  <a:gd name="T34" fmla="*/ 70 w 143"/>
                  <a:gd name="T35" fmla="*/ 0 h 161"/>
                  <a:gd name="T36" fmla="*/ 76 w 143"/>
                  <a:gd name="T37" fmla="*/ 10 h 161"/>
                  <a:gd name="T38" fmla="*/ 93 w 143"/>
                  <a:gd name="T39" fmla="*/ 11 h 161"/>
                  <a:gd name="T40" fmla="*/ 96 w 143"/>
                  <a:gd name="T41" fmla="*/ 22 h 161"/>
                  <a:gd name="T42" fmla="*/ 111 w 143"/>
                  <a:gd name="T43" fmla="*/ 25 h 161"/>
                  <a:gd name="T44" fmla="*/ 108 w 143"/>
                  <a:gd name="T45" fmla="*/ 41 h 161"/>
                  <a:gd name="T46" fmla="*/ 98 w 143"/>
                  <a:gd name="T47" fmla="*/ 47 h 161"/>
                  <a:gd name="T48" fmla="*/ 98 w 143"/>
                  <a:gd name="T49" fmla="*/ 63 h 161"/>
                  <a:gd name="T50" fmla="*/ 111 w 143"/>
                  <a:gd name="T51" fmla="*/ 69 h 161"/>
                  <a:gd name="T52" fmla="*/ 115 w 143"/>
                  <a:gd name="T53" fmla="*/ 81 h 161"/>
                  <a:gd name="T54" fmla="*/ 124 w 143"/>
                  <a:gd name="T55" fmla="*/ 84 h 161"/>
                  <a:gd name="T56" fmla="*/ 134 w 143"/>
                  <a:gd name="T57" fmla="*/ 81 h 161"/>
                  <a:gd name="T58" fmla="*/ 137 w 143"/>
                  <a:gd name="T59" fmla="*/ 94 h 161"/>
                  <a:gd name="T60" fmla="*/ 132 w 143"/>
                  <a:gd name="T61" fmla="*/ 108 h 161"/>
                  <a:gd name="T62" fmla="*/ 140 w 143"/>
                  <a:gd name="T63" fmla="*/ 111 h 161"/>
                  <a:gd name="T64" fmla="*/ 142 w 143"/>
                  <a:gd name="T65" fmla="*/ 124 h 161"/>
                  <a:gd name="T66" fmla="*/ 129 w 143"/>
                  <a:gd name="T67" fmla="*/ 129 h 161"/>
                  <a:gd name="T68" fmla="*/ 121 w 143"/>
                  <a:gd name="T69" fmla="*/ 131 h 161"/>
                  <a:gd name="T70" fmla="*/ 119 w 143"/>
                  <a:gd name="T71" fmla="*/ 152 h 161"/>
                  <a:gd name="T72" fmla="*/ 109 w 143"/>
                  <a:gd name="T73" fmla="*/ 16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3" h="161">
                    <a:moveTo>
                      <a:pt x="109" y="160"/>
                    </a:moveTo>
                    <a:lnTo>
                      <a:pt x="100" y="155"/>
                    </a:lnTo>
                    <a:lnTo>
                      <a:pt x="84" y="145"/>
                    </a:lnTo>
                    <a:lnTo>
                      <a:pt x="71" y="122"/>
                    </a:lnTo>
                    <a:lnTo>
                      <a:pt x="60" y="119"/>
                    </a:lnTo>
                    <a:lnTo>
                      <a:pt x="50" y="102"/>
                    </a:lnTo>
                    <a:lnTo>
                      <a:pt x="34" y="103"/>
                    </a:lnTo>
                    <a:lnTo>
                      <a:pt x="24" y="96"/>
                    </a:lnTo>
                    <a:lnTo>
                      <a:pt x="14" y="88"/>
                    </a:lnTo>
                    <a:lnTo>
                      <a:pt x="9" y="90"/>
                    </a:lnTo>
                    <a:lnTo>
                      <a:pt x="0" y="74"/>
                    </a:lnTo>
                    <a:lnTo>
                      <a:pt x="15" y="66"/>
                    </a:lnTo>
                    <a:lnTo>
                      <a:pt x="34" y="54"/>
                    </a:lnTo>
                    <a:lnTo>
                      <a:pt x="37" y="41"/>
                    </a:lnTo>
                    <a:lnTo>
                      <a:pt x="37" y="21"/>
                    </a:lnTo>
                    <a:lnTo>
                      <a:pt x="47" y="12"/>
                    </a:lnTo>
                    <a:lnTo>
                      <a:pt x="55" y="3"/>
                    </a:lnTo>
                    <a:lnTo>
                      <a:pt x="70" y="0"/>
                    </a:lnTo>
                    <a:lnTo>
                      <a:pt x="76" y="10"/>
                    </a:lnTo>
                    <a:lnTo>
                      <a:pt x="93" y="11"/>
                    </a:lnTo>
                    <a:lnTo>
                      <a:pt x="96" y="22"/>
                    </a:lnTo>
                    <a:lnTo>
                      <a:pt x="111" y="25"/>
                    </a:lnTo>
                    <a:lnTo>
                      <a:pt x="108" y="41"/>
                    </a:lnTo>
                    <a:lnTo>
                      <a:pt x="98" y="47"/>
                    </a:lnTo>
                    <a:lnTo>
                      <a:pt x="98" y="63"/>
                    </a:lnTo>
                    <a:lnTo>
                      <a:pt x="111" y="69"/>
                    </a:lnTo>
                    <a:lnTo>
                      <a:pt x="115" y="81"/>
                    </a:lnTo>
                    <a:lnTo>
                      <a:pt x="124" y="84"/>
                    </a:lnTo>
                    <a:lnTo>
                      <a:pt x="134" y="81"/>
                    </a:lnTo>
                    <a:lnTo>
                      <a:pt x="137" y="94"/>
                    </a:lnTo>
                    <a:lnTo>
                      <a:pt x="132" y="108"/>
                    </a:lnTo>
                    <a:lnTo>
                      <a:pt x="140" y="111"/>
                    </a:lnTo>
                    <a:lnTo>
                      <a:pt x="142" y="124"/>
                    </a:lnTo>
                    <a:lnTo>
                      <a:pt x="129" y="129"/>
                    </a:lnTo>
                    <a:lnTo>
                      <a:pt x="121" y="131"/>
                    </a:lnTo>
                    <a:lnTo>
                      <a:pt x="119" y="152"/>
                    </a:lnTo>
                    <a:lnTo>
                      <a:pt x="109" y="160"/>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57" name="Freeform 210">
                <a:extLst>
                  <a:ext uri="{FF2B5EF4-FFF2-40B4-BE49-F238E27FC236}">
                    <a16:creationId xmlns:a16="http://schemas.microsoft.com/office/drawing/2014/main" id="{961576EB-B204-7E62-F5E5-6B69930FB10A}"/>
                  </a:ext>
                </a:extLst>
              </p:cNvPr>
              <p:cNvSpPr>
                <a:spLocks/>
              </p:cNvSpPr>
              <p:nvPr/>
            </p:nvSpPr>
            <p:spPr bwMode="auto">
              <a:xfrm>
                <a:off x="4595824" y="3847046"/>
                <a:ext cx="104799" cy="114613"/>
              </a:xfrm>
              <a:custGeom>
                <a:avLst/>
                <a:gdLst>
                  <a:gd name="T0" fmla="*/ 0 w 67"/>
                  <a:gd name="T1" fmla="*/ 26 h 74"/>
                  <a:gd name="T2" fmla="*/ 14 w 67"/>
                  <a:gd name="T3" fmla="*/ 0 h 74"/>
                  <a:gd name="T4" fmla="*/ 23 w 67"/>
                  <a:gd name="T5" fmla="*/ 17 h 74"/>
                  <a:gd name="T6" fmla="*/ 34 w 67"/>
                  <a:gd name="T7" fmla="*/ 20 h 74"/>
                  <a:gd name="T8" fmla="*/ 38 w 67"/>
                  <a:gd name="T9" fmla="*/ 34 h 74"/>
                  <a:gd name="T10" fmla="*/ 47 w 67"/>
                  <a:gd name="T11" fmla="*/ 36 h 74"/>
                  <a:gd name="T12" fmla="*/ 49 w 67"/>
                  <a:gd name="T13" fmla="*/ 53 h 74"/>
                  <a:gd name="T14" fmla="*/ 66 w 67"/>
                  <a:gd name="T15" fmla="*/ 59 h 74"/>
                  <a:gd name="T16" fmla="*/ 63 w 67"/>
                  <a:gd name="T17" fmla="*/ 67 h 74"/>
                  <a:gd name="T18" fmla="*/ 54 w 67"/>
                  <a:gd name="T19" fmla="*/ 73 h 74"/>
                  <a:gd name="T20" fmla="*/ 36 w 67"/>
                  <a:gd name="T21" fmla="*/ 68 h 74"/>
                  <a:gd name="T22" fmla="*/ 0 w 67"/>
                  <a:gd name="T23" fmla="*/ 2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74">
                    <a:moveTo>
                      <a:pt x="0" y="26"/>
                    </a:moveTo>
                    <a:lnTo>
                      <a:pt x="14" y="0"/>
                    </a:lnTo>
                    <a:lnTo>
                      <a:pt x="23" y="17"/>
                    </a:lnTo>
                    <a:lnTo>
                      <a:pt x="34" y="20"/>
                    </a:lnTo>
                    <a:lnTo>
                      <a:pt x="38" y="34"/>
                    </a:lnTo>
                    <a:lnTo>
                      <a:pt x="47" y="36"/>
                    </a:lnTo>
                    <a:lnTo>
                      <a:pt x="49" y="53"/>
                    </a:lnTo>
                    <a:lnTo>
                      <a:pt x="66" y="59"/>
                    </a:lnTo>
                    <a:lnTo>
                      <a:pt x="63" y="67"/>
                    </a:lnTo>
                    <a:lnTo>
                      <a:pt x="54" y="73"/>
                    </a:lnTo>
                    <a:lnTo>
                      <a:pt x="36" y="68"/>
                    </a:lnTo>
                    <a:lnTo>
                      <a:pt x="0" y="26"/>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58" name="Freeform 211">
                <a:extLst>
                  <a:ext uri="{FF2B5EF4-FFF2-40B4-BE49-F238E27FC236}">
                    <a16:creationId xmlns:a16="http://schemas.microsoft.com/office/drawing/2014/main" id="{A437598A-CB91-750F-8D79-B3FE47DA0853}"/>
                  </a:ext>
                </a:extLst>
              </p:cNvPr>
              <p:cNvSpPr>
                <a:spLocks/>
              </p:cNvSpPr>
              <p:nvPr/>
            </p:nvSpPr>
            <p:spPr bwMode="auto">
              <a:xfrm>
                <a:off x="4485437" y="3325695"/>
                <a:ext cx="238940" cy="360613"/>
              </a:xfrm>
              <a:custGeom>
                <a:avLst/>
                <a:gdLst>
                  <a:gd name="T0" fmla="*/ 112 w 152"/>
                  <a:gd name="T1" fmla="*/ 0 h 229"/>
                  <a:gd name="T2" fmla="*/ 107 w 152"/>
                  <a:gd name="T3" fmla="*/ 20 h 229"/>
                  <a:gd name="T4" fmla="*/ 100 w 152"/>
                  <a:gd name="T5" fmla="*/ 29 h 229"/>
                  <a:gd name="T6" fmla="*/ 66 w 152"/>
                  <a:gd name="T7" fmla="*/ 31 h 229"/>
                  <a:gd name="T8" fmla="*/ 66 w 152"/>
                  <a:gd name="T9" fmla="*/ 81 h 229"/>
                  <a:gd name="T10" fmla="*/ 53 w 152"/>
                  <a:gd name="T11" fmla="*/ 76 h 229"/>
                  <a:gd name="T12" fmla="*/ 44 w 152"/>
                  <a:gd name="T13" fmla="*/ 84 h 229"/>
                  <a:gd name="T14" fmla="*/ 41 w 152"/>
                  <a:gd name="T15" fmla="*/ 97 h 229"/>
                  <a:gd name="T16" fmla="*/ 40 w 152"/>
                  <a:gd name="T17" fmla="*/ 118 h 229"/>
                  <a:gd name="T18" fmla="*/ 26 w 152"/>
                  <a:gd name="T19" fmla="*/ 118 h 229"/>
                  <a:gd name="T20" fmla="*/ 6 w 152"/>
                  <a:gd name="T21" fmla="*/ 115 h 229"/>
                  <a:gd name="T22" fmla="*/ 0 w 152"/>
                  <a:gd name="T23" fmla="*/ 113 h 229"/>
                  <a:gd name="T24" fmla="*/ 0 w 152"/>
                  <a:gd name="T25" fmla="*/ 156 h 229"/>
                  <a:gd name="T26" fmla="*/ 4 w 152"/>
                  <a:gd name="T27" fmla="*/ 162 h 229"/>
                  <a:gd name="T28" fmla="*/ 4 w 152"/>
                  <a:gd name="T29" fmla="*/ 195 h 229"/>
                  <a:gd name="T30" fmla="*/ 17 w 152"/>
                  <a:gd name="T31" fmla="*/ 192 h 229"/>
                  <a:gd name="T32" fmla="*/ 23 w 152"/>
                  <a:gd name="T33" fmla="*/ 201 h 229"/>
                  <a:gd name="T34" fmla="*/ 33 w 152"/>
                  <a:gd name="T35" fmla="*/ 205 h 229"/>
                  <a:gd name="T36" fmla="*/ 44 w 152"/>
                  <a:gd name="T37" fmla="*/ 220 h 229"/>
                  <a:gd name="T38" fmla="*/ 55 w 152"/>
                  <a:gd name="T39" fmla="*/ 228 h 229"/>
                  <a:gd name="T40" fmla="*/ 70 w 152"/>
                  <a:gd name="T41" fmla="*/ 209 h 229"/>
                  <a:gd name="T42" fmla="*/ 81 w 152"/>
                  <a:gd name="T43" fmla="*/ 215 h 229"/>
                  <a:gd name="T44" fmla="*/ 132 w 152"/>
                  <a:gd name="T45" fmla="*/ 219 h 229"/>
                  <a:gd name="T46" fmla="*/ 151 w 152"/>
                  <a:gd name="T47" fmla="*/ 217 h 229"/>
                  <a:gd name="T48" fmla="*/ 149 w 152"/>
                  <a:gd name="T49" fmla="*/ 198 h 229"/>
                  <a:gd name="T50" fmla="*/ 138 w 152"/>
                  <a:gd name="T51" fmla="*/ 195 h 229"/>
                  <a:gd name="T52" fmla="*/ 140 w 152"/>
                  <a:gd name="T53" fmla="*/ 84 h 229"/>
                  <a:gd name="T54" fmla="*/ 132 w 152"/>
                  <a:gd name="T55" fmla="*/ 75 h 229"/>
                  <a:gd name="T56" fmla="*/ 132 w 152"/>
                  <a:gd name="T57" fmla="*/ 53 h 229"/>
                  <a:gd name="T58" fmla="*/ 142 w 152"/>
                  <a:gd name="T59" fmla="*/ 50 h 229"/>
                  <a:gd name="T60" fmla="*/ 143 w 152"/>
                  <a:gd name="T61" fmla="*/ 36 h 229"/>
                  <a:gd name="T62" fmla="*/ 112 w 152"/>
                  <a:gd name="T63" fmla="*/ 0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229">
                    <a:moveTo>
                      <a:pt x="112" y="0"/>
                    </a:moveTo>
                    <a:lnTo>
                      <a:pt x="107" y="20"/>
                    </a:lnTo>
                    <a:lnTo>
                      <a:pt x="100" y="29"/>
                    </a:lnTo>
                    <a:lnTo>
                      <a:pt x="66" y="31"/>
                    </a:lnTo>
                    <a:lnTo>
                      <a:pt x="66" y="81"/>
                    </a:lnTo>
                    <a:lnTo>
                      <a:pt x="53" y="76"/>
                    </a:lnTo>
                    <a:lnTo>
                      <a:pt x="44" y="84"/>
                    </a:lnTo>
                    <a:lnTo>
                      <a:pt x="41" y="97"/>
                    </a:lnTo>
                    <a:lnTo>
                      <a:pt x="40" y="118"/>
                    </a:lnTo>
                    <a:lnTo>
                      <a:pt x="26" y="118"/>
                    </a:lnTo>
                    <a:lnTo>
                      <a:pt x="6" y="115"/>
                    </a:lnTo>
                    <a:lnTo>
                      <a:pt x="0" y="113"/>
                    </a:lnTo>
                    <a:lnTo>
                      <a:pt x="0" y="156"/>
                    </a:lnTo>
                    <a:lnTo>
                      <a:pt x="4" y="162"/>
                    </a:lnTo>
                    <a:lnTo>
                      <a:pt x="4" y="195"/>
                    </a:lnTo>
                    <a:lnTo>
                      <a:pt x="17" y="192"/>
                    </a:lnTo>
                    <a:lnTo>
                      <a:pt x="23" y="201"/>
                    </a:lnTo>
                    <a:lnTo>
                      <a:pt x="33" y="205"/>
                    </a:lnTo>
                    <a:lnTo>
                      <a:pt x="44" y="220"/>
                    </a:lnTo>
                    <a:lnTo>
                      <a:pt x="55" y="228"/>
                    </a:lnTo>
                    <a:lnTo>
                      <a:pt x="70" y="209"/>
                    </a:lnTo>
                    <a:lnTo>
                      <a:pt x="81" y="215"/>
                    </a:lnTo>
                    <a:lnTo>
                      <a:pt x="132" y="219"/>
                    </a:lnTo>
                    <a:lnTo>
                      <a:pt x="151" y="217"/>
                    </a:lnTo>
                    <a:lnTo>
                      <a:pt x="149" y="198"/>
                    </a:lnTo>
                    <a:lnTo>
                      <a:pt x="138" y="195"/>
                    </a:lnTo>
                    <a:lnTo>
                      <a:pt x="140" y="84"/>
                    </a:lnTo>
                    <a:lnTo>
                      <a:pt x="132" y="75"/>
                    </a:lnTo>
                    <a:lnTo>
                      <a:pt x="132" y="53"/>
                    </a:lnTo>
                    <a:lnTo>
                      <a:pt x="142" y="50"/>
                    </a:lnTo>
                    <a:lnTo>
                      <a:pt x="143" y="36"/>
                    </a:lnTo>
                    <a:lnTo>
                      <a:pt x="112" y="0"/>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59" name="Freeform 212">
                <a:extLst>
                  <a:ext uri="{FF2B5EF4-FFF2-40B4-BE49-F238E27FC236}">
                    <a16:creationId xmlns:a16="http://schemas.microsoft.com/office/drawing/2014/main" id="{85DD2E0C-E601-A7B2-2AB5-B84107D85C07}"/>
                  </a:ext>
                </a:extLst>
              </p:cNvPr>
              <p:cNvSpPr>
                <a:spLocks/>
              </p:cNvSpPr>
              <p:nvPr/>
            </p:nvSpPr>
            <p:spPr bwMode="auto">
              <a:xfrm>
                <a:off x="5103047" y="3961660"/>
                <a:ext cx="162088" cy="226431"/>
              </a:xfrm>
              <a:custGeom>
                <a:avLst/>
                <a:gdLst>
                  <a:gd name="T0" fmla="*/ 0 w 103"/>
                  <a:gd name="T1" fmla="*/ 133 h 145"/>
                  <a:gd name="T2" fmla="*/ 5 w 103"/>
                  <a:gd name="T3" fmla="*/ 126 h 145"/>
                  <a:gd name="T4" fmla="*/ 10 w 103"/>
                  <a:gd name="T5" fmla="*/ 114 h 145"/>
                  <a:gd name="T6" fmla="*/ 3 w 103"/>
                  <a:gd name="T7" fmla="*/ 108 h 145"/>
                  <a:gd name="T8" fmla="*/ 2 w 103"/>
                  <a:gd name="T9" fmla="*/ 101 h 145"/>
                  <a:gd name="T10" fmla="*/ 12 w 103"/>
                  <a:gd name="T11" fmla="*/ 97 h 145"/>
                  <a:gd name="T12" fmla="*/ 19 w 103"/>
                  <a:gd name="T13" fmla="*/ 95 h 145"/>
                  <a:gd name="T14" fmla="*/ 27 w 103"/>
                  <a:gd name="T15" fmla="*/ 104 h 145"/>
                  <a:gd name="T16" fmla="*/ 39 w 103"/>
                  <a:gd name="T17" fmla="*/ 100 h 145"/>
                  <a:gd name="T18" fmla="*/ 48 w 103"/>
                  <a:gd name="T19" fmla="*/ 86 h 145"/>
                  <a:gd name="T20" fmla="*/ 46 w 103"/>
                  <a:gd name="T21" fmla="*/ 72 h 145"/>
                  <a:gd name="T22" fmla="*/ 38 w 103"/>
                  <a:gd name="T23" fmla="*/ 65 h 145"/>
                  <a:gd name="T24" fmla="*/ 34 w 103"/>
                  <a:gd name="T25" fmla="*/ 55 h 145"/>
                  <a:gd name="T26" fmla="*/ 37 w 103"/>
                  <a:gd name="T27" fmla="*/ 47 h 145"/>
                  <a:gd name="T28" fmla="*/ 35 w 103"/>
                  <a:gd name="T29" fmla="*/ 38 h 145"/>
                  <a:gd name="T30" fmla="*/ 24 w 103"/>
                  <a:gd name="T31" fmla="*/ 38 h 145"/>
                  <a:gd name="T32" fmla="*/ 24 w 103"/>
                  <a:gd name="T33" fmla="*/ 25 h 145"/>
                  <a:gd name="T34" fmla="*/ 69 w 103"/>
                  <a:gd name="T35" fmla="*/ 19 h 145"/>
                  <a:gd name="T36" fmla="*/ 75 w 103"/>
                  <a:gd name="T37" fmla="*/ 10 h 145"/>
                  <a:gd name="T38" fmla="*/ 82 w 103"/>
                  <a:gd name="T39" fmla="*/ 2 h 145"/>
                  <a:gd name="T40" fmla="*/ 93 w 103"/>
                  <a:gd name="T41" fmla="*/ 0 h 145"/>
                  <a:gd name="T42" fmla="*/ 102 w 103"/>
                  <a:gd name="T43" fmla="*/ 3 h 145"/>
                  <a:gd name="T44" fmla="*/ 98 w 103"/>
                  <a:gd name="T45" fmla="*/ 22 h 145"/>
                  <a:gd name="T46" fmla="*/ 94 w 103"/>
                  <a:gd name="T47" fmla="*/ 26 h 145"/>
                  <a:gd name="T48" fmla="*/ 93 w 103"/>
                  <a:gd name="T49" fmla="*/ 71 h 145"/>
                  <a:gd name="T50" fmla="*/ 89 w 103"/>
                  <a:gd name="T51" fmla="*/ 77 h 145"/>
                  <a:gd name="T52" fmla="*/ 83 w 103"/>
                  <a:gd name="T53" fmla="*/ 84 h 145"/>
                  <a:gd name="T54" fmla="*/ 82 w 103"/>
                  <a:gd name="T55" fmla="*/ 103 h 145"/>
                  <a:gd name="T56" fmla="*/ 70 w 103"/>
                  <a:gd name="T57" fmla="*/ 104 h 145"/>
                  <a:gd name="T58" fmla="*/ 69 w 103"/>
                  <a:gd name="T59" fmla="*/ 128 h 145"/>
                  <a:gd name="T60" fmla="*/ 54 w 103"/>
                  <a:gd name="T61" fmla="*/ 134 h 145"/>
                  <a:gd name="T62" fmla="*/ 51 w 103"/>
                  <a:gd name="T63" fmla="*/ 139 h 145"/>
                  <a:gd name="T64" fmla="*/ 39 w 103"/>
                  <a:gd name="T65" fmla="*/ 139 h 145"/>
                  <a:gd name="T66" fmla="*/ 32 w 103"/>
                  <a:gd name="T67" fmla="*/ 135 h 145"/>
                  <a:gd name="T68" fmla="*/ 22 w 103"/>
                  <a:gd name="T69" fmla="*/ 139 h 145"/>
                  <a:gd name="T70" fmla="*/ 14 w 103"/>
                  <a:gd name="T71" fmla="*/ 142 h 145"/>
                  <a:gd name="T72" fmla="*/ 8 w 103"/>
                  <a:gd name="T73" fmla="*/ 144 h 145"/>
                  <a:gd name="T74" fmla="*/ 8 w 103"/>
                  <a:gd name="T75" fmla="*/ 137 h 145"/>
                  <a:gd name="T76" fmla="*/ 0 w 103"/>
                  <a:gd name="T77" fmla="*/ 13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3" h="145">
                    <a:moveTo>
                      <a:pt x="0" y="133"/>
                    </a:moveTo>
                    <a:lnTo>
                      <a:pt x="5" y="126"/>
                    </a:lnTo>
                    <a:lnTo>
                      <a:pt x="10" y="114"/>
                    </a:lnTo>
                    <a:lnTo>
                      <a:pt x="3" y="108"/>
                    </a:lnTo>
                    <a:lnTo>
                      <a:pt x="2" y="101"/>
                    </a:lnTo>
                    <a:lnTo>
                      <a:pt x="12" y="97"/>
                    </a:lnTo>
                    <a:lnTo>
                      <a:pt x="19" y="95"/>
                    </a:lnTo>
                    <a:lnTo>
                      <a:pt x="27" y="104"/>
                    </a:lnTo>
                    <a:lnTo>
                      <a:pt x="39" y="100"/>
                    </a:lnTo>
                    <a:lnTo>
                      <a:pt x="48" y="86"/>
                    </a:lnTo>
                    <a:lnTo>
                      <a:pt x="46" y="72"/>
                    </a:lnTo>
                    <a:lnTo>
                      <a:pt x="38" y="65"/>
                    </a:lnTo>
                    <a:lnTo>
                      <a:pt x="34" y="55"/>
                    </a:lnTo>
                    <a:lnTo>
                      <a:pt x="37" y="47"/>
                    </a:lnTo>
                    <a:lnTo>
                      <a:pt x="35" y="38"/>
                    </a:lnTo>
                    <a:lnTo>
                      <a:pt x="24" y="38"/>
                    </a:lnTo>
                    <a:lnTo>
                      <a:pt x="24" y="25"/>
                    </a:lnTo>
                    <a:lnTo>
                      <a:pt x="69" y="19"/>
                    </a:lnTo>
                    <a:lnTo>
                      <a:pt x="75" y="10"/>
                    </a:lnTo>
                    <a:lnTo>
                      <a:pt x="82" y="2"/>
                    </a:lnTo>
                    <a:lnTo>
                      <a:pt x="93" y="0"/>
                    </a:lnTo>
                    <a:lnTo>
                      <a:pt x="102" y="3"/>
                    </a:lnTo>
                    <a:lnTo>
                      <a:pt x="98" y="22"/>
                    </a:lnTo>
                    <a:lnTo>
                      <a:pt x="94" y="26"/>
                    </a:lnTo>
                    <a:lnTo>
                      <a:pt x="93" y="71"/>
                    </a:lnTo>
                    <a:lnTo>
                      <a:pt x="89" y="77"/>
                    </a:lnTo>
                    <a:lnTo>
                      <a:pt x="83" y="84"/>
                    </a:lnTo>
                    <a:lnTo>
                      <a:pt x="82" y="103"/>
                    </a:lnTo>
                    <a:lnTo>
                      <a:pt x="70" y="104"/>
                    </a:lnTo>
                    <a:lnTo>
                      <a:pt x="69" y="128"/>
                    </a:lnTo>
                    <a:lnTo>
                      <a:pt x="54" y="134"/>
                    </a:lnTo>
                    <a:lnTo>
                      <a:pt x="51" y="139"/>
                    </a:lnTo>
                    <a:lnTo>
                      <a:pt x="39" y="139"/>
                    </a:lnTo>
                    <a:lnTo>
                      <a:pt x="32" y="135"/>
                    </a:lnTo>
                    <a:lnTo>
                      <a:pt x="22" y="139"/>
                    </a:lnTo>
                    <a:lnTo>
                      <a:pt x="14" y="142"/>
                    </a:lnTo>
                    <a:lnTo>
                      <a:pt x="8" y="144"/>
                    </a:lnTo>
                    <a:lnTo>
                      <a:pt x="8" y="137"/>
                    </a:lnTo>
                    <a:lnTo>
                      <a:pt x="0" y="133"/>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60" name="Freeform 213">
                <a:extLst>
                  <a:ext uri="{FF2B5EF4-FFF2-40B4-BE49-F238E27FC236}">
                    <a16:creationId xmlns:a16="http://schemas.microsoft.com/office/drawing/2014/main" id="{47596A48-2092-02CA-98CC-36FBFC149782}"/>
                  </a:ext>
                </a:extLst>
              </p:cNvPr>
              <p:cNvSpPr>
                <a:spLocks/>
              </p:cNvSpPr>
              <p:nvPr/>
            </p:nvSpPr>
            <p:spPr bwMode="auto">
              <a:xfrm>
                <a:off x="5115622" y="3928114"/>
                <a:ext cx="440151" cy="489204"/>
              </a:xfrm>
              <a:custGeom>
                <a:avLst/>
                <a:gdLst>
                  <a:gd name="T0" fmla="*/ 1 w 282"/>
                  <a:gd name="T1" fmla="*/ 174 h 311"/>
                  <a:gd name="T2" fmla="*/ 7 w 282"/>
                  <a:gd name="T3" fmla="*/ 183 h 311"/>
                  <a:gd name="T4" fmla="*/ 42 w 282"/>
                  <a:gd name="T5" fmla="*/ 178 h 311"/>
                  <a:gd name="T6" fmla="*/ 75 w 282"/>
                  <a:gd name="T7" fmla="*/ 206 h 311"/>
                  <a:gd name="T8" fmla="*/ 82 w 282"/>
                  <a:gd name="T9" fmla="*/ 217 h 311"/>
                  <a:gd name="T10" fmla="*/ 110 w 282"/>
                  <a:gd name="T11" fmla="*/ 201 h 311"/>
                  <a:gd name="T12" fmla="*/ 124 w 282"/>
                  <a:gd name="T13" fmla="*/ 213 h 311"/>
                  <a:gd name="T14" fmla="*/ 139 w 282"/>
                  <a:gd name="T15" fmla="*/ 206 h 311"/>
                  <a:gd name="T16" fmla="*/ 146 w 282"/>
                  <a:gd name="T17" fmla="*/ 247 h 311"/>
                  <a:gd name="T18" fmla="*/ 155 w 282"/>
                  <a:gd name="T19" fmla="*/ 267 h 311"/>
                  <a:gd name="T20" fmla="*/ 188 w 282"/>
                  <a:gd name="T21" fmla="*/ 268 h 311"/>
                  <a:gd name="T22" fmla="*/ 199 w 282"/>
                  <a:gd name="T23" fmla="*/ 286 h 311"/>
                  <a:gd name="T24" fmla="*/ 215 w 282"/>
                  <a:gd name="T25" fmla="*/ 275 h 311"/>
                  <a:gd name="T26" fmla="*/ 228 w 282"/>
                  <a:gd name="T27" fmla="*/ 286 h 311"/>
                  <a:gd name="T28" fmla="*/ 237 w 282"/>
                  <a:gd name="T29" fmla="*/ 310 h 311"/>
                  <a:gd name="T30" fmla="*/ 257 w 282"/>
                  <a:gd name="T31" fmla="*/ 300 h 311"/>
                  <a:gd name="T32" fmla="*/ 244 w 282"/>
                  <a:gd name="T33" fmla="*/ 281 h 311"/>
                  <a:gd name="T34" fmla="*/ 242 w 282"/>
                  <a:gd name="T35" fmla="*/ 231 h 311"/>
                  <a:gd name="T36" fmla="*/ 258 w 282"/>
                  <a:gd name="T37" fmla="*/ 217 h 311"/>
                  <a:gd name="T38" fmla="*/ 262 w 282"/>
                  <a:gd name="T39" fmla="*/ 200 h 311"/>
                  <a:gd name="T40" fmla="*/ 257 w 282"/>
                  <a:gd name="T41" fmla="*/ 180 h 311"/>
                  <a:gd name="T42" fmla="*/ 257 w 282"/>
                  <a:gd name="T43" fmla="*/ 159 h 311"/>
                  <a:gd name="T44" fmla="*/ 247 w 282"/>
                  <a:gd name="T45" fmla="*/ 144 h 311"/>
                  <a:gd name="T46" fmla="*/ 241 w 282"/>
                  <a:gd name="T47" fmla="*/ 130 h 311"/>
                  <a:gd name="T48" fmla="*/ 246 w 282"/>
                  <a:gd name="T49" fmla="*/ 116 h 311"/>
                  <a:gd name="T50" fmla="*/ 253 w 282"/>
                  <a:gd name="T51" fmla="*/ 102 h 311"/>
                  <a:gd name="T52" fmla="*/ 272 w 282"/>
                  <a:gd name="T53" fmla="*/ 62 h 311"/>
                  <a:gd name="T54" fmla="*/ 281 w 282"/>
                  <a:gd name="T55" fmla="*/ 48 h 311"/>
                  <a:gd name="T56" fmla="*/ 272 w 282"/>
                  <a:gd name="T57" fmla="*/ 42 h 311"/>
                  <a:gd name="T58" fmla="*/ 268 w 282"/>
                  <a:gd name="T59" fmla="*/ 21 h 311"/>
                  <a:gd name="T60" fmla="*/ 253 w 282"/>
                  <a:gd name="T61" fmla="*/ 11 h 311"/>
                  <a:gd name="T62" fmla="*/ 215 w 282"/>
                  <a:gd name="T63" fmla="*/ 1 h 311"/>
                  <a:gd name="T64" fmla="*/ 190 w 282"/>
                  <a:gd name="T65" fmla="*/ 3 h 311"/>
                  <a:gd name="T66" fmla="*/ 176 w 282"/>
                  <a:gd name="T67" fmla="*/ 8 h 311"/>
                  <a:gd name="T68" fmla="*/ 143 w 282"/>
                  <a:gd name="T69" fmla="*/ 16 h 311"/>
                  <a:gd name="T70" fmla="*/ 114 w 282"/>
                  <a:gd name="T71" fmla="*/ 8 h 311"/>
                  <a:gd name="T72" fmla="*/ 98 w 282"/>
                  <a:gd name="T73" fmla="*/ 14 h 311"/>
                  <a:gd name="T74" fmla="*/ 86 w 282"/>
                  <a:gd name="T75" fmla="*/ 21 h 311"/>
                  <a:gd name="T76" fmla="*/ 91 w 282"/>
                  <a:gd name="T77" fmla="*/ 43 h 311"/>
                  <a:gd name="T78" fmla="*/ 86 w 282"/>
                  <a:gd name="T79" fmla="*/ 92 h 311"/>
                  <a:gd name="T80" fmla="*/ 76 w 282"/>
                  <a:gd name="T81" fmla="*/ 105 h 311"/>
                  <a:gd name="T82" fmla="*/ 63 w 282"/>
                  <a:gd name="T83" fmla="*/ 125 h 311"/>
                  <a:gd name="T84" fmla="*/ 47 w 282"/>
                  <a:gd name="T85" fmla="*/ 155 h 311"/>
                  <a:gd name="T86" fmla="*/ 31 w 282"/>
                  <a:gd name="T87" fmla="*/ 160 h 311"/>
                  <a:gd name="T88" fmla="*/ 14 w 282"/>
                  <a:gd name="T89" fmla="*/ 160 h 311"/>
                  <a:gd name="T90" fmla="*/ 1 w 282"/>
                  <a:gd name="T91" fmla="*/ 165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2" h="311">
                    <a:moveTo>
                      <a:pt x="7" y="171"/>
                    </a:moveTo>
                    <a:lnTo>
                      <a:pt x="1" y="174"/>
                    </a:lnTo>
                    <a:lnTo>
                      <a:pt x="0" y="180"/>
                    </a:lnTo>
                    <a:lnTo>
                      <a:pt x="7" y="183"/>
                    </a:lnTo>
                    <a:lnTo>
                      <a:pt x="28" y="184"/>
                    </a:lnTo>
                    <a:lnTo>
                      <a:pt x="42" y="178"/>
                    </a:lnTo>
                    <a:lnTo>
                      <a:pt x="69" y="181"/>
                    </a:lnTo>
                    <a:lnTo>
                      <a:pt x="75" y="206"/>
                    </a:lnTo>
                    <a:lnTo>
                      <a:pt x="81" y="208"/>
                    </a:lnTo>
                    <a:lnTo>
                      <a:pt x="82" y="217"/>
                    </a:lnTo>
                    <a:lnTo>
                      <a:pt x="109" y="217"/>
                    </a:lnTo>
                    <a:lnTo>
                      <a:pt x="110" y="201"/>
                    </a:lnTo>
                    <a:lnTo>
                      <a:pt x="116" y="195"/>
                    </a:lnTo>
                    <a:lnTo>
                      <a:pt x="124" y="213"/>
                    </a:lnTo>
                    <a:lnTo>
                      <a:pt x="130" y="208"/>
                    </a:lnTo>
                    <a:lnTo>
                      <a:pt x="139" y="206"/>
                    </a:lnTo>
                    <a:lnTo>
                      <a:pt x="145" y="215"/>
                    </a:lnTo>
                    <a:lnTo>
                      <a:pt x="146" y="247"/>
                    </a:lnTo>
                    <a:lnTo>
                      <a:pt x="146" y="259"/>
                    </a:lnTo>
                    <a:lnTo>
                      <a:pt x="155" y="267"/>
                    </a:lnTo>
                    <a:lnTo>
                      <a:pt x="172" y="267"/>
                    </a:lnTo>
                    <a:lnTo>
                      <a:pt x="188" y="268"/>
                    </a:lnTo>
                    <a:lnTo>
                      <a:pt x="192" y="284"/>
                    </a:lnTo>
                    <a:lnTo>
                      <a:pt x="199" y="286"/>
                    </a:lnTo>
                    <a:lnTo>
                      <a:pt x="203" y="277"/>
                    </a:lnTo>
                    <a:lnTo>
                      <a:pt x="215" y="275"/>
                    </a:lnTo>
                    <a:lnTo>
                      <a:pt x="216" y="280"/>
                    </a:lnTo>
                    <a:lnTo>
                      <a:pt x="228" y="286"/>
                    </a:lnTo>
                    <a:lnTo>
                      <a:pt x="231" y="302"/>
                    </a:lnTo>
                    <a:lnTo>
                      <a:pt x="237" y="310"/>
                    </a:lnTo>
                    <a:lnTo>
                      <a:pt x="253" y="309"/>
                    </a:lnTo>
                    <a:lnTo>
                      <a:pt x="257" y="300"/>
                    </a:lnTo>
                    <a:lnTo>
                      <a:pt x="254" y="282"/>
                    </a:lnTo>
                    <a:lnTo>
                      <a:pt x="244" y="281"/>
                    </a:lnTo>
                    <a:lnTo>
                      <a:pt x="238" y="275"/>
                    </a:lnTo>
                    <a:lnTo>
                      <a:pt x="242" y="231"/>
                    </a:lnTo>
                    <a:lnTo>
                      <a:pt x="247" y="221"/>
                    </a:lnTo>
                    <a:lnTo>
                      <a:pt x="258" y="217"/>
                    </a:lnTo>
                    <a:lnTo>
                      <a:pt x="261" y="208"/>
                    </a:lnTo>
                    <a:lnTo>
                      <a:pt x="262" y="200"/>
                    </a:lnTo>
                    <a:lnTo>
                      <a:pt x="261" y="190"/>
                    </a:lnTo>
                    <a:lnTo>
                      <a:pt x="257" y="180"/>
                    </a:lnTo>
                    <a:lnTo>
                      <a:pt x="256" y="173"/>
                    </a:lnTo>
                    <a:lnTo>
                      <a:pt x="257" y="159"/>
                    </a:lnTo>
                    <a:lnTo>
                      <a:pt x="253" y="149"/>
                    </a:lnTo>
                    <a:lnTo>
                      <a:pt x="247" y="144"/>
                    </a:lnTo>
                    <a:lnTo>
                      <a:pt x="250" y="129"/>
                    </a:lnTo>
                    <a:lnTo>
                      <a:pt x="241" y="130"/>
                    </a:lnTo>
                    <a:lnTo>
                      <a:pt x="240" y="122"/>
                    </a:lnTo>
                    <a:lnTo>
                      <a:pt x="246" y="116"/>
                    </a:lnTo>
                    <a:lnTo>
                      <a:pt x="244" y="107"/>
                    </a:lnTo>
                    <a:lnTo>
                      <a:pt x="253" y="102"/>
                    </a:lnTo>
                    <a:lnTo>
                      <a:pt x="257" y="68"/>
                    </a:lnTo>
                    <a:lnTo>
                      <a:pt x="272" y="62"/>
                    </a:lnTo>
                    <a:lnTo>
                      <a:pt x="280" y="58"/>
                    </a:lnTo>
                    <a:lnTo>
                      <a:pt x="281" y="48"/>
                    </a:lnTo>
                    <a:lnTo>
                      <a:pt x="272" y="48"/>
                    </a:lnTo>
                    <a:lnTo>
                      <a:pt x="272" y="42"/>
                    </a:lnTo>
                    <a:lnTo>
                      <a:pt x="268" y="23"/>
                    </a:lnTo>
                    <a:lnTo>
                      <a:pt x="268" y="21"/>
                    </a:lnTo>
                    <a:lnTo>
                      <a:pt x="258" y="19"/>
                    </a:lnTo>
                    <a:lnTo>
                      <a:pt x="253" y="11"/>
                    </a:lnTo>
                    <a:lnTo>
                      <a:pt x="220" y="8"/>
                    </a:lnTo>
                    <a:lnTo>
                      <a:pt x="215" y="1"/>
                    </a:lnTo>
                    <a:lnTo>
                      <a:pt x="206" y="0"/>
                    </a:lnTo>
                    <a:lnTo>
                      <a:pt x="190" y="3"/>
                    </a:lnTo>
                    <a:lnTo>
                      <a:pt x="177" y="1"/>
                    </a:lnTo>
                    <a:lnTo>
                      <a:pt x="176" y="8"/>
                    </a:lnTo>
                    <a:lnTo>
                      <a:pt x="146" y="10"/>
                    </a:lnTo>
                    <a:lnTo>
                      <a:pt x="143" y="16"/>
                    </a:lnTo>
                    <a:lnTo>
                      <a:pt x="119" y="19"/>
                    </a:lnTo>
                    <a:lnTo>
                      <a:pt x="114" y="8"/>
                    </a:lnTo>
                    <a:lnTo>
                      <a:pt x="104" y="5"/>
                    </a:lnTo>
                    <a:lnTo>
                      <a:pt x="98" y="14"/>
                    </a:lnTo>
                    <a:lnTo>
                      <a:pt x="91" y="17"/>
                    </a:lnTo>
                    <a:lnTo>
                      <a:pt x="86" y="21"/>
                    </a:lnTo>
                    <a:lnTo>
                      <a:pt x="95" y="25"/>
                    </a:lnTo>
                    <a:lnTo>
                      <a:pt x="91" y="43"/>
                    </a:lnTo>
                    <a:lnTo>
                      <a:pt x="87" y="47"/>
                    </a:lnTo>
                    <a:lnTo>
                      <a:pt x="86" y="92"/>
                    </a:lnTo>
                    <a:lnTo>
                      <a:pt x="82" y="98"/>
                    </a:lnTo>
                    <a:lnTo>
                      <a:pt x="76" y="105"/>
                    </a:lnTo>
                    <a:lnTo>
                      <a:pt x="75" y="125"/>
                    </a:lnTo>
                    <a:lnTo>
                      <a:pt x="63" y="125"/>
                    </a:lnTo>
                    <a:lnTo>
                      <a:pt x="62" y="149"/>
                    </a:lnTo>
                    <a:lnTo>
                      <a:pt x="47" y="155"/>
                    </a:lnTo>
                    <a:lnTo>
                      <a:pt x="43" y="160"/>
                    </a:lnTo>
                    <a:lnTo>
                      <a:pt x="31" y="160"/>
                    </a:lnTo>
                    <a:lnTo>
                      <a:pt x="25" y="156"/>
                    </a:lnTo>
                    <a:lnTo>
                      <a:pt x="14" y="160"/>
                    </a:lnTo>
                    <a:lnTo>
                      <a:pt x="7" y="163"/>
                    </a:lnTo>
                    <a:lnTo>
                      <a:pt x="1" y="165"/>
                    </a:lnTo>
                    <a:lnTo>
                      <a:pt x="4" y="170"/>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61" name="Freeform 214">
                <a:extLst>
                  <a:ext uri="{FF2B5EF4-FFF2-40B4-BE49-F238E27FC236}">
                    <a16:creationId xmlns:a16="http://schemas.microsoft.com/office/drawing/2014/main" id="{4AF03B5E-8C53-6011-7D40-0775202A5C16}"/>
                  </a:ext>
                </a:extLst>
              </p:cNvPr>
              <p:cNvSpPr>
                <a:spLocks/>
              </p:cNvSpPr>
              <p:nvPr/>
            </p:nvSpPr>
            <p:spPr bwMode="auto">
              <a:xfrm>
                <a:off x="5103047" y="4209056"/>
                <a:ext cx="282256" cy="318681"/>
              </a:xfrm>
              <a:custGeom>
                <a:avLst/>
                <a:gdLst>
                  <a:gd name="T0" fmla="*/ 8 w 180"/>
                  <a:gd name="T1" fmla="*/ 3 h 203"/>
                  <a:gd name="T2" fmla="*/ 14 w 180"/>
                  <a:gd name="T3" fmla="*/ 5 h 203"/>
                  <a:gd name="T4" fmla="*/ 35 w 180"/>
                  <a:gd name="T5" fmla="*/ 6 h 203"/>
                  <a:gd name="T6" fmla="*/ 50 w 180"/>
                  <a:gd name="T7" fmla="*/ 0 h 203"/>
                  <a:gd name="T8" fmla="*/ 76 w 180"/>
                  <a:gd name="T9" fmla="*/ 3 h 203"/>
                  <a:gd name="T10" fmla="*/ 82 w 180"/>
                  <a:gd name="T11" fmla="*/ 28 h 203"/>
                  <a:gd name="T12" fmla="*/ 89 w 180"/>
                  <a:gd name="T13" fmla="*/ 30 h 203"/>
                  <a:gd name="T14" fmla="*/ 90 w 180"/>
                  <a:gd name="T15" fmla="*/ 39 h 203"/>
                  <a:gd name="T16" fmla="*/ 116 w 180"/>
                  <a:gd name="T17" fmla="*/ 39 h 203"/>
                  <a:gd name="T18" fmla="*/ 117 w 180"/>
                  <a:gd name="T19" fmla="*/ 23 h 203"/>
                  <a:gd name="T20" fmla="*/ 123 w 180"/>
                  <a:gd name="T21" fmla="*/ 17 h 203"/>
                  <a:gd name="T22" fmla="*/ 131 w 180"/>
                  <a:gd name="T23" fmla="*/ 35 h 203"/>
                  <a:gd name="T24" fmla="*/ 137 w 180"/>
                  <a:gd name="T25" fmla="*/ 30 h 203"/>
                  <a:gd name="T26" fmla="*/ 146 w 180"/>
                  <a:gd name="T27" fmla="*/ 28 h 203"/>
                  <a:gd name="T28" fmla="*/ 152 w 180"/>
                  <a:gd name="T29" fmla="*/ 37 h 203"/>
                  <a:gd name="T30" fmla="*/ 153 w 180"/>
                  <a:gd name="T31" fmla="*/ 69 h 203"/>
                  <a:gd name="T32" fmla="*/ 153 w 180"/>
                  <a:gd name="T33" fmla="*/ 81 h 203"/>
                  <a:gd name="T34" fmla="*/ 162 w 180"/>
                  <a:gd name="T35" fmla="*/ 88 h 203"/>
                  <a:gd name="T36" fmla="*/ 179 w 180"/>
                  <a:gd name="T37" fmla="*/ 88 h 203"/>
                  <a:gd name="T38" fmla="*/ 176 w 180"/>
                  <a:gd name="T39" fmla="*/ 122 h 203"/>
                  <a:gd name="T40" fmla="*/ 164 w 180"/>
                  <a:gd name="T41" fmla="*/ 122 h 203"/>
                  <a:gd name="T42" fmla="*/ 159 w 180"/>
                  <a:gd name="T43" fmla="*/ 113 h 203"/>
                  <a:gd name="T44" fmla="*/ 153 w 180"/>
                  <a:gd name="T45" fmla="*/ 114 h 203"/>
                  <a:gd name="T46" fmla="*/ 153 w 180"/>
                  <a:gd name="T47" fmla="*/ 122 h 203"/>
                  <a:gd name="T48" fmla="*/ 143 w 180"/>
                  <a:gd name="T49" fmla="*/ 123 h 203"/>
                  <a:gd name="T50" fmla="*/ 142 w 180"/>
                  <a:gd name="T51" fmla="*/ 162 h 203"/>
                  <a:gd name="T52" fmla="*/ 144 w 180"/>
                  <a:gd name="T53" fmla="*/ 173 h 203"/>
                  <a:gd name="T54" fmla="*/ 155 w 180"/>
                  <a:gd name="T55" fmla="*/ 188 h 203"/>
                  <a:gd name="T56" fmla="*/ 156 w 180"/>
                  <a:gd name="T57" fmla="*/ 195 h 203"/>
                  <a:gd name="T58" fmla="*/ 138 w 180"/>
                  <a:gd name="T59" fmla="*/ 202 h 203"/>
                  <a:gd name="T60" fmla="*/ 127 w 180"/>
                  <a:gd name="T61" fmla="*/ 200 h 203"/>
                  <a:gd name="T62" fmla="*/ 97 w 180"/>
                  <a:gd name="T63" fmla="*/ 196 h 203"/>
                  <a:gd name="T64" fmla="*/ 92 w 180"/>
                  <a:gd name="T65" fmla="*/ 188 h 203"/>
                  <a:gd name="T66" fmla="*/ 55 w 180"/>
                  <a:gd name="T67" fmla="*/ 189 h 203"/>
                  <a:gd name="T68" fmla="*/ 30 w 180"/>
                  <a:gd name="T69" fmla="*/ 187 h 203"/>
                  <a:gd name="T70" fmla="*/ 14 w 180"/>
                  <a:gd name="T71" fmla="*/ 180 h 203"/>
                  <a:gd name="T72" fmla="*/ 0 w 180"/>
                  <a:gd name="T73" fmla="*/ 186 h 203"/>
                  <a:gd name="T74" fmla="*/ 0 w 180"/>
                  <a:gd name="T75" fmla="*/ 162 h 203"/>
                  <a:gd name="T76" fmla="*/ 16 w 180"/>
                  <a:gd name="T77" fmla="*/ 133 h 203"/>
                  <a:gd name="T78" fmla="*/ 24 w 180"/>
                  <a:gd name="T79" fmla="*/ 114 h 203"/>
                  <a:gd name="T80" fmla="*/ 25 w 180"/>
                  <a:gd name="T81" fmla="*/ 110 h 203"/>
                  <a:gd name="T82" fmla="*/ 32 w 180"/>
                  <a:gd name="T83" fmla="*/ 108 h 203"/>
                  <a:gd name="T84" fmla="*/ 35 w 180"/>
                  <a:gd name="T85" fmla="*/ 93 h 203"/>
                  <a:gd name="T86" fmla="*/ 26 w 180"/>
                  <a:gd name="T87" fmla="*/ 78 h 203"/>
                  <a:gd name="T88" fmla="*/ 23 w 180"/>
                  <a:gd name="T89" fmla="*/ 59 h 203"/>
                  <a:gd name="T90" fmla="*/ 21 w 180"/>
                  <a:gd name="T91" fmla="*/ 39 h 203"/>
                  <a:gd name="T92" fmla="*/ 14 w 180"/>
                  <a:gd name="T93" fmla="*/ 34 h 203"/>
                  <a:gd name="T94" fmla="*/ 14 w 180"/>
                  <a:gd name="T95" fmla="*/ 12 h 203"/>
                  <a:gd name="T96" fmla="*/ 5 w 180"/>
                  <a:gd name="T97" fmla="*/ 12 h 203"/>
                  <a:gd name="T98" fmla="*/ 8 w 180"/>
                  <a:gd name="T99" fmla="*/ 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0" h="203">
                    <a:moveTo>
                      <a:pt x="8" y="3"/>
                    </a:moveTo>
                    <a:lnTo>
                      <a:pt x="14" y="5"/>
                    </a:lnTo>
                    <a:lnTo>
                      <a:pt x="35" y="6"/>
                    </a:lnTo>
                    <a:lnTo>
                      <a:pt x="50" y="0"/>
                    </a:lnTo>
                    <a:lnTo>
                      <a:pt x="76" y="3"/>
                    </a:lnTo>
                    <a:lnTo>
                      <a:pt x="82" y="28"/>
                    </a:lnTo>
                    <a:lnTo>
                      <a:pt x="89" y="30"/>
                    </a:lnTo>
                    <a:lnTo>
                      <a:pt x="90" y="39"/>
                    </a:lnTo>
                    <a:lnTo>
                      <a:pt x="116" y="39"/>
                    </a:lnTo>
                    <a:lnTo>
                      <a:pt x="117" y="23"/>
                    </a:lnTo>
                    <a:lnTo>
                      <a:pt x="123" y="17"/>
                    </a:lnTo>
                    <a:lnTo>
                      <a:pt x="131" y="35"/>
                    </a:lnTo>
                    <a:lnTo>
                      <a:pt x="137" y="30"/>
                    </a:lnTo>
                    <a:lnTo>
                      <a:pt x="146" y="28"/>
                    </a:lnTo>
                    <a:lnTo>
                      <a:pt x="152" y="37"/>
                    </a:lnTo>
                    <a:lnTo>
                      <a:pt x="153" y="69"/>
                    </a:lnTo>
                    <a:lnTo>
                      <a:pt x="153" y="81"/>
                    </a:lnTo>
                    <a:lnTo>
                      <a:pt x="162" y="88"/>
                    </a:lnTo>
                    <a:lnTo>
                      <a:pt x="179" y="88"/>
                    </a:lnTo>
                    <a:lnTo>
                      <a:pt x="176" y="122"/>
                    </a:lnTo>
                    <a:lnTo>
                      <a:pt x="164" y="122"/>
                    </a:lnTo>
                    <a:lnTo>
                      <a:pt x="159" y="113"/>
                    </a:lnTo>
                    <a:lnTo>
                      <a:pt x="153" y="114"/>
                    </a:lnTo>
                    <a:lnTo>
                      <a:pt x="153" y="122"/>
                    </a:lnTo>
                    <a:lnTo>
                      <a:pt x="143" y="123"/>
                    </a:lnTo>
                    <a:lnTo>
                      <a:pt x="142" y="162"/>
                    </a:lnTo>
                    <a:lnTo>
                      <a:pt x="144" y="173"/>
                    </a:lnTo>
                    <a:lnTo>
                      <a:pt x="155" y="188"/>
                    </a:lnTo>
                    <a:lnTo>
                      <a:pt x="156" y="195"/>
                    </a:lnTo>
                    <a:lnTo>
                      <a:pt x="138" y="202"/>
                    </a:lnTo>
                    <a:lnTo>
                      <a:pt x="127" y="200"/>
                    </a:lnTo>
                    <a:lnTo>
                      <a:pt x="97" y="196"/>
                    </a:lnTo>
                    <a:lnTo>
                      <a:pt x="92" y="188"/>
                    </a:lnTo>
                    <a:lnTo>
                      <a:pt x="55" y="189"/>
                    </a:lnTo>
                    <a:lnTo>
                      <a:pt x="30" y="187"/>
                    </a:lnTo>
                    <a:lnTo>
                      <a:pt x="14" y="180"/>
                    </a:lnTo>
                    <a:lnTo>
                      <a:pt x="0" y="186"/>
                    </a:lnTo>
                    <a:lnTo>
                      <a:pt x="0" y="162"/>
                    </a:lnTo>
                    <a:lnTo>
                      <a:pt x="16" y="133"/>
                    </a:lnTo>
                    <a:lnTo>
                      <a:pt x="24" y="114"/>
                    </a:lnTo>
                    <a:lnTo>
                      <a:pt x="25" y="110"/>
                    </a:lnTo>
                    <a:lnTo>
                      <a:pt x="32" y="108"/>
                    </a:lnTo>
                    <a:lnTo>
                      <a:pt x="35" y="93"/>
                    </a:lnTo>
                    <a:lnTo>
                      <a:pt x="26" y="78"/>
                    </a:lnTo>
                    <a:lnTo>
                      <a:pt x="23" y="59"/>
                    </a:lnTo>
                    <a:lnTo>
                      <a:pt x="21" y="39"/>
                    </a:lnTo>
                    <a:lnTo>
                      <a:pt x="14" y="34"/>
                    </a:lnTo>
                    <a:lnTo>
                      <a:pt x="14" y="12"/>
                    </a:lnTo>
                    <a:lnTo>
                      <a:pt x="5" y="12"/>
                    </a:lnTo>
                    <a:lnTo>
                      <a:pt x="8" y="3"/>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62" name="Freeform 215">
                <a:extLst>
                  <a:ext uri="{FF2B5EF4-FFF2-40B4-BE49-F238E27FC236}">
                    <a16:creationId xmlns:a16="http://schemas.microsoft.com/office/drawing/2014/main" id="{EC5949EB-6948-C711-9ABA-0BD860A06649}"/>
                  </a:ext>
                </a:extLst>
              </p:cNvPr>
              <p:cNvSpPr>
                <a:spLocks/>
              </p:cNvSpPr>
              <p:nvPr/>
            </p:nvSpPr>
            <p:spPr bwMode="auto">
              <a:xfrm>
                <a:off x="5601885" y="3937898"/>
                <a:ext cx="183047" cy="234818"/>
              </a:xfrm>
              <a:custGeom>
                <a:avLst/>
                <a:gdLst>
                  <a:gd name="T0" fmla="*/ 83 w 116"/>
                  <a:gd name="T1" fmla="*/ 150 h 151"/>
                  <a:gd name="T2" fmla="*/ 60 w 116"/>
                  <a:gd name="T3" fmla="*/ 138 h 151"/>
                  <a:gd name="T4" fmla="*/ 60 w 116"/>
                  <a:gd name="T5" fmla="*/ 126 h 151"/>
                  <a:gd name="T6" fmla="*/ 44 w 116"/>
                  <a:gd name="T7" fmla="*/ 121 h 151"/>
                  <a:gd name="T8" fmla="*/ 15 w 116"/>
                  <a:gd name="T9" fmla="*/ 98 h 151"/>
                  <a:gd name="T10" fmla="*/ 4 w 116"/>
                  <a:gd name="T11" fmla="*/ 98 h 151"/>
                  <a:gd name="T12" fmla="*/ 0 w 116"/>
                  <a:gd name="T13" fmla="*/ 88 h 151"/>
                  <a:gd name="T14" fmla="*/ 3 w 116"/>
                  <a:gd name="T15" fmla="*/ 72 h 151"/>
                  <a:gd name="T16" fmla="*/ 11 w 116"/>
                  <a:gd name="T17" fmla="*/ 56 h 151"/>
                  <a:gd name="T18" fmla="*/ 11 w 116"/>
                  <a:gd name="T19" fmla="*/ 29 h 151"/>
                  <a:gd name="T20" fmla="*/ 3 w 116"/>
                  <a:gd name="T21" fmla="*/ 14 h 151"/>
                  <a:gd name="T22" fmla="*/ 23 w 116"/>
                  <a:gd name="T23" fmla="*/ 0 h 151"/>
                  <a:gd name="T24" fmla="*/ 37 w 116"/>
                  <a:gd name="T25" fmla="*/ 3 h 151"/>
                  <a:gd name="T26" fmla="*/ 51 w 116"/>
                  <a:gd name="T27" fmla="*/ 13 h 151"/>
                  <a:gd name="T28" fmla="*/ 53 w 116"/>
                  <a:gd name="T29" fmla="*/ 23 h 151"/>
                  <a:gd name="T30" fmla="*/ 84 w 116"/>
                  <a:gd name="T31" fmla="*/ 20 h 151"/>
                  <a:gd name="T32" fmla="*/ 84 w 116"/>
                  <a:gd name="T33" fmla="*/ 14 h 151"/>
                  <a:gd name="T34" fmla="*/ 104 w 116"/>
                  <a:gd name="T35" fmla="*/ 13 h 151"/>
                  <a:gd name="T36" fmla="*/ 108 w 116"/>
                  <a:gd name="T37" fmla="*/ 19 h 151"/>
                  <a:gd name="T38" fmla="*/ 115 w 116"/>
                  <a:gd name="T39" fmla="*/ 23 h 151"/>
                  <a:gd name="T40" fmla="*/ 107 w 116"/>
                  <a:gd name="T41" fmla="*/ 29 h 151"/>
                  <a:gd name="T42" fmla="*/ 103 w 116"/>
                  <a:gd name="T43" fmla="*/ 39 h 151"/>
                  <a:gd name="T44" fmla="*/ 106 w 116"/>
                  <a:gd name="T45" fmla="*/ 102 h 151"/>
                  <a:gd name="T46" fmla="*/ 112 w 116"/>
                  <a:gd name="T47" fmla="*/ 105 h 151"/>
                  <a:gd name="T48" fmla="*/ 106 w 116"/>
                  <a:gd name="T49" fmla="*/ 111 h 151"/>
                  <a:gd name="T50" fmla="*/ 101 w 116"/>
                  <a:gd name="T51" fmla="*/ 121 h 151"/>
                  <a:gd name="T52" fmla="*/ 90 w 116"/>
                  <a:gd name="T53" fmla="*/ 131 h 151"/>
                  <a:gd name="T54" fmla="*/ 88 w 116"/>
                  <a:gd name="T55" fmla="*/ 140 h 151"/>
                  <a:gd name="T56" fmla="*/ 83 w 116"/>
                  <a:gd name="T57" fmla="*/ 15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6" h="151">
                    <a:moveTo>
                      <a:pt x="83" y="150"/>
                    </a:moveTo>
                    <a:lnTo>
                      <a:pt x="60" y="138"/>
                    </a:lnTo>
                    <a:lnTo>
                      <a:pt x="60" y="126"/>
                    </a:lnTo>
                    <a:lnTo>
                      <a:pt x="44" y="121"/>
                    </a:lnTo>
                    <a:lnTo>
                      <a:pt x="15" y="98"/>
                    </a:lnTo>
                    <a:lnTo>
                      <a:pt x="4" y="98"/>
                    </a:lnTo>
                    <a:lnTo>
                      <a:pt x="0" y="88"/>
                    </a:lnTo>
                    <a:lnTo>
                      <a:pt x="3" y="72"/>
                    </a:lnTo>
                    <a:lnTo>
                      <a:pt x="11" y="56"/>
                    </a:lnTo>
                    <a:lnTo>
                      <a:pt x="11" y="29"/>
                    </a:lnTo>
                    <a:lnTo>
                      <a:pt x="3" y="14"/>
                    </a:lnTo>
                    <a:lnTo>
                      <a:pt x="23" y="0"/>
                    </a:lnTo>
                    <a:lnTo>
                      <a:pt x="37" y="3"/>
                    </a:lnTo>
                    <a:lnTo>
                      <a:pt x="51" y="13"/>
                    </a:lnTo>
                    <a:lnTo>
                      <a:pt x="53" y="23"/>
                    </a:lnTo>
                    <a:lnTo>
                      <a:pt x="84" y="20"/>
                    </a:lnTo>
                    <a:lnTo>
                      <a:pt x="84" y="14"/>
                    </a:lnTo>
                    <a:lnTo>
                      <a:pt x="104" y="13"/>
                    </a:lnTo>
                    <a:lnTo>
                      <a:pt x="108" y="19"/>
                    </a:lnTo>
                    <a:lnTo>
                      <a:pt x="115" y="23"/>
                    </a:lnTo>
                    <a:lnTo>
                      <a:pt x="107" y="29"/>
                    </a:lnTo>
                    <a:lnTo>
                      <a:pt x="103" y="39"/>
                    </a:lnTo>
                    <a:lnTo>
                      <a:pt x="106" y="102"/>
                    </a:lnTo>
                    <a:lnTo>
                      <a:pt x="112" y="105"/>
                    </a:lnTo>
                    <a:lnTo>
                      <a:pt x="106" y="111"/>
                    </a:lnTo>
                    <a:lnTo>
                      <a:pt x="101" y="121"/>
                    </a:lnTo>
                    <a:lnTo>
                      <a:pt x="90" y="131"/>
                    </a:lnTo>
                    <a:lnTo>
                      <a:pt x="88" y="140"/>
                    </a:lnTo>
                    <a:lnTo>
                      <a:pt x="83" y="150"/>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63" name="Freeform 216">
                <a:extLst>
                  <a:ext uri="{FF2B5EF4-FFF2-40B4-BE49-F238E27FC236}">
                    <a16:creationId xmlns:a16="http://schemas.microsoft.com/office/drawing/2014/main" id="{2A2A95B8-A4FF-9948-6016-4F5019F0E555}"/>
                  </a:ext>
                </a:extLst>
              </p:cNvPr>
              <p:cNvSpPr>
                <a:spLocks/>
              </p:cNvSpPr>
              <p:nvPr/>
            </p:nvSpPr>
            <p:spPr bwMode="auto">
              <a:xfrm>
                <a:off x="5585117" y="3540944"/>
                <a:ext cx="319983" cy="430500"/>
              </a:xfrm>
              <a:custGeom>
                <a:avLst/>
                <a:gdLst>
                  <a:gd name="T0" fmla="*/ 126 w 204"/>
                  <a:gd name="T1" fmla="*/ 275 h 276"/>
                  <a:gd name="T2" fmla="*/ 119 w 204"/>
                  <a:gd name="T3" fmla="*/ 271 h 276"/>
                  <a:gd name="T4" fmla="*/ 115 w 204"/>
                  <a:gd name="T5" fmla="*/ 265 h 276"/>
                  <a:gd name="T6" fmla="*/ 96 w 204"/>
                  <a:gd name="T7" fmla="*/ 267 h 276"/>
                  <a:gd name="T8" fmla="*/ 96 w 204"/>
                  <a:gd name="T9" fmla="*/ 272 h 276"/>
                  <a:gd name="T10" fmla="*/ 64 w 204"/>
                  <a:gd name="T11" fmla="*/ 275 h 276"/>
                  <a:gd name="T12" fmla="*/ 63 w 204"/>
                  <a:gd name="T13" fmla="*/ 265 h 276"/>
                  <a:gd name="T14" fmla="*/ 49 w 204"/>
                  <a:gd name="T15" fmla="*/ 256 h 276"/>
                  <a:gd name="T16" fmla="*/ 35 w 204"/>
                  <a:gd name="T17" fmla="*/ 252 h 276"/>
                  <a:gd name="T18" fmla="*/ 35 w 204"/>
                  <a:gd name="T19" fmla="*/ 243 h 276"/>
                  <a:gd name="T20" fmla="*/ 28 w 204"/>
                  <a:gd name="T21" fmla="*/ 231 h 276"/>
                  <a:gd name="T22" fmla="*/ 24 w 204"/>
                  <a:gd name="T23" fmla="*/ 228 h 276"/>
                  <a:gd name="T24" fmla="*/ 16 w 204"/>
                  <a:gd name="T25" fmla="*/ 223 h 276"/>
                  <a:gd name="T26" fmla="*/ 16 w 204"/>
                  <a:gd name="T27" fmla="*/ 211 h 276"/>
                  <a:gd name="T28" fmla="*/ 8 w 204"/>
                  <a:gd name="T29" fmla="*/ 209 h 276"/>
                  <a:gd name="T30" fmla="*/ 0 w 204"/>
                  <a:gd name="T31" fmla="*/ 195 h 276"/>
                  <a:gd name="T32" fmla="*/ 15 w 204"/>
                  <a:gd name="T33" fmla="*/ 194 h 276"/>
                  <a:gd name="T34" fmla="*/ 19 w 204"/>
                  <a:gd name="T35" fmla="*/ 162 h 276"/>
                  <a:gd name="T36" fmla="*/ 30 w 204"/>
                  <a:gd name="T37" fmla="*/ 161 h 276"/>
                  <a:gd name="T38" fmla="*/ 33 w 204"/>
                  <a:gd name="T39" fmla="*/ 128 h 276"/>
                  <a:gd name="T40" fmla="*/ 52 w 204"/>
                  <a:gd name="T41" fmla="*/ 124 h 276"/>
                  <a:gd name="T42" fmla="*/ 49 w 204"/>
                  <a:gd name="T43" fmla="*/ 85 h 276"/>
                  <a:gd name="T44" fmla="*/ 39 w 204"/>
                  <a:gd name="T45" fmla="*/ 82 h 276"/>
                  <a:gd name="T46" fmla="*/ 40 w 204"/>
                  <a:gd name="T47" fmla="*/ 71 h 276"/>
                  <a:gd name="T48" fmla="*/ 52 w 204"/>
                  <a:gd name="T49" fmla="*/ 72 h 276"/>
                  <a:gd name="T50" fmla="*/ 52 w 204"/>
                  <a:gd name="T51" fmla="*/ 60 h 276"/>
                  <a:gd name="T52" fmla="*/ 46 w 204"/>
                  <a:gd name="T53" fmla="*/ 46 h 276"/>
                  <a:gd name="T54" fmla="*/ 45 w 204"/>
                  <a:gd name="T55" fmla="*/ 27 h 276"/>
                  <a:gd name="T56" fmla="*/ 55 w 204"/>
                  <a:gd name="T57" fmla="*/ 0 h 276"/>
                  <a:gd name="T58" fmla="*/ 60 w 204"/>
                  <a:gd name="T59" fmla="*/ 12 h 276"/>
                  <a:gd name="T60" fmla="*/ 68 w 204"/>
                  <a:gd name="T61" fmla="*/ 25 h 276"/>
                  <a:gd name="T62" fmla="*/ 74 w 204"/>
                  <a:gd name="T63" fmla="*/ 34 h 276"/>
                  <a:gd name="T64" fmla="*/ 84 w 204"/>
                  <a:gd name="T65" fmla="*/ 52 h 276"/>
                  <a:gd name="T66" fmla="*/ 90 w 204"/>
                  <a:gd name="T67" fmla="*/ 63 h 276"/>
                  <a:gd name="T68" fmla="*/ 91 w 204"/>
                  <a:gd name="T69" fmla="*/ 76 h 276"/>
                  <a:gd name="T70" fmla="*/ 108 w 204"/>
                  <a:gd name="T71" fmla="*/ 81 h 276"/>
                  <a:gd name="T72" fmla="*/ 116 w 204"/>
                  <a:gd name="T73" fmla="*/ 100 h 276"/>
                  <a:gd name="T74" fmla="*/ 127 w 204"/>
                  <a:gd name="T75" fmla="*/ 121 h 276"/>
                  <a:gd name="T76" fmla="*/ 123 w 204"/>
                  <a:gd name="T77" fmla="*/ 132 h 276"/>
                  <a:gd name="T78" fmla="*/ 121 w 204"/>
                  <a:gd name="T79" fmla="*/ 159 h 276"/>
                  <a:gd name="T80" fmla="*/ 137 w 204"/>
                  <a:gd name="T81" fmla="*/ 162 h 276"/>
                  <a:gd name="T82" fmla="*/ 148 w 204"/>
                  <a:gd name="T83" fmla="*/ 172 h 276"/>
                  <a:gd name="T84" fmla="*/ 173 w 204"/>
                  <a:gd name="T85" fmla="*/ 195 h 276"/>
                  <a:gd name="T86" fmla="*/ 189 w 204"/>
                  <a:gd name="T87" fmla="*/ 195 h 276"/>
                  <a:gd name="T88" fmla="*/ 203 w 204"/>
                  <a:gd name="T89" fmla="*/ 208 h 276"/>
                  <a:gd name="T90" fmla="*/ 189 w 204"/>
                  <a:gd name="T91" fmla="*/ 220 h 276"/>
                  <a:gd name="T92" fmla="*/ 185 w 204"/>
                  <a:gd name="T93" fmla="*/ 240 h 276"/>
                  <a:gd name="T94" fmla="*/ 171 w 204"/>
                  <a:gd name="T95" fmla="*/ 256 h 276"/>
                  <a:gd name="T96" fmla="*/ 151 w 204"/>
                  <a:gd name="T97" fmla="*/ 260 h 276"/>
                  <a:gd name="T98" fmla="*/ 137 w 204"/>
                  <a:gd name="T99" fmla="*/ 260 h 276"/>
                  <a:gd name="T100" fmla="*/ 126 w 204"/>
                  <a:gd name="T101" fmla="*/ 275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4" h="276">
                    <a:moveTo>
                      <a:pt x="126" y="275"/>
                    </a:moveTo>
                    <a:lnTo>
                      <a:pt x="119" y="271"/>
                    </a:lnTo>
                    <a:lnTo>
                      <a:pt x="115" y="265"/>
                    </a:lnTo>
                    <a:lnTo>
                      <a:pt x="96" y="267"/>
                    </a:lnTo>
                    <a:lnTo>
                      <a:pt x="96" y="272"/>
                    </a:lnTo>
                    <a:lnTo>
                      <a:pt x="64" y="275"/>
                    </a:lnTo>
                    <a:lnTo>
                      <a:pt x="63" y="265"/>
                    </a:lnTo>
                    <a:lnTo>
                      <a:pt x="49" y="256"/>
                    </a:lnTo>
                    <a:lnTo>
                      <a:pt x="35" y="252"/>
                    </a:lnTo>
                    <a:lnTo>
                      <a:pt x="35" y="243"/>
                    </a:lnTo>
                    <a:lnTo>
                      <a:pt x="28" y="231"/>
                    </a:lnTo>
                    <a:lnTo>
                      <a:pt x="24" y="228"/>
                    </a:lnTo>
                    <a:lnTo>
                      <a:pt x="16" y="223"/>
                    </a:lnTo>
                    <a:lnTo>
                      <a:pt x="16" y="211"/>
                    </a:lnTo>
                    <a:lnTo>
                      <a:pt x="8" y="209"/>
                    </a:lnTo>
                    <a:lnTo>
                      <a:pt x="0" y="195"/>
                    </a:lnTo>
                    <a:lnTo>
                      <a:pt x="15" y="194"/>
                    </a:lnTo>
                    <a:lnTo>
                      <a:pt x="19" y="162"/>
                    </a:lnTo>
                    <a:lnTo>
                      <a:pt x="30" y="161"/>
                    </a:lnTo>
                    <a:lnTo>
                      <a:pt x="33" y="128"/>
                    </a:lnTo>
                    <a:lnTo>
                      <a:pt x="52" y="124"/>
                    </a:lnTo>
                    <a:lnTo>
                      <a:pt x="49" y="85"/>
                    </a:lnTo>
                    <a:lnTo>
                      <a:pt x="39" y="82"/>
                    </a:lnTo>
                    <a:lnTo>
                      <a:pt x="40" y="71"/>
                    </a:lnTo>
                    <a:lnTo>
                      <a:pt x="52" y="72"/>
                    </a:lnTo>
                    <a:lnTo>
                      <a:pt x="52" y="60"/>
                    </a:lnTo>
                    <a:lnTo>
                      <a:pt x="46" y="46"/>
                    </a:lnTo>
                    <a:lnTo>
                      <a:pt x="45" y="27"/>
                    </a:lnTo>
                    <a:lnTo>
                      <a:pt x="55" y="0"/>
                    </a:lnTo>
                    <a:lnTo>
                      <a:pt x="60" y="12"/>
                    </a:lnTo>
                    <a:lnTo>
                      <a:pt x="68" y="25"/>
                    </a:lnTo>
                    <a:lnTo>
                      <a:pt x="74" y="34"/>
                    </a:lnTo>
                    <a:lnTo>
                      <a:pt x="84" y="52"/>
                    </a:lnTo>
                    <a:lnTo>
                      <a:pt x="90" y="63"/>
                    </a:lnTo>
                    <a:lnTo>
                      <a:pt x="91" y="76"/>
                    </a:lnTo>
                    <a:lnTo>
                      <a:pt x="108" y="81"/>
                    </a:lnTo>
                    <a:lnTo>
                      <a:pt x="116" y="100"/>
                    </a:lnTo>
                    <a:lnTo>
                      <a:pt x="127" y="121"/>
                    </a:lnTo>
                    <a:lnTo>
                      <a:pt x="123" y="132"/>
                    </a:lnTo>
                    <a:lnTo>
                      <a:pt x="121" y="159"/>
                    </a:lnTo>
                    <a:lnTo>
                      <a:pt x="137" y="162"/>
                    </a:lnTo>
                    <a:lnTo>
                      <a:pt x="148" y="172"/>
                    </a:lnTo>
                    <a:lnTo>
                      <a:pt x="173" y="195"/>
                    </a:lnTo>
                    <a:lnTo>
                      <a:pt x="189" y="195"/>
                    </a:lnTo>
                    <a:lnTo>
                      <a:pt x="203" y="208"/>
                    </a:lnTo>
                    <a:lnTo>
                      <a:pt x="189" y="220"/>
                    </a:lnTo>
                    <a:lnTo>
                      <a:pt x="185" y="240"/>
                    </a:lnTo>
                    <a:lnTo>
                      <a:pt x="171" y="256"/>
                    </a:lnTo>
                    <a:lnTo>
                      <a:pt x="151" y="260"/>
                    </a:lnTo>
                    <a:lnTo>
                      <a:pt x="137" y="260"/>
                    </a:lnTo>
                    <a:lnTo>
                      <a:pt x="126" y="275"/>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64" name="Freeform 217">
                <a:extLst>
                  <a:ext uri="{FF2B5EF4-FFF2-40B4-BE49-F238E27FC236}">
                    <a16:creationId xmlns:a16="http://schemas.microsoft.com/office/drawing/2014/main" id="{C1151F00-DD1C-5A00-8497-37E56172630C}"/>
                  </a:ext>
                </a:extLst>
              </p:cNvPr>
              <p:cNvSpPr>
                <a:spLocks/>
              </p:cNvSpPr>
              <p:nvPr/>
            </p:nvSpPr>
            <p:spPr bwMode="auto">
              <a:xfrm>
                <a:off x="5763973" y="3742216"/>
                <a:ext cx="243132" cy="362011"/>
              </a:xfrm>
              <a:custGeom>
                <a:avLst/>
                <a:gdLst>
                  <a:gd name="T0" fmla="*/ 23 w 155"/>
                  <a:gd name="T1" fmla="*/ 33 h 231"/>
                  <a:gd name="T2" fmla="*/ 34 w 155"/>
                  <a:gd name="T3" fmla="*/ 43 h 231"/>
                  <a:gd name="T4" fmla="*/ 58 w 155"/>
                  <a:gd name="T5" fmla="*/ 67 h 231"/>
                  <a:gd name="T6" fmla="*/ 75 w 155"/>
                  <a:gd name="T7" fmla="*/ 66 h 231"/>
                  <a:gd name="T8" fmla="*/ 89 w 155"/>
                  <a:gd name="T9" fmla="*/ 80 h 231"/>
                  <a:gd name="T10" fmla="*/ 74 w 155"/>
                  <a:gd name="T11" fmla="*/ 92 h 231"/>
                  <a:gd name="T12" fmla="*/ 71 w 155"/>
                  <a:gd name="T13" fmla="*/ 112 h 231"/>
                  <a:gd name="T14" fmla="*/ 57 w 155"/>
                  <a:gd name="T15" fmla="*/ 127 h 231"/>
                  <a:gd name="T16" fmla="*/ 37 w 155"/>
                  <a:gd name="T17" fmla="*/ 132 h 231"/>
                  <a:gd name="T18" fmla="*/ 23 w 155"/>
                  <a:gd name="T19" fmla="*/ 132 h 231"/>
                  <a:gd name="T20" fmla="*/ 12 w 155"/>
                  <a:gd name="T21" fmla="*/ 147 h 231"/>
                  <a:gd name="T22" fmla="*/ 4 w 155"/>
                  <a:gd name="T23" fmla="*/ 154 h 231"/>
                  <a:gd name="T24" fmla="*/ 0 w 155"/>
                  <a:gd name="T25" fmla="*/ 163 h 231"/>
                  <a:gd name="T26" fmla="*/ 3 w 155"/>
                  <a:gd name="T27" fmla="*/ 227 h 231"/>
                  <a:gd name="T28" fmla="*/ 8 w 155"/>
                  <a:gd name="T29" fmla="*/ 230 h 231"/>
                  <a:gd name="T30" fmla="*/ 19 w 155"/>
                  <a:gd name="T31" fmla="*/ 216 h 231"/>
                  <a:gd name="T32" fmla="*/ 28 w 155"/>
                  <a:gd name="T33" fmla="*/ 201 h 231"/>
                  <a:gd name="T34" fmla="*/ 45 w 155"/>
                  <a:gd name="T35" fmla="*/ 189 h 231"/>
                  <a:gd name="T36" fmla="*/ 72 w 155"/>
                  <a:gd name="T37" fmla="*/ 165 h 231"/>
                  <a:gd name="T38" fmla="*/ 98 w 155"/>
                  <a:gd name="T39" fmla="*/ 138 h 231"/>
                  <a:gd name="T40" fmla="*/ 114 w 155"/>
                  <a:gd name="T41" fmla="*/ 115 h 231"/>
                  <a:gd name="T42" fmla="*/ 120 w 155"/>
                  <a:gd name="T43" fmla="*/ 87 h 231"/>
                  <a:gd name="T44" fmla="*/ 129 w 155"/>
                  <a:gd name="T45" fmla="*/ 67 h 231"/>
                  <a:gd name="T46" fmla="*/ 141 w 155"/>
                  <a:gd name="T47" fmla="*/ 51 h 231"/>
                  <a:gd name="T48" fmla="*/ 146 w 155"/>
                  <a:gd name="T49" fmla="*/ 33 h 231"/>
                  <a:gd name="T50" fmla="*/ 154 w 155"/>
                  <a:gd name="T51" fmla="*/ 25 h 231"/>
                  <a:gd name="T52" fmla="*/ 146 w 155"/>
                  <a:gd name="T53" fmla="*/ 15 h 231"/>
                  <a:gd name="T54" fmla="*/ 134 w 155"/>
                  <a:gd name="T55" fmla="*/ 0 h 231"/>
                  <a:gd name="T56" fmla="*/ 118 w 155"/>
                  <a:gd name="T57" fmla="*/ 14 h 231"/>
                  <a:gd name="T58" fmla="*/ 103 w 155"/>
                  <a:gd name="T59" fmla="*/ 17 h 231"/>
                  <a:gd name="T60" fmla="*/ 93 w 155"/>
                  <a:gd name="T61" fmla="*/ 22 h 231"/>
                  <a:gd name="T62" fmla="*/ 84 w 155"/>
                  <a:gd name="T63" fmla="*/ 29 h 231"/>
                  <a:gd name="T64" fmla="*/ 54 w 155"/>
                  <a:gd name="T65" fmla="*/ 26 h 231"/>
                  <a:gd name="T66" fmla="*/ 37 w 155"/>
                  <a:gd name="T67" fmla="*/ 20 h 231"/>
                  <a:gd name="T68" fmla="*/ 23 w 155"/>
                  <a:gd name="T69" fmla="*/ 33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5" h="231">
                    <a:moveTo>
                      <a:pt x="23" y="33"/>
                    </a:moveTo>
                    <a:lnTo>
                      <a:pt x="34" y="43"/>
                    </a:lnTo>
                    <a:lnTo>
                      <a:pt x="58" y="67"/>
                    </a:lnTo>
                    <a:lnTo>
                      <a:pt x="75" y="66"/>
                    </a:lnTo>
                    <a:lnTo>
                      <a:pt x="89" y="80"/>
                    </a:lnTo>
                    <a:lnTo>
                      <a:pt x="74" y="92"/>
                    </a:lnTo>
                    <a:lnTo>
                      <a:pt x="71" y="112"/>
                    </a:lnTo>
                    <a:lnTo>
                      <a:pt x="57" y="127"/>
                    </a:lnTo>
                    <a:lnTo>
                      <a:pt x="37" y="132"/>
                    </a:lnTo>
                    <a:lnTo>
                      <a:pt x="23" y="132"/>
                    </a:lnTo>
                    <a:lnTo>
                      <a:pt x="12" y="147"/>
                    </a:lnTo>
                    <a:lnTo>
                      <a:pt x="4" y="154"/>
                    </a:lnTo>
                    <a:lnTo>
                      <a:pt x="0" y="163"/>
                    </a:lnTo>
                    <a:lnTo>
                      <a:pt x="3" y="227"/>
                    </a:lnTo>
                    <a:lnTo>
                      <a:pt x="8" y="230"/>
                    </a:lnTo>
                    <a:lnTo>
                      <a:pt x="19" y="216"/>
                    </a:lnTo>
                    <a:lnTo>
                      <a:pt x="28" y="201"/>
                    </a:lnTo>
                    <a:lnTo>
                      <a:pt x="45" y="189"/>
                    </a:lnTo>
                    <a:lnTo>
                      <a:pt x="72" y="165"/>
                    </a:lnTo>
                    <a:lnTo>
                      <a:pt x="98" y="138"/>
                    </a:lnTo>
                    <a:lnTo>
                      <a:pt x="114" y="115"/>
                    </a:lnTo>
                    <a:lnTo>
                      <a:pt x="120" y="87"/>
                    </a:lnTo>
                    <a:lnTo>
                      <a:pt x="129" y="67"/>
                    </a:lnTo>
                    <a:lnTo>
                      <a:pt x="141" y="51"/>
                    </a:lnTo>
                    <a:lnTo>
                      <a:pt x="146" y="33"/>
                    </a:lnTo>
                    <a:lnTo>
                      <a:pt x="154" y="25"/>
                    </a:lnTo>
                    <a:lnTo>
                      <a:pt x="146" y="15"/>
                    </a:lnTo>
                    <a:lnTo>
                      <a:pt x="134" y="0"/>
                    </a:lnTo>
                    <a:lnTo>
                      <a:pt x="118" y="14"/>
                    </a:lnTo>
                    <a:lnTo>
                      <a:pt x="103" y="17"/>
                    </a:lnTo>
                    <a:lnTo>
                      <a:pt x="93" y="22"/>
                    </a:lnTo>
                    <a:lnTo>
                      <a:pt x="84" y="29"/>
                    </a:lnTo>
                    <a:lnTo>
                      <a:pt x="54" y="26"/>
                    </a:lnTo>
                    <a:lnTo>
                      <a:pt x="37" y="20"/>
                    </a:lnTo>
                    <a:lnTo>
                      <a:pt x="23" y="33"/>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65" name="Freeform 218">
                <a:extLst>
                  <a:ext uri="{FF2B5EF4-FFF2-40B4-BE49-F238E27FC236}">
                    <a16:creationId xmlns:a16="http://schemas.microsoft.com/office/drawing/2014/main" id="{EC0AE901-70F4-5918-B00A-89133EB1505E}"/>
                  </a:ext>
                </a:extLst>
              </p:cNvPr>
              <p:cNvSpPr>
                <a:spLocks/>
              </p:cNvSpPr>
              <p:nvPr/>
            </p:nvSpPr>
            <p:spPr bwMode="auto">
              <a:xfrm>
                <a:off x="5051346" y="3177536"/>
                <a:ext cx="347929" cy="415124"/>
              </a:xfrm>
              <a:custGeom>
                <a:avLst/>
                <a:gdLst>
                  <a:gd name="T0" fmla="*/ 28 w 221"/>
                  <a:gd name="T1" fmla="*/ 2 h 264"/>
                  <a:gd name="T2" fmla="*/ 40 w 221"/>
                  <a:gd name="T3" fmla="*/ 8 h 264"/>
                  <a:gd name="T4" fmla="*/ 48 w 221"/>
                  <a:gd name="T5" fmla="*/ 9 h 264"/>
                  <a:gd name="T6" fmla="*/ 81 w 221"/>
                  <a:gd name="T7" fmla="*/ 15 h 264"/>
                  <a:gd name="T8" fmla="*/ 85 w 221"/>
                  <a:gd name="T9" fmla="*/ 27 h 264"/>
                  <a:gd name="T10" fmla="*/ 108 w 221"/>
                  <a:gd name="T11" fmla="*/ 31 h 264"/>
                  <a:gd name="T12" fmla="*/ 109 w 221"/>
                  <a:gd name="T13" fmla="*/ 38 h 264"/>
                  <a:gd name="T14" fmla="*/ 129 w 221"/>
                  <a:gd name="T15" fmla="*/ 42 h 264"/>
                  <a:gd name="T16" fmla="*/ 142 w 221"/>
                  <a:gd name="T17" fmla="*/ 48 h 264"/>
                  <a:gd name="T18" fmla="*/ 146 w 221"/>
                  <a:gd name="T19" fmla="*/ 41 h 264"/>
                  <a:gd name="T20" fmla="*/ 146 w 221"/>
                  <a:gd name="T21" fmla="*/ 20 h 264"/>
                  <a:gd name="T22" fmla="*/ 152 w 221"/>
                  <a:gd name="T23" fmla="*/ 14 h 264"/>
                  <a:gd name="T24" fmla="*/ 158 w 221"/>
                  <a:gd name="T25" fmla="*/ 5 h 264"/>
                  <a:gd name="T26" fmla="*/ 164 w 221"/>
                  <a:gd name="T27" fmla="*/ 0 h 264"/>
                  <a:gd name="T28" fmla="*/ 179 w 221"/>
                  <a:gd name="T29" fmla="*/ 1 h 264"/>
                  <a:gd name="T30" fmla="*/ 187 w 221"/>
                  <a:gd name="T31" fmla="*/ 9 h 264"/>
                  <a:gd name="T32" fmla="*/ 195 w 221"/>
                  <a:gd name="T33" fmla="*/ 16 h 264"/>
                  <a:gd name="T34" fmla="*/ 208 w 221"/>
                  <a:gd name="T35" fmla="*/ 16 h 264"/>
                  <a:gd name="T36" fmla="*/ 220 w 221"/>
                  <a:gd name="T37" fmla="*/ 20 h 264"/>
                  <a:gd name="T38" fmla="*/ 219 w 221"/>
                  <a:gd name="T39" fmla="*/ 34 h 264"/>
                  <a:gd name="T40" fmla="*/ 219 w 221"/>
                  <a:gd name="T41" fmla="*/ 210 h 264"/>
                  <a:gd name="T42" fmla="*/ 218 w 221"/>
                  <a:gd name="T43" fmla="*/ 234 h 264"/>
                  <a:gd name="T44" fmla="*/ 208 w 221"/>
                  <a:gd name="T45" fmla="*/ 237 h 264"/>
                  <a:gd name="T46" fmla="*/ 211 w 221"/>
                  <a:gd name="T47" fmla="*/ 263 h 264"/>
                  <a:gd name="T48" fmla="*/ 201 w 221"/>
                  <a:gd name="T49" fmla="*/ 261 h 264"/>
                  <a:gd name="T50" fmla="*/ 177 w 221"/>
                  <a:gd name="T51" fmla="*/ 243 h 264"/>
                  <a:gd name="T52" fmla="*/ 168 w 221"/>
                  <a:gd name="T53" fmla="*/ 238 h 264"/>
                  <a:gd name="T54" fmla="*/ 146 w 221"/>
                  <a:gd name="T55" fmla="*/ 227 h 264"/>
                  <a:gd name="T56" fmla="*/ 138 w 221"/>
                  <a:gd name="T57" fmla="*/ 214 h 264"/>
                  <a:gd name="T58" fmla="*/ 113 w 221"/>
                  <a:gd name="T59" fmla="*/ 210 h 264"/>
                  <a:gd name="T60" fmla="*/ 108 w 221"/>
                  <a:gd name="T61" fmla="*/ 198 h 264"/>
                  <a:gd name="T62" fmla="*/ 95 w 221"/>
                  <a:gd name="T63" fmla="*/ 193 h 264"/>
                  <a:gd name="T64" fmla="*/ 95 w 221"/>
                  <a:gd name="T65" fmla="*/ 187 h 264"/>
                  <a:gd name="T66" fmla="*/ 80 w 221"/>
                  <a:gd name="T67" fmla="*/ 186 h 264"/>
                  <a:gd name="T68" fmla="*/ 72 w 221"/>
                  <a:gd name="T69" fmla="*/ 182 h 264"/>
                  <a:gd name="T70" fmla="*/ 54 w 221"/>
                  <a:gd name="T71" fmla="*/ 181 h 264"/>
                  <a:gd name="T72" fmla="*/ 52 w 221"/>
                  <a:gd name="T73" fmla="*/ 173 h 264"/>
                  <a:gd name="T74" fmla="*/ 34 w 221"/>
                  <a:gd name="T75" fmla="*/ 173 h 264"/>
                  <a:gd name="T76" fmla="*/ 32 w 221"/>
                  <a:gd name="T77" fmla="*/ 159 h 264"/>
                  <a:gd name="T78" fmla="*/ 9 w 221"/>
                  <a:gd name="T79" fmla="*/ 155 h 264"/>
                  <a:gd name="T80" fmla="*/ 2 w 221"/>
                  <a:gd name="T81" fmla="*/ 148 h 264"/>
                  <a:gd name="T82" fmla="*/ 0 w 221"/>
                  <a:gd name="T83" fmla="*/ 130 h 264"/>
                  <a:gd name="T84" fmla="*/ 3 w 221"/>
                  <a:gd name="T85" fmla="*/ 33 h 264"/>
                  <a:gd name="T86" fmla="*/ 18 w 221"/>
                  <a:gd name="T87" fmla="*/ 26 h 264"/>
                  <a:gd name="T88" fmla="*/ 25 w 221"/>
                  <a:gd name="T89" fmla="*/ 24 h 264"/>
                  <a:gd name="T90" fmla="*/ 28 w 221"/>
                  <a:gd name="T91" fmla="*/ 2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1" h="264">
                    <a:moveTo>
                      <a:pt x="28" y="2"/>
                    </a:moveTo>
                    <a:lnTo>
                      <a:pt x="40" y="8"/>
                    </a:lnTo>
                    <a:lnTo>
                      <a:pt x="48" y="9"/>
                    </a:lnTo>
                    <a:lnTo>
                      <a:pt x="81" y="15"/>
                    </a:lnTo>
                    <a:lnTo>
                      <a:pt x="85" y="27"/>
                    </a:lnTo>
                    <a:lnTo>
                      <a:pt x="108" y="31"/>
                    </a:lnTo>
                    <a:lnTo>
                      <a:pt x="109" y="38"/>
                    </a:lnTo>
                    <a:lnTo>
                      <a:pt x="129" y="42"/>
                    </a:lnTo>
                    <a:lnTo>
                      <a:pt x="142" y="48"/>
                    </a:lnTo>
                    <a:lnTo>
                      <a:pt x="146" y="41"/>
                    </a:lnTo>
                    <a:lnTo>
                      <a:pt x="146" y="20"/>
                    </a:lnTo>
                    <a:lnTo>
                      <a:pt x="152" y="14"/>
                    </a:lnTo>
                    <a:lnTo>
                      <a:pt x="158" y="5"/>
                    </a:lnTo>
                    <a:lnTo>
                      <a:pt x="164" y="0"/>
                    </a:lnTo>
                    <a:lnTo>
                      <a:pt x="179" y="1"/>
                    </a:lnTo>
                    <a:lnTo>
                      <a:pt x="187" y="9"/>
                    </a:lnTo>
                    <a:lnTo>
                      <a:pt x="195" y="16"/>
                    </a:lnTo>
                    <a:lnTo>
                      <a:pt x="208" y="16"/>
                    </a:lnTo>
                    <a:lnTo>
                      <a:pt x="220" y="20"/>
                    </a:lnTo>
                    <a:lnTo>
                      <a:pt x="219" y="34"/>
                    </a:lnTo>
                    <a:lnTo>
                      <a:pt x="219" y="210"/>
                    </a:lnTo>
                    <a:lnTo>
                      <a:pt x="218" y="234"/>
                    </a:lnTo>
                    <a:lnTo>
                      <a:pt x="208" y="237"/>
                    </a:lnTo>
                    <a:lnTo>
                      <a:pt x="211" y="263"/>
                    </a:lnTo>
                    <a:lnTo>
                      <a:pt x="201" y="261"/>
                    </a:lnTo>
                    <a:lnTo>
                      <a:pt x="177" y="243"/>
                    </a:lnTo>
                    <a:lnTo>
                      <a:pt x="168" y="238"/>
                    </a:lnTo>
                    <a:lnTo>
                      <a:pt x="146" y="227"/>
                    </a:lnTo>
                    <a:lnTo>
                      <a:pt x="138" y="214"/>
                    </a:lnTo>
                    <a:lnTo>
                      <a:pt x="113" y="210"/>
                    </a:lnTo>
                    <a:lnTo>
                      <a:pt x="108" y="198"/>
                    </a:lnTo>
                    <a:lnTo>
                      <a:pt x="95" y="193"/>
                    </a:lnTo>
                    <a:lnTo>
                      <a:pt x="95" y="187"/>
                    </a:lnTo>
                    <a:lnTo>
                      <a:pt x="80" y="186"/>
                    </a:lnTo>
                    <a:lnTo>
                      <a:pt x="72" y="182"/>
                    </a:lnTo>
                    <a:lnTo>
                      <a:pt x="54" y="181"/>
                    </a:lnTo>
                    <a:lnTo>
                      <a:pt x="52" y="173"/>
                    </a:lnTo>
                    <a:lnTo>
                      <a:pt x="34" y="173"/>
                    </a:lnTo>
                    <a:lnTo>
                      <a:pt x="32" y="159"/>
                    </a:lnTo>
                    <a:lnTo>
                      <a:pt x="9" y="155"/>
                    </a:lnTo>
                    <a:lnTo>
                      <a:pt x="2" y="148"/>
                    </a:lnTo>
                    <a:lnTo>
                      <a:pt x="0" y="130"/>
                    </a:lnTo>
                    <a:lnTo>
                      <a:pt x="3" y="33"/>
                    </a:lnTo>
                    <a:lnTo>
                      <a:pt x="18" y="26"/>
                    </a:lnTo>
                    <a:lnTo>
                      <a:pt x="25" y="24"/>
                    </a:lnTo>
                    <a:lnTo>
                      <a:pt x="28" y="2"/>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66" name="Freeform 219">
                <a:extLst>
                  <a:ext uri="{FF2B5EF4-FFF2-40B4-BE49-F238E27FC236}">
                    <a16:creationId xmlns:a16="http://schemas.microsoft.com/office/drawing/2014/main" id="{AD639A2F-C39F-9D7E-683A-5599A3FB0D5F}"/>
                  </a:ext>
                </a:extLst>
              </p:cNvPr>
              <p:cNvSpPr>
                <a:spLocks/>
              </p:cNvSpPr>
              <p:nvPr/>
            </p:nvSpPr>
            <p:spPr bwMode="auto">
              <a:xfrm>
                <a:off x="5326616" y="3465467"/>
                <a:ext cx="345134" cy="503181"/>
              </a:xfrm>
              <a:custGeom>
                <a:avLst/>
                <a:gdLst>
                  <a:gd name="T0" fmla="*/ 34 w 220"/>
                  <a:gd name="T1" fmla="*/ 121 h 320"/>
                  <a:gd name="T2" fmla="*/ 16 w 220"/>
                  <a:gd name="T3" fmla="*/ 141 h 320"/>
                  <a:gd name="T4" fmla="*/ 2 w 220"/>
                  <a:gd name="T5" fmla="*/ 156 h 320"/>
                  <a:gd name="T6" fmla="*/ 11 w 220"/>
                  <a:gd name="T7" fmla="*/ 170 h 320"/>
                  <a:gd name="T8" fmla="*/ 20 w 220"/>
                  <a:gd name="T9" fmla="*/ 184 h 320"/>
                  <a:gd name="T10" fmla="*/ 18 w 220"/>
                  <a:gd name="T11" fmla="*/ 196 h 320"/>
                  <a:gd name="T12" fmla="*/ 31 w 220"/>
                  <a:gd name="T13" fmla="*/ 221 h 320"/>
                  <a:gd name="T14" fmla="*/ 36 w 220"/>
                  <a:gd name="T15" fmla="*/ 237 h 320"/>
                  <a:gd name="T16" fmla="*/ 48 w 220"/>
                  <a:gd name="T17" fmla="*/ 243 h 320"/>
                  <a:gd name="T18" fmla="*/ 64 w 220"/>
                  <a:gd name="T19" fmla="*/ 260 h 320"/>
                  <a:gd name="T20" fmla="*/ 74 w 220"/>
                  <a:gd name="T21" fmla="*/ 278 h 320"/>
                  <a:gd name="T22" fmla="*/ 81 w 220"/>
                  <a:gd name="T23" fmla="*/ 289 h 320"/>
                  <a:gd name="T24" fmla="*/ 85 w 220"/>
                  <a:gd name="T25" fmla="*/ 304 h 320"/>
                  <a:gd name="T26" fmla="*/ 123 w 220"/>
                  <a:gd name="T27" fmla="*/ 314 h 320"/>
                  <a:gd name="T28" fmla="*/ 133 w 220"/>
                  <a:gd name="T29" fmla="*/ 318 h 320"/>
                  <a:gd name="T30" fmla="*/ 162 w 220"/>
                  <a:gd name="T31" fmla="*/ 319 h 320"/>
                  <a:gd name="T32" fmla="*/ 199 w 220"/>
                  <a:gd name="T33" fmla="*/ 299 h 320"/>
                  <a:gd name="T34" fmla="*/ 192 w 220"/>
                  <a:gd name="T35" fmla="*/ 278 h 320"/>
                  <a:gd name="T36" fmla="*/ 180 w 220"/>
                  <a:gd name="T37" fmla="*/ 270 h 320"/>
                  <a:gd name="T38" fmla="*/ 172 w 220"/>
                  <a:gd name="T39" fmla="*/ 256 h 320"/>
                  <a:gd name="T40" fmla="*/ 179 w 220"/>
                  <a:gd name="T41" fmla="*/ 241 h 320"/>
                  <a:gd name="T42" fmla="*/ 194 w 220"/>
                  <a:gd name="T43" fmla="*/ 208 h 320"/>
                  <a:gd name="T44" fmla="*/ 216 w 220"/>
                  <a:gd name="T45" fmla="*/ 171 h 320"/>
                  <a:gd name="T46" fmla="*/ 203 w 220"/>
                  <a:gd name="T47" fmla="*/ 129 h 320"/>
                  <a:gd name="T48" fmla="*/ 216 w 220"/>
                  <a:gd name="T49" fmla="*/ 119 h 320"/>
                  <a:gd name="T50" fmla="*/ 210 w 220"/>
                  <a:gd name="T51" fmla="*/ 92 h 320"/>
                  <a:gd name="T52" fmla="*/ 219 w 220"/>
                  <a:gd name="T53" fmla="*/ 47 h 320"/>
                  <a:gd name="T54" fmla="*/ 210 w 220"/>
                  <a:gd name="T55" fmla="*/ 14 h 320"/>
                  <a:gd name="T56" fmla="*/ 167 w 220"/>
                  <a:gd name="T57" fmla="*/ 20 h 320"/>
                  <a:gd name="T58" fmla="*/ 64 w 220"/>
                  <a:gd name="T59" fmla="*/ 13 h 320"/>
                  <a:gd name="T60" fmla="*/ 44 w 220"/>
                  <a:gd name="T61" fmla="*/ 25 h 320"/>
                  <a:gd name="T62" fmla="*/ 33 w 220"/>
                  <a:gd name="T63" fmla="*/ 5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0" h="320">
                    <a:moveTo>
                      <a:pt x="36" y="79"/>
                    </a:moveTo>
                    <a:lnTo>
                      <a:pt x="34" y="121"/>
                    </a:lnTo>
                    <a:lnTo>
                      <a:pt x="25" y="125"/>
                    </a:lnTo>
                    <a:lnTo>
                      <a:pt x="16" y="141"/>
                    </a:lnTo>
                    <a:lnTo>
                      <a:pt x="13" y="155"/>
                    </a:lnTo>
                    <a:lnTo>
                      <a:pt x="2" y="156"/>
                    </a:lnTo>
                    <a:lnTo>
                      <a:pt x="0" y="165"/>
                    </a:lnTo>
                    <a:lnTo>
                      <a:pt x="11" y="170"/>
                    </a:lnTo>
                    <a:lnTo>
                      <a:pt x="14" y="182"/>
                    </a:lnTo>
                    <a:lnTo>
                      <a:pt x="20" y="184"/>
                    </a:lnTo>
                    <a:lnTo>
                      <a:pt x="20" y="191"/>
                    </a:lnTo>
                    <a:lnTo>
                      <a:pt x="18" y="196"/>
                    </a:lnTo>
                    <a:lnTo>
                      <a:pt x="25" y="207"/>
                    </a:lnTo>
                    <a:lnTo>
                      <a:pt x="31" y="221"/>
                    </a:lnTo>
                    <a:lnTo>
                      <a:pt x="30" y="234"/>
                    </a:lnTo>
                    <a:lnTo>
                      <a:pt x="36" y="237"/>
                    </a:lnTo>
                    <a:lnTo>
                      <a:pt x="37" y="245"/>
                    </a:lnTo>
                    <a:lnTo>
                      <a:pt x="48" y="243"/>
                    </a:lnTo>
                    <a:lnTo>
                      <a:pt x="52" y="256"/>
                    </a:lnTo>
                    <a:lnTo>
                      <a:pt x="64" y="260"/>
                    </a:lnTo>
                    <a:lnTo>
                      <a:pt x="67" y="276"/>
                    </a:lnTo>
                    <a:lnTo>
                      <a:pt x="74" y="278"/>
                    </a:lnTo>
                    <a:lnTo>
                      <a:pt x="79" y="284"/>
                    </a:lnTo>
                    <a:lnTo>
                      <a:pt x="81" y="289"/>
                    </a:lnTo>
                    <a:lnTo>
                      <a:pt x="79" y="296"/>
                    </a:lnTo>
                    <a:lnTo>
                      <a:pt x="85" y="304"/>
                    </a:lnTo>
                    <a:lnTo>
                      <a:pt x="118" y="306"/>
                    </a:lnTo>
                    <a:lnTo>
                      <a:pt x="123" y="314"/>
                    </a:lnTo>
                    <a:lnTo>
                      <a:pt x="133" y="316"/>
                    </a:lnTo>
                    <a:lnTo>
                      <a:pt x="133" y="318"/>
                    </a:lnTo>
                    <a:lnTo>
                      <a:pt x="148" y="318"/>
                    </a:lnTo>
                    <a:lnTo>
                      <a:pt x="162" y="319"/>
                    </a:lnTo>
                    <a:lnTo>
                      <a:pt x="178" y="314"/>
                    </a:lnTo>
                    <a:lnTo>
                      <a:pt x="199" y="299"/>
                    </a:lnTo>
                    <a:lnTo>
                      <a:pt x="199" y="290"/>
                    </a:lnTo>
                    <a:lnTo>
                      <a:pt x="192" y="278"/>
                    </a:lnTo>
                    <a:lnTo>
                      <a:pt x="188" y="275"/>
                    </a:lnTo>
                    <a:lnTo>
                      <a:pt x="180" y="270"/>
                    </a:lnTo>
                    <a:lnTo>
                      <a:pt x="180" y="258"/>
                    </a:lnTo>
                    <a:lnTo>
                      <a:pt x="172" y="256"/>
                    </a:lnTo>
                    <a:lnTo>
                      <a:pt x="164" y="242"/>
                    </a:lnTo>
                    <a:lnTo>
                      <a:pt x="179" y="241"/>
                    </a:lnTo>
                    <a:lnTo>
                      <a:pt x="183" y="209"/>
                    </a:lnTo>
                    <a:lnTo>
                      <a:pt x="194" y="208"/>
                    </a:lnTo>
                    <a:lnTo>
                      <a:pt x="197" y="175"/>
                    </a:lnTo>
                    <a:lnTo>
                      <a:pt x="216" y="171"/>
                    </a:lnTo>
                    <a:lnTo>
                      <a:pt x="213" y="132"/>
                    </a:lnTo>
                    <a:lnTo>
                      <a:pt x="203" y="129"/>
                    </a:lnTo>
                    <a:lnTo>
                      <a:pt x="204" y="118"/>
                    </a:lnTo>
                    <a:lnTo>
                      <a:pt x="216" y="119"/>
                    </a:lnTo>
                    <a:lnTo>
                      <a:pt x="216" y="107"/>
                    </a:lnTo>
                    <a:lnTo>
                      <a:pt x="210" y="92"/>
                    </a:lnTo>
                    <a:lnTo>
                      <a:pt x="209" y="74"/>
                    </a:lnTo>
                    <a:lnTo>
                      <a:pt x="219" y="47"/>
                    </a:lnTo>
                    <a:lnTo>
                      <a:pt x="217" y="33"/>
                    </a:lnTo>
                    <a:lnTo>
                      <a:pt x="210" y="14"/>
                    </a:lnTo>
                    <a:lnTo>
                      <a:pt x="191" y="0"/>
                    </a:lnTo>
                    <a:lnTo>
                      <a:pt x="167" y="20"/>
                    </a:lnTo>
                    <a:lnTo>
                      <a:pt x="158" y="13"/>
                    </a:lnTo>
                    <a:lnTo>
                      <a:pt x="64" y="13"/>
                    </a:lnTo>
                    <a:lnTo>
                      <a:pt x="53" y="20"/>
                    </a:lnTo>
                    <a:lnTo>
                      <a:pt x="44" y="25"/>
                    </a:lnTo>
                    <a:lnTo>
                      <a:pt x="43" y="50"/>
                    </a:lnTo>
                    <a:lnTo>
                      <a:pt x="33" y="53"/>
                    </a:lnTo>
                    <a:lnTo>
                      <a:pt x="36" y="79"/>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67" name="Freeform 220">
                <a:extLst>
                  <a:ext uri="{FF2B5EF4-FFF2-40B4-BE49-F238E27FC236}">
                    <a16:creationId xmlns:a16="http://schemas.microsoft.com/office/drawing/2014/main" id="{79B2DE5C-6A0A-38E2-ECDF-3F3DD967D591}"/>
                  </a:ext>
                </a:extLst>
              </p:cNvPr>
              <p:cNvSpPr>
                <a:spLocks/>
              </p:cNvSpPr>
              <p:nvPr/>
            </p:nvSpPr>
            <p:spPr bwMode="auto">
              <a:xfrm>
                <a:off x="7493839" y="3753398"/>
                <a:ext cx="48905" cy="93648"/>
              </a:xfrm>
              <a:custGeom>
                <a:avLst/>
                <a:gdLst>
                  <a:gd name="T0" fmla="*/ 23 w 33"/>
                  <a:gd name="T1" fmla="*/ 6 h 60"/>
                  <a:gd name="T2" fmla="*/ 21 w 33"/>
                  <a:gd name="T3" fmla="*/ 17 h 60"/>
                  <a:gd name="T4" fmla="*/ 8 w 33"/>
                  <a:gd name="T5" fmla="*/ 27 h 60"/>
                  <a:gd name="T6" fmla="*/ 0 w 33"/>
                  <a:gd name="T7" fmla="*/ 39 h 60"/>
                  <a:gd name="T8" fmla="*/ 2 w 33"/>
                  <a:gd name="T9" fmla="*/ 59 h 60"/>
                  <a:gd name="T10" fmla="*/ 17 w 33"/>
                  <a:gd name="T11" fmla="*/ 44 h 60"/>
                  <a:gd name="T12" fmla="*/ 27 w 33"/>
                  <a:gd name="T13" fmla="*/ 24 h 60"/>
                  <a:gd name="T14" fmla="*/ 32 w 33"/>
                  <a:gd name="T15" fmla="*/ 11 h 60"/>
                  <a:gd name="T16" fmla="*/ 27 w 33"/>
                  <a:gd name="T17" fmla="*/ 0 h 60"/>
                  <a:gd name="T18" fmla="*/ 23 w 33"/>
                  <a:gd name="T19" fmla="*/ 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60">
                    <a:moveTo>
                      <a:pt x="23" y="6"/>
                    </a:moveTo>
                    <a:lnTo>
                      <a:pt x="21" y="17"/>
                    </a:lnTo>
                    <a:lnTo>
                      <a:pt x="8" y="27"/>
                    </a:lnTo>
                    <a:lnTo>
                      <a:pt x="0" y="39"/>
                    </a:lnTo>
                    <a:lnTo>
                      <a:pt x="2" y="59"/>
                    </a:lnTo>
                    <a:lnTo>
                      <a:pt x="17" y="44"/>
                    </a:lnTo>
                    <a:lnTo>
                      <a:pt x="27" y="24"/>
                    </a:lnTo>
                    <a:lnTo>
                      <a:pt x="32" y="11"/>
                    </a:lnTo>
                    <a:lnTo>
                      <a:pt x="27" y="0"/>
                    </a:lnTo>
                    <a:lnTo>
                      <a:pt x="23" y="6"/>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68" name="Freeform 221">
                <a:extLst>
                  <a:ext uri="{FF2B5EF4-FFF2-40B4-BE49-F238E27FC236}">
                    <a16:creationId xmlns:a16="http://schemas.microsoft.com/office/drawing/2014/main" id="{45088297-C81A-BCF7-466B-8C67CFF997EF}"/>
                  </a:ext>
                </a:extLst>
              </p:cNvPr>
              <p:cNvSpPr>
                <a:spLocks/>
              </p:cNvSpPr>
              <p:nvPr/>
            </p:nvSpPr>
            <p:spPr bwMode="auto">
              <a:xfrm>
                <a:off x="7524581" y="3563307"/>
                <a:ext cx="78250" cy="122999"/>
              </a:xfrm>
              <a:custGeom>
                <a:avLst/>
                <a:gdLst>
                  <a:gd name="T0" fmla="*/ 24 w 51"/>
                  <a:gd name="T1" fmla="*/ 0 h 78"/>
                  <a:gd name="T2" fmla="*/ 14 w 51"/>
                  <a:gd name="T3" fmla="*/ 16 h 78"/>
                  <a:gd name="T4" fmla="*/ 10 w 51"/>
                  <a:gd name="T5" fmla="*/ 37 h 78"/>
                  <a:gd name="T6" fmla="*/ 0 w 51"/>
                  <a:gd name="T7" fmla="*/ 46 h 78"/>
                  <a:gd name="T8" fmla="*/ 3 w 51"/>
                  <a:gd name="T9" fmla="*/ 66 h 78"/>
                  <a:gd name="T10" fmla="*/ 14 w 51"/>
                  <a:gd name="T11" fmla="*/ 69 h 78"/>
                  <a:gd name="T12" fmla="*/ 20 w 51"/>
                  <a:gd name="T13" fmla="*/ 77 h 78"/>
                  <a:gd name="T14" fmla="*/ 36 w 51"/>
                  <a:gd name="T15" fmla="*/ 76 h 78"/>
                  <a:gd name="T16" fmla="*/ 50 w 51"/>
                  <a:gd name="T17" fmla="*/ 71 h 78"/>
                  <a:gd name="T18" fmla="*/ 45 w 51"/>
                  <a:gd name="T19" fmla="*/ 52 h 78"/>
                  <a:gd name="T20" fmla="*/ 47 w 51"/>
                  <a:gd name="T21" fmla="*/ 37 h 78"/>
                  <a:gd name="T22" fmla="*/ 47 w 51"/>
                  <a:gd name="T23" fmla="*/ 27 h 78"/>
                  <a:gd name="T24" fmla="*/ 42 w 51"/>
                  <a:gd name="T25" fmla="*/ 10 h 78"/>
                  <a:gd name="T26" fmla="*/ 39 w 51"/>
                  <a:gd name="T27" fmla="*/ 1 h 78"/>
                  <a:gd name="T28" fmla="*/ 24 w 51"/>
                  <a:gd name="T2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 h="78">
                    <a:moveTo>
                      <a:pt x="24" y="0"/>
                    </a:moveTo>
                    <a:lnTo>
                      <a:pt x="14" y="16"/>
                    </a:lnTo>
                    <a:lnTo>
                      <a:pt x="10" y="37"/>
                    </a:lnTo>
                    <a:lnTo>
                      <a:pt x="0" y="46"/>
                    </a:lnTo>
                    <a:lnTo>
                      <a:pt x="3" y="66"/>
                    </a:lnTo>
                    <a:lnTo>
                      <a:pt x="14" y="69"/>
                    </a:lnTo>
                    <a:lnTo>
                      <a:pt x="20" y="77"/>
                    </a:lnTo>
                    <a:lnTo>
                      <a:pt x="36" y="76"/>
                    </a:lnTo>
                    <a:lnTo>
                      <a:pt x="50" y="71"/>
                    </a:lnTo>
                    <a:lnTo>
                      <a:pt x="45" y="52"/>
                    </a:lnTo>
                    <a:lnTo>
                      <a:pt x="47" y="37"/>
                    </a:lnTo>
                    <a:lnTo>
                      <a:pt x="47" y="27"/>
                    </a:lnTo>
                    <a:lnTo>
                      <a:pt x="42" y="10"/>
                    </a:lnTo>
                    <a:lnTo>
                      <a:pt x="39" y="1"/>
                    </a:lnTo>
                    <a:lnTo>
                      <a:pt x="24" y="0"/>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69" name="Freeform 222">
                <a:extLst>
                  <a:ext uri="{FF2B5EF4-FFF2-40B4-BE49-F238E27FC236}">
                    <a16:creationId xmlns:a16="http://schemas.microsoft.com/office/drawing/2014/main" id="{07001005-CB75-C8AF-E620-87525FF8E18C}"/>
                  </a:ext>
                </a:extLst>
              </p:cNvPr>
              <p:cNvSpPr>
                <a:spLocks/>
              </p:cNvSpPr>
              <p:nvPr/>
            </p:nvSpPr>
            <p:spPr bwMode="auto">
              <a:xfrm>
                <a:off x="7629378" y="3805114"/>
                <a:ext cx="75455" cy="102034"/>
              </a:xfrm>
              <a:custGeom>
                <a:avLst/>
                <a:gdLst>
                  <a:gd name="T0" fmla="*/ 28 w 48"/>
                  <a:gd name="T1" fmla="*/ 0 h 66"/>
                  <a:gd name="T2" fmla="*/ 14 w 48"/>
                  <a:gd name="T3" fmla="*/ 10 h 66"/>
                  <a:gd name="T4" fmla="*/ 0 w 48"/>
                  <a:gd name="T5" fmla="*/ 26 h 66"/>
                  <a:gd name="T6" fmla="*/ 8 w 48"/>
                  <a:gd name="T7" fmla="*/ 38 h 66"/>
                  <a:gd name="T8" fmla="*/ 18 w 48"/>
                  <a:gd name="T9" fmla="*/ 52 h 66"/>
                  <a:gd name="T10" fmla="*/ 29 w 48"/>
                  <a:gd name="T11" fmla="*/ 65 h 66"/>
                  <a:gd name="T12" fmla="*/ 38 w 48"/>
                  <a:gd name="T13" fmla="*/ 52 h 66"/>
                  <a:gd name="T14" fmla="*/ 47 w 48"/>
                  <a:gd name="T15" fmla="*/ 45 h 66"/>
                  <a:gd name="T16" fmla="*/ 47 w 48"/>
                  <a:gd name="T17" fmla="*/ 18 h 66"/>
                  <a:gd name="T18" fmla="*/ 41 w 48"/>
                  <a:gd name="T19" fmla="*/ 7 h 66"/>
                  <a:gd name="T20" fmla="*/ 28 w 48"/>
                  <a:gd name="T2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66">
                    <a:moveTo>
                      <a:pt x="28" y="0"/>
                    </a:moveTo>
                    <a:lnTo>
                      <a:pt x="14" y="10"/>
                    </a:lnTo>
                    <a:lnTo>
                      <a:pt x="0" y="26"/>
                    </a:lnTo>
                    <a:lnTo>
                      <a:pt x="8" y="38"/>
                    </a:lnTo>
                    <a:lnTo>
                      <a:pt x="18" y="52"/>
                    </a:lnTo>
                    <a:lnTo>
                      <a:pt x="29" y="65"/>
                    </a:lnTo>
                    <a:lnTo>
                      <a:pt x="38" y="52"/>
                    </a:lnTo>
                    <a:lnTo>
                      <a:pt x="47" y="45"/>
                    </a:lnTo>
                    <a:lnTo>
                      <a:pt x="47" y="18"/>
                    </a:lnTo>
                    <a:lnTo>
                      <a:pt x="41" y="7"/>
                    </a:lnTo>
                    <a:lnTo>
                      <a:pt x="28" y="0"/>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70" name="Freeform 223">
                <a:extLst>
                  <a:ext uri="{FF2B5EF4-FFF2-40B4-BE49-F238E27FC236}">
                    <a16:creationId xmlns:a16="http://schemas.microsoft.com/office/drawing/2014/main" id="{8BFA5C72-CA5F-A36F-3E96-4A8EC1E26657}"/>
                  </a:ext>
                </a:extLst>
              </p:cNvPr>
              <p:cNvSpPr>
                <a:spLocks/>
              </p:cNvSpPr>
              <p:nvPr/>
            </p:nvSpPr>
            <p:spPr bwMode="auto">
              <a:xfrm>
                <a:off x="4648922" y="3795330"/>
                <a:ext cx="148115" cy="145364"/>
              </a:xfrm>
              <a:custGeom>
                <a:avLst/>
                <a:gdLst>
                  <a:gd name="T0" fmla="*/ 32 w 94"/>
                  <a:gd name="T1" fmla="*/ 92 h 93"/>
                  <a:gd name="T2" fmla="*/ 15 w 94"/>
                  <a:gd name="T3" fmla="*/ 86 h 93"/>
                  <a:gd name="T4" fmla="*/ 14 w 94"/>
                  <a:gd name="T5" fmla="*/ 69 h 93"/>
                  <a:gd name="T6" fmla="*/ 4 w 94"/>
                  <a:gd name="T7" fmla="*/ 68 h 93"/>
                  <a:gd name="T8" fmla="*/ 0 w 94"/>
                  <a:gd name="T9" fmla="*/ 53 h 93"/>
                  <a:gd name="T10" fmla="*/ 4 w 94"/>
                  <a:gd name="T11" fmla="*/ 35 h 93"/>
                  <a:gd name="T12" fmla="*/ 20 w 94"/>
                  <a:gd name="T13" fmla="*/ 24 h 93"/>
                  <a:gd name="T14" fmla="*/ 10 w 94"/>
                  <a:gd name="T15" fmla="*/ 15 h 93"/>
                  <a:gd name="T16" fmla="*/ 15 w 94"/>
                  <a:gd name="T17" fmla="*/ 3 h 93"/>
                  <a:gd name="T18" fmla="*/ 28 w 94"/>
                  <a:gd name="T19" fmla="*/ 3 h 93"/>
                  <a:gd name="T20" fmla="*/ 46 w 94"/>
                  <a:gd name="T21" fmla="*/ 0 h 93"/>
                  <a:gd name="T22" fmla="*/ 54 w 94"/>
                  <a:gd name="T23" fmla="*/ 6 h 93"/>
                  <a:gd name="T24" fmla="*/ 83 w 94"/>
                  <a:gd name="T25" fmla="*/ 8 h 93"/>
                  <a:gd name="T26" fmla="*/ 84 w 94"/>
                  <a:gd name="T27" fmla="*/ 21 h 93"/>
                  <a:gd name="T28" fmla="*/ 93 w 94"/>
                  <a:gd name="T29" fmla="*/ 26 h 93"/>
                  <a:gd name="T30" fmla="*/ 91 w 94"/>
                  <a:gd name="T31" fmla="*/ 37 h 93"/>
                  <a:gd name="T32" fmla="*/ 84 w 94"/>
                  <a:gd name="T33" fmla="*/ 39 h 93"/>
                  <a:gd name="T34" fmla="*/ 81 w 94"/>
                  <a:gd name="T35" fmla="*/ 61 h 93"/>
                  <a:gd name="T36" fmla="*/ 84 w 94"/>
                  <a:gd name="T37" fmla="*/ 84 h 93"/>
                  <a:gd name="T38" fmla="*/ 48 w 94"/>
                  <a:gd name="T39" fmla="*/ 85 h 93"/>
                  <a:gd name="T40" fmla="*/ 32 w 94"/>
                  <a:gd name="T41" fmla="*/ 9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93">
                    <a:moveTo>
                      <a:pt x="32" y="92"/>
                    </a:moveTo>
                    <a:lnTo>
                      <a:pt x="15" y="86"/>
                    </a:lnTo>
                    <a:lnTo>
                      <a:pt x="14" y="69"/>
                    </a:lnTo>
                    <a:lnTo>
                      <a:pt x="4" y="68"/>
                    </a:lnTo>
                    <a:lnTo>
                      <a:pt x="0" y="53"/>
                    </a:lnTo>
                    <a:lnTo>
                      <a:pt x="4" y="35"/>
                    </a:lnTo>
                    <a:lnTo>
                      <a:pt x="20" y="24"/>
                    </a:lnTo>
                    <a:lnTo>
                      <a:pt x="10" y="15"/>
                    </a:lnTo>
                    <a:lnTo>
                      <a:pt x="15" y="3"/>
                    </a:lnTo>
                    <a:lnTo>
                      <a:pt x="28" y="3"/>
                    </a:lnTo>
                    <a:lnTo>
                      <a:pt x="46" y="0"/>
                    </a:lnTo>
                    <a:lnTo>
                      <a:pt x="54" y="6"/>
                    </a:lnTo>
                    <a:lnTo>
                      <a:pt x="83" y="8"/>
                    </a:lnTo>
                    <a:lnTo>
                      <a:pt x="84" y="21"/>
                    </a:lnTo>
                    <a:lnTo>
                      <a:pt x="93" y="26"/>
                    </a:lnTo>
                    <a:lnTo>
                      <a:pt x="91" y="37"/>
                    </a:lnTo>
                    <a:lnTo>
                      <a:pt x="84" y="39"/>
                    </a:lnTo>
                    <a:lnTo>
                      <a:pt x="81" y="61"/>
                    </a:lnTo>
                    <a:lnTo>
                      <a:pt x="84" y="84"/>
                    </a:lnTo>
                    <a:lnTo>
                      <a:pt x="48" y="85"/>
                    </a:lnTo>
                    <a:lnTo>
                      <a:pt x="32" y="92"/>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71" name="Freeform 224">
                <a:extLst>
                  <a:ext uri="{FF2B5EF4-FFF2-40B4-BE49-F238E27FC236}">
                    <a16:creationId xmlns:a16="http://schemas.microsoft.com/office/drawing/2014/main" id="{E25EFB6D-4C96-B0C0-40F1-609D1C17C0F1}"/>
                  </a:ext>
                </a:extLst>
              </p:cNvPr>
              <p:cNvSpPr>
                <a:spLocks/>
              </p:cNvSpPr>
              <p:nvPr/>
            </p:nvSpPr>
            <p:spPr bwMode="auto">
              <a:xfrm>
                <a:off x="6728115" y="2607264"/>
                <a:ext cx="663721" cy="331261"/>
              </a:xfrm>
              <a:custGeom>
                <a:avLst/>
                <a:gdLst>
                  <a:gd name="T0" fmla="*/ 0 w 424"/>
                  <a:gd name="T1" fmla="*/ 80 h 212"/>
                  <a:gd name="T2" fmla="*/ 8 w 424"/>
                  <a:gd name="T3" fmla="*/ 73 h 212"/>
                  <a:gd name="T4" fmla="*/ 27 w 424"/>
                  <a:gd name="T5" fmla="*/ 68 h 212"/>
                  <a:gd name="T6" fmla="*/ 70 w 424"/>
                  <a:gd name="T7" fmla="*/ 64 h 212"/>
                  <a:gd name="T8" fmla="*/ 75 w 424"/>
                  <a:gd name="T9" fmla="*/ 70 h 212"/>
                  <a:gd name="T10" fmla="*/ 90 w 424"/>
                  <a:gd name="T11" fmla="*/ 73 h 212"/>
                  <a:gd name="T12" fmla="*/ 96 w 424"/>
                  <a:gd name="T13" fmla="*/ 79 h 212"/>
                  <a:gd name="T14" fmla="*/ 125 w 424"/>
                  <a:gd name="T15" fmla="*/ 76 h 212"/>
                  <a:gd name="T16" fmla="*/ 118 w 424"/>
                  <a:gd name="T17" fmla="*/ 59 h 212"/>
                  <a:gd name="T18" fmla="*/ 114 w 424"/>
                  <a:gd name="T19" fmla="*/ 51 h 212"/>
                  <a:gd name="T20" fmla="*/ 125 w 424"/>
                  <a:gd name="T21" fmla="*/ 51 h 212"/>
                  <a:gd name="T22" fmla="*/ 125 w 424"/>
                  <a:gd name="T23" fmla="*/ 26 h 212"/>
                  <a:gd name="T24" fmla="*/ 125 w 424"/>
                  <a:gd name="T25" fmla="*/ 0 h 212"/>
                  <a:gd name="T26" fmla="*/ 152 w 424"/>
                  <a:gd name="T27" fmla="*/ 11 h 212"/>
                  <a:gd name="T28" fmla="*/ 170 w 424"/>
                  <a:gd name="T29" fmla="*/ 11 h 212"/>
                  <a:gd name="T30" fmla="*/ 182 w 424"/>
                  <a:gd name="T31" fmla="*/ 24 h 212"/>
                  <a:gd name="T32" fmla="*/ 188 w 424"/>
                  <a:gd name="T33" fmla="*/ 37 h 212"/>
                  <a:gd name="T34" fmla="*/ 209 w 424"/>
                  <a:gd name="T35" fmla="*/ 37 h 212"/>
                  <a:gd name="T36" fmla="*/ 241 w 424"/>
                  <a:gd name="T37" fmla="*/ 39 h 212"/>
                  <a:gd name="T38" fmla="*/ 259 w 424"/>
                  <a:gd name="T39" fmla="*/ 49 h 212"/>
                  <a:gd name="T40" fmla="*/ 272 w 424"/>
                  <a:gd name="T41" fmla="*/ 52 h 212"/>
                  <a:gd name="T42" fmla="*/ 276 w 424"/>
                  <a:gd name="T43" fmla="*/ 64 h 212"/>
                  <a:gd name="T44" fmla="*/ 313 w 424"/>
                  <a:gd name="T45" fmla="*/ 58 h 212"/>
                  <a:gd name="T46" fmla="*/ 320 w 424"/>
                  <a:gd name="T47" fmla="*/ 49 h 212"/>
                  <a:gd name="T48" fmla="*/ 332 w 424"/>
                  <a:gd name="T49" fmla="*/ 57 h 212"/>
                  <a:gd name="T50" fmla="*/ 349 w 424"/>
                  <a:gd name="T51" fmla="*/ 41 h 212"/>
                  <a:gd name="T52" fmla="*/ 364 w 424"/>
                  <a:gd name="T53" fmla="*/ 41 h 212"/>
                  <a:gd name="T54" fmla="*/ 376 w 424"/>
                  <a:gd name="T55" fmla="*/ 47 h 212"/>
                  <a:gd name="T56" fmla="*/ 372 w 424"/>
                  <a:gd name="T57" fmla="*/ 59 h 212"/>
                  <a:gd name="T58" fmla="*/ 374 w 424"/>
                  <a:gd name="T59" fmla="*/ 91 h 212"/>
                  <a:gd name="T60" fmla="*/ 377 w 424"/>
                  <a:gd name="T61" fmla="*/ 97 h 212"/>
                  <a:gd name="T62" fmla="*/ 389 w 424"/>
                  <a:gd name="T63" fmla="*/ 94 h 212"/>
                  <a:gd name="T64" fmla="*/ 412 w 424"/>
                  <a:gd name="T65" fmla="*/ 91 h 212"/>
                  <a:gd name="T66" fmla="*/ 423 w 424"/>
                  <a:gd name="T67" fmla="*/ 106 h 212"/>
                  <a:gd name="T68" fmla="*/ 398 w 424"/>
                  <a:gd name="T69" fmla="*/ 117 h 212"/>
                  <a:gd name="T70" fmla="*/ 377 w 424"/>
                  <a:gd name="T71" fmla="*/ 130 h 212"/>
                  <a:gd name="T72" fmla="*/ 365 w 424"/>
                  <a:gd name="T73" fmla="*/ 139 h 212"/>
                  <a:gd name="T74" fmla="*/ 351 w 424"/>
                  <a:gd name="T75" fmla="*/ 154 h 212"/>
                  <a:gd name="T76" fmla="*/ 331 w 424"/>
                  <a:gd name="T77" fmla="*/ 147 h 212"/>
                  <a:gd name="T78" fmla="*/ 332 w 424"/>
                  <a:gd name="T79" fmla="*/ 164 h 212"/>
                  <a:gd name="T80" fmla="*/ 330 w 424"/>
                  <a:gd name="T81" fmla="*/ 181 h 212"/>
                  <a:gd name="T82" fmla="*/ 307 w 424"/>
                  <a:gd name="T83" fmla="*/ 199 h 212"/>
                  <a:gd name="T84" fmla="*/ 279 w 424"/>
                  <a:gd name="T85" fmla="*/ 196 h 212"/>
                  <a:gd name="T86" fmla="*/ 267 w 424"/>
                  <a:gd name="T87" fmla="*/ 204 h 212"/>
                  <a:gd name="T88" fmla="*/ 246 w 424"/>
                  <a:gd name="T89" fmla="*/ 211 h 212"/>
                  <a:gd name="T90" fmla="*/ 225 w 424"/>
                  <a:gd name="T91" fmla="*/ 199 h 212"/>
                  <a:gd name="T92" fmla="*/ 207 w 424"/>
                  <a:gd name="T93" fmla="*/ 194 h 212"/>
                  <a:gd name="T94" fmla="*/ 127 w 424"/>
                  <a:gd name="T95" fmla="*/ 188 h 212"/>
                  <a:gd name="T96" fmla="*/ 117 w 424"/>
                  <a:gd name="T97" fmla="*/ 179 h 212"/>
                  <a:gd name="T98" fmla="*/ 107 w 424"/>
                  <a:gd name="T99" fmla="*/ 160 h 212"/>
                  <a:gd name="T100" fmla="*/ 91 w 424"/>
                  <a:gd name="T101" fmla="*/ 152 h 212"/>
                  <a:gd name="T102" fmla="*/ 76 w 424"/>
                  <a:gd name="T103" fmla="*/ 149 h 212"/>
                  <a:gd name="T104" fmla="*/ 43 w 424"/>
                  <a:gd name="T105" fmla="*/ 143 h 212"/>
                  <a:gd name="T106" fmla="*/ 33 w 424"/>
                  <a:gd name="T107" fmla="*/ 118 h 212"/>
                  <a:gd name="T108" fmla="*/ 29 w 424"/>
                  <a:gd name="T109" fmla="*/ 102 h 212"/>
                  <a:gd name="T110" fmla="*/ 8 w 424"/>
                  <a:gd name="T111" fmla="*/ 91 h 212"/>
                  <a:gd name="T112" fmla="*/ 0 w 424"/>
                  <a:gd name="T113" fmla="*/ 8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4" h="212">
                    <a:moveTo>
                      <a:pt x="0" y="80"/>
                    </a:moveTo>
                    <a:lnTo>
                      <a:pt x="8" y="73"/>
                    </a:lnTo>
                    <a:lnTo>
                      <a:pt x="27" y="68"/>
                    </a:lnTo>
                    <a:lnTo>
                      <a:pt x="70" y="64"/>
                    </a:lnTo>
                    <a:lnTo>
                      <a:pt x="75" y="70"/>
                    </a:lnTo>
                    <a:lnTo>
                      <a:pt x="90" y="73"/>
                    </a:lnTo>
                    <a:lnTo>
                      <a:pt x="96" y="79"/>
                    </a:lnTo>
                    <a:lnTo>
                      <a:pt x="125" y="76"/>
                    </a:lnTo>
                    <a:lnTo>
                      <a:pt x="118" y="59"/>
                    </a:lnTo>
                    <a:lnTo>
                      <a:pt x="114" y="51"/>
                    </a:lnTo>
                    <a:lnTo>
                      <a:pt x="125" y="51"/>
                    </a:lnTo>
                    <a:lnTo>
                      <a:pt x="125" y="26"/>
                    </a:lnTo>
                    <a:lnTo>
                      <a:pt x="125" y="0"/>
                    </a:lnTo>
                    <a:lnTo>
                      <a:pt x="152" y="11"/>
                    </a:lnTo>
                    <a:lnTo>
                      <a:pt x="170" y="11"/>
                    </a:lnTo>
                    <a:lnTo>
                      <a:pt x="182" y="24"/>
                    </a:lnTo>
                    <a:lnTo>
                      <a:pt x="188" y="37"/>
                    </a:lnTo>
                    <a:lnTo>
                      <a:pt x="209" y="37"/>
                    </a:lnTo>
                    <a:lnTo>
                      <a:pt x="241" y="39"/>
                    </a:lnTo>
                    <a:lnTo>
                      <a:pt x="259" y="49"/>
                    </a:lnTo>
                    <a:lnTo>
                      <a:pt x="272" y="52"/>
                    </a:lnTo>
                    <a:lnTo>
                      <a:pt x="276" y="64"/>
                    </a:lnTo>
                    <a:lnTo>
                      <a:pt x="313" y="58"/>
                    </a:lnTo>
                    <a:lnTo>
                      <a:pt x="320" y="49"/>
                    </a:lnTo>
                    <a:lnTo>
                      <a:pt x="332" y="57"/>
                    </a:lnTo>
                    <a:lnTo>
                      <a:pt x="349" y="41"/>
                    </a:lnTo>
                    <a:lnTo>
                      <a:pt x="364" y="41"/>
                    </a:lnTo>
                    <a:lnTo>
                      <a:pt x="376" y="47"/>
                    </a:lnTo>
                    <a:lnTo>
                      <a:pt x="372" y="59"/>
                    </a:lnTo>
                    <a:lnTo>
                      <a:pt x="374" y="91"/>
                    </a:lnTo>
                    <a:lnTo>
                      <a:pt x="377" y="97"/>
                    </a:lnTo>
                    <a:lnTo>
                      <a:pt x="389" y="94"/>
                    </a:lnTo>
                    <a:lnTo>
                      <a:pt x="412" y="91"/>
                    </a:lnTo>
                    <a:lnTo>
                      <a:pt x="423" y="106"/>
                    </a:lnTo>
                    <a:lnTo>
                      <a:pt x="398" y="117"/>
                    </a:lnTo>
                    <a:lnTo>
                      <a:pt x="377" y="130"/>
                    </a:lnTo>
                    <a:lnTo>
                      <a:pt x="365" y="139"/>
                    </a:lnTo>
                    <a:lnTo>
                      <a:pt x="351" y="154"/>
                    </a:lnTo>
                    <a:lnTo>
                      <a:pt x="331" y="147"/>
                    </a:lnTo>
                    <a:lnTo>
                      <a:pt x="332" y="164"/>
                    </a:lnTo>
                    <a:lnTo>
                      <a:pt x="330" y="181"/>
                    </a:lnTo>
                    <a:lnTo>
                      <a:pt x="307" y="199"/>
                    </a:lnTo>
                    <a:lnTo>
                      <a:pt x="279" y="196"/>
                    </a:lnTo>
                    <a:lnTo>
                      <a:pt x="267" y="204"/>
                    </a:lnTo>
                    <a:lnTo>
                      <a:pt x="246" y="211"/>
                    </a:lnTo>
                    <a:lnTo>
                      <a:pt x="225" y="199"/>
                    </a:lnTo>
                    <a:lnTo>
                      <a:pt x="207" y="194"/>
                    </a:lnTo>
                    <a:lnTo>
                      <a:pt x="127" y="188"/>
                    </a:lnTo>
                    <a:lnTo>
                      <a:pt x="117" y="179"/>
                    </a:lnTo>
                    <a:lnTo>
                      <a:pt x="107" y="160"/>
                    </a:lnTo>
                    <a:lnTo>
                      <a:pt x="91" y="152"/>
                    </a:lnTo>
                    <a:lnTo>
                      <a:pt x="76" y="149"/>
                    </a:lnTo>
                    <a:lnTo>
                      <a:pt x="43" y="143"/>
                    </a:lnTo>
                    <a:lnTo>
                      <a:pt x="33" y="118"/>
                    </a:lnTo>
                    <a:lnTo>
                      <a:pt x="29" y="102"/>
                    </a:lnTo>
                    <a:lnTo>
                      <a:pt x="8" y="91"/>
                    </a:lnTo>
                    <a:lnTo>
                      <a:pt x="0" y="80"/>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72" name="Freeform 225">
                <a:extLst>
                  <a:ext uri="{FF2B5EF4-FFF2-40B4-BE49-F238E27FC236}">
                    <a16:creationId xmlns:a16="http://schemas.microsoft.com/office/drawing/2014/main" id="{6200FF54-427A-019F-42C7-9667EFB06101}"/>
                  </a:ext>
                </a:extLst>
              </p:cNvPr>
              <p:cNvSpPr>
                <a:spLocks/>
              </p:cNvSpPr>
              <p:nvPr/>
            </p:nvSpPr>
            <p:spPr bwMode="auto">
              <a:xfrm>
                <a:off x="6634495" y="3809307"/>
                <a:ext cx="46111" cy="93648"/>
              </a:xfrm>
              <a:custGeom>
                <a:avLst/>
                <a:gdLst>
                  <a:gd name="T0" fmla="*/ 9 w 29"/>
                  <a:gd name="T1" fmla="*/ 0 h 60"/>
                  <a:gd name="T2" fmla="*/ 1 w 29"/>
                  <a:gd name="T3" fmla="*/ 17 h 60"/>
                  <a:gd name="T4" fmla="*/ 0 w 29"/>
                  <a:gd name="T5" fmla="*/ 40 h 60"/>
                  <a:gd name="T6" fmla="*/ 8 w 29"/>
                  <a:gd name="T7" fmla="*/ 59 h 60"/>
                  <a:gd name="T8" fmla="*/ 28 w 29"/>
                  <a:gd name="T9" fmla="*/ 56 h 60"/>
                  <a:gd name="T10" fmla="*/ 28 w 29"/>
                  <a:gd name="T11" fmla="*/ 19 h 60"/>
                  <a:gd name="T12" fmla="*/ 22 w 29"/>
                  <a:gd name="T13" fmla="*/ 11 h 60"/>
                  <a:gd name="T14" fmla="*/ 9 w 29"/>
                  <a:gd name="T15" fmla="*/ 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60">
                    <a:moveTo>
                      <a:pt x="9" y="0"/>
                    </a:moveTo>
                    <a:lnTo>
                      <a:pt x="1" y="17"/>
                    </a:lnTo>
                    <a:lnTo>
                      <a:pt x="0" y="40"/>
                    </a:lnTo>
                    <a:lnTo>
                      <a:pt x="8" y="59"/>
                    </a:lnTo>
                    <a:lnTo>
                      <a:pt x="28" y="56"/>
                    </a:lnTo>
                    <a:lnTo>
                      <a:pt x="28" y="19"/>
                    </a:lnTo>
                    <a:lnTo>
                      <a:pt x="22" y="11"/>
                    </a:lnTo>
                    <a:lnTo>
                      <a:pt x="9" y="0"/>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73" name="Freeform 226">
                <a:extLst>
                  <a:ext uri="{FF2B5EF4-FFF2-40B4-BE49-F238E27FC236}">
                    <a16:creationId xmlns:a16="http://schemas.microsoft.com/office/drawing/2014/main" id="{C4A5EED0-8116-A2A7-FA85-373F18AFA259}"/>
                  </a:ext>
                </a:extLst>
              </p:cNvPr>
              <p:cNvSpPr>
                <a:spLocks/>
              </p:cNvSpPr>
              <p:nvPr/>
            </p:nvSpPr>
            <p:spPr bwMode="auto">
              <a:xfrm>
                <a:off x="4721582" y="3676523"/>
                <a:ext cx="178855" cy="132784"/>
              </a:xfrm>
              <a:custGeom>
                <a:avLst/>
                <a:gdLst>
                  <a:gd name="T0" fmla="*/ 113 w 114"/>
                  <a:gd name="T1" fmla="*/ 42 h 84"/>
                  <a:gd name="T2" fmla="*/ 109 w 114"/>
                  <a:gd name="T3" fmla="*/ 57 h 84"/>
                  <a:gd name="T4" fmla="*/ 93 w 114"/>
                  <a:gd name="T5" fmla="*/ 62 h 84"/>
                  <a:gd name="T6" fmla="*/ 82 w 114"/>
                  <a:gd name="T7" fmla="*/ 77 h 84"/>
                  <a:gd name="T8" fmla="*/ 75 w 114"/>
                  <a:gd name="T9" fmla="*/ 78 h 84"/>
                  <a:gd name="T10" fmla="*/ 63 w 114"/>
                  <a:gd name="T11" fmla="*/ 75 h 84"/>
                  <a:gd name="T12" fmla="*/ 52 w 114"/>
                  <a:gd name="T13" fmla="*/ 69 h 84"/>
                  <a:gd name="T14" fmla="*/ 45 w 114"/>
                  <a:gd name="T15" fmla="*/ 69 h 84"/>
                  <a:gd name="T16" fmla="*/ 37 w 114"/>
                  <a:gd name="T17" fmla="*/ 83 h 84"/>
                  <a:gd name="T18" fmla="*/ 8 w 114"/>
                  <a:gd name="T19" fmla="*/ 81 h 84"/>
                  <a:gd name="T20" fmla="*/ 0 w 114"/>
                  <a:gd name="T21" fmla="*/ 75 h 84"/>
                  <a:gd name="T22" fmla="*/ 4 w 114"/>
                  <a:gd name="T23" fmla="*/ 56 h 84"/>
                  <a:gd name="T24" fmla="*/ 14 w 114"/>
                  <a:gd name="T25" fmla="*/ 42 h 84"/>
                  <a:gd name="T26" fmla="*/ 19 w 114"/>
                  <a:gd name="T27" fmla="*/ 30 h 84"/>
                  <a:gd name="T28" fmla="*/ 23 w 114"/>
                  <a:gd name="T29" fmla="*/ 23 h 84"/>
                  <a:gd name="T30" fmla="*/ 41 w 114"/>
                  <a:gd name="T31" fmla="*/ 17 h 84"/>
                  <a:gd name="T32" fmla="*/ 49 w 114"/>
                  <a:gd name="T33" fmla="*/ 9 h 84"/>
                  <a:gd name="T34" fmla="*/ 57 w 114"/>
                  <a:gd name="T35" fmla="*/ 0 h 84"/>
                  <a:gd name="T36" fmla="*/ 81 w 114"/>
                  <a:gd name="T37" fmla="*/ 1 h 84"/>
                  <a:gd name="T38" fmla="*/ 85 w 114"/>
                  <a:gd name="T39" fmla="*/ 9 h 84"/>
                  <a:gd name="T40" fmla="*/ 94 w 114"/>
                  <a:gd name="T41" fmla="*/ 14 h 84"/>
                  <a:gd name="T42" fmla="*/ 95 w 114"/>
                  <a:gd name="T43" fmla="*/ 30 h 84"/>
                  <a:gd name="T44" fmla="*/ 105 w 114"/>
                  <a:gd name="T45" fmla="*/ 30 h 84"/>
                  <a:gd name="T46" fmla="*/ 113 w 114"/>
                  <a:gd name="T47" fmla="*/ 4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4" h="84">
                    <a:moveTo>
                      <a:pt x="113" y="42"/>
                    </a:moveTo>
                    <a:lnTo>
                      <a:pt x="109" y="57"/>
                    </a:lnTo>
                    <a:lnTo>
                      <a:pt x="93" y="62"/>
                    </a:lnTo>
                    <a:lnTo>
                      <a:pt x="82" y="77"/>
                    </a:lnTo>
                    <a:lnTo>
                      <a:pt x="75" y="78"/>
                    </a:lnTo>
                    <a:lnTo>
                      <a:pt x="63" y="75"/>
                    </a:lnTo>
                    <a:lnTo>
                      <a:pt x="52" y="69"/>
                    </a:lnTo>
                    <a:lnTo>
                      <a:pt x="45" y="69"/>
                    </a:lnTo>
                    <a:lnTo>
                      <a:pt x="37" y="83"/>
                    </a:lnTo>
                    <a:lnTo>
                      <a:pt x="8" y="81"/>
                    </a:lnTo>
                    <a:lnTo>
                      <a:pt x="0" y="75"/>
                    </a:lnTo>
                    <a:lnTo>
                      <a:pt x="4" y="56"/>
                    </a:lnTo>
                    <a:lnTo>
                      <a:pt x="14" y="42"/>
                    </a:lnTo>
                    <a:lnTo>
                      <a:pt x="19" y="30"/>
                    </a:lnTo>
                    <a:lnTo>
                      <a:pt x="23" y="23"/>
                    </a:lnTo>
                    <a:lnTo>
                      <a:pt x="41" y="17"/>
                    </a:lnTo>
                    <a:lnTo>
                      <a:pt x="49" y="9"/>
                    </a:lnTo>
                    <a:lnTo>
                      <a:pt x="57" y="0"/>
                    </a:lnTo>
                    <a:lnTo>
                      <a:pt x="81" y="1"/>
                    </a:lnTo>
                    <a:lnTo>
                      <a:pt x="85" y="9"/>
                    </a:lnTo>
                    <a:lnTo>
                      <a:pt x="94" y="14"/>
                    </a:lnTo>
                    <a:lnTo>
                      <a:pt x="95" y="30"/>
                    </a:lnTo>
                    <a:lnTo>
                      <a:pt x="105" y="30"/>
                    </a:lnTo>
                    <a:lnTo>
                      <a:pt x="113" y="42"/>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74" name="Freeform 227">
                <a:extLst>
                  <a:ext uri="{FF2B5EF4-FFF2-40B4-BE49-F238E27FC236}">
                    <a16:creationId xmlns:a16="http://schemas.microsoft.com/office/drawing/2014/main" id="{78A2996D-D0EA-7298-39CD-CCDFC3EBE6CD}"/>
                  </a:ext>
                </a:extLst>
              </p:cNvPr>
              <p:cNvSpPr>
                <a:spLocks/>
              </p:cNvSpPr>
              <p:nvPr/>
            </p:nvSpPr>
            <p:spPr bwMode="auto">
              <a:xfrm>
                <a:off x="4504999" y="3733830"/>
                <a:ext cx="176062" cy="145364"/>
              </a:xfrm>
              <a:custGeom>
                <a:avLst/>
                <a:gdLst>
                  <a:gd name="T0" fmla="*/ 0 w 113"/>
                  <a:gd name="T1" fmla="*/ 15 h 93"/>
                  <a:gd name="T2" fmla="*/ 8 w 113"/>
                  <a:gd name="T3" fmla="*/ 6 h 93"/>
                  <a:gd name="T4" fmla="*/ 25 w 113"/>
                  <a:gd name="T5" fmla="*/ 0 h 93"/>
                  <a:gd name="T6" fmla="*/ 45 w 113"/>
                  <a:gd name="T7" fmla="*/ 3 h 93"/>
                  <a:gd name="T8" fmla="*/ 61 w 113"/>
                  <a:gd name="T9" fmla="*/ 3 h 93"/>
                  <a:gd name="T10" fmla="*/ 76 w 113"/>
                  <a:gd name="T11" fmla="*/ 8 h 93"/>
                  <a:gd name="T12" fmla="*/ 92 w 113"/>
                  <a:gd name="T13" fmla="*/ 11 h 93"/>
                  <a:gd name="T14" fmla="*/ 103 w 113"/>
                  <a:gd name="T15" fmla="*/ 23 h 93"/>
                  <a:gd name="T16" fmla="*/ 107 w 113"/>
                  <a:gd name="T17" fmla="*/ 42 h 93"/>
                  <a:gd name="T18" fmla="*/ 102 w 113"/>
                  <a:gd name="T19" fmla="*/ 54 h 93"/>
                  <a:gd name="T20" fmla="*/ 112 w 113"/>
                  <a:gd name="T21" fmla="*/ 62 h 93"/>
                  <a:gd name="T22" fmla="*/ 96 w 113"/>
                  <a:gd name="T23" fmla="*/ 74 h 93"/>
                  <a:gd name="T24" fmla="*/ 92 w 113"/>
                  <a:gd name="T25" fmla="*/ 92 h 93"/>
                  <a:gd name="T26" fmla="*/ 81 w 113"/>
                  <a:gd name="T27" fmla="*/ 89 h 93"/>
                  <a:gd name="T28" fmla="*/ 72 w 113"/>
                  <a:gd name="T29" fmla="*/ 72 h 93"/>
                  <a:gd name="T30" fmla="*/ 68 w 113"/>
                  <a:gd name="T31" fmla="*/ 55 h 93"/>
                  <a:gd name="T32" fmla="*/ 52 w 113"/>
                  <a:gd name="T33" fmla="*/ 46 h 93"/>
                  <a:gd name="T34" fmla="*/ 40 w 113"/>
                  <a:gd name="T35" fmla="*/ 52 h 93"/>
                  <a:gd name="T36" fmla="*/ 25 w 113"/>
                  <a:gd name="T37" fmla="*/ 56 h 93"/>
                  <a:gd name="T38" fmla="*/ 7 w 113"/>
                  <a:gd name="T39" fmla="*/ 37 h 93"/>
                  <a:gd name="T40" fmla="*/ 0 w 113"/>
                  <a:gd name="T41" fmla="*/ 1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3" h="93">
                    <a:moveTo>
                      <a:pt x="0" y="15"/>
                    </a:moveTo>
                    <a:lnTo>
                      <a:pt x="8" y="6"/>
                    </a:lnTo>
                    <a:lnTo>
                      <a:pt x="25" y="0"/>
                    </a:lnTo>
                    <a:lnTo>
                      <a:pt x="45" y="3"/>
                    </a:lnTo>
                    <a:lnTo>
                      <a:pt x="61" y="3"/>
                    </a:lnTo>
                    <a:lnTo>
                      <a:pt x="76" y="8"/>
                    </a:lnTo>
                    <a:lnTo>
                      <a:pt x="92" y="11"/>
                    </a:lnTo>
                    <a:lnTo>
                      <a:pt x="103" y="23"/>
                    </a:lnTo>
                    <a:lnTo>
                      <a:pt x="107" y="42"/>
                    </a:lnTo>
                    <a:lnTo>
                      <a:pt x="102" y="54"/>
                    </a:lnTo>
                    <a:lnTo>
                      <a:pt x="112" y="62"/>
                    </a:lnTo>
                    <a:lnTo>
                      <a:pt x="96" y="74"/>
                    </a:lnTo>
                    <a:lnTo>
                      <a:pt x="92" y="92"/>
                    </a:lnTo>
                    <a:lnTo>
                      <a:pt x="81" y="89"/>
                    </a:lnTo>
                    <a:lnTo>
                      <a:pt x="72" y="72"/>
                    </a:lnTo>
                    <a:lnTo>
                      <a:pt x="68" y="55"/>
                    </a:lnTo>
                    <a:lnTo>
                      <a:pt x="52" y="46"/>
                    </a:lnTo>
                    <a:lnTo>
                      <a:pt x="40" y="52"/>
                    </a:lnTo>
                    <a:lnTo>
                      <a:pt x="25" y="56"/>
                    </a:lnTo>
                    <a:lnTo>
                      <a:pt x="7" y="37"/>
                    </a:lnTo>
                    <a:lnTo>
                      <a:pt x="0" y="15"/>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75" name="Freeform 228">
                <a:extLst>
                  <a:ext uri="{FF2B5EF4-FFF2-40B4-BE49-F238E27FC236}">
                    <a16:creationId xmlns:a16="http://schemas.microsoft.com/office/drawing/2014/main" id="{A73D147E-DA73-6CB6-DC70-AFC66077BBFB}"/>
                  </a:ext>
                </a:extLst>
              </p:cNvPr>
              <p:cNvSpPr>
                <a:spLocks/>
              </p:cNvSpPr>
              <p:nvPr/>
            </p:nvSpPr>
            <p:spPr bwMode="auto">
              <a:xfrm>
                <a:off x="4777473" y="3784148"/>
                <a:ext cx="82442" cy="149556"/>
              </a:xfrm>
              <a:custGeom>
                <a:avLst/>
                <a:gdLst>
                  <a:gd name="T0" fmla="*/ 2 w 53"/>
                  <a:gd name="T1" fmla="*/ 91 h 95"/>
                  <a:gd name="T2" fmla="*/ 0 w 53"/>
                  <a:gd name="T3" fmla="*/ 68 h 95"/>
                  <a:gd name="T4" fmla="*/ 2 w 53"/>
                  <a:gd name="T5" fmla="*/ 45 h 95"/>
                  <a:gd name="T6" fmla="*/ 10 w 53"/>
                  <a:gd name="T7" fmla="*/ 44 h 95"/>
                  <a:gd name="T8" fmla="*/ 12 w 53"/>
                  <a:gd name="T9" fmla="*/ 32 h 95"/>
                  <a:gd name="T10" fmla="*/ 2 w 53"/>
                  <a:gd name="T11" fmla="*/ 27 h 95"/>
                  <a:gd name="T12" fmla="*/ 2 w 53"/>
                  <a:gd name="T13" fmla="*/ 14 h 95"/>
                  <a:gd name="T14" fmla="*/ 9 w 53"/>
                  <a:gd name="T15" fmla="*/ 0 h 95"/>
                  <a:gd name="T16" fmla="*/ 17 w 53"/>
                  <a:gd name="T17" fmla="*/ 0 h 95"/>
                  <a:gd name="T18" fmla="*/ 27 w 53"/>
                  <a:gd name="T19" fmla="*/ 6 h 95"/>
                  <a:gd name="T20" fmla="*/ 39 w 53"/>
                  <a:gd name="T21" fmla="*/ 9 h 95"/>
                  <a:gd name="T22" fmla="*/ 40 w 53"/>
                  <a:gd name="T23" fmla="*/ 23 h 95"/>
                  <a:gd name="T24" fmla="*/ 46 w 53"/>
                  <a:gd name="T25" fmla="*/ 26 h 95"/>
                  <a:gd name="T26" fmla="*/ 45 w 53"/>
                  <a:gd name="T27" fmla="*/ 39 h 95"/>
                  <a:gd name="T28" fmla="*/ 48 w 53"/>
                  <a:gd name="T29" fmla="*/ 60 h 95"/>
                  <a:gd name="T30" fmla="*/ 52 w 53"/>
                  <a:gd name="T31" fmla="*/ 79 h 95"/>
                  <a:gd name="T32" fmla="*/ 46 w 53"/>
                  <a:gd name="T33" fmla="*/ 86 h 95"/>
                  <a:gd name="T34" fmla="*/ 35 w 53"/>
                  <a:gd name="T35" fmla="*/ 86 h 95"/>
                  <a:gd name="T36" fmla="*/ 29 w 53"/>
                  <a:gd name="T37" fmla="*/ 93 h 95"/>
                  <a:gd name="T38" fmla="*/ 18 w 53"/>
                  <a:gd name="T39" fmla="*/ 94 h 95"/>
                  <a:gd name="T40" fmla="*/ 2 w 53"/>
                  <a:gd name="T41" fmla="*/ 9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3" h="95">
                    <a:moveTo>
                      <a:pt x="2" y="91"/>
                    </a:moveTo>
                    <a:lnTo>
                      <a:pt x="0" y="68"/>
                    </a:lnTo>
                    <a:lnTo>
                      <a:pt x="2" y="45"/>
                    </a:lnTo>
                    <a:lnTo>
                      <a:pt x="10" y="44"/>
                    </a:lnTo>
                    <a:lnTo>
                      <a:pt x="12" y="32"/>
                    </a:lnTo>
                    <a:lnTo>
                      <a:pt x="2" y="27"/>
                    </a:lnTo>
                    <a:lnTo>
                      <a:pt x="2" y="14"/>
                    </a:lnTo>
                    <a:lnTo>
                      <a:pt x="9" y="0"/>
                    </a:lnTo>
                    <a:lnTo>
                      <a:pt x="17" y="0"/>
                    </a:lnTo>
                    <a:lnTo>
                      <a:pt x="27" y="6"/>
                    </a:lnTo>
                    <a:lnTo>
                      <a:pt x="39" y="9"/>
                    </a:lnTo>
                    <a:lnTo>
                      <a:pt x="40" y="23"/>
                    </a:lnTo>
                    <a:lnTo>
                      <a:pt x="46" y="26"/>
                    </a:lnTo>
                    <a:lnTo>
                      <a:pt x="45" y="39"/>
                    </a:lnTo>
                    <a:lnTo>
                      <a:pt x="48" y="60"/>
                    </a:lnTo>
                    <a:lnTo>
                      <a:pt x="52" y="79"/>
                    </a:lnTo>
                    <a:lnTo>
                      <a:pt x="46" y="86"/>
                    </a:lnTo>
                    <a:lnTo>
                      <a:pt x="35" y="86"/>
                    </a:lnTo>
                    <a:lnTo>
                      <a:pt x="29" y="93"/>
                    </a:lnTo>
                    <a:lnTo>
                      <a:pt x="18" y="94"/>
                    </a:lnTo>
                    <a:lnTo>
                      <a:pt x="2" y="91"/>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76" name="Freeform 229">
                <a:extLst>
                  <a:ext uri="{FF2B5EF4-FFF2-40B4-BE49-F238E27FC236}">
                    <a16:creationId xmlns:a16="http://schemas.microsoft.com/office/drawing/2014/main" id="{33AF6182-DCCE-23E0-018D-9765C93C87AA}"/>
                  </a:ext>
                </a:extLst>
              </p:cNvPr>
              <p:cNvSpPr>
                <a:spLocks/>
              </p:cNvSpPr>
              <p:nvPr/>
            </p:nvSpPr>
            <p:spPr bwMode="auto">
              <a:xfrm>
                <a:off x="5509663" y="4090251"/>
                <a:ext cx="247324" cy="273954"/>
              </a:xfrm>
              <a:custGeom>
                <a:avLst/>
                <a:gdLst>
                  <a:gd name="T0" fmla="*/ 156 w 157"/>
                  <a:gd name="T1" fmla="*/ 154 h 175"/>
                  <a:gd name="T2" fmla="*/ 139 w 157"/>
                  <a:gd name="T3" fmla="*/ 158 h 175"/>
                  <a:gd name="T4" fmla="*/ 136 w 157"/>
                  <a:gd name="T5" fmla="*/ 165 h 175"/>
                  <a:gd name="T6" fmla="*/ 119 w 157"/>
                  <a:gd name="T7" fmla="*/ 165 h 175"/>
                  <a:gd name="T8" fmla="*/ 116 w 157"/>
                  <a:gd name="T9" fmla="*/ 174 h 175"/>
                  <a:gd name="T10" fmla="*/ 86 w 157"/>
                  <a:gd name="T11" fmla="*/ 171 h 175"/>
                  <a:gd name="T12" fmla="*/ 84 w 157"/>
                  <a:gd name="T13" fmla="*/ 163 h 175"/>
                  <a:gd name="T14" fmla="*/ 71 w 157"/>
                  <a:gd name="T15" fmla="*/ 154 h 175"/>
                  <a:gd name="T16" fmla="*/ 60 w 157"/>
                  <a:gd name="T17" fmla="*/ 146 h 175"/>
                  <a:gd name="T18" fmla="*/ 53 w 157"/>
                  <a:gd name="T19" fmla="*/ 143 h 175"/>
                  <a:gd name="T20" fmla="*/ 44 w 157"/>
                  <a:gd name="T21" fmla="*/ 129 h 175"/>
                  <a:gd name="T22" fmla="*/ 31 w 157"/>
                  <a:gd name="T23" fmla="*/ 122 h 175"/>
                  <a:gd name="T24" fmla="*/ 21 w 157"/>
                  <a:gd name="T25" fmla="*/ 112 h 175"/>
                  <a:gd name="T26" fmla="*/ 19 w 157"/>
                  <a:gd name="T27" fmla="*/ 104 h 175"/>
                  <a:gd name="T28" fmla="*/ 8 w 157"/>
                  <a:gd name="T29" fmla="*/ 105 h 175"/>
                  <a:gd name="T30" fmla="*/ 9 w 157"/>
                  <a:gd name="T31" fmla="*/ 97 h 175"/>
                  <a:gd name="T32" fmla="*/ 8 w 157"/>
                  <a:gd name="T33" fmla="*/ 87 h 175"/>
                  <a:gd name="T34" fmla="*/ 4 w 157"/>
                  <a:gd name="T35" fmla="*/ 78 h 175"/>
                  <a:gd name="T36" fmla="*/ 3 w 157"/>
                  <a:gd name="T37" fmla="*/ 70 h 175"/>
                  <a:gd name="T38" fmla="*/ 4 w 157"/>
                  <a:gd name="T39" fmla="*/ 57 h 175"/>
                  <a:gd name="T40" fmla="*/ 0 w 157"/>
                  <a:gd name="T41" fmla="*/ 46 h 175"/>
                  <a:gd name="T42" fmla="*/ 8 w 157"/>
                  <a:gd name="T43" fmla="*/ 45 h 175"/>
                  <a:gd name="T44" fmla="*/ 19 w 157"/>
                  <a:gd name="T45" fmla="*/ 43 h 175"/>
                  <a:gd name="T46" fmla="*/ 18 w 157"/>
                  <a:gd name="T47" fmla="*/ 26 h 175"/>
                  <a:gd name="T48" fmla="*/ 14 w 157"/>
                  <a:gd name="T49" fmla="*/ 19 h 175"/>
                  <a:gd name="T50" fmla="*/ 11 w 157"/>
                  <a:gd name="T51" fmla="*/ 4 h 175"/>
                  <a:gd name="T52" fmla="*/ 18 w 157"/>
                  <a:gd name="T53" fmla="*/ 0 h 175"/>
                  <a:gd name="T54" fmla="*/ 33 w 157"/>
                  <a:gd name="T55" fmla="*/ 1 h 175"/>
                  <a:gd name="T56" fmla="*/ 63 w 157"/>
                  <a:gd name="T57" fmla="*/ 0 h 175"/>
                  <a:gd name="T58" fmla="*/ 74 w 157"/>
                  <a:gd name="T59" fmla="*/ 0 h 175"/>
                  <a:gd name="T60" fmla="*/ 103 w 157"/>
                  <a:gd name="T61" fmla="*/ 24 h 175"/>
                  <a:gd name="T62" fmla="*/ 118 w 157"/>
                  <a:gd name="T63" fmla="*/ 28 h 175"/>
                  <a:gd name="T64" fmla="*/ 119 w 157"/>
                  <a:gd name="T65" fmla="*/ 41 h 175"/>
                  <a:gd name="T66" fmla="*/ 141 w 157"/>
                  <a:gd name="T67" fmla="*/ 52 h 175"/>
                  <a:gd name="T68" fmla="*/ 142 w 157"/>
                  <a:gd name="T69" fmla="*/ 60 h 175"/>
                  <a:gd name="T70" fmla="*/ 142 w 157"/>
                  <a:gd name="T71" fmla="*/ 71 h 175"/>
                  <a:gd name="T72" fmla="*/ 137 w 157"/>
                  <a:gd name="T73" fmla="*/ 77 h 175"/>
                  <a:gd name="T74" fmla="*/ 135 w 157"/>
                  <a:gd name="T75" fmla="*/ 88 h 175"/>
                  <a:gd name="T76" fmla="*/ 143 w 157"/>
                  <a:gd name="T77" fmla="*/ 90 h 175"/>
                  <a:gd name="T78" fmla="*/ 142 w 157"/>
                  <a:gd name="T79" fmla="*/ 106 h 175"/>
                  <a:gd name="T80" fmla="*/ 145 w 157"/>
                  <a:gd name="T81" fmla="*/ 122 h 175"/>
                  <a:gd name="T82" fmla="*/ 146 w 157"/>
                  <a:gd name="T83" fmla="*/ 140 h 175"/>
                  <a:gd name="T84" fmla="*/ 152 w 157"/>
                  <a:gd name="T85" fmla="*/ 146 h 175"/>
                  <a:gd name="T86" fmla="*/ 156 w 157"/>
                  <a:gd name="T87" fmla="*/ 154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7" h="175">
                    <a:moveTo>
                      <a:pt x="156" y="154"/>
                    </a:moveTo>
                    <a:lnTo>
                      <a:pt x="139" y="158"/>
                    </a:lnTo>
                    <a:lnTo>
                      <a:pt x="136" y="165"/>
                    </a:lnTo>
                    <a:lnTo>
                      <a:pt x="119" y="165"/>
                    </a:lnTo>
                    <a:lnTo>
                      <a:pt x="116" y="174"/>
                    </a:lnTo>
                    <a:lnTo>
                      <a:pt x="86" y="171"/>
                    </a:lnTo>
                    <a:lnTo>
                      <a:pt x="84" y="163"/>
                    </a:lnTo>
                    <a:lnTo>
                      <a:pt x="71" y="154"/>
                    </a:lnTo>
                    <a:lnTo>
                      <a:pt x="60" y="146"/>
                    </a:lnTo>
                    <a:lnTo>
                      <a:pt x="53" y="143"/>
                    </a:lnTo>
                    <a:lnTo>
                      <a:pt x="44" y="129"/>
                    </a:lnTo>
                    <a:lnTo>
                      <a:pt x="31" y="122"/>
                    </a:lnTo>
                    <a:lnTo>
                      <a:pt x="21" y="112"/>
                    </a:lnTo>
                    <a:lnTo>
                      <a:pt x="19" y="104"/>
                    </a:lnTo>
                    <a:lnTo>
                      <a:pt x="8" y="105"/>
                    </a:lnTo>
                    <a:lnTo>
                      <a:pt x="9" y="97"/>
                    </a:lnTo>
                    <a:lnTo>
                      <a:pt x="8" y="87"/>
                    </a:lnTo>
                    <a:lnTo>
                      <a:pt x="4" y="78"/>
                    </a:lnTo>
                    <a:lnTo>
                      <a:pt x="3" y="70"/>
                    </a:lnTo>
                    <a:lnTo>
                      <a:pt x="4" y="57"/>
                    </a:lnTo>
                    <a:lnTo>
                      <a:pt x="0" y="46"/>
                    </a:lnTo>
                    <a:lnTo>
                      <a:pt x="8" y="45"/>
                    </a:lnTo>
                    <a:lnTo>
                      <a:pt x="19" y="43"/>
                    </a:lnTo>
                    <a:lnTo>
                      <a:pt x="18" y="26"/>
                    </a:lnTo>
                    <a:lnTo>
                      <a:pt x="14" y="19"/>
                    </a:lnTo>
                    <a:lnTo>
                      <a:pt x="11" y="4"/>
                    </a:lnTo>
                    <a:lnTo>
                      <a:pt x="18" y="0"/>
                    </a:lnTo>
                    <a:lnTo>
                      <a:pt x="33" y="1"/>
                    </a:lnTo>
                    <a:lnTo>
                      <a:pt x="63" y="0"/>
                    </a:lnTo>
                    <a:lnTo>
                      <a:pt x="74" y="0"/>
                    </a:lnTo>
                    <a:lnTo>
                      <a:pt x="103" y="24"/>
                    </a:lnTo>
                    <a:lnTo>
                      <a:pt x="118" y="28"/>
                    </a:lnTo>
                    <a:lnTo>
                      <a:pt x="119" y="41"/>
                    </a:lnTo>
                    <a:lnTo>
                      <a:pt x="141" y="52"/>
                    </a:lnTo>
                    <a:lnTo>
                      <a:pt x="142" y="60"/>
                    </a:lnTo>
                    <a:lnTo>
                      <a:pt x="142" y="71"/>
                    </a:lnTo>
                    <a:lnTo>
                      <a:pt x="137" y="77"/>
                    </a:lnTo>
                    <a:lnTo>
                      <a:pt x="135" y="88"/>
                    </a:lnTo>
                    <a:lnTo>
                      <a:pt x="143" y="90"/>
                    </a:lnTo>
                    <a:lnTo>
                      <a:pt x="142" y="106"/>
                    </a:lnTo>
                    <a:lnTo>
                      <a:pt x="145" y="122"/>
                    </a:lnTo>
                    <a:lnTo>
                      <a:pt x="146" y="140"/>
                    </a:lnTo>
                    <a:lnTo>
                      <a:pt x="152" y="146"/>
                    </a:lnTo>
                    <a:lnTo>
                      <a:pt x="156" y="154"/>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77" name="Freeform 230">
                <a:extLst>
                  <a:ext uri="{FF2B5EF4-FFF2-40B4-BE49-F238E27FC236}">
                    <a16:creationId xmlns:a16="http://schemas.microsoft.com/office/drawing/2014/main" id="{D81E0EEF-62D7-C679-0649-45BA64F995CD}"/>
                  </a:ext>
                </a:extLst>
              </p:cNvPr>
              <p:cNvSpPr>
                <a:spLocks/>
              </p:cNvSpPr>
              <p:nvPr/>
            </p:nvSpPr>
            <p:spPr bwMode="auto">
              <a:xfrm>
                <a:off x="5509663" y="3958864"/>
                <a:ext cx="111784" cy="139772"/>
              </a:xfrm>
              <a:custGeom>
                <a:avLst/>
                <a:gdLst>
                  <a:gd name="T0" fmla="*/ 61 w 71"/>
                  <a:gd name="T1" fmla="*/ 0 h 89"/>
                  <a:gd name="T2" fmla="*/ 70 w 71"/>
                  <a:gd name="T3" fmla="*/ 14 h 89"/>
                  <a:gd name="T4" fmla="*/ 70 w 71"/>
                  <a:gd name="T5" fmla="*/ 41 h 89"/>
                  <a:gd name="T6" fmla="*/ 61 w 71"/>
                  <a:gd name="T7" fmla="*/ 58 h 89"/>
                  <a:gd name="T8" fmla="*/ 59 w 71"/>
                  <a:gd name="T9" fmla="*/ 74 h 89"/>
                  <a:gd name="T10" fmla="*/ 63 w 71"/>
                  <a:gd name="T11" fmla="*/ 84 h 89"/>
                  <a:gd name="T12" fmla="*/ 33 w 71"/>
                  <a:gd name="T13" fmla="*/ 85 h 89"/>
                  <a:gd name="T14" fmla="*/ 18 w 71"/>
                  <a:gd name="T15" fmla="*/ 84 h 89"/>
                  <a:gd name="T16" fmla="*/ 11 w 71"/>
                  <a:gd name="T17" fmla="*/ 88 h 89"/>
                  <a:gd name="T18" fmla="*/ 0 w 71"/>
                  <a:gd name="T19" fmla="*/ 84 h 89"/>
                  <a:gd name="T20" fmla="*/ 4 w 71"/>
                  <a:gd name="T21" fmla="*/ 49 h 89"/>
                  <a:gd name="T22" fmla="*/ 19 w 71"/>
                  <a:gd name="T23" fmla="*/ 43 h 89"/>
                  <a:gd name="T24" fmla="*/ 27 w 71"/>
                  <a:gd name="T25" fmla="*/ 39 h 89"/>
                  <a:gd name="T26" fmla="*/ 28 w 71"/>
                  <a:gd name="T27" fmla="*/ 30 h 89"/>
                  <a:gd name="T28" fmla="*/ 19 w 71"/>
                  <a:gd name="T29" fmla="*/ 30 h 89"/>
                  <a:gd name="T30" fmla="*/ 19 w 71"/>
                  <a:gd name="T31" fmla="*/ 23 h 89"/>
                  <a:gd name="T32" fmla="*/ 15 w 71"/>
                  <a:gd name="T33" fmla="*/ 4 h 89"/>
                  <a:gd name="T34" fmla="*/ 31 w 71"/>
                  <a:gd name="T35" fmla="*/ 4 h 89"/>
                  <a:gd name="T36" fmla="*/ 44 w 71"/>
                  <a:gd name="T37" fmla="*/ 5 h 89"/>
                  <a:gd name="T38" fmla="*/ 61 w 71"/>
                  <a:gd name="T3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1" h="89">
                    <a:moveTo>
                      <a:pt x="61" y="0"/>
                    </a:moveTo>
                    <a:lnTo>
                      <a:pt x="70" y="14"/>
                    </a:lnTo>
                    <a:lnTo>
                      <a:pt x="70" y="41"/>
                    </a:lnTo>
                    <a:lnTo>
                      <a:pt x="61" y="58"/>
                    </a:lnTo>
                    <a:lnTo>
                      <a:pt x="59" y="74"/>
                    </a:lnTo>
                    <a:lnTo>
                      <a:pt x="63" y="84"/>
                    </a:lnTo>
                    <a:lnTo>
                      <a:pt x="33" y="85"/>
                    </a:lnTo>
                    <a:lnTo>
                      <a:pt x="18" y="84"/>
                    </a:lnTo>
                    <a:lnTo>
                      <a:pt x="11" y="88"/>
                    </a:lnTo>
                    <a:lnTo>
                      <a:pt x="0" y="84"/>
                    </a:lnTo>
                    <a:lnTo>
                      <a:pt x="4" y="49"/>
                    </a:lnTo>
                    <a:lnTo>
                      <a:pt x="19" y="43"/>
                    </a:lnTo>
                    <a:lnTo>
                      <a:pt x="27" y="39"/>
                    </a:lnTo>
                    <a:lnTo>
                      <a:pt x="28" y="30"/>
                    </a:lnTo>
                    <a:lnTo>
                      <a:pt x="19" y="30"/>
                    </a:lnTo>
                    <a:lnTo>
                      <a:pt x="19" y="23"/>
                    </a:lnTo>
                    <a:lnTo>
                      <a:pt x="15" y="4"/>
                    </a:lnTo>
                    <a:lnTo>
                      <a:pt x="31" y="4"/>
                    </a:lnTo>
                    <a:lnTo>
                      <a:pt x="44" y="5"/>
                    </a:lnTo>
                    <a:lnTo>
                      <a:pt x="61" y="0"/>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78" name="Freeform 231">
                <a:extLst>
                  <a:ext uri="{FF2B5EF4-FFF2-40B4-BE49-F238E27FC236}">
                    <a16:creationId xmlns:a16="http://schemas.microsoft.com/office/drawing/2014/main" id="{46D1135D-CB9A-4CDC-5DCF-E4AA82260F8A}"/>
                  </a:ext>
                </a:extLst>
              </p:cNvPr>
              <p:cNvSpPr>
                <a:spLocks/>
              </p:cNvSpPr>
              <p:nvPr/>
            </p:nvSpPr>
            <p:spPr bwMode="auto">
              <a:xfrm>
                <a:off x="5796111" y="3563307"/>
                <a:ext cx="230556" cy="173318"/>
              </a:xfrm>
              <a:custGeom>
                <a:avLst/>
                <a:gdLst>
                  <a:gd name="T0" fmla="*/ 51 w 147"/>
                  <a:gd name="T1" fmla="*/ 59 h 110"/>
                  <a:gd name="T2" fmla="*/ 51 w 147"/>
                  <a:gd name="T3" fmla="*/ 46 h 110"/>
                  <a:gd name="T4" fmla="*/ 51 w 147"/>
                  <a:gd name="T5" fmla="*/ 36 h 110"/>
                  <a:gd name="T6" fmla="*/ 45 w 147"/>
                  <a:gd name="T7" fmla="*/ 34 h 110"/>
                  <a:gd name="T8" fmla="*/ 28 w 147"/>
                  <a:gd name="T9" fmla="*/ 33 h 110"/>
                  <a:gd name="T10" fmla="*/ 11 w 147"/>
                  <a:gd name="T11" fmla="*/ 34 h 110"/>
                  <a:gd name="T12" fmla="*/ 0 w 147"/>
                  <a:gd name="T13" fmla="*/ 41 h 110"/>
                  <a:gd name="T14" fmla="*/ 2 w 147"/>
                  <a:gd name="T15" fmla="*/ 74 h 110"/>
                  <a:gd name="T16" fmla="*/ 2 w 147"/>
                  <a:gd name="T17" fmla="*/ 91 h 110"/>
                  <a:gd name="T18" fmla="*/ 8 w 147"/>
                  <a:gd name="T19" fmla="*/ 101 h 110"/>
                  <a:gd name="T20" fmla="*/ 23 w 147"/>
                  <a:gd name="T21" fmla="*/ 109 h 110"/>
                  <a:gd name="T22" fmla="*/ 34 w 147"/>
                  <a:gd name="T23" fmla="*/ 98 h 110"/>
                  <a:gd name="T24" fmla="*/ 48 w 147"/>
                  <a:gd name="T25" fmla="*/ 84 h 110"/>
                  <a:gd name="T26" fmla="*/ 53 w 147"/>
                  <a:gd name="T27" fmla="*/ 79 h 110"/>
                  <a:gd name="T28" fmla="*/ 91 w 147"/>
                  <a:gd name="T29" fmla="*/ 78 h 110"/>
                  <a:gd name="T30" fmla="*/ 102 w 147"/>
                  <a:gd name="T31" fmla="*/ 68 h 110"/>
                  <a:gd name="T32" fmla="*/ 134 w 147"/>
                  <a:gd name="T33" fmla="*/ 62 h 110"/>
                  <a:gd name="T34" fmla="*/ 134 w 147"/>
                  <a:gd name="T35" fmla="*/ 51 h 110"/>
                  <a:gd name="T36" fmla="*/ 146 w 147"/>
                  <a:gd name="T37" fmla="*/ 41 h 110"/>
                  <a:gd name="T38" fmla="*/ 137 w 147"/>
                  <a:gd name="T39" fmla="*/ 19 h 110"/>
                  <a:gd name="T40" fmla="*/ 131 w 147"/>
                  <a:gd name="T41" fmla="*/ 0 h 110"/>
                  <a:gd name="T42" fmla="*/ 87 w 147"/>
                  <a:gd name="T43" fmla="*/ 8 h 110"/>
                  <a:gd name="T44" fmla="*/ 76 w 147"/>
                  <a:gd name="T45" fmla="*/ 23 h 110"/>
                  <a:gd name="T46" fmla="*/ 70 w 147"/>
                  <a:gd name="T47" fmla="*/ 44 h 110"/>
                  <a:gd name="T48" fmla="*/ 51 w 147"/>
                  <a:gd name="T49" fmla="*/ 5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 h="110">
                    <a:moveTo>
                      <a:pt x="51" y="59"/>
                    </a:moveTo>
                    <a:lnTo>
                      <a:pt x="51" y="46"/>
                    </a:lnTo>
                    <a:lnTo>
                      <a:pt x="51" y="36"/>
                    </a:lnTo>
                    <a:lnTo>
                      <a:pt x="45" y="34"/>
                    </a:lnTo>
                    <a:lnTo>
                      <a:pt x="28" y="33"/>
                    </a:lnTo>
                    <a:lnTo>
                      <a:pt x="11" y="34"/>
                    </a:lnTo>
                    <a:lnTo>
                      <a:pt x="0" y="41"/>
                    </a:lnTo>
                    <a:lnTo>
                      <a:pt x="2" y="74"/>
                    </a:lnTo>
                    <a:lnTo>
                      <a:pt x="2" y="91"/>
                    </a:lnTo>
                    <a:lnTo>
                      <a:pt x="8" y="101"/>
                    </a:lnTo>
                    <a:lnTo>
                      <a:pt x="23" y="109"/>
                    </a:lnTo>
                    <a:lnTo>
                      <a:pt x="34" y="98"/>
                    </a:lnTo>
                    <a:lnTo>
                      <a:pt x="48" y="84"/>
                    </a:lnTo>
                    <a:lnTo>
                      <a:pt x="53" y="79"/>
                    </a:lnTo>
                    <a:lnTo>
                      <a:pt x="91" y="78"/>
                    </a:lnTo>
                    <a:lnTo>
                      <a:pt x="102" y="68"/>
                    </a:lnTo>
                    <a:lnTo>
                      <a:pt x="134" y="62"/>
                    </a:lnTo>
                    <a:lnTo>
                      <a:pt x="134" y="51"/>
                    </a:lnTo>
                    <a:lnTo>
                      <a:pt x="146" y="41"/>
                    </a:lnTo>
                    <a:lnTo>
                      <a:pt x="137" y="19"/>
                    </a:lnTo>
                    <a:lnTo>
                      <a:pt x="131" y="0"/>
                    </a:lnTo>
                    <a:lnTo>
                      <a:pt x="87" y="8"/>
                    </a:lnTo>
                    <a:lnTo>
                      <a:pt x="76" y="23"/>
                    </a:lnTo>
                    <a:lnTo>
                      <a:pt x="70" y="44"/>
                    </a:lnTo>
                    <a:lnTo>
                      <a:pt x="51" y="59"/>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79" name="Freeform 232">
                <a:extLst>
                  <a:ext uri="{FF2B5EF4-FFF2-40B4-BE49-F238E27FC236}">
                    <a16:creationId xmlns:a16="http://schemas.microsoft.com/office/drawing/2014/main" id="{1F02CB57-AB09-1471-9C81-A98B51D2A6CF}"/>
                  </a:ext>
                </a:extLst>
              </p:cNvPr>
              <p:cNvSpPr>
                <a:spLocks/>
              </p:cNvSpPr>
              <p:nvPr/>
            </p:nvSpPr>
            <p:spPr bwMode="auto">
              <a:xfrm>
                <a:off x="5139376" y="3469661"/>
                <a:ext cx="244529" cy="406738"/>
              </a:xfrm>
              <a:custGeom>
                <a:avLst/>
                <a:gdLst>
                  <a:gd name="T0" fmla="*/ 24 w 155"/>
                  <a:gd name="T1" fmla="*/ 0 h 260"/>
                  <a:gd name="T2" fmla="*/ 26 w 155"/>
                  <a:gd name="T3" fmla="*/ 8 h 260"/>
                  <a:gd name="T4" fmla="*/ 29 w 155"/>
                  <a:gd name="T5" fmla="*/ 14 h 260"/>
                  <a:gd name="T6" fmla="*/ 36 w 155"/>
                  <a:gd name="T7" fmla="*/ 30 h 260"/>
                  <a:gd name="T8" fmla="*/ 30 w 155"/>
                  <a:gd name="T9" fmla="*/ 108 h 260"/>
                  <a:gd name="T10" fmla="*/ 20 w 155"/>
                  <a:gd name="T11" fmla="*/ 112 h 260"/>
                  <a:gd name="T12" fmla="*/ 15 w 155"/>
                  <a:gd name="T13" fmla="*/ 121 h 260"/>
                  <a:gd name="T14" fmla="*/ 5 w 155"/>
                  <a:gd name="T15" fmla="*/ 127 h 260"/>
                  <a:gd name="T16" fmla="*/ 0 w 155"/>
                  <a:gd name="T17" fmla="*/ 135 h 260"/>
                  <a:gd name="T18" fmla="*/ 0 w 155"/>
                  <a:gd name="T19" fmla="*/ 149 h 260"/>
                  <a:gd name="T20" fmla="*/ 6 w 155"/>
                  <a:gd name="T21" fmla="*/ 148 h 260"/>
                  <a:gd name="T22" fmla="*/ 8 w 155"/>
                  <a:gd name="T23" fmla="*/ 158 h 260"/>
                  <a:gd name="T24" fmla="*/ 13 w 155"/>
                  <a:gd name="T25" fmla="*/ 166 h 260"/>
                  <a:gd name="T26" fmla="*/ 19 w 155"/>
                  <a:gd name="T27" fmla="*/ 180 h 260"/>
                  <a:gd name="T28" fmla="*/ 19 w 155"/>
                  <a:gd name="T29" fmla="*/ 188 h 260"/>
                  <a:gd name="T30" fmla="*/ 14 w 155"/>
                  <a:gd name="T31" fmla="*/ 191 h 260"/>
                  <a:gd name="T32" fmla="*/ 17 w 155"/>
                  <a:gd name="T33" fmla="*/ 194 h 260"/>
                  <a:gd name="T34" fmla="*/ 19 w 155"/>
                  <a:gd name="T35" fmla="*/ 202 h 260"/>
                  <a:gd name="T36" fmla="*/ 25 w 155"/>
                  <a:gd name="T37" fmla="*/ 210 h 260"/>
                  <a:gd name="T38" fmla="*/ 24 w 155"/>
                  <a:gd name="T39" fmla="*/ 218 h 260"/>
                  <a:gd name="T40" fmla="*/ 17 w 155"/>
                  <a:gd name="T41" fmla="*/ 221 h 260"/>
                  <a:gd name="T42" fmla="*/ 18 w 155"/>
                  <a:gd name="T43" fmla="*/ 229 h 260"/>
                  <a:gd name="T44" fmla="*/ 29 w 155"/>
                  <a:gd name="T45" fmla="*/ 243 h 260"/>
                  <a:gd name="T46" fmla="*/ 36 w 155"/>
                  <a:gd name="T47" fmla="*/ 259 h 260"/>
                  <a:gd name="T48" fmla="*/ 45 w 155"/>
                  <a:gd name="T49" fmla="*/ 254 h 260"/>
                  <a:gd name="T50" fmla="*/ 58 w 155"/>
                  <a:gd name="T51" fmla="*/ 256 h 260"/>
                  <a:gd name="T52" fmla="*/ 63 w 155"/>
                  <a:gd name="T53" fmla="*/ 246 h 260"/>
                  <a:gd name="T54" fmla="*/ 79 w 155"/>
                  <a:gd name="T55" fmla="*/ 245 h 260"/>
                  <a:gd name="T56" fmla="*/ 85 w 155"/>
                  <a:gd name="T57" fmla="*/ 235 h 260"/>
                  <a:gd name="T58" fmla="*/ 99 w 155"/>
                  <a:gd name="T59" fmla="*/ 232 h 260"/>
                  <a:gd name="T60" fmla="*/ 104 w 155"/>
                  <a:gd name="T61" fmla="*/ 221 h 260"/>
                  <a:gd name="T62" fmla="*/ 113 w 155"/>
                  <a:gd name="T63" fmla="*/ 218 h 260"/>
                  <a:gd name="T64" fmla="*/ 119 w 155"/>
                  <a:gd name="T65" fmla="*/ 206 h 260"/>
                  <a:gd name="T66" fmla="*/ 129 w 155"/>
                  <a:gd name="T67" fmla="*/ 196 h 260"/>
                  <a:gd name="T68" fmla="*/ 136 w 155"/>
                  <a:gd name="T69" fmla="*/ 194 h 260"/>
                  <a:gd name="T70" fmla="*/ 139 w 155"/>
                  <a:gd name="T71" fmla="*/ 189 h 260"/>
                  <a:gd name="T72" fmla="*/ 139 w 155"/>
                  <a:gd name="T73" fmla="*/ 182 h 260"/>
                  <a:gd name="T74" fmla="*/ 133 w 155"/>
                  <a:gd name="T75" fmla="*/ 179 h 260"/>
                  <a:gd name="T76" fmla="*/ 129 w 155"/>
                  <a:gd name="T77" fmla="*/ 168 h 260"/>
                  <a:gd name="T78" fmla="*/ 118 w 155"/>
                  <a:gd name="T79" fmla="*/ 163 h 260"/>
                  <a:gd name="T80" fmla="*/ 120 w 155"/>
                  <a:gd name="T81" fmla="*/ 154 h 260"/>
                  <a:gd name="T82" fmla="*/ 131 w 155"/>
                  <a:gd name="T83" fmla="*/ 153 h 260"/>
                  <a:gd name="T84" fmla="*/ 135 w 155"/>
                  <a:gd name="T85" fmla="*/ 139 h 260"/>
                  <a:gd name="T86" fmla="*/ 144 w 155"/>
                  <a:gd name="T87" fmla="*/ 123 h 260"/>
                  <a:gd name="T88" fmla="*/ 152 w 155"/>
                  <a:gd name="T89" fmla="*/ 119 h 260"/>
                  <a:gd name="T90" fmla="*/ 154 w 155"/>
                  <a:gd name="T91" fmla="*/ 77 h 260"/>
                  <a:gd name="T92" fmla="*/ 145 w 155"/>
                  <a:gd name="T93" fmla="*/ 75 h 260"/>
                  <a:gd name="T94" fmla="*/ 120 w 155"/>
                  <a:gd name="T95" fmla="*/ 57 h 260"/>
                  <a:gd name="T96" fmla="*/ 111 w 155"/>
                  <a:gd name="T97" fmla="*/ 52 h 260"/>
                  <a:gd name="T98" fmla="*/ 89 w 155"/>
                  <a:gd name="T99" fmla="*/ 41 h 260"/>
                  <a:gd name="T100" fmla="*/ 81 w 155"/>
                  <a:gd name="T101" fmla="*/ 28 h 260"/>
                  <a:gd name="T102" fmla="*/ 57 w 155"/>
                  <a:gd name="T103" fmla="*/ 24 h 260"/>
                  <a:gd name="T104" fmla="*/ 52 w 155"/>
                  <a:gd name="T105" fmla="*/ 12 h 260"/>
                  <a:gd name="T106" fmla="*/ 38 w 155"/>
                  <a:gd name="T107" fmla="*/ 7 h 260"/>
                  <a:gd name="T108" fmla="*/ 38 w 155"/>
                  <a:gd name="T109" fmla="*/ 2 h 260"/>
                  <a:gd name="T110" fmla="*/ 24 w 155"/>
                  <a:gd name="T111"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5" h="260">
                    <a:moveTo>
                      <a:pt x="24" y="0"/>
                    </a:moveTo>
                    <a:lnTo>
                      <a:pt x="26" y="8"/>
                    </a:lnTo>
                    <a:lnTo>
                      <a:pt x="29" y="14"/>
                    </a:lnTo>
                    <a:lnTo>
                      <a:pt x="36" y="30"/>
                    </a:lnTo>
                    <a:lnTo>
                      <a:pt x="30" y="108"/>
                    </a:lnTo>
                    <a:lnTo>
                      <a:pt x="20" y="112"/>
                    </a:lnTo>
                    <a:lnTo>
                      <a:pt x="15" y="121"/>
                    </a:lnTo>
                    <a:lnTo>
                      <a:pt x="5" y="127"/>
                    </a:lnTo>
                    <a:lnTo>
                      <a:pt x="0" y="135"/>
                    </a:lnTo>
                    <a:lnTo>
                      <a:pt x="0" y="149"/>
                    </a:lnTo>
                    <a:lnTo>
                      <a:pt x="6" y="148"/>
                    </a:lnTo>
                    <a:lnTo>
                      <a:pt x="8" y="158"/>
                    </a:lnTo>
                    <a:lnTo>
                      <a:pt x="13" y="166"/>
                    </a:lnTo>
                    <a:lnTo>
                      <a:pt x="19" y="180"/>
                    </a:lnTo>
                    <a:lnTo>
                      <a:pt x="19" y="188"/>
                    </a:lnTo>
                    <a:lnTo>
                      <a:pt x="14" y="191"/>
                    </a:lnTo>
                    <a:lnTo>
                      <a:pt x="17" y="194"/>
                    </a:lnTo>
                    <a:lnTo>
                      <a:pt x="19" y="202"/>
                    </a:lnTo>
                    <a:lnTo>
                      <a:pt x="25" y="210"/>
                    </a:lnTo>
                    <a:lnTo>
                      <a:pt x="24" y="218"/>
                    </a:lnTo>
                    <a:lnTo>
                      <a:pt x="17" y="221"/>
                    </a:lnTo>
                    <a:lnTo>
                      <a:pt x="18" y="229"/>
                    </a:lnTo>
                    <a:lnTo>
                      <a:pt x="29" y="243"/>
                    </a:lnTo>
                    <a:lnTo>
                      <a:pt x="36" y="259"/>
                    </a:lnTo>
                    <a:lnTo>
                      <a:pt x="45" y="254"/>
                    </a:lnTo>
                    <a:lnTo>
                      <a:pt x="58" y="256"/>
                    </a:lnTo>
                    <a:lnTo>
                      <a:pt x="63" y="246"/>
                    </a:lnTo>
                    <a:lnTo>
                      <a:pt x="79" y="245"/>
                    </a:lnTo>
                    <a:lnTo>
                      <a:pt x="85" y="235"/>
                    </a:lnTo>
                    <a:lnTo>
                      <a:pt x="99" y="232"/>
                    </a:lnTo>
                    <a:lnTo>
                      <a:pt x="104" y="221"/>
                    </a:lnTo>
                    <a:lnTo>
                      <a:pt x="113" y="218"/>
                    </a:lnTo>
                    <a:lnTo>
                      <a:pt x="119" y="206"/>
                    </a:lnTo>
                    <a:lnTo>
                      <a:pt x="129" y="196"/>
                    </a:lnTo>
                    <a:lnTo>
                      <a:pt x="136" y="194"/>
                    </a:lnTo>
                    <a:lnTo>
                      <a:pt x="139" y="189"/>
                    </a:lnTo>
                    <a:lnTo>
                      <a:pt x="139" y="182"/>
                    </a:lnTo>
                    <a:lnTo>
                      <a:pt x="133" y="179"/>
                    </a:lnTo>
                    <a:lnTo>
                      <a:pt x="129" y="168"/>
                    </a:lnTo>
                    <a:lnTo>
                      <a:pt x="118" y="163"/>
                    </a:lnTo>
                    <a:lnTo>
                      <a:pt x="120" y="154"/>
                    </a:lnTo>
                    <a:lnTo>
                      <a:pt x="131" y="153"/>
                    </a:lnTo>
                    <a:lnTo>
                      <a:pt x="135" y="139"/>
                    </a:lnTo>
                    <a:lnTo>
                      <a:pt x="144" y="123"/>
                    </a:lnTo>
                    <a:lnTo>
                      <a:pt x="152" y="119"/>
                    </a:lnTo>
                    <a:lnTo>
                      <a:pt x="154" y="77"/>
                    </a:lnTo>
                    <a:lnTo>
                      <a:pt x="145" y="75"/>
                    </a:lnTo>
                    <a:lnTo>
                      <a:pt x="120" y="57"/>
                    </a:lnTo>
                    <a:lnTo>
                      <a:pt x="111" y="52"/>
                    </a:lnTo>
                    <a:lnTo>
                      <a:pt x="89" y="41"/>
                    </a:lnTo>
                    <a:lnTo>
                      <a:pt x="81" y="28"/>
                    </a:lnTo>
                    <a:lnTo>
                      <a:pt x="57" y="24"/>
                    </a:lnTo>
                    <a:lnTo>
                      <a:pt x="52" y="12"/>
                    </a:lnTo>
                    <a:lnTo>
                      <a:pt x="38" y="7"/>
                    </a:lnTo>
                    <a:lnTo>
                      <a:pt x="38" y="2"/>
                    </a:lnTo>
                    <a:lnTo>
                      <a:pt x="24" y="0"/>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80" name="Freeform 233">
                <a:extLst>
                  <a:ext uri="{FF2B5EF4-FFF2-40B4-BE49-F238E27FC236}">
                    <a16:creationId xmlns:a16="http://schemas.microsoft.com/office/drawing/2014/main" id="{554D3308-E05D-424E-330D-0509EA58361B}"/>
                  </a:ext>
                </a:extLst>
              </p:cNvPr>
              <p:cNvSpPr>
                <a:spLocks/>
              </p:cNvSpPr>
              <p:nvPr/>
            </p:nvSpPr>
            <p:spPr bwMode="auto">
              <a:xfrm>
                <a:off x="4850133" y="3448694"/>
                <a:ext cx="345134" cy="294921"/>
              </a:xfrm>
              <a:custGeom>
                <a:avLst/>
                <a:gdLst>
                  <a:gd name="T0" fmla="*/ 50 w 221"/>
                  <a:gd name="T1" fmla="*/ 186 h 188"/>
                  <a:gd name="T2" fmla="*/ 55 w 221"/>
                  <a:gd name="T3" fmla="*/ 179 h 188"/>
                  <a:gd name="T4" fmla="*/ 60 w 221"/>
                  <a:gd name="T5" fmla="*/ 168 h 188"/>
                  <a:gd name="T6" fmla="*/ 73 w 221"/>
                  <a:gd name="T7" fmla="*/ 164 h 188"/>
                  <a:gd name="T8" fmla="*/ 84 w 221"/>
                  <a:gd name="T9" fmla="*/ 166 h 188"/>
                  <a:gd name="T10" fmla="*/ 91 w 221"/>
                  <a:gd name="T11" fmla="*/ 176 h 188"/>
                  <a:gd name="T12" fmla="*/ 92 w 221"/>
                  <a:gd name="T13" fmla="*/ 169 h 188"/>
                  <a:gd name="T14" fmla="*/ 109 w 221"/>
                  <a:gd name="T15" fmla="*/ 168 h 188"/>
                  <a:gd name="T16" fmla="*/ 120 w 221"/>
                  <a:gd name="T17" fmla="*/ 167 h 188"/>
                  <a:gd name="T18" fmla="*/ 128 w 221"/>
                  <a:gd name="T19" fmla="*/ 175 h 188"/>
                  <a:gd name="T20" fmla="*/ 140 w 221"/>
                  <a:gd name="T21" fmla="*/ 176 h 188"/>
                  <a:gd name="T22" fmla="*/ 142 w 221"/>
                  <a:gd name="T23" fmla="*/ 168 h 188"/>
                  <a:gd name="T24" fmla="*/ 160 w 221"/>
                  <a:gd name="T25" fmla="*/ 168 h 188"/>
                  <a:gd name="T26" fmla="*/ 168 w 221"/>
                  <a:gd name="T27" fmla="*/ 176 h 188"/>
                  <a:gd name="T28" fmla="*/ 175 w 221"/>
                  <a:gd name="T29" fmla="*/ 168 h 188"/>
                  <a:gd name="T30" fmla="*/ 185 w 221"/>
                  <a:gd name="T31" fmla="*/ 162 h 188"/>
                  <a:gd name="T32" fmla="*/ 185 w 221"/>
                  <a:gd name="T33" fmla="*/ 148 h 188"/>
                  <a:gd name="T34" fmla="*/ 190 w 221"/>
                  <a:gd name="T35" fmla="*/ 140 h 188"/>
                  <a:gd name="T36" fmla="*/ 200 w 221"/>
                  <a:gd name="T37" fmla="*/ 134 h 188"/>
                  <a:gd name="T38" fmla="*/ 205 w 221"/>
                  <a:gd name="T39" fmla="*/ 125 h 188"/>
                  <a:gd name="T40" fmla="*/ 215 w 221"/>
                  <a:gd name="T41" fmla="*/ 122 h 188"/>
                  <a:gd name="T42" fmla="*/ 220 w 221"/>
                  <a:gd name="T43" fmla="*/ 43 h 188"/>
                  <a:gd name="T44" fmla="*/ 213 w 221"/>
                  <a:gd name="T45" fmla="*/ 27 h 188"/>
                  <a:gd name="T46" fmla="*/ 211 w 221"/>
                  <a:gd name="T47" fmla="*/ 21 h 188"/>
                  <a:gd name="T48" fmla="*/ 208 w 221"/>
                  <a:gd name="T49" fmla="*/ 13 h 188"/>
                  <a:gd name="T50" fmla="*/ 200 w 221"/>
                  <a:gd name="T51" fmla="*/ 9 h 188"/>
                  <a:gd name="T52" fmla="*/ 182 w 221"/>
                  <a:gd name="T53" fmla="*/ 8 h 188"/>
                  <a:gd name="T54" fmla="*/ 181 w 221"/>
                  <a:gd name="T55" fmla="*/ 0 h 188"/>
                  <a:gd name="T56" fmla="*/ 162 w 221"/>
                  <a:gd name="T57" fmla="*/ 0 h 188"/>
                  <a:gd name="T58" fmla="*/ 157 w 221"/>
                  <a:gd name="T59" fmla="*/ 7 h 188"/>
                  <a:gd name="T60" fmla="*/ 143 w 221"/>
                  <a:gd name="T61" fmla="*/ 13 h 188"/>
                  <a:gd name="T62" fmla="*/ 131 w 221"/>
                  <a:gd name="T63" fmla="*/ 23 h 188"/>
                  <a:gd name="T64" fmla="*/ 124 w 221"/>
                  <a:gd name="T65" fmla="*/ 33 h 188"/>
                  <a:gd name="T66" fmla="*/ 102 w 221"/>
                  <a:gd name="T67" fmla="*/ 41 h 188"/>
                  <a:gd name="T68" fmla="*/ 99 w 221"/>
                  <a:gd name="T69" fmla="*/ 50 h 188"/>
                  <a:gd name="T70" fmla="*/ 91 w 221"/>
                  <a:gd name="T71" fmla="*/ 55 h 188"/>
                  <a:gd name="T72" fmla="*/ 81 w 221"/>
                  <a:gd name="T73" fmla="*/ 66 h 188"/>
                  <a:gd name="T74" fmla="*/ 57 w 221"/>
                  <a:gd name="T75" fmla="*/ 68 h 188"/>
                  <a:gd name="T76" fmla="*/ 55 w 221"/>
                  <a:gd name="T77" fmla="*/ 76 h 188"/>
                  <a:gd name="T78" fmla="*/ 58 w 221"/>
                  <a:gd name="T79" fmla="*/ 123 h 188"/>
                  <a:gd name="T80" fmla="*/ 48 w 221"/>
                  <a:gd name="T81" fmla="*/ 125 h 188"/>
                  <a:gd name="T82" fmla="*/ 48 w 221"/>
                  <a:gd name="T83" fmla="*/ 133 h 188"/>
                  <a:gd name="T84" fmla="*/ 11 w 221"/>
                  <a:gd name="T85" fmla="*/ 139 h 188"/>
                  <a:gd name="T86" fmla="*/ 0 w 221"/>
                  <a:gd name="T87" fmla="*/ 146 h 188"/>
                  <a:gd name="T88" fmla="*/ 4 w 221"/>
                  <a:gd name="T89" fmla="*/ 155 h 188"/>
                  <a:gd name="T90" fmla="*/ 13 w 221"/>
                  <a:gd name="T91" fmla="*/ 160 h 188"/>
                  <a:gd name="T92" fmla="*/ 14 w 221"/>
                  <a:gd name="T93" fmla="*/ 175 h 188"/>
                  <a:gd name="T94" fmla="*/ 24 w 221"/>
                  <a:gd name="T95" fmla="*/ 176 h 188"/>
                  <a:gd name="T96" fmla="*/ 32 w 221"/>
                  <a:gd name="T97" fmla="*/ 187 h 188"/>
                  <a:gd name="T98" fmla="*/ 45 w 221"/>
                  <a:gd name="T99" fmla="*/ 186 h 188"/>
                  <a:gd name="T100" fmla="*/ 50 w 221"/>
                  <a:gd name="T101" fmla="*/ 186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21" h="188">
                    <a:moveTo>
                      <a:pt x="50" y="186"/>
                    </a:moveTo>
                    <a:lnTo>
                      <a:pt x="55" y="179"/>
                    </a:lnTo>
                    <a:lnTo>
                      <a:pt x="60" y="168"/>
                    </a:lnTo>
                    <a:lnTo>
                      <a:pt x="73" y="164"/>
                    </a:lnTo>
                    <a:lnTo>
                      <a:pt x="84" y="166"/>
                    </a:lnTo>
                    <a:lnTo>
                      <a:pt x="91" y="176"/>
                    </a:lnTo>
                    <a:lnTo>
                      <a:pt x="92" y="169"/>
                    </a:lnTo>
                    <a:lnTo>
                      <a:pt x="109" y="168"/>
                    </a:lnTo>
                    <a:lnTo>
                      <a:pt x="120" y="167"/>
                    </a:lnTo>
                    <a:lnTo>
                      <a:pt x="128" y="175"/>
                    </a:lnTo>
                    <a:lnTo>
                      <a:pt x="140" y="176"/>
                    </a:lnTo>
                    <a:lnTo>
                      <a:pt x="142" y="168"/>
                    </a:lnTo>
                    <a:lnTo>
                      <a:pt x="160" y="168"/>
                    </a:lnTo>
                    <a:lnTo>
                      <a:pt x="168" y="176"/>
                    </a:lnTo>
                    <a:lnTo>
                      <a:pt x="175" y="168"/>
                    </a:lnTo>
                    <a:lnTo>
                      <a:pt x="185" y="162"/>
                    </a:lnTo>
                    <a:lnTo>
                      <a:pt x="185" y="148"/>
                    </a:lnTo>
                    <a:lnTo>
                      <a:pt x="190" y="140"/>
                    </a:lnTo>
                    <a:lnTo>
                      <a:pt x="200" y="134"/>
                    </a:lnTo>
                    <a:lnTo>
                      <a:pt x="205" y="125"/>
                    </a:lnTo>
                    <a:lnTo>
                      <a:pt x="215" y="122"/>
                    </a:lnTo>
                    <a:lnTo>
                      <a:pt x="220" y="43"/>
                    </a:lnTo>
                    <a:lnTo>
                      <a:pt x="213" y="27"/>
                    </a:lnTo>
                    <a:lnTo>
                      <a:pt x="211" y="21"/>
                    </a:lnTo>
                    <a:lnTo>
                      <a:pt x="208" y="13"/>
                    </a:lnTo>
                    <a:lnTo>
                      <a:pt x="200" y="9"/>
                    </a:lnTo>
                    <a:lnTo>
                      <a:pt x="182" y="8"/>
                    </a:lnTo>
                    <a:lnTo>
                      <a:pt x="181" y="0"/>
                    </a:lnTo>
                    <a:lnTo>
                      <a:pt x="162" y="0"/>
                    </a:lnTo>
                    <a:lnTo>
                      <a:pt x="157" y="7"/>
                    </a:lnTo>
                    <a:lnTo>
                      <a:pt x="143" y="13"/>
                    </a:lnTo>
                    <a:lnTo>
                      <a:pt x="131" y="23"/>
                    </a:lnTo>
                    <a:lnTo>
                      <a:pt x="124" y="33"/>
                    </a:lnTo>
                    <a:lnTo>
                      <a:pt x="102" y="41"/>
                    </a:lnTo>
                    <a:lnTo>
                      <a:pt x="99" y="50"/>
                    </a:lnTo>
                    <a:lnTo>
                      <a:pt x="91" y="55"/>
                    </a:lnTo>
                    <a:lnTo>
                      <a:pt x="81" y="66"/>
                    </a:lnTo>
                    <a:lnTo>
                      <a:pt x="57" y="68"/>
                    </a:lnTo>
                    <a:lnTo>
                      <a:pt x="55" y="76"/>
                    </a:lnTo>
                    <a:lnTo>
                      <a:pt x="58" y="123"/>
                    </a:lnTo>
                    <a:lnTo>
                      <a:pt x="48" y="125"/>
                    </a:lnTo>
                    <a:lnTo>
                      <a:pt x="48" y="133"/>
                    </a:lnTo>
                    <a:lnTo>
                      <a:pt x="11" y="139"/>
                    </a:lnTo>
                    <a:lnTo>
                      <a:pt x="0" y="146"/>
                    </a:lnTo>
                    <a:lnTo>
                      <a:pt x="4" y="155"/>
                    </a:lnTo>
                    <a:lnTo>
                      <a:pt x="13" y="160"/>
                    </a:lnTo>
                    <a:lnTo>
                      <a:pt x="14" y="175"/>
                    </a:lnTo>
                    <a:lnTo>
                      <a:pt x="24" y="176"/>
                    </a:lnTo>
                    <a:lnTo>
                      <a:pt x="32" y="187"/>
                    </a:lnTo>
                    <a:lnTo>
                      <a:pt x="45" y="186"/>
                    </a:lnTo>
                    <a:lnTo>
                      <a:pt x="50" y="186"/>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81" name="Freeform 234">
                <a:extLst>
                  <a:ext uri="{FF2B5EF4-FFF2-40B4-BE49-F238E27FC236}">
                    <a16:creationId xmlns:a16="http://schemas.microsoft.com/office/drawing/2014/main" id="{AD22CE30-1D40-93F1-1891-B6D3C7190A4A}"/>
                  </a:ext>
                </a:extLst>
              </p:cNvPr>
              <p:cNvSpPr>
                <a:spLocks/>
              </p:cNvSpPr>
              <p:nvPr/>
            </p:nvSpPr>
            <p:spPr bwMode="auto">
              <a:xfrm>
                <a:off x="5606077" y="3181728"/>
                <a:ext cx="93620" cy="116011"/>
              </a:xfrm>
              <a:custGeom>
                <a:avLst/>
                <a:gdLst>
                  <a:gd name="T0" fmla="*/ 18 w 60"/>
                  <a:gd name="T1" fmla="*/ 72 h 73"/>
                  <a:gd name="T2" fmla="*/ 31 w 60"/>
                  <a:gd name="T3" fmla="*/ 59 h 73"/>
                  <a:gd name="T4" fmla="*/ 44 w 60"/>
                  <a:gd name="T5" fmla="*/ 49 h 73"/>
                  <a:gd name="T6" fmla="*/ 44 w 60"/>
                  <a:gd name="T7" fmla="*/ 29 h 73"/>
                  <a:gd name="T8" fmla="*/ 59 w 60"/>
                  <a:gd name="T9" fmla="*/ 15 h 73"/>
                  <a:gd name="T10" fmla="*/ 50 w 60"/>
                  <a:gd name="T11" fmla="*/ 0 h 73"/>
                  <a:gd name="T12" fmla="*/ 32 w 60"/>
                  <a:gd name="T13" fmla="*/ 14 h 73"/>
                  <a:gd name="T14" fmla="*/ 13 w 60"/>
                  <a:gd name="T15" fmla="*/ 12 h 73"/>
                  <a:gd name="T16" fmla="*/ 3 w 60"/>
                  <a:gd name="T17" fmla="*/ 3 h 73"/>
                  <a:gd name="T18" fmla="*/ 3 w 60"/>
                  <a:gd name="T19" fmla="*/ 36 h 73"/>
                  <a:gd name="T20" fmla="*/ 0 w 60"/>
                  <a:gd name="T21" fmla="*/ 54 h 73"/>
                  <a:gd name="T22" fmla="*/ 0 w 60"/>
                  <a:gd name="T23" fmla="*/ 72 h 73"/>
                  <a:gd name="T24" fmla="*/ 18 w 60"/>
                  <a:gd name="T25" fmla="*/ 7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73">
                    <a:moveTo>
                      <a:pt x="18" y="72"/>
                    </a:moveTo>
                    <a:lnTo>
                      <a:pt x="31" y="59"/>
                    </a:lnTo>
                    <a:lnTo>
                      <a:pt x="44" y="49"/>
                    </a:lnTo>
                    <a:lnTo>
                      <a:pt x="44" y="29"/>
                    </a:lnTo>
                    <a:lnTo>
                      <a:pt x="59" y="15"/>
                    </a:lnTo>
                    <a:lnTo>
                      <a:pt x="50" y="0"/>
                    </a:lnTo>
                    <a:lnTo>
                      <a:pt x="32" y="14"/>
                    </a:lnTo>
                    <a:lnTo>
                      <a:pt x="13" y="12"/>
                    </a:lnTo>
                    <a:lnTo>
                      <a:pt x="3" y="3"/>
                    </a:lnTo>
                    <a:lnTo>
                      <a:pt x="3" y="36"/>
                    </a:lnTo>
                    <a:lnTo>
                      <a:pt x="0" y="54"/>
                    </a:lnTo>
                    <a:lnTo>
                      <a:pt x="0" y="72"/>
                    </a:lnTo>
                    <a:lnTo>
                      <a:pt x="18" y="72"/>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82" name="Freeform 235">
                <a:extLst>
                  <a:ext uri="{FF2B5EF4-FFF2-40B4-BE49-F238E27FC236}">
                    <a16:creationId xmlns:a16="http://schemas.microsoft.com/office/drawing/2014/main" id="{5EB623F9-6203-C770-9AD2-53EC9FD80CE6}"/>
                  </a:ext>
                </a:extLst>
              </p:cNvPr>
              <p:cNvSpPr>
                <a:spLocks/>
              </p:cNvSpPr>
              <p:nvPr/>
            </p:nvSpPr>
            <p:spPr bwMode="auto">
              <a:xfrm>
                <a:off x="5607474" y="3074104"/>
                <a:ext cx="136936" cy="131387"/>
              </a:xfrm>
              <a:custGeom>
                <a:avLst/>
                <a:gdLst>
                  <a:gd name="T0" fmla="*/ 0 w 87"/>
                  <a:gd name="T1" fmla="*/ 70 h 82"/>
                  <a:gd name="T2" fmla="*/ 10 w 87"/>
                  <a:gd name="T3" fmla="*/ 79 h 82"/>
                  <a:gd name="T4" fmla="*/ 30 w 87"/>
                  <a:gd name="T5" fmla="*/ 81 h 82"/>
                  <a:gd name="T6" fmla="*/ 48 w 87"/>
                  <a:gd name="T7" fmla="*/ 68 h 82"/>
                  <a:gd name="T8" fmla="*/ 64 w 87"/>
                  <a:gd name="T9" fmla="*/ 59 h 82"/>
                  <a:gd name="T10" fmla="*/ 83 w 87"/>
                  <a:gd name="T11" fmla="*/ 48 h 82"/>
                  <a:gd name="T12" fmla="*/ 85 w 87"/>
                  <a:gd name="T13" fmla="*/ 34 h 82"/>
                  <a:gd name="T14" fmla="*/ 86 w 87"/>
                  <a:gd name="T15" fmla="*/ 15 h 82"/>
                  <a:gd name="T16" fmla="*/ 81 w 87"/>
                  <a:gd name="T17" fmla="*/ 0 h 82"/>
                  <a:gd name="T18" fmla="*/ 61 w 87"/>
                  <a:gd name="T19" fmla="*/ 4 h 82"/>
                  <a:gd name="T20" fmla="*/ 45 w 87"/>
                  <a:gd name="T21" fmla="*/ 4 h 82"/>
                  <a:gd name="T22" fmla="*/ 22 w 87"/>
                  <a:gd name="T23" fmla="*/ 6 h 82"/>
                  <a:gd name="T24" fmla="*/ 9 w 87"/>
                  <a:gd name="T25" fmla="*/ 9 h 82"/>
                  <a:gd name="T26" fmla="*/ 5 w 87"/>
                  <a:gd name="T27" fmla="*/ 23 h 82"/>
                  <a:gd name="T28" fmla="*/ 9 w 87"/>
                  <a:gd name="T29" fmla="*/ 38 h 82"/>
                  <a:gd name="T30" fmla="*/ 22 w 87"/>
                  <a:gd name="T31" fmla="*/ 48 h 82"/>
                  <a:gd name="T32" fmla="*/ 15 w 87"/>
                  <a:gd name="T33" fmla="*/ 63 h 82"/>
                  <a:gd name="T34" fmla="*/ 0 w 87"/>
                  <a:gd name="T35" fmla="*/ 7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7" h="82">
                    <a:moveTo>
                      <a:pt x="0" y="70"/>
                    </a:moveTo>
                    <a:lnTo>
                      <a:pt x="10" y="79"/>
                    </a:lnTo>
                    <a:lnTo>
                      <a:pt x="30" y="81"/>
                    </a:lnTo>
                    <a:lnTo>
                      <a:pt x="48" y="68"/>
                    </a:lnTo>
                    <a:lnTo>
                      <a:pt x="64" y="59"/>
                    </a:lnTo>
                    <a:lnTo>
                      <a:pt x="83" y="48"/>
                    </a:lnTo>
                    <a:lnTo>
                      <a:pt x="85" y="34"/>
                    </a:lnTo>
                    <a:lnTo>
                      <a:pt x="86" y="15"/>
                    </a:lnTo>
                    <a:lnTo>
                      <a:pt x="81" y="0"/>
                    </a:lnTo>
                    <a:lnTo>
                      <a:pt x="61" y="4"/>
                    </a:lnTo>
                    <a:lnTo>
                      <a:pt x="45" y="4"/>
                    </a:lnTo>
                    <a:lnTo>
                      <a:pt x="22" y="6"/>
                    </a:lnTo>
                    <a:lnTo>
                      <a:pt x="9" y="9"/>
                    </a:lnTo>
                    <a:lnTo>
                      <a:pt x="5" y="23"/>
                    </a:lnTo>
                    <a:lnTo>
                      <a:pt x="9" y="38"/>
                    </a:lnTo>
                    <a:lnTo>
                      <a:pt x="22" y="48"/>
                    </a:lnTo>
                    <a:lnTo>
                      <a:pt x="15" y="63"/>
                    </a:lnTo>
                    <a:lnTo>
                      <a:pt x="0" y="70"/>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83" name="Freeform 236">
                <a:extLst>
                  <a:ext uri="{FF2B5EF4-FFF2-40B4-BE49-F238E27FC236}">
                    <a16:creationId xmlns:a16="http://schemas.microsoft.com/office/drawing/2014/main" id="{30D8BA94-D3D2-80E1-2F98-A47177AF453C}"/>
                  </a:ext>
                </a:extLst>
              </p:cNvPr>
              <p:cNvSpPr>
                <a:spLocks/>
              </p:cNvSpPr>
              <p:nvPr/>
            </p:nvSpPr>
            <p:spPr bwMode="auto">
              <a:xfrm>
                <a:off x="6170589" y="3036366"/>
                <a:ext cx="300421" cy="269762"/>
              </a:xfrm>
              <a:custGeom>
                <a:avLst/>
                <a:gdLst>
                  <a:gd name="T0" fmla="*/ 191 w 192"/>
                  <a:gd name="T1" fmla="*/ 29 h 173"/>
                  <a:gd name="T2" fmla="*/ 160 w 192"/>
                  <a:gd name="T3" fmla="*/ 27 h 173"/>
                  <a:gd name="T4" fmla="*/ 145 w 192"/>
                  <a:gd name="T5" fmla="*/ 20 h 173"/>
                  <a:gd name="T6" fmla="*/ 138 w 192"/>
                  <a:gd name="T7" fmla="*/ 2 h 173"/>
                  <a:gd name="T8" fmla="*/ 130 w 192"/>
                  <a:gd name="T9" fmla="*/ 0 h 173"/>
                  <a:gd name="T10" fmla="*/ 124 w 192"/>
                  <a:gd name="T11" fmla="*/ 13 h 173"/>
                  <a:gd name="T12" fmla="*/ 102 w 192"/>
                  <a:gd name="T13" fmla="*/ 18 h 173"/>
                  <a:gd name="T14" fmla="*/ 93 w 192"/>
                  <a:gd name="T15" fmla="*/ 23 h 173"/>
                  <a:gd name="T16" fmla="*/ 81 w 192"/>
                  <a:gd name="T17" fmla="*/ 18 h 173"/>
                  <a:gd name="T18" fmla="*/ 62 w 192"/>
                  <a:gd name="T19" fmla="*/ 17 h 173"/>
                  <a:gd name="T20" fmla="*/ 54 w 192"/>
                  <a:gd name="T21" fmla="*/ 23 h 173"/>
                  <a:gd name="T22" fmla="*/ 43 w 192"/>
                  <a:gd name="T23" fmla="*/ 25 h 173"/>
                  <a:gd name="T24" fmla="*/ 40 w 192"/>
                  <a:gd name="T25" fmla="*/ 32 h 173"/>
                  <a:gd name="T26" fmla="*/ 30 w 192"/>
                  <a:gd name="T27" fmla="*/ 38 h 173"/>
                  <a:gd name="T28" fmla="*/ 28 w 192"/>
                  <a:gd name="T29" fmla="*/ 51 h 173"/>
                  <a:gd name="T30" fmla="*/ 13 w 192"/>
                  <a:gd name="T31" fmla="*/ 54 h 173"/>
                  <a:gd name="T32" fmla="*/ 0 w 192"/>
                  <a:gd name="T33" fmla="*/ 66 h 173"/>
                  <a:gd name="T34" fmla="*/ 3 w 192"/>
                  <a:gd name="T35" fmla="*/ 88 h 173"/>
                  <a:gd name="T36" fmla="*/ 0 w 192"/>
                  <a:gd name="T37" fmla="*/ 123 h 173"/>
                  <a:gd name="T38" fmla="*/ 17 w 192"/>
                  <a:gd name="T39" fmla="*/ 123 h 173"/>
                  <a:gd name="T40" fmla="*/ 22 w 192"/>
                  <a:gd name="T41" fmla="*/ 140 h 173"/>
                  <a:gd name="T42" fmla="*/ 14 w 192"/>
                  <a:gd name="T43" fmla="*/ 151 h 173"/>
                  <a:gd name="T44" fmla="*/ 14 w 192"/>
                  <a:gd name="T45" fmla="*/ 165 h 173"/>
                  <a:gd name="T46" fmla="*/ 30 w 192"/>
                  <a:gd name="T47" fmla="*/ 172 h 173"/>
                  <a:gd name="T48" fmla="*/ 36 w 192"/>
                  <a:gd name="T49" fmla="*/ 160 h 173"/>
                  <a:gd name="T50" fmla="*/ 77 w 192"/>
                  <a:gd name="T51" fmla="*/ 156 h 173"/>
                  <a:gd name="T52" fmla="*/ 83 w 192"/>
                  <a:gd name="T53" fmla="*/ 140 h 173"/>
                  <a:gd name="T54" fmla="*/ 95 w 192"/>
                  <a:gd name="T55" fmla="*/ 132 h 173"/>
                  <a:gd name="T56" fmla="*/ 111 w 192"/>
                  <a:gd name="T57" fmla="*/ 122 h 173"/>
                  <a:gd name="T58" fmla="*/ 124 w 192"/>
                  <a:gd name="T59" fmla="*/ 121 h 173"/>
                  <a:gd name="T60" fmla="*/ 127 w 192"/>
                  <a:gd name="T61" fmla="*/ 103 h 173"/>
                  <a:gd name="T62" fmla="*/ 138 w 192"/>
                  <a:gd name="T63" fmla="*/ 97 h 173"/>
                  <a:gd name="T64" fmla="*/ 143 w 192"/>
                  <a:gd name="T65" fmla="*/ 82 h 173"/>
                  <a:gd name="T66" fmla="*/ 149 w 192"/>
                  <a:gd name="T67" fmla="*/ 64 h 173"/>
                  <a:gd name="T68" fmla="*/ 153 w 192"/>
                  <a:gd name="T69" fmla="*/ 48 h 173"/>
                  <a:gd name="T70" fmla="*/ 166 w 192"/>
                  <a:gd name="T71" fmla="*/ 43 h 173"/>
                  <a:gd name="T72" fmla="*/ 176 w 192"/>
                  <a:gd name="T73" fmla="*/ 45 h 173"/>
                  <a:gd name="T74" fmla="*/ 188 w 192"/>
                  <a:gd name="T75" fmla="*/ 52 h 173"/>
                  <a:gd name="T76" fmla="*/ 191 w 192"/>
                  <a:gd name="T77" fmla="*/ 29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2" h="173">
                    <a:moveTo>
                      <a:pt x="191" y="29"/>
                    </a:moveTo>
                    <a:lnTo>
                      <a:pt x="160" y="27"/>
                    </a:lnTo>
                    <a:lnTo>
                      <a:pt x="145" y="20"/>
                    </a:lnTo>
                    <a:lnTo>
                      <a:pt x="138" y="2"/>
                    </a:lnTo>
                    <a:lnTo>
                      <a:pt x="130" y="0"/>
                    </a:lnTo>
                    <a:lnTo>
                      <a:pt x="124" y="13"/>
                    </a:lnTo>
                    <a:lnTo>
                      <a:pt x="102" y="18"/>
                    </a:lnTo>
                    <a:lnTo>
                      <a:pt x="93" y="23"/>
                    </a:lnTo>
                    <a:lnTo>
                      <a:pt x="81" y="18"/>
                    </a:lnTo>
                    <a:lnTo>
                      <a:pt x="62" y="17"/>
                    </a:lnTo>
                    <a:lnTo>
                      <a:pt x="54" y="23"/>
                    </a:lnTo>
                    <a:lnTo>
                      <a:pt x="43" y="25"/>
                    </a:lnTo>
                    <a:lnTo>
                      <a:pt x="40" y="32"/>
                    </a:lnTo>
                    <a:lnTo>
                      <a:pt x="30" y="38"/>
                    </a:lnTo>
                    <a:lnTo>
                      <a:pt x="28" y="51"/>
                    </a:lnTo>
                    <a:lnTo>
                      <a:pt x="13" y="54"/>
                    </a:lnTo>
                    <a:lnTo>
                      <a:pt x="0" y="66"/>
                    </a:lnTo>
                    <a:lnTo>
                      <a:pt x="3" y="88"/>
                    </a:lnTo>
                    <a:lnTo>
                      <a:pt x="0" y="123"/>
                    </a:lnTo>
                    <a:lnTo>
                      <a:pt x="17" y="123"/>
                    </a:lnTo>
                    <a:lnTo>
                      <a:pt x="22" y="140"/>
                    </a:lnTo>
                    <a:lnTo>
                      <a:pt x="14" y="151"/>
                    </a:lnTo>
                    <a:lnTo>
                      <a:pt x="14" y="165"/>
                    </a:lnTo>
                    <a:lnTo>
                      <a:pt x="30" y="172"/>
                    </a:lnTo>
                    <a:lnTo>
                      <a:pt x="36" y="160"/>
                    </a:lnTo>
                    <a:lnTo>
                      <a:pt x="77" y="156"/>
                    </a:lnTo>
                    <a:lnTo>
                      <a:pt x="83" y="140"/>
                    </a:lnTo>
                    <a:lnTo>
                      <a:pt x="95" y="132"/>
                    </a:lnTo>
                    <a:lnTo>
                      <a:pt x="111" y="122"/>
                    </a:lnTo>
                    <a:lnTo>
                      <a:pt x="124" y="121"/>
                    </a:lnTo>
                    <a:lnTo>
                      <a:pt x="127" y="103"/>
                    </a:lnTo>
                    <a:lnTo>
                      <a:pt x="138" y="97"/>
                    </a:lnTo>
                    <a:lnTo>
                      <a:pt x="143" y="82"/>
                    </a:lnTo>
                    <a:lnTo>
                      <a:pt x="149" y="64"/>
                    </a:lnTo>
                    <a:lnTo>
                      <a:pt x="153" y="48"/>
                    </a:lnTo>
                    <a:lnTo>
                      <a:pt x="166" y="43"/>
                    </a:lnTo>
                    <a:lnTo>
                      <a:pt x="176" y="45"/>
                    </a:lnTo>
                    <a:lnTo>
                      <a:pt x="188" y="52"/>
                    </a:lnTo>
                    <a:lnTo>
                      <a:pt x="191" y="29"/>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84" name="Freeform 237">
                <a:extLst>
                  <a:ext uri="{FF2B5EF4-FFF2-40B4-BE49-F238E27FC236}">
                    <a16:creationId xmlns:a16="http://schemas.microsoft.com/office/drawing/2014/main" id="{50E7A553-A4C3-E772-9942-C079C832ABCA}"/>
                  </a:ext>
                </a:extLst>
              </p:cNvPr>
              <p:cNvSpPr>
                <a:spLocks/>
              </p:cNvSpPr>
              <p:nvPr/>
            </p:nvSpPr>
            <p:spPr bwMode="auto">
              <a:xfrm>
                <a:off x="5986144" y="2937127"/>
                <a:ext cx="287845" cy="204068"/>
              </a:xfrm>
              <a:custGeom>
                <a:avLst/>
                <a:gdLst>
                  <a:gd name="T0" fmla="*/ 181 w 184"/>
                  <a:gd name="T1" fmla="*/ 82 h 131"/>
                  <a:gd name="T2" fmla="*/ 174 w 184"/>
                  <a:gd name="T3" fmla="*/ 88 h 131"/>
                  <a:gd name="T4" fmla="*/ 163 w 184"/>
                  <a:gd name="T5" fmla="*/ 89 h 131"/>
                  <a:gd name="T6" fmla="*/ 159 w 184"/>
                  <a:gd name="T7" fmla="*/ 97 h 131"/>
                  <a:gd name="T8" fmla="*/ 149 w 184"/>
                  <a:gd name="T9" fmla="*/ 103 h 131"/>
                  <a:gd name="T10" fmla="*/ 147 w 184"/>
                  <a:gd name="T11" fmla="*/ 116 h 131"/>
                  <a:gd name="T12" fmla="*/ 132 w 184"/>
                  <a:gd name="T13" fmla="*/ 119 h 131"/>
                  <a:gd name="T14" fmla="*/ 119 w 184"/>
                  <a:gd name="T15" fmla="*/ 130 h 131"/>
                  <a:gd name="T16" fmla="*/ 124 w 184"/>
                  <a:gd name="T17" fmla="*/ 98 h 131"/>
                  <a:gd name="T18" fmla="*/ 104 w 184"/>
                  <a:gd name="T19" fmla="*/ 88 h 131"/>
                  <a:gd name="T20" fmla="*/ 81 w 184"/>
                  <a:gd name="T21" fmla="*/ 71 h 131"/>
                  <a:gd name="T22" fmla="*/ 66 w 184"/>
                  <a:gd name="T23" fmla="*/ 70 h 131"/>
                  <a:gd name="T24" fmla="*/ 40 w 184"/>
                  <a:gd name="T25" fmla="*/ 65 h 131"/>
                  <a:gd name="T26" fmla="*/ 33 w 184"/>
                  <a:gd name="T27" fmla="*/ 77 h 131"/>
                  <a:gd name="T28" fmla="*/ 19 w 184"/>
                  <a:gd name="T29" fmla="*/ 83 h 131"/>
                  <a:gd name="T30" fmla="*/ 16 w 184"/>
                  <a:gd name="T31" fmla="*/ 65 h 131"/>
                  <a:gd name="T32" fmla="*/ 14 w 184"/>
                  <a:gd name="T33" fmla="*/ 55 h 131"/>
                  <a:gd name="T34" fmla="*/ 11 w 184"/>
                  <a:gd name="T35" fmla="*/ 48 h 131"/>
                  <a:gd name="T36" fmla="*/ 9 w 184"/>
                  <a:gd name="T37" fmla="*/ 31 h 131"/>
                  <a:gd name="T38" fmla="*/ 3 w 184"/>
                  <a:gd name="T39" fmla="*/ 25 h 131"/>
                  <a:gd name="T40" fmla="*/ 7 w 184"/>
                  <a:gd name="T41" fmla="*/ 19 h 131"/>
                  <a:gd name="T42" fmla="*/ 0 w 184"/>
                  <a:gd name="T43" fmla="*/ 14 h 131"/>
                  <a:gd name="T44" fmla="*/ 1 w 184"/>
                  <a:gd name="T45" fmla="*/ 3 h 131"/>
                  <a:gd name="T46" fmla="*/ 16 w 184"/>
                  <a:gd name="T47" fmla="*/ 19 h 131"/>
                  <a:gd name="T48" fmla="*/ 24 w 184"/>
                  <a:gd name="T49" fmla="*/ 6 h 131"/>
                  <a:gd name="T50" fmla="*/ 37 w 184"/>
                  <a:gd name="T51" fmla="*/ 0 h 131"/>
                  <a:gd name="T52" fmla="*/ 49 w 184"/>
                  <a:gd name="T53" fmla="*/ 5 h 131"/>
                  <a:gd name="T54" fmla="*/ 49 w 184"/>
                  <a:gd name="T55" fmla="*/ 14 h 131"/>
                  <a:gd name="T56" fmla="*/ 63 w 184"/>
                  <a:gd name="T57" fmla="*/ 19 h 131"/>
                  <a:gd name="T58" fmla="*/ 81 w 184"/>
                  <a:gd name="T59" fmla="*/ 24 h 131"/>
                  <a:gd name="T60" fmla="*/ 83 w 184"/>
                  <a:gd name="T61" fmla="*/ 14 h 131"/>
                  <a:gd name="T62" fmla="*/ 92 w 184"/>
                  <a:gd name="T63" fmla="*/ 11 h 131"/>
                  <a:gd name="T64" fmla="*/ 102 w 184"/>
                  <a:gd name="T65" fmla="*/ 6 h 131"/>
                  <a:gd name="T66" fmla="*/ 107 w 184"/>
                  <a:gd name="T67" fmla="*/ 14 h 131"/>
                  <a:gd name="T68" fmla="*/ 114 w 184"/>
                  <a:gd name="T69" fmla="*/ 20 h 131"/>
                  <a:gd name="T70" fmla="*/ 111 w 184"/>
                  <a:gd name="T71" fmla="*/ 28 h 131"/>
                  <a:gd name="T72" fmla="*/ 122 w 184"/>
                  <a:gd name="T73" fmla="*/ 31 h 131"/>
                  <a:gd name="T74" fmla="*/ 129 w 184"/>
                  <a:gd name="T75" fmla="*/ 31 h 131"/>
                  <a:gd name="T76" fmla="*/ 137 w 184"/>
                  <a:gd name="T77" fmla="*/ 34 h 131"/>
                  <a:gd name="T78" fmla="*/ 133 w 184"/>
                  <a:gd name="T79" fmla="*/ 46 h 131"/>
                  <a:gd name="T80" fmla="*/ 167 w 184"/>
                  <a:gd name="T81" fmla="*/ 72 h 131"/>
                  <a:gd name="T82" fmla="*/ 175 w 184"/>
                  <a:gd name="T83" fmla="*/ 68 h 131"/>
                  <a:gd name="T84" fmla="*/ 183 w 184"/>
                  <a:gd name="T85" fmla="*/ 71 h 131"/>
                  <a:gd name="T86" fmla="*/ 181 w 184"/>
                  <a:gd name="T87" fmla="*/ 8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4" h="131">
                    <a:moveTo>
                      <a:pt x="181" y="82"/>
                    </a:moveTo>
                    <a:lnTo>
                      <a:pt x="174" y="88"/>
                    </a:lnTo>
                    <a:lnTo>
                      <a:pt x="163" y="89"/>
                    </a:lnTo>
                    <a:lnTo>
                      <a:pt x="159" y="97"/>
                    </a:lnTo>
                    <a:lnTo>
                      <a:pt x="149" y="103"/>
                    </a:lnTo>
                    <a:lnTo>
                      <a:pt x="147" y="116"/>
                    </a:lnTo>
                    <a:lnTo>
                      <a:pt x="132" y="119"/>
                    </a:lnTo>
                    <a:lnTo>
                      <a:pt x="119" y="130"/>
                    </a:lnTo>
                    <a:lnTo>
                      <a:pt x="124" y="98"/>
                    </a:lnTo>
                    <a:lnTo>
                      <a:pt x="104" y="88"/>
                    </a:lnTo>
                    <a:lnTo>
                      <a:pt x="81" y="71"/>
                    </a:lnTo>
                    <a:lnTo>
                      <a:pt x="66" y="70"/>
                    </a:lnTo>
                    <a:lnTo>
                      <a:pt x="40" y="65"/>
                    </a:lnTo>
                    <a:lnTo>
                      <a:pt x="33" y="77"/>
                    </a:lnTo>
                    <a:lnTo>
                      <a:pt x="19" y="83"/>
                    </a:lnTo>
                    <a:lnTo>
                      <a:pt x="16" y="65"/>
                    </a:lnTo>
                    <a:lnTo>
                      <a:pt x="14" y="55"/>
                    </a:lnTo>
                    <a:lnTo>
                      <a:pt x="11" y="48"/>
                    </a:lnTo>
                    <a:lnTo>
                      <a:pt x="9" y="31"/>
                    </a:lnTo>
                    <a:lnTo>
                      <a:pt x="3" y="25"/>
                    </a:lnTo>
                    <a:lnTo>
                      <a:pt x="7" y="19"/>
                    </a:lnTo>
                    <a:lnTo>
                      <a:pt x="0" y="14"/>
                    </a:lnTo>
                    <a:lnTo>
                      <a:pt x="1" y="3"/>
                    </a:lnTo>
                    <a:lnTo>
                      <a:pt x="16" y="19"/>
                    </a:lnTo>
                    <a:lnTo>
                      <a:pt x="24" y="6"/>
                    </a:lnTo>
                    <a:lnTo>
                      <a:pt x="37" y="0"/>
                    </a:lnTo>
                    <a:lnTo>
                      <a:pt x="49" y="5"/>
                    </a:lnTo>
                    <a:lnTo>
                      <a:pt x="49" y="14"/>
                    </a:lnTo>
                    <a:lnTo>
                      <a:pt x="63" y="19"/>
                    </a:lnTo>
                    <a:lnTo>
                      <a:pt x="81" y="24"/>
                    </a:lnTo>
                    <a:lnTo>
                      <a:pt x="83" y="14"/>
                    </a:lnTo>
                    <a:lnTo>
                      <a:pt x="92" y="11"/>
                    </a:lnTo>
                    <a:lnTo>
                      <a:pt x="102" y="6"/>
                    </a:lnTo>
                    <a:lnTo>
                      <a:pt x="107" y="14"/>
                    </a:lnTo>
                    <a:lnTo>
                      <a:pt x="114" y="20"/>
                    </a:lnTo>
                    <a:lnTo>
                      <a:pt x="111" y="28"/>
                    </a:lnTo>
                    <a:lnTo>
                      <a:pt x="122" y="31"/>
                    </a:lnTo>
                    <a:lnTo>
                      <a:pt x="129" y="31"/>
                    </a:lnTo>
                    <a:lnTo>
                      <a:pt x="137" y="34"/>
                    </a:lnTo>
                    <a:lnTo>
                      <a:pt x="133" y="46"/>
                    </a:lnTo>
                    <a:lnTo>
                      <a:pt x="167" y="72"/>
                    </a:lnTo>
                    <a:lnTo>
                      <a:pt x="175" y="68"/>
                    </a:lnTo>
                    <a:lnTo>
                      <a:pt x="183" y="71"/>
                    </a:lnTo>
                    <a:lnTo>
                      <a:pt x="181" y="82"/>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85" name="Freeform 238">
                <a:extLst>
                  <a:ext uri="{FF2B5EF4-FFF2-40B4-BE49-F238E27FC236}">
                    <a16:creationId xmlns:a16="http://schemas.microsoft.com/office/drawing/2014/main" id="{F089CD0A-AF9C-3610-D6F3-02BFBED2D09A}"/>
                  </a:ext>
                </a:extLst>
              </p:cNvPr>
              <p:cNvSpPr>
                <a:spLocks/>
              </p:cNvSpPr>
              <p:nvPr/>
            </p:nvSpPr>
            <p:spPr bwMode="auto">
              <a:xfrm>
                <a:off x="6315909" y="2963683"/>
                <a:ext cx="181650" cy="118807"/>
              </a:xfrm>
              <a:custGeom>
                <a:avLst/>
                <a:gdLst>
                  <a:gd name="T0" fmla="*/ 35 w 117"/>
                  <a:gd name="T1" fmla="*/ 9 h 76"/>
                  <a:gd name="T2" fmla="*/ 27 w 117"/>
                  <a:gd name="T3" fmla="*/ 25 h 76"/>
                  <a:gd name="T4" fmla="*/ 15 w 117"/>
                  <a:gd name="T5" fmla="*/ 40 h 76"/>
                  <a:gd name="T6" fmla="*/ 0 w 117"/>
                  <a:gd name="T7" fmla="*/ 69 h 76"/>
                  <a:gd name="T8" fmla="*/ 9 w 117"/>
                  <a:gd name="T9" fmla="*/ 64 h 76"/>
                  <a:gd name="T10" fmla="*/ 31 w 117"/>
                  <a:gd name="T11" fmla="*/ 59 h 76"/>
                  <a:gd name="T12" fmla="*/ 37 w 117"/>
                  <a:gd name="T13" fmla="*/ 46 h 76"/>
                  <a:gd name="T14" fmla="*/ 45 w 117"/>
                  <a:gd name="T15" fmla="*/ 48 h 76"/>
                  <a:gd name="T16" fmla="*/ 52 w 117"/>
                  <a:gd name="T17" fmla="*/ 67 h 76"/>
                  <a:gd name="T18" fmla="*/ 68 w 117"/>
                  <a:gd name="T19" fmla="*/ 73 h 76"/>
                  <a:gd name="T20" fmla="*/ 98 w 117"/>
                  <a:gd name="T21" fmla="*/ 75 h 76"/>
                  <a:gd name="T22" fmla="*/ 98 w 117"/>
                  <a:gd name="T23" fmla="*/ 62 h 76"/>
                  <a:gd name="T24" fmla="*/ 97 w 117"/>
                  <a:gd name="T25" fmla="*/ 64 h 76"/>
                  <a:gd name="T26" fmla="*/ 81 w 117"/>
                  <a:gd name="T27" fmla="*/ 53 h 76"/>
                  <a:gd name="T28" fmla="*/ 83 w 117"/>
                  <a:gd name="T29" fmla="*/ 31 h 76"/>
                  <a:gd name="T30" fmla="*/ 95 w 117"/>
                  <a:gd name="T31" fmla="*/ 23 h 76"/>
                  <a:gd name="T32" fmla="*/ 116 w 117"/>
                  <a:gd name="T33" fmla="*/ 36 h 76"/>
                  <a:gd name="T34" fmla="*/ 102 w 117"/>
                  <a:gd name="T35" fmla="*/ 0 h 76"/>
                  <a:gd name="T36" fmla="*/ 86 w 117"/>
                  <a:gd name="T37" fmla="*/ 13 h 76"/>
                  <a:gd name="T38" fmla="*/ 71 w 117"/>
                  <a:gd name="T39" fmla="*/ 14 h 76"/>
                  <a:gd name="T40" fmla="*/ 35 w 117"/>
                  <a:gd name="T41"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76">
                    <a:moveTo>
                      <a:pt x="35" y="9"/>
                    </a:moveTo>
                    <a:lnTo>
                      <a:pt x="27" y="25"/>
                    </a:lnTo>
                    <a:lnTo>
                      <a:pt x="15" y="40"/>
                    </a:lnTo>
                    <a:lnTo>
                      <a:pt x="0" y="69"/>
                    </a:lnTo>
                    <a:lnTo>
                      <a:pt x="9" y="64"/>
                    </a:lnTo>
                    <a:lnTo>
                      <a:pt x="31" y="59"/>
                    </a:lnTo>
                    <a:lnTo>
                      <a:pt x="37" y="46"/>
                    </a:lnTo>
                    <a:lnTo>
                      <a:pt x="45" y="48"/>
                    </a:lnTo>
                    <a:lnTo>
                      <a:pt x="52" y="67"/>
                    </a:lnTo>
                    <a:lnTo>
                      <a:pt x="68" y="73"/>
                    </a:lnTo>
                    <a:lnTo>
                      <a:pt x="98" y="75"/>
                    </a:lnTo>
                    <a:lnTo>
                      <a:pt x="98" y="62"/>
                    </a:lnTo>
                    <a:lnTo>
                      <a:pt x="97" y="64"/>
                    </a:lnTo>
                    <a:lnTo>
                      <a:pt x="81" y="53"/>
                    </a:lnTo>
                    <a:lnTo>
                      <a:pt x="83" y="31"/>
                    </a:lnTo>
                    <a:lnTo>
                      <a:pt x="95" y="23"/>
                    </a:lnTo>
                    <a:lnTo>
                      <a:pt x="116" y="36"/>
                    </a:lnTo>
                    <a:lnTo>
                      <a:pt x="102" y="0"/>
                    </a:lnTo>
                    <a:lnTo>
                      <a:pt x="86" y="13"/>
                    </a:lnTo>
                    <a:lnTo>
                      <a:pt x="71" y="14"/>
                    </a:lnTo>
                    <a:lnTo>
                      <a:pt x="35" y="9"/>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86" name="Freeform 239">
                <a:extLst>
                  <a:ext uri="{FF2B5EF4-FFF2-40B4-BE49-F238E27FC236}">
                    <a16:creationId xmlns:a16="http://schemas.microsoft.com/office/drawing/2014/main" id="{3C06F9EA-248F-1F20-70B5-5505B751C1F2}"/>
                  </a:ext>
                </a:extLst>
              </p:cNvPr>
              <p:cNvSpPr>
                <a:spLocks/>
              </p:cNvSpPr>
              <p:nvPr/>
            </p:nvSpPr>
            <p:spPr bwMode="auto">
              <a:xfrm>
                <a:off x="5812879" y="2885411"/>
                <a:ext cx="118771" cy="135579"/>
              </a:xfrm>
              <a:custGeom>
                <a:avLst/>
                <a:gdLst>
                  <a:gd name="T0" fmla="*/ 0 w 76"/>
                  <a:gd name="T1" fmla="*/ 8 h 87"/>
                  <a:gd name="T2" fmla="*/ 5 w 76"/>
                  <a:gd name="T3" fmla="*/ 29 h 87"/>
                  <a:gd name="T4" fmla="*/ 16 w 76"/>
                  <a:gd name="T5" fmla="*/ 51 h 87"/>
                  <a:gd name="T6" fmla="*/ 29 w 76"/>
                  <a:gd name="T7" fmla="*/ 77 h 87"/>
                  <a:gd name="T8" fmla="*/ 18 w 76"/>
                  <a:gd name="T9" fmla="*/ 84 h 87"/>
                  <a:gd name="T10" fmla="*/ 37 w 76"/>
                  <a:gd name="T11" fmla="*/ 84 h 87"/>
                  <a:gd name="T12" fmla="*/ 40 w 76"/>
                  <a:gd name="T13" fmla="*/ 73 h 87"/>
                  <a:gd name="T14" fmla="*/ 49 w 76"/>
                  <a:gd name="T15" fmla="*/ 67 h 87"/>
                  <a:gd name="T16" fmla="*/ 55 w 76"/>
                  <a:gd name="T17" fmla="*/ 86 h 87"/>
                  <a:gd name="T18" fmla="*/ 62 w 76"/>
                  <a:gd name="T19" fmla="*/ 79 h 87"/>
                  <a:gd name="T20" fmla="*/ 66 w 76"/>
                  <a:gd name="T21" fmla="*/ 65 h 87"/>
                  <a:gd name="T22" fmla="*/ 75 w 76"/>
                  <a:gd name="T23" fmla="*/ 62 h 87"/>
                  <a:gd name="T24" fmla="*/ 73 w 76"/>
                  <a:gd name="T25" fmla="*/ 52 h 87"/>
                  <a:gd name="T26" fmla="*/ 58 w 76"/>
                  <a:gd name="T27" fmla="*/ 43 h 87"/>
                  <a:gd name="T28" fmla="*/ 44 w 76"/>
                  <a:gd name="T29" fmla="*/ 28 h 87"/>
                  <a:gd name="T30" fmla="*/ 29 w 76"/>
                  <a:gd name="T31" fmla="*/ 0 h 87"/>
                  <a:gd name="T32" fmla="*/ 0 w 76"/>
                  <a:gd name="T33" fmla="*/ 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87">
                    <a:moveTo>
                      <a:pt x="0" y="8"/>
                    </a:moveTo>
                    <a:lnTo>
                      <a:pt x="5" y="29"/>
                    </a:lnTo>
                    <a:lnTo>
                      <a:pt x="16" y="51"/>
                    </a:lnTo>
                    <a:lnTo>
                      <a:pt x="29" y="77"/>
                    </a:lnTo>
                    <a:lnTo>
                      <a:pt x="18" y="84"/>
                    </a:lnTo>
                    <a:lnTo>
                      <a:pt x="37" y="84"/>
                    </a:lnTo>
                    <a:lnTo>
                      <a:pt x="40" y="73"/>
                    </a:lnTo>
                    <a:lnTo>
                      <a:pt x="49" y="67"/>
                    </a:lnTo>
                    <a:lnTo>
                      <a:pt x="55" y="86"/>
                    </a:lnTo>
                    <a:lnTo>
                      <a:pt x="62" y="79"/>
                    </a:lnTo>
                    <a:lnTo>
                      <a:pt x="66" y="65"/>
                    </a:lnTo>
                    <a:lnTo>
                      <a:pt x="75" y="62"/>
                    </a:lnTo>
                    <a:lnTo>
                      <a:pt x="73" y="52"/>
                    </a:lnTo>
                    <a:lnTo>
                      <a:pt x="58" y="43"/>
                    </a:lnTo>
                    <a:lnTo>
                      <a:pt x="44" y="28"/>
                    </a:lnTo>
                    <a:lnTo>
                      <a:pt x="29" y="0"/>
                    </a:lnTo>
                    <a:lnTo>
                      <a:pt x="0" y="8"/>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87" name="Freeform 263">
                <a:extLst>
                  <a:ext uri="{FF2B5EF4-FFF2-40B4-BE49-F238E27FC236}">
                    <a16:creationId xmlns:a16="http://schemas.microsoft.com/office/drawing/2014/main" id="{E2F97553-AA11-FE54-6F67-EBE4B27E7B46}"/>
                  </a:ext>
                </a:extLst>
              </p:cNvPr>
              <p:cNvSpPr>
                <a:spLocks/>
              </p:cNvSpPr>
              <p:nvPr/>
            </p:nvSpPr>
            <p:spPr bwMode="auto">
              <a:xfrm>
                <a:off x="5414646" y="2916161"/>
                <a:ext cx="413603" cy="183102"/>
              </a:xfrm>
              <a:custGeom>
                <a:avLst/>
                <a:gdLst>
                  <a:gd name="T0" fmla="*/ 134 w 265"/>
                  <a:gd name="T1" fmla="*/ 111 h 118"/>
                  <a:gd name="T2" fmla="*/ 146 w 265"/>
                  <a:gd name="T3" fmla="*/ 108 h 118"/>
                  <a:gd name="T4" fmla="*/ 168 w 265"/>
                  <a:gd name="T5" fmla="*/ 106 h 118"/>
                  <a:gd name="T6" fmla="*/ 184 w 265"/>
                  <a:gd name="T7" fmla="*/ 106 h 118"/>
                  <a:gd name="T8" fmla="*/ 204 w 265"/>
                  <a:gd name="T9" fmla="*/ 102 h 118"/>
                  <a:gd name="T10" fmla="*/ 209 w 265"/>
                  <a:gd name="T11" fmla="*/ 117 h 118"/>
                  <a:gd name="T12" fmla="*/ 218 w 265"/>
                  <a:gd name="T13" fmla="*/ 108 h 118"/>
                  <a:gd name="T14" fmla="*/ 227 w 265"/>
                  <a:gd name="T15" fmla="*/ 99 h 118"/>
                  <a:gd name="T16" fmla="*/ 241 w 265"/>
                  <a:gd name="T17" fmla="*/ 96 h 118"/>
                  <a:gd name="T18" fmla="*/ 247 w 265"/>
                  <a:gd name="T19" fmla="*/ 106 h 118"/>
                  <a:gd name="T20" fmla="*/ 264 w 265"/>
                  <a:gd name="T21" fmla="*/ 107 h 118"/>
                  <a:gd name="T22" fmla="*/ 261 w 265"/>
                  <a:gd name="T23" fmla="*/ 88 h 118"/>
                  <a:gd name="T24" fmla="*/ 253 w 265"/>
                  <a:gd name="T25" fmla="*/ 69 h 118"/>
                  <a:gd name="T26" fmla="*/ 247 w 265"/>
                  <a:gd name="T27" fmla="*/ 50 h 118"/>
                  <a:gd name="T28" fmla="*/ 252 w 265"/>
                  <a:gd name="T29" fmla="*/ 44 h 118"/>
                  <a:gd name="T30" fmla="*/ 241 w 265"/>
                  <a:gd name="T31" fmla="*/ 32 h 118"/>
                  <a:gd name="T32" fmla="*/ 228 w 265"/>
                  <a:gd name="T33" fmla="*/ 12 h 118"/>
                  <a:gd name="T34" fmla="*/ 210 w 265"/>
                  <a:gd name="T35" fmla="*/ 14 h 118"/>
                  <a:gd name="T36" fmla="*/ 202 w 265"/>
                  <a:gd name="T37" fmla="*/ 23 h 118"/>
                  <a:gd name="T38" fmla="*/ 173 w 265"/>
                  <a:gd name="T39" fmla="*/ 25 h 118"/>
                  <a:gd name="T40" fmla="*/ 161 w 265"/>
                  <a:gd name="T41" fmla="*/ 26 h 118"/>
                  <a:gd name="T42" fmla="*/ 146 w 265"/>
                  <a:gd name="T43" fmla="*/ 19 h 118"/>
                  <a:gd name="T44" fmla="*/ 135 w 265"/>
                  <a:gd name="T45" fmla="*/ 19 h 118"/>
                  <a:gd name="T46" fmla="*/ 125 w 265"/>
                  <a:gd name="T47" fmla="*/ 7 h 118"/>
                  <a:gd name="T48" fmla="*/ 112 w 265"/>
                  <a:gd name="T49" fmla="*/ 0 h 118"/>
                  <a:gd name="T50" fmla="*/ 98 w 265"/>
                  <a:gd name="T51" fmla="*/ 7 h 118"/>
                  <a:gd name="T52" fmla="*/ 78 w 265"/>
                  <a:gd name="T53" fmla="*/ 9 h 118"/>
                  <a:gd name="T54" fmla="*/ 64 w 265"/>
                  <a:gd name="T55" fmla="*/ 14 h 118"/>
                  <a:gd name="T56" fmla="*/ 45 w 265"/>
                  <a:gd name="T57" fmla="*/ 15 h 118"/>
                  <a:gd name="T58" fmla="*/ 34 w 265"/>
                  <a:gd name="T59" fmla="*/ 15 h 118"/>
                  <a:gd name="T60" fmla="*/ 19 w 265"/>
                  <a:gd name="T61" fmla="*/ 21 h 118"/>
                  <a:gd name="T62" fmla="*/ 29 w 265"/>
                  <a:gd name="T63" fmla="*/ 26 h 118"/>
                  <a:gd name="T64" fmla="*/ 18 w 265"/>
                  <a:gd name="T65" fmla="*/ 32 h 118"/>
                  <a:gd name="T66" fmla="*/ 14 w 265"/>
                  <a:gd name="T67" fmla="*/ 39 h 118"/>
                  <a:gd name="T68" fmla="*/ 5 w 265"/>
                  <a:gd name="T69" fmla="*/ 48 h 118"/>
                  <a:gd name="T70" fmla="*/ 3 w 265"/>
                  <a:gd name="T71" fmla="*/ 56 h 118"/>
                  <a:gd name="T72" fmla="*/ 0 w 265"/>
                  <a:gd name="T73" fmla="*/ 63 h 118"/>
                  <a:gd name="T74" fmla="*/ 7 w 265"/>
                  <a:gd name="T75" fmla="*/ 65 h 118"/>
                  <a:gd name="T76" fmla="*/ 6 w 265"/>
                  <a:gd name="T77" fmla="*/ 74 h 118"/>
                  <a:gd name="T78" fmla="*/ 11 w 265"/>
                  <a:gd name="T79" fmla="*/ 78 h 118"/>
                  <a:gd name="T80" fmla="*/ 11 w 265"/>
                  <a:gd name="T81" fmla="*/ 88 h 118"/>
                  <a:gd name="T82" fmla="*/ 16 w 265"/>
                  <a:gd name="T83" fmla="*/ 95 h 118"/>
                  <a:gd name="T84" fmla="*/ 22 w 265"/>
                  <a:gd name="T85" fmla="*/ 94 h 118"/>
                  <a:gd name="T86" fmla="*/ 24 w 265"/>
                  <a:gd name="T87" fmla="*/ 101 h 118"/>
                  <a:gd name="T88" fmla="*/ 36 w 265"/>
                  <a:gd name="T89" fmla="*/ 105 h 118"/>
                  <a:gd name="T90" fmla="*/ 44 w 265"/>
                  <a:gd name="T91" fmla="*/ 114 h 118"/>
                  <a:gd name="T92" fmla="*/ 54 w 265"/>
                  <a:gd name="T93" fmla="*/ 111 h 118"/>
                  <a:gd name="T94" fmla="*/ 60 w 265"/>
                  <a:gd name="T95" fmla="*/ 107 h 118"/>
                  <a:gd name="T96" fmla="*/ 68 w 265"/>
                  <a:gd name="T97" fmla="*/ 100 h 118"/>
                  <a:gd name="T98" fmla="*/ 84 w 265"/>
                  <a:gd name="T99" fmla="*/ 111 h 118"/>
                  <a:gd name="T100" fmla="*/ 102 w 265"/>
                  <a:gd name="T101" fmla="*/ 113 h 118"/>
                  <a:gd name="T102" fmla="*/ 121 w 265"/>
                  <a:gd name="T103" fmla="*/ 110 h 118"/>
                  <a:gd name="T104" fmla="*/ 129 w 265"/>
                  <a:gd name="T105" fmla="*/ 110 h 118"/>
                  <a:gd name="T106" fmla="*/ 134 w 265"/>
                  <a:gd name="T107" fmla="*/ 11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5" h="118">
                    <a:moveTo>
                      <a:pt x="134" y="111"/>
                    </a:moveTo>
                    <a:lnTo>
                      <a:pt x="146" y="108"/>
                    </a:lnTo>
                    <a:lnTo>
                      <a:pt x="168" y="106"/>
                    </a:lnTo>
                    <a:lnTo>
                      <a:pt x="184" y="106"/>
                    </a:lnTo>
                    <a:lnTo>
                      <a:pt x="204" y="102"/>
                    </a:lnTo>
                    <a:lnTo>
                      <a:pt x="209" y="117"/>
                    </a:lnTo>
                    <a:lnTo>
                      <a:pt x="218" y="108"/>
                    </a:lnTo>
                    <a:lnTo>
                      <a:pt x="227" y="99"/>
                    </a:lnTo>
                    <a:lnTo>
                      <a:pt x="241" y="96"/>
                    </a:lnTo>
                    <a:lnTo>
                      <a:pt x="247" y="106"/>
                    </a:lnTo>
                    <a:lnTo>
                      <a:pt x="264" y="107"/>
                    </a:lnTo>
                    <a:lnTo>
                      <a:pt x="261" y="88"/>
                    </a:lnTo>
                    <a:lnTo>
                      <a:pt x="253" y="69"/>
                    </a:lnTo>
                    <a:lnTo>
                      <a:pt x="247" y="50"/>
                    </a:lnTo>
                    <a:lnTo>
                      <a:pt x="252" y="44"/>
                    </a:lnTo>
                    <a:lnTo>
                      <a:pt x="241" y="32"/>
                    </a:lnTo>
                    <a:lnTo>
                      <a:pt x="228" y="12"/>
                    </a:lnTo>
                    <a:lnTo>
                      <a:pt x="210" y="14"/>
                    </a:lnTo>
                    <a:lnTo>
                      <a:pt x="202" y="23"/>
                    </a:lnTo>
                    <a:lnTo>
                      <a:pt x="173" y="25"/>
                    </a:lnTo>
                    <a:lnTo>
                      <a:pt x="161" y="26"/>
                    </a:lnTo>
                    <a:lnTo>
                      <a:pt x="146" y="19"/>
                    </a:lnTo>
                    <a:lnTo>
                      <a:pt x="135" y="19"/>
                    </a:lnTo>
                    <a:lnTo>
                      <a:pt x="125" y="7"/>
                    </a:lnTo>
                    <a:lnTo>
                      <a:pt x="112" y="0"/>
                    </a:lnTo>
                    <a:lnTo>
                      <a:pt x="98" y="7"/>
                    </a:lnTo>
                    <a:lnTo>
                      <a:pt x="78" y="9"/>
                    </a:lnTo>
                    <a:lnTo>
                      <a:pt x="64" y="14"/>
                    </a:lnTo>
                    <a:lnTo>
                      <a:pt x="45" y="15"/>
                    </a:lnTo>
                    <a:lnTo>
                      <a:pt x="34" y="15"/>
                    </a:lnTo>
                    <a:lnTo>
                      <a:pt x="19" y="21"/>
                    </a:lnTo>
                    <a:lnTo>
                      <a:pt x="29" y="26"/>
                    </a:lnTo>
                    <a:lnTo>
                      <a:pt x="18" y="32"/>
                    </a:lnTo>
                    <a:lnTo>
                      <a:pt x="14" y="39"/>
                    </a:lnTo>
                    <a:lnTo>
                      <a:pt x="5" y="48"/>
                    </a:lnTo>
                    <a:lnTo>
                      <a:pt x="3" y="56"/>
                    </a:lnTo>
                    <a:lnTo>
                      <a:pt x="0" y="63"/>
                    </a:lnTo>
                    <a:lnTo>
                      <a:pt x="7" y="65"/>
                    </a:lnTo>
                    <a:lnTo>
                      <a:pt x="6" y="74"/>
                    </a:lnTo>
                    <a:lnTo>
                      <a:pt x="11" y="78"/>
                    </a:lnTo>
                    <a:lnTo>
                      <a:pt x="11" y="88"/>
                    </a:lnTo>
                    <a:lnTo>
                      <a:pt x="16" y="95"/>
                    </a:lnTo>
                    <a:lnTo>
                      <a:pt x="22" y="94"/>
                    </a:lnTo>
                    <a:lnTo>
                      <a:pt x="24" y="101"/>
                    </a:lnTo>
                    <a:lnTo>
                      <a:pt x="36" y="105"/>
                    </a:lnTo>
                    <a:lnTo>
                      <a:pt x="44" y="114"/>
                    </a:lnTo>
                    <a:lnTo>
                      <a:pt x="54" y="111"/>
                    </a:lnTo>
                    <a:lnTo>
                      <a:pt x="60" y="107"/>
                    </a:lnTo>
                    <a:lnTo>
                      <a:pt x="68" y="100"/>
                    </a:lnTo>
                    <a:lnTo>
                      <a:pt x="84" y="111"/>
                    </a:lnTo>
                    <a:lnTo>
                      <a:pt x="102" y="113"/>
                    </a:lnTo>
                    <a:lnTo>
                      <a:pt x="121" y="110"/>
                    </a:lnTo>
                    <a:lnTo>
                      <a:pt x="129" y="110"/>
                    </a:lnTo>
                    <a:lnTo>
                      <a:pt x="134" y="111"/>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88" name="Freeform 269">
                <a:extLst>
                  <a:ext uri="{FF2B5EF4-FFF2-40B4-BE49-F238E27FC236}">
                    <a16:creationId xmlns:a16="http://schemas.microsoft.com/office/drawing/2014/main" id="{BE5D8564-7AD5-B07B-0B6A-AA8DE374561B}"/>
                  </a:ext>
                </a:extLst>
              </p:cNvPr>
              <p:cNvSpPr>
                <a:spLocks/>
              </p:cNvSpPr>
              <p:nvPr/>
            </p:nvSpPr>
            <p:spPr bwMode="auto">
              <a:xfrm>
                <a:off x="5410455" y="1673584"/>
                <a:ext cx="3268301" cy="1227203"/>
              </a:xfrm>
              <a:custGeom>
                <a:avLst/>
                <a:gdLst>
                  <a:gd name="T0" fmla="*/ 354 w 2085"/>
                  <a:gd name="T1" fmla="*/ 571 h 783"/>
                  <a:gd name="T2" fmla="*/ 487 w 2085"/>
                  <a:gd name="T3" fmla="*/ 613 h 783"/>
                  <a:gd name="T4" fmla="*/ 575 w 2085"/>
                  <a:gd name="T5" fmla="*/ 567 h 783"/>
                  <a:gd name="T6" fmla="*/ 718 w 2085"/>
                  <a:gd name="T7" fmla="*/ 589 h 783"/>
                  <a:gd name="T8" fmla="*/ 848 w 2085"/>
                  <a:gd name="T9" fmla="*/ 670 h 783"/>
                  <a:gd name="T10" fmla="*/ 953 w 2085"/>
                  <a:gd name="T11" fmla="*/ 648 h 783"/>
                  <a:gd name="T12" fmla="*/ 1049 w 2085"/>
                  <a:gd name="T13" fmla="*/ 634 h 783"/>
                  <a:gd name="T14" fmla="*/ 1189 w 2085"/>
                  <a:gd name="T15" fmla="*/ 638 h 783"/>
                  <a:gd name="T16" fmla="*/ 1259 w 2085"/>
                  <a:gd name="T17" fmla="*/ 578 h 783"/>
                  <a:gd name="T18" fmla="*/ 1409 w 2085"/>
                  <a:gd name="T19" fmla="*/ 667 h 783"/>
                  <a:gd name="T20" fmla="*/ 1463 w 2085"/>
                  <a:gd name="T21" fmla="*/ 744 h 783"/>
                  <a:gd name="T22" fmla="*/ 1531 w 2085"/>
                  <a:gd name="T23" fmla="*/ 701 h 783"/>
                  <a:gd name="T24" fmla="*/ 1482 w 2085"/>
                  <a:gd name="T25" fmla="*/ 573 h 783"/>
                  <a:gd name="T26" fmla="*/ 1537 w 2085"/>
                  <a:gd name="T27" fmla="*/ 452 h 783"/>
                  <a:gd name="T28" fmla="*/ 1683 w 2085"/>
                  <a:gd name="T29" fmla="*/ 408 h 783"/>
                  <a:gd name="T30" fmla="*/ 1773 w 2085"/>
                  <a:gd name="T31" fmla="*/ 421 h 783"/>
                  <a:gd name="T32" fmla="*/ 1751 w 2085"/>
                  <a:gd name="T33" fmla="*/ 604 h 783"/>
                  <a:gd name="T34" fmla="*/ 1814 w 2085"/>
                  <a:gd name="T35" fmla="*/ 509 h 783"/>
                  <a:gd name="T36" fmla="*/ 1785 w 2085"/>
                  <a:gd name="T37" fmla="*/ 478 h 783"/>
                  <a:gd name="T38" fmla="*/ 1785 w 2085"/>
                  <a:gd name="T39" fmla="*/ 462 h 783"/>
                  <a:gd name="T40" fmla="*/ 1797 w 2085"/>
                  <a:gd name="T41" fmla="*/ 439 h 783"/>
                  <a:gd name="T42" fmla="*/ 1895 w 2085"/>
                  <a:gd name="T43" fmla="*/ 405 h 783"/>
                  <a:gd name="T44" fmla="*/ 1929 w 2085"/>
                  <a:gd name="T45" fmla="*/ 332 h 783"/>
                  <a:gd name="T46" fmla="*/ 2005 w 2085"/>
                  <a:gd name="T47" fmla="*/ 313 h 783"/>
                  <a:gd name="T48" fmla="*/ 2070 w 2085"/>
                  <a:gd name="T49" fmla="*/ 305 h 783"/>
                  <a:gd name="T50" fmla="*/ 1997 w 2085"/>
                  <a:gd name="T51" fmla="*/ 260 h 783"/>
                  <a:gd name="T52" fmla="*/ 1865 w 2085"/>
                  <a:gd name="T53" fmla="*/ 201 h 783"/>
                  <a:gd name="T54" fmla="*/ 1722 w 2085"/>
                  <a:gd name="T55" fmla="*/ 199 h 783"/>
                  <a:gd name="T56" fmla="*/ 1571 w 2085"/>
                  <a:gd name="T57" fmla="*/ 180 h 783"/>
                  <a:gd name="T58" fmla="*/ 1409 w 2085"/>
                  <a:gd name="T59" fmla="*/ 136 h 783"/>
                  <a:gd name="T60" fmla="*/ 1312 w 2085"/>
                  <a:gd name="T61" fmla="*/ 165 h 783"/>
                  <a:gd name="T62" fmla="*/ 1233 w 2085"/>
                  <a:gd name="T63" fmla="*/ 136 h 783"/>
                  <a:gd name="T64" fmla="*/ 1020 w 2085"/>
                  <a:gd name="T65" fmla="*/ 107 h 783"/>
                  <a:gd name="T66" fmla="*/ 1024 w 2085"/>
                  <a:gd name="T67" fmla="*/ 51 h 783"/>
                  <a:gd name="T68" fmla="*/ 892 w 2085"/>
                  <a:gd name="T69" fmla="*/ 0 h 783"/>
                  <a:gd name="T70" fmla="*/ 806 w 2085"/>
                  <a:gd name="T71" fmla="*/ 53 h 783"/>
                  <a:gd name="T72" fmla="*/ 689 w 2085"/>
                  <a:gd name="T73" fmla="*/ 75 h 783"/>
                  <a:gd name="T74" fmla="*/ 642 w 2085"/>
                  <a:gd name="T75" fmla="*/ 142 h 783"/>
                  <a:gd name="T76" fmla="*/ 607 w 2085"/>
                  <a:gd name="T77" fmla="*/ 144 h 783"/>
                  <a:gd name="T78" fmla="*/ 554 w 2085"/>
                  <a:gd name="T79" fmla="*/ 137 h 783"/>
                  <a:gd name="T80" fmla="*/ 591 w 2085"/>
                  <a:gd name="T81" fmla="*/ 210 h 783"/>
                  <a:gd name="T82" fmla="*/ 627 w 2085"/>
                  <a:gd name="T83" fmla="*/ 256 h 783"/>
                  <a:gd name="T84" fmla="*/ 548 w 2085"/>
                  <a:gd name="T85" fmla="*/ 291 h 783"/>
                  <a:gd name="T86" fmla="*/ 559 w 2085"/>
                  <a:gd name="T87" fmla="*/ 256 h 783"/>
                  <a:gd name="T88" fmla="*/ 561 w 2085"/>
                  <a:gd name="T89" fmla="*/ 243 h 783"/>
                  <a:gd name="T90" fmla="*/ 554 w 2085"/>
                  <a:gd name="T91" fmla="*/ 225 h 783"/>
                  <a:gd name="T92" fmla="*/ 517 w 2085"/>
                  <a:gd name="T93" fmla="*/ 109 h 783"/>
                  <a:gd name="T94" fmla="*/ 499 w 2085"/>
                  <a:gd name="T95" fmla="*/ 228 h 783"/>
                  <a:gd name="T96" fmla="*/ 401 w 2085"/>
                  <a:gd name="T97" fmla="*/ 218 h 783"/>
                  <a:gd name="T98" fmla="*/ 314 w 2085"/>
                  <a:gd name="T99" fmla="*/ 233 h 783"/>
                  <a:gd name="T100" fmla="*/ 208 w 2085"/>
                  <a:gd name="T101" fmla="*/ 237 h 783"/>
                  <a:gd name="T102" fmla="*/ 166 w 2085"/>
                  <a:gd name="T103" fmla="*/ 298 h 783"/>
                  <a:gd name="T104" fmla="*/ 109 w 2085"/>
                  <a:gd name="T105" fmla="*/ 322 h 783"/>
                  <a:gd name="T106" fmla="*/ 80 w 2085"/>
                  <a:gd name="T107" fmla="*/ 289 h 783"/>
                  <a:gd name="T108" fmla="*/ 100 w 2085"/>
                  <a:gd name="T109" fmla="*/ 233 h 783"/>
                  <a:gd name="T110" fmla="*/ 20 w 2085"/>
                  <a:gd name="T111" fmla="*/ 311 h 783"/>
                  <a:gd name="T112" fmla="*/ 8 w 2085"/>
                  <a:gd name="T113" fmla="*/ 427 h 783"/>
                  <a:gd name="T114" fmla="*/ 69 w 2085"/>
                  <a:gd name="T115" fmla="*/ 584 h 783"/>
                  <a:gd name="T116" fmla="*/ 138 w 2085"/>
                  <a:gd name="T117" fmla="*/ 740 h 783"/>
                  <a:gd name="T118" fmla="*/ 285 w 2085"/>
                  <a:gd name="T119" fmla="*/ 773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85" h="783">
                    <a:moveTo>
                      <a:pt x="304" y="721"/>
                    </a:moveTo>
                    <a:lnTo>
                      <a:pt x="316" y="709"/>
                    </a:lnTo>
                    <a:lnTo>
                      <a:pt x="322" y="683"/>
                    </a:lnTo>
                    <a:lnTo>
                      <a:pt x="336" y="668"/>
                    </a:lnTo>
                    <a:lnTo>
                      <a:pt x="334" y="649"/>
                    </a:lnTo>
                    <a:lnTo>
                      <a:pt x="317" y="639"/>
                    </a:lnTo>
                    <a:lnTo>
                      <a:pt x="310" y="622"/>
                    </a:lnTo>
                    <a:lnTo>
                      <a:pt x="354" y="571"/>
                    </a:lnTo>
                    <a:lnTo>
                      <a:pt x="370" y="589"/>
                    </a:lnTo>
                    <a:lnTo>
                      <a:pt x="376" y="576"/>
                    </a:lnTo>
                    <a:lnTo>
                      <a:pt x="395" y="571"/>
                    </a:lnTo>
                    <a:lnTo>
                      <a:pt x="411" y="575"/>
                    </a:lnTo>
                    <a:lnTo>
                      <a:pt x="440" y="576"/>
                    </a:lnTo>
                    <a:lnTo>
                      <a:pt x="475" y="599"/>
                    </a:lnTo>
                    <a:lnTo>
                      <a:pt x="474" y="608"/>
                    </a:lnTo>
                    <a:lnTo>
                      <a:pt x="487" y="613"/>
                    </a:lnTo>
                    <a:lnTo>
                      <a:pt x="506" y="612"/>
                    </a:lnTo>
                    <a:lnTo>
                      <a:pt x="532" y="626"/>
                    </a:lnTo>
                    <a:lnTo>
                      <a:pt x="546" y="631"/>
                    </a:lnTo>
                    <a:lnTo>
                      <a:pt x="553" y="623"/>
                    </a:lnTo>
                    <a:lnTo>
                      <a:pt x="546" y="605"/>
                    </a:lnTo>
                    <a:lnTo>
                      <a:pt x="562" y="596"/>
                    </a:lnTo>
                    <a:lnTo>
                      <a:pt x="579" y="589"/>
                    </a:lnTo>
                    <a:lnTo>
                      <a:pt x="575" y="567"/>
                    </a:lnTo>
                    <a:lnTo>
                      <a:pt x="585" y="566"/>
                    </a:lnTo>
                    <a:lnTo>
                      <a:pt x="604" y="571"/>
                    </a:lnTo>
                    <a:lnTo>
                      <a:pt x="640" y="574"/>
                    </a:lnTo>
                    <a:lnTo>
                      <a:pt x="661" y="569"/>
                    </a:lnTo>
                    <a:lnTo>
                      <a:pt x="689" y="564"/>
                    </a:lnTo>
                    <a:lnTo>
                      <a:pt x="701" y="575"/>
                    </a:lnTo>
                    <a:lnTo>
                      <a:pt x="703" y="587"/>
                    </a:lnTo>
                    <a:lnTo>
                      <a:pt x="718" y="589"/>
                    </a:lnTo>
                    <a:lnTo>
                      <a:pt x="741" y="580"/>
                    </a:lnTo>
                    <a:lnTo>
                      <a:pt x="759" y="580"/>
                    </a:lnTo>
                    <a:lnTo>
                      <a:pt x="781" y="621"/>
                    </a:lnTo>
                    <a:lnTo>
                      <a:pt x="796" y="622"/>
                    </a:lnTo>
                    <a:lnTo>
                      <a:pt x="803" y="633"/>
                    </a:lnTo>
                    <a:lnTo>
                      <a:pt x="826" y="642"/>
                    </a:lnTo>
                    <a:lnTo>
                      <a:pt x="840" y="677"/>
                    </a:lnTo>
                    <a:lnTo>
                      <a:pt x="848" y="670"/>
                    </a:lnTo>
                    <a:lnTo>
                      <a:pt x="867" y="665"/>
                    </a:lnTo>
                    <a:lnTo>
                      <a:pt x="910" y="661"/>
                    </a:lnTo>
                    <a:lnTo>
                      <a:pt x="914" y="667"/>
                    </a:lnTo>
                    <a:lnTo>
                      <a:pt x="930" y="670"/>
                    </a:lnTo>
                    <a:lnTo>
                      <a:pt x="936" y="676"/>
                    </a:lnTo>
                    <a:lnTo>
                      <a:pt x="965" y="673"/>
                    </a:lnTo>
                    <a:lnTo>
                      <a:pt x="958" y="656"/>
                    </a:lnTo>
                    <a:lnTo>
                      <a:pt x="953" y="648"/>
                    </a:lnTo>
                    <a:lnTo>
                      <a:pt x="965" y="647"/>
                    </a:lnTo>
                    <a:lnTo>
                      <a:pt x="965" y="623"/>
                    </a:lnTo>
                    <a:lnTo>
                      <a:pt x="965" y="596"/>
                    </a:lnTo>
                    <a:lnTo>
                      <a:pt x="992" y="607"/>
                    </a:lnTo>
                    <a:lnTo>
                      <a:pt x="1009" y="607"/>
                    </a:lnTo>
                    <a:lnTo>
                      <a:pt x="1022" y="621"/>
                    </a:lnTo>
                    <a:lnTo>
                      <a:pt x="1028" y="634"/>
                    </a:lnTo>
                    <a:lnTo>
                      <a:pt x="1049" y="634"/>
                    </a:lnTo>
                    <a:lnTo>
                      <a:pt x="1081" y="635"/>
                    </a:lnTo>
                    <a:lnTo>
                      <a:pt x="1098" y="645"/>
                    </a:lnTo>
                    <a:lnTo>
                      <a:pt x="1112" y="649"/>
                    </a:lnTo>
                    <a:lnTo>
                      <a:pt x="1115" y="661"/>
                    </a:lnTo>
                    <a:lnTo>
                      <a:pt x="1153" y="655"/>
                    </a:lnTo>
                    <a:lnTo>
                      <a:pt x="1159" y="645"/>
                    </a:lnTo>
                    <a:lnTo>
                      <a:pt x="1172" y="653"/>
                    </a:lnTo>
                    <a:lnTo>
                      <a:pt x="1189" y="638"/>
                    </a:lnTo>
                    <a:lnTo>
                      <a:pt x="1203" y="637"/>
                    </a:lnTo>
                    <a:lnTo>
                      <a:pt x="1215" y="644"/>
                    </a:lnTo>
                    <a:lnTo>
                      <a:pt x="1226" y="655"/>
                    </a:lnTo>
                    <a:lnTo>
                      <a:pt x="1246" y="655"/>
                    </a:lnTo>
                    <a:lnTo>
                      <a:pt x="1249" y="628"/>
                    </a:lnTo>
                    <a:lnTo>
                      <a:pt x="1260" y="618"/>
                    </a:lnTo>
                    <a:lnTo>
                      <a:pt x="1251" y="593"/>
                    </a:lnTo>
                    <a:lnTo>
                      <a:pt x="1259" y="578"/>
                    </a:lnTo>
                    <a:lnTo>
                      <a:pt x="1320" y="579"/>
                    </a:lnTo>
                    <a:lnTo>
                      <a:pt x="1334" y="595"/>
                    </a:lnTo>
                    <a:lnTo>
                      <a:pt x="1348" y="607"/>
                    </a:lnTo>
                    <a:lnTo>
                      <a:pt x="1359" y="621"/>
                    </a:lnTo>
                    <a:lnTo>
                      <a:pt x="1362" y="638"/>
                    </a:lnTo>
                    <a:lnTo>
                      <a:pt x="1373" y="651"/>
                    </a:lnTo>
                    <a:lnTo>
                      <a:pt x="1398" y="656"/>
                    </a:lnTo>
                    <a:lnTo>
                      <a:pt x="1409" y="667"/>
                    </a:lnTo>
                    <a:lnTo>
                      <a:pt x="1421" y="675"/>
                    </a:lnTo>
                    <a:lnTo>
                      <a:pt x="1427" y="684"/>
                    </a:lnTo>
                    <a:lnTo>
                      <a:pt x="1442" y="685"/>
                    </a:lnTo>
                    <a:lnTo>
                      <a:pt x="1467" y="681"/>
                    </a:lnTo>
                    <a:lnTo>
                      <a:pt x="1472" y="688"/>
                    </a:lnTo>
                    <a:lnTo>
                      <a:pt x="1475" y="701"/>
                    </a:lnTo>
                    <a:lnTo>
                      <a:pt x="1464" y="708"/>
                    </a:lnTo>
                    <a:lnTo>
                      <a:pt x="1463" y="744"/>
                    </a:lnTo>
                    <a:lnTo>
                      <a:pt x="1449" y="742"/>
                    </a:lnTo>
                    <a:lnTo>
                      <a:pt x="1442" y="757"/>
                    </a:lnTo>
                    <a:lnTo>
                      <a:pt x="1442" y="773"/>
                    </a:lnTo>
                    <a:lnTo>
                      <a:pt x="1457" y="776"/>
                    </a:lnTo>
                    <a:lnTo>
                      <a:pt x="1475" y="782"/>
                    </a:lnTo>
                    <a:lnTo>
                      <a:pt x="1498" y="764"/>
                    </a:lnTo>
                    <a:lnTo>
                      <a:pt x="1516" y="735"/>
                    </a:lnTo>
                    <a:lnTo>
                      <a:pt x="1531" y="701"/>
                    </a:lnTo>
                    <a:lnTo>
                      <a:pt x="1544" y="667"/>
                    </a:lnTo>
                    <a:lnTo>
                      <a:pt x="1537" y="634"/>
                    </a:lnTo>
                    <a:lnTo>
                      <a:pt x="1542" y="624"/>
                    </a:lnTo>
                    <a:lnTo>
                      <a:pt x="1538" y="588"/>
                    </a:lnTo>
                    <a:lnTo>
                      <a:pt x="1523" y="566"/>
                    </a:lnTo>
                    <a:lnTo>
                      <a:pt x="1499" y="558"/>
                    </a:lnTo>
                    <a:lnTo>
                      <a:pt x="1492" y="572"/>
                    </a:lnTo>
                    <a:lnTo>
                      <a:pt x="1482" y="573"/>
                    </a:lnTo>
                    <a:lnTo>
                      <a:pt x="1480" y="560"/>
                    </a:lnTo>
                    <a:lnTo>
                      <a:pt x="1457" y="548"/>
                    </a:lnTo>
                    <a:lnTo>
                      <a:pt x="1453" y="537"/>
                    </a:lnTo>
                    <a:lnTo>
                      <a:pt x="1467" y="523"/>
                    </a:lnTo>
                    <a:lnTo>
                      <a:pt x="1483" y="497"/>
                    </a:lnTo>
                    <a:lnTo>
                      <a:pt x="1492" y="478"/>
                    </a:lnTo>
                    <a:lnTo>
                      <a:pt x="1503" y="461"/>
                    </a:lnTo>
                    <a:lnTo>
                      <a:pt x="1537" y="452"/>
                    </a:lnTo>
                    <a:lnTo>
                      <a:pt x="1564" y="450"/>
                    </a:lnTo>
                    <a:lnTo>
                      <a:pt x="1602" y="454"/>
                    </a:lnTo>
                    <a:lnTo>
                      <a:pt x="1610" y="439"/>
                    </a:lnTo>
                    <a:lnTo>
                      <a:pt x="1637" y="446"/>
                    </a:lnTo>
                    <a:lnTo>
                      <a:pt x="1637" y="455"/>
                    </a:lnTo>
                    <a:lnTo>
                      <a:pt x="1675" y="450"/>
                    </a:lnTo>
                    <a:lnTo>
                      <a:pt x="1677" y="432"/>
                    </a:lnTo>
                    <a:lnTo>
                      <a:pt x="1683" y="408"/>
                    </a:lnTo>
                    <a:lnTo>
                      <a:pt x="1691" y="394"/>
                    </a:lnTo>
                    <a:lnTo>
                      <a:pt x="1728" y="394"/>
                    </a:lnTo>
                    <a:lnTo>
                      <a:pt x="1741" y="410"/>
                    </a:lnTo>
                    <a:lnTo>
                      <a:pt x="1749" y="413"/>
                    </a:lnTo>
                    <a:lnTo>
                      <a:pt x="1762" y="391"/>
                    </a:lnTo>
                    <a:lnTo>
                      <a:pt x="1771" y="387"/>
                    </a:lnTo>
                    <a:lnTo>
                      <a:pt x="1781" y="405"/>
                    </a:lnTo>
                    <a:lnTo>
                      <a:pt x="1773" y="421"/>
                    </a:lnTo>
                    <a:lnTo>
                      <a:pt x="1753" y="437"/>
                    </a:lnTo>
                    <a:lnTo>
                      <a:pt x="1736" y="463"/>
                    </a:lnTo>
                    <a:lnTo>
                      <a:pt x="1720" y="483"/>
                    </a:lnTo>
                    <a:lnTo>
                      <a:pt x="1718" y="512"/>
                    </a:lnTo>
                    <a:lnTo>
                      <a:pt x="1722" y="543"/>
                    </a:lnTo>
                    <a:lnTo>
                      <a:pt x="1734" y="564"/>
                    </a:lnTo>
                    <a:lnTo>
                      <a:pt x="1741" y="589"/>
                    </a:lnTo>
                    <a:lnTo>
                      <a:pt x="1751" y="604"/>
                    </a:lnTo>
                    <a:lnTo>
                      <a:pt x="1763" y="612"/>
                    </a:lnTo>
                    <a:lnTo>
                      <a:pt x="1777" y="589"/>
                    </a:lnTo>
                    <a:lnTo>
                      <a:pt x="1791" y="561"/>
                    </a:lnTo>
                    <a:lnTo>
                      <a:pt x="1791" y="545"/>
                    </a:lnTo>
                    <a:lnTo>
                      <a:pt x="1805" y="545"/>
                    </a:lnTo>
                    <a:lnTo>
                      <a:pt x="1803" y="526"/>
                    </a:lnTo>
                    <a:lnTo>
                      <a:pt x="1805" y="511"/>
                    </a:lnTo>
                    <a:lnTo>
                      <a:pt x="1814" y="509"/>
                    </a:lnTo>
                    <a:lnTo>
                      <a:pt x="1808" y="498"/>
                    </a:lnTo>
                    <a:lnTo>
                      <a:pt x="1792" y="480"/>
                    </a:lnTo>
                    <a:lnTo>
                      <a:pt x="1790" y="480"/>
                    </a:lnTo>
                    <a:lnTo>
                      <a:pt x="1789" y="480"/>
                    </a:lnTo>
                    <a:lnTo>
                      <a:pt x="1788" y="480"/>
                    </a:lnTo>
                    <a:lnTo>
                      <a:pt x="1787" y="479"/>
                    </a:lnTo>
                    <a:lnTo>
                      <a:pt x="1786" y="478"/>
                    </a:lnTo>
                    <a:lnTo>
                      <a:pt x="1785" y="478"/>
                    </a:lnTo>
                    <a:lnTo>
                      <a:pt x="1785" y="477"/>
                    </a:lnTo>
                    <a:lnTo>
                      <a:pt x="1783" y="476"/>
                    </a:lnTo>
                    <a:lnTo>
                      <a:pt x="1783" y="475"/>
                    </a:lnTo>
                    <a:lnTo>
                      <a:pt x="1783" y="472"/>
                    </a:lnTo>
                    <a:lnTo>
                      <a:pt x="1783" y="469"/>
                    </a:lnTo>
                    <a:lnTo>
                      <a:pt x="1784" y="467"/>
                    </a:lnTo>
                    <a:lnTo>
                      <a:pt x="1784" y="465"/>
                    </a:lnTo>
                    <a:lnTo>
                      <a:pt x="1785" y="462"/>
                    </a:lnTo>
                    <a:lnTo>
                      <a:pt x="1785" y="460"/>
                    </a:lnTo>
                    <a:lnTo>
                      <a:pt x="1786" y="458"/>
                    </a:lnTo>
                    <a:lnTo>
                      <a:pt x="1787" y="455"/>
                    </a:lnTo>
                    <a:lnTo>
                      <a:pt x="1787" y="454"/>
                    </a:lnTo>
                    <a:lnTo>
                      <a:pt x="1787" y="452"/>
                    </a:lnTo>
                    <a:lnTo>
                      <a:pt x="1787" y="451"/>
                    </a:lnTo>
                    <a:lnTo>
                      <a:pt x="1788" y="450"/>
                    </a:lnTo>
                    <a:lnTo>
                      <a:pt x="1797" y="439"/>
                    </a:lnTo>
                    <a:lnTo>
                      <a:pt x="1820" y="428"/>
                    </a:lnTo>
                    <a:lnTo>
                      <a:pt x="1832" y="419"/>
                    </a:lnTo>
                    <a:lnTo>
                      <a:pt x="1851" y="416"/>
                    </a:lnTo>
                    <a:lnTo>
                      <a:pt x="1862" y="419"/>
                    </a:lnTo>
                    <a:lnTo>
                      <a:pt x="1872" y="432"/>
                    </a:lnTo>
                    <a:lnTo>
                      <a:pt x="1880" y="438"/>
                    </a:lnTo>
                    <a:lnTo>
                      <a:pt x="1887" y="412"/>
                    </a:lnTo>
                    <a:lnTo>
                      <a:pt x="1895" y="405"/>
                    </a:lnTo>
                    <a:lnTo>
                      <a:pt x="1898" y="391"/>
                    </a:lnTo>
                    <a:lnTo>
                      <a:pt x="1918" y="392"/>
                    </a:lnTo>
                    <a:lnTo>
                      <a:pt x="1937" y="378"/>
                    </a:lnTo>
                    <a:lnTo>
                      <a:pt x="1948" y="376"/>
                    </a:lnTo>
                    <a:lnTo>
                      <a:pt x="1969" y="384"/>
                    </a:lnTo>
                    <a:lnTo>
                      <a:pt x="1974" y="373"/>
                    </a:lnTo>
                    <a:lnTo>
                      <a:pt x="1955" y="349"/>
                    </a:lnTo>
                    <a:lnTo>
                      <a:pt x="1929" y="332"/>
                    </a:lnTo>
                    <a:lnTo>
                      <a:pt x="1939" y="323"/>
                    </a:lnTo>
                    <a:lnTo>
                      <a:pt x="1957" y="311"/>
                    </a:lnTo>
                    <a:lnTo>
                      <a:pt x="1950" y="302"/>
                    </a:lnTo>
                    <a:lnTo>
                      <a:pt x="1950" y="286"/>
                    </a:lnTo>
                    <a:lnTo>
                      <a:pt x="1967" y="281"/>
                    </a:lnTo>
                    <a:lnTo>
                      <a:pt x="1973" y="298"/>
                    </a:lnTo>
                    <a:lnTo>
                      <a:pt x="1978" y="311"/>
                    </a:lnTo>
                    <a:lnTo>
                      <a:pt x="2005" y="313"/>
                    </a:lnTo>
                    <a:lnTo>
                      <a:pt x="2016" y="325"/>
                    </a:lnTo>
                    <a:lnTo>
                      <a:pt x="2035" y="326"/>
                    </a:lnTo>
                    <a:lnTo>
                      <a:pt x="2046" y="341"/>
                    </a:lnTo>
                    <a:lnTo>
                      <a:pt x="2055" y="344"/>
                    </a:lnTo>
                    <a:lnTo>
                      <a:pt x="2068" y="332"/>
                    </a:lnTo>
                    <a:lnTo>
                      <a:pt x="2055" y="317"/>
                    </a:lnTo>
                    <a:lnTo>
                      <a:pt x="2059" y="305"/>
                    </a:lnTo>
                    <a:lnTo>
                      <a:pt x="2070" y="305"/>
                    </a:lnTo>
                    <a:lnTo>
                      <a:pt x="2081" y="300"/>
                    </a:lnTo>
                    <a:lnTo>
                      <a:pt x="2084" y="282"/>
                    </a:lnTo>
                    <a:lnTo>
                      <a:pt x="2057" y="282"/>
                    </a:lnTo>
                    <a:lnTo>
                      <a:pt x="2041" y="271"/>
                    </a:lnTo>
                    <a:lnTo>
                      <a:pt x="2018" y="275"/>
                    </a:lnTo>
                    <a:lnTo>
                      <a:pt x="2012" y="284"/>
                    </a:lnTo>
                    <a:lnTo>
                      <a:pt x="2003" y="268"/>
                    </a:lnTo>
                    <a:lnTo>
                      <a:pt x="1997" y="260"/>
                    </a:lnTo>
                    <a:lnTo>
                      <a:pt x="1976" y="254"/>
                    </a:lnTo>
                    <a:lnTo>
                      <a:pt x="1973" y="242"/>
                    </a:lnTo>
                    <a:lnTo>
                      <a:pt x="1944" y="242"/>
                    </a:lnTo>
                    <a:lnTo>
                      <a:pt x="1931" y="227"/>
                    </a:lnTo>
                    <a:lnTo>
                      <a:pt x="1912" y="216"/>
                    </a:lnTo>
                    <a:lnTo>
                      <a:pt x="1894" y="215"/>
                    </a:lnTo>
                    <a:lnTo>
                      <a:pt x="1874" y="207"/>
                    </a:lnTo>
                    <a:lnTo>
                      <a:pt x="1865" y="201"/>
                    </a:lnTo>
                    <a:lnTo>
                      <a:pt x="1846" y="194"/>
                    </a:lnTo>
                    <a:lnTo>
                      <a:pt x="1819" y="194"/>
                    </a:lnTo>
                    <a:lnTo>
                      <a:pt x="1787" y="191"/>
                    </a:lnTo>
                    <a:lnTo>
                      <a:pt x="1783" y="210"/>
                    </a:lnTo>
                    <a:lnTo>
                      <a:pt x="1768" y="213"/>
                    </a:lnTo>
                    <a:lnTo>
                      <a:pt x="1759" y="204"/>
                    </a:lnTo>
                    <a:lnTo>
                      <a:pt x="1743" y="207"/>
                    </a:lnTo>
                    <a:lnTo>
                      <a:pt x="1722" y="199"/>
                    </a:lnTo>
                    <a:lnTo>
                      <a:pt x="1687" y="204"/>
                    </a:lnTo>
                    <a:lnTo>
                      <a:pt x="1679" y="216"/>
                    </a:lnTo>
                    <a:lnTo>
                      <a:pt x="1667" y="212"/>
                    </a:lnTo>
                    <a:lnTo>
                      <a:pt x="1650" y="198"/>
                    </a:lnTo>
                    <a:lnTo>
                      <a:pt x="1634" y="181"/>
                    </a:lnTo>
                    <a:lnTo>
                      <a:pt x="1594" y="172"/>
                    </a:lnTo>
                    <a:lnTo>
                      <a:pt x="1581" y="176"/>
                    </a:lnTo>
                    <a:lnTo>
                      <a:pt x="1571" y="180"/>
                    </a:lnTo>
                    <a:lnTo>
                      <a:pt x="1549" y="176"/>
                    </a:lnTo>
                    <a:lnTo>
                      <a:pt x="1522" y="162"/>
                    </a:lnTo>
                    <a:lnTo>
                      <a:pt x="1504" y="154"/>
                    </a:lnTo>
                    <a:lnTo>
                      <a:pt x="1501" y="146"/>
                    </a:lnTo>
                    <a:lnTo>
                      <a:pt x="1458" y="146"/>
                    </a:lnTo>
                    <a:lnTo>
                      <a:pt x="1446" y="151"/>
                    </a:lnTo>
                    <a:lnTo>
                      <a:pt x="1433" y="136"/>
                    </a:lnTo>
                    <a:lnTo>
                      <a:pt x="1409" y="136"/>
                    </a:lnTo>
                    <a:lnTo>
                      <a:pt x="1399" y="123"/>
                    </a:lnTo>
                    <a:lnTo>
                      <a:pt x="1386" y="131"/>
                    </a:lnTo>
                    <a:lnTo>
                      <a:pt x="1373" y="140"/>
                    </a:lnTo>
                    <a:lnTo>
                      <a:pt x="1381" y="159"/>
                    </a:lnTo>
                    <a:lnTo>
                      <a:pt x="1363" y="163"/>
                    </a:lnTo>
                    <a:lnTo>
                      <a:pt x="1341" y="159"/>
                    </a:lnTo>
                    <a:lnTo>
                      <a:pt x="1323" y="158"/>
                    </a:lnTo>
                    <a:lnTo>
                      <a:pt x="1312" y="165"/>
                    </a:lnTo>
                    <a:lnTo>
                      <a:pt x="1296" y="157"/>
                    </a:lnTo>
                    <a:lnTo>
                      <a:pt x="1287" y="147"/>
                    </a:lnTo>
                    <a:lnTo>
                      <a:pt x="1285" y="163"/>
                    </a:lnTo>
                    <a:lnTo>
                      <a:pt x="1262" y="165"/>
                    </a:lnTo>
                    <a:lnTo>
                      <a:pt x="1233" y="156"/>
                    </a:lnTo>
                    <a:lnTo>
                      <a:pt x="1215" y="149"/>
                    </a:lnTo>
                    <a:lnTo>
                      <a:pt x="1220" y="140"/>
                    </a:lnTo>
                    <a:lnTo>
                      <a:pt x="1233" y="136"/>
                    </a:lnTo>
                    <a:lnTo>
                      <a:pt x="1223" y="116"/>
                    </a:lnTo>
                    <a:lnTo>
                      <a:pt x="1199" y="107"/>
                    </a:lnTo>
                    <a:lnTo>
                      <a:pt x="1168" y="109"/>
                    </a:lnTo>
                    <a:lnTo>
                      <a:pt x="1159" y="133"/>
                    </a:lnTo>
                    <a:lnTo>
                      <a:pt x="1134" y="125"/>
                    </a:lnTo>
                    <a:lnTo>
                      <a:pt x="1113" y="115"/>
                    </a:lnTo>
                    <a:lnTo>
                      <a:pt x="1081" y="107"/>
                    </a:lnTo>
                    <a:lnTo>
                      <a:pt x="1020" y="107"/>
                    </a:lnTo>
                    <a:lnTo>
                      <a:pt x="999" y="107"/>
                    </a:lnTo>
                    <a:lnTo>
                      <a:pt x="978" y="116"/>
                    </a:lnTo>
                    <a:lnTo>
                      <a:pt x="948" y="126"/>
                    </a:lnTo>
                    <a:lnTo>
                      <a:pt x="964" y="109"/>
                    </a:lnTo>
                    <a:lnTo>
                      <a:pt x="993" y="93"/>
                    </a:lnTo>
                    <a:lnTo>
                      <a:pt x="1005" y="87"/>
                    </a:lnTo>
                    <a:lnTo>
                      <a:pt x="1020" y="72"/>
                    </a:lnTo>
                    <a:lnTo>
                      <a:pt x="1024" y="51"/>
                    </a:lnTo>
                    <a:lnTo>
                      <a:pt x="1003" y="42"/>
                    </a:lnTo>
                    <a:lnTo>
                      <a:pt x="994" y="29"/>
                    </a:lnTo>
                    <a:lnTo>
                      <a:pt x="947" y="25"/>
                    </a:lnTo>
                    <a:lnTo>
                      <a:pt x="938" y="35"/>
                    </a:lnTo>
                    <a:lnTo>
                      <a:pt x="922" y="27"/>
                    </a:lnTo>
                    <a:lnTo>
                      <a:pt x="916" y="15"/>
                    </a:lnTo>
                    <a:lnTo>
                      <a:pt x="903" y="6"/>
                    </a:lnTo>
                    <a:lnTo>
                      <a:pt x="892" y="0"/>
                    </a:lnTo>
                    <a:lnTo>
                      <a:pt x="869" y="9"/>
                    </a:lnTo>
                    <a:lnTo>
                      <a:pt x="863" y="29"/>
                    </a:lnTo>
                    <a:lnTo>
                      <a:pt x="859" y="36"/>
                    </a:lnTo>
                    <a:lnTo>
                      <a:pt x="870" y="40"/>
                    </a:lnTo>
                    <a:lnTo>
                      <a:pt x="853" y="48"/>
                    </a:lnTo>
                    <a:lnTo>
                      <a:pt x="829" y="43"/>
                    </a:lnTo>
                    <a:lnTo>
                      <a:pt x="814" y="46"/>
                    </a:lnTo>
                    <a:lnTo>
                      <a:pt x="806" y="53"/>
                    </a:lnTo>
                    <a:lnTo>
                      <a:pt x="796" y="41"/>
                    </a:lnTo>
                    <a:lnTo>
                      <a:pt x="781" y="47"/>
                    </a:lnTo>
                    <a:lnTo>
                      <a:pt x="770" y="43"/>
                    </a:lnTo>
                    <a:lnTo>
                      <a:pt x="769" y="55"/>
                    </a:lnTo>
                    <a:lnTo>
                      <a:pt x="743" y="57"/>
                    </a:lnTo>
                    <a:lnTo>
                      <a:pt x="721" y="59"/>
                    </a:lnTo>
                    <a:lnTo>
                      <a:pt x="706" y="69"/>
                    </a:lnTo>
                    <a:lnTo>
                      <a:pt x="689" y="75"/>
                    </a:lnTo>
                    <a:lnTo>
                      <a:pt x="689" y="87"/>
                    </a:lnTo>
                    <a:lnTo>
                      <a:pt x="702" y="91"/>
                    </a:lnTo>
                    <a:lnTo>
                      <a:pt x="706" y="107"/>
                    </a:lnTo>
                    <a:lnTo>
                      <a:pt x="683" y="104"/>
                    </a:lnTo>
                    <a:lnTo>
                      <a:pt x="654" y="106"/>
                    </a:lnTo>
                    <a:lnTo>
                      <a:pt x="638" y="112"/>
                    </a:lnTo>
                    <a:lnTo>
                      <a:pt x="634" y="129"/>
                    </a:lnTo>
                    <a:lnTo>
                      <a:pt x="642" y="142"/>
                    </a:lnTo>
                    <a:lnTo>
                      <a:pt x="654" y="143"/>
                    </a:lnTo>
                    <a:lnTo>
                      <a:pt x="664" y="156"/>
                    </a:lnTo>
                    <a:lnTo>
                      <a:pt x="674" y="172"/>
                    </a:lnTo>
                    <a:lnTo>
                      <a:pt x="672" y="184"/>
                    </a:lnTo>
                    <a:lnTo>
                      <a:pt x="651" y="163"/>
                    </a:lnTo>
                    <a:lnTo>
                      <a:pt x="630" y="157"/>
                    </a:lnTo>
                    <a:lnTo>
                      <a:pt x="620" y="143"/>
                    </a:lnTo>
                    <a:lnTo>
                      <a:pt x="607" y="144"/>
                    </a:lnTo>
                    <a:lnTo>
                      <a:pt x="601" y="161"/>
                    </a:lnTo>
                    <a:lnTo>
                      <a:pt x="607" y="170"/>
                    </a:lnTo>
                    <a:lnTo>
                      <a:pt x="609" y="178"/>
                    </a:lnTo>
                    <a:lnTo>
                      <a:pt x="591" y="172"/>
                    </a:lnTo>
                    <a:lnTo>
                      <a:pt x="573" y="157"/>
                    </a:lnTo>
                    <a:lnTo>
                      <a:pt x="571" y="138"/>
                    </a:lnTo>
                    <a:lnTo>
                      <a:pt x="564" y="127"/>
                    </a:lnTo>
                    <a:lnTo>
                      <a:pt x="554" y="137"/>
                    </a:lnTo>
                    <a:lnTo>
                      <a:pt x="557" y="152"/>
                    </a:lnTo>
                    <a:lnTo>
                      <a:pt x="554" y="162"/>
                    </a:lnTo>
                    <a:lnTo>
                      <a:pt x="557" y="172"/>
                    </a:lnTo>
                    <a:lnTo>
                      <a:pt x="564" y="175"/>
                    </a:lnTo>
                    <a:lnTo>
                      <a:pt x="567" y="202"/>
                    </a:lnTo>
                    <a:lnTo>
                      <a:pt x="570" y="216"/>
                    </a:lnTo>
                    <a:lnTo>
                      <a:pt x="588" y="218"/>
                    </a:lnTo>
                    <a:lnTo>
                      <a:pt x="591" y="210"/>
                    </a:lnTo>
                    <a:lnTo>
                      <a:pt x="605" y="216"/>
                    </a:lnTo>
                    <a:lnTo>
                      <a:pt x="614" y="220"/>
                    </a:lnTo>
                    <a:lnTo>
                      <a:pt x="620" y="228"/>
                    </a:lnTo>
                    <a:lnTo>
                      <a:pt x="623" y="242"/>
                    </a:lnTo>
                    <a:lnTo>
                      <a:pt x="631" y="249"/>
                    </a:lnTo>
                    <a:lnTo>
                      <a:pt x="640" y="253"/>
                    </a:lnTo>
                    <a:lnTo>
                      <a:pt x="640" y="264"/>
                    </a:lnTo>
                    <a:lnTo>
                      <a:pt x="627" y="256"/>
                    </a:lnTo>
                    <a:lnTo>
                      <a:pt x="617" y="244"/>
                    </a:lnTo>
                    <a:lnTo>
                      <a:pt x="602" y="233"/>
                    </a:lnTo>
                    <a:lnTo>
                      <a:pt x="586" y="233"/>
                    </a:lnTo>
                    <a:lnTo>
                      <a:pt x="585" y="238"/>
                    </a:lnTo>
                    <a:lnTo>
                      <a:pt x="582" y="249"/>
                    </a:lnTo>
                    <a:lnTo>
                      <a:pt x="575" y="265"/>
                    </a:lnTo>
                    <a:lnTo>
                      <a:pt x="564" y="284"/>
                    </a:lnTo>
                    <a:lnTo>
                      <a:pt x="548" y="291"/>
                    </a:lnTo>
                    <a:lnTo>
                      <a:pt x="525" y="283"/>
                    </a:lnTo>
                    <a:lnTo>
                      <a:pt x="528" y="275"/>
                    </a:lnTo>
                    <a:lnTo>
                      <a:pt x="543" y="270"/>
                    </a:lnTo>
                    <a:lnTo>
                      <a:pt x="557" y="262"/>
                    </a:lnTo>
                    <a:lnTo>
                      <a:pt x="557" y="261"/>
                    </a:lnTo>
                    <a:lnTo>
                      <a:pt x="558" y="260"/>
                    </a:lnTo>
                    <a:lnTo>
                      <a:pt x="559" y="258"/>
                    </a:lnTo>
                    <a:lnTo>
                      <a:pt x="559" y="256"/>
                    </a:lnTo>
                    <a:lnTo>
                      <a:pt x="560" y="254"/>
                    </a:lnTo>
                    <a:lnTo>
                      <a:pt x="561" y="253"/>
                    </a:lnTo>
                    <a:lnTo>
                      <a:pt x="561" y="250"/>
                    </a:lnTo>
                    <a:lnTo>
                      <a:pt x="561" y="249"/>
                    </a:lnTo>
                    <a:lnTo>
                      <a:pt x="561" y="247"/>
                    </a:lnTo>
                    <a:lnTo>
                      <a:pt x="562" y="246"/>
                    </a:lnTo>
                    <a:lnTo>
                      <a:pt x="561" y="244"/>
                    </a:lnTo>
                    <a:lnTo>
                      <a:pt x="561" y="243"/>
                    </a:lnTo>
                    <a:lnTo>
                      <a:pt x="561" y="241"/>
                    </a:lnTo>
                    <a:lnTo>
                      <a:pt x="560" y="238"/>
                    </a:lnTo>
                    <a:lnTo>
                      <a:pt x="559" y="235"/>
                    </a:lnTo>
                    <a:lnTo>
                      <a:pt x="558" y="233"/>
                    </a:lnTo>
                    <a:lnTo>
                      <a:pt x="557" y="231"/>
                    </a:lnTo>
                    <a:lnTo>
                      <a:pt x="556" y="228"/>
                    </a:lnTo>
                    <a:lnTo>
                      <a:pt x="555" y="227"/>
                    </a:lnTo>
                    <a:lnTo>
                      <a:pt x="554" y="225"/>
                    </a:lnTo>
                    <a:lnTo>
                      <a:pt x="554" y="224"/>
                    </a:lnTo>
                    <a:lnTo>
                      <a:pt x="550" y="209"/>
                    </a:lnTo>
                    <a:lnTo>
                      <a:pt x="550" y="198"/>
                    </a:lnTo>
                    <a:lnTo>
                      <a:pt x="545" y="184"/>
                    </a:lnTo>
                    <a:lnTo>
                      <a:pt x="541" y="167"/>
                    </a:lnTo>
                    <a:lnTo>
                      <a:pt x="535" y="142"/>
                    </a:lnTo>
                    <a:lnTo>
                      <a:pt x="530" y="123"/>
                    </a:lnTo>
                    <a:lnTo>
                      <a:pt x="517" y="109"/>
                    </a:lnTo>
                    <a:lnTo>
                      <a:pt x="498" y="110"/>
                    </a:lnTo>
                    <a:lnTo>
                      <a:pt x="488" y="135"/>
                    </a:lnTo>
                    <a:lnTo>
                      <a:pt x="485" y="159"/>
                    </a:lnTo>
                    <a:lnTo>
                      <a:pt x="469" y="170"/>
                    </a:lnTo>
                    <a:lnTo>
                      <a:pt x="470" y="186"/>
                    </a:lnTo>
                    <a:lnTo>
                      <a:pt x="480" y="201"/>
                    </a:lnTo>
                    <a:lnTo>
                      <a:pt x="491" y="216"/>
                    </a:lnTo>
                    <a:lnTo>
                      <a:pt x="499" y="228"/>
                    </a:lnTo>
                    <a:lnTo>
                      <a:pt x="503" y="239"/>
                    </a:lnTo>
                    <a:lnTo>
                      <a:pt x="490" y="244"/>
                    </a:lnTo>
                    <a:lnTo>
                      <a:pt x="476" y="226"/>
                    </a:lnTo>
                    <a:lnTo>
                      <a:pt x="452" y="212"/>
                    </a:lnTo>
                    <a:lnTo>
                      <a:pt x="424" y="204"/>
                    </a:lnTo>
                    <a:lnTo>
                      <a:pt x="399" y="204"/>
                    </a:lnTo>
                    <a:lnTo>
                      <a:pt x="393" y="213"/>
                    </a:lnTo>
                    <a:lnTo>
                      <a:pt x="401" y="218"/>
                    </a:lnTo>
                    <a:lnTo>
                      <a:pt x="399" y="237"/>
                    </a:lnTo>
                    <a:lnTo>
                      <a:pt x="387" y="241"/>
                    </a:lnTo>
                    <a:lnTo>
                      <a:pt x="384" y="224"/>
                    </a:lnTo>
                    <a:lnTo>
                      <a:pt x="373" y="224"/>
                    </a:lnTo>
                    <a:lnTo>
                      <a:pt x="364" y="236"/>
                    </a:lnTo>
                    <a:lnTo>
                      <a:pt x="333" y="236"/>
                    </a:lnTo>
                    <a:lnTo>
                      <a:pt x="322" y="249"/>
                    </a:lnTo>
                    <a:lnTo>
                      <a:pt x="314" y="233"/>
                    </a:lnTo>
                    <a:lnTo>
                      <a:pt x="303" y="236"/>
                    </a:lnTo>
                    <a:lnTo>
                      <a:pt x="287" y="243"/>
                    </a:lnTo>
                    <a:lnTo>
                      <a:pt x="270" y="249"/>
                    </a:lnTo>
                    <a:lnTo>
                      <a:pt x="251" y="267"/>
                    </a:lnTo>
                    <a:lnTo>
                      <a:pt x="230" y="277"/>
                    </a:lnTo>
                    <a:lnTo>
                      <a:pt x="223" y="264"/>
                    </a:lnTo>
                    <a:lnTo>
                      <a:pt x="223" y="252"/>
                    </a:lnTo>
                    <a:lnTo>
                      <a:pt x="208" y="237"/>
                    </a:lnTo>
                    <a:lnTo>
                      <a:pt x="187" y="239"/>
                    </a:lnTo>
                    <a:lnTo>
                      <a:pt x="192" y="252"/>
                    </a:lnTo>
                    <a:lnTo>
                      <a:pt x="197" y="267"/>
                    </a:lnTo>
                    <a:lnTo>
                      <a:pt x="203" y="281"/>
                    </a:lnTo>
                    <a:lnTo>
                      <a:pt x="204" y="298"/>
                    </a:lnTo>
                    <a:lnTo>
                      <a:pt x="190" y="291"/>
                    </a:lnTo>
                    <a:lnTo>
                      <a:pt x="175" y="288"/>
                    </a:lnTo>
                    <a:lnTo>
                      <a:pt x="166" y="298"/>
                    </a:lnTo>
                    <a:lnTo>
                      <a:pt x="147" y="304"/>
                    </a:lnTo>
                    <a:lnTo>
                      <a:pt x="146" y="316"/>
                    </a:lnTo>
                    <a:lnTo>
                      <a:pt x="157" y="322"/>
                    </a:lnTo>
                    <a:lnTo>
                      <a:pt x="153" y="338"/>
                    </a:lnTo>
                    <a:lnTo>
                      <a:pt x="138" y="338"/>
                    </a:lnTo>
                    <a:lnTo>
                      <a:pt x="138" y="322"/>
                    </a:lnTo>
                    <a:lnTo>
                      <a:pt x="124" y="316"/>
                    </a:lnTo>
                    <a:lnTo>
                      <a:pt x="109" y="322"/>
                    </a:lnTo>
                    <a:lnTo>
                      <a:pt x="111" y="334"/>
                    </a:lnTo>
                    <a:lnTo>
                      <a:pt x="121" y="338"/>
                    </a:lnTo>
                    <a:lnTo>
                      <a:pt x="125" y="344"/>
                    </a:lnTo>
                    <a:lnTo>
                      <a:pt x="117" y="352"/>
                    </a:lnTo>
                    <a:lnTo>
                      <a:pt x="102" y="341"/>
                    </a:lnTo>
                    <a:lnTo>
                      <a:pt x="91" y="326"/>
                    </a:lnTo>
                    <a:lnTo>
                      <a:pt x="83" y="311"/>
                    </a:lnTo>
                    <a:lnTo>
                      <a:pt x="80" y="289"/>
                    </a:lnTo>
                    <a:lnTo>
                      <a:pt x="74" y="281"/>
                    </a:lnTo>
                    <a:lnTo>
                      <a:pt x="90" y="286"/>
                    </a:lnTo>
                    <a:lnTo>
                      <a:pt x="115" y="293"/>
                    </a:lnTo>
                    <a:lnTo>
                      <a:pt x="138" y="287"/>
                    </a:lnTo>
                    <a:lnTo>
                      <a:pt x="149" y="277"/>
                    </a:lnTo>
                    <a:lnTo>
                      <a:pt x="155" y="265"/>
                    </a:lnTo>
                    <a:lnTo>
                      <a:pt x="130" y="247"/>
                    </a:lnTo>
                    <a:lnTo>
                      <a:pt x="100" y="233"/>
                    </a:lnTo>
                    <a:lnTo>
                      <a:pt x="69" y="216"/>
                    </a:lnTo>
                    <a:lnTo>
                      <a:pt x="53" y="209"/>
                    </a:lnTo>
                    <a:lnTo>
                      <a:pt x="36" y="220"/>
                    </a:lnTo>
                    <a:lnTo>
                      <a:pt x="20" y="237"/>
                    </a:lnTo>
                    <a:lnTo>
                      <a:pt x="14" y="252"/>
                    </a:lnTo>
                    <a:lnTo>
                      <a:pt x="14" y="267"/>
                    </a:lnTo>
                    <a:lnTo>
                      <a:pt x="19" y="288"/>
                    </a:lnTo>
                    <a:lnTo>
                      <a:pt x="20" y="311"/>
                    </a:lnTo>
                    <a:lnTo>
                      <a:pt x="26" y="332"/>
                    </a:lnTo>
                    <a:lnTo>
                      <a:pt x="34" y="354"/>
                    </a:lnTo>
                    <a:lnTo>
                      <a:pt x="42" y="363"/>
                    </a:lnTo>
                    <a:lnTo>
                      <a:pt x="52" y="371"/>
                    </a:lnTo>
                    <a:lnTo>
                      <a:pt x="41" y="381"/>
                    </a:lnTo>
                    <a:lnTo>
                      <a:pt x="25" y="397"/>
                    </a:lnTo>
                    <a:lnTo>
                      <a:pt x="12" y="414"/>
                    </a:lnTo>
                    <a:lnTo>
                      <a:pt x="8" y="427"/>
                    </a:lnTo>
                    <a:lnTo>
                      <a:pt x="9" y="444"/>
                    </a:lnTo>
                    <a:lnTo>
                      <a:pt x="0" y="447"/>
                    </a:lnTo>
                    <a:lnTo>
                      <a:pt x="16" y="470"/>
                    </a:lnTo>
                    <a:lnTo>
                      <a:pt x="39" y="490"/>
                    </a:lnTo>
                    <a:lnTo>
                      <a:pt x="78" y="506"/>
                    </a:lnTo>
                    <a:lnTo>
                      <a:pt x="81" y="557"/>
                    </a:lnTo>
                    <a:lnTo>
                      <a:pt x="75" y="564"/>
                    </a:lnTo>
                    <a:lnTo>
                      <a:pt x="69" y="584"/>
                    </a:lnTo>
                    <a:lnTo>
                      <a:pt x="106" y="582"/>
                    </a:lnTo>
                    <a:lnTo>
                      <a:pt x="114" y="604"/>
                    </a:lnTo>
                    <a:lnTo>
                      <a:pt x="171" y="651"/>
                    </a:lnTo>
                    <a:lnTo>
                      <a:pt x="163" y="695"/>
                    </a:lnTo>
                    <a:lnTo>
                      <a:pt x="169" y="702"/>
                    </a:lnTo>
                    <a:lnTo>
                      <a:pt x="155" y="717"/>
                    </a:lnTo>
                    <a:lnTo>
                      <a:pt x="142" y="729"/>
                    </a:lnTo>
                    <a:lnTo>
                      <a:pt x="138" y="740"/>
                    </a:lnTo>
                    <a:lnTo>
                      <a:pt x="157" y="749"/>
                    </a:lnTo>
                    <a:lnTo>
                      <a:pt x="168" y="761"/>
                    </a:lnTo>
                    <a:lnTo>
                      <a:pt x="199" y="743"/>
                    </a:lnTo>
                    <a:lnTo>
                      <a:pt x="217" y="752"/>
                    </a:lnTo>
                    <a:lnTo>
                      <a:pt x="229" y="752"/>
                    </a:lnTo>
                    <a:lnTo>
                      <a:pt x="242" y="764"/>
                    </a:lnTo>
                    <a:lnTo>
                      <a:pt x="256" y="780"/>
                    </a:lnTo>
                    <a:lnTo>
                      <a:pt x="285" y="773"/>
                    </a:lnTo>
                    <a:lnTo>
                      <a:pt x="277" y="753"/>
                    </a:lnTo>
                    <a:lnTo>
                      <a:pt x="285" y="740"/>
                    </a:lnTo>
                    <a:lnTo>
                      <a:pt x="304" y="721"/>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89" name="Freeform 273">
                <a:extLst>
                  <a:ext uri="{FF2B5EF4-FFF2-40B4-BE49-F238E27FC236}">
                    <a16:creationId xmlns:a16="http://schemas.microsoft.com/office/drawing/2014/main" id="{ECC3DB7E-F88C-A501-5373-B2E7980D17FF}"/>
                  </a:ext>
                </a:extLst>
              </p:cNvPr>
              <p:cNvSpPr>
                <a:spLocks/>
              </p:cNvSpPr>
              <p:nvPr/>
            </p:nvSpPr>
            <p:spPr bwMode="auto">
              <a:xfrm>
                <a:off x="6078367" y="2812729"/>
                <a:ext cx="289243" cy="259978"/>
              </a:xfrm>
              <a:custGeom>
                <a:avLst/>
                <a:gdLst>
                  <a:gd name="T0" fmla="*/ 148 w 184"/>
                  <a:gd name="T1" fmla="*/ 166 h 167"/>
                  <a:gd name="T2" fmla="*/ 137 w 184"/>
                  <a:gd name="T3" fmla="*/ 161 h 167"/>
                  <a:gd name="T4" fmla="*/ 118 w 184"/>
                  <a:gd name="T5" fmla="*/ 160 h 167"/>
                  <a:gd name="T6" fmla="*/ 120 w 184"/>
                  <a:gd name="T7" fmla="*/ 149 h 167"/>
                  <a:gd name="T8" fmla="*/ 112 w 184"/>
                  <a:gd name="T9" fmla="*/ 146 h 167"/>
                  <a:gd name="T10" fmla="*/ 104 w 184"/>
                  <a:gd name="T11" fmla="*/ 151 h 167"/>
                  <a:gd name="T12" fmla="*/ 70 w 184"/>
                  <a:gd name="T13" fmla="*/ 123 h 167"/>
                  <a:gd name="T14" fmla="*/ 74 w 184"/>
                  <a:gd name="T15" fmla="*/ 112 h 167"/>
                  <a:gd name="T16" fmla="*/ 66 w 184"/>
                  <a:gd name="T17" fmla="*/ 109 h 167"/>
                  <a:gd name="T18" fmla="*/ 58 w 184"/>
                  <a:gd name="T19" fmla="*/ 109 h 167"/>
                  <a:gd name="T20" fmla="*/ 47 w 184"/>
                  <a:gd name="T21" fmla="*/ 106 h 167"/>
                  <a:gd name="T22" fmla="*/ 51 w 184"/>
                  <a:gd name="T23" fmla="*/ 99 h 167"/>
                  <a:gd name="T24" fmla="*/ 44 w 184"/>
                  <a:gd name="T25" fmla="*/ 93 h 167"/>
                  <a:gd name="T26" fmla="*/ 40 w 184"/>
                  <a:gd name="T27" fmla="*/ 84 h 167"/>
                  <a:gd name="T28" fmla="*/ 30 w 184"/>
                  <a:gd name="T29" fmla="*/ 89 h 167"/>
                  <a:gd name="T30" fmla="*/ 20 w 184"/>
                  <a:gd name="T31" fmla="*/ 92 h 167"/>
                  <a:gd name="T32" fmla="*/ 18 w 184"/>
                  <a:gd name="T33" fmla="*/ 102 h 167"/>
                  <a:gd name="T34" fmla="*/ 0 w 184"/>
                  <a:gd name="T35" fmla="*/ 97 h 167"/>
                  <a:gd name="T36" fmla="*/ 11 w 184"/>
                  <a:gd name="T37" fmla="*/ 25 h 167"/>
                  <a:gd name="T38" fmla="*/ 42 w 184"/>
                  <a:gd name="T39" fmla="*/ 0 h 167"/>
                  <a:gd name="T40" fmla="*/ 45 w 184"/>
                  <a:gd name="T41" fmla="*/ 37 h 167"/>
                  <a:gd name="T42" fmla="*/ 60 w 184"/>
                  <a:gd name="T43" fmla="*/ 37 h 167"/>
                  <a:gd name="T44" fmla="*/ 67 w 184"/>
                  <a:gd name="T45" fmla="*/ 44 h 167"/>
                  <a:gd name="T46" fmla="*/ 84 w 184"/>
                  <a:gd name="T47" fmla="*/ 44 h 167"/>
                  <a:gd name="T48" fmla="*/ 86 w 184"/>
                  <a:gd name="T49" fmla="*/ 20 h 167"/>
                  <a:gd name="T50" fmla="*/ 95 w 184"/>
                  <a:gd name="T51" fmla="*/ 37 h 167"/>
                  <a:gd name="T52" fmla="*/ 100 w 184"/>
                  <a:gd name="T53" fmla="*/ 50 h 167"/>
                  <a:gd name="T54" fmla="*/ 118 w 184"/>
                  <a:gd name="T55" fmla="*/ 45 h 167"/>
                  <a:gd name="T56" fmla="*/ 135 w 184"/>
                  <a:gd name="T57" fmla="*/ 47 h 167"/>
                  <a:gd name="T58" fmla="*/ 150 w 184"/>
                  <a:gd name="T59" fmla="*/ 54 h 167"/>
                  <a:gd name="T60" fmla="*/ 151 w 184"/>
                  <a:gd name="T61" fmla="*/ 77 h 167"/>
                  <a:gd name="T62" fmla="*/ 156 w 184"/>
                  <a:gd name="T63" fmla="*/ 89 h 167"/>
                  <a:gd name="T64" fmla="*/ 173 w 184"/>
                  <a:gd name="T65" fmla="*/ 98 h 167"/>
                  <a:gd name="T66" fmla="*/ 183 w 184"/>
                  <a:gd name="T67" fmla="*/ 106 h 167"/>
                  <a:gd name="T68" fmla="*/ 175 w 184"/>
                  <a:gd name="T69" fmla="*/ 122 h 167"/>
                  <a:gd name="T70" fmla="*/ 164 w 184"/>
                  <a:gd name="T71" fmla="*/ 137 h 167"/>
                  <a:gd name="T72" fmla="*/ 148 w 184"/>
                  <a:gd name="T73" fmla="*/ 166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4" h="167">
                    <a:moveTo>
                      <a:pt x="148" y="166"/>
                    </a:moveTo>
                    <a:lnTo>
                      <a:pt x="137" y="161"/>
                    </a:lnTo>
                    <a:lnTo>
                      <a:pt x="118" y="160"/>
                    </a:lnTo>
                    <a:lnTo>
                      <a:pt x="120" y="149"/>
                    </a:lnTo>
                    <a:lnTo>
                      <a:pt x="112" y="146"/>
                    </a:lnTo>
                    <a:lnTo>
                      <a:pt x="104" y="151"/>
                    </a:lnTo>
                    <a:lnTo>
                      <a:pt x="70" y="123"/>
                    </a:lnTo>
                    <a:lnTo>
                      <a:pt x="74" y="112"/>
                    </a:lnTo>
                    <a:lnTo>
                      <a:pt x="66" y="109"/>
                    </a:lnTo>
                    <a:lnTo>
                      <a:pt x="58" y="109"/>
                    </a:lnTo>
                    <a:lnTo>
                      <a:pt x="47" y="106"/>
                    </a:lnTo>
                    <a:lnTo>
                      <a:pt x="51" y="99"/>
                    </a:lnTo>
                    <a:lnTo>
                      <a:pt x="44" y="93"/>
                    </a:lnTo>
                    <a:lnTo>
                      <a:pt x="40" y="84"/>
                    </a:lnTo>
                    <a:lnTo>
                      <a:pt x="30" y="89"/>
                    </a:lnTo>
                    <a:lnTo>
                      <a:pt x="20" y="92"/>
                    </a:lnTo>
                    <a:lnTo>
                      <a:pt x="18" y="102"/>
                    </a:lnTo>
                    <a:lnTo>
                      <a:pt x="0" y="97"/>
                    </a:lnTo>
                    <a:lnTo>
                      <a:pt x="11" y="25"/>
                    </a:lnTo>
                    <a:lnTo>
                      <a:pt x="42" y="0"/>
                    </a:lnTo>
                    <a:lnTo>
                      <a:pt x="45" y="37"/>
                    </a:lnTo>
                    <a:lnTo>
                      <a:pt x="60" y="37"/>
                    </a:lnTo>
                    <a:lnTo>
                      <a:pt x="67" y="44"/>
                    </a:lnTo>
                    <a:lnTo>
                      <a:pt x="84" y="44"/>
                    </a:lnTo>
                    <a:lnTo>
                      <a:pt x="86" y="20"/>
                    </a:lnTo>
                    <a:lnTo>
                      <a:pt x="95" y="37"/>
                    </a:lnTo>
                    <a:lnTo>
                      <a:pt x="100" y="50"/>
                    </a:lnTo>
                    <a:lnTo>
                      <a:pt x="118" y="45"/>
                    </a:lnTo>
                    <a:lnTo>
                      <a:pt x="135" y="47"/>
                    </a:lnTo>
                    <a:lnTo>
                      <a:pt x="150" y="54"/>
                    </a:lnTo>
                    <a:lnTo>
                      <a:pt x="151" y="77"/>
                    </a:lnTo>
                    <a:lnTo>
                      <a:pt x="156" y="89"/>
                    </a:lnTo>
                    <a:lnTo>
                      <a:pt x="173" y="98"/>
                    </a:lnTo>
                    <a:lnTo>
                      <a:pt x="183" y="106"/>
                    </a:lnTo>
                    <a:lnTo>
                      <a:pt x="175" y="122"/>
                    </a:lnTo>
                    <a:lnTo>
                      <a:pt x="164" y="137"/>
                    </a:lnTo>
                    <a:lnTo>
                      <a:pt x="148" y="166"/>
                    </a:lnTo>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90" name="Freeform 275">
                <a:extLst>
                  <a:ext uri="{FF2B5EF4-FFF2-40B4-BE49-F238E27FC236}">
                    <a16:creationId xmlns:a16="http://schemas.microsoft.com/office/drawing/2014/main" id="{38453341-CDAE-5765-DAC0-E846531D4F3E}"/>
                  </a:ext>
                </a:extLst>
              </p:cNvPr>
              <p:cNvSpPr>
                <a:spLocks/>
              </p:cNvSpPr>
              <p:nvPr/>
            </p:nvSpPr>
            <p:spPr bwMode="auto">
              <a:xfrm>
                <a:off x="4834763" y="3796728"/>
                <a:ext cx="37726" cy="116011"/>
              </a:xfrm>
              <a:custGeom>
                <a:avLst/>
                <a:gdLst>
                  <a:gd name="T0" fmla="*/ 15 w 27"/>
                  <a:gd name="T1" fmla="*/ 83 h 83"/>
                  <a:gd name="T2" fmla="*/ 27 w 27"/>
                  <a:gd name="T3" fmla="*/ 72 h 83"/>
                  <a:gd name="T4" fmla="*/ 20 w 27"/>
                  <a:gd name="T5" fmla="*/ 48 h 83"/>
                  <a:gd name="T6" fmla="*/ 20 w 27"/>
                  <a:gd name="T7" fmla="*/ 26 h 83"/>
                  <a:gd name="T8" fmla="*/ 18 w 27"/>
                  <a:gd name="T9" fmla="*/ 11 h 83"/>
                  <a:gd name="T10" fmla="*/ 12 w 27"/>
                  <a:gd name="T11" fmla="*/ 2 h 83"/>
                  <a:gd name="T12" fmla="*/ 2 w 27"/>
                  <a:gd name="T13" fmla="*/ 0 h 83"/>
                  <a:gd name="T14" fmla="*/ 0 w 27"/>
                  <a:gd name="T15" fmla="*/ 14 h 83"/>
                  <a:gd name="T16" fmla="*/ 6 w 27"/>
                  <a:gd name="T17" fmla="*/ 24 h 83"/>
                  <a:gd name="T18" fmla="*/ 9 w 27"/>
                  <a:gd name="T19" fmla="*/ 48 h 83"/>
                  <a:gd name="T20" fmla="*/ 15 w 27"/>
                  <a:gd name="T21"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83">
                    <a:moveTo>
                      <a:pt x="15" y="83"/>
                    </a:moveTo>
                    <a:lnTo>
                      <a:pt x="27" y="72"/>
                    </a:lnTo>
                    <a:lnTo>
                      <a:pt x="20" y="48"/>
                    </a:lnTo>
                    <a:lnTo>
                      <a:pt x="20" y="26"/>
                    </a:lnTo>
                    <a:lnTo>
                      <a:pt x="18" y="11"/>
                    </a:lnTo>
                    <a:lnTo>
                      <a:pt x="12" y="2"/>
                    </a:lnTo>
                    <a:lnTo>
                      <a:pt x="2" y="0"/>
                    </a:lnTo>
                    <a:lnTo>
                      <a:pt x="0" y="14"/>
                    </a:lnTo>
                    <a:lnTo>
                      <a:pt x="6" y="24"/>
                    </a:lnTo>
                    <a:lnTo>
                      <a:pt x="9" y="48"/>
                    </a:lnTo>
                    <a:lnTo>
                      <a:pt x="15" y="83"/>
                    </a:lnTo>
                    <a:close/>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91" name="Freeform 277">
                <a:extLst>
                  <a:ext uri="{FF2B5EF4-FFF2-40B4-BE49-F238E27FC236}">
                    <a16:creationId xmlns:a16="http://schemas.microsoft.com/office/drawing/2014/main" id="{BE831D88-6AB6-F9E3-72A1-8BFEAAA3D3C8}"/>
                  </a:ext>
                </a:extLst>
              </p:cNvPr>
              <p:cNvSpPr>
                <a:spLocks/>
              </p:cNvSpPr>
              <p:nvPr/>
            </p:nvSpPr>
            <p:spPr bwMode="auto">
              <a:xfrm>
                <a:off x="5575336" y="3125820"/>
                <a:ext cx="64276" cy="134182"/>
              </a:xfrm>
              <a:custGeom>
                <a:avLst/>
                <a:gdLst>
                  <a:gd name="T0" fmla="*/ 0 w 46"/>
                  <a:gd name="T1" fmla="*/ 74 h 96"/>
                  <a:gd name="T2" fmla="*/ 15 w 46"/>
                  <a:gd name="T3" fmla="*/ 29 h 96"/>
                  <a:gd name="T4" fmla="*/ 27 w 46"/>
                  <a:gd name="T5" fmla="*/ 0 h 96"/>
                  <a:gd name="T6" fmla="*/ 46 w 46"/>
                  <a:gd name="T7" fmla="*/ 17 h 96"/>
                  <a:gd name="T8" fmla="*/ 40 w 46"/>
                  <a:gd name="T9" fmla="*/ 35 h 96"/>
                  <a:gd name="T10" fmla="*/ 27 w 46"/>
                  <a:gd name="T11" fmla="*/ 42 h 96"/>
                  <a:gd name="T12" fmla="*/ 27 w 46"/>
                  <a:gd name="T13" fmla="*/ 77 h 96"/>
                  <a:gd name="T14" fmla="*/ 22 w 46"/>
                  <a:gd name="T15" fmla="*/ 96 h 96"/>
                  <a:gd name="T16" fmla="*/ 7 w 46"/>
                  <a:gd name="T17" fmla="*/ 75 h 96"/>
                  <a:gd name="T18" fmla="*/ 0 w 46"/>
                  <a:gd name="T19" fmla="*/ 7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96">
                    <a:moveTo>
                      <a:pt x="0" y="74"/>
                    </a:moveTo>
                    <a:lnTo>
                      <a:pt x="15" y="29"/>
                    </a:lnTo>
                    <a:lnTo>
                      <a:pt x="27" y="0"/>
                    </a:lnTo>
                    <a:lnTo>
                      <a:pt x="46" y="17"/>
                    </a:lnTo>
                    <a:lnTo>
                      <a:pt x="40" y="35"/>
                    </a:lnTo>
                    <a:lnTo>
                      <a:pt x="27" y="42"/>
                    </a:lnTo>
                    <a:lnTo>
                      <a:pt x="27" y="77"/>
                    </a:lnTo>
                    <a:lnTo>
                      <a:pt x="22" y="96"/>
                    </a:lnTo>
                    <a:lnTo>
                      <a:pt x="7" y="75"/>
                    </a:lnTo>
                    <a:lnTo>
                      <a:pt x="0" y="74"/>
                    </a:lnTo>
                    <a:close/>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92" name="Freeform 278">
                <a:extLst>
                  <a:ext uri="{FF2B5EF4-FFF2-40B4-BE49-F238E27FC236}">
                    <a16:creationId xmlns:a16="http://schemas.microsoft.com/office/drawing/2014/main" id="{1ACEC041-254F-9802-F0BE-3F9CA60ECAAC}"/>
                  </a:ext>
                </a:extLst>
              </p:cNvPr>
              <p:cNvSpPr>
                <a:spLocks/>
              </p:cNvSpPr>
              <p:nvPr/>
            </p:nvSpPr>
            <p:spPr bwMode="auto">
              <a:xfrm>
                <a:off x="5056935" y="4023159"/>
                <a:ext cx="40521" cy="23762"/>
              </a:xfrm>
              <a:custGeom>
                <a:avLst/>
                <a:gdLst>
                  <a:gd name="T0" fmla="*/ 0 w 29"/>
                  <a:gd name="T1" fmla="*/ 14 h 17"/>
                  <a:gd name="T2" fmla="*/ 2 w 29"/>
                  <a:gd name="T3" fmla="*/ 0 h 17"/>
                  <a:gd name="T4" fmla="*/ 29 w 29"/>
                  <a:gd name="T5" fmla="*/ 3 h 17"/>
                  <a:gd name="T6" fmla="*/ 18 w 29"/>
                  <a:gd name="T7" fmla="*/ 17 h 17"/>
                  <a:gd name="T8" fmla="*/ 0 w 29"/>
                  <a:gd name="T9" fmla="*/ 14 h 17"/>
                </a:gdLst>
                <a:ahLst/>
                <a:cxnLst>
                  <a:cxn ang="0">
                    <a:pos x="T0" y="T1"/>
                  </a:cxn>
                  <a:cxn ang="0">
                    <a:pos x="T2" y="T3"/>
                  </a:cxn>
                  <a:cxn ang="0">
                    <a:pos x="T4" y="T5"/>
                  </a:cxn>
                  <a:cxn ang="0">
                    <a:pos x="T6" y="T7"/>
                  </a:cxn>
                  <a:cxn ang="0">
                    <a:pos x="T8" y="T9"/>
                  </a:cxn>
                </a:cxnLst>
                <a:rect l="0" t="0" r="r" b="b"/>
                <a:pathLst>
                  <a:path w="29" h="17">
                    <a:moveTo>
                      <a:pt x="0" y="14"/>
                    </a:moveTo>
                    <a:lnTo>
                      <a:pt x="2" y="0"/>
                    </a:lnTo>
                    <a:lnTo>
                      <a:pt x="29" y="3"/>
                    </a:lnTo>
                    <a:lnTo>
                      <a:pt x="18" y="17"/>
                    </a:lnTo>
                    <a:lnTo>
                      <a:pt x="0" y="14"/>
                    </a:lnTo>
                    <a:close/>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93" name="Freeform 279">
                <a:extLst>
                  <a:ext uri="{FF2B5EF4-FFF2-40B4-BE49-F238E27FC236}">
                    <a16:creationId xmlns:a16="http://schemas.microsoft.com/office/drawing/2014/main" id="{F7A05073-16DC-11E4-48F7-F81ED5BF592B}"/>
                  </a:ext>
                </a:extLst>
              </p:cNvPr>
              <p:cNvSpPr>
                <a:spLocks/>
              </p:cNvSpPr>
              <p:nvPr/>
            </p:nvSpPr>
            <p:spPr bwMode="auto">
              <a:xfrm>
                <a:off x="5583719" y="4312488"/>
                <a:ext cx="72660" cy="183102"/>
              </a:xfrm>
              <a:custGeom>
                <a:avLst/>
                <a:gdLst>
                  <a:gd name="T0" fmla="*/ 16 w 52"/>
                  <a:gd name="T1" fmla="*/ 119 h 131"/>
                  <a:gd name="T2" fmla="*/ 24 w 52"/>
                  <a:gd name="T3" fmla="*/ 90 h 131"/>
                  <a:gd name="T4" fmla="*/ 0 w 52"/>
                  <a:gd name="T5" fmla="*/ 81 h 131"/>
                  <a:gd name="T6" fmla="*/ 0 w 52"/>
                  <a:gd name="T7" fmla="*/ 50 h 131"/>
                  <a:gd name="T8" fmla="*/ 10 w 52"/>
                  <a:gd name="T9" fmla="*/ 41 h 131"/>
                  <a:gd name="T10" fmla="*/ 4 w 52"/>
                  <a:gd name="T11" fmla="*/ 17 h 131"/>
                  <a:gd name="T12" fmla="*/ 7 w 52"/>
                  <a:gd name="T13" fmla="*/ 0 h 131"/>
                  <a:gd name="T14" fmla="*/ 30 w 52"/>
                  <a:gd name="T15" fmla="*/ 14 h 131"/>
                  <a:gd name="T16" fmla="*/ 33 w 52"/>
                  <a:gd name="T17" fmla="*/ 30 h 131"/>
                  <a:gd name="T18" fmla="*/ 28 w 52"/>
                  <a:gd name="T19" fmla="*/ 56 h 131"/>
                  <a:gd name="T20" fmla="*/ 45 w 52"/>
                  <a:gd name="T21" fmla="*/ 81 h 131"/>
                  <a:gd name="T22" fmla="*/ 52 w 52"/>
                  <a:gd name="T23" fmla="*/ 104 h 131"/>
                  <a:gd name="T24" fmla="*/ 40 w 52"/>
                  <a:gd name="T25" fmla="*/ 110 h 131"/>
                  <a:gd name="T26" fmla="*/ 39 w 52"/>
                  <a:gd name="T27" fmla="*/ 126 h 131"/>
                  <a:gd name="T28" fmla="*/ 24 w 52"/>
                  <a:gd name="T29" fmla="*/ 131 h 131"/>
                  <a:gd name="T30" fmla="*/ 16 w 52"/>
                  <a:gd name="T31" fmla="*/ 1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 h="131">
                    <a:moveTo>
                      <a:pt x="16" y="119"/>
                    </a:moveTo>
                    <a:lnTo>
                      <a:pt x="24" y="90"/>
                    </a:lnTo>
                    <a:lnTo>
                      <a:pt x="0" y="81"/>
                    </a:lnTo>
                    <a:lnTo>
                      <a:pt x="0" y="50"/>
                    </a:lnTo>
                    <a:lnTo>
                      <a:pt x="10" y="41"/>
                    </a:lnTo>
                    <a:lnTo>
                      <a:pt x="4" y="17"/>
                    </a:lnTo>
                    <a:lnTo>
                      <a:pt x="7" y="0"/>
                    </a:lnTo>
                    <a:lnTo>
                      <a:pt x="30" y="14"/>
                    </a:lnTo>
                    <a:lnTo>
                      <a:pt x="33" y="30"/>
                    </a:lnTo>
                    <a:lnTo>
                      <a:pt x="28" y="56"/>
                    </a:lnTo>
                    <a:lnTo>
                      <a:pt x="45" y="81"/>
                    </a:lnTo>
                    <a:lnTo>
                      <a:pt x="52" y="104"/>
                    </a:lnTo>
                    <a:lnTo>
                      <a:pt x="40" y="110"/>
                    </a:lnTo>
                    <a:lnTo>
                      <a:pt x="39" y="126"/>
                    </a:lnTo>
                    <a:lnTo>
                      <a:pt x="24" y="131"/>
                    </a:lnTo>
                    <a:lnTo>
                      <a:pt x="16" y="119"/>
                    </a:lnTo>
                    <a:close/>
                  </a:path>
                </a:pathLst>
              </a:custGeom>
              <a:grpFill/>
              <a:ln w="0" cap="flat" cmpd="sng">
                <a:solidFill>
                  <a:schemeClr val="accent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grpSp>
            <p:nvGrpSpPr>
              <p:cNvPr id="694" name="Grupo 693">
                <a:extLst>
                  <a:ext uri="{FF2B5EF4-FFF2-40B4-BE49-F238E27FC236}">
                    <a16:creationId xmlns:a16="http://schemas.microsoft.com/office/drawing/2014/main" id="{11D8858D-61C2-0DCE-7E12-4D444ECB5AF9}"/>
                  </a:ext>
                </a:extLst>
              </p:cNvPr>
              <p:cNvGrpSpPr/>
              <p:nvPr/>
            </p:nvGrpSpPr>
            <p:grpSpPr>
              <a:xfrm>
                <a:off x="4246549" y="3512994"/>
                <a:ext cx="102418" cy="87054"/>
                <a:chOff x="4184905" y="3626008"/>
                <a:chExt cx="102418" cy="87054"/>
              </a:xfrm>
              <a:grpFill/>
            </p:grpSpPr>
            <p:sp>
              <p:nvSpPr>
                <p:cNvPr id="695" name="Forma libre 419">
                  <a:extLst>
                    <a:ext uri="{FF2B5EF4-FFF2-40B4-BE49-F238E27FC236}">
                      <a16:creationId xmlns:a16="http://schemas.microsoft.com/office/drawing/2014/main" id="{61EA2E3E-1DE4-A92B-9732-FDCD70BAB115}"/>
                    </a:ext>
                  </a:extLst>
                </p:cNvPr>
                <p:cNvSpPr/>
                <p:nvPr/>
              </p:nvSpPr>
              <p:spPr>
                <a:xfrm>
                  <a:off x="4214326" y="3698419"/>
                  <a:ext cx="14116" cy="14643"/>
                </a:xfrm>
                <a:custGeom>
                  <a:avLst/>
                  <a:gdLst>
                    <a:gd name="connsiteX0" fmla="*/ 11952 w 21766"/>
                    <a:gd name="connsiteY0" fmla="*/ 22579 h 22578"/>
                    <a:gd name="connsiteX1" fmla="*/ 7092 w 21766"/>
                    <a:gd name="connsiteY1" fmla="*/ 20584 h 22578"/>
                    <a:gd name="connsiteX2" fmla="*/ 4575 w 21766"/>
                    <a:gd name="connsiteY2" fmla="*/ 18503 h 22578"/>
                    <a:gd name="connsiteX3" fmla="*/ 2319 w 21766"/>
                    <a:gd name="connsiteY3" fmla="*/ 16596 h 22578"/>
                    <a:gd name="connsiteX4" fmla="*/ 150 w 21766"/>
                    <a:gd name="connsiteY4" fmla="*/ 14948 h 22578"/>
                    <a:gd name="connsiteX5" fmla="*/ 2666 w 21766"/>
                    <a:gd name="connsiteY5" fmla="*/ 6277 h 22578"/>
                    <a:gd name="connsiteX6" fmla="*/ 8914 w 21766"/>
                    <a:gd name="connsiteY6" fmla="*/ 1941 h 22578"/>
                    <a:gd name="connsiteX7" fmla="*/ 12993 w 21766"/>
                    <a:gd name="connsiteY7" fmla="*/ 34 h 22578"/>
                    <a:gd name="connsiteX8" fmla="*/ 17505 w 21766"/>
                    <a:gd name="connsiteY8" fmla="*/ 641 h 22578"/>
                    <a:gd name="connsiteX9" fmla="*/ 19501 w 21766"/>
                    <a:gd name="connsiteY9" fmla="*/ 2895 h 22578"/>
                    <a:gd name="connsiteX10" fmla="*/ 20542 w 21766"/>
                    <a:gd name="connsiteY10" fmla="*/ 5236 h 22578"/>
                    <a:gd name="connsiteX11" fmla="*/ 21497 w 21766"/>
                    <a:gd name="connsiteY11" fmla="*/ 7664 h 22578"/>
                    <a:gd name="connsiteX12" fmla="*/ 21497 w 21766"/>
                    <a:gd name="connsiteY12" fmla="*/ 10006 h 22578"/>
                    <a:gd name="connsiteX13" fmla="*/ 21497 w 21766"/>
                    <a:gd name="connsiteY13" fmla="*/ 15035 h 22578"/>
                    <a:gd name="connsiteX14" fmla="*/ 21497 w 21766"/>
                    <a:gd name="connsiteY14" fmla="*/ 17029 h 22578"/>
                    <a:gd name="connsiteX15" fmla="*/ 18547 w 21766"/>
                    <a:gd name="connsiteY15" fmla="*/ 20064 h 22578"/>
                    <a:gd name="connsiteX16" fmla="*/ 15770 w 21766"/>
                    <a:gd name="connsiteY16" fmla="*/ 21972 h 22578"/>
                    <a:gd name="connsiteX17" fmla="*/ 13687 w 21766"/>
                    <a:gd name="connsiteY17" fmla="*/ 21972 h 22578"/>
                    <a:gd name="connsiteX18" fmla="*/ 11691 w 21766"/>
                    <a:gd name="connsiteY18" fmla="*/ 21972 h 22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766" h="22578">
                      <a:moveTo>
                        <a:pt x="11952" y="22579"/>
                      </a:moveTo>
                      <a:cubicBezTo>
                        <a:pt x="10172" y="22397"/>
                        <a:pt x="8489" y="21703"/>
                        <a:pt x="7092" y="20584"/>
                      </a:cubicBezTo>
                      <a:cubicBezTo>
                        <a:pt x="6224" y="19544"/>
                        <a:pt x="5096" y="18503"/>
                        <a:pt x="4575" y="18503"/>
                      </a:cubicBezTo>
                      <a:cubicBezTo>
                        <a:pt x="4055" y="18503"/>
                        <a:pt x="3013" y="17289"/>
                        <a:pt x="2319" y="16596"/>
                      </a:cubicBezTo>
                      <a:cubicBezTo>
                        <a:pt x="1625" y="15902"/>
                        <a:pt x="497" y="16075"/>
                        <a:pt x="150" y="14948"/>
                      </a:cubicBezTo>
                      <a:cubicBezTo>
                        <a:pt x="-388" y="11826"/>
                        <a:pt x="540" y="8627"/>
                        <a:pt x="2666" y="6277"/>
                      </a:cubicBezTo>
                      <a:cubicBezTo>
                        <a:pt x="4333" y="4308"/>
                        <a:pt x="6485" y="2817"/>
                        <a:pt x="8914" y="1941"/>
                      </a:cubicBezTo>
                      <a:cubicBezTo>
                        <a:pt x="9522" y="1941"/>
                        <a:pt x="12385" y="207"/>
                        <a:pt x="12993" y="34"/>
                      </a:cubicBezTo>
                      <a:cubicBezTo>
                        <a:pt x="14520" y="-88"/>
                        <a:pt x="16065" y="120"/>
                        <a:pt x="17505" y="641"/>
                      </a:cubicBezTo>
                      <a:cubicBezTo>
                        <a:pt x="18199" y="1074"/>
                        <a:pt x="18807" y="2548"/>
                        <a:pt x="19501" y="2895"/>
                      </a:cubicBezTo>
                      <a:cubicBezTo>
                        <a:pt x="20195" y="3242"/>
                        <a:pt x="20022" y="4976"/>
                        <a:pt x="20542" y="5236"/>
                      </a:cubicBezTo>
                      <a:cubicBezTo>
                        <a:pt x="21063" y="5497"/>
                        <a:pt x="21063" y="7404"/>
                        <a:pt x="21497" y="7664"/>
                      </a:cubicBezTo>
                      <a:cubicBezTo>
                        <a:pt x="21392" y="8445"/>
                        <a:pt x="21392" y="9225"/>
                        <a:pt x="21497" y="10006"/>
                      </a:cubicBezTo>
                      <a:cubicBezTo>
                        <a:pt x="21497" y="11046"/>
                        <a:pt x="21497" y="14428"/>
                        <a:pt x="21497" y="15035"/>
                      </a:cubicBezTo>
                      <a:cubicBezTo>
                        <a:pt x="21497" y="15642"/>
                        <a:pt x="22104" y="16422"/>
                        <a:pt x="21497" y="17029"/>
                      </a:cubicBezTo>
                      <a:cubicBezTo>
                        <a:pt x="20889" y="17636"/>
                        <a:pt x="19414" y="20064"/>
                        <a:pt x="18547" y="20064"/>
                      </a:cubicBezTo>
                      <a:cubicBezTo>
                        <a:pt x="17678" y="20064"/>
                        <a:pt x="16898" y="21799"/>
                        <a:pt x="15770" y="21972"/>
                      </a:cubicBezTo>
                      <a:cubicBezTo>
                        <a:pt x="14642" y="22145"/>
                        <a:pt x="14381" y="21972"/>
                        <a:pt x="13687" y="21972"/>
                      </a:cubicBezTo>
                      <a:lnTo>
                        <a:pt x="11691" y="21972"/>
                      </a:lnTo>
                    </a:path>
                  </a:pathLst>
                </a:custGeom>
                <a:grpFill/>
                <a:ln w="8678"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96" name="Forma libre 420">
                  <a:extLst>
                    <a:ext uri="{FF2B5EF4-FFF2-40B4-BE49-F238E27FC236}">
                      <a16:creationId xmlns:a16="http://schemas.microsoft.com/office/drawing/2014/main" id="{F7EAE8F9-69AD-5642-4797-82D6843D3A4D}"/>
                    </a:ext>
                  </a:extLst>
                </p:cNvPr>
                <p:cNvSpPr/>
                <p:nvPr/>
              </p:nvSpPr>
              <p:spPr>
                <a:xfrm>
                  <a:off x="4214326" y="3698419"/>
                  <a:ext cx="14116" cy="14643"/>
                </a:xfrm>
                <a:custGeom>
                  <a:avLst/>
                  <a:gdLst>
                    <a:gd name="connsiteX0" fmla="*/ 11952 w 21766"/>
                    <a:gd name="connsiteY0" fmla="*/ 22579 h 22578"/>
                    <a:gd name="connsiteX1" fmla="*/ 7092 w 21766"/>
                    <a:gd name="connsiteY1" fmla="*/ 20584 h 22578"/>
                    <a:gd name="connsiteX2" fmla="*/ 4575 w 21766"/>
                    <a:gd name="connsiteY2" fmla="*/ 18503 h 22578"/>
                    <a:gd name="connsiteX3" fmla="*/ 2319 w 21766"/>
                    <a:gd name="connsiteY3" fmla="*/ 16596 h 22578"/>
                    <a:gd name="connsiteX4" fmla="*/ 150 w 21766"/>
                    <a:gd name="connsiteY4" fmla="*/ 14948 h 22578"/>
                    <a:gd name="connsiteX5" fmla="*/ 2666 w 21766"/>
                    <a:gd name="connsiteY5" fmla="*/ 6277 h 22578"/>
                    <a:gd name="connsiteX6" fmla="*/ 8914 w 21766"/>
                    <a:gd name="connsiteY6" fmla="*/ 1941 h 22578"/>
                    <a:gd name="connsiteX7" fmla="*/ 12993 w 21766"/>
                    <a:gd name="connsiteY7" fmla="*/ 34 h 22578"/>
                    <a:gd name="connsiteX8" fmla="*/ 17505 w 21766"/>
                    <a:gd name="connsiteY8" fmla="*/ 641 h 22578"/>
                    <a:gd name="connsiteX9" fmla="*/ 19501 w 21766"/>
                    <a:gd name="connsiteY9" fmla="*/ 2895 h 22578"/>
                    <a:gd name="connsiteX10" fmla="*/ 20542 w 21766"/>
                    <a:gd name="connsiteY10" fmla="*/ 5236 h 22578"/>
                    <a:gd name="connsiteX11" fmla="*/ 21497 w 21766"/>
                    <a:gd name="connsiteY11" fmla="*/ 7664 h 22578"/>
                    <a:gd name="connsiteX12" fmla="*/ 21497 w 21766"/>
                    <a:gd name="connsiteY12" fmla="*/ 10006 h 22578"/>
                    <a:gd name="connsiteX13" fmla="*/ 21497 w 21766"/>
                    <a:gd name="connsiteY13" fmla="*/ 15035 h 22578"/>
                    <a:gd name="connsiteX14" fmla="*/ 21497 w 21766"/>
                    <a:gd name="connsiteY14" fmla="*/ 17029 h 22578"/>
                    <a:gd name="connsiteX15" fmla="*/ 18547 w 21766"/>
                    <a:gd name="connsiteY15" fmla="*/ 20064 h 22578"/>
                    <a:gd name="connsiteX16" fmla="*/ 15770 w 21766"/>
                    <a:gd name="connsiteY16" fmla="*/ 21972 h 22578"/>
                    <a:gd name="connsiteX17" fmla="*/ 13687 w 21766"/>
                    <a:gd name="connsiteY17" fmla="*/ 21972 h 22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66" h="22578">
                      <a:moveTo>
                        <a:pt x="11952" y="22579"/>
                      </a:moveTo>
                      <a:cubicBezTo>
                        <a:pt x="10172" y="22397"/>
                        <a:pt x="8489" y="21703"/>
                        <a:pt x="7092" y="20584"/>
                      </a:cubicBezTo>
                      <a:cubicBezTo>
                        <a:pt x="6224" y="19544"/>
                        <a:pt x="5096" y="18503"/>
                        <a:pt x="4575" y="18503"/>
                      </a:cubicBezTo>
                      <a:cubicBezTo>
                        <a:pt x="4055" y="18503"/>
                        <a:pt x="3013" y="17289"/>
                        <a:pt x="2319" y="16596"/>
                      </a:cubicBezTo>
                      <a:cubicBezTo>
                        <a:pt x="1625" y="15902"/>
                        <a:pt x="497" y="16075"/>
                        <a:pt x="150" y="14948"/>
                      </a:cubicBezTo>
                      <a:cubicBezTo>
                        <a:pt x="-388" y="11826"/>
                        <a:pt x="540" y="8627"/>
                        <a:pt x="2666" y="6277"/>
                      </a:cubicBezTo>
                      <a:cubicBezTo>
                        <a:pt x="4333" y="4308"/>
                        <a:pt x="6485" y="2817"/>
                        <a:pt x="8914" y="1941"/>
                      </a:cubicBezTo>
                      <a:cubicBezTo>
                        <a:pt x="9522" y="1941"/>
                        <a:pt x="12385" y="207"/>
                        <a:pt x="12993" y="34"/>
                      </a:cubicBezTo>
                      <a:cubicBezTo>
                        <a:pt x="14520" y="-88"/>
                        <a:pt x="16065" y="120"/>
                        <a:pt x="17505" y="641"/>
                      </a:cubicBezTo>
                      <a:cubicBezTo>
                        <a:pt x="18199" y="1074"/>
                        <a:pt x="18807" y="2548"/>
                        <a:pt x="19501" y="2895"/>
                      </a:cubicBezTo>
                      <a:cubicBezTo>
                        <a:pt x="20195" y="3242"/>
                        <a:pt x="20022" y="4976"/>
                        <a:pt x="20542" y="5236"/>
                      </a:cubicBezTo>
                      <a:cubicBezTo>
                        <a:pt x="21063" y="5497"/>
                        <a:pt x="21063" y="7404"/>
                        <a:pt x="21497" y="7664"/>
                      </a:cubicBezTo>
                      <a:cubicBezTo>
                        <a:pt x="21392" y="8445"/>
                        <a:pt x="21392" y="9225"/>
                        <a:pt x="21497" y="10006"/>
                      </a:cubicBezTo>
                      <a:cubicBezTo>
                        <a:pt x="21497" y="11046"/>
                        <a:pt x="21497" y="14428"/>
                        <a:pt x="21497" y="15035"/>
                      </a:cubicBezTo>
                      <a:cubicBezTo>
                        <a:pt x="21497" y="15642"/>
                        <a:pt x="22104" y="16422"/>
                        <a:pt x="21497" y="17029"/>
                      </a:cubicBezTo>
                      <a:cubicBezTo>
                        <a:pt x="20889" y="17636"/>
                        <a:pt x="19414" y="20064"/>
                        <a:pt x="18547" y="20064"/>
                      </a:cubicBezTo>
                      <a:cubicBezTo>
                        <a:pt x="17678" y="20064"/>
                        <a:pt x="16898" y="21799"/>
                        <a:pt x="15770" y="21972"/>
                      </a:cubicBezTo>
                      <a:cubicBezTo>
                        <a:pt x="14642" y="22145"/>
                        <a:pt x="14381" y="21972"/>
                        <a:pt x="13687" y="21972"/>
                      </a:cubicBezTo>
                      <a:close/>
                    </a:path>
                  </a:pathLst>
                </a:custGeom>
                <a:grpFill/>
                <a:ln w="4078"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97" name="Forma libre 421">
                  <a:extLst>
                    <a:ext uri="{FF2B5EF4-FFF2-40B4-BE49-F238E27FC236}">
                      <a16:creationId xmlns:a16="http://schemas.microsoft.com/office/drawing/2014/main" id="{F3245489-77F3-BB5D-8D7F-2617DAA4DA82}"/>
                    </a:ext>
                  </a:extLst>
                </p:cNvPr>
                <p:cNvSpPr/>
                <p:nvPr/>
              </p:nvSpPr>
              <p:spPr>
                <a:xfrm>
                  <a:off x="4243800" y="3684776"/>
                  <a:ext cx="12925" cy="13609"/>
                </a:xfrm>
                <a:custGeom>
                  <a:avLst/>
                  <a:gdLst>
                    <a:gd name="connsiteX0" fmla="*/ 18396 w 19929"/>
                    <a:gd name="connsiteY0" fmla="*/ 20551 h 20984"/>
                    <a:gd name="connsiteX1" fmla="*/ 16835 w 19929"/>
                    <a:gd name="connsiteY1" fmla="*/ 20551 h 20984"/>
                    <a:gd name="connsiteX2" fmla="*/ 15446 w 19929"/>
                    <a:gd name="connsiteY2" fmla="*/ 20984 h 20984"/>
                    <a:gd name="connsiteX3" fmla="*/ 12322 w 19929"/>
                    <a:gd name="connsiteY3" fmla="*/ 20551 h 20984"/>
                    <a:gd name="connsiteX4" fmla="*/ 10847 w 19929"/>
                    <a:gd name="connsiteY4" fmla="*/ 20551 h 20984"/>
                    <a:gd name="connsiteX5" fmla="*/ 9285 w 19929"/>
                    <a:gd name="connsiteY5" fmla="*/ 20551 h 20984"/>
                    <a:gd name="connsiteX6" fmla="*/ 8157 w 19929"/>
                    <a:gd name="connsiteY6" fmla="*/ 20551 h 20984"/>
                    <a:gd name="connsiteX7" fmla="*/ 7116 w 19929"/>
                    <a:gd name="connsiteY7" fmla="*/ 19857 h 20984"/>
                    <a:gd name="connsiteX8" fmla="*/ 5988 w 19929"/>
                    <a:gd name="connsiteY8" fmla="*/ 19423 h 20984"/>
                    <a:gd name="connsiteX9" fmla="*/ 5293 w 19929"/>
                    <a:gd name="connsiteY9" fmla="*/ 18990 h 20984"/>
                    <a:gd name="connsiteX10" fmla="*/ 3298 w 19929"/>
                    <a:gd name="connsiteY10" fmla="*/ 17516 h 20984"/>
                    <a:gd name="connsiteX11" fmla="*/ 3298 w 19929"/>
                    <a:gd name="connsiteY11" fmla="*/ 16909 h 20984"/>
                    <a:gd name="connsiteX12" fmla="*/ 3992 w 19929"/>
                    <a:gd name="connsiteY12" fmla="*/ 15955 h 20984"/>
                    <a:gd name="connsiteX13" fmla="*/ 2343 w 19929"/>
                    <a:gd name="connsiteY13" fmla="*/ 14654 h 20984"/>
                    <a:gd name="connsiteX14" fmla="*/ 1823 w 19929"/>
                    <a:gd name="connsiteY14" fmla="*/ 14654 h 20984"/>
                    <a:gd name="connsiteX15" fmla="*/ 694 w 19929"/>
                    <a:gd name="connsiteY15" fmla="*/ 13354 h 20984"/>
                    <a:gd name="connsiteX16" fmla="*/ 0 w 19929"/>
                    <a:gd name="connsiteY16" fmla="*/ 12573 h 20984"/>
                    <a:gd name="connsiteX17" fmla="*/ 0 w 19929"/>
                    <a:gd name="connsiteY17" fmla="*/ 11966 h 20984"/>
                    <a:gd name="connsiteX18" fmla="*/ 0 w 19929"/>
                    <a:gd name="connsiteY18" fmla="*/ 11533 h 20984"/>
                    <a:gd name="connsiteX19" fmla="*/ 781 w 19929"/>
                    <a:gd name="connsiteY19" fmla="*/ 11533 h 20984"/>
                    <a:gd name="connsiteX20" fmla="*/ 781 w 19929"/>
                    <a:gd name="connsiteY20" fmla="*/ 10405 h 20984"/>
                    <a:gd name="connsiteX21" fmla="*/ 781 w 19929"/>
                    <a:gd name="connsiteY21" fmla="*/ 9798 h 20984"/>
                    <a:gd name="connsiteX22" fmla="*/ 781 w 19929"/>
                    <a:gd name="connsiteY22" fmla="*/ 9365 h 20984"/>
                    <a:gd name="connsiteX23" fmla="*/ 781 w 19929"/>
                    <a:gd name="connsiteY23" fmla="*/ 8758 h 20984"/>
                    <a:gd name="connsiteX24" fmla="*/ 781 w 19929"/>
                    <a:gd name="connsiteY24" fmla="*/ 8151 h 20984"/>
                    <a:gd name="connsiteX25" fmla="*/ 781 w 19929"/>
                    <a:gd name="connsiteY25" fmla="*/ 6850 h 20984"/>
                    <a:gd name="connsiteX26" fmla="*/ 1302 w 19929"/>
                    <a:gd name="connsiteY26" fmla="*/ 6330 h 20984"/>
                    <a:gd name="connsiteX27" fmla="*/ 1302 w 19929"/>
                    <a:gd name="connsiteY27" fmla="*/ 5029 h 20984"/>
                    <a:gd name="connsiteX28" fmla="*/ 2169 w 19929"/>
                    <a:gd name="connsiteY28" fmla="*/ 5029 h 20984"/>
                    <a:gd name="connsiteX29" fmla="*/ 2169 w 19929"/>
                    <a:gd name="connsiteY29" fmla="*/ 3902 h 20984"/>
                    <a:gd name="connsiteX30" fmla="*/ 1041 w 19929"/>
                    <a:gd name="connsiteY30" fmla="*/ 3468 h 20984"/>
                    <a:gd name="connsiteX31" fmla="*/ 608 w 19929"/>
                    <a:gd name="connsiteY31" fmla="*/ 2254 h 20984"/>
                    <a:gd name="connsiteX32" fmla="*/ 0 w 19929"/>
                    <a:gd name="connsiteY32" fmla="*/ 2254 h 20984"/>
                    <a:gd name="connsiteX33" fmla="*/ 0 w 19929"/>
                    <a:gd name="connsiteY33" fmla="*/ 1387 h 20984"/>
                    <a:gd name="connsiteX34" fmla="*/ 694 w 19929"/>
                    <a:gd name="connsiteY34" fmla="*/ 1387 h 20984"/>
                    <a:gd name="connsiteX35" fmla="*/ 694 w 19929"/>
                    <a:gd name="connsiteY35" fmla="*/ 607 h 20984"/>
                    <a:gd name="connsiteX36" fmla="*/ 694 w 19929"/>
                    <a:gd name="connsiteY36" fmla="*/ 87 h 20984"/>
                    <a:gd name="connsiteX37" fmla="*/ 1215 w 19929"/>
                    <a:gd name="connsiteY37" fmla="*/ 87 h 20984"/>
                    <a:gd name="connsiteX38" fmla="*/ 1215 w 19929"/>
                    <a:gd name="connsiteY38" fmla="*/ 87 h 20984"/>
                    <a:gd name="connsiteX39" fmla="*/ 1215 w 19929"/>
                    <a:gd name="connsiteY39" fmla="*/ 520 h 20984"/>
                    <a:gd name="connsiteX40" fmla="*/ 1823 w 19929"/>
                    <a:gd name="connsiteY40" fmla="*/ 520 h 20984"/>
                    <a:gd name="connsiteX41" fmla="*/ 2690 w 19929"/>
                    <a:gd name="connsiteY41" fmla="*/ 0 h 20984"/>
                    <a:gd name="connsiteX42" fmla="*/ 3905 w 19929"/>
                    <a:gd name="connsiteY42" fmla="*/ 520 h 20984"/>
                    <a:gd name="connsiteX43" fmla="*/ 4599 w 19929"/>
                    <a:gd name="connsiteY43" fmla="*/ 520 h 20984"/>
                    <a:gd name="connsiteX44" fmla="*/ 4599 w 19929"/>
                    <a:gd name="connsiteY44" fmla="*/ 1387 h 20984"/>
                    <a:gd name="connsiteX45" fmla="*/ 4599 w 19929"/>
                    <a:gd name="connsiteY45" fmla="*/ 3122 h 20984"/>
                    <a:gd name="connsiteX46" fmla="*/ 6508 w 19929"/>
                    <a:gd name="connsiteY46" fmla="*/ 4075 h 20984"/>
                    <a:gd name="connsiteX47" fmla="*/ 7723 w 19929"/>
                    <a:gd name="connsiteY47" fmla="*/ 4075 h 20984"/>
                    <a:gd name="connsiteX48" fmla="*/ 8765 w 19929"/>
                    <a:gd name="connsiteY48" fmla="*/ 4682 h 20984"/>
                    <a:gd name="connsiteX49" fmla="*/ 9893 w 19929"/>
                    <a:gd name="connsiteY49" fmla="*/ 5636 h 20984"/>
                    <a:gd name="connsiteX50" fmla="*/ 10847 w 19929"/>
                    <a:gd name="connsiteY50" fmla="*/ 6764 h 20984"/>
                    <a:gd name="connsiteX51" fmla="*/ 11628 w 19929"/>
                    <a:gd name="connsiteY51" fmla="*/ 7804 h 20984"/>
                    <a:gd name="connsiteX52" fmla="*/ 11628 w 19929"/>
                    <a:gd name="connsiteY52" fmla="*/ 8498 h 20984"/>
                    <a:gd name="connsiteX53" fmla="*/ 12322 w 19929"/>
                    <a:gd name="connsiteY53" fmla="*/ 8498 h 20984"/>
                    <a:gd name="connsiteX54" fmla="*/ 13016 w 19929"/>
                    <a:gd name="connsiteY54" fmla="*/ 8498 h 20984"/>
                    <a:gd name="connsiteX55" fmla="*/ 13884 w 19929"/>
                    <a:gd name="connsiteY55" fmla="*/ 9365 h 20984"/>
                    <a:gd name="connsiteX56" fmla="*/ 14405 w 19929"/>
                    <a:gd name="connsiteY56" fmla="*/ 9885 h 20984"/>
                    <a:gd name="connsiteX57" fmla="*/ 15360 w 19929"/>
                    <a:gd name="connsiteY57" fmla="*/ 9885 h 20984"/>
                    <a:gd name="connsiteX58" fmla="*/ 15793 w 19929"/>
                    <a:gd name="connsiteY58" fmla="*/ 11012 h 20984"/>
                    <a:gd name="connsiteX59" fmla="*/ 17442 w 19929"/>
                    <a:gd name="connsiteY59" fmla="*/ 12833 h 20984"/>
                    <a:gd name="connsiteX60" fmla="*/ 18136 w 19929"/>
                    <a:gd name="connsiteY60" fmla="*/ 13874 h 20984"/>
                    <a:gd name="connsiteX61" fmla="*/ 18917 w 19929"/>
                    <a:gd name="connsiteY61" fmla="*/ 13874 h 20984"/>
                    <a:gd name="connsiteX62" fmla="*/ 18917 w 19929"/>
                    <a:gd name="connsiteY62" fmla="*/ 14568 h 20984"/>
                    <a:gd name="connsiteX63" fmla="*/ 18917 w 19929"/>
                    <a:gd name="connsiteY63" fmla="*/ 14568 h 20984"/>
                    <a:gd name="connsiteX64" fmla="*/ 19698 w 19929"/>
                    <a:gd name="connsiteY64" fmla="*/ 15695 h 20984"/>
                    <a:gd name="connsiteX65" fmla="*/ 19698 w 19929"/>
                    <a:gd name="connsiteY65" fmla="*/ 16302 h 20984"/>
                    <a:gd name="connsiteX66" fmla="*/ 19698 w 19929"/>
                    <a:gd name="connsiteY66" fmla="*/ 17256 h 20984"/>
                    <a:gd name="connsiteX67" fmla="*/ 18743 w 19929"/>
                    <a:gd name="connsiteY67" fmla="*/ 17256 h 20984"/>
                    <a:gd name="connsiteX68" fmla="*/ 18743 w 19929"/>
                    <a:gd name="connsiteY68" fmla="*/ 17256 h 20984"/>
                    <a:gd name="connsiteX69" fmla="*/ 18223 w 19929"/>
                    <a:gd name="connsiteY69" fmla="*/ 17256 h 20984"/>
                    <a:gd name="connsiteX70" fmla="*/ 18223 w 19929"/>
                    <a:gd name="connsiteY70" fmla="*/ 17256 h 20984"/>
                    <a:gd name="connsiteX71" fmla="*/ 17268 w 19929"/>
                    <a:gd name="connsiteY71" fmla="*/ 18730 h 20984"/>
                    <a:gd name="connsiteX72" fmla="*/ 17268 w 19929"/>
                    <a:gd name="connsiteY72" fmla="*/ 20377 h 20984"/>
                    <a:gd name="connsiteX73" fmla="*/ 17268 w 19929"/>
                    <a:gd name="connsiteY73" fmla="*/ 20377 h 20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9929" h="20984">
                      <a:moveTo>
                        <a:pt x="18396" y="20551"/>
                      </a:moveTo>
                      <a:lnTo>
                        <a:pt x="16835" y="20551"/>
                      </a:lnTo>
                      <a:lnTo>
                        <a:pt x="15446" y="20984"/>
                      </a:lnTo>
                      <a:cubicBezTo>
                        <a:pt x="14396" y="20906"/>
                        <a:pt x="13355" y="20759"/>
                        <a:pt x="12322" y="20551"/>
                      </a:cubicBezTo>
                      <a:cubicBezTo>
                        <a:pt x="11801" y="20551"/>
                        <a:pt x="11107" y="20551"/>
                        <a:pt x="10847" y="20551"/>
                      </a:cubicBezTo>
                      <a:cubicBezTo>
                        <a:pt x="10326" y="20481"/>
                        <a:pt x="9806" y="20481"/>
                        <a:pt x="9285" y="20551"/>
                      </a:cubicBezTo>
                      <a:cubicBezTo>
                        <a:pt x="8851" y="20551"/>
                        <a:pt x="8591" y="20551"/>
                        <a:pt x="8157" y="20551"/>
                      </a:cubicBezTo>
                      <a:cubicBezTo>
                        <a:pt x="7775" y="20369"/>
                        <a:pt x="7428" y="20135"/>
                        <a:pt x="7116" y="19857"/>
                      </a:cubicBezTo>
                      <a:cubicBezTo>
                        <a:pt x="6682" y="19423"/>
                        <a:pt x="6248" y="19857"/>
                        <a:pt x="5988" y="19423"/>
                      </a:cubicBezTo>
                      <a:cubicBezTo>
                        <a:pt x="5727" y="18990"/>
                        <a:pt x="5988" y="19423"/>
                        <a:pt x="5293" y="18990"/>
                      </a:cubicBezTo>
                      <a:lnTo>
                        <a:pt x="3298" y="17516"/>
                      </a:lnTo>
                      <a:cubicBezTo>
                        <a:pt x="3298" y="17516"/>
                        <a:pt x="2603" y="16996"/>
                        <a:pt x="3298" y="16909"/>
                      </a:cubicBezTo>
                      <a:cubicBezTo>
                        <a:pt x="3992" y="16822"/>
                        <a:pt x="3992" y="16302"/>
                        <a:pt x="3992" y="15955"/>
                      </a:cubicBezTo>
                      <a:cubicBezTo>
                        <a:pt x="3401" y="15573"/>
                        <a:pt x="2855" y="15140"/>
                        <a:pt x="2343" y="14654"/>
                      </a:cubicBezTo>
                      <a:cubicBezTo>
                        <a:pt x="1823" y="14654"/>
                        <a:pt x="1823" y="14654"/>
                        <a:pt x="1823" y="14654"/>
                      </a:cubicBezTo>
                      <a:cubicBezTo>
                        <a:pt x="1249" y="14437"/>
                        <a:pt x="833" y="13952"/>
                        <a:pt x="694" y="13354"/>
                      </a:cubicBezTo>
                      <a:lnTo>
                        <a:pt x="0" y="12573"/>
                      </a:lnTo>
                      <a:cubicBezTo>
                        <a:pt x="78" y="12382"/>
                        <a:pt x="78" y="12157"/>
                        <a:pt x="0" y="11966"/>
                      </a:cubicBezTo>
                      <a:lnTo>
                        <a:pt x="0" y="11533"/>
                      </a:lnTo>
                      <a:lnTo>
                        <a:pt x="781" y="11533"/>
                      </a:lnTo>
                      <a:lnTo>
                        <a:pt x="781" y="10405"/>
                      </a:lnTo>
                      <a:lnTo>
                        <a:pt x="781" y="9798"/>
                      </a:lnTo>
                      <a:cubicBezTo>
                        <a:pt x="781" y="9365"/>
                        <a:pt x="781" y="9365"/>
                        <a:pt x="781" y="9365"/>
                      </a:cubicBezTo>
                      <a:cubicBezTo>
                        <a:pt x="781" y="9365"/>
                        <a:pt x="1388" y="8931"/>
                        <a:pt x="781" y="8758"/>
                      </a:cubicBezTo>
                      <a:cubicBezTo>
                        <a:pt x="174" y="8584"/>
                        <a:pt x="174" y="8324"/>
                        <a:pt x="781" y="8151"/>
                      </a:cubicBezTo>
                      <a:cubicBezTo>
                        <a:pt x="1085" y="7769"/>
                        <a:pt x="1085" y="7232"/>
                        <a:pt x="781" y="6850"/>
                      </a:cubicBezTo>
                      <a:cubicBezTo>
                        <a:pt x="781" y="6850"/>
                        <a:pt x="1302" y="6850"/>
                        <a:pt x="1302" y="6330"/>
                      </a:cubicBezTo>
                      <a:lnTo>
                        <a:pt x="1302" y="5029"/>
                      </a:lnTo>
                      <a:lnTo>
                        <a:pt x="2169" y="5029"/>
                      </a:lnTo>
                      <a:cubicBezTo>
                        <a:pt x="2169" y="4596"/>
                        <a:pt x="2169" y="3902"/>
                        <a:pt x="2169" y="3902"/>
                      </a:cubicBezTo>
                      <a:cubicBezTo>
                        <a:pt x="2169" y="3902"/>
                        <a:pt x="1128" y="3902"/>
                        <a:pt x="1041" y="3468"/>
                      </a:cubicBezTo>
                      <a:cubicBezTo>
                        <a:pt x="1006" y="3035"/>
                        <a:pt x="859" y="2619"/>
                        <a:pt x="608" y="2254"/>
                      </a:cubicBezTo>
                      <a:cubicBezTo>
                        <a:pt x="608" y="1821"/>
                        <a:pt x="0" y="2254"/>
                        <a:pt x="0" y="2254"/>
                      </a:cubicBezTo>
                      <a:cubicBezTo>
                        <a:pt x="0" y="2254"/>
                        <a:pt x="0" y="1474"/>
                        <a:pt x="0" y="1387"/>
                      </a:cubicBezTo>
                      <a:lnTo>
                        <a:pt x="694" y="1387"/>
                      </a:lnTo>
                      <a:cubicBezTo>
                        <a:pt x="694" y="780"/>
                        <a:pt x="87" y="780"/>
                        <a:pt x="694" y="607"/>
                      </a:cubicBezTo>
                      <a:lnTo>
                        <a:pt x="694" y="87"/>
                      </a:lnTo>
                      <a:lnTo>
                        <a:pt x="1215" y="87"/>
                      </a:lnTo>
                      <a:cubicBezTo>
                        <a:pt x="1215" y="87"/>
                        <a:pt x="1215" y="87"/>
                        <a:pt x="1215" y="87"/>
                      </a:cubicBezTo>
                      <a:lnTo>
                        <a:pt x="1215" y="520"/>
                      </a:lnTo>
                      <a:cubicBezTo>
                        <a:pt x="1215" y="520"/>
                        <a:pt x="1215" y="520"/>
                        <a:pt x="1823" y="520"/>
                      </a:cubicBezTo>
                      <a:cubicBezTo>
                        <a:pt x="2430" y="520"/>
                        <a:pt x="1823" y="0"/>
                        <a:pt x="2690" y="0"/>
                      </a:cubicBezTo>
                      <a:cubicBezTo>
                        <a:pt x="3558" y="0"/>
                        <a:pt x="3211" y="520"/>
                        <a:pt x="3905" y="520"/>
                      </a:cubicBezTo>
                      <a:cubicBezTo>
                        <a:pt x="4122" y="408"/>
                        <a:pt x="4382" y="408"/>
                        <a:pt x="4599" y="520"/>
                      </a:cubicBezTo>
                      <a:cubicBezTo>
                        <a:pt x="4599" y="520"/>
                        <a:pt x="4599" y="1127"/>
                        <a:pt x="4599" y="1387"/>
                      </a:cubicBezTo>
                      <a:cubicBezTo>
                        <a:pt x="4417" y="1951"/>
                        <a:pt x="4417" y="2558"/>
                        <a:pt x="4599" y="3122"/>
                      </a:cubicBezTo>
                      <a:cubicBezTo>
                        <a:pt x="5137" y="3607"/>
                        <a:pt x="5796" y="3937"/>
                        <a:pt x="6508" y="4075"/>
                      </a:cubicBezTo>
                      <a:lnTo>
                        <a:pt x="7723" y="4075"/>
                      </a:lnTo>
                      <a:cubicBezTo>
                        <a:pt x="7723" y="4596"/>
                        <a:pt x="8417" y="4075"/>
                        <a:pt x="8765" y="4682"/>
                      </a:cubicBezTo>
                      <a:cubicBezTo>
                        <a:pt x="9111" y="5289"/>
                        <a:pt x="9632" y="5203"/>
                        <a:pt x="9893" y="5636"/>
                      </a:cubicBezTo>
                      <a:cubicBezTo>
                        <a:pt x="10153" y="6070"/>
                        <a:pt x="10413" y="6243"/>
                        <a:pt x="10847" y="6764"/>
                      </a:cubicBezTo>
                      <a:cubicBezTo>
                        <a:pt x="11281" y="7284"/>
                        <a:pt x="11628" y="7370"/>
                        <a:pt x="11628" y="7804"/>
                      </a:cubicBezTo>
                      <a:cubicBezTo>
                        <a:pt x="11628" y="8238"/>
                        <a:pt x="11628" y="8498"/>
                        <a:pt x="11628" y="8498"/>
                      </a:cubicBezTo>
                      <a:lnTo>
                        <a:pt x="12322" y="8498"/>
                      </a:lnTo>
                      <a:cubicBezTo>
                        <a:pt x="12322" y="8498"/>
                        <a:pt x="12322" y="8498"/>
                        <a:pt x="13016" y="8498"/>
                      </a:cubicBezTo>
                      <a:cubicBezTo>
                        <a:pt x="13363" y="8714"/>
                        <a:pt x="13667" y="9018"/>
                        <a:pt x="13884" y="9365"/>
                      </a:cubicBezTo>
                      <a:cubicBezTo>
                        <a:pt x="13884" y="9365"/>
                        <a:pt x="13884" y="9365"/>
                        <a:pt x="14405" y="9885"/>
                      </a:cubicBezTo>
                      <a:lnTo>
                        <a:pt x="15360" y="9885"/>
                      </a:lnTo>
                      <a:cubicBezTo>
                        <a:pt x="15793" y="9885"/>
                        <a:pt x="15360" y="10579"/>
                        <a:pt x="15793" y="11012"/>
                      </a:cubicBezTo>
                      <a:lnTo>
                        <a:pt x="17442" y="12833"/>
                      </a:lnTo>
                      <a:cubicBezTo>
                        <a:pt x="17963" y="12833"/>
                        <a:pt x="17442" y="13874"/>
                        <a:pt x="18136" y="13874"/>
                      </a:cubicBezTo>
                      <a:cubicBezTo>
                        <a:pt x="18830" y="13874"/>
                        <a:pt x="18136" y="13874"/>
                        <a:pt x="18917" y="13874"/>
                      </a:cubicBezTo>
                      <a:cubicBezTo>
                        <a:pt x="19698" y="13874"/>
                        <a:pt x="18483" y="14394"/>
                        <a:pt x="18917" y="14568"/>
                      </a:cubicBezTo>
                      <a:cubicBezTo>
                        <a:pt x="19351" y="14741"/>
                        <a:pt x="18917" y="14568"/>
                        <a:pt x="18917" y="14568"/>
                      </a:cubicBezTo>
                      <a:lnTo>
                        <a:pt x="19698" y="15695"/>
                      </a:lnTo>
                      <a:cubicBezTo>
                        <a:pt x="19698" y="15695"/>
                        <a:pt x="19698" y="15695"/>
                        <a:pt x="19698" y="16302"/>
                      </a:cubicBezTo>
                      <a:cubicBezTo>
                        <a:pt x="19698" y="16909"/>
                        <a:pt x="20219" y="17169"/>
                        <a:pt x="19698" y="17256"/>
                      </a:cubicBezTo>
                      <a:cubicBezTo>
                        <a:pt x="19386" y="17204"/>
                        <a:pt x="19056" y="17204"/>
                        <a:pt x="18743" y="17256"/>
                      </a:cubicBezTo>
                      <a:cubicBezTo>
                        <a:pt x="18743" y="17256"/>
                        <a:pt x="18743" y="17256"/>
                        <a:pt x="18743" y="17256"/>
                      </a:cubicBezTo>
                      <a:cubicBezTo>
                        <a:pt x="18743" y="17256"/>
                        <a:pt x="18223" y="17256"/>
                        <a:pt x="18223" y="17256"/>
                      </a:cubicBezTo>
                      <a:cubicBezTo>
                        <a:pt x="18223" y="17256"/>
                        <a:pt x="18223" y="17256"/>
                        <a:pt x="18223" y="17256"/>
                      </a:cubicBezTo>
                      <a:cubicBezTo>
                        <a:pt x="17858" y="17715"/>
                        <a:pt x="17537" y="18209"/>
                        <a:pt x="17268" y="18730"/>
                      </a:cubicBezTo>
                      <a:cubicBezTo>
                        <a:pt x="17225" y="19276"/>
                        <a:pt x="17225" y="19831"/>
                        <a:pt x="17268" y="20377"/>
                      </a:cubicBezTo>
                      <a:lnTo>
                        <a:pt x="17268" y="20377"/>
                      </a:lnTo>
                    </a:path>
                  </a:pathLst>
                </a:custGeom>
                <a:grpFill/>
                <a:ln w="8678"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98" name="Forma libre 422">
                  <a:extLst>
                    <a:ext uri="{FF2B5EF4-FFF2-40B4-BE49-F238E27FC236}">
                      <a16:creationId xmlns:a16="http://schemas.microsoft.com/office/drawing/2014/main" id="{E010044B-0E95-1A9D-CC0B-F8CAE2FB57D4}"/>
                    </a:ext>
                  </a:extLst>
                </p:cNvPr>
                <p:cNvSpPr/>
                <p:nvPr/>
              </p:nvSpPr>
              <p:spPr>
                <a:xfrm>
                  <a:off x="4243800" y="3684776"/>
                  <a:ext cx="12925" cy="13609"/>
                </a:xfrm>
                <a:custGeom>
                  <a:avLst/>
                  <a:gdLst>
                    <a:gd name="connsiteX0" fmla="*/ 18396 w 19929"/>
                    <a:gd name="connsiteY0" fmla="*/ 20551 h 20984"/>
                    <a:gd name="connsiteX1" fmla="*/ 16835 w 19929"/>
                    <a:gd name="connsiteY1" fmla="*/ 20551 h 20984"/>
                    <a:gd name="connsiteX2" fmla="*/ 15446 w 19929"/>
                    <a:gd name="connsiteY2" fmla="*/ 20984 h 20984"/>
                    <a:gd name="connsiteX3" fmla="*/ 12322 w 19929"/>
                    <a:gd name="connsiteY3" fmla="*/ 20551 h 20984"/>
                    <a:gd name="connsiteX4" fmla="*/ 10847 w 19929"/>
                    <a:gd name="connsiteY4" fmla="*/ 20551 h 20984"/>
                    <a:gd name="connsiteX5" fmla="*/ 9285 w 19929"/>
                    <a:gd name="connsiteY5" fmla="*/ 20551 h 20984"/>
                    <a:gd name="connsiteX6" fmla="*/ 8157 w 19929"/>
                    <a:gd name="connsiteY6" fmla="*/ 20551 h 20984"/>
                    <a:gd name="connsiteX7" fmla="*/ 7116 w 19929"/>
                    <a:gd name="connsiteY7" fmla="*/ 19857 h 20984"/>
                    <a:gd name="connsiteX8" fmla="*/ 5988 w 19929"/>
                    <a:gd name="connsiteY8" fmla="*/ 19423 h 20984"/>
                    <a:gd name="connsiteX9" fmla="*/ 5293 w 19929"/>
                    <a:gd name="connsiteY9" fmla="*/ 18990 h 20984"/>
                    <a:gd name="connsiteX10" fmla="*/ 3298 w 19929"/>
                    <a:gd name="connsiteY10" fmla="*/ 17516 h 20984"/>
                    <a:gd name="connsiteX11" fmla="*/ 3298 w 19929"/>
                    <a:gd name="connsiteY11" fmla="*/ 16909 h 20984"/>
                    <a:gd name="connsiteX12" fmla="*/ 3992 w 19929"/>
                    <a:gd name="connsiteY12" fmla="*/ 15955 h 20984"/>
                    <a:gd name="connsiteX13" fmla="*/ 2343 w 19929"/>
                    <a:gd name="connsiteY13" fmla="*/ 14654 h 20984"/>
                    <a:gd name="connsiteX14" fmla="*/ 1823 w 19929"/>
                    <a:gd name="connsiteY14" fmla="*/ 14654 h 20984"/>
                    <a:gd name="connsiteX15" fmla="*/ 694 w 19929"/>
                    <a:gd name="connsiteY15" fmla="*/ 13354 h 20984"/>
                    <a:gd name="connsiteX16" fmla="*/ 0 w 19929"/>
                    <a:gd name="connsiteY16" fmla="*/ 12573 h 20984"/>
                    <a:gd name="connsiteX17" fmla="*/ 0 w 19929"/>
                    <a:gd name="connsiteY17" fmla="*/ 11966 h 20984"/>
                    <a:gd name="connsiteX18" fmla="*/ 0 w 19929"/>
                    <a:gd name="connsiteY18" fmla="*/ 11533 h 20984"/>
                    <a:gd name="connsiteX19" fmla="*/ 781 w 19929"/>
                    <a:gd name="connsiteY19" fmla="*/ 11533 h 20984"/>
                    <a:gd name="connsiteX20" fmla="*/ 781 w 19929"/>
                    <a:gd name="connsiteY20" fmla="*/ 10405 h 20984"/>
                    <a:gd name="connsiteX21" fmla="*/ 781 w 19929"/>
                    <a:gd name="connsiteY21" fmla="*/ 9798 h 20984"/>
                    <a:gd name="connsiteX22" fmla="*/ 781 w 19929"/>
                    <a:gd name="connsiteY22" fmla="*/ 9365 h 20984"/>
                    <a:gd name="connsiteX23" fmla="*/ 781 w 19929"/>
                    <a:gd name="connsiteY23" fmla="*/ 8758 h 20984"/>
                    <a:gd name="connsiteX24" fmla="*/ 781 w 19929"/>
                    <a:gd name="connsiteY24" fmla="*/ 8151 h 20984"/>
                    <a:gd name="connsiteX25" fmla="*/ 781 w 19929"/>
                    <a:gd name="connsiteY25" fmla="*/ 6850 h 20984"/>
                    <a:gd name="connsiteX26" fmla="*/ 1302 w 19929"/>
                    <a:gd name="connsiteY26" fmla="*/ 6330 h 20984"/>
                    <a:gd name="connsiteX27" fmla="*/ 1302 w 19929"/>
                    <a:gd name="connsiteY27" fmla="*/ 5029 h 20984"/>
                    <a:gd name="connsiteX28" fmla="*/ 2169 w 19929"/>
                    <a:gd name="connsiteY28" fmla="*/ 5029 h 20984"/>
                    <a:gd name="connsiteX29" fmla="*/ 2169 w 19929"/>
                    <a:gd name="connsiteY29" fmla="*/ 3902 h 20984"/>
                    <a:gd name="connsiteX30" fmla="*/ 1041 w 19929"/>
                    <a:gd name="connsiteY30" fmla="*/ 3468 h 20984"/>
                    <a:gd name="connsiteX31" fmla="*/ 608 w 19929"/>
                    <a:gd name="connsiteY31" fmla="*/ 2254 h 20984"/>
                    <a:gd name="connsiteX32" fmla="*/ 0 w 19929"/>
                    <a:gd name="connsiteY32" fmla="*/ 2254 h 20984"/>
                    <a:gd name="connsiteX33" fmla="*/ 0 w 19929"/>
                    <a:gd name="connsiteY33" fmla="*/ 1387 h 20984"/>
                    <a:gd name="connsiteX34" fmla="*/ 694 w 19929"/>
                    <a:gd name="connsiteY34" fmla="*/ 1387 h 20984"/>
                    <a:gd name="connsiteX35" fmla="*/ 694 w 19929"/>
                    <a:gd name="connsiteY35" fmla="*/ 607 h 20984"/>
                    <a:gd name="connsiteX36" fmla="*/ 694 w 19929"/>
                    <a:gd name="connsiteY36" fmla="*/ 87 h 20984"/>
                    <a:gd name="connsiteX37" fmla="*/ 1215 w 19929"/>
                    <a:gd name="connsiteY37" fmla="*/ 87 h 20984"/>
                    <a:gd name="connsiteX38" fmla="*/ 1215 w 19929"/>
                    <a:gd name="connsiteY38" fmla="*/ 87 h 20984"/>
                    <a:gd name="connsiteX39" fmla="*/ 1215 w 19929"/>
                    <a:gd name="connsiteY39" fmla="*/ 520 h 20984"/>
                    <a:gd name="connsiteX40" fmla="*/ 1823 w 19929"/>
                    <a:gd name="connsiteY40" fmla="*/ 520 h 20984"/>
                    <a:gd name="connsiteX41" fmla="*/ 2690 w 19929"/>
                    <a:gd name="connsiteY41" fmla="*/ 0 h 20984"/>
                    <a:gd name="connsiteX42" fmla="*/ 3905 w 19929"/>
                    <a:gd name="connsiteY42" fmla="*/ 520 h 20984"/>
                    <a:gd name="connsiteX43" fmla="*/ 4599 w 19929"/>
                    <a:gd name="connsiteY43" fmla="*/ 520 h 20984"/>
                    <a:gd name="connsiteX44" fmla="*/ 4599 w 19929"/>
                    <a:gd name="connsiteY44" fmla="*/ 1387 h 20984"/>
                    <a:gd name="connsiteX45" fmla="*/ 4599 w 19929"/>
                    <a:gd name="connsiteY45" fmla="*/ 3122 h 20984"/>
                    <a:gd name="connsiteX46" fmla="*/ 6508 w 19929"/>
                    <a:gd name="connsiteY46" fmla="*/ 4075 h 20984"/>
                    <a:gd name="connsiteX47" fmla="*/ 7723 w 19929"/>
                    <a:gd name="connsiteY47" fmla="*/ 4075 h 20984"/>
                    <a:gd name="connsiteX48" fmla="*/ 8765 w 19929"/>
                    <a:gd name="connsiteY48" fmla="*/ 4682 h 20984"/>
                    <a:gd name="connsiteX49" fmla="*/ 9893 w 19929"/>
                    <a:gd name="connsiteY49" fmla="*/ 5636 h 20984"/>
                    <a:gd name="connsiteX50" fmla="*/ 10847 w 19929"/>
                    <a:gd name="connsiteY50" fmla="*/ 6764 h 20984"/>
                    <a:gd name="connsiteX51" fmla="*/ 11628 w 19929"/>
                    <a:gd name="connsiteY51" fmla="*/ 7804 h 20984"/>
                    <a:gd name="connsiteX52" fmla="*/ 11628 w 19929"/>
                    <a:gd name="connsiteY52" fmla="*/ 8498 h 20984"/>
                    <a:gd name="connsiteX53" fmla="*/ 12322 w 19929"/>
                    <a:gd name="connsiteY53" fmla="*/ 8498 h 20984"/>
                    <a:gd name="connsiteX54" fmla="*/ 13016 w 19929"/>
                    <a:gd name="connsiteY54" fmla="*/ 8498 h 20984"/>
                    <a:gd name="connsiteX55" fmla="*/ 13884 w 19929"/>
                    <a:gd name="connsiteY55" fmla="*/ 9365 h 20984"/>
                    <a:gd name="connsiteX56" fmla="*/ 14405 w 19929"/>
                    <a:gd name="connsiteY56" fmla="*/ 9885 h 20984"/>
                    <a:gd name="connsiteX57" fmla="*/ 15360 w 19929"/>
                    <a:gd name="connsiteY57" fmla="*/ 9885 h 20984"/>
                    <a:gd name="connsiteX58" fmla="*/ 15793 w 19929"/>
                    <a:gd name="connsiteY58" fmla="*/ 11012 h 20984"/>
                    <a:gd name="connsiteX59" fmla="*/ 17442 w 19929"/>
                    <a:gd name="connsiteY59" fmla="*/ 12833 h 20984"/>
                    <a:gd name="connsiteX60" fmla="*/ 18136 w 19929"/>
                    <a:gd name="connsiteY60" fmla="*/ 13874 h 20984"/>
                    <a:gd name="connsiteX61" fmla="*/ 18917 w 19929"/>
                    <a:gd name="connsiteY61" fmla="*/ 13874 h 20984"/>
                    <a:gd name="connsiteX62" fmla="*/ 18917 w 19929"/>
                    <a:gd name="connsiteY62" fmla="*/ 14568 h 20984"/>
                    <a:gd name="connsiteX63" fmla="*/ 18917 w 19929"/>
                    <a:gd name="connsiteY63" fmla="*/ 14568 h 20984"/>
                    <a:gd name="connsiteX64" fmla="*/ 19698 w 19929"/>
                    <a:gd name="connsiteY64" fmla="*/ 15695 h 20984"/>
                    <a:gd name="connsiteX65" fmla="*/ 19698 w 19929"/>
                    <a:gd name="connsiteY65" fmla="*/ 16302 h 20984"/>
                    <a:gd name="connsiteX66" fmla="*/ 19698 w 19929"/>
                    <a:gd name="connsiteY66" fmla="*/ 17256 h 20984"/>
                    <a:gd name="connsiteX67" fmla="*/ 18743 w 19929"/>
                    <a:gd name="connsiteY67" fmla="*/ 17256 h 20984"/>
                    <a:gd name="connsiteX68" fmla="*/ 18743 w 19929"/>
                    <a:gd name="connsiteY68" fmla="*/ 17256 h 20984"/>
                    <a:gd name="connsiteX69" fmla="*/ 18223 w 19929"/>
                    <a:gd name="connsiteY69" fmla="*/ 17256 h 20984"/>
                    <a:gd name="connsiteX70" fmla="*/ 18223 w 19929"/>
                    <a:gd name="connsiteY70" fmla="*/ 17256 h 20984"/>
                    <a:gd name="connsiteX71" fmla="*/ 17268 w 19929"/>
                    <a:gd name="connsiteY71" fmla="*/ 18730 h 20984"/>
                    <a:gd name="connsiteX72" fmla="*/ 17268 w 19929"/>
                    <a:gd name="connsiteY72" fmla="*/ 20377 h 20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929" h="20984">
                      <a:moveTo>
                        <a:pt x="18396" y="20551"/>
                      </a:moveTo>
                      <a:lnTo>
                        <a:pt x="16835" y="20551"/>
                      </a:lnTo>
                      <a:lnTo>
                        <a:pt x="15446" y="20984"/>
                      </a:lnTo>
                      <a:cubicBezTo>
                        <a:pt x="14396" y="20906"/>
                        <a:pt x="13355" y="20759"/>
                        <a:pt x="12322" y="20551"/>
                      </a:cubicBezTo>
                      <a:cubicBezTo>
                        <a:pt x="11801" y="20551"/>
                        <a:pt x="11107" y="20551"/>
                        <a:pt x="10847" y="20551"/>
                      </a:cubicBezTo>
                      <a:cubicBezTo>
                        <a:pt x="10326" y="20481"/>
                        <a:pt x="9806" y="20481"/>
                        <a:pt x="9285" y="20551"/>
                      </a:cubicBezTo>
                      <a:cubicBezTo>
                        <a:pt x="8851" y="20551"/>
                        <a:pt x="8591" y="20551"/>
                        <a:pt x="8157" y="20551"/>
                      </a:cubicBezTo>
                      <a:cubicBezTo>
                        <a:pt x="7775" y="20369"/>
                        <a:pt x="7428" y="20135"/>
                        <a:pt x="7116" y="19857"/>
                      </a:cubicBezTo>
                      <a:cubicBezTo>
                        <a:pt x="6682" y="19423"/>
                        <a:pt x="6248" y="19857"/>
                        <a:pt x="5988" y="19423"/>
                      </a:cubicBezTo>
                      <a:cubicBezTo>
                        <a:pt x="5727" y="18990"/>
                        <a:pt x="5988" y="19423"/>
                        <a:pt x="5293" y="18990"/>
                      </a:cubicBezTo>
                      <a:lnTo>
                        <a:pt x="3298" y="17516"/>
                      </a:lnTo>
                      <a:cubicBezTo>
                        <a:pt x="3298" y="17516"/>
                        <a:pt x="2603" y="16996"/>
                        <a:pt x="3298" y="16909"/>
                      </a:cubicBezTo>
                      <a:cubicBezTo>
                        <a:pt x="3992" y="16822"/>
                        <a:pt x="3992" y="16302"/>
                        <a:pt x="3992" y="15955"/>
                      </a:cubicBezTo>
                      <a:cubicBezTo>
                        <a:pt x="3401" y="15573"/>
                        <a:pt x="2855" y="15140"/>
                        <a:pt x="2343" y="14654"/>
                      </a:cubicBezTo>
                      <a:cubicBezTo>
                        <a:pt x="1823" y="14654"/>
                        <a:pt x="1823" y="14654"/>
                        <a:pt x="1823" y="14654"/>
                      </a:cubicBezTo>
                      <a:cubicBezTo>
                        <a:pt x="1249" y="14437"/>
                        <a:pt x="833" y="13952"/>
                        <a:pt x="694" y="13354"/>
                      </a:cubicBezTo>
                      <a:lnTo>
                        <a:pt x="0" y="12573"/>
                      </a:lnTo>
                      <a:cubicBezTo>
                        <a:pt x="78" y="12382"/>
                        <a:pt x="78" y="12157"/>
                        <a:pt x="0" y="11966"/>
                      </a:cubicBezTo>
                      <a:lnTo>
                        <a:pt x="0" y="11533"/>
                      </a:lnTo>
                      <a:lnTo>
                        <a:pt x="781" y="11533"/>
                      </a:lnTo>
                      <a:lnTo>
                        <a:pt x="781" y="10405"/>
                      </a:lnTo>
                      <a:lnTo>
                        <a:pt x="781" y="9798"/>
                      </a:lnTo>
                      <a:cubicBezTo>
                        <a:pt x="781" y="9365"/>
                        <a:pt x="781" y="9365"/>
                        <a:pt x="781" y="9365"/>
                      </a:cubicBezTo>
                      <a:cubicBezTo>
                        <a:pt x="781" y="9365"/>
                        <a:pt x="1388" y="8931"/>
                        <a:pt x="781" y="8758"/>
                      </a:cubicBezTo>
                      <a:cubicBezTo>
                        <a:pt x="174" y="8584"/>
                        <a:pt x="174" y="8324"/>
                        <a:pt x="781" y="8151"/>
                      </a:cubicBezTo>
                      <a:cubicBezTo>
                        <a:pt x="1085" y="7769"/>
                        <a:pt x="1085" y="7232"/>
                        <a:pt x="781" y="6850"/>
                      </a:cubicBezTo>
                      <a:cubicBezTo>
                        <a:pt x="781" y="6850"/>
                        <a:pt x="1302" y="6850"/>
                        <a:pt x="1302" y="6330"/>
                      </a:cubicBezTo>
                      <a:lnTo>
                        <a:pt x="1302" y="5029"/>
                      </a:lnTo>
                      <a:lnTo>
                        <a:pt x="2169" y="5029"/>
                      </a:lnTo>
                      <a:cubicBezTo>
                        <a:pt x="2169" y="4596"/>
                        <a:pt x="2169" y="3902"/>
                        <a:pt x="2169" y="3902"/>
                      </a:cubicBezTo>
                      <a:cubicBezTo>
                        <a:pt x="2169" y="3902"/>
                        <a:pt x="1128" y="3902"/>
                        <a:pt x="1041" y="3468"/>
                      </a:cubicBezTo>
                      <a:cubicBezTo>
                        <a:pt x="1006" y="3035"/>
                        <a:pt x="859" y="2619"/>
                        <a:pt x="608" y="2254"/>
                      </a:cubicBezTo>
                      <a:cubicBezTo>
                        <a:pt x="608" y="1821"/>
                        <a:pt x="0" y="2254"/>
                        <a:pt x="0" y="2254"/>
                      </a:cubicBezTo>
                      <a:cubicBezTo>
                        <a:pt x="0" y="2254"/>
                        <a:pt x="0" y="1474"/>
                        <a:pt x="0" y="1387"/>
                      </a:cubicBezTo>
                      <a:lnTo>
                        <a:pt x="694" y="1387"/>
                      </a:lnTo>
                      <a:cubicBezTo>
                        <a:pt x="694" y="780"/>
                        <a:pt x="87" y="780"/>
                        <a:pt x="694" y="607"/>
                      </a:cubicBezTo>
                      <a:lnTo>
                        <a:pt x="694" y="87"/>
                      </a:lnTo>
                      <a:lnTo>
                        <a:pt x="1215" y="87"/>
                      </a:lnTo>
                      <a:cubicBezTo>
                        <a:pt x="1215" y="87"/>
                        <a:pt x="1215" y="87"/>
                        <a:pt x="1215" y="87"/>
                      </a:cubicBezTo>
                      <a:lnTo>
                        <a:pt x="1215" y="520"/>
                      </a:lnTo>
                      <a:cubicBezTo>
                        <a:pt x="1215" y="520"/>
                        <a:pt x="1215" y="520"/>
                        <a:pt x="1823" y="520"/>
                      </a:cubicBezTo>
                      <a:cubicBezTo>
                        <a:pt x="2430" y="520"/>
                        <a:pt x="1823" y="0"/>
                        <a:pt x="2690" y="0"/>
                      </a:cubicBezTo>
                      <a:cubicBezTo>
                        <a:pt x="3558" y="0"/>
                        <a:pt x="3211" y="520"/>
                        <a:pt x="3905" y="520"/>
                      </a:cubicBezTo>
                      <a:cubicBezTo>
                        <a:pt x="4122" y="408"/>
                        <a:pt x="4382" y="408"/>
                        <a:pt x="4599" y="520"/>
                      </a:cubicBezTo>
                      <a:cubicBezTo>
                        <a:pt x="4599" y="520"/>
                        <a:pt x="4599" y="1127"/>
                        <a:pt x="4599" y="1387"/>
                      </a:cubicBezTo>
                      <a:cubicBezTo>
                        <a:pt x="4417" y="1951"/>
                        <a:pt x="4417" y="2558"/>
                        <a:pt x="4599" y="3122"/>
                      </a:cubicBezTo>
                      <a:cubicBezTo>
                        <a:pt x="5137" y="3607"/>
                        <a:pt x="5796" y="3937"/>
                        <a:pt x="6508" y="4075"/>
                      </a:cubicBezTo>
                      <a:lnTo>
                        <a:pt x="7723" y="4075"/>
                      </a:lnTo>
                      <a:cubicBezTo>
                        <a:pt x="7723" y="4596"/>
                        <a:pt x="8417" y="4075"/>
                        <a:pt x="8765" y="4682"/>
                      </a:cubicBezTo>
                      <a:cubicBezTo>
                        <a:pt x="9111" y="5289"/>
                        <a:pt x="9632" y="5203"/>
                        <a:pt x="9893" y="5636"/>
                      </a:cubicBezTo>
                      <a:cubicBezTo>
                        <a:pt x="10153" y="6070"/>
                        <a:pt x="10413" y="6243"/>
                        <a:pt x="10847" y="6764"/>
                      </a:cubicBezTo>
                      <a:cubicBezTo>
                        <a:pt x="11281" y="7284"/>
                        <a:pt x="11628" y="7370"/>
                        <a:pt x="11628" y="7804"/>
                      </a:cubicBezTo>
                      <a:cubicBezTo>
                        <a:pt x="11628" y="8238"/>
                        <a:pt x="11628" y="8498"/>
                        <a:pt x="11628" y="8498"/>
                      </a:cubicBezTo>
                      <a:lnTo>
                        <a:pt x="12322" y="8498"/>
                      </a:lnTo>
                      <a:cubicBezTo>
                        <a:pt x="12322" y="8498"/>
                        <a:pt x="12322" y="8498"/>
                        <a:pt x="13016" y="8498"/>
                      </a:cubicBezTo>
                      <a:cubicBezTo>
                        <a:pt x="13363" y="8714"/>
                        <a:pt x="13667" y="9018"/>
                        <a:pt x="13884" y="9365"/>
                      </a:cubicBezTo>
                      <a:cubicBezTo>
                        <a:pt x="13884" y="9365"/>
                        <a:pt x="13884" y="9365"/>
                        <a:pt x="14405" y="9885"/>
                      </a:cubicBezTo>
                      <a:lnTo>
                        <a:pt x="15360" y="9885"/>
                      </a:lnTo>
                      <a:cubicBezTo>
                        <a:pt x="15793" y="9885"/>
                        <a:pt x="15360" y="10579"/>
                        <a:pt x="15793" y="11012"/>
                      </a:cubicBezTo>
                      <a:lnTo>
                        <a:pt x="17442" y="12833"/>
                      </a:lnTo>
                      <a:cubicBezTo>
                        <a:pt x="17963" y="12833"/>
                        <a:pt x="17442" y="13874"/>
                        <a:pt x="18136" y="13874"/>
                      </a:cubicBezTo>
                      <a:cubicBezTo>
                        <a:pt x="18830" y="13874"/>
                        <a:pt x="18136" y="13874"/>
                        <a:pt x="18917" y="13874"/>
                      </a:cubicBezTo>
                      <a:cubicBezTo>
                        <a:pt x="19698" y="13874"/>
                        <a:pt x="18483" y="14394"/>
                        <a:pt x="18917" y="14568"/>
                      </a:cubicBezTo>
                      <a:cubicBezTo>
                        <a:pt x="19351" y="14741"/>
                        <a:pt x="18917" y="14568"/>
                        <a:pt x="18917" y="14568"/>
                      </a:cubicBezTo>
                      <a:lnTo>
                        <a:pt x="19698" y="15695"/>
                      </a:lnTo>
                      <a:cubicBezTo>
                        <a:pt x="19698" y="15695"/>
                        <a:pt x="19698" y="15695"/>
                        <a:pt x="19698" y="16302"/>
                      </a:cubicBezTo>
                      <a:cubicBezTo>
                        <a:pt x="19698" y="16909"/>
                        <a:pt x="20219" y="17169"/>
                        <a:pt x="19698" y="17256"/>
                      </a:cubicBezTo>
                      <a:cubicBezTo>
                        <a:pt x="19386" y="17204"/>
                        <a:pt x="19056" y="17204"/>
                        <a:pt x="18743" y="17256"/>
                      </a:cubicBezTo>
                      <a:cubicBezTo>
                        <a:pt x="18743" y="17256"/>
                        <a:pt x="18743" y="17256"/>
                        <a:pt x="18743" y="17256"/>
                      </a:cubicBezTo>
                      <a:cubicBezTo>
                        <a:pt x="18743" y="17256"/>
                        <a:pt x="18223" y="17256"/>
                        <a:pt x="18223" y="17256"/>
                      </a:cubicBezTo>
                      <a:cubicBezTo>
                        <a:pt x="18223" y="17256"/>
                        <a:pt x="18223" y="17256"/>
                        <a:pt x="18223" y="17256"/>
                      </a:cubicBezTo>
                      <a:cubicBezTo>
                        <a:pt x="17858" y="17715"/>
                        <a:pt x="17537" y="18209"/>
                        <a:pt x="17268" y="18730"/>
                      </a:cubicBezTo>
                      <a:cubicBezTo>
                        <a:pt x="17225" y="19276"/>
                        <a:pt x="17225" y="19831"/>
                        <a:pt x="17268" y="20377"/>
                      </a:cubicBezTo>
                      <a:close/>
                    </a:path>
                  </a:pathLst>
                </a:custGeom>
                <a:grpFill/>
                <a:ln w="4078"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699" name="Forma libre 423">
                  <a:extLst>
                    <a:ext uri="{FF2B5EF4-FFF2-40B4-BE49-F238E27FC236}">
                      <a16:creationId xmlns:a16="http://schemas.microsoft.com/office/drawing/2014/main" id="{0320723B-68BF-0475-D4B3-6071C66781C6}"/>
                    </a:ext>
                  </a:extLst>
                </p:cNvPr>
                <p:cNvSpPr/>
                <p:nvPr/>
              </p:nvSpPr>
              <p:spPr>
                <a:xfrm>
                  <a:off x="4272614" y="3698159"/>
                  <a:ext cx="5627" cy="5623"/>
                </a:xfrm>
                <a:custGeom>
                  <a:avLst/>
                  <a:gdLst>
                    <a:gd name="connsiteX0" fmla="*/ 0 w 8677"/>
                    <a:gd name="connsiteY0" fmla="*/ 0 h 8671"/>
                    <a:gd name="connsiteX1" fmla="*/ 0 w 8677"/>
                    <a:gd name="connsiteY1" fmla="*/ 0 h 8671"/>
                  </a:gdLst>
                  <a:ahLst/>
                  <a:cxnLst>
                    <a:cxn ang="0">
                      <a:pos x="connsiteX0" y="connsiteY0"/>
                    </a:cxn>
                    <a:cxn ang="0">
                      <a:pos x="connsiteX1" y="connsiteY1"/>
                    </a:cxn>
                  </a:cxnLst>
                  <a:rect l="l" t="t" r="r" b="b"/>
                  <a:pathLst>
                    <a:path w="8677" h="8671">
                      <a:moveTo>
                        <a:pt x="0" y="0"/>
                      </a:moveTo>
                      <a:lnTo>
                        <a:pt x="0" y="0"/>
                      </a:lnTo>
                    </a:path>
                  </a:pathLst>
                </a:custGeom>
                <a:grpFill/>
                <a:ln w="8678"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700" name="Forma libre 424">
                  <a:extLst>
                    <a:ext uri="{FF2B5EF4-FFF2-40B4-BE49-F238E27FC236}">
                      <a16:creationId xmlns:a16="http://schemas.microsoft.com/office/drawing/2014/main" id="{05C732A9-6A8B-C81B-E81D-32CD7C7B4A3B}"/>
                    </a:ext>
                  </a:extLst>
                </p:cNvPr>
                <p:cNvSpPr/>
                <p:nvPr/>
              </p:nvSpPr>
              <p:spPr>
                <a:xfrm>
                  <a:off x="4272614" y="3698159"/>
                  <a:ext cx="5627" cy="5623"/>
                </a:xfrm>
                <a:custGeom>
                  <a:avLst/>
                  <a:gdLst>
                    <a:gd name="connsiteX0" fmla="*/ 0 w 8677"/>
                    <a:gd name="connsiteY0" fmla="*/ 0 h 8671"/>
                    <a:gd name="connsiteX1" fmla="*/ 0 w 8677"/>
                    <a:gd name="connsiteY1" fmla="*/ 0 h 8671"/>
                  </a:gdLst>
                  <a:ahLst/>
                  <a:cxnLst>
                    <a:cxn ang="0">
                      <a:pos x="connsiteX0" y="connsiteY0"/>
                    </a:cxn>
                    <a:cxn ang="0">
                      <a:pos x="connsiteX1" y="connsiteY1"/>
                    </a:cxn>
                  </a:cxnLst>
                  <a:rect l="l" t="t" r="r" b="b"/>
                  <a:pathLst>
                    <a:path w="8677" h="8671">
                      <a:moveTo>
                        <a:pt x="0" y="0"/>
                      </a:moveTo>
                      <a:lnTo>
                        <a:pt x="0" y="0"/>
                      </a:lnTo>
                      <a:close/>
                    </a:path>
                  </a:pathLst>
                </a:custGeom>
                <a:grpFill/>
                <a:ln w="4078"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701" name="Forma libre 425">
                  <a:extLst>
                    <a:ext uri="{FF2B5EF4-FFF2-40B4-BE49-F238E27FC236}">
                      <a16:creationId xmlns:a16="http://schemas.microsoft.com/office/drawing/2014/main" id="{E409972F-AD92-4A68-E702-4322ED9111E8}"/>
                    </a:ext>
                  </a:extLst>
                </p:cNvPr>
                <p:cNvSpPr/>
                <p:nvPr/>
              </p:nvSpPr>
              <p:spPr>
                <a:xfrm>
                  <a:off x="4272614" y="3641343"/>
                  <a:ext cx="14709" cy="14213"/>
                </a:xfrm>
                <a:custGeom>
                  <a:avLst/>
                  <a:gdLst>
                    <a:gd name="connsiteX0" fmla="*/ 19004 w 22681"/>
                    <a:gd name="connsiteY0" fmla="*/ 20926 h 21915"/>
                    <a:gd name="connsiteX1" fmla="*/ 15012 w 22681"/>
                    <a:gd name="connsiteY1" fmla="*/ 20926 h 21915"/>
                    <a:gd name="connsiteX2" fmla="*/ 12670 w 22681"/>
                    <a:gd name="connsiteY2" fmla="*/ 21879 h 21915"/>
                    <a:gd name="connsiteX3" fmla="*/ 11194 w 22681"/>
                    <a:gd name="connsiteY3" fmla="*/ 18758 h 21915"/>
                    <a:gd name="connsiteX4" fmla="*/ 8417 w 22681"/>
                    <a:gd name="connsiteY4" fmla="*/ 16676 h 21915"/>
                    <a:gd name="connsiteX5" fmla="*/ 9893 w 22681"/>
                    <a:gd name="connsiteY5" fmla="*/ 14075 h 21915"/>
                    <a:gd name="connsiteX6" fmla="*/ 4946 w 22681"/>
                    <a:gd name="connsiteY6" fmla="*/ 12081 h 21915"/>
                    <a:gd name="connsiteX7" fmla="*/ 2169 w 22681"/>
                    <a:gd name="connsiteY7" fmla="*/ 12775 h 21915"/>
                    <a:gd name="connsiteX8" fmla="*/ 521 w 22681"/>
                    <a:gd name="connsiteY8" fmla="*/ 12775 h 21915"/>
                    <a:gd name="connsiteX9" fmla="*/ 2690 w 22681"/>
                    <a:gd name="connsiteY9" fmla="*/ 11821 h 21915"/>
                    <a:gd name="connsiteX10" fmla="*/ 1128 w 22681"/>
                    <a:gd name="connsiteY10" fmla="*/ 9913 h 21915"/>
                    <a:gd name="connsiteX11" fmla="*/ 2690 w 22681"/>
                    <a:gd name="connsiteY11" fmla="*/ 8526 h 21915"/>
                    <a:gd name="connsiteX12" fmla="*/ 0 w 22681"/>
                    <a:gd name="connsiteY12" fmla="*/ 4450 h 21915"/>
                    <a:gd name="connsiteX13" fmla="*/ 1736 w 22681"/>
                    <a:gd name="connsiteY13" fmla="*/ 2369 h 21915"/>
                    <a:gd name="connsiteX14" fmla="*/ 6769 w 22681"/>
                    <a:gd name="connsiteY14" fmla="*/ 1068 h 21915"/>
                    <a:gd name="connsiteX15" fmla="*/ 9285 w 22681"/>
                    <a:gd name="connsiteY15" fmla="*/ 1068 h 21915"/>
                    <a:gd name="connsiteX16" fmla="*/ 11801 w 22681"/>
                    <a:gd name="connsiteY16" fmla="*/ 548 h 21915"/>
                    <a:gd name="connsiteX17" fmla="*/ 13277 w 22681"/>
                    <a:gd name="connsiteY17" fmla="*/ 28 h 21915"/>
                    <a:gd name="connsiteX18" fmla="*/ 15273 w 22681"/>
                    <a:gd name="connsiteY18" fmla="*/ 1068 h 21915"/>
                    <a:gd name="connsiteX19" fmla="*/ 18223 w 22681"/>
                    <a:gd name="connsiteY19" fmla="*/ 1762 h 21915"/>
                    <a:gd name="connsiteX20" fmla="*/ 16921 w 22681"/>
                    <a:gd name="connsiteY20" fmla="*/ 4017 h 21915"/>
                    <a:gd name="connsiteX21" fmla="*/ 19872 w 22681"/>
                    <a:gd name="connsiteY21" fmla="*/ 6705 h 21915"/>
                    <a:gd name="connsiteX22" fmla="*/ 19872 w 22681"/>
                    <a:gd name="connsiteY22" fmla="*/ 7745 h 21915"/>
                    <a:gd name="connsiteX23" fmla="*/ 18223 w 22681"/>
                    <a:gd name="connsiteY23" fmla="*/ 7745 h 21915"/>
                    <a:gd name="connsiteX24" fmla="*/ 18223 w 22681"/>
                    <a:gd name="connsiteY24" fmla="*/ 9133 h 21915"/>
                    <a:gd name="connsiteX25" fmla="*/ 20045 w 22681"/>
                    <a:gd name="connsiteY25" fmla="*/ 12428 h 21915"/>
                    <a:gd name="connsiteX26" fmla="*/ 21433 w 22681"/>
                    <a:gd name="connsiteY26" fmla="*/ 13642 h 21915"/>
                    <a:gd name="connsiteX27" fmla="*/ 22475 w 22681"/>
                    <a:gd name="connsiteY27" fmla="*/ 15029 h 21915"/>
                    <a:gd name="connsiteX28" fmla="*/ 20219 w 22681"/>
                    <a:gd name="connsiteY28" fmla="*/ 15896 h 21915"/>
                    <a:gd name="connsiteX29" fmla="*/ 19611 w 22681"/>
                    <a:gd name="connsiteY29" fmla="*/ 17284 h 21915"/>
                    <a:gd name="connsiteX30" fmla="*/ 17442 w 22681"/>
                    <a:gd name="connsiteY30" fmla="*/ 18411 h 21915"/>
                    <a:gd name="connsiteX31" fmla="*/ 18917 w 22681"/>
                    <a:gd name="connsiteY31" fmla="*/ 20579 h 21915"/>
                    <a:gd name="connsiteX32" fmla="*/ 19785 w 22681"/>
                    <a:gd name="connsiteY32" fmla="*/ 21186 h 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2681" h="21915">
                      <a:moveTo>
                        <a:pt x="19004" y="20926"/>
                      </a:moveTo>
                      <a:cubicBezTo>
                        <a:pt x="19004" y="21359"/>
                        <a:pt x="16053" y="20926"/>
                        <a:pt x="15012" y="20926"/>
                      </a:cubicBezTo>
                      <a:cubicBezTo>
                        <a:pt x="13971" y="20926"/>
                        <a:pt x="13884" y="22139"/>
                        <a:pt x="12670" y="21879"/>
                      </a:cubicBezTo>
                      <a:cubicBezTo>
                        <a:pt x="11455" y="21619"/>
                        <a:pt x="11194" y="19191"/>
                        <a:pt x="11194" y="18758"/>
                      </a:cubicBezTo>
                      <a:cubicBezTo>
                        <a:pt x="11194" y="18324"/>
                        <a:pt x="8591" y="17110"/>
                        <a:pt x="8417" y="16676"/>
                      </a:cubicBezTo>
                      <a:cubicBezTo>
                        <a:pt x="8244" y="16243"/>
                        <a:pt x="9979" y="15116"/>
                        <a:pt x="9893" y="14075"/>
                      </a:cubicBezTo>
                      <a:cubicBezTo>
                        <a:pt x="9806" y="13035"/>
                        <a:pt x="6161" y="12081"/>
                        <a:pt x="4946" y="12081"/>
                      </a:cubicBezTo>
                      <a:cubicBezTo>
                        <a:pt x="4000" y="12219"/>
                        <a:pt x="3072" y="12454"/>
                        <a:pt x="2169" y="12775"/>
                      </a:cubicBezTo>
                      <a:cubicBezTo>
                        <a:pt x="1562" y="12775"/>
                        <a:pt x="434" y="12775"/>
                        <a:pt x="521" y="12775"/>
                      </a:cubicBezTo>
                      <a:cubicBezTo>
                        <a:pt x="1172" y="12306"/>
                        <a:pt x="1909" y="11985"/>
                        <a:pt x="2690" y="11821"/>
                      </a:cubicBezTo>
                      <a:cubicBezTo>
                        <a:pt x="3558" y="11821"/>
                        <a:pt x="781" y="10433"/>
                        <a:pt x="1128" y="9913"/>
                      </a:cubicBezTo>
                      <a:cubicBezTo>
                        <a:pt x="1475" y="9393"/>
                        <a:pt x="2690" y="8872"/>
                        <a:pt x="2690" y="8526"/>
                      </a:cubicBezTo>
                      <a:cubicBezTo>
                        <a:pt x="2690" y="8179"/>
                        <a:pt x="0" y="5664"/>
                        <a:pt x="0" y="4450"/>
                      </a:cubicBezTo>
                      <a:cubicBezTo>
                        <a:pt x="0" y="3236"/>
                        <a:pt x="521" y="2456"/>
                        <a:pt x="1736" y="2369"/>
                      </a:cubicBezTo>
                      <a:cubicBezTo>
                        <a:pt x="2951" y="2282"/>
                        <a:pt x="5727" y="1329"/>
                        <a:pt x="6769" y="1068"/>
                      </a:cubicBezTo>
                      <a:cubicBezTo>
                        <a:pt x="7810" y="808"/>
                        <a:pt x="7983" y="1068"/>
                        <a:pt x="9285" y="1068"/>
                      </a:cubicBezTo>
                      <a:cubicBezTo>
                        <a:pt x="10109" y="817"/>
                        <a:pt x="10951" y="643"/>
                        <a:pt x="11801" y="548"/>
                      </a:cubicBezTo>
                      <a:cubicBezTo>
                        <a:pt x="11801" y="548"/>
                        <a:pt x="11801" y="-146"/>
                        <a:pt x="13277" y="28"/>
                      </a:cubicBezTo>
                      <a:cubicBezTo>
                        <a:pt x="14752" y="201"/>
                        <a:pt x="14231" y="808"/>
                        <a:pt x="15273" y="1068"/>
                      </a:cubicBezTo>
                      <a:cubicBezTo>
                        <a:pt x="16314" y="1329"/>
                        <a:pt x="18483" y="1068"/>
                        <a:pt x="18223" y="1762"/>
                      </a:cubicBezTo>
                      <a:cubicBezTo>
                        <a:pt x="17963" y="2456"/>
                        <a:pt x="16921" y="3496"/>
                        <a:pt x="16921" y="4017"/>
                      </a:cubicBezTo>
                      <a:cubicBezTo>
                        <a:pt x="16921" y="4537"/>
                        <a:pt x="19872" y="6184"/>
                        <a:pt x="19872" y="6705"/>
                      </a:cubicBezTo>
                      <a:cubicBezTo>
                        <a:pt x="19872" y="7225"/>
                        <a:pt x="19872" y="7745"/>
                        <a:pt x="19872" y="7745"/>
                      </a:cubicBezTo>
                      <a:cubicBezTo>
                        <a:pt x="19872" y="7745"/>
                        <a:pt x="18570" y="7745"/>
                        <a:pt x="18223" y="7745"/>
                      </a:cubicBezTo>
                      <a:cubicBezTo>
                        <a:pt x="18171" y="8205"/>
                        <a:pt x="18171" y="8673"/>
                        <a:pt x="18223" y="9133"/>
                      </a:cubicBezTo>
                      <a:cubicBezTo>
                        <a:pt x="18223" y="9826"/>
                        <a:pt x="19264" y="12254"/>
                        <a:pt x="20045" y="12428"/>
                      </a:cubicBezTo>
                      <a:cubicBezTo>
                        <a:pt x="20826" y="12601"/>
                        <a:pt x="21694" y="13295"/>
                        <a:pt x="21433" y="13642"/>
                      </a:cubicBezTo>
                      <a:cubicBezTo>
                        <a:pt x="21173" y="13988"/>
                        <a:pt x="23343" y="14682"/>
                        <a:pt x="22475" y="15029"/>
                      </a:cubicBezTo>
                      <a:cubicBezTo>
                        <a:pt x="21746" y="15385"/>
                        <a:pt x="20991" y="15671"/>
                        <a:pt x="20219" y="15896"/>
                      </a:cubicBezTo>
                      <a:cubicBezTo>
                        <a:pt x="20219" y="16503"/>
                        <a:pt x="20219" y="17110"/>
                        <a:pt x="19611" y="17284"/>
                      </a:cubicBezTo>
                      <a:cubicBezTo>
                        <a:pt x="19004" y="17457"/>
                        <a:pt x="17442" y="17891"/>
                        <a:pt x="17442" y="18411"/>
                      </a:cubicBezTo>
                      <a:cubicBezTo>
                        <a:pt x="17685" y="19278"/>
                        <a:pt x="18197" y="20041"/>
                        <a:pt x="18917" y="20579"/>
                      </a:cubicBezTo>
                      <a:cubicBezTo>
                        <a:pt x="19438" y="20579"/>
                        <a:pt x="20045" y="21099"/>
                        <a:pt x="19785" y="21186"/>
                      </a:cubicBezTo>
                    </a:path>
                  </a:pathLst>
                </a:custGeom>
                <a:grpFill/>
                <a:ln w="8678"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702" name="Forma libre 426">
                  <a:extLst>
                    <a:ext uri="{FF2B5EF4-FFF2-40B4-BE49-F238E27FC236}">
                      <a16:creationId xmlns:a16="http://schemas.microsoft.com/office/drawing/2014/main" id="{76210808-FBA3-3957-CE1E-4053F41C9A1B}"/>
                    </a:ext>
                  </a:extLst>
                </p:cNvPr>
                <p:cNvSpPr/>
                <p:nvPr/>
              </p:nvSpPr>
              <p:spPr>
                <a:xfrm>
                  <a:off x="4272614" y="3641343"/>
                  <a:ext cx="14709" cy="14213"/>
                </a:xfrm>
                <a:custGeom>
                  <a:avLst/>
                  <a:gdLst>
                    <a:gd name="connsiteX0" fmla="*/ 19004 w 22681"/>
                    <a:gd name="connsiteY0" fmla="*/ 20926 h 21915"/>
                    <a:gd name="connsiteX1" fmla="*/ 15012 w 22681"/>
                    <a:gd name="connsiteY1" fmla="*/ 20926 h 21915"/>
                    <a:gd name="connsiteX2" fmla="*/ 12670 w 22681"/>
                    <a:gd name="connsiteY2" fmla="*/ 21879 h 21915"/>
                    <a:gd name="connsiteX3" fmla="*/ 11194 w 22681"/>
                    <a:gd name="connsiteY3" fmla="*/ 18758 h 21915"/>
                    <a:gd name="connsiteX4" fmla="*/ 8417 w 22681"/>
                    <a:gd name="connsiteY4" fmla="*/ 16676 h 21915"/>
                    <a:gd name="connsiteX5" fmla="*/ 9893 w 22681"/>
                    <a:gd name="connsiteY5" fmla="*/ 14075 h 21915"/>
                    <a:gd name="connsiteX6" fmla="*/ 4946 w 22681"/>
                    <a:gd name="connsiteY6" fmla="*/ 12081 h 21915"/>
                    <a:gd name="connsiteX7" fmla="*/ 2169 w 22681"/>
                    <a:gd name="connsiteY7" fmla="*/ 12775 h 21915"/>
                    <a:gd name="connsiteX8" fmla="*/ 521 w 22681"/>
                    <a:gd name="connsiteY8" fmla="*/ 12775 h 21915"/>
                    <a:gd name="connsiteX9" fmla="*/ 2690 w 22681"/>
                    <a:gd name="connsiteY9" fmla="*/ 11821 h 21915"/>
                    <a:gd name="connsiteX10" fmla="*/ 1128 w 22681"/>
                    <a:gd name="connsiteY10" fmla="*/ 9913 h 21915"/>
                    <a:gd name="connsiteX11" fmla="*/ 2690 w 22681"/>
                    <a:gd name="connsiteY11" fmla="*/ 8526 h 21915"/>
                    <a:gd name="connsiteX12" fmla="*/ 0 w 22681"/>
                    <a:gd name="connsiteY12" fmla="*/ 4450 h 21915"/>
                    <a:gd name="connsiteX13" fmla="*/ 1736 w 22681"/>
                    <a:gd name="connsiteY13" fmla="*/ 2369 h 21915"/>
                    <a:gd name="connsiteX14" fmla="*/ 6769 w 22681"/>
                    <a:gd name="connsiteY14" fmla="*/ 1068 h 21915"/>
                    <a:gd name="connsiteX15" fmla="*/ 9285 w 22681"/>
                    <a:gd name="connsiteY15" fmla="*/ 1068 h 21915"/>
                    <a:gd name="connsiteX16" fmla="*/ 11801 w 22681"/>
                    <a:gd name="connsiteY16" fmla="*/ 548 h 21915"/>
                    <a:gd name="connsiteX17" fmla="*/ 13277 w 22681"/>
                    <a:gd name="connsiteY17" fmla="*/ 28 h 21915"/>
                    <a:gd name="connsiteX18" fmla="*/ 15273 w 22681"/>
                    <a:gd name="connsiteY18" fmla="*/ 1068 h 21915"/>
                    <a:gd name="connsiteX19" fmla="*/ 18223 w 22681"/>
                    <a:gd name="connsiteY19" fmla="*/ 1762 h 21915"/>
                    <a:gd name="connsiteX20" fmla="*/ 16921 w 22681"/>
                    <a:gd name="connsiteY20" fmla="*/ 4017 h 21915"/>
                    <a:gd name="connsiteX21" fmla="*/ 19872 w 22681"/>
                    <a:gd name="connsiteY21" fmla="*/ 6705 h 21915"/>
                    <a:gd name="connsiteX22" fmla="*/ 19872 w 22681"/>
                    <a:gd name="connsiteY22" fmla="*/ 7745 h 21915"/>
                    <a:gd name="connsiteX23" fmla="*/ 18223 w 22681"/>
                    <a:gd name="connsiteY23" fmla="*/ 7745 h 21915"/>
                    <a:gd name="connsiteX24" fmla="*/ 18223 w 22681"/>
                    <a:gd name="connsiteY24" fmla="*/ 9133 h 21915"/>
                    <a:gd name="connsiteX25" fmla="*/ 20045 w 22681"/>
                    <a:gd name="connsiteY25" fmla="*/ 12428 h 21915"/>
                    <a:gd name="connsiteX26" fmla="*/ 21433 w 22681"/>
                    <a:gd name="connsiteY26" fmla="*/ 13642 h 21915"/>
                    <a:gd name="connsiteX27" fmla="*/ 22475 w 22681"/>
                    <a:gd name="connsiteY27" fmla="*/ 15029 h 21915"/>
                    <a:gd name="connsiteX28" fmla="*/ 20219 w 22681"/>
                    <a:gd name="connsiteY28" fmla="*/ 15896 h 21915"/>
                    <a:gd name="connsiteX29" fmla="*/ 19611 w 22681"/>
                    <a:gd name="connsiteY29" fmla="*/ 17284 h 21915"/>
                    <a:gd name="connsiteX30" fmla="*/ 17442 w 22681"/>
                    <a:gd name="connsiteY30" fmla="*/ 18411 h 21915"/>
                    <a:gd name="connsiteX31" fmla="*/ 18917 w 22681"/>
                    <a:gd name="connsiteY31" fmla="*/ 20579 h 21915"/>
                    <a:gd name="connsiteX32" fmla="*/ 19004 w 22681"/>
                    <a:gd name="connsiteY32" fmla="*/ 20926 h 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2681" h="21915">
                      <a:moveTo>
                        <a:pt x="19004" y="20926"/>
                      </a:moveTo>
                      <a:cubicBezTo>
                        <a:pt x="19004" y="21359"/>
                        <a:pt x="16053" y="20926"/>
                        <a:pt x="15012" y="20926"/>
                      </a:cubicBezTo>
                      <a:cubicBezTo>
                        <a:pt x="13971" y="20926"/>
                        <a:pt x="13884" y="22139"/>
                        <a:pt x="12670" y="21879"/>
                      </a:cubicBezTo>
                      <a:cubicBezTo>
                        <a:pt x="11455" y="21619"/>
                        <a:pt x="11194" y="19191"/>
                        <a:pt x="11194" y="18758"/>
                      </a:cubicBezTo>
                      <a:cubicBezTo>
                        <a:pt x="11194" y="18324"/>
                        <a:pt x="8591" y="17110"/>
                        <a:pt x="8417" y="16676"/>
                      </a:cubicBezTo>
                      <a:cubicBezTo>
                        <a:pt x="8244" y="16243"/>
                        <a:pt x="9979" y="15116"/>
                        <a:pt x="9893" y="14075"/>
                      </a:cubicBezTo>
                      <a:cubicBezTo>
                        <a:pt x="9806" y="13035"/>
                        <a:pt x="6161" y="12081"/>
                        <a:pt x="4946" y="12081"/>
                      </a:cubicBezTo>
                      <a:cubicBezTo>
                        <a:pt x="4000" y="12219"/>
                        <a:pt x="3072" y="12454"/>
                        <a:pt x="2169" y="12775"/>
                      </a:cubicBezTo>
                      <a:cubicBezTo>
                        <a:pt x="1562" y="12775"/>
                        <a:pt x="434" y="12775"/>
                        <a:pt x="521" y="12775"/>
                      </a:cubicBezTo>
                      <a:cubicBezTo>
                        <a:pt x="1172" y="12306"/>
                        <a:pt x="1909" y="11985"/>
                        <a:pt x="2690" y="11821"/>
                      </a:cubicBezTo>
                      <a:cubicBezTo>
                        <a:pt x="3558" y="11821"/>
                        <a:pt x="781" y="10433"/>
                        <a:pt x="1128" y="9913"/>
                      </a:cubicBezTo>
                      <a:cubicBezTo>
                        <a:pt x="1475" y="9393"/>
                        <a:pt x="2690" y="8872"/>
                        <a:pt x="2690" y="8526"/>
                      </a:cubicBezTo>
                      <a:cubicBezTo>
                        <a:pt x="2690" y="8179"/>
                        <a:pt x="0" y="5664"/>
                        <a:pt x="0" y="4450"/>
                      </a:cubicBezTo>
                      <a:cubicBezTo>
                        <a:pt x="0" y="3236"/>
                        <a:pt x="521" y="2456"/>
                        <a:pt x="1736" y="2369"/>
                      </a:cubicBezTo>
                      <a:cubicBezTo>
                        <a:pt x="2951" y="2282"/>
                        <a:pt x="5727" y="1329"/>
                        <a:pt x="6769" y="1068"/>
                      </a:cubicBezTo>
                      <a:cubicBezTo>
                        <a:pt x="7810" y="808"/>
                        <a:pt x="7983" y="1068"/>
                        <a:pt x="9285" y="1068"/>
                      </a:cubicBezTo>
                      <a:cubicBezTo>
                        <a:pt x="10109" y="817"/>
                        <a:pt x="10951" y="643"/>
                        <a:pt x="11801" y="548"/>
                      </a:cubicBezTo>
                      <a:cubicBezTo>
                        <a:pt x="11801" y="548"/>
                        <a:pt x="11801" y="-146"/>
                        <a:pt x="13277" y="28"/>
                      </a:cubicBezTo>
                      <a:cubicBezTo>
                        <a:pt x="14752" y="201"/>
                        <a:pt x="14231" y="808"/>
                        <a:pt x="15273" y="1068"/>
                      </a:cubicBezTo>
                      <a:cubicBezTo>
                        <a:pt x="16314" y="1329"/>
                        <a:pt x="18483" y="1068"/>
                        <a:pt x="18223" y="1762"/>
                      </a:cubicBezTo>
                      <a:cubicBezTo>
                        <a:pt x="17963" y="2456"/>
                        <a:pt x="16921" y="3496"/>
                        <a:pt x="16921" y="4017"/>
                      </a:cubicBezTo>
                      <a:cubicBezTo>
                        <a:pt x="16921" y="4537"/>
                        <a:pt x="19872" y="6184"/>
                        <a:pt x="19872" y="6705"/>
                      </a:cubicBezTo>
                      <a:cubicBezTo>
                        <a:pt x="19872" y="7225"/>
                        <a:pt x="19872" y="7745"/>
                        <a:pt x="19872" y="7745"/>
                      </a:cubicBezTo>
                      <a:cubicBezTo>
                        <a:pt x="19872" y="7745"/>
                        <a:pt x="18570" y="7745"/>
                        <a:pt x="18223" y="7745"/>
                      </a:cubicBezTo>
                      <a:cubicBezTo>
                        <a:pt x="18171" y="8205"/>
                        <a:pt x="18171" y="8673"/>
                        <a:pt x="18223" y="9133"/>
                      </a:cubicBezTo>
                      <a:cubicBezTo>
                        <a:pt x="18223" y="9826"/>
                        <a:pt x="19264" y="12254"/>
                        <a:pt x="20045" y="12428"/>
                      </a:cubicBezTo>
                      <a:cubicBezTo>
                        <a:pt x="20826" y="12601"/>
                        <a:pt x="21694" y="13295"/>
                        <a:pt x="21433" y="13642"/>
                      </a:cubicBezTo>
                      <a:cubicBezTo>
                        <a:pt x="21173" y="13988"/>
                        <a:pt x="23343" y="14682"/>
                        <a:pt x="22475" y="15029"/>
                      </a:cubicBezTo>
                      <a:cubicBezTo>
                        <a:pt x="21746" y="15385"/>
                        <a:pt x="20991" y="15671"/>
                        <a:pt x="20219" y="15896"/>
                      </a:cubicBezTo>
                      <a:cubicBezTo>
                        <a:pt x="20219" y="16503"/>
                        <a:pt x="20219" y="17110"/>
                        <a:pt x="19611" y="17284"/>
                      </a:cubicBezTo>
                      <a:cubicBezTo>
                        <a:pt x="19004" y="17457"/>
                        <a:pt x="17442" y="17891"/>
                        <a:pt x="17442" y="18411"/>
                      </a:cubicBezTo>
                      <a:cubicBezTo>
                        <a:pt x="17685" y="19278"/>
                        <a:pt x="18197" y="20041"/>
                        <a:pt x="18917" y="20579"/>
                      </a:cubicBezTo>
                      <a:cubicBezTo>
                        <a:pt x="18657" y="20579"/>
                        <a:pt x="19525" y="20839"/>
                        <a:pt x="19004" y="20926"/>
                      </a:cubicBezTo>
                      <a:close/>
                    </a:path>
                  </a:pathLst>
                </a:custGeom>
                <a:grpFill/>
                <a:ln w="4078"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703" name="Forma libre 427">
                  <a:extLst>
                    <a:ext uri="{FF2B5EF4-FFF2-40B4-BE49-F238E27FC236}">
                      <a16:creationId xmlns:a16="http://schemas.microsoft.com/office/drawing/2014/main" id="{FC0A8A6F-545D-D65A-6879-BF33A704F7DF}"/>
                    </a:ext>
                  </a:extLst>
                </p:cNvPr>
                <p:cNvSpPr/>
                <p:nvPr/>
              </p:nvSpPr>
              <p:spPr>
                <a:xfrm>
                  <a:off x="4229956" y="3641361"/>
                  <a:ext cx="13845" cy="14521"/>
                </a:xfrm>
                <a:custGeom>
                  <a:avLst/>
                  <a:gdLst>
                    <a:gd name="connsiteX0" fmla="*/ 20653 w 21348"/>
                    <a:gd name="connsiteY0" fmla="*/ 12053 h 22390"/>
                    <a:gd name="connsiteX1" fmla="*/ 19525 w 21348"/>
                    <a:gd name="connsiteY1" fmla="*/ 14654 h 22390"/>
                    <a:gd name="connsiteX2" fmla="*/ 18310 w 21348"/>
                    <a:gd name="connsiteY2" fmla="*/ 13700 h 22390"/>
                    <a:gd name="connsiteX3" fmla="*/ 17703 w 21348"/>
                    <a:gd name="connsiteY3" fmla="*/ 14481 h 22390"/>
                    <a:gd name="connsiteX4" fmla="*/ 16835 w 21348"/>
                    <a:gd name="connsiteY4" fmla="*/ 14481 h 22390"/>
                    <a:gd name="connsiteX5" fmla="*/ 16835 w 21348"/>
                    <a:gd name="connsiteY5" fmla="*/ 14481 h 22390"/>
                    <a:gd name="connsiteX6" fmla="*/ 16835 w 21348"/>
                    <a:gd name="connsiteY6" fmla="*/ 14481 h 22390"/>
                    <a:gd name="connsiteX7" fmla="*/ 16835 w 21348"/>
                    <a:gd name="connsiteY7" fmla="*/ 14481 h 22390"/>
                    <a:gd name="connsiteX8" fmla="*/ 16835 w 21348"/>
                    <a:gd name="connsiteY8" fmla="*/ 14481 h 22390"/>
                    <a:gd name="connsiteX9" fmla="*/ 15706 w 21348"/>
                    <a:gd name="connsiteY9" fmla="*/ 12833 h 22390"/>
                    <a:gd name="connsiteX10" fmla="*/ 14145 w 21348"/>
                    <a:gd name="connsiteY10" fmla="*/ 11186 h 22390"/>
                    <a:gd name="connsiteX11" fmla="*/ 13537 w 21348"/>
                    <a:gd name="connsiteY11" fmla="*/ 10319 h 22390"/>
                    <a:gd name="connsiteX12" fmla="*/ 12149 w 21348"/>
                    <a:gd name="connsiteY12" fmla="*/ 10319 h 22390"/>
                    <a:gd name="connsiteX13" fmla="*/ 10587 w 21348"/>
                    <a:gd name="connsiteY13" fmla="*/ 9798 h 22390"/>
                    <a:gd name="connsiteX14" fmla="*/ 9546 w 21348"/>
                    <a:gd name="connsiteY14" fmla="*/ 11099 h 22390"/>
                    <a:gd name="connsiteX15" fmla="*/ 8331 w 21348"/>
                    <a:gd name="connsiteY15" fmla="*/ 11880 h 22390"/>
                    <a:gd name="connsiteX16" fmla="*/ 7550 w 21348"/>
                    <a:gd name="connsiteY16" fmla="*/ 14047 h 22390"/>
                    <a:gd name="connsiteX17" fmla="*/ 7550 w 21348"/>
                    <a:gd name="connsiteY17" fmla="*/ 15868 h 22390"/>
                    <a:gd name="connsiteX18" fmla="*/ 7029 w 21348"/>
                    <a:gd name="connsiteY18" fmla="*/ 18209 h 22390"/>
                    <a:gd name="connsiteX19" fmla="*/ 6421 w 21348"/>
                    <a:gd name="connsiteY19" fmla="*/ 20724 h 22390"/>
                    <a:gd name="connsiteX20" fmla="*/ 6421 w 21348"/>
                    <a:gd name="connsiteY20" fmla="*/ 22198 h 22390"/>
                    <a:gd name="connsiteX21" fmla="*/ 5207 w 21348"/>
                    <a:gd name="connsiteY21" fmla="*/ 22198 h 22390"/>
                    <a:gd name="connsiteX22" fmla="*/ 5207 w 21348"/>
                    <a:gd name="connsiteY22" fmla="*/ 20637 h 22390"/>
                    <a:gd name="connsiteX23" fmla="*/ 4599 w 21348"/>
                    <a:gd name="connsiteY23" fmla="*/ 18036 h 22390"/>
                    <a:gd name="connsiteX24" fmla="*/ 3992 w 21348"/>
                    <a:gd name="connsiteY24" fmla="*/ 16215 h 22390"/>
                    <a:gd name="connsiteX25" fmla="*/ 3298 w 21348"/>
                    <a:gd name="connsiteY25" fmla="*/ 13614 h 22390"/>
                    <a:gd name="connsiteX26" fmla="*/ 3298 w 21348"/>
                    <a:gd name="connsiteY26" fmla="*/ 11272 h 22390"/>
                    <a:gd name="connsiteX27" fmla="*/ 1823 w 21348"/>
                    <a:gd name="connsiteY27" fmla="*/ 10579 h 22390"/>
                    <a:gd name="connsiteX28" fmla="*/ 0 w 21348"/>
                    <a:gd name="connsiteY28" fmla="*/ 7544 h 22390"/>
                    <a:gd name="connsiteX29" fmla="*/ 0 w 21348"/>
                    <a:gd name="connsiteY29" fmla="*/ 3555 h 22390"/>
                    <a:gd name="connsiteX30" fmla="*/ 608 w 21348"/>
                    <a:gd name="connsiteY30" fmla="*/ 2688 h 22390"/>
                    <a:gd name="connsiteX31" fmla="*/ 1302 w 21348"/>
                    <a:gd name="connsiteY31" fmla="*/ 2688 h 22390"/>
                    <a:gd name="connsiteX32" fmla="*/ 2603 w 21348"/>
                    <a:gd name="connsiteY32" fmla="*/ 867 h 22390"/>
                    <a:gd name="connsiteX33" fmla="*/ 3471 w 21348"/>
                    <a:gd name="connsiteY33" fmla="*/ 1301 h 22390"/>
                    <a:gd name="connsiteX34" fmla="*/ 4686 w 21348"/>
                    <a:gd name="connsiteY34" fmla="*/ 0 h 22390"/>
                    <a:gd name="connsiteX35" fmla="*/ 5380 w 21348"/>
                    <a:gd name="connsiteY35" fmla="*/ 694 h 22390"/>
                    <a:gd name="connsiteX36" fmla="*/ 6595 w 21348"/>
                    <a:gd name="connsiteY36" fmla="*/ 2688 h 22390"/>
                    <a:gd name="connsiteX37" fmla="*/ 6595 w 21348"/>
                    <a:gd name="connsiteY37" fmla="*/ 4075 h 22390"/>
                    <a:gd name="connsiteX38" fmla="*/ 7550 w 21348"/>
                    <a:gd name="connsiteY38" fmla="*/ 5896 h 22390"/>
                    <a:gd name="connsiteX39" fmla="*/ 8070 w 21348"/>
                    <a:gd name="connsiteY39" fmla="*/ 4856 h 22390"/>
                    <a:gd name="connsiteX40" fmla="*/ 9285 w 21348"/>
                    <a:gd name="connsiteY40" fmla="*/ 4856 h 22390"/>
                    <a:gd name="connsiteX41" fmla="*/ 10587 w 21348"/>
                    <a:gd name="connsiteY41" fmla="*/ 3382 h 22390"/>
                    <a:gd name="connsiteX42" fmla="*/ 11541 w 21348"/>
                    <a:gd name="connsiteY42" fmla="*/ 4336 h 22390"/>
                    <a:gd name="connsiteX43" fmla="*/ 12409 w 21348"/>
                    <a:gd name="connsiteY43" fmla="*/ 4336 h 22390"/>
                    <a:gd name="connsiteX44" fmla="*/ 13277 w 21348"/>
                    <a:gd name="connsiteY44" fmla="*/ 5810 h 22390"/>
                    <a:gd name="connsiteX45" fmla="*/ 14752 w 21348"/>
                    <a:gd name="connsiteY45" fmla="*/ 7197 h 22390"/>
                    <a:gd name="connsiteX46" fmla="*/ 16054 w 21348"/>
                    <a:gd name="connsiteY46" fmla="*/ 6677 h 22390"/>
                    <a:gd name="connsiteX47" fmla="*/ 17876 w 21348"/>
                    <a:gd name="connsiteY47" fmla="*/ 6677 h 22390"/>
                    <a:gd name="connsiteX48" fmla="*/ 20306 w 21348"/>
                    <a:gd name="connsiteY48" fmla="*/ 8498 h 22390"/>
                    <a:gd name="connsiteX49" fmla="*/ 20306 w 21348"/>
                    <a:gd name="connsiteY49" fmla="*/ 10145 h 22390"/>
                    <a:gd name="connsiteX50" fmla="*/ 20826 w 21348"/>
                    <a:gd name="connsiteY50" fmla="*/ 9625 h 22390"/>
                    <a:gd name="connsiteX51" fmla="*/ 20826 w 21348"/>
                    <a:gd name="connsiteY51" fmla="*/ 10752 h 22390"/>
                    <a:gd name="connsiteX52" fmla="*/ 21347 w 21348"/>
                    <a:gd name="connsiteY52" fmla="*/ 11793 h 2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1348" h="22390">
                      <a:moveTo>
                        <a:pt x="20653" y="12053"/>
                      </a:moveTo>
                      <a:cubicBezTo>
                        <a:pt x="20653" y="12833"/>
                        <a:pt x="20132" y="14654"/>
                        <a:pt x="19525" y="14654"/>
                      </a:cubicBezTo>
                      <a:cubicBezTo>
                        <a:pt x="18917" y="14654"/>
                        <a:pt x="18483" y="13614"/>
                        <a:pt x="18310" y="13700"/>
                      </a:cubicBezTo>
                      <a:lnTo>
                        <a:pt x="17703" y="14481"/>
                      </a:lnTo>
                      <a:lnTo>
                        <a:pt x="16835" y="14481"/>
                      </a:lnTo>
                      <a:cubicBezTo>
                        <a:pt x="16835" y="14481"/>
                        <a:pt x="16835" y="14481"/>
                        <a:pt x="16835" y="14481"/>
                      </a:cubicBezTo>
                      <a:lnTo>
                        <a:pt x="16835" y="14481"/>
                      </a:lnTo>
                      <a:cubicBezTo>
                        <a:pt x="16835" y="14481"/>
                        <a:pt x="16835" y="14481"/>
                        <a:pt x="16835" y="14481"/>
                      </a:cubicBezTo>
                      <a:cubicBezTo>
                        <a:pt x="16835" y="14481"/>
                        <a:pt x="16835" y="14481"/>
                        <a:pt x="16835" y="14481"/>
                      </a:cubicBezTo>
                      <a:cubicBezTo>
                        <a:pt x="16314" y="14047"/>
                        <a:pt x="15924" y="13475"/>
                        <a:pt x="15706" y="12833"/>
                      </a:cubicBezTo>
                      <a:cubicBezTo>
                        <a:pt x="15706" y="12313"/>
                        <a:pt x="14492" y="11706"/>
                        <a:pt x="14145" y="11186"/>
                      </a:cubicBezTo>
                      <a:cubicBezTo>
                        <a:pt x="13798" y="10665"/>
                        <a:pt x="14145" y="10405"/>
                        <a:pt x="13537" y="10319"/>
                      </a:cubicBezTo>
                      <a:lnTo>
                        <a:pt x="12149" y="10319"/>
                      </a:lnTo>
                      <a:cubicBezTo>
                        <a:pt x="12149" y="10319"/>
                        <a:pt x="11281" y="9798"/>
                        <a:pt x="10587" y="9798"/>
                      </a:cubicBezTo>
                      <a:cubicBezTo>
                        <a:pt x="9893" y="9798"/>
                        <a:pt x="9546" y="11099"/>
                        <a:pt x="9546" y="11099"/>
                      </a:cubicBezTo>
                      <a:cubicBezTo>
                        <a:pt x="9060" y="11194"/>
                        <a:pt x="8626" y="11480"/>
                        <a:pt x="8331" y="11880"/>
                      </a:cubicBezTo>
                      <a:cubicBezTo>
                        <a:pt x="7914" y="12538"/>
                        <a:pt x="7654" y="13275"/>
                        <a:pt x="7550" y="14047"/>
                      </a:cubicBezTo>
                      <a:cubicBezTo>
                        <a:pt x="7550" y="14828"/>
                        <a:pt x="7550" y="15608"/>
                        <a:pt x="7550" y="15868"/>
                      </a:cubicBezTo>
                      <a:cubicBezTo>
                        <a:pt x="7289" y="16631"/>
                        <a:pt x="7116" y="17412"/>
                        <a:pt x="7029" y="18209"/>
                      </a:cubicBezTo>
                      <a:cubicBezTo>
                        <a:pt x="6777" y="19033"/>
                        <a:pt x="6569" y="19874"/>
                        <a:pt x="6421" y="20724"/>
                      </a:cubicBezTo>
                      <a:cubicBezTo>
                        <a:pt x="6361" y="21210"/>
                        <a:pt x="6361" y="21713"/>
                        <a:pt x="6421" y="22198"/>
                      </a:cubicBezTo>
                      <a:cubicBezTo>
                        <a:pt x="6421" y="22198"/>
                        <a:pt x="5207" y="22632"/>
                        <a:pt x="5207" y="22198"/>
                      </a:cubicBezTo>
                      <a:cubicBezTo>
                        <a:pt x="5250" y="21678"/>
                        <a:pt x="5250" y="21158"/>
                        <a:pt x="5207" y="20637"/>
                      </a:cubicBezTo>
                      <a:cubicBezTo>
                        <a:pt x="5207" y="20117"/>
                        <a:pt x="4686" y="18556"/>
                        <a:pt x="4599" y="18036"/>
                      </a:cubicBezTo>
                      <a:cubicBezTo>
                        <a:pt x="4218" y="17507"/>
                        <a:pt x="4009" y="16865"/>
                        <a:pt x="3992" y="16215"/>
                      </a:cubicBezTo>
                      <a:cubicBezTo>
                        <a:pt x="3992" y="15261"/>
                        <a:pt x="3298" y="14134"/>
                        <a:pt x="3298" y="13614"/>
                      </a:cubicBezTo>
                      <a:cubicBezTo>
                        <a:pt x="3298" y="13093"/>
                        <a:pt x="3298" y="11272"/>
                        <a:pt x="3298" y="11272"/>
                      </a:cubicBezTo>
                      <a:cubicBezTo>
                        <a:pt x="2716" y="11333"/>
                        <a:pt x="2144" y="11064"/>
                        <a:pt x="1823" y="10579"/>
                      </a:cubicBezTo>
                      <a:cubicBezTo>
                        <a:pt x="1059" y="9668"/>
                        <a:pt x="443" y="8645"/>
                        <a:pt x="0" y="7544"/>
                      </a:cubicBezTo>
                      <a:cubicBezTo>
                        <a:pt x="0" y="6677"/>
                        <a:pt x="0" y="4249"/>
                        <a:pt x="0" y="3555"/>
                      </a:cubicBezTo>
                      <a:cubicBezTo>
                        <a:pt x="61" y="3191"/>
                        <a:pt x="287" y="2870"/>
                        <a:pt x="608" y="2688"/>
                      </a:cubicBezTo>
                      <a:cubicBezTo>
                        <a:pt x="608" y="2254"/>
                        <a:pt x="1128" y="2688"/>
                        <a:pt x="1302" y="2688"/>
                      </a:cubicBezTo>
                      <a:cubicBezTo>
                        <a:pt x="1476" y="2688"/>
                        <a:pt x="1909" y="694"/>
                        <a:pt x="2603" y="867"/>
                      </a:cubicBezTo>
                      <a:cubicBezTo>
                        <a:pt x="3298" y="1041"/>
                        <a:pt x="3298" y="1474"/>
                        <a:pt x="3471" y="1301"/>
                      </a:cubicBezTo>
                      <a:cubicBezTo>
                        <a:pt x="3645" y="1127"/>
                        <a:pt x="4339" y="0"/>
                        <a:pt x="4686" y="0"/>
                      </a:cubicBezTo>
                      <a:cubicBezTo>
                        <a:pt x="5033" y="0"/>
                        <a:pt x="4686" y="694"/>
                        <a:pt x="5380" y="694"/>
                      </a:cubicBezTo>
                      <a:cubicBezTo>
                        <a:pt x="5849" y="1318"/>
                        <a:pt x="6257" y="1986"/>
                        <a:pt x="6595" y="2688"/>
                      </a:cubicBezTo>
                      <a:cubicBezTo>
                        <a:pt x="6543" y="3147"/>
                        <a:pt x="6543" y="3616"/>
                        <a:pt x="6595" y="4075"/>
                      </a:cubicBezTo>
                      <a:cubicBezTo>
                        <a:pt x="7029" y="4075"/>
                        <a:pt x="7289" y="5896"/>
                        <a:pt x="7550" y="5896"/>
                      </a:cubicBezTo>
                      <a:cubicBezTo>
                        <a:pt x="7810" y="5896"/>
                        <a:pt x="8070" y="4856"/>
                        <a:pt x="8070" y="4856"/>
                      </a:cubicBezTo>
                      <a:cubicBezTo>
                        <a:pt x="8469" y="4769"/>
                        <a:pt x="8886" y="4769"/>
                        <a:pt x="9285" y="4856"/>
                      </a:cubicBezTo>
                      <a:cubicBezTo>
                        <a:pt x="9285" y="4856"/>
                        <a:pt x="10153" y="3382"/>
                        <a:pt x="10587" y="3382"/>
                      </a:cubicBezTo>
                      <a:cubicBezTo>
                        <a:pt x="11021" y="3382"/>
                        <a:pt x="11281" y="4336"/>
                        <a:pt x="11541" y="4336"/>
                      </a:cubicBezTo>
                      <a:cubicBezTo>
                        <a:pt x="11802" y="4336"/>
                        <a:pt x="12149" y="4336"/>
                        <a:pt x="12409" y="4336"/>
                      </a:cubicBezTo>
                      <a:lnTo>
                        <a:pt x="13277" y="5810"/>
                      </a:lnTo>
                      <a:cubicBezTo>
                        <a:pt x="13277" y="5810"/>
                        <a:pt x="14145" y="7370"/>
                        <a:pt x="14752" y="7197"/>
                      </a:cubicBezTo>
                      <a:cubicBezTo>
                        <a:pt x="15360" y="7024"/>
                        <a:pt x="15273" y="6243"/>
                        <a:pt x="16054" y="6677"/>
                      </a:cubicBezTo>
                      <a:cubicBezTo>
                        <a:pt x="16835" y="7110"/>
                        <a:pt x="17355" y="6677"/>
                        <a:pt x="17876" y="6677"/>
                      </a:cubicBezTo>
                      <a:cubicBezTo>
                        <a:pt x="18761" y="7171"/>
                        <a:pt x="19586" y="7787"/>
                        <a:pt x="20306" y="8498"/>
                      </a:cubicBezTo>
                      <a:cubicBezTo>
                        <a:pt x="20306" y="8498"/>
                        <a:pt x="20306" y="10145"/>
                        <a:pt x="20306" y="10145"/>
                      </a:cubicBezTo>
                      <a:cubicBezTo>
                        <a:pt x="20306" y="10145"/>
                        <a:pt x="20306" y="9105"/>
                        <a:pt x="20826" y="9625"/>
                      </a:cubicBezTo>
                      <a:cubicBezTo>
                        <a:pt x="21347" y="10145"/>
                        <a:pt x="20826" y="10405"/>
                        <a:pt x="20826" y="10752"/>
                      </a:cubicBezTo>
                      <a:cubicBezTo>
                        <a:pt x="21165" y="10986"/>
                        <a:pt x="21365" y="11376"/>
                        <a:pt x="21347" y="11793"/>
                      </a:cubicBezTo>
                    </a:path>
                  </a:pathLst>
                </a:custGeom>
                <a:grpFill/>
                <a:ln w="8678"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704" name="Forma libre 428">
                  <a:extLst>
                    <a:ext uri="{FF2B5EF4-FFF2-40B4-BE49-F238E27FC236}">
                      <a16:creationId xmlns:a16="http://schemas.microsoft.com/office/drawing/2014/main" id="{26ACB0BA-E676-DE8C-598C-D9BF0AF3BA8E}"/>
                    </a:ext>
                  </a:extLst>
                </p:cNvPr>
                <p:cNvSpPr/>
                <p:nvPr/>
              </p:nvSpPr>
              <p:spPr>
                <a:xfrm>
                  <a:off x="4229956" y="3641361"/>
                  <a:ext cx="13656" cy="14521"/>
                </a:xfrm>
                <a:custGeom>
                  <a:avLst/>
                  <a:gdLst>
                    <a:gd name="connsiteX0" fmla="*/ 20653 w 21057"/>
                    <a:gd name="connsiteY0" fmla="*/ 12053 h 22390"/>
                    <a:gd name="connsiteX1" fmla="*/ 19525 w 21057"/>
                    <a:gd name="connsiteY1" fmla="*/ 14654 h 22390"/>
                    <a:gd name="connsiteX2" fmla="*/ 18310 w 21057"/>
                    <a:gd name="connsiteY2" fmla="*/ 13700 h 22390"/>
                    <a:gd name="connsiteX3" fmla="*/ 17703 w 21057"/>
                    <a:gd name="connsiteY3" fmla="*/ 14481 h 22390"/>
                    <a:gd name="connsiteX4" fmla="*/ 16835 w 21057"/>
                    <a:gd name="connsiteY4" fmla="*/ 14481 h 22390"/>
                    <a:gd name="connsiteX5" fmla="*/ 16835 w 21057"/>
                    <a:gd name="connsiteY5" fmla="*/ 14481 h 22390"/>
                    <a:gd name="connsiteX6" fmla="*/ 16835 w 21057"/>
                    <a:gd name="connsiteY6" fmla="*/ 14481 h 22390"/>
                    <a:gd name="connsiteX7" fmla="*/ 16835 w 21057"/>
                    <a:gd name="connsiteY7" fmla="*/ 14481 h 22390"/>
                    <a:gd name="connsiteX8" fmla="*/ 16835 w 21057"/>
                    <a:gd name="connsiteY8" fmla="*/ 14481 h 22390"/>
                    <a:gd name="connsiteX9" fmla="*/ 15706 w 21057"/>
                    <a:gd name="connsiteY9" fmla="*/ 12833 h 22390"/>
                    <a:gd name="connsiteX10" fmla="*/ 14145 w 21057"/>
                    <a:gd name="connsiteY10" fmla="*/ 11186 h 22390"/>
                    <a:gd name="connsiteX11" fmla="*/ 13537 w 21057"/>
                    <a:gd name="connsiteY11" fmla="*/ 10319 h 22390"/>
                    <a:gd name="connsiteX12" fmla="*/ 12149 w 21057"/>
                    <a:gd name="connsiteY12" fmla="*/ 10319 h 22390"/>
                    <a:gd name="connsiteX13" fmla="*/ 10587 w 21057"/>
                    <a:gd name="connsiteY13" fmla="*/ 9798 h 22390"/>
                    <a:gd name="connsiteX14" fmla="*/ 9546 w 21057"/>
                    <a:gd name="connsiteY14" fmla="*/ 11099 h 22390"/>
                    <a:gd name="connsiteX15" fmla="*/ 8331 w 21057"/>
                    <a:gd name="connsiteY15" fmla="*/ 11880 h 22390"/>
                    <a:gd name="connsiteX16" fmla="*/ 7550 w 21057"/>
                    <a:gd name="connsiteY16" fmla="*/ 14047 h 22390"/>
                    <a:gd name="connsiteX17" fmla="*/ 7550 w 21057"/>
                    <a:gd name="connsiteY17" fmla="*/ 15868 h 22390"/>
                    <a:gd name="connsiteX18" fmla="*/ 7029 w 21057"/>
                    <a:gd name="connsiteY18" fmla="*/ 18209 h 22390"/>
                    <a:gd name="connsiteX19" fmla="*/ 6421 w 21057"/>
                    <a:gd name="connsiteY19" fmla="*/ 20724 h 22390"/>
                    <a:gd name="connsiteX20" fmla="*/ 6421 w 21057"/>
                    <a:gd name="connsiteY20" fmla="*/ 22198 h 22390"/>
                    <a:gd name="connsiteX21" fmla="*/ 5207 w 21057"/>
                    <a:gd name="connsiteY21" fmla="*/ 22198 h 22390"/>
                    <a:gd name="connsiteX22" fmla="*/ 5207 w 21057"/>
                    <a:gd name="connsiteY22" fmla="*/ 20637 h 22390"/>
                    <a:gd name="connsiteX23" fmla="*/ 4599 w 21057"/>
                    <a:gd name="connsiteY23" fmla="*/ 18036 h 22390"/>
                    <a:gd name="connsiteX24" fmla="*/ 3992 w 21057"/>
                    <a:gd name="connsiteY24" fmla="*/ 16215 h 22390"/>
                    <a:gd name="connsiteX25" fmla="*/ 3298 w 21057"/>
                    <a:gd name="connsiteY25" fmla="*/ 13614 h 22390"/>
                    <a:gd name="connsiteX26" fmla="*/ 3298 w 21057"/>
                    <a:gd name="connsiteY26" fmla="*/ 11272 h 22390"/>
                    <a:gd name="connsiteX27" fmla="*/ 1823 w 21057"/>
                    <a:gd name="connsiteY27" fmla="*/ 10579 h 22390"/>
                    <a:gd name="connsiteX28" fmla="*/ 0 w 21057"/>
                    <a:gd name="connsiteY28" fmla="*/ 7544 h 22390"/>
                    <a:gd name="connsiteX29" fmla="*/ 0 w 21057"/>
                    <a:gd name="connsiteY29" fmla="*/ 3555 h 22390"/>
                    <a:gd name="connsiteX30" fmla="*/ 608 w 21057"/>
                    <a:gd name="connsiteY30" fmla="*/ 2688 h 22390"/>
                    <a:gd name="connsiteX31" fmla="*/ 1302 w 21057"/>
                    <a:gd name="connsiteY31" fmla="*/ 2688 h 22390"/>
                    <a:gd name="connsiteX32" fmla="*/ 2603 w 21057"/>
                    <a:gd name="connsiteY32" fmla="*/ 867 h 22390"/>
                    <a:gd name="connsiteX33" fmla="*/ 3471 w 21057"/>
                    <a:gd name="connsiteY33" fmla="*/ 1301 h 22390"/>
                    <a:gd name="connsiteX34" fmla="*/ 4686 w 21057"/>
                    <a:gd name="connsiteY34" fmla="*/ 0 h 22390"/>
                    <a:gd name="connsiteX35" fmla="*/ 5380 w 21057"/>
                    <a:gd name="connsiteY35" fmla="*/ 694 h 22390"/>
                    <a:gd name="connsiteX36" fmla="*/ 6595 w 21057"/>
                    <a:gd name="connsiteY36" fmla="*/ 2688 h 22390"/>
                    <a:gd name="connsiteX37" fmla="*/ 6595 w 21057"/>
                    <a:gd name="connsiteY37" fmla="*/ 4075 h 22390"/>
                    <a:gd name="connsiteX38" fmla="*/ 7550 w 21057"/>
                    <a:gd name="connsiteY38" fmla="*/ 5896 h 22390"/>
                    <a:gd name="connsiteX39" fmla="*/ 8070 w 21057"/>
                    <a:gd name="connsiteY39" fmla="*/ 4856 h 22390"/>
                    <a:gd name="connsiteX40" fmla="*/ 9285 w 21057"/>
                    <a:gd name="connsiteY40" fmla="*/ 4856 h 22390"/>
                    <a:gd name="connsiteX41" fmla="*/ 10587 w 21057"/>
                    <a:gd name="connsiteY41" fmla="*/ 3382 h 22390"/>
                    <a:gd name="connsiteX42" fmla="*/ 11541 w 21057"/>
                    <a:gd name="connsiteY42" fmla="*/ 4336 h 22390"/>
                    <a:gd name="connsiteX43" fmla="*/ 12409 w 21057"/>
                    <a:gd name="connsiteY43" fmla="*/ 4336 h 22390"/>
                    <a:gd name="connsiteX44" fmla="*/ 13277 w 21057"/>
                    <a:gd name="connsiteY44" fmla="*/ 5810 h 22390"/>
                    <a:gd name="connsiteX45" fmla="*/ 14752 w 21057"/>
                    <a:gd name="connsiteY45" fmla="*/ 7197 h 22390"/>
                    <a:gd name="connsiteX46" fmla="*/ 16054 w 21057"/>
                    <a:gd name="connsiteY46" fmla="*/ 6677 h 22390"/>
                    <a:gd name="connsiteX47" fmla="*/ 17876 w 21057"/>
                    <a:gd name="connsiteY47" fmla="*/ 6677 h 22390"/>
                    <a:gd name="connsiteX48" fmla="*/ 20306 w 21057"/>
                    <a:gd name="connsiteY48" fmla="*/ 8498 h 22390"/>
                    <a:gd name="connsiteX49" fmla="*/ 20306 w 21057"/>
                    <a:gd name="connsiteY49" fmla="*/ 10145 h 22390"/>
                    <a:gd name="connsiteX50" fmla="*/ 20826 w 21057"/>
                    <a:gd name="connsiteY50" fmla="*/ 9625 h 22390"/>
                    <a:gd name="connsiteX51" fmla="*/ 20826 w 21057"/>
                    <a:gd name="connsiteY51" fmla="*/ 10752 h 22390"/>
                    <a:gd name="connsiteX52" fmla="*/ 20653 w 21057"/>
                    <a:gd name="connsiteY52" fmla="*/ 12053 h 2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1057" h="22390">
                      <a:moveTo>
                        <a:pt x="20653" y="12053"/>
                      </a:moveTo>
                      <a:cubicBezTo>
                        <a:pt x="20653" y="12833"/>
                        <a:pt x="20132" y="14654"/>
                        <a:pt x="19525" y="14654"/>
                      </a:cubicBezTo>
                      <a:cubicBezTo>
                        <a:pt x="18917" y="14654"/>
                        <a:pt x="18483" y="13614"/>
                        <a:pt x="18310" y="13700"/>
                      </a:cubicBezTo>
                      <a:lnTo>
                        <a:pt x="17703" y="14481"/>
                      </a:lnTo>
                      <a:lnTo>
                        <a:pt x="16835" y="14481"/>
                      </a:lnTo>
                      <a:cubicBezTo>
                        <a:pt x="16835" y="14481"/>
                        <a:pt x="16835" y="14481"/>
                        <a:pt x="16835" y="14481"/>
                      </a:cubicBezTo>
                      <a:lnTo>
                        <a:pt x="16835" y="14481"/>
                      </a:lnTo>
                      <a:cubicBezTo>
                        <a:pt x="16835" y="14481"/>
                        <a:pt x="16835" y="14481"/>
                        <a:pt x="16835" y="14481"/>
                      </a:cubicBezTo>
                      <a:cubicBezTo>
                        <a:pt x="16835" y="14481"/>
                        <a:pt x="16835" y="14481"/>
                        <a:pt x="16835" y="14481"/>
                      </a:cubicBezTo>
                      <a:cubicBezTo>
                        <a:pt x="16314" y="14047"/>
                        <a:pt x="15924" y="13475"/>
                        <a:pt x="15706" y="12833"/>
                      </a:cubicBezTo>
                      <a:cubicBezTo>
                        <a:pt x="15706" y="12313"/>
                        <a:pt x="14492" y="11706"/>
                        <a:pt x="14145" y="11186"/>
                      </a:cubicBezTo>
                      <a:cubicBezTo>
                        <a:pt x="13798" y="10665"/>
                        <a:pt x="14145" y="10405"/>
                        <a:pt x="13537" y="10319"/>
                      </a:cubicBezTo>
                      <a:lnTo>
                        <a:pt x="12149" y="10319"/>
                      </a:lnTo>
                      <a:cubicBezTo>
                        <a:pt x="12149" y="10319"/>
                        <a:pt x="11281" y="9798"/>
                        <a:pt x="10587" y="9798"/>
                      </a:cubicBezTo>
                      <a:cubicBezTo>
                        <a:pt x="9893" y="9798"/>
                        <a:pt x="9546" y="11099"/>
                        <a:pt x="9546" y="11099"/>
                      </a:cubicBezTo>
                      <a:cubicBezTo>
                        <a:pt x="9060" y="11194"/>
                        <a:pt x="8626" y="11480"/>
                        <a:pt x="8331" y="11880"/>
                      </a:cubicBezTo>
                      <a:cubicBezTo>
                        <a:pt x="7914" y="12538"/>
                        <a:pt x="7654" y="13275"/>
                        <a:pt x="7550" y="14047"/>
                      </a:cubicBezTo>
                      <a:cubicBezTo>
                        <a:pt x="7550" y="14828"/>
                        <a:pt x="7550" y="15608"/>
                        <a:pt x="7550" y="15868"/>
                      </a:cubicBezTo>
                      <a:cubicBezTo>
                        <a:pt x="7289" y="16631"/>
                        <a:pt x="7116" y="17412"/>
                        <a:pt x="7029" y="18209"/>
                      </a:cubicBezTo>
                      <a:cubicBezTo>
                        <a:pt x="6777" y="19033"/>
                        <a:pt x="6569" y="19874"/>
                        <a:pt x="6421" y="20724"/>
                      </a:cubicBezTo>
                      <a:cubicBezTo>
                        <a:pt x="6361" y="21210"/>
                        <a:pt x="6361" y="21713"/>
                        <a:pt x="6421" y="22198"/>
                      </a:cubicBezTo>
                      <a:cubicBezTo>
                        <a:pt x="6421" y="22198"/>
                        <a:pt x="5207" y="22632"/>
                        <a:pt x="5207" y="22198"/>
                      </a:cubicBezTo>
                      <a:cubicBezTo>
                        <a:pt x="5250" y="21678"/>
                        <a:pt x="5250" y="21158"/>
                        <a:pt x="5207" y="20637"/>
                      </a:cubicBezTo>
                      <a:cubicBezTo>
                        <a:pt x="5207" y="20117"/>
                        <a:pt x="4686" y="18556"/>
                        <a:pt x="4599" y="18036"/>
                      </a:cubicBezTo>
                      <a:cubicBezTo>
                        <a:pt x="4218" y="17507"/>
                        <a:pt x="4009" y="16865"/>
                        <a:pt x="3992" y="16215"/>
                      </a:cubicBezTo>
                      <a:cubicBezTo>
                        <a:pt x="3992" y="15261"/>
                        <a:pt x="3298" y="14134"/>
                        <a:pt x="3298" y="13614"/>
                      </a:cubicBezTo>
                      <a:cubicBezTo>
                        <a:pt x="3298" y="13093"/>
                        <a:pt x="3298" y="11272"/>
                        <a:pt x="3298" y="11272"/>
                      </a:cubicBezTo>
                      <a:cubicBezTo>
                        <a:pt x="2716" y="11333"/>
                        <a:pt x="2144" y="11064"/>
                        <a:pt x="1823" y="10579"/>
                      </a:cubicBezTo>
                      <a:cubicBezTo>
                        <a:pt x="1059" y="9668"/>
                        <a:pt x="443" y="8645"/>
                        <a:pt x="0" y="7544"/>
                      </a:cubicBezTo>
                      <a:cubicBezTo>
                        <a:pt x="0" y="6677"/>
                        <a:pt x="0" y="4249"/>
                        <a:pt x="0" y="3555"/>
                      </a:cubicBezTo>
                      <a:cubicBezTo>
                        <a:pt x="61" y="3191"/>
                        <a:pt x="287" y="2870"/>
                        <a:pt x="608" y="2688"/>
                      </a:cubicBezTo>
                      <a:cubicBezTo>
                        <a:pt x="608" y="2254"/>
                        <a:pt x="1128" y="2688"/>
                        <a:pt x="1302" y="2688"/>
                      </a:cubicBezTo>
                      <a:cubicBezTo>
                        <a:pt x="1476" y="2688"/>
                        <a:pt x="1909" y="694"/>
                        <a:pt x="2603" y="867"/>
                      </a:cubicBezTo>
                      <a:cubicBezTo>
                        <a:pt x="3298" y="1041"/>
                        <a:pt x="3298" y="1474"/>
                        <a:pt x="3471" y="1301"/>
                      </a:cubicBezTo>
                      <a:cubicBezTo>
                        <a:pt x="3645" y="1127"/>
                        <a:pt x="4339" y="0"/>
                        <a:pt x="4686" y="0"/>
                      </a:cubicBezTo>
                      <a:cubicBezTo>
                        <a:pt x="5033" y="0"/>
                        <a:pt x="4686" y="694"/>
                        <a:pt x="5380" y="694"/>
                      </a:cubicBezTo>
                      <a:cubicBezTo>
                        <a:pt x="5849" y="1318"/>
                        <a:pt x="6257" y="1986"/>
                        <a:pt x="6595" y="2688"/>
                      </a:cubicBezTo>
                      <a:cubicBezTo>
                        <a:pt x="6543" y="3147"/>
                        <a:pt x="6543" y="3616"/>
                        <a:pt x="6595" y="4075"/>
                      </a:cubicBezTo>
                      <a:cubicBezTo>
                        <a:pt x="7029" y="4075"/>
                        <a:pt x="7289" y="5896"/>
                        <a:pt x="7550" y="5896"/>
                      </a:cubicBezTo>
                      <a:cubicBezTo>
                        <a:pt x="7810" y="5896"/>
                        <a:pt x="8070" y="4856"/>
                        <a:pt x="8070" y="4856"/>
                      </a:cubicBezTo>
                      <a:cubicBezTo>
                        <a:pt x="8469" y="4769"/>
                        <a:pt x="8886" y="4769"/>
                        <a:pt x="9285" y="4856"/>
                      </a:cubicBezTo>
                      <a:cubicBezTo>
                        <a:pt x="9285" y="4856"/>
                        <a:pt x="10153" y="3382"/>
                        <a:pt x="10587" y="3382"/>
                      </a:cubicBezTo>
                      <a:cubicBezTo>
                        <a:pt x="11021" y="3382"/>
                        <a:pt x="11281" y="4336"/>
                        <a:pt x="11541" y="4336"/>
                      </a:cubicBezTo>
                      <a:cubicBezTo>
                        <a:pt x="11802" y="4336"/>
                        <a:pt x="12149" y="4336"/>
                        <a:pt x="12409" y="4336"/>
                      </a:cubicBezTo>
                      <a:lnTo>
                        <a:pt x="13277" y="5810"/>
                      </a:lnTo>
                      <a:cubicBezTo>
                        <a:pt x="13277" y="5810"/>
                        <a:pt x="14145" y="7370"/>
                        <a:pt x="14752" y="7197"/>
                      </a:cubicBezTo>
                      <a:cubicBezTo>
                        <a:pt x="15360" y="7024"/>
                        <a:pt x="15273" y="6243"/>
                        <a:pt x="16054" y="6677"/>
                      </a:cubicBezTo>
                      <a:cubicBezTo>
                        <a:pt x="16835" y="7110"/>
                        <a:pt x="17355" y="6677"/>
                        <a:pt x="17876" y="6677"/>
                      </a:cubicBezTo>
                      <a:cubicBezTo>
                        <a:pt x="18761" y="7171"/>
                        <a:pt x="19586" y="7787"/>
                        <a:pt x="20306" y="8498"/>
                      </a:cubicBezTo>
                      <a:cubicBezTo>
                        <a:pt x="20306" y="8498"/>
                        <a:pt x="20306" y="10145"/>
                        <a:pt x="20306" y="10145"/>
                      </a:cubicBezTo>
                      <a:cubicBezTo>
                        <a:pt x="20306" y="10145"/>
                        <a:pt x="20306" y="9105"/>
                        <a:pt x="20826" y="9625"/>
                      </a:cubicBezTo>
                      <a:cubicBezTo>
                        <a:pt x="21347" y="10145"/>
                        <a:pt x="20826" y="10405"/>
                        <a:pt x="20826" y="10752"/>
                      </a:cubicBezTo>
                      <a:cubicBezTo>
                        <a:pt x="21026" y="11186"/>
                        <a:pt x="20957" y="11689"/>
                        <a:pt x="20653" y="12053"/>
                      </a:cubicBezTo>
                      <a:close/>
                    </a:path>
                  </a:pathLst>
                </a:custGeom>
                <a:grpFill/>
                <a:ln w="4078"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705" name="Forma libre 429">
                  <a:extLst>
                    <a:ext uri="{FF2B5EF4-FFF2-40B4-BE49-F238E27FC236}">
                      <a16:creationId xmlns:a16="http://schemas.microsoft.com/office/drawing/2014/main" id="{2C17F8E2-DAC0-1A19-42DC-E5FDF7B73F0D}"/>
                    </a:ext>
                  </a:extLst>
                </p:cNvPr>
                <p:cNvSpPr/>
                <p:nvPr/>
              </p:nvSpPr>
              <p:spPr>
                <a:xfrm>
                  <a:off x="4184905" y="3626008"/>
                  <a:ext cx="14219" cy="14958"/>
                </a:xfrm>
                <a:custGeom>
                  <a:avLst/>
                  <a:gdLst>
                    <a:gd name="connsiteX0" fmla="*/ 10371 w 21924"/>
                    <a:gd name="connsiteY0" fmla="*/ 21938 h 23065"/>
                    <a:gd name="connsiteX1" fmla="*/ 9591 w 21924"/>
                    <a:gd name="connsiteY1" fmla="*/ 21938 h 23065"/>
                    <a:gd name="connsiteX2" fmla="*/ 8810 w 21924"/>
                    <a:gd name="connsiteY2" fmla="*/ 23066 h 23065"/>
                    <a:gd name="connsiteX3" fmla="*/ 8115 w 21924"/>
                    <a:gd name="connsiteY3" fmla="*/ 22545 h 23065"/>
                    <a:gd name="connsiteX4" fmla="*/ 7508 w 21924"/>
                    <a:gd name="connsiteY4" fmla="*/ 22545 h 23065"/>
                    <a:gd name="connsiteX5" fmla="*/ 6380 w 21924"/>
                    <a:gd name="connsiteY5" fmla="*/ 21851 h 23065"/>
                    <a:gd name="connsiteX6" fmla="*/ 4905 w 21924"/>
                    <a:gd name="connsiteY6" fmla="*/ 22285 h 23065"/>
                    <a:gd name="connsiteX7" fmla="*/ 3603 w 21924"/>
                    <a:gd name="connsiteY7" fmla="*/ 22892 h 23065"/>
                    <a:gd name="connsiteX8" fmla="*/ 2388 w 21924"/>
                    <a:gd name="connsiteY8" fmla="*/ 20724 h 23065"/>
                    <a:gd name="connsiteX9" fmla="*/ 2388 w 21924"/>
                    <a:gd name="connsiteY9" fmla="*/ 19337 h 23065"/>
                    <a:gd name="connsiteX10" fmla="*/ 1868 w 21924"/>
                    <a:gd name="connsiteY10" fmla="*/ 17689 h 23065"/>
                    <a:gd name="connsiteX11" fmla="*/ 1868 w 21924"/>
                    <a:gd name="connsiteY11" fmla="*/ 14828 h 23065"/>
                    <a:gd name="connsiteX12" fmla="*/ 653 w 21924"/>
                    <a:gd name="connsiteY12" fmla="*/ 13961 h 23065"/>
                    <a:gd name="connsiteX13" fmla="*/ 45 w 21924"/>
                    <a:gd name="connsiteY13" fmla="*/ 11012 h 23065"/>
                    <a:gd name="connsiteX14" fmla="*/ 826 w 21924"/>
                    <a:gd name="connsiteY14" fmla="*/ 9712 h 23065"/>
                    <a:gd name="connsiteX15" fmla="*/ 1434 w 21924"/>
                    <a:gd name="connsiteY15" fmla="*/ 8498 h 23065"/>
                    <a:gd name="connsiteX16" fmla="*/ 3429 w 21924"/>
                    <a:gd name="connsiteY16" fmla="*/ 7457 h 23065"/>
                    <a:gd name="connsiteX17" fmla="*/ 4211 w 21924"/>
                    <a:gd name="connsiteY17" fmla="*/ 7457 h 23065"/>
                    <a:gd name="connsiteX18" fmla="*/ 5686 w 21924"/>
                    <a:gd name="connsiteY18" fmla="*/ 6070 h 23065"/>
                    <a:gd name="connsiteX19" fmla="*/ 6553 w 21924"/>
                    <a:gd name="connsiteY19" fmla="*/ 6070 h 23065"/>
                    <a:gd name="connsiteX20" fmla="*/ 7508 w 21924"/>
                    <a:gd name="connsiteY20" fmla="*/ 4509 h 23065"/>
                    <a:gd name="connsiteX21" fmla="*/ 8202 w 21924"/>
                    <a:gd name="connsiteY21" fmla="*/ 4509 h 23065"/>
                    <a:gd name="connsiteX22" fmla="*/ 8202 w 21924"/>
                    <a:gd name="connsiteY22" fmla="*/ 3642 h 23065"/>
                    <a:gd name="connsiteX23" fmla="*/ 8810 w 21924"/>
                    <a:gd name="connsiteY23" fmla="*/ 3642 h 23065"/>
                    <a:gd name="connsiteX24" fmla="*/ 8810 w 21924"/>
                    <a:gd name="connsiteY24" fmla="*/ 2948 h 23065"/>
                    <a:gd name="connsiteX25" fmla="*/ 9591 w 21924"/>
                    <a:gd name="connsiteY25" fmla="*/ 2948 h 23065"/>
                    <a:gd name="connsiteX26" fmla="*/ 10719 w 21924"/>
                    <a:gd name="connsiteY26" fmla="*/ 1734 h 23065"/>
                    <a:gd name="connsiteX27" fmla="*/ 11933 w 21924"/>
                    <a:gd name="connsiteY27" fmla="*/ 1734 h 23065"/>
                    <a:gd name="connsiteX28" fmla="*/ 13582 w 21924"/>
                    <a:gd name="connsiteY28" fmla="*/ 694 h 23065"/>
                    <a:gd name="connsiteX29" fmla="*/ 14537 w 21924"/>
                    <a:gd name="connsiteY29" fmla="*/ 0 h 23065"/>
                    <a:gd name="connsiteX30" fmla="*/ 16186 w 21924"/>
                    <a:gd name="connsiteY30" fmla="*/ 1127 h 23065"/>
                    <a:gd name="connsiteX31" fmla="*/ 17834 w 21924"/>
                    <a:gd name="connsiteY31" fmla="*/ 1734 h 23065"/>
                    <a:gd name="connsiteX32" fmla="*/ 18876 w 21924"/>
                    <a:gd name="connsiteY32" fmla="*/ 2688 h 23065"/>
                    <a:gd name="connsiteX33" fmla="*/ 19657 w 21924"/>
                    <a:gd name="connsiteY33" fmla="*/ 5029 h 23065"/>
                    <a:gd name="connsiteX34" fmla="*/ 21305 w 21924"/>
                    <a:gd name="connsiteY34" fmla="*/ 6590 h 23065"/>
                    <a:gd name="connsiteX35" fmla="*/ 21739 w 21924"/>
                    <a:gd name="connsiteY35" fmla="*/ 9018 h 23065"/>
                    <a:gd name="connsiteX36" fmla="*/ 20264 w 21924"/>
                    <a:gd name="connsiteY36" fmla="*/ 11359 h 23065"/>
                    <a:gd name="connsiteX37" fmla="*/ 18181 w 21924"/>
                    <a:gd name="connsiteY37" fmla="*/ 13180 h 23065"/>
                    <a:gd name="connsiteX38" fmla="*/ 17053 w 21924"/>
                    <a:gd name="connsiteY38" fmla="*/ 14221 h 23065"/>
                    <a:gd name="connsiteX39" fmla="*/ 15405 w 21924"/>
                    <a:gd name="connsiteY39" fmla="*/ 14221 h 23065"/>
                    <a:gd name="connsiteX40" fmla="*/ 12628 w 21924"/>
                    <a:gd name="connsiteY40" fmla="*/ 17950 h 23065"/>
                    <a:gd name="connsiteX41" fmla="*/ 11326 w 21924"/>
                    <a:gd name="connsiteY41" fmla="*/ 18990 h 23065"/>
                    <a:gd name="connsiteX42" fmla="*/ 9851 w 21924"/>
                    <a:gd name="connsiteY42" fmla="*/ 21418 h 23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1924" h="23065">
                      <a:moveTo>
                        <a:pt x="10371" y="21938"/>
                      </a:moveTo>
                      <a:cubicBezTo>
                        <a:pt x="10120" y="22042"/>
                        <a:pt x="9842" y="22042"/>
                        <a:pt x="9591" y="21938"/>
                      </a:cubicBezTo>
                      <a:cubicBezTo>
                        <a:pt x="9591" y="21938"/>
                        <a:pt x="9591" y="23066"/>
                        <a:pt x="8810" y="23066"/>
                      </a:cubicBezTo>
                      <a:lnTo>
                        <a:pt x="8115" y="22545"/>
                      </a:lnTo>
                      <a:cubicBezTo>
                        <a:pt x="7916" y="22493"/>
                        <a:pt x="7707" y="22493"/>
                        <a:pt x="7508" y="22545"/>
                      </a:cubicBezTo>
                      <a:cubicBezTo>
                        <a:pt x="7508" y="22545"/>
                        <a:pt x="6814" y="21851"/>
                        <a:pt x="6380" y="21851"/>
                      </a:cubicBezTo>
                      <a:cubicBezTo>
                        <a:pt x="5946" y="21851"/>
                        <a:pt x="5339" y="22285"/>
                        <a:pt x="4905" y="22285"/>
                      </a:cubicBezTo>
                      <a:cubicBezTo>
                        <a:pt x="4471" y="22285"/>
                        <a:pt x="3950" y="22892"/>
                        <a:pt x="3603" y="22892"/>
                      </a:cubicBezTo>
                      <a:cubicBezTo>
                        <a:pt x="3126" y="22216"/>
                        <a:pt x="2718" y="21487"/>
                        <a:pt x="2388" y="20724"/>
                      </a:cubicBezTo>
                      <a:cubicBezTo>
                        <a:pt x="2388" y="20291"/>
                        <a:pt x="3169" y="20031"/>
                        <a:pt x="2388" y="19337"/>
                      </a:cubicBezTo>
                      <a:cubicBezTo>
                        <a:pt x="1607" y="18643"/>
                        <a:pt x="1868" y="17689"/>
                        <a:pt x="1868" y="17689"/>
                      </a:cubicBezTo>
                      <a:cubicBezTo>
                        <a:pt x="2111" y="16753"/>
                        <a:pt x="2111" y="15764"/>
                        <a:pt x="1868" y="14828"/>
                      </a:cubicBezTo>
                      <a:cubicBezTo>
                        <a:pt x="1868" y="13700"/>
                        <a:pt x="1000" y="14134"/>
                        <a:pt x="653" y="13961"/>
                      </a:cubicBezTo>
                      <a:cubicBezTo>
                        <a:pt x="114" y="13076"/>
                        <a:pt x="-102" y="12036"/>
                        <a:pt x="45" y="11012"/>
                      </a:cubicBezTo>
                      <a:cubicBezTo>
                        <a:pt x="45" y="10319"/>
                        <a:pt x="826" y="10059"/>
                        <a:pt x="826" y="9712"/>
                      </a:cubicBezTo>
                      <a:cubicBezTo>
                        <a:pt x="861" y="9244"/>
                        <a:pt x="1078" y="8810"/>
                        <a:pt x="1434" y="8498"/>
                      </a:cubicBezTo>
                      <a:cubicBezTo>
                        <a:pt x="1434" y="8498"/>
                        <a:pt x="2996" y="7804"/>
                        <a:pt x="3429" y="7457"/>
                      </a:cubicBezTo>
                      <a:cubicBezTo>
                        <a:pt x="3863" y="7110"/>
                        <a:pt x="4211" y="7457"/>
                        <a:pt x="4211" y="7457"/>
                      </a:cubicBezTo>
                      <a:cubicBezTo>
                        <a:pt x="4662" y="6954"/>
                        <a:pt x="5156" y="6486"/>
                        <a:pt x="5686" y="6070"/>
                      </a:cubicBezTo>
                      <a:cubicBezTo>
                        <a:pt x="5686" y="6070"/>
                        <a:pt x="6380" y="6070"/>
                        <a:pt x="6553" y="6070"/>
                      </a:cubicBezTo>
                      <a:cubicBezTo>
                        <a:pt x="6909" y="5576"/>
                        <a:pt x="7230" y="5055"/>
                        <a:pt x="7508" y="4509"/>
                      </a:cubicBezTo>
                      <a:cubicBezTo>
                        <a:pt x="7508" y="4509"/>
                        <a:pt x="8115" y="4509"/>
                        <a:pt x="8202" y="4509"/>
                      </a:cubicBezTo>
                      <a:lnTo>
                        <a:pt x="8202" y="3642"/>
                      </a:lnTo>
                      <a:cubicBezTo>
                        <a:pt x="8384" y="3772"/>
                        <a:pt x="8627" y="3772"/>
                        <a:pt x="8810" y="3642"/>
                      </a:cubicBezTo>
                      <a:cubicBezTo>
                        <a:pt x="8810" y="3642"/>
                        <a:pt x="8810" y="3035"/>
                        <a:pt x="8810" y="2948"/>
                      </a:cubicBezTo>
                      <a:cubicBezTo>
                        <a:pt x="8810" y="2861"/>
                        <a:pt x="9330" y="3382"/>
                        <a:pt x="9591" y="2948"/>
                      </a:cubicBezTo>
                      <a:cubicBezTo>
                        <a:pt x="10033" y="2610"/>
                        <a:pt x="10406" y="2194"/>
                        <a:pt x="10719" y="1734"/>
                      </a:cubicBezTo>
                      <a:cubicBezTo>
                        <a:pt x="10719" y="1734"/>
                        <a:pt x="11933" y="1734"/>
                        <a:pt x="11933" y="1734"/>
                      </a:cubicBezTo>
                      <a:cubicBezTo>
                        <a:pt x="12394" y="1266"/>
                        <a:pt x="12958" y="911"/>
                        <a:pt x="13582" y="694"/>
                      </a:cubicBezTo>
                      <a:lnTo>
                        <a:pt x="14537" y="0"/>
                      </a:lnTo>
                      <a:cubicBezTo>
                        <a:pt x="14971" y="0"/>
                        <a:pt x="15665" y="780"/>
                        <a:pt x="16186" y="1127"/>
                      </a:cubicBezTo>
                      <a:cubicBezTo>
                        <a:pt x="16706" y="1474"/>
                        <a:pt x="17053" y="1734"/>
                        <a:pt x="17834" y="1734"/>
                      </a:cubicBezTo>
                      <a:cubicBezTo>
                        <a:pt x="18615" y="1734"/>
                        <a:pt x="19049" y="2341"/>
                        <a:pt x="18876" y="2688"/>
                      </a:cubicBezTo>
                      <a:cubicBezTo>
                        <a:pt x="18841" y="3538"/>
                        <a:pt x="19118" y="4370"/>
                        <a:pt x="19657" y="5029"/>
                      </a:cubicBezTo>
                      <a:cubicBezTo>
                        <a:pt x="19657" y="5636"/>
                        <a:pt x="20525" y="6503"/>
                        <a:pt x="21305" y="6590"/>
                      </a:cubicBezTo>
                      <a:cubicBezTo>
                        <a:pt x="22086" y="6677"/>
                        <a:pt x="22000" y="8584"/>
                        <a:pt x="21739" y="9018"/>
                      </a:cubicBezTo>
                      <a:cubicBezTo>
                        <a:pt x="21340" y="9850"/>
                        <a:pt x="20846" y="10640"/>
                        <a:pt x="20264" y="11359"/>
                      </a:cubicBezTo>
                      <a:cubicBezTo>
                        <a:pt x="20264" y="11359"/>
                        <a:pt x="18528" y="13180"/>
                        <a:pt x="18181" y="13180"/>
                      </a:cubicBezTo>
                      <a:cubicBezTo>
                        <a:pt x="17834" y="13180"/>
                        <a:pt x="17400" y="14221"/>
                        <a:pt x="17053" y="14221"/>
                      </a:cubicBezTo>
                      <a:cubicBezTo>
                        <a:pt x="16507" y="14134"/>
                        <a:pt x="15951" y="14134"/>
                        <a:pt x="15405" y="14221"/>
                      </a:cubicBezTo>
                      <a:cubicBezTo>
                        <a:pt x="15405" y="14221"/>
                        <a:pt x="12628" y="17950"/>
                        <a:pt x="12628" y="17950"/>
                      </a:cubicBezTo>
                      <a:cubicBezTo>
                        <a:pt x="12628" y="17950"/>
                        <a:pt x="11500" y="18470"/>
                        <a:pt x="11326" y="18990"/>
                      </a:cubicBezTo>
                      <a:cubicBezTo>
                        <a:pt x="10910" y="19848"/>
                        <a:pt x="10415" y="20655"/>
                        <a:pt x="9851" y="21418"/>
                      </a:cubicBezTo>
                    </a:path>
                  </a:pathLst>
                </a:custGeom>
                <a:grpFill/>
                <a:ln w="8678"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706" name="Forma libre 430">
                  <a:extLst>
                    <a:ext uri="{FF2B5EF4-FFF2-40B4-BE49-F238E27FC236}">
                      <a16:creationId xmlns:a16="http://schemas.microsoft.com/office/drawing/2014/main" id="{FD588510-1FAB-DA1C-7E48-AACD80F9FBBE}"/>
                    </a:ext>
                  </a:extLst>
                </p:cNvPr>
                <p:cNvSpPr/>
                <p:nvPr/>
              </p:nvSpPr>
              <p:spPr>
                <a:xfrm>
                  <a:off x="4184905" y="3626008"/>
                  <a:ext cx="14219" cy="14958"/>
                </a:xfrm>
                <a:custGeom>
                  <a:avLst/>
                  <a:gdLst>
                    <a:gd name="connsiteX0" fmla="*/ 10371 w 21924"/>
                    <a:gd name="connsiteY0" fmla="*/ 21938 h 23065"/>
                    <a:gd name="connsiteX1" fmla="*/ 9591 w 21924"/>
                    <a:gd name="connsiteY1" fmla="*/ 21938 h 23065"/>
                    <a:gd name="connsiteX2" fmla="*/ 8810 w 21924"/>
                    <a:gd name="connsiteY2" fmla="*/ 23066 h 23065"/>
                    <a:gd name="connsiteX3" fmla="*/ 8115 w 21924"/>
                    <a:gd name="connsiteY3" fmla="*/ 22545 h 23065"/>
                    <a:gd name="connsiteX4" fmla="*/ 7508 w 21924"/>
                    <a:gd name="connsiteY4" fmla="*/ 22545 h 23065"/>
                    <a:gd name="connsiteX5" fmla="*/ 6380 w 21924"/>
                    <a:gd name="connsiteY5" fmla="*/ 21851 h 23065"/>
                    <a:gd name="connsiteX6" fmla="*/ 4905 w 21924"/>
                    <a:gd name="connsiteY6" fmla="*/ 22285 h 23065"/>
                    <a:gd name="connsiteX7" fmla="*/ 3603 w 21924"/>
                    <a:gd name="connsiteY7" fmla="*/ 22892 h 23065"/>
                    <a:gd name="connsiteX8" fmla="*/ 2388 w 21924"/>
                    <a:gd name="connsiteY8" fmla="*/ 20724 h 23065"/>
                    <a:gd name="connsiteX9" fmla="*/ 2388 w 21924"/>
                    <a:gd name="connsiteY9" fmla="*/ 19337 h 23065"/>
                    <a:gd name="connsiteX10" fmla="*/ 1868 w 21924"/>
                    <a:gd name="connsiteY10" fmla="*/ 17689 h 23065"/>
                    <a:gd name="connsiteX11" fmla="*/ 1868 w 21924"/>
                    <a:gd name="connsiteY11" fmla="*/ 14828 h 23065"/>
                    <a:gd name="connsiteX12" fmla="*/ 653 w 21924"/>
                    <a:gd name="connsiteY12" fmla="*/ 13961 h 23065"/>
                    <a:gd name="connsiteX13" fmla="*/ 45 w 21924"/>
                    <a:gd name="connsiteY13" fmla="*/ 11012 h 23065"/>
                    <a:gd name="connsiteX14" fmla="*/ 826 w 21924"/>
                    <a:gd name="connsiteY14" fmla="*/ 9712 h 23065"/>
                    <a:gd name="connsiteX15" fmla="*/ 1434 w 21924"/>
                    <a:gd name="connsiteY15" fmla="*/ 8498 h 23065"/>
                    <a:gd name="connsiteX16" fmla="*/ 3429 w 21924"/>
                    <a:gd name="connsiteY16" fmla="*/ 7457 h 23065"/>
                    <a:gd name="connsiteX17" fmla="*/ 4211 w 21924"/>
                    <a:gd name="connsiteY17" fmla="*/ 7457 h 23065"/>
                    <a:gd name="connsiteX18" fmla="*/ 5686 w 21924"/>
                    <a:gd name="connsiteY18" fmla="*/ 6070 h 23065"/>
                    <a:gd name="connsiteX19" fmla="*/ 6553 w 21924"/>
                    <a:gd name="connsiteY19" fmla="*/ 6070 h 23065"/>
                    <a:gd name="connsiteX20" fmla="*/ 7508 w 21924"/>
                    <a:gd name="connsiteY20" fmla="*/ 4509 h 23065"/>
                    <a:gd name="connsiteX21" fmla="*/ 8202 w 21924"/>
                    <a:gd name="connsiteY21" fmla="*/ 4509 h 23065"/>
                    <a:gd name="connsiteX22" fmla="*/ 8202 w 21924"/>
                    <a:gd name="connsiteY22" fmla="*/ 3642 h 23065"/>
                    <a:gd name="connsiteX23" fmla="*/ 8810 w 21924"/>
                    <a:gd name="connsiteY23" fmla="*/ 3642 h 23065"/>
                    <a:gd name="connsiteX24" fmla="*/ 8810 w 21924"/>
                    <a:gd name="connsiteY24" fmla="*/ 2948 h 23065"/>
                    <a:gd name="connsiteX25" fmla="*/ 9591 w 21924"/>
                    <a:gd name="connsiteY25" fmla="*/ 2948 h 23065"/>
                    <a:gd name="connsiteX26" fmla="*/ 10719 w 21924"/>
                    <a:gd name="connsiteY26" fmla="*/ 1734 h 23065"/>
                    <a:gd name="connsiteX27" fmla="*/ 11933 w 21924"/>
                    <a:gd name="connsiteY27" fmla="*/ 1734 h 23065"/>
                    <a:gd name="connsiteX28" fmla="*/ 13582 w 21924"/>
                    <a:gd name="connsiteY28" fmla="*/ 694 h 23065"/>
                    <a:gd name="connsiteX29" fmla="*/ 14537 w 21924"/>
                    <a:gd name="connsiteY29" fmla="*/ 0 h 23065"/>
                    <a:gd name="connsiteX30" fmla="*/ 16186 w 21924"/>
                    <a:gd name="connsiteY30" fmla="*/ 1127 h 23065"/>
                    <a:gd name="connsiteX31" fmla="*/ 17834 w 21924"/>
                    <a:gd name="connsiteY31" fmla="*/ 1734 h 23065"/>
                    <a:gd name="connsiteX32" fmla="*/ 18876 w 21924"/>
                    <a:gd name="connsiteY32" fmla="*/ 2688 h 23065"/>
                    <a:gd name="connsiteX33" fmla="*/ 19657 w 21924"/>
                    <a:gd name="connsiteY33" fmla="*/ 5029 h 23065"/>
                    <a:gd name="connsiteX34" fmla="*/ 21305 w 21924"/>
                    <a:gd name="connsiteY34" fmla="*/ 6590 h 23065"/>
                    <a:gd name="connsiteX35" fmla="*/ 21739 w 21924"/>
                    <a:gd name="connsiteY35" fmla="*/ 9018 h 23065"/>
                    <a:gd name="connsiteX36" fmla="*/ 20264 w 21924"/>
                    <a:gd name="connsiteY36" fmla="*/ 11359 h 23065"/>
                    <a:gd name="connsiteX37" fmla="*/ 18181 w 21924"/>
                    <a:gd name="connsiteY37" fmla="*/ 13180 h 23065"/>
                    <a:gd name="connsiteX38" fmla="*/ 17053 w 21924"/>
                    <a:gd name="connsiteY38" fmla="*/ 14221 h 23065"/>
                    <a:gd name="connsiteX39" fmla="*/ 15405 w 21924"/>
                    <a:gd name="connsiteY39" fmla="*/ 14221 h 23065"/>
                    <a:gd name="connsiteX40" fmla="*/ 12628 w 21924"/>
                    <a:gd name="connsiteY40" fmla="*/ 17950 h 23065"/>
                    <a:gd name="connsiteX41" fmla="*/ 11326 w 21924"/>
                    <a:gd name="connsiteY41" fmla="*/ 18990 h 23065"/>
                    <a:gd name="connsiteX42" fmla="*/ 10371 w 21924"/>
                    <a:gd name="connsiteY42" fmla="*/ 21938 h 23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1924" h="23065">
                      <a:moveTo>
                        <a:pt x="10371" y="21938"/>
                      </a:moveTo>
                      <a:cubicBezTo>
                        <a:pt x="10120" y="22042"/>
                        <a:pt x="9842" y="22042"/>
                        <a:pt x="9591" y="21938"/>
                      </a:cubicBezTo>
                      <a:cubicBezTo>
                        <a:pt x="9591" y="21938"/>
                        <a:pt x="9591" y="23066"/>
                        <a:pt x="8810" y="23066"/>
                      </a:cubicBezTo>
                      <a:lnTo>
                        <a:pt x="8115" y="22545"/>
                      </a:lnTo>
                      <a:cubicBezTo>
                        <a:pt x="7916" y="22493"/>
                        <a:pt x="7707" y="22493"/>
                        <a:pt x="7508" y="22545"/>
                      </a:cubicBezTo>
                      <a:cubicBezTo>
                        <a:pt x="7508" y="22545"/>
                        <a:pt x="6814" y="21851"/>
                        <a:pt x="6380" y="21851"/>
                      </a:cubicBezTo>
                      <a:cubicBezTo>
                        <a:pt x="5946" y="21851"/>
                        <a:pt x="5339" y="22285"/>
                        <a:pt x="4905" y="22285"/>
                      </a:cubicBezTo>
                      <a:cubicBezTo>
                        <a:pt x="4471" y="22285"/>
                        <a:pt x="3950" y="22892"/>
                        <a:pt x="3603" y="22892"/>
                      </a:cubicBezTo>
                      <a:cubicBezTo>
                        <a:pt x="3126" y="22216"/>
                        <a:pt x="2718" y="21487"/>
                        <a:pt x="2388" y="20724"/>
                      </a:cubicBezTo>
                      <a:cubicBezTo>
                        <a:pt x="2388" y="20291"/>
                        <a:pt x="3169" y="20031"/>
                        <a:pt x="2388" y="19337"/>
                      </a:cubicBezTo>
                      <a:cubicBezTo>
                        <a:pt x="1607" y="18643"/>
                        <a:pt x="1868" y="17689"/>
                        <a:pt x="1868" y="17689"/>
                      </a:cubicBezTo>
                      <a:cubicBezTo>
                        <a:pt x="2111" y="16753"/>
                        <a:pt x="2111" y="15764"/>
                        <a:pt x="1868" y="14828"/>
                      </a:cubicBezTo>
                      <a:cubicBezTo>
                        <a:pt x="1868" y="13700"/>
                        <a:pt x="1000" y="14134"/>
                        <a:pt x="653" y="13961"/>
                      </a:cubicBezTo>
                      <a:cubicBezTo>
                        <a:pt x="114" y="13076"/>
                        <a:pt x="-102" y="12036"/>
                        <a:pt x="45" y="11012"/>
                      </a:cubicBezTo>
                      <a:cubicBezTo>
                        <a:pt x="45" y="10319"/>
                        <a:pt x="826" y="10059"/>
                        <a:pt x="826" y="9712"/>
                      </a:cubicBezTo>
                      <a:cubicBezTo>
                        <a:pt x="861" y="9244"/>
                        <a:pt x="1078" y="8810"/>
                        <a:pt x="1434" y="8498"/>
                      </a:cubicBezTo>
                      <a:cubicBezTo>
                        <a:pt x="1434" y="8498"/>
                        <a:pt x="2996" y="7804"/>
                        <a:pt x="3429" y="7457"/>
                      </a:cubicBezTo>
                      <a:cubicBezTo>
                        <a:pt x="3863" y="7110"/>
                        <a:pt x="4211" y="7457"/>
                        <a:pt x="4211" y="7457"/>
                      </a:cubicBezTo>
                      <a:cubicBezTo>
                        <a:pt x="4662" y="6954"/>
                        <a:pt x="5156" y="6486"/>
                        <a:pt x="5686" y="6070"/>
                      </a:cubicBezTo>
                      <a:cubicBezTo>
                        <a:pt x="5686" y="6070"/>
                        <a:pt x="6380" y="6070"/>
                        <a:pt x="6553" y="6070"/>
                      </a:cubicBezTo>
                      <a:cubicBezTo>
                        <a:pt x="6909" y="5576"/>
                        <a:pt x="7230" y="5055"/>
                        <a:pt x="7508" y="4509"/>
                      </a:cubicBezTo>
                      <a:cubicBezTo>
                        <a:pt x="7508" y="4509"/>
                        <a:pt x="8115" y="4509"/>
                        <a:pt x="8202" y="4509"/>
                      </a:cubicBezTo>
                      <a:lnTo>
                        <a:pt x="8202" y="3642"/>
                      </a:lnTo>
                      <a:cubicBezTo>
                        <a:pt x="8384" y="3772"/>
                        <a:pt x="8627" y="3772"/>
                        <a:pt x="8810" y="3642"/>
                      </a:cubicBezTo>
                      <a:cubicBezTo>
                        <a:pt x="8810" y="3642"/>
                        <a:pt x="8810" y="3035"/>
                        <a:pt x="8810" y="2948"/>
                      </a:cubicBezTo>
                      <a:cubicBezTo>
                        <a:pt x="8810" y="2861"/>
                        <a:pt x="9330" y="3382"/>
                        <a:pt x="9591" y="2948"/>
                      </a:cubicBezTo>
                      <a:cubicBezTo>
                        <a:pt x="10033" y="2610"/>
                        <a:pt x="10406" y="2194"/>
                        <a:pt x="10719" y="1734"/>
                      </a:cubicBezTo>
                      <a:cubicBezTo>
                        <a:pt x="10719" y="1734"/>
                        <a:pt x="11933" y="1734"/>
                        <a:pt x="11933" y="1734"/>
                      </a:cubicBezTo>
                      <a:cubicBezTo>
                        <a:pt x="12394" y="1266"/>
                        <a:pt x="12958" y="911"/>
                        <a:pt x="13582" y="694"/>
                      </a:cubicBezTo>
                      <a:lnTo>
                        <a:pt x="14537" y="0"/>
                      </a:lnTo>
                      <a:cubicBezTo>
                        <a:pt x="14971" y="0"/>
                        <a:pt x="15665" y="780"/>
                        <a:pt x="16186" y="1127"/>
                      </a:cubicBezTo>
                      <a:cubicBezTo>
                        <a:pt x="16706" y="1474"/>
                        <a:pt x="17053" y="1734"/>
                        <a:pt x="17834" y="1734"/>
                      </a:cubicBezTo>
                      <a:cubicBezTo>
                        <a:pt x="18615" y="1734"/>
                        <a:pt x="19049" y="2341"/>
                        <a:pt x="18876" y="2688"/>
                      </a:cubicBezTo>
                      <a:cubicBezTo>
                        <a:pt x="18841" y="3538"/>
                        <a:pt x="19118" y="4370"/>
                        <a:pt x="19657" y="5029"/>
                      </a:cubicBezTo>
                      <a:cubicBezTo>
                        <a:pt x="19657" y="5636"/>
                        <a:pt x="20525" y="6503"/>
                        <a:pt x="21305" y="6590"/>
                      </a:cubicBezTo>
                      <a:cubicBezTo>
                        <a:pt x="22086" y="6677"/>
                        <a:pt x="22000" y="8584"/>
                        <a:pt x="21739" y="9018"/>
                      </a:cubicBezTo>
                      <a:cubicBezTo>
                        <a:pt x="21340" y="9850"/>
                        <a:pt x="20846" y="10640"/>
                        <a:pt x="20264" y="11359"/>
                      </a:cubicBezTo>
                      <a:cubicBezTo>
                        <a:pt x="20264" y="11359"/>
                        <a:pt x="18528" y="13180"/>
                        <a:pt x="18181" y="13180"/>
                      </a:cubicBezTo>
                      <a:cubicBezTo>
                        <a:pt x="17834" y="13180"/>
                        <a:pt x="17400" y="14221"/>
                        <a:pt x="17053" y="14221"/>
                      </a:cubicBezTo>
                      <a:cubicBezTo>
                        <a:pt x="16507" y="14134"/>
                        <a:pt x="15951" y="14134"/>
                        <a:pt x="15405" y="14221"/>
                      </a:cubicBezTo>
                      <a:cubicBezTo>
                        <a:pt x="15405" y="14221"/>
                        <a:pt x="12628" y="17950"/>
                        <a:pt x="12628" y="17950"/>
                      </a:cubicBezTo>
                      <a:cubicBezTo>
                        <a:pt x="12628" y="17950"/>
                        <a:pt x="11500" y="18470"/>
                        <a:pt x="11326" y="18990"/>
                      </a:cubicBezTo>
                      <a:cubicBezTo>
                        <a:pt x="11109" y="20005"/>
                        <a:pt x="10788" y="20993"/>
                        <a:pt x="10371" y="21938"/>
                      </a:cubicBezTo>
                      <a:close/>
                    </a:path>
                  </a:pathLst>
                </a:custGeom>
                <a:grpFill/>
                <a:ln w="4078"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494949"/>
                    </a:solidFill>
                    <a:effectLst/>
                    <a:uLnTx/>
                    <a:uFillTx/>
                    <a:latin typeface="Arial" panose="020B0604020202020204"/>
                    <a:ea typeface="+mn-ea"/>
                    <a:cs typeface="+mn-cs"/>
                  </a:endParaRPr>
                </a:p>
              </p:txBody>
            </p:sp>
          </p:grpSp>
        </p:grpSp>
        <p:grpSp>
          <p:nvGrpSpPr>
            <p:cNvPr id="707" name="Grupo 706">
              <a:extLst>
                <a:ext uri="{FF2B5EF4-FFF2-40B4-BE49-F238E27FC236}">
                  <a16:creationId xmlns:a16="http://schemas.microsoft.com/office/drawing/2014/main" id="{3FC01A58-EBCA-3B66-2E4A-A20578099934}"/>
                </a:ext>
              </a:extLst>
            </p:cNvPr>
            <p:cNvGrpSpPr/>
            <p:nvPr/>
          </p:nvGrpSpPr>
          <p:grpSpPr>
            <a:xfrm>
              <a:off x="616203" y="1061183"/>
              <a:ext cx="1269922" cy="1169418"/>
              <a:chOff x="2288870" y="2877026"/>
              <a:chExt cx="2631129" cy="2718574"/>
            </a:xfrm>
            <a:solidFill>
              <a:srgbClr val="29A8C5"/>
            </a:solidFill>
          </p:grpSpPr>
          <p:sp>
            <p:nvSpPr>
              <p:cNvPr id="708" name="Freeform 57">
                <a:extLst>
                  <a:ext uri="{FF2B5EF4-FFF2-40B4-BE49-F238E27FC236}">
                    <a16:creationId xmlns:a16="http://schemas.microsoft.com/office/drawing/2014/main" id="{29F1428E-8474-024F-F9A8-A440570AC297}"/>
                  </a:ext>
                </a:extLst>
              </p:cNvPr>
              <p:cNvSpPr>
                <a:spLocks/>
              </p:cNvSpPr>
              <p:nvPr/>
            </p:nvSpPr>
            <p:spPr bwMode="auto">
              <a:xfrm>
                <a:off x="3083937" y="3763184"/>
                <a:ext cx="258501" cy="387171"/>
              </a:xfrm>
              <a:custGeom>
                <a:avLst/>
                <a:gdLst>
                  <a:gd name="T0" fmla="*/ 23 w 166"/>
                  <a:gd name="T1" fmla="*/ 95 h 248"/>
                  <a:gd name="T2" fmla="*/ 26 w 166"/>
                  <a:gd name="T3" fmla="*/ 63 h 248"/>
                  <a:gd name="T4" fmla="*/ 40 w 166"/>
                  <a:gd name="T5" fmla="*/ 76 h 248"/>
                  <a:gd name="T6" fmla="*/ 41 w 166"/>
                  <a:gd name="T7" fmla="*/ 53 h 248"/>
                  <a:gd name="T8" fmla="*/ 57 w 166"/>
                  <a:gd name="T9" fmla="*/ 48 h 248"/>
                  <a:gd name="T10" fmla="*/ 58 w 166"/>
                  <a:gd name="T11" fmla="*/ 31 h 248"/>
                  <a:gd name="T12" fmla="*/ 74 w 166"/>
                  <a:gd name="T13" fmla="*/ 20 h 248"/>
                  <a:gd name="T14" fmla="*/ 91 w 166"/>
                  <a:gd name="T15" fmla="*/ 18 h 248"/>
                  <a:gd name="T16" fmla="*/ 96 w 166"/>
                  <a:gd name="T17" fmla="*/ 6 h 248"/>
                  <a:gd name="T18" fmla="*/ 106 w 166"/>
                  <a:gd name="T19" fmla="*/ 0 h 248"/>
                  <a:gd name="T20" fmla="*/ 113 w 166"/>
                  <a:gd name="T21" fmla="*/ 6 h 248"/>
                  <a:gd name="T22" fmla="*/ 102 w 166"/>
                  <a:gd name="T23" fmla="*/ 20 h 248"/>
                  <a:gd name="T24" fmla="*/ 96 w 166"/>
                  <a:gd name="T25" fmla="*/ 42 h 248"/>
                  <a:gd name="T26" fmla="*/ 85 w 166"/>
                  <a:gd name="T27" fmla="*/ 49 h 248"/>
                  <a:gd name="T28" fmla="*/ 98 w 166"/>
                  <a:gd name="T29" fmla="*/ 67 h 248"/>
                  <a:gd name="T30" fmla="*/ 95 w 166"/>
                  <a:gd name="T31" fmla="*/ 84 h 248"/>
                  <a:gd name="T32" fmla="*/ 121 w 166"/>
                  <a:gd name="T33" fmla="*/ 86 h 248"/>
                  <a:gd name="T34" fmla="*/ 121 w 166"/>
                  <a:gd name="T35" fmla="*/ 95 h 248"/>
                  <a:gd name="T36" fmla="*/ 143 w 166"/>
                  <a:gd name="T37" fmla="*/ 105 h 248"/>
                  <a:gd name="T38" fmla="*/ 165 w 166"/>
                  <a:gd name="T39" fmla="*/ 113 h 248"/>
                  <a:gd name="T40" fmla="*/ 165 w 166"/>
                  <a:gd name="T41" fmla="*/ 141 h 248"/>
                  <a:gd name="T42" fmla="*/ 161 w 166"/>
                  <a:gd name="T43" fmla="*/ 160 h 248"/>
                  <a:gd name="T44" fmla="*/ 162 w 166"/>
                  <a:gd name="T45" fmla="*/ 173 h 248"/>
                  <a:gd name="T46" fmla="*/ 138 w 166"/>
                  <a:gd name="T47" fmla="*/ 182 h 248"/>
                  <a:gd name="T48" fmla="*/ 132 w 166"/>
                  <a:gd name="T49" fmla="*/ 192 h 248"/>
                  <a:gd name="T50" fmla="*/ 140 w 166"/>
                  <a:gd name="T51" fmla="*/ 199 h 248"/>
                  <a:gd name="T52" fmla="*/ 132 w 166"/>
                  <a:gd name="T53" fmla="*/ 204 h 248"/>
                  <a:gd name="T54" fmla="*/ 135 w 166"/>
                  <a:gd name="T55" fmla="*/ 233 h 248"/>
                  <a:gd name="T56" fmla="*/ 135 w 166"/>
                  <a:gd name="T57" fmla="*/ 245 h 248"/>
                  <a:gd name="T58" fmla="*/ 121 w 166"/>
                  <a:gd name="T59" fmla="*/ 247 h 248"/>
                  <a:gd name="T60" fmla="*/ 107 w 166"/>
                  <a:gd name="T61" fmla="*/ 238 h 248"/>
                  <a:gd name="T62" fmla="*/ 83 w 166"/>
                  <a:gd name="T63" fmla="*/ 235 h 248"/>
                  <a:gd name="T64" fmla="*/ 70 w 166"/>
                  <a:gd name="T65" fmla="*/ 219 h 248"/>
                  <a:gd name="T66" fmla="*/ 55 w 166"/>
                  <a:gd name="T67" fmla="*/ 209 h 248"/>
                  <a:gd name="T68" fmla="*/ 44 w 166"/>
                  <a:gd name="T69" fmla="*/ 199 h 248"/>
                  <a:gd name="T70" fmla="*/ 21 w 166"/>
                  <a:gd name="T71" fmla="*/ 200 h 248"/>
                  <a:gd name="T72" fmla="*/ 0 w 166"/>
                  <a:gd name="T73" fmla="*/ 188 h 248"/>
                  <a:gd name="T74" fmla="*/ 11 w 166"/>
                  <a:gd name="T75" fmla="*/ 171 h 248"/>
                  <a:gd name="T76" fmla="*/ 14 w 166"/>
                  <a:gd name="T77" fmla="*/ 163 h 248"/>
                  <a:gd name="T78" fmla="*/ 27 w 166"/>
                  <a:gd name="T79" fmla="*/ 161 h 248"/>
                  <a:gd name="T80" fmla="*/ 23 w 166"/>
                  <a:gd name="T81" fmla="*/ 9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6" h="248">
                    <a:moveTo>
                      <a:pt x="23" y="95"/>
                    </a:moveTo>
                    <a:lnTo>
                      <a:pt x="26" y="63"/>
                    </a:lnTo>
                    <a:lnTo>
                      <a:pt x="40" y="76"/>
                    </a:lnTo>
                    <a:lnTo>
                      <a:pt x="41" y="53"/>
                    </a:lnTo>
                    <a:lnTo>
                      <a:pt x="57" y="48"/>
                    </a:lnTo>
                    <a:lnTo>
                      <a:pt x="58" y="31"/>
                    </a:lnTo>
                    <a:lnTo>
                      <a:pt x="74" y="20"/>
                    </a:lnTo>
                    <a:lnTo>
                      <a:pt x="91" y="18"/>
                    </a:lnTo>
                    <a:lnTo>
                      <a:pt x="96" y="6"/>
                    </a:lnTo>
                    <a:lnTo>
                      <a:pt x="106" y="0"/>
                    </a:lnTo>
                    <a:lnTo>
                      <a:pt x="113" y="6"/>
                    </a:lnTo>
                    <a:lnTo>
                      <a:pt x="102" y="20"/>
                    </a:lnTo>
                    <a:lnTo>
                      <a:pt x="96" y="42"/>
                    </a:lnTo>
                    <a:lnTo>
                      <a:pt x="85" y="49"/>
                    </a:lnTo>
                    <a:lnTo>
                      <a:pt x="98" y="67"/>
                    </a:lnTo>
                    <a:lnTo>
                      <a:pt x="95" y="84"/>
                    </a:lnTo>
                    <a:lnTo>
                      <a:pt x="121" y="86"/>
                    </a:lnTo>
                    <a:lnTo>
                      <a:pt x="121" y="95"/>
                    </a:lnTo>
                    <a:lnTo>
                      <a:pt x="143" y="105"/>
                    </a:lnTo>
                    <a:lnTo>
                      <a:pt x="165" y="113"/>
                    </a:lnTo>
                    <a:lnTo>
                      <a:pt x="165" y="141"/>
                    </a:lnTo>
                    <a:lnTo>
                      <a:pt x="161" y="160"/>
                    </a:lnTo>
                    <a:lnTo>
                      <a:pt x="162" y="173"/>
                    </a:lnTo>
                    <a:lnTo>
                      <a:pt x="138" y="182"/>
                    </a:lnTo>
                    <a:lnTo>
                      <a:pt x="132" y="192"/>
                    </a:lnTo>
                    <a:lnTo>
                      <a:pt x="140" y="199"/>
                    </a:lnTo>
                    <a:lnTo>
                      <a:pt x="132" y="204"/>
                    </a:lnTo>
                    <a:lnTo>
                      <a:pt x="135" y="233"/>
                    </a:lnTo>
                    <a:lnTo>
                      <a:pt x="135" y="245"/>
                    </a:lnTo>
                    <a:lnTo>
                      <a:pt x="121" y="247"/>
                    </a:lnTo>
                    <a:lnTo>
                      <a:pt x="107" y="238"/>
                    </a:lnTo>
                    <a:lnTo>
                      <a:pt x="83" y="235"/>
                    </a:lnTo>
                    <a:lnTo>
                      <a:pt x="70" y="219"/>
                    </a:lnTo>
                    <a:lnTo>
                      <a:pt x="55" y="209"/>
                    </a:lnTo>
                    <a:lnTo>
                      <a:pt x="44" y="199"/>
                    </a:lnTo>
                    <a:lnTo>
                      <a:pt x="21" y="200"/>
                    </a:lnTo>
                    <a:lnTo>
                      <a:pt x="0" y="188"/>
                    </a:lnTo>
                    <a:lnTo>
                      <a:pt x="11" y="171"/>
                    </a:lnTo>
                    <a:lnTo>
                      <a:pt x="14" y="163"/>
                    </a:lnTo>
                    <a:lnTo>
                      <a:pt x="27" y="161"/>
                    </a:lnTo>
                    <a:lnTo>
                      <a:pt x="23" y="95"/>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709" name="Freeform 45">
                <a:extLst>
                  <a:ext uri="{FF2B5EF4-FFF2-40B4-BE49-F238E27FC236}">
                    <a16:creationId xmlns:a16="http://schemas.microsoft.com/office/drawing/2014/main" id="{7B4FCAF9-EDDE-0682-68CF-1F4F036F4F79}"/>
                  </a:ext>
                </a:extLst>
              </p:cNvPr>
              <p:cNvSpPr>
                <a:spLocks/>
              </p:cNvSpPr>
              <p:nvPr/>
            </p:nvSpPr>
            <p:spPr bwMode="auto">
              <a:xfrm>
                <a:off x="3257206" y="4538920"/>
                <a:ext cx="162088" cy="1056680"/>
              </a:xfrm>
              <a:custGeom>
                <a:avLst/>
                <a:gdLst>
                  <a:gd name="T0" fmla="*/ 56 w 103"/>
                  <a:gd name="T1" fmla="*/ 625 h 674"/>
                  <a:gd name="T2" fmla="*/ 40 w 103"/>
                  <a:gd name="T3" fmla="*/ 597 h 674"/>
                  <a:gd name="T4" fmla="*/ 46 w 103"/>
                  <a:gd name="T5" fmla="*/ 551 h 674"/>
                  <a:gd name="T6" fmla="*/ 49 w 103"/>
                  <a:gd name="T7" fmla="*/ 478 h 674"/>
                  <a:gd name="T8" fmla="*/ 43 w 103"/>
                  <a:gd name="T9" fmla="*/ 438 h 674"/>
                  <a:gd name="T10" fmla="*/ 33 w 103"/>
                  <a:gd name="T11" fmla="*/ 397 h 674"/>
                  <a:gd name="T12" fmla="*/ 44 w 103"/>
                  <a:gd name="T13" fmla="*/ 372 h 674"/>
                  <a:gd name="T14" fmla="*/ 41 w 103"/>
                  <a:gd name="T15" fmla="*/ 326 h 674"/>
                  <a:gd name="T16" fmla="*/ 41 w 103"/>
                  <a:gd name="T17" fmla="*/ 309 h 674"/>
                  <a:gd name="T18" fmla="*/ 49 w 103"/>
                  <a:gd name="T19" fmla="*/ 284 h 674"/>
                  <a:gd name="T20" fmla="*/ 41 w 103"/>
                  <a:gd name="T21" fmla="*/ 265 h 674"/>
                  <a:gd name="T22" fmla="*/ 47 w 103"/>
                  <a:gd name="T23" fmla="*/ 235 h 674"/>
                  <a:gd name="T24" fmla="*/ 42 w 103"/>
                  <a:gd name="T25" fmla="*/ 198 h 674"/>
                  <a:gd name="T26" fmla="*/ 49 w 103"/>
                  <a:gd name="T27" fmla="*/ 175 h 674"/>
                  <a:gd name="T28" fmla="*/ 63 w 103"/>
                  <a:gd name="T29" fmla="*/ 155 h 674"/>
                  <a:gd name="T30" fmla="*/ 64 w 103"/>
                  <a:gd name="T31" fmla="*/ 134 h 674"/>
                  <a:gd name="T32" fmla="*/ 73 w 103"/>
                  <a:gd name="T33" fmla="*/ 112 h 674"/>
                  <a:gd name="T34" fmla="*/ 64 w 103"/>
                  <a:gd name="T35" fmla="*/ 87 h 674"/>
                  <a:gd name="T36" fmla="*/ 54 w 103"/>
                  <a:gd name="T37" fmla="*/ 36 h 674"/>
                  <a:gd name="T38" fmla="*/ 38 w 103"/>
                  <a:gd name="T39" fmla="*/ 8 h 674"/>
                  <a:gd name="T40" fmla="*/ 21 w 103"/>
                  <a:gd name="T41" fmla="*/ 10 h 674"/>
                  <a:gd name="T42" fmla="*/ 28 w 103"/>
                  <a:gd name="T43" fmla="*/ 39 h 674"/>
                  <a:gd name="T44" fmla="*/ 23 w 103"/>
                  <a:gd name="T45" fmla="*/ 104 h 674"/>
                  <a:gd name="T46" fmla="*/ 28 w 103"/>
                  <a:gd name="T47" fmla="*/ 112 h 674"/>
                  <a:gd name="T48" fmla="*/ 24 w 103"/>
                  <a:gd name="T49" fmla="*/ 147 h 674"/>
                  <a:gd name="T50" fmla="*/ 13 w 103"/>
                  <a:gd name="T51" fmla="*/ 187 h 674"/>
                  <a:gd name="T52" fmla="*/ 14 w 103"/>
                  <a:gd name="T53" fmla="*/ 216 h 674"/>
                  <a:gd name="T54" fmla="*/ 15 w 103"/>
                  <a:gd name="T55" fmla="*/ 268 h 674"/>
                  <a:gd name="T56" fmla="*/ 4 w 103"/>
                  <a:gd name="T57" fmla="*/ 340 h 674"/>
                  <a:gd name="T58" fmla="*/ 11 w 103"/>
                  <a:gd name="T59" fmla="*/ 437 h 674"/>
                  <a:gd name="T60" fmla="*/ 15 w 103"/>
                  <a:gd name="T61" fmla="*/ 451 h 674"/>
                  <a:gd name="T62" fmla="*/ 20 w 103"/>
                  <a:gd name="T63" fmla="*/ 499 h 674"/>
                  <a:gd name="T64" fmla="*/ 13 w 103"/>
                  <a:gd name="T65" fmla="*/ 535 h 674"/>
                  <a:gd name="T66" fmla="*/ 13 w 103"/>
                  <a:gd name="T67" fmla="*/ 566 h 674"/>
                  <a:gd name="T68" fmla="*/ 28 w 103"/>
                  <a:gd name="T69" fmla="*/ 605 h 674"/>
                  <a:gd name="T70" fmla="*/ 40 w 103"/>
                  <a:gd name="T71" fmla="*/ 625 h 674"/>
                  <a:gd name="T72" fmla="*/ 54 w 103"/>
                  <a:gd name="T73" fmla="*/ 637 h 674"/>
                  <a:gd name="T74" fmla="*/ 72 w 103"/>
                  <a:gd name="T75" fmla="*/ 654 h 674"/>
                  <a:gd name="T76" fmla="*/ 87 w 103"/>
                  <a:gd name="T77" fmla="*/ 673 h 674"/>
                  <a:gd name="T78" fmla="*/ 102 w 103"/>
                  <a:gd name="T79" fmla="*/ 650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3" h="674">
                    <a:moveTo>
                      <a:pt x="99" y="623"/>
                    </a:moveTo>
                    <a:lnTo>
                      <a:pt x="56" y="625"/>
                    </a:lnTo>
                    <a:lnTo>
                      <a:pt x="53" y="604"/>
                    </a:lnTo>
                    <a:lnTo>
                      <a:pt x="40" y="597"/>
                    </a:lnTo>
                    <a:lnTo>
                      <a:pt x="38" y="552"/>
                    </a:lnTo>
                    <a:lnTo>
                      <a:pt x="46" y="551"/>
                    </a:lnTo>
                    <a:lnTo>
                      <a:pt x="48" y="538"/>
                    </a:lnTo>
                    <a:lnTo>
                      <a:pt x="49" y="478"/>
                    </a:lnTo>
                    <a:lnTo>
                      <a:pt x="43" y="462"/>
                    </a:lnTo>
                    <a:lnTo>
                      <a:pt x="43" y="438"/>
                    </a:lnTo>
                    <a:lnTo>
                      <a:pt x="38" y="411"/>
                    </a:lnTo>
                    <a:lnTo>
                      <a:pt x="33" y="397"/>
                    </a:lnTo>
                    <a:lnTo>
                      <a:pt x="33" y="385"/>
                    </a:lnTo>
                    <a:lnTo>
                      <a:pt x="44" y="372"/>
                    </a:lnTo>
                    <a:lnTo>
                      <a:pt x="31" y="343"/>
                    </a:lnTo>
                    <a:lnTo>
                      <a:pt x="41" y="326"/>
                    </a:lnTo>
                    <a:lnTo>
                      <a:pt x="48" y="317"/>
                    </a:lnTo>
                    <a:lnTo>
                      <a:pt x="41" y="309"/>
                    </a:lnTo>
                    <a:lnTo>
                      <a:pt x="41" y="287"/>
                    </a:lnTo>
                    <a:lnTo>
                      <a:pt x="49" y="284"/>
                    </a:lnTo>
                    <a:lnTo>
                      <a:pt x="48" y="267"/>
                    </a:lnTo>
                    <a:lnTo>
                      <a:pt x="41" y="265"/>
                    </a:lnTo>
                    <a:lnTo>
                      <a:pt x="40" y="240"/>
                    </a:lnTo>
                    <a:lnTo>
                      <a:pt x="47" y="235"/>
                    </a:lnTo>
                    <a:lnTo>
                      <a:pt x="45" y="222"/>
                    </a:lnTo>
                    <a:lnTo>
                      <a:pt x="42" y="198"/>
                    </a:lnTo>
                    <a:lnTo>
                      <a:pt x="48" y="189"/>
                    </a:lnTo>
                    <a:lnTo>
                      <a:pt x="49" y="175"/>
                    </a:lnTo>
                    <a:lnTo>
                      <a:pt x="59" y="168"/>
                    </a:lnTo>
                    <a:lnTo>
                      <a:pt x="63" y="155"/>
                    </a:lnTo>
                    <a:lnTo>
                      <a:pt x="55" y="144"/>
                    </a:lnTo>
                    <a:lnTo>
                      <a:pt x="64" y="134"/>
                    </a:lnTo>
                    <a:lnTo>
                      <a:pt x="64" y="115"/>
                    </a:lnTo>
                    <a:lnTo>
                      <a:pt x="73" y="112"/>
                    </a:lnTo>
                    <a:lnTo>
                      <a:pt x="74" y="93"/>
                    </a:lnTo>
                    <a:lnTo>
                      <a:pt x="64" y="87"/>
                    </a:lnTo>
                    <a:lnTo>
                      <a:pt x="54" y="67"/>
                    </a:lnTo>
                    <a:lnTo>
                      <a:pt x="54" y="36"/>
                    </a:lnTo>
                    <a:lnTo>
                      <a:pt x="40" y="23"/>
                    </a:lnTo>
                    <a:lnTo>
                      <a:pt x="38" y="8"/>
                    </a:lnTo>
                    <a:lnTo>
                      <a:pt x="31" y="0"/>
                    </a:lnTo>
                    <a:lnTo>
                      <a:pt x="21" y="10"/>
                    </a:lnTo>
                    <a:lnTo>
                      <a:pt x="24" y="31"/>
                    </a:lnTo>
                    <a:lnTo>
                      <a:pt x="28" y="39"/>
                    </a:lnTo>
                    <a:lnTo>
                      <a:pt x="29" y="97"/>
                    </a:lnTo>
                    <a:lnTo>
                      <a:pt x="23" y="104"/>
                    </a:lnTo>
                    <a:lnTo>
                      <a:pt x="23" y="112"/>
                    </a:lnTo>
                    <a:lnTo>
                      <a:pt x="28" y="112"/>
                    </a:lnTo>
                    <a:lnTo>
                      <a:pt x="28" y="147"/>
                    </a:lnTo>
                    <a:lnTo>
                      <a:pt x="24" y="147"/>
                    </a:lnTo>
                    <a:lnTo>
                      <a:pt x="23" y="187"/>
                    </a:lnTo>
                    <a:lnTo>
                      <a:pt x="13" y="187"/>
                    </a:lnTo>
                    <a:lnTo>
                      <a:pt x="18" y="196"/>
                    </a:lnTo>
                    <a:lnTo>
                      <a:pt x="14" y="216"/>
                    </a:lnTo>
                    <a:lnTo>
                      <a:pt x="11" y="266"/>
                    </a:lnTo>
                    <a:lnTo>
                      <a:pt x="15" y="268"/>
                    </a:lnTo>
                    <a:lnTo>
                      <a:pt x="9" y="330"/>
                    </a:lnTo>
                    <a:lnTo>
                      <a:pt x="4" y="340"/>
                    </a:lnTo>
                    <a:lnTo>
                      <a:pt x="0" y="346"/>
                    </a:lnTo>
                    <a:lnTo>
                      <a:pt x="11" y="437"/>
                    </a:lnTo>
                    <a:lnTo>
                      <a:pt x="5" y="451"/>
                    </a:lnTo>
                    <a:lnTo>
                      <a:pt x="15" y="451"/>
                    </a:lnTo>
                    <a:lnTo>
                      <a:pt x="18" y="454"/>
                    </a:lnTo>
                    <a:lnTo>
                      <a:pt x="20" y="499"/>
                    </a:lnTo>
                    <a:lnTo>
                      <a:pt x="14" y="512"/>
                    </a:lnTo>
                    <a:lnTo>
                      <a:pt x="13" y="535"/>
                    </a:lnTo>
                    <a:lnTo>
                      <a:pt x="23" y="540"/>
                    </a:lnTo>
                    <a:lnTo>
                      <a:pt x="13" y="566"/>
                    </a:lnTo>
                    <a:lnTo>
                      <a:pt x="20" y="592"/>
                    </a:lnTo>
                    <a:lnTo>
                      <a:pt x="28" y="605"/>
                    </a:lnTo>
                    <a:lnTo>
                      <a:pt x="38" y="610"/>
                    </a:lnTo>
                    <a:lnTo>
                      <a:pt x="40" y="625"/>
                    </a:lnTo>
                    <a:lnTo>
                      <a:pt x="44" y="632"/>
                    </a:lnTo>
                    <a:lnTo>
                      <a:pt x="54" y="637"/>
                    </a:lnTo>
                    <a:lnTo>
                      <a:pt x="59" y="647"/>
                    </a:lnTo>
                    <a:lnTo>
                      <a:pt x="72" y="654"/>
                    </a:lnTo>
                    <a:lnTo>
                      <a:pt x="80" y="662"/>
                    </a:lnTo>
                    <a:lnTo>
                      <a:pt x="87" y="673"/>
                    </a:lnTo>
                    <a:lnTo>
                      <a:pt x="91" y="656"/>
                    </a:lnTo>
                    <a:lnTo>
                      <a:pt x="102" y="650"/>
                    </a:lnTo>
                    <a:lnTo>
                      <a:pt x="99" y="623"/>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710" name="Freeform 47">
                <a:extLst>
                  <a:ext uri="{FF2B5EF4-FFF2-40B4-BE49-F238E27FC236}">
                    <a16:creationId xmlns:a16="http://schemas.microsoft.com/office/drawing/2014/main" id="{3177235E-8329-81CF-8B9F-1F12CF8B60DB}"/>
                  </a:ext>
                </a:extLst>
              </p:cNvPr>
              <p:cNvSpPr>
                <a:spLocks/>
              </p:cNvSpPr>
              <p:nvPr/>
            </p:nvSpPr>
            <p:spPr bwMode="auto">
              <a:xfrm>
                <a:off x="2288870" y="3215276"/>
                <a:ext cx="645556" cy="487806"/>
              </a:xfrm>
              <a:custGeom>
                <a:avLst/>
                <a:gdLst>
                  <a:gd name="T0" fmla="*/ 245 w 412"/>
                  <a:gd name="T1" fmla="*/ 119 h 312"/>
                  <a:gd name="T2" fmla="*/ 229 w 412"/>
                  <a:gd name="T3" fmla="*/ 93 h 312"/>
                  <a:gd name="T4" fmla="*/ 216 w 412"/>
                  <a:gd name="T5" fmla="*/ 60 h 312"/>
                  <a:gd name="T6" fmla="*/ 196 w 412"/>
                  <a:gd name="T7" fmla="*/ 70 h 312"/>
                  <a:gd name="T8" fmla="*/ 174 w 412"/>
                  <a:gd name="T9" fmla="*/ 45 h 312"/>
                  <a:gd name="T10" fmla="*/ 164 w 412"/>
                  <a:gd name="T11" fmla="*/ 29 h 312"/>
                  <a:gd name="T12" fmla="*/ 147 w 412"/>
                  <a:gd name="T13" fmla="*/ 11 h 312"/>
                  <a:gd name="T14" fmla="*/ 125 w 412"/>
                  <a:gd name="T15" fmla="*/ 20 h 312"/>
                  <a:gd name="T16" fmla="*/ 101 w 412"/>
                  <a:gd name="T17" fmla="*/ 29 h 312"/>
                  <a:gd name="T18" fmla="*/ 63 w 412"/>
                  <a:gd name="T19" fmla="*/ 31 h 312"/>
                  <a:gd name="T20" fmla="*/ 35 w 412"/>
                  <a:gd name="T21" fmla="*/ 11 h 312"/>
                  <a:gd name="T22" fmla="*/ 0 w 412"/>
                  <a:gd name="T23" fmla="*/ 0 h 312"/>
                  <a:gd name="T24" fmla="*/ 16 w 412"/>
                  <a:gd name="T25" fmla="*/ 53 h 312"/>
                  <a:gd name="T26" fmla="*/ 25 w 412"/>
                  <a:gd name="T27" fmla="*/ 87 h 312"/>
                  <a:gd name="T28" fmla="*/ 41 w 412"/>
                  <a:gd name="T29" fmla="*/ 110 h 312"/>
                  <a:gd name="T30" fmla="*/ 59 w 412"/>
                  <a:gd name="T31" fmla="*/ 146 h 312"/>
                  <a:gd name="T32" fmla="*/ 98 w 412"/>
                  <a:gd name="T33" fmla="*/ 177 h 312"/>
                  <a:gd name="T34" fmla="*/ 78 w 412"/>
                  <a:gd name="T35" fmla="*/ 129 h 312"/>
                  <a:gd name="T36" fmla="*/ 51 w 412"/>
                  <a:gd name="T37" fmla="*/ 83 h 312"/>
                  <a:gd name="T38" fmla="*/ 31 w 412"/>
                  <a:gd name="T39" fmla="*/ 45 h 312"/>
                  <a:gd name="T40" fmla="*/ 41 w 412"/>
                  <a:gd name="T41" fmla="*/ 28 h 312"/>
                  <a:gd name="T42" fmla="*/ 64 w 412"/>
                  <a:gd name="T43" fmla="*/ 49 h 312"/>
                  <a:gd name="T44" fmla="*/ 78 w 412"/>
                  <a:gd name="T45" fmla="*/ 88 h 312"/>
                  <a:gd name="T46" fmla="*/ 97 w 412"/>
                  <a:gd name="T47" fmla="*/ 112 h 312"/>
                  <a:gd name="T48" fmla="*/ 110 w 412"/>
                  <a:gd name="T49" fmla="*/ 132 h 312"/>
                  <a:gd name="T50" fmla="*/ 129 w 412"/>
                  <a:gd name="T51" fmla="*/ 158 h 312"/>
                  <a:gd name="T52" fmla="*/ 140 w 412"/>
                  <a:gd name="T53" fmla="*/ 172 h 312"/>
                  <a:gd name="T54" fmla="*/ 147 w 412"/>
                  <a:gd name="T55" fmla="*/ 207 h 312"/>
                  <a:gd name="T56" fmla="*/ 156 w 412"/>
                  <a:gd name="T57" fmla="*/ 230 h 312"/>
                  <a:gd name="T58" fmla="*/ 275 w 412"/>
                  <a:gd name="T59" fmla="*/ 295 h 312"/>
                  <a:gd name="T60" fmla="*/ 299 w 412"/>
                  <a:gd name="T61" fmla="*/ 291 h 312"/>
                  <a:gd name="T62" fmla="*/ 327 w 412"/>
                  <a:gd name="T63" fmla="*/ 311 h 312"/>
                  <a:gd name="T64" fmla="*/ 346 w 412"/>
                  <a:gd name="T65" fmla="*/ 290 h 312"/>
                  <a:gd name="T66" fmla="*/ 370 w 412"/>
                  <a:gd name="T67" fmla="*/ 263 h 312"/>
                  <a:gd name="T68" fmla="*/ 396 w 412"/>
                  <a:gd name="T69" fmla="*/ 250 h 312"/>
                  <a:gd name="T70" fmla="*/ 405 w 412"/>
                  <a:gd name="T71" fmla="*/ 218 h 312"/>
                  <a:gd name="T72" fmla="*/ 408 w 412"/>
                  <a:gd name="T73" fmla="*/ 200 h 312"/>
                  <a:gd name="T74" fmla="*/ 362 w 412"/>
                  <a:gd name="T75" fmla="*/ 208 h 312"/>
                  <a:gd name="T76" fmla="*/ 325 w 412"/>
                  <a:gd name="T77" fmla="*/ 245 h 312"/>
                  <a:gd name="T78" fmla="*/ 269 w 412"/>
                  <a:gd name="T79" fmla="*/ 229 h 312"/>
                  <a:gd name="T80" fmla="*/ 254 w 412"/>
                  <a:gd name="T81" fmla="*/ 160 h 312"/>
                  <a:gd name="T82" fmla="*/ 265 w 412"/>
                  <a:gd name="T83" fmla="*/ 119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2" h="312">
                    <a:moveTo>
                      <a:pt x="265" y="119"/>
                    </a:moveTo>
                    <a:lnTo>
                      <a:pt x="245" y="119"/>
                    </a:lnTo>
                    <a:lnTo>
                      <a:pt x="241" y="99"/>
                    </a:lnTo>
                    <a:lnTo>
                      <a:pt x="229" y="93"/>
                    </a:lnTo>
                    <a:lnTo>
                      <a:pt x="225" y="72"/>
                    </a:lnTo>
                    <a:lnTo>
                      <a:pt x="216" y="60"/>
                    </a:lnTo>
                    <a:lnTo>
                      <a:pt x="201" y="49"/>
                    </a:lnTo>
                    <a:lnTo>
                      <a:pt x="196" y="70"/>
                    </a:lnTo>
                    <a:lnTo>
                      <a:pt x="181" y="70"/>
                    </a:lnTo>
                    <a:lnTo>
                      <a:pt x="174" y="45"/>
                    </a:lnTo>
                    <a:lnTo>
                      <a:pt x="165" y="43"/>
                    </a:lnTo>
                    <a:lnTo>
                      <a:pt x="164" y="29"/>
                    </a:lnTo>
                    <a:lnTo>
                      <a:pt x="152" y="26"/>
                    </a:lnTo>
                    <a:lnTo>
                      <a:pt x="147" y="11"/>
                    </a:lnTo>
                    <a:lnTo>
                      <a:pt x="137" y="19"/>
                    </a:lnTo>
                    <a:lnTo>
                      <a:pt x="125" y="20"/>
                    </a:lnTo>
                    <a:lnTo>
                      <a:pt x="122" y="29"/>
                    </a:lnTo>
                    <a:lnTo>
                      <a:pt x="101" y="29"/>
                    </a:lnTo>
                    <a:lnTo>
                      <a:pt x="85" y="36"/>
                    </a:lnTo>
                    <a:lnTo>
                      <a:pt x="63" y="31"/>
                    </a:lnTo>
                    <a:lnTo>
                      <a:pt x="47" y="15"/>
                    </a:lnTo>
                    <a:lnTo>
                      <a:pt x="35" y="11"/>
                    </a:lnTo>
                    <a:lnTo>
                      <a:pt x="31" y="2"/>
                    </a:lnTo>
                    <a:lnTo>
                      <a:pt x="0" y="0"/>
                    </a:lnTo>
                    <a:lnTo>
                      <a:pt x="3" y="37"/>
                    </a:lnTo>
                    <a:lnTo>
                      <a:pt x="16" y="53"/>
                    </a:lnTo>
                    <a:lnTo>
                      <a:pt x="29" y="73"/>
                    </a:lnTo>
                    <a:lnTo>
                      <a:pt x="25" y="87"/>
                    </a:lnTo>
                    <a:lnTo>
                      <a:pt x="17" y="92"/>
                    </a:lnTo>
                    <a:lnTo>
                      <a:pt x="41" y="110"/>
                    </a:lnTo>
                    <a:lnTo>
                      <a:pt x="57" y="123"/>
                    </a:lnTo>
                    <a:lnTo>
                      <a:pt x="59" y="146"/>
                    </a:lnTo>
                    <a:lnTo>
                      <a:pt x="87" y="177"/>
                    </a:lnTo>
                    <a:lnTo>
                      <a:pt x="98" y="177"/>
                    </a:lnTo>
                    <a:lnTo>
                      <a:pt x="91" y="154"/>
                    </a:lnTo>
                    <a:lnTo>
                      <a:pt x="78" y="129"/>
                    </a:lnTo>
                    <a:lnTo>
                      <a:pt x="69" y="105"/>
                    </a:lnTo>
                    <a:lnTo>
                      <a:pt x="51" y="83"/>
                    </a:lnTo>
                    <a:lnTo>
                      <a:pt x="40" y="63"/>
                    </a:lnTo>
                    <a:lnTo>
                      <a:pt x="31" y="45"/>
                    </a:lnTo>
                    <a:lnTo>
                      <a:pt x="31" y="22"/>
                    </a:lnTo>
                    <a:lnTo>
                      <a:pt x="41" y="28"/>
                    </a:lnTo>
                    <a:lnTo>
                      <a:pt x="52" y="40"/>
                    </a:lnTo>
                    <a:lnTo>
                      <a:pt x="64" y="49"/>
                    </a:lnTo>
                    <a:lnTo>
                      <a:pt x="66" y="76"/>
                    </a:lnTo>
                    <a:lnTo>
                      <a:pt x="78" y="88"/>
                    </a:lnTo>
                    <a:lnTo>
                      <a:pt x="89" y="106"/>
                    </a:lnTo>
                    <a:lnTo>
                      <a:pt x="97" y="112"/>
                    </a:lnTo>
                    <a:lnTo>
                      <a:pt x="96" y="127"/>
                    </a:lnTo>
                    <a:lnTo>
                      <a:pt x="110" y="132"/>
                    </a:lnTo>
                    <a:lnTo>
                      <a:pt x="111" y="150"/>
                    </a:lnTo>
                    <a:lnTo>
                      <a:pt x="129" y="158"/>
                    </a:lnTo>
                    <a:lnTo>
                      <a:pt x="129" y="171"/>
                    </a:lnTo>
                    <a:lnTo>
                      <a:pt x="140" y="172"/>
                    </a:lnTo>
                    <a:lnTo>
                      <a:pt x="141" y="190"/>
                    </a:lnTo>
                    <a:lnTo>
                      <a:pt x="147" y="207"/>
                    </a:lnTo>
                    <a:lnTo>
                      <a:pt x="142" y="222"/>
                    </a:lnTo>
                    <a:lnTo>
                      <a:pt x="156" y="230"/>
                    </a:lnTo>
                    <a:lnTo>
                      <a:pt x="235" y="282"/>
                    </a:lnTo>
                    <a:lnTo>
                      <a:pt x="275" y="295"/>
                    </a:lnTo>
                    <a:lnTo>
                      <a:pt x="288" y="286"/>
                    </a:lnTo>
                    <a:lnTo>
                      <a:pt x="299" y="291"/>
                    </a:lnTo>
                    <a:lnTo>
                      <a:pt x="316" y="297"/>
                    </a:lnTo>
                    <a:lnTo>
                      <a:pt x="327" y="311"/>
                    </a:lnTo>
                    <a:lnTo>
                      <a:pt x="333" y="293"/>
                    </a:lnTo>
                    <a:lnTo>
                      <a:pt x="346" y="290"/>
                    </a:lnTo>
                    <a:lnTo>
                      <a:pt x="348" y="272"/>
                    </a:lnTo>
                    <a:lnTo>
                      <a:pt x="370" y="263"/>
                    </a:lnTo>
                    <a:lnTo>
                      <a:pt x="378" y="260"/>
                    </a:lnTo>
                    <a:lnTo>
                      <a:pt x="396" y="250"/>
                    </a:lnTo>
                    <a:lnTo>
                      <a:pt x="406" y="237"/>
                    </a:lnTo>
                    <a:lnTo>
                      <a:pt x="405" y="218"/>
                    </a:lnTo>
                    <a:lnTo>
                      <a:pt x="411" y="214"/>
                    </a:lnTo>
                    <a:lnTo>
                      <a:pt x="408" y="200"/>
                    </a:lnTo>
                    <a:lnTo>
                      <a:pt x="375" y="197"/>
                    </a:lnTo>
                    <a:lnTo>
                      <a:pt x="362" y="208"/>
                    </a:lnTo>
                    <a:lnTo>
                      <a:pt x="347" y="238"/>
                    </a:lnTo>
                    <a:lnTo>
                      <a:pt x="325" y="245"/>
                    </a:lnTo>
                    <a:lnTo>
                      <a:pt x="293" y="246"/>
                    </a:lnTo>
                    <a:lnTo>
                      <a:pt x="269" y="229"/>
                    </a:lnTo>
                    <a:lnTo>
                      <a:pt x="262" y="188"/>
                    </a:lnTo>
                    <a:lnTo>
                      <a:pt x="254" y="160"/>
                    </a:lnTo>
                    <a:lnTo>
                      <a:pt x="261" y="139"/>
                    </a:lnTo>
                    <a:lnTo>
                      <a:pt x="265" y="119"/>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711" name="Freeform 50">
                <a:extLst>
                  <a:ext uri="{FF2B5EF4-FFF2-40B4-BE49-F238E27FC236}">
                    <a16:creationId xmlns:a16="http://schemas.microsoft.com/office/drawing/2014/main" id="{81EAA1B1-5FD3-0744-750F-23A42879D516}"/>
                  </a:ext>
                </a:extLst>
              </p:cNvPr>
              <p:cNvSpPr>
                <a:spLocks/>
              </p:cNvSpPr>
              <p:nvPr/>
            </p:nvSpPr>
            <p:spPr bwMode="auto">
              <a:xfrm>
                <a:off x="3306109" y="4657728"/>
                <a:ext cx="380068" cy="860998"/>
              </a:xfrm>
              <a:custGeom>
                <a:avLst/>
                <a:gdLst>
                  <a:gd name="T0" fmla="*/ 53 w 243"/>
                  <a:gd name="T1" fmla="*/ 0 h 550"/>
                  <a:gd name="T2" fmla="*/ 84 w 243"/>
                  <a:gd name="T3" fmla="*/ 17 h 550"/>
                  <a:gd name="T4" fmla="*/ 110 w 243"/>
                  <a:gd name="T5" fmla="*/ 13 h 550"/>
                  <a:gd name="T6" fmla="*/ 128 w 243"/>
                  <a:gd name="T7" fmla="*/ 26 h 550"/>
                  <a:gd name="T8" fmla="*/ 145 w 243"/>
                  <a:gd name="T9" fmla="*/ 37 h 550"/>
                  <a:gd name="T10" fmla="*/ 170 w 243"/>
                  <a:gd name="T11" fmla="*/ 49 h 550"/>
                  <a:gd name="T12" fmla="*/ 179 w 243"/>
                  <a:gd name="T13" fmla="*/ 57 h 550"/>
                  <a:gd name="T14" fmla="*/ 170 w 243"/>
                  <a:gd name="T15" fmla="*/ 92 h 550"/>
                  <a:gd name="T16" fmla="*/ 216 w 243"/>
                  <a:gd name="T17" fmla="*/ 85 h 550"/>
                  <a:gd name="T18" fmla="*/ 232 w 243"/>
                  <a:gd name="T19" fmla="*/ 67 h 550"/>
                  <a:gd name="T20" fmla="*/ 241 w 243"/>
                  <a:gd name="T21" fmla="*/ 82 h 550"/>
                  <a:gd name="T22" fmla="*/ 231 w 243"/>
                  <a:gd name="T23" fmla="*/ 96 h 550"/>
                  <a:gd name="T24" fmla="*/ 217 w 243"/>
                  <a:gd name="T25" fmla="*/ 108 h 550"/>
                  <a:gd name="T26" fmla="*/ 201 w 243"/>
                  <a:gd name="T27" fmla="*/ 128 h 550"/>
                  <a:gd name="T28" fmla="*/ 188 w 243"/>
                  <a:gd name="T29" fmla="*/ 149 h 550"/>
                  <a:gd name="T30" fmla="*/ 177 w 243"/>
                  <a:gd name="T31" fmla="*/ 179 h 550"/>
                  <a:gd name="T32" fmla="*/ 183 w 243"/>
                  <a:gd name="T33" fmla="*/ 219 h 550"/>
                  <a:gd name="T34" fmla="*/ 189 w 243"/>
                  <a:gd name="T35" fmla="*/ 224 h 550"/>
                  <a:gd name="T36" fmla="*/ 204 w 243"/>
                  <a:gd name="T37" fmla="*/ 228 h 550"/>
                  <a:gd name="T38" fmla="*/ 212 w 243"/>
                  <a:gd name="T39" fmla="*/ 252 h 550"/>
                  <a:gd name="T40" fmla="*/ 201 w 243"/>
                  <a:gd name="T41" fmla="*/ 277 h 550"/>
                  <a:gd name="T42" fmla="*/ 185 w 243"/>
                  <a:gd name="T43" fmla="*/ 289 h 550"/>
                  <a:gd name="T44" fmla="*/ 151 w 243"/>
                  <a:gd name="T45" fmla="*/ 295 h 550"/>
                  <a:gd name="T46" fmla="*/ 138 w 243"/>
                  <a:gd name="T47" fmla="*/ 301 h 550"/>
                  <a:gd name="T48" fmla="*/ 141 w 243"/>
                  <a:gd name="T49" fmla="*/ 336 h 550"/>
                  <a:gd name="T50" fmla="*/ 104 w 243"/>
                  <a:gd name="T51" fmla="*/ 329 h 550"/>
                  <a:gd name="T52" fmla="*/ 112 w 243"/>
                  <a:gd name="T53" fmla="*/ 352 h 550"/>
                  <a:gd name="T54" fmla="*/ 119 w 243"/>
                  <a:gd name="T55" fmla="*/ 374 h 550"/>
                  <a:gd name="T56" fmla="*/ 107 w 243"/>
                  <a:gd name="T57" fmla="*/ 388 h 550"/>
                  <a:gd name="T58" fmla="*/ 93 w 243"/>
                  <a:gd name="T59" fmla="*/ 410 h 550"/>
                  <a:gd name="T60" fmla="*/ 81 w 243"/>
                  <a:gd name="T61" fmla="*/ 421 h 550"/>
                  <a:gd name="T62" fmla="*/ 101 w 243"/>
                  <a:gd name="T63" fmla="*/ 450 h 550"/>
                  <a:gd name="T64" fmla="*/ 101 w 243"/>
                  <a:gd name="T65" fmla="*/ 469 h 550"/>
                  <a:gd name="T66" fmla="*/ 87 w 243"/>
                  <a:gd name="T67" fmla="*/ 483 h 550"/>
                  <a:gd name="T68" fmla="*/ 77 w 243"/>
                  <a:gd name="T69" fmla="*/ 510 h 550"/>
                  <a:gd name="T70" fmla="*/ 70 w 243"/>
                  <a:gd name="T71" fmla="*/ 529 h 550"/>
                  <a:gd name="T72" fmla="*/ 25 w 243"/>
                  <a:gd name="T73" fmla="*/ 549 h 550"/>
                  <a:gd name="T74" fmla="*/ 9 w 243"/>
                  <a:gd name="T75" fmla="*/ 522 h 550"/>
                  <a:gd name="T76" fmla="*/ 15 w 243"/>
                  <a:gd name="T77" fmla="*/ 475 h 550"/>
                  <a:gd name="T78" fmla="*/ 19 w 243"/>
                  <a:gd name="T79" fmla="*/ 402 h 550"/>
                  <a:gd name="T80" fmla="*/ 12 w 243"/>
                  <a:gd name="T81" fmla="*/ 363 h 550"/>
                  <a:gd name="T82" fmla="*/ 2 w 243"/>
                  <a:gd name="T83" fmla="*/ 322 h 550"/>
                  <a:gd name="T84" fmla="*/ 14 w 243"/>
                  <a:gd name="T85" fmla="*/ 297 h 550"/>
                  <a:gd name="T86" fmla="*/ 10 w 243"/>
                  <a:gd name="T87" fmla="*/ 251 h 550"/>
                  <a:gd name="T88" fmla="*/ 10 w 243"/>
                  <a:gd name="T89" fmla="*/ 234 h 550"/>
                  <a:gd name="T90" fmla="*/ 19 w 243"/>
                  <a:gd name="T91" fmla="*/ 209 h 550"/>
                  <a:gd name="T92" fmla="*/ 10 w 243"/>
                  <a:gd name="T93" fmla="*/ 190 h 550"/>
                  <a:gd name="T94" fmla="*/ 16 w 243"/>
                  <a:gd name="T95" fmla="*/ 160 h 550"/>
                  <a:gd name="T96" fmla="*/ 11 w 243"/>
                  <a:gd name="T97" fmla="*/ 123 h 550"/>
                  <a:gd name="T98" fmla="*/ 19 w 243"/>
                  <a:gd name="T99" fmla="*/ 100 h 550"/>
                  <a:gd name="T100" fmla="*/ 32 w 243"/>
                  <a:gd name="T101" fmla="*/ 80 h 550"/>
                  <a:gd name="T102" fmla="*/ 33 w 243"/>
                  <a:gd name="T103" fmla="*/ 59 h 550"/>
                  <a:gd name="T104" fmla="*/ 42 w 243"/>
                  <a:gd name="T105" fmla="*/ 37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3" h="550">
                    <a:moveTo>
                      <a:pt x="44" y="19"/>
                    </a:moveTo>
                    <a:lnTo>
                      <a:pt x="53" y="0"/>
                    </a:lnTo>
                    <a:lnTo>
                      <a:pt x="67" y="11"/>
                    </a:lnTo>
                    <a:lnTo>
                      <a:pt x="84" y="17"/>
                    </a:lnTo>
                    <a:lnTo>
                      <a:pt x="101" y="3"/>
                    </a:lnTo>
                    <a:lnTo>
                      <a:pt x="110" y="13"/>
                    </a:lnTo>
                    <a:lnTo>
                      <a:pt x="124" y="19"/>
                    </a:lnTo>
                    <a:lnTo>
                      <a:pt x="128" y="26"/>
                    </a:lnTo>
                    <a:lnTo>
                      <a:pt x="137" y="30"/>
                    </a:lnTo>
                    <a:lnTo>
                      <a:pt x="145" y="37"/>
                    </a:lnTo>
                    <a:lnTo>
                      <a:pt x="149" y="47"/>
                    </a:lnTo>
                    <a:lnTo>
                      <a:pt x="170" y="49"/>
                    </a:lnTo>
                    <a:lnTo>
                      <a:pt x="174" y="52"/>
                    </a:lnTo>
                    <a:lnTo>
                      <a:pt x="179" y="57"/>
                    </a:lnTo>
                    <a:lnTo>
                      <a:pt x="173" y="78"/>
                    </a:lnTo>
                    <a:lnTo>
                      <a:pt x="170" y="92"/>
                    </a:lnTo>
                    <a:lnTo>
                      <a:pt x="215" y="92"/>
                    </a:lnTo>
                    <a:lnTo>
                      <a:pt x="216" y="85"/>
                    </a:lnTo>
                    <a:lnTo>
                      <a:pt x="225" y="79"/>
                    </a:lnTo>
                    <a:lnTo>
                      <a:pt x="232" y="67"/>
                    </a:lnTo>
                    <a:lnTo>
                      <a:pt x="234" y="82"/>
                    </a:lnTo>
                    <a:lnTo>
                      <a:pt x="241" y="82"/>
                    </a:lnTo>
                    <a:lnTo>
                      <a:pt x="242" y="94"/>
                    </a:lnTo>
                    <a:lnTo>
                      <a:pt x="231" y="96"/>
                    </a:lnTo>
                    <a:lnTo>
                      <a:pt x="223" y="106"/>
                    </a:lnTo>
                    <a:lnTo>
                      <a:pt x="217" y="108"/>
                    </a:lnTo>
                    <a:lnTo>
                      <a:pt x="209" y="119"/>
                    </a:lnTo>
                    <a:lnTo>
                      <a:pt x="201" y="128"/>
                    </a:lnTo>
                    <a:lnTo>
                      <a:pt x="195" y="139"/>
                    </a:lnTo>
                    <a:lnTo>
                      <a:pt x="188" y="149"/>
                    </a:lnTo>
                    <a:lnTo>
                      <a:pt x="179" y="163"/>
                    </a:lnTo>
                    <a:lnTo>
                      <a:pt x="177" y="179"/>
                    </a:lnTo>
                    <a:lnTo>
                      <a:pt x="179" y="202"/>
                    </a:lnTo>
                    <a:lnTo>
                      <a:pt x="183" y="219"/>
                    </a:lnTo>
                    <a:lnTo>
                      <a:pt x="189" y="216"/>
                    </a:lnTo>
                    <a:lnTo>
                      <a:pt x="189" y="224"/>
                    </a:lnTo>
                    <a:lnTo>
                      <a:pt x="195" y="227"/>
                    </a:lnTo>
                    <a:lnTo>
                      <a:pt x="204" y="228"/>
                    </a:lnTo>
                    <a:lnTo>
                      <a:pt x="204" y="249"/>
                    </a:lnTo>
                    <a:lnTo>
                      <a:pt x="212" y="252"/>
                    </a:lnTo>
                    <a:lnTo>
                      <a:pt x="210" y="271"/>
                    </a:lnTo>
                    <a:lnTo>
                      <a:pt x="201" y="277"/>
                    </a:lnTo>
                    <a:lnTo>
                      <a:pt x="189" y="279"/>
                    </a:lnTo>
                    <a:lnTo>
                      <a:pt x="185" y="289"/>
                    </a:lnTo>
                    <a:lnTo>
                      <a:pt x="178" y="290"/>
                    </a:lnTo>
                    <a:lnTo>
                      <a:pt x="151" y="295"/>
                    </a:lnTo>
                    <a:lnTo>
                      <a:pt x="141" y="296"/>
                    </a:lnTo>
                    <a:lnTo>
                      <a:pt x="138" y="301"/>
                    </a:lnTo>
                    <a:lnTo>
                      <a:pt x="141" y="316"/>
                    </a:lnTo>
                    <a:lnTo>
                      <a:pt x="141" y="336"/>
                    </a:lnTo>
                    <a:lnTo>
                      <a:pt x="127" y="341"/>
                    </a:lnTo>
                    <a:lnTo>
                      <a:pt x="104" y="329"/>
                    </a:lnTo>
                    <a:lnTo>
                      <a:pt x="101" y="344"/>
                    </a:lnTo>
                    <a:lnTo>
                      <a:pt x="112" y="352"/>
                    </a:lnTo>
                    <a:lnTo>
                      <a:pt x="116" y="362"/>
                    </a:lnTo>
                    <a:lnTo>
                      <a:pt x="119" y="374"/>
                    </a:lnTo>
                    <a:lnTo>
                      <a:pt x="113" y="380"/>
                    </a:lnTo>
                    <a:lnTo>
                      <a:pt x="107" y="388"/>
                    </a:lnTo>
                    <a:lnTo>
                      <a:pt x="101" y="407"/>
                    </a:lnTo>
                    <a:lnTo>
                      <a:pt x="93" y="410"/>
                    </a:lnTo>
                    <a:lnTo>
                      <a:pt x="91" y="418"/>
                    </a:lnTo>
                    <a:lnTo>
                      <a:pt x="81" y="421"/>
                    </a:lnTo>
                    <a:lnTo>
                      <a:pt x="79" y="441"/>
                    </a:lnTo>
                    <a:lnTo>
                      <a:pt x="101" y="450"/>
                    </a:lnTo>
                    <a:lnTo>
                      <a:pt x="101" y="460"/>
                    </a:lnTo>
                    <a:lnTo>
                      <a:pt x="101" y="469"/>
                    </a:lnTo>
                    <a:lnTo>
                      <a:pt x="93" y="475"/>
                    </a:lnTo>
                    <a:lnTo>
                      <a:pt x="87" y="483"/>
                    </a:lnTo>
                    <a:lnTo>
                      <a:pt x="88" y="507"/>
                    </a:lnTo>
                    <a:lnTo>
                      <a:pt x="77" y="510"/>
                    </a:lnTo>
                    <a:lnTo>
                      <a:pt x="69" y="516"/>
                    </a:lnTo>
                    <a:lnTo>
                      <a:pt x="70" y="529"/>
                    </a:lnTo>
                    <a:lnTo>
                      <a:pt x="69" y="547"/>
                    </a:lnTo>
                    <a:lnTo>
                      <a:pt x="25" y="549"/>
                    </a:lnTo>
                    <a:lnTo>
                      <a:pt x="22" y="529"/>
                    </a:lnTo>
                    <a:lnTo>
                      <a:pt x="9" y="522"/>
                    </a:lnTo>
                    <a:lnTo>
                      <a:pt x="7" y="477"/>
                    </a:lnTo>
                    <a:lnTo>
                      <a:pt x="15" y="475"/>
                    </a:lnTo>
                    <a:lnTo>
                      <a:pt x="18" y="463"/>
                    </a:lnTo>
                    <a:lnTo>
                      <a:pt x="19" y="402"/>
                    </a:lnTo>
                    <a:lnTo>
                      <a:pt x="13" y="386"/>
                    </a:lnTo>
                    <a:lnTo>
                      <a:pt x="12" y="363"/>
                    </a:lnTo>
                    <a:lnTo>
                      <a:pt x="8" y="336"/>
                    </a:lnTo>
                    <a:lnTo>
                      <a:pt x="2" y="322"/>
                    </a:lnTo>
                    <a:lnTo>
                      <a:pt x="3" y="310"/>
                    </a:lnTo>
                    <a:lnTo>
                      <a:pt x="14" y="297"/>
                    </a:lnTo>
                    <a:lnTo>
                      <a:pt x="0" y="268"/>
                    </a:lnTo>
                    <a:lnTo>
                      <a:pt x="10" y="251"/>
                    </a:lnTo>
                    <a:lnTo>
                      <a:pt x="17" y="241"/>
                    </a:lnTo>
                    <a:lnTo>
                      <a:pt x="10" y="234"/>
                    </a:lnTo>
                    <a:lnTo>
                      <a:pt x="10" y="212"/>
                    </a:lnTo>
                    <a:lnTo>
                      <a:pt x="19" y="209"/>
                    </a:lnTo>
                    <a:lnTo>
                      <a:pt x="17" y="192"/>
                    </a:lnTo>
                    <a:lnTo>
                      <a:pt x="10" y="190"/>
                    </a:lnTo>
                    <a:lnTo>
                      <a:pt x="9" y="165"/>
                    </a:lnTo>
                    <a:lnTo>
                      <a:pt x="16" y="160"/>
                    </a:lnTo>
                    <a:lnTo>
                      <a:pt x="14" y="147"/>
                    </a:lnTo>
                    <a:lnTo>
                      <a:pt x="11" y="123"/>
                    </a:lnTo>
                    <a:lnTo>
                      <a:pt x="17" y="114"/>
                    </a:lnTo>
                    <a:lnTo>
                      <a:pt x="19" y="100"/>
                    </a:lnTo>
                    <a:lnTo>
                      <a:pt x="28" y="93"/>
                    </a:lnTo>
                    <a:lnTo>
                      <a:pt x="32" y="80"/>
                    </a:lnTo>
                    <a:lnTo>
                      <a:pt x="25" y="69"/>
                    </a:lnTo>
                    <a:lnTo>
                      <a:pt x="33" y="59"/>
                    </a:lnTo>
                    <a:lnTo>
                      <a:pt x="34" y="40"/>
                    </a:lnTo>
                    <a:lnTo>
                      <a:pt x="42" y="37"/>
                    </a:lnTo>
                    <a:lnTo>
                      <a:pt x="44" y="19"/>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712" name="Freeform 102">
                <a:extLst>
                  <a:ext uri="{FF2B5EF4-FFF2-40B4-BE49-F238E27FC236}">
                    <a16:creationId xmlns:a16="http://schemas.microsoft.com/office/drawing/2014/main" id="{E754C774-8AF0-75E7-0A33-99BC32D63954}"/>
                  </a:ext>
                </a:extLst>
              </p:cNvPr>
              <p:cNvSpPr>
                <a:spLocks/>
              </p:cNvSpPr>
              <p:nvPr/>
            </p:nvSpPr>
            <p:spPr bwMode="auto">
              <a:xfrm>
                <a:off x="3198516" y="3971446"/>
                <a:ext cx="899866" cy="1006362"/>
              </a:xfrm>
              <a:custGeom>
                <a:avLst/>
                <a:gdLst>
                  <a:gd name="T0" fmla="*/ 58 w 573"/>
                  <a:gd name="T1" fmla="*/ 58 h 641"/>
                  <a:gd name="T2" fmla="*/ 62 w 573"/>
                  <a:gd name="T3" fmla="*/ 98 h 641"/>
                  <a:gd name="T4" fmla="*/ 57 w 573"/>
                  <a:gd name="T5" fmla="*/ 131 h 641"/>
                  <a:gd name="T6" fmla="*/ 29 w 573"/>
                  <a:gd name="T7" fmla="*/ 147 h 641"/>
                  <a:gd name="T8" fmla="*/ 18 w 573"/>
                  <a:gd name="T9" fmla="*/ 178 h 641"/>
                  <a:gd name="T10" fmla="*/ 0 w 573"/>
                  <a:gd name="T11" fmla="*/ 201 h 641"/>
                  <a:gd name="T12" fmla="*/ 17 w 573"/>
                  <a:gd name="T13" fmla="*/ 228 h 641"/>
                  <a:gd name="T14" fmla="*/ 42 w 573"/>
                  <a:gd name="T15" fmla="*/ 241 h 641"/>
                  <a:gd name="T16" fmla="*/ 71 w 573"/>
                  <a:gd name="T17" fmla="*/ 259 h 641"/>
                  <a:gd name="T18" fmla="*/ 96 w 573"/>
                  <a:gd name="T19" fmla="*/ 252 h 641"/>
                  <a:gd name="T20" fmla="*/ 108 w 573"/>
                  <a:gd name="T21" fmla="*/ 235 h 641"/>
                  <a:gd name="T22" fmla="*/ 136 w 573"/>
                  <a:gd name="T23" fmla="*/ 277 h 641"/>
                  <a:gd name="T24" fmla="*/ 163 w 573"/>
                  <a:gd name="T25" fmla="*/ 286 h 641"/>
                  <a:gd name="T26" fmla="*/ 190 w 573"/>
                  <a:gd name="T27" fmla="*/ 299 h 641"/>
                  <a:gd name="T28" fmla="*/ 207 w 573"/>
                  <a:gd name="T29" fmla="*/ 316 h 641"/>
                  <a:gd name="T30" fmla="*/ 204 w 573"/>
                  <a:gd name="T31" fmla="*/ 343 h 641"/>
                  <a:gd name="T32" fmla="*/ 230 w 573"/>
                  <a:gd name="T33" fmla="*/ 359 h 641"/>
                  <a:gd name="T34" fmla="*/ 245 w 573"/>
                  <a:gd name="T35" fmla="*/ 376 h 641"/>
                  <a:gd name="T36" fmla="*/ 230 w 573"/>
                  <a:gd name="T37" fmla="*/ 405 h 641"/>
                  <a:gd name="T38" fmla="*/ 243 w 573"/>
                  <a:gd name="T39" fmla="*/ 431 h 641"/>
                  <a:gd name="T40" fmla="*/ 268 w 573"/>
                  <a:gd name="T41" fmla="*/ 445 h 641"/>
                  <a:gd name="T42" fmla="*/ 295 w 573"/>
                  <a:gd name="T43" fmla="*/ 464 h 641"/>
                  <a:gd name="T44" fmla="*/ 302 w 573"/>
                  <a:gd name="T45" fmla="*/ 520 h 641"/>
                  <a:gd name="T46" fmla="*/ 299 w 573"/>
                  <a:gd name="T47" fmla="*/ 533 h 641"/>
                  <a:gd name="T48" fmla="*/ 277 w 573"/>
                  <a:gd name="T49" fmla="*/ 557 h 641"/>
                  <a:gd name="T50" fmla="*/ 269 w 573"/>
                  <a:gd name="T51" fmla="*/ 584 h 641"/>
                  <a:gd name="T52" fmla="*/ 320 w 573"/>
                  <a:gd name="T53" fmla="*/ 629 h 641"/>
                  <a:gd name="T54" fmla="*/ 331 w 573"/>
                  <a:gd name="T55" fmla="*/ 611 h 641"/>
                  <a:gd name="T56" fmla="*/ 342 w 573"/>
                  <a:gd name="T57" fmla="*/ 581 h 641"/>
                  <a:gd name="T58" fmla="*/ 339 w 573"/>
                  <a:gd name="T59" fmla="*/ 603 h 641"/>
                  <a:gd name="T60" fmla="*/ 364 w 573"/>
                  <a:gd name="T61" fmla="*/ 578 h 641"/>
                  <a:gd name="T62" fmla="*/ 383 w 573"/>
                  <a:gd name="T63" fmla="*/ 500 h 641"/>
                  <a:gd name="T64" fmla="*/ 403 w 573"/>
                  <a:gd name="T65" fmla="*/ 476 h 641"/>
                  <a:gd name="T66" fmla="*/ 456 w 573"/>
                  <a:gd name="T67" fmla="*/ 455 h 641"/>
                  <a:gd name="T68" fmla="*/ 486 w 573"/>
                  <a:gd name="T69" fmla="*/ 420 h 641"/>
                  <a:gd name="T70" fmla="*/ 501 w 573"/>
                  <a:gd name="T71" fmla="*/ 365 h 641"/>
                  <a:gd name="T72" fmla="*/ 525 w 573"/>
                  <a:gd name="T73" fmla="*/ 280 h 641"/>
                  <a:gd name="T74" fmla="*/ 536 w 573"/>
                  <a:gd name="T75" fmla="*/ 247 h 641"/>
                  <a:gd name="T76" fmla="*/ 558 w 573"/>
                  <a:gd name="T77" fmla="*/ 226 h 641"/>
                  <a:gd name="T78" fmla="*/ 563 w 573"/>
                  <a:gd name="T79" fmla="*/ 198 h 641"/>
                  <a:gd name="T80" fmla="*/ 562 w 573"/>
                  <a:gd name="T81" fmla="*/ 184 h 641"/>
                  <a:gd name="T82" fmla="*/ 542 w 573"/>
                  <a:gd name="T83" fmla="*/ 148 h 641"/>
                  <a:gd name="T84" fmla="*/ 513 w 573"/>
                  <a:gd name="T85" fmla="*/ 130 h 641"/>
                  <a:gd name="T86" fmla="*/ 486 w 573"/>
                  <a:gd name="T87" fmla="*/ 114 h 641"/>
                  <a:gd name="T88" fmla="*/ 456 w 573"/>
                  <a:gd name="T89" fmla="*/ 109 h 641"/>
                  <a:gd name="T90" fmla="*/ 426 w 573"/>
                  <a:gd name="T91" fmla="*/ 92 h 641"/>
                  <a:gd name="T92" fmla="*/ 385 w 573"/>
                  <a:gd name="T93" fmla="*/ 84 h 641"/>
                  <a:gd name="T94" fmla="*/ 358 w 573"/>
                  <a:gd name="T95" fmla="*/ 102 h 641"/>
                  <a:gd name="T96" fmla="*/ 362 w 573"/>
                  <a:gd name="T97" fmla="*/ 74 h 641"/>
                  <a:gd name="T98" fmla="*/ 334 w 573"/>
                  <a:gd name="T99" fmla="*/ 90 h 641"/>
                  <a:gd name="T100" fmla="*/ 330 w 573"/>
                  <a:gd name="T101" fmla="*/ 81 h 641"/>
                  <a:gd name="T102" fmla="*/ 349 w 573"/>
                  <a:gd name="T103" fmla="*/ 48 h 641"/>
                  <a:gd name="T104" fmla="*/ 318 w 573"/>
                  <a:gd name="T105" fmla="*/ 14 h 641"/>
                  <a:gd name="T106" fmla="*/ 302 w 573"/>
                  <a:gd name="T107" fmla="*/ 40 h 641"/>
                  <a:gd name="T108" fmla="*/ 259 w 573"/>
                  <a:gd name="T109" fmla="*/ 33 h 641"/>
                  <a:gd name="T110" fmla="*/ 230 w 573"/>
                  <a:gd name="T111" fmla="*/ 47 h 641"/>
                  <a:gd name="T112" fmla="*/ 209 w 573"/>
                  <a:gd name="T113" fmla="*/ 46 h 641"/>
                  <a:gd name="T114" fmla="*/ 203 w 573"/>
                  <a:gd name="T115" fmla="*/ 3 h 641"/>
                  <a:gd name="T116" fmla="*/ 162 w 573"/>
                  <a:gd name="T117" fmla="*/ 11 h 641"/>
                  <a:gd name="T118" fmla="*/ 136 w 573"/>
                  <a:gd name="T119" fmla="*/ 7 h 641"/>
                  <a:gd name="T120" fmla="*/ 143 w 573"/>
                  <a:gd name="T121" fmla="*/ 36 h 641"/>
                  <a:gd name="T122" fmla="*/ 117 w 573"/>
                  <a:gd name="T123" fmla="*/ 58 h 641"/>
                  <a:gd name="T124" fmla="*/ 89 w 573"/>
                  <a:gd name="T125" fmla="*/ 39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3" h="641">
                    <a:moveTo>
                      <a:pt x="89" y="39"/>
                    </a:moveTo>
                    <a:lnTo>
                      <a:pt x="64" y="47"/>
                    </a:lnTo>
                    <a:lnTo>
                      <a:pt x="58" y="58"/>
                    </a:lnTo>
                    <a:lnTo>
                      <a:pt x="66" y="65"/>
                    </a:lnTo>
                    <a:lnTo>
                      <a:pt x="58" y="70"/>
                    </a:lnTo>
                    <a:lnTo>
                      <a:pt x="62" y="98"/>
                    </a:lnTo>
                    <a:lnTo>
                      <a:pt x="62" y="111"/>
                    </a:lnTo>
                    <a:lnTo>
                      <a:pt x="47" y="113"/>
                    </a:lnTo>
                    <a:lnTo>
                      <a:pt x="57" y="131"/>
                    </a:lnTo>
                    <a:lnTo>
                      <a:pt x="53" y="145"/>
                    </a:lnTo>
                    <a:lnTo>
                      <a:pt x="42" y="151"/>
                    </a:lnTo>
                    <a:lnTo>
                      <a:pt x="29" y="147"/>
                    </a:lnTo>
                    <a:lnTo>
                      <a:pt x="19" y="154"/>
                    </a:lnTo>
                    <a:lnTo>
                      <a:pt x="14" y="168"/>
                    </a:lnTo>
                    <a:lnTo>
                      <a:pt x="18" y="178"/>
                    </a:lnTo>
                    <a:lnTo>
                      <a:pt x="11" y="183"/>
                    </a:lnTo>
                    <a:lnTo>
                      <a:pt x="3" y="187"/>
                    </a:lnTo>
                    <a:lnTo>
                      <a:pt x="0" y="201"/>
                    </a:lnTo>
                    <a:lnTo>
                      <a:pt x="3" y="210"/>
                    </a:lnTo>
                    <a:lnTo>
                      <a:pt x="14" y="219"/>
                    </a:lnTo>
                    <a:lnTo>
                      <a:pt x="17" y="228"/>
                    </a:lnTo>
                    <a:lnTo>
                      <a:pt x="27" y="230"/>
                    </a:lnTo>
                    <a:lnTo>
                      <a:pt x="29" y="238"/>
                    </a:lnTo>
                    <a:lnTo>
                      <a:pt x="42" y="241"/>
                    </a:lnTo>
                    <a:lnTo>
                      <a:pt x="53" y="234"/>
                    </a:lnTo>
                    <a:lnTo>
                      <a:pt x="58" y="252"/>
                    </a:lnTo>
                    <a:lnTo>
                      <a:pt x="71" y="259"/>
                    </a:lnTo>
                    <a:lnTo>
                      <a:pt x="81" y="259"/>
                    </a:lnTo>
                    <a:lnTo>
                      <a:pt x="91" y="256"/>
                    </a:lnTo>
                    <a:lnTo>
                      <a:pt x="96" y="252"/>
                    </a:lnTo>
                    <a:lnTo>
                      <a:pt x="99" y="245"/>
                    </a:lnTo>
                    <a:lnTo>
                      <a:pt x="107" y="246"/>
                    </a:lnTo>
                    <a:lnTo>
                      <a:pt x="108" y="235"/>
                    </a:lnTo>
                    <a:lnTo>
                      <a:pt x="128" y="237"/>
                    </a:lnTo>
                    <a:lnTo>
                      <a:pt x="130" y="267"/>
                    </a:lnTo>
                    <a:lnTo>
                      <a:pt x="136" y="277"/>
                    </a:lnTo>
                    <a:lnTo>
                      <a:pt x="138" y="282"/>
                    </a:lnTo>
                    <a:lnTo>
                      <a:pt x="161" y="282"/>
                    </a:lnTo>
                    <a:lnTo>
                      <a:pt x="163" y="286"/>
                    </a:lnTo>
                    <a:lnTo>
                      <a:pt x="173" y="288"/>
                    </a:lnTo>
                    <a:lnTo>
                      <a:pt x="175" y="297"/>
                    </a:lnTo>
                    <a:lnTo>
                      <a:pt x="190" y="299"/>
                    </a:lnTo>
                    <a:lnTo>
                      <a:pt x="197" y="301"/>
                    </a:lnTo>
                    <a:lnTo>
                      <a:pt x="199" y="315"/>
                    </a:lnTo>
                    <a:lnTo>
                      <a:pt x="207" y="316"/>
                    </a:lnTo>
                    <a:lnTo>
                      <a:pt x="199" y="322"/>
                    </a:lnTo>
                    <a:lnTo>
                      <a:pt x="200" y="342"/>
                    </a:lnTo>
                    <a:lnTo>
                      <a:pt x="204" y="343"/>
                    </a:lnTo>
                    <a:lnTo>
                      <a:pt x="209" y="349"/>
                    </a:lnTo>
                    <a:lnTo>
                      <a:pt x="229" y="348"/>
                    </a:lnTo>
                    <a:lnTo>
                      <a:pt x="230" y="359"/>
                    </a:lnTo>
                    <a:lnTo>
                      <a:pt x="238" y="361"/>
                    </a:lnTo>
                    <a:lnTo>
                      <a:pt x="240" y="372"/>
                    </a:lnTo>
                    <a:lnTo>
                      <a:pt x="245" y="376"/>
                    </a:lnTo>
                    <a:lnTo>
                      <a:pt x="243" y="394"/>
                    </a:lnTo>
                    <a:lnTo>
                      <a:pt x="238" y="403"/>
                    </a:lnTo>
                    <a:lnTo>
                      <a:pt x="230" y="405"/>
                    </a:lnTo>
                    <a:lnTo>
                      <a:pt x="231" y="416"/>
                    </a:lnTo>
                    <a:lnTo>
                      <a:pt x="242" y="420"/>
                    </a:lnTo>
                    <a:lnTo>
                      <a:pt x="243" y="431"/>
                    </a:lnTo>
                    <a:lnTo>
                      <a:pt x="257" y="435"/>
                    </a:lnTo>
                    <a:lnTo>
                      <a:pt x="260" y="442"/>
                    </a:lnTo>
                    <a:lnTo>
                      <a:pt x="268" y="445"/>
                    </a:lnTo>
                    <a:lnTo>
                      <a:pt x="281" y="446"/>
                    </a:lnTo>
                    <a:lnTo>
                      <a:pt x="283" y="463"/>
                    </a:lnTo>
                    <a:lnTo>
                      <a:pt x="295" y="464"/>
                    </a:lnTo>
                    <a:lnTo>
                      <a:pt x="297" y="501"/>
                    </a:lnTo>
                    <a:lnTo>
                      <a:pt x="300" y="504"/>
                    </a:lnTo>
                    <a:lnTo>
                      <a:pt x="302" y="520"/>
                    </a:lnTo>
                    <a:lnTo>
                      <a:pt x="309" y="520"/>
                    </a:lnTo>
                    <a:lnTo>
                      <a:pt x="310" y="531"/>
                    </a:lnTo>
                    <a:lnTo>
                      <a:pt x="299" y="533"/>
                    </a:lnTo>
                    <a:lnTo>
                      <a:pt x="292" y="543"/>
                    </a:lnTo>
                    <a:lnTo>
                      <a:pt x="285" y="546"/>
                    </a:lnTo>
                    <a:lnTo>
                      <a:pt x="277" y="557"/>
                    </a:lnTo>
                    <a:lnTo>
                      <a:pt x="269" y="565"/>
                    </a:lnTo>
                    <a:lnTo>
                      <a:pt x="264" y="576"/>
                    </a:lnTo>
                    <a:lnTo>
                      <a:pt x="269" y="584"/>
                    </a:lnTo>
                    <a:lnTo>
                      <a:pt x="283" y="589"/>
                    </a:lnTo>
                    <a:lnTo>
                      <a:pt x="314" y="618"/>
                    </a:lnTo>
                    <a:lnTo>
                      <a:pt x="320" y="629"/>
                    </a:lnTo>
                    <a:lnTo>
                      <a:pt x="323" y="640"/>
                    </a:lnTo>
                    <a:lnTo>
                      <a:pt x="330" y="628"/>
                    </a:lnTo>
                    <a:lnTo>
                      <a:pt x="331" y="611"/>
                    </a:lnTo>
                    <a:lnTo>
                      <a:pt x="335" y="599"/>
                    </a:lnTo>
                    <a:lnTo>
                      <a:pt x="336" y="580"/>
                    </a:lnTo>
                    <a:lnTo>
                      <a:pt x="342" y="581"/>
                    </a:lnTo>
                    <a:lnTo>
                      <a:pt x="345" y="585"/>
                    </a:lnTo>
                    <a:lnTo>
                      <a:pt x="343" y="595"/>
                    </a:lnTo>
                    <a:lnTo>
                      <a:pt x="339" y="603"/>
                    </a:lnTo>
                    <a:lnTo>
                      <a:pt x="353" y="598"/>
                    </a:lnTo>
                    <a:lnTo>
                      <a:pt x="356" y="585"/>
                    </a:lnTo>
                    <a:lnTo>
                      <a:pt x="364" y="578"/>
                    </a:lnTo>
                    <a:lnTo>
                      <a:pt x="362" y="558"/>
                    </a:lnTo>
                    <a:lnTo>
                      <a:pt x="378" y="548"/>
                    </a:lnTo>
                    <a:lnTo>
                      <a:pt x="383" y="500"/>
                    </a:lnTo>
                    <a:lnTo>
                      <a:pt x="386" y="489"/>
                    </a:lnTo>
                    <a:lnTo>
                      <a:pt x="398" y="484"/>
                    </a:lnTo>
                    <a:lnTo>
                      <a:pt x="403" y="476"/>
                    </a:lnTo>
                    <a:lnTo>
                      <a:pt x="411" y="470"/>
                    </a:lnTo>
                    <a:lnTo>
                      <a:pt x="426" y="459"/>
                    </a:lnTo>
                    <a:lnTo>
                      <a:pt x="456" y="455"/>
                    </a:lnTo>
                    <a:lnTo>
                      <a:pt x="459" y="447"/>
                    </a:lnTo>
                    <a:lnTo>
                      <a:pt x="482" y="446"/>
                    </a:lnTo>
                    <a:lnTo>
                      <a:pt x="486" y="420"/>
                    </a:lnTo>
                    <a:lnTo>
                      <a:pt x="493" y="408"/>
                    </a:lnTo>
                    <a:lnTo>
                      <a:pt x="499" y="392"/>
                    </a:lnTo>
                    <a:lnTo>
                      <a:pt x="501" y="365"/>
                    </a:lnTo>
                    <a:lnTo>
                      <a:pt x="508" y="361"/>
                    </a:lnTo>
                    <a:lnTo>
                      <a:pt x="512" y="285"/>
                    </a:lnTo>
                    <a:lnTo>
                      <a:pt x="525" y="280"/>
                    </a:lnTo>
                    <a:lnTo>
                      <a:pt x="525" y="265"/>
                    </a:lnTo>
                    <a:lnTo>
                      <a:pt x="532" y="261"/>
                    </a:lnTo>
                    <a:lnTo>
                      <a:pt x="536" y="247"/>
                    </a:lnTo>
                    <a:lnTo>
                      <a:pt x="543" y="244"/>
                    </a:lnTo>
                    <a:lnTo>
                      <a:pt x="547" y="230"/>
                    </a:lnTo>
                    <a:lnTo>
                      <a:pt x="558" y="226"/>
                    </a:lnTo>
                    <a:lnTo>
                      <a:pt x="558" y="214"/>
                    </a:lnTo>
                    <a:lnTo>
                      <a:pt x="564" y="212"/>
                    </a:lnTo>
                    <a:lnTo>
                      <a:pt x="563" y="198"/>
                    </a:lnTo>
                    <a:lnTo>
                      <a:pt x="569" y="198"/>
                    </a:lnTo>
                    <a:lnTo>
                      <a:pt x="572" y="185"/>
                    </a:lnTo>
                    <a:lnTo>
                      <a:pt x="562" y="184"/>
                    </a:lnTo>
                    <a:lnTo>
                      <a:pt x="559" y="156"/>
                    </a:lnTo>
                    <a:lnTo>
                      <a:pt x="553" y="150"/>
                    </a:lnTo>
                    <a:lnTo>
                      <a:pt x="542" y="148"/>
                    </a:lnTo>
                    <a:lnTo>
                      <a:pt x="533" y="142"/>
                    </a:lnTo>
                    <a:lnTo>
                      <a:pt x="525" y="130"/>
                    </a:lnTo>
                    <a:lnTo>
                      <a:pt x="513" y="130"/>
                    </a:lnTo>
                    <a:lnTo>
                      <a:pt x="510" y="119"/>
                    </a:lnTo>
                    <a:lnTo>
                      <a:pt x="500" y="114"/>
                    </a:lnTo>
                    <a:lnTo>
                      <a:pt x="486" y="114"/>
                    </a:lnTo>
                    <a:lnTo>
                      <a:pt x="472" y="111"/>
                    </a:lnTo>
                    <a:lnTo>
                      <a:pt x="465" y="104"/>
                    </a:lnTo>
                    <a:lnTo>
                      <a:pt x="456" y="109"/>
                    </a:lnTo>
                    <a:lnTo>
                      <a:pt x="447" y="110"/>
                    </a:lnTo>
                    <a:lnTo>
                      <a:pt x="435" y="103"/>
                    </a:lnTo>
                    <a:lnTo>
                      <a:pt x="426" y="92"/>
                    </a:lnTo>
                    <a:lnTo>
                      <a:pt x="414" y="84"/>
                    </a:lnTo>
                    <a:lnTo>
                      <a:pt x="401" y="82"/>
                    </a:lnTo>
                    <a:lnTo>
                      <a:pt x="385" y="84"/>
                    </a:lnTo>
                    <a:lnTo>
                      <a:pt x="375" y="87"/>
                    </a:lnTo>
                    <a:lnTo>
                      <a:pt x="371" y="95"/>
                    </a:lnTo>
                    <a:lnTo>
                      <a:pt x="358" y="102"/>
                    </a:lnTo>
                    <a:lnTo>
                      <a:pt x="364" y="92"/>
                    </a:lnTo>
                    <a:lnTo>
                      <a:pt x="370" y="80"/>
                    </a:lnTo>
                    <a:lnTo>
                      <a:pt x="362" y="74"/>
                    </a:lnTo>
                    <a:lnTo>
                      <a:pt x="351" y="74"/>
                    </a:lnTo>
                    <a:lnTo>
                      <a:pt x="342" y="81"/>
                    </a:lnTo>
                    <a:lnTo>
                      <a:pt x="334" y="90"/>
                    </a:lnTo>
                    <a:lnTo>
                      <a:pt x="327" y="99"/>
                    </a:lnTo>
                    <a:lnTo>
                      <a:pt x="317" y="103"/>
                    </a:lnTo>
                    <a:lnTo>
                      <a:pt x="330" y="81"/>
                    </a:lnTo>
                    <a:lnTo>
                      <a:pt x="338" y="70"/>
                    </a:lnTo>
                    <a:lnTo>
                      <a:pt x="345" y="56"/>
                    </a:lnTo>
                    <a:lnTo>
                      <a:pt x="349" y="48"/>
                    </a:lnTo>
                    <a:lnTo>
                      <a:pt x="338" y="23"/>
                    </a:lnTo>
                    <a:lnTo>
                      <a:pt x="330" y="14"/>
                    </a:lnTo>
                    <a:lnTo>
                      <a:pt x="318" y="14"/>
                    </a:lnTo>
                    <a:lnTo>
                      <a:pt x="310" y="22"/>
                    </a:lnTo>
                    <a:lnTo>
                      <a:pt x="305" y="31"/>
                    </a:lnTo>
                    <a:lnTo>
                      <a:pt x="302" y="40"/>
                    </a:lnTo>
                    <a:lnTo>
                      <a:pt x="286" y="38"/>
                    </a:lnTo>
                    <a:lnTo>
                      <a:pt x="280" y="31"/>
                    </a:lnTo>
                    <a:lnTo>
                      <a:pt x="259" y="33"/>
                    </a:lnTo>
                    <a:lnTo>
                      <a:pt x="258" y="46"/>
                    </a:lnTo>
                    <a:lnTo>
                      <a:pt x="242" y="47"/>
                    </a:lnTo>
                    <a:lnTo>
                      <a:pt x="230" y="47"/>
                    </a:lnTo>
                    <a:lnTo>
                      <a:pt x="225" y="53"/>
                    </a:lnTo>
                    <a:lnTo>
                      <a:pt x="216" y="54"/>
                    </a:lnTo>
                    <a:lnTo>
                      <a:pt x="209" y="46"/>
                    </a:lnTo>
                    <a:lnTo>
                      <a:pt x="202" y="31"/>
                    </a:lnTo>
                    <a:lnTo>
                      <a:pt x="206" y="20"/>
                    </a:lnTo>
                    <a:lnTo>
                      <a:pt x="203" y="3"/>
                    </a:lnTo>
                    <a:lnTo>
                      <a:pt x="191" y="0"/>
                    </a:lnTo>
                    <a:lnTo>
                      <a:pt x="187" y="9"/>
                    </a:lnTo>
                    <a:lnTo>
                      <a:pt x="162" y="11"/>
                    </a:lnTo>
                    <a:lnTo>
                      <a:pt x="154" y="16"/>
                    </a:lnTo>
                    <a:lnTo>
                      <a:pt x="142" y="5"/>
                    </a:lnTo>
                    <a:lnTo>
                      <a:pt x="136" y="7"/>
                    </a:lnTo>
                    <a:lnTo>
                      <a:pt x="132" y="20"/>
                    </a:lnTo>
                    <a:lnTo>
                      <a:pt x="134" y="29"/>
                    </a:lnTo>
                    <a:lnTo>
                      <a:pt x="143" y="36"/>
                    </a:lnTo>
                    <a:lnTo>
                      <a:pt x="144" y="47"/>
                    </a:lnTo>
                    <a:lnTo>
                      <a:pt x="132" y="56"/>
                    </a:lnTo>
                    <a:lnTo>
                      <a:pt x="117" y="58"/>
                    </a:lnTo>
                    <a:lnTo>
                      <a:pt x="106" y="53"/>
                    </a:lnTo>
                    <a:lnTo>
                      <a:pt x="98" y="42"/>
                    </a:lnTo>
                    <a:lnTo>
                      <a:pt x="89" y="39"/>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713" name="Freeform 254">
                <a:extLst>
                  <a:ext uri="{FF2B5EF4-FFF2-40B4-BE49-F238E27FC236}">
                    <a16:creationId xmlns:a16="http://schemas.microsoft.com/office/drawing/2014/main" id="{CFA1CCBF-8BDE-E3D4-E633-60257D33E1FE}"/>
                  </a:ext>
                </a:extLst>
              </p:cNvPr>
              <p:cNvSpPr>
                <a:spLocks/>
              </p:cNvSpPr>
              <p:nvPr/>
            </p:nvSpPr>
            <p:spPr bwMode="auto">
              <a:xfrm>
                <a:off x="4644730" y="2877026"/>
                <a:ext cx="275269" cy="219443"/>
              </a:xfrm>
              <a:custGeom>
                <a:avLst/>
                <a:gdLst>
                  <a:gd name="T0" fmla="*/ 174 w 175"/>
                  <a:gd name="T1" fmla="*/ 25 h 140"/>
                  <a:gd name="T2" fmla="*/ 147 w 175"/>
                  <a:gd name="T3" fmla="*/ 25 h 140"/>
                  <a:gd name="T4" fmla="*/ 137 w 175"/>
                  <a:gd name="T5" fmla="*/ 18 h 140"/>
                  <a:gd name="T6" fmla="*/ 116 w 175"/>
                  <a:gd name="T7" fmla="*/ 16 h 140"/>
                  <a:gd name="T8" fmla="*/ 98 w 175"/>
                  <a:gd name="T9" fmla="*/ 10 h 140"/>
                  <a:gd name="T10" fmla="*/ 76 w 175"/>
                  <a:gd name="T11" fmla="*/ 3 h 140"/>
                  <a:gd name="T12" fmla="*/ 64 w 175"/>
                  <a:gd name="T13" fmla="*/ 6 h 140"/>
                  <a:gd name="T14" fmla="*/ 53 w 175"/>
                  <a:gd name="T15" fmla="*/ 0 h 140"/>
                  <a:gd name="T16" fmla="*/ 5 w 175"/>
                  <a:gd name="T17" fmla="*/ 1 h 140"/>
                  <a:gd name="T18" fmla="*/ 8 w 175"/>
                  <a:gd name="T19" fmla="*/ 8 h 140"/>
                  <a:gd name="T20" fmla="*/ 0 w 175"/>
                  <a:gd name="T21" fmla="*/ 11 h 140"/>
                  <a:gd name="T22" fmla="*/ 1 w 175"/>
                  <a:gd name="T23" fmla="*/ 22 h 140"/>
                  <a:gd name="T24" fmla="*/ 8 w 175"/>
                  <a:gd name="T25" fmla="*/ 30 h 140"/>
                  <a:gd name="T26" fmla="*/ 12 w 175"/>
                  <a:gd name="T27" fmla="*/ 40 h 140"/>
                  <a:gd name="T28" fmla="*/ 25 w 175"/>
                  <a:gd name="T29" fmla="*/ 39 h 140"/>
                  <a:gd name="T30" fmla="*/ 35 w 175"/>
                  <a:gd name="T31" fmla="*/ 35 h 140"/>
                  <a:gd name="T32" fmla="*/ 39 w 175"/>
                  <a:gd name="T33" fmla="*/ 40 h 140"/>
                  <a:gd name="T34" fmla="*/ 36 w 175"/>
                  <a:gd name="T35" fmla="*/ 45 h 140"/>
                  <a:gd name="T36" fmla="*/ 33 w 175"/>
                  <a:gd name="T37" fmla="*/ 50 h 140"/>
                  <a:gd name="T38" fmla="*/ 27 w 175"/>
                  <a:gd name="T39" fmla="*/ 77 h 140"/>
                  <a:gd name="T40" fmla="*/ 21 w 175"/>
                  <a:gd name="T41" fmla="*/ 84 h 140"/>
                  <a:gd name="T42" fmla="*/ 29 w 175"/>
                  <a:gd name="T43" fmla="*/ 90 h 140"/>
                  <a:gd name="T44" fmla="*/ 30 w 175"/>
                  <a:gd name="T45" fmla="*/ 111 h 140"/>
                  <a:gd name="T46" fmla="*/ 31 w 175"/>
                  <a:gd name="T47" fmla="*/ 120 h 140"/>
                  <a:gd name="T48" fmla="*/ 40 w 175"/>
                  <a:gd name="T49" fmla="*/ 122 h 140"/>
                  <a:gd name="T50" fmla="*/ 40 w 175"/>
                  <a:gd name="T51" fmla="*/ 132 h 140"/>
                  <a:gd name="T52" fmla="*/ 50 w 175"/>
                  <a:gd name="T53" fmla="*/ 139 h 140"/>
                  <a:gd name="T54" fmla="*/ 59 w 175"/>
                  <a:gd name="T55" fmla="*/ 136 h 140"/>
                  <a:gd name="T56" fmla="*/ 67 w 175"/>
                  <a:gd name="T57" fmla="*/ 131 h 140"/>
                  <a:gd name="T58" fmla="*/ 101 w 175"/>
                  <a:gd name="T59" fmla="*/ 132 h 140"/>
                  <a:gd name="T60" fmla="*/ 109 w 175"/>
                  <a:gd name="T61" fmla="*/ 126 h 140"/>
                  <a:gd name="T62" fmla="*/ 109 w 175"/>
                  <a:gd name="T63" fmla="*/ 117 h 140"/>
                  <a:gd name="T64" fmla="*/ 119 w 175"/>
                  <a:gd name="T65" fmla="*/ 111 h 140"/>
                  <a:gd name="T66" fmla="*/ 126 w 175"/>
                  <a:gd name="T67" fmla="*/ 103 h 140"/>
                  <a:gd name="T68" fmla="*/ 129 w 175"/>
                  <a:gd name="T69" fmla="*/ 92 h 140"/>
                  <a:gd name="T70" fmla="*/ 119 w 175"/>
                  <a:gd name="T71" fmla="*/ 80 h 140"/>
                  <a:gd name="T72" fmla="*/ 126 w 175"/>
                  <a:gd name="T73" fmla="*/ 71 h 140"/>
                  <a:gd name="T74" fmla="*/ 133 w 175"/>
                  <a:gd name="T75" fmla="*/ 61 h 140"/>
                  <a:gd name="T76" fmla="*/ 144 w 175"/>
                  <a:gd name="T77" fmla="*/ 58 h 140"/>
                  <a:gd name="T78" fmla="*/ 155 w 175"/>
                  <a:gd name="T79" fmla="*/ 44 h 140"/>
                  <a:gd name="T80" fmla="*/ 163 w 175"/>
                  <a:gd name="T81" fmla="*/ 36 h 140"/>
                  <a:gd name="T82" fmla="*/ 174 w 175"/>
                  <a:gd name="T83" fmla="*/ 25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5" h="140">
                    <a:moveTo>
                      <a:pt x="174" y="25"/>
                    </a:moveTo>
                    <a:lnTo>
                      <a:pt x="147" y="25"/>
                    </a:lnTo>
                    <a:lnTo>
                      <a:pt x="137" y="18"/>
                    </a:lnTo>
                    <a:lnTo>
                      <a:pt x="116" y="16"/>
                    </a:lnTo>
                    <a:lnTo>
                      <a:pt x="98" y="10"/>
                    </a:lnTo>
                    <a:lnTo>
                      <a:pt x="76" y="3"/>
                    </a:lnTo>
                    <a:lnTo>
                      <a:pt x="64" y="6"/>
                    </a:lnTo>
                    <a:lnTo>
                      <a:pt x="53" y="0"/>
                    </a:lnTo>
                    <a:lnTo>
                      <a:pt x="5" y="1"/>
                    </a:lnTo>
                    <a:lnTo>
                      <a:pt x="8" y="8"/>
                    </a:lnTo>
                    <a:lnTo>
                      <a:pt x="0" y="11"/>
                    </a:lnTo>
                    <a:lnTo>
                      <a:pt x="1" y="22"/>
                    </a:lnTo>
                    <a:lnTo>
                      <a:pt x="8" y="30"/>
                    </a:lnTo>
                    <a:lnTo>
                      <a:pt x="12" y="40"/>
                    </a:lnTo>
                    <a:lnTo>
                      <a:pt x="25" y="39"/>
                    </a:lnTo>
                    <a:lnTo>
                      <a:pt x="35" y="35"/>
                    </a:lnTo>
                    <a:lnTo>
                      <a:pt x="39" y="40"/>
                    </a:lnTo>
                    <a:lnTo>
                      <a:pt x="36" y="45"/>
                    </a:lnTo>
                    <a:lnTo>
                      <a:pt x="33" y="50"/>
                    </a:lnTo>
                    <a:lnTo>
                      <a:pt x="27" y="77"/>
                    </a:lnTo>
                    <a:lnTo>
                      <a:pt x="21" y="84"/>
                    </a:lnTo>
                    <a:lnTo>
                      <a:pt x="29" y="90"/>
                    </a:lnTo>
                    <a:lnTo>
                      <a:pt x="30" y="111"/>
                    </a:lnTo>
                    <a:lnTo>
                      <a:pt x="31" y="120"/>
                    </a:lnTo>
                    <a:lnTo>
                      <a:pt x="40" y="122"/>
                    </a:lnTo>
                    <a:lnTo>
                      <a:pt x="40" y="132"/>
                    </a:lnTo>
                    <a:lnTo>
                      <a:pt x="50" y="139"/>
                    </a:lnTo>
                    <a:lnTo>
                      <a:pt x="59" y="136"/>
                    </a:lnTo>
                    <a:lnTo>
                      <a:pt x="67" y="131"/>
                    </a:lnTo>
                    <a:lnTo>
                      <a:pt x="101" y="132"/>
                    </a:lnTo>
                    <a:lnTo>
                      <a:pt x="109" y="126"/>
                    </a:lnTo>
                    <a:lnTo>
                      <a:pt x="109" y="117"/>
                    </a:lnTo>
                    <a:lnTo>
                      <a:pt x="119" y="111"/>
                    </a:lnTo>
                    <a:lnTo>
                      <a:pt x="126" y="103"/>
                    </a:lnTo>
                    <a:lnTo>
                      <a:pt x="129" y="92"/>
                    </a:lnTo>
                    <a:lnTo>
                      <a:pt x="119" y="80"/>
                    </a:lnTo>
                    <a:lnTo>
                      <a:pt x="126" y="71"/>
                    </a:lnTo>
                    <a:lnTo>
                      <a:pt x="133" y="61"/>
                    </a:lnTo>
                    <a:lnTo>
                      <a:pt x="144" y="58"/>
                    </a:lnTo>
                    <a:lnTo>
                      <a:pt x="155" y="44"/>
                    </a:lnTo>
                    <a:lnTo>
                      <a:pt x="163" y="36"/>
                    </a:lnTo>
                    <a:lnTo>
                      <a:pt x="174" y="25"/>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714" name="Freeform 255">
                <a:extLst>
                  <a:ext uri="{FF2B5EF4-FFF2-40B4-BE49-F238E27FC236}">
                    <a16:creationId xmlns:a16="http://schemas.microsoft.com/office/drawing/2014/main" id="{73A70F30-E16B-6420-25C0-D9DD95F10A19}"/>
                  </a:ext>
                </a:extLst>
              </p:cNvPr>
              <p:cNvSpPr>
                <a:spLocks/>
              </p:cNvSpPr>
              <p:nvPr/>
            </p:nvSpPr>
            <p:spPr bwMode="auto">
              <a:xfrm>
                <a:off x="4629359" y="2921754"/>
                <a:ext cx="79647" cy="150954"/>
              </a:xfrm>
              <a:custGeom>
                <a:avLst/>
                <a:gdLst>
                  <a:gd name="T0" fmla="*/ 41 w 51"/>
                  <a:gd name="T1" fmla="*/ 82 h 96"/>
                  <a:gd name="T2" fmla="*/ 40 w 51"/>
                  <a:gd name="T3" fmla="*/ 61 h 96"/>
                  <a:gd name="T4" fmla="*/ 32 w 51"/>
                  <a:gd name="T5" fmla="*/ 55 h 96"/>
                  <a:gd name="T6" fmla="*/ 38 w 51"/>
                  <a:gd name="T7" fmla="*/ 48 h 96"/>
                  <a:gd name="T8" fmla="*/ 44 w 51"/>
                  <a:gd name="T9" fmla="*/ 21 h 96"/>
                  <a:gd name="T10" fmla="*/ 47 w 51"/>
                  <a:gd name="T11" fmla="*/ 15 h 96"/>
                  <a:gd name="T12" fmla="*/ 50 w 51"/>
                  <a:gd name="T13" fmla="*/ 10 h 96"/>
                  <a:gd name="T14" fmla="*/ 46 w 51"/>
                  <a:gd name="T15" fmla="*/ 5 h 96"/>
                  <a:gd name="T16" fmla="*/ 36 w 51"/>
                  <a:gd name="T17" fmla="*/ 9 h 96"/>
                  <a:gd name="T18" fmla="*/ 23 w 51"/>
                  <a:gd name="T19" fmla="*/ 10 h 96"/>
                  <a:gd name="T20" fmla="*/ 19 w 51"/>
                  <a:gd name="T21" fmla="*/ 0 h 96"/>
                  <a:gd name="T22" fmla="*/ 14 w 51"/>
                  <a:gd name="T23" fmla="*/ 13 h 96"/>
                  <a:gd name="T24" fmla="*/ 14 w 51"/>
                  <a:gd name="T25" fmla="*/ 28 h 96"/>
                  <a:gd name="T26" fmla="*/ 16 w 51"/>
                  <a:gd name="T27" fmla="*/ 34 h 96"/>
                  <a:gd name="T28" fmla="*/ 10 w 51"/>
                  <a:gd name="T29" fmla="*/ 44 h 96"/>
                  <a:gd name="T30" fmla="*/ 1 w 51"/>
                  <a:gd name="T31" fmla="*/ 50 h 96"/>
                  <a:gd name="T32" fmla="*/ 0 w 51"/>
                  <a:gd name="T33" fmla="*/ 66 h 96"/>
                  <a:gd name="T34" fmla="*/ 10 w 51"/>
                  <a:gd name="T35" fmla="*/ 70 h 96"/>
                  <a:gd name="T36" fmla="*/ 11 w 51"/>
                  <a:gd name="T37" fmla="*/ 80 h 96"/>
                  <a:gd name="T38" fmla="*/ 12 w 51"/>
                  <a:gd name="T39" fmla="*/ 91 h 96"/>
                  <a:gd name="T40" fmla="*/ 23 w 51"/>
                  <a:gd name="T41" fmla="*/ 95 h 96"/>
                  <a:gd name="T42" fmla="*/ 34 w 51"/>
                  <a:gd name="T43" fmla="*/ 95 h 96"/>
                  <a:gd name="T44" fmla="*/ 41 w 51"/>
                  <a:gd name="T45" fmla="*/ 8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 h="96">
                    <a:moveTo>
                      <a:pt x="41" y="82"/>
                    </a:moveTo>
                    <a:lnTo>
                      <a:pt x="40" y="61"/>
                    </a:lnTo>
                    <a:lnTo>
                      <a:pt x="32" y="55"/>
                    </a:lnTo>
                    <a:lnTo>
                      <a:pt x="38" y="48"/>
                    </a:lnTo>
                    <a:lnTo>
                      <a:pt x="44" y="21"/>
                    </a:lnTo>
                    <a:lnTo>
                      <a:pt x="47" y="15"/>
                    </a:lnTo>
                    <a:lnTo>
                      <a:pt x="50" y="10"/>
                    </a:lnTo>
                    <a:lnTo>
                      <a:pt x="46" y="5"/>
                    </a:lnTo>
                    <a:lnTo>
                      <a:pt x="36" y="9"/>
                    </a:lnTo>
                    <a:lnTo>
                      <a:pt x="23" y="10"/>
                    </a:lnTo>
                    <a:lnTo>
                      <a:pt x="19" y="0"/>
                    </a:lnTo>
                    <a:lnTo>
                      <a:pt x="14" y="13"/>
                    </a:lnTo>
                    <a:lnTo>
                      <a:pt x="14" y="28"/>
                    </a:lnTo>
                    <a:lnTo>
                      <a:pt x="16" y="34"/>
                    </a:lnTo>
                    <a:lnTo>
                      <a:pt x="10" y="44"/>
                    </a:lnTo>
                    <a:lnTo>
                      <a:pt x="1" y="50"/>
                    </a:lnTo>
                    <a:lnTo>
                      <a:pt x="0" y="66"/>
                    </a:lnTo>
                    <a:lnTo>
                      <a:pt x="10" y="70"/>
                    </a:lnTo>
                    <a:lnTo>
                      <a:pt x="11" y="80"/>
                    </a:lnTo>
                    <a:lnTo>
                      <a:pt x="12" y="91"/>
                    </a:lnTo>
                    <a:lnTo>
                      <a:pt x="23" y="95"/>
                    </a:lnTo>
                    <a:lnTo>
                      <a:pt x="34" y="95"/>
                    </a:lnTo>
                    <a:lnTo>
                      <a:pt x="41" y="82"/>
                    </a:lnTo>
                  </a:path>
                </a:pathLst>
              </a:custGeom>
              <a:grpFill/>
              <a:ln w="0" cap="flat" cmpd="sng">
                <a:solidFill>
                  <a:schemeClr val="accent6">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grpSp>
        <p:grpSp>
          <p:nvGrpSpPr>
            <p:cNvPr id="715" name="Grupo 714">
              <a:extLst>
                <a:ext uri="{FF2B5EF4-FFF2-40B4-BE49-F238E27FC236}">
                  <a16:creationId xmlns:a16="http://schemas.microsoft.com/office/drawing/2014/main" id="{64EA2C39-1095-0F57-700C-9F4C0A2096C6}"/>
                </a:ext>
              </a:extLst>
            </p:cNvPr>
            <p:cNvGrpSpPr/>
            <p:nvPr/>
          </p:nvGrpSpPr>
          <p:grpSpPr>
            <a:xfrm>
              <a:off x="791126" y="914253"/>
              <a:ext cx="1183292" cy="1274986"/>
              <a:chOff x="-3063408" y="1977480"/>
              <a:chExt cx="2022089" cy="2444660"/>
            </a:xfrm>
          </p:grpSpPr>
          <p:sp>
            <p:nvSpPr>
              <p:cNvPr id="716" name="Gráfico 7">
                <a:extLst>
                  <a:ext uri="{FF2B5EF4-FFF2-40B4-BE49-F238E27FC236}">
                    <a16:creationId xmlns:a16="http://schemas.microsoft.com/office/drawing/2014/main" id="{2AE1BDB6-6581-0AEC-F703-3FCA9220A212}"/>
                  </a:ext>
                </a:extLst>
              </p:cNvPr>
              <p:cNvSpPr/>
              <p:nvPr/>
            </p:nvSpPr>
            <p:spPr>
              <a:xfrm rot="7609184">
                <a:off x="-2566551" y="2925080"/>
                <a:ext cx="2052974" cy="941145"/>
              </a:xfrm>
              <a:custGeom>
                <a:avLst/>
                <a:gdLst>
                  <a:gd name="connsiteX0" fmla="*/ 0 w 1131037"/>
                  <a:gd name="connsiteY0" fmla="*/ 546599 h 546599"/>
                  <a:gd name="connsiteX1" fmla="*/ 616330 w 1131037"/>
                  <a:gd name="connsiteY1" fmla="*/ 1114 h 546599"/>
                  <a:gd name="connsiteX2" fmla="*/ 1131038 w 1131037"/>
                  <a:gd name="connsiteY2" fmla="*/ 393542 h 546599"/>
                </a:gdLst>
                <a:ahLst/>
                <a:cxnLst>
                  <a:cxn ang="0">
                    <a:pos x="connsiteX0" y="connsiteY0"/>
                  </a:cxn>
                  <a:cxn ang="0">
                    <a:pos x="connsiteX1" y="connsiteY1"/>
                  </a:cxn>
                  <a:cxn ang="0">
                    <a:pos x="connsiteX2" y="connsiteY2"/>
                  </a:cxn>
                </a:cxnLst>
                <a:rect l="l" t="t" r="r" b="b"/>
                <a:pathLst>
                  <a:path w="1131037" h="546599">
                    <a:moveTo>
                      <a:pt x="0" y="546599"/>
                    </a:moveTo>
                    <a:cubicBezTo>
                      <a:pt x="19693" y="225629"/>
                      <a:pt x="295629" y="-18594"/>
                      <a:pt x="616330" y="1114"/>
                    </a:cubicBezTo>
                    <a:cubicBezTo>
                      <a:pt x="851462" y="15562"/>
                      <a:pt x="1054678" y="170501"/>
                      <a:pt x="1131038" y="393542"/>
                    </a:cubicBezTo>
                  </a:path>
                </a:pathLst>
              </a:custGeom>
              <a:noFill/>
              <a:ln w="19050" cap="rnd">
                <a:solidFill>
                  <a:schemeClr val="tx2"/>
                </a:solidFill>
                <a:custDash>
                  <a:ds d="150000" sp="22425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717" name="Gráfico 7">
                <a:extLst>
                  <a:ext uri="{FF2B5EF4-FFF2-40B4-BE49-F238E27FC236}">
                    <a16:creationId xmlns:a16="http://schemas.microsoft.com/office/drawing/2014/main" id="{C6C2FE57-859C-C388-7007-A24C8EC63A0A}"/>
                  </a:ext>
                </a:extLst>
              </p:cNvPr>
              <p:cNvSpPr/>
              <p:nvPr/>
            </p:nvSpPr>
            <p:spPr>
              <a:xfrm rot="19652147">
                <a:off x="-2906724" y="2384388"/>
                <a:ext cx="1738109" cy="559814"/>
              </a:xfrm>
              <a:custGeom>
                <a:avLst/>
                <a:gdLst>
                  <a:gd name="connsiteX0" fmla="*/ 0 w 1255451"/>
                  <a:gd name="connsiteY0" fmla="*/ 282713 h 363855"/>
                  <a:gd name="connsiteX1" fmla="*/ 600210 w 1255451"/>
                  <a:gd name="connsiteY1" fmla="*/ 0 h 363855"/>
                  <a:gd name="connsiteX2" fmla="*/ 1255452 w 1255451"/>
                  <a:gd name="connsiteY2" fmla="*/ 363855 h 363855"/>
                </a:gdLst>
                <a:ahLst/>
                <a:cxnLst>
                  <a:cxn ang="0">
                    <a:pos x="connsiteX0" y="connsiteY0"/>
                  </a:cxn>
                  <a:cxn ang="0">
                    <a:pos x="connsiteX1" y="connsiteY1"/>
                  </a:cxn>
                  <a:cxn ang="0">
                    <a:pos x="connsiteX2" y="connsiteY2"/>
                  </a:cxn>
                </a:cxnLst>
                <a:rect l="l" t="t" r="r" b="b"/>
                <a:pathLst>
                  <a:path w="1255451" h="363855">
                    <a:moveTo>
                      <a:pt x="0" y="282713"/>
                    </a:moveTo>
                    <a:cubicBezTo>
                      <a:pt x="134774" y="111487"/>
                      <a:pt x="353473" y="0"/>
                      <a:pt x="600210" y="0"/>
                    </a:cubicBezTo>
                    <a:cubicBezTo>
                      <a:pt x="884205" y="0"/>
                      <a:pt x="1130847" y="147349"/>
                      <a:pt x="1255452" y="363855"/>
                    </a:cubicBezTo>
                  </a:path>
                </a:pathLst>
              </a:custGeom>
              <a:noFill/>
              <a:ln w="19050" cap="rnd">
                <a:solidFill>
                  <a:schemeClr val="tx2"/>
                </a:solidFill>
                <a:custDash>
                  <a:ds d="151500" sp="22650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718" name="Gráfico 7">
                <a:extLst>
                  <a:ext uri="{FF2B5EF4-FFF2-40B4-BE49-F238E27FC236}">
                    <a16:creationId xmlns:a16="http://schemas.microsoft.com/office/drawing/2014/main" id="{8026F577-2C8B-F895-D270-0DB73C7375E7}"/>
                  </a:ext>
                </a:extLst>
              </p:cNvPr>
              <p:cNvSpPr/>
              <p:nvPr/>
            </p:nvSpPr>
            <p:spPr>
              <a:xfrm rot="17967744">
                <a:off x="-3118341" y="2644743"/>
                <a:ext cx="2124842" cy="975394"/>
              </a:xfrm>
              <a:custGeom>
                <a:avLst/>
                <a:gdLst>
                  <a:gd name="connsiteX0" fmla="*/ 0 w 1387088"/>
                  <a:gd name="connsiteY0" fmla="*/ 331322 h 818079"/>
                  <a:gd name="connsiteX1" fmla="*/ 617223 w 1387088"/>
                  <a:gd name="connsiteY1" fmla="*/ 0 h 818079"/>
                  <a:gd name="connsiteX2" fmla="*/ 1387089 w 1387088"/>
                  <a:gd name="connsiteY2" fmla="*/ 818079 h 818079"/>
                </a:gdLst>
                <a:ahLst/>
                <a:cxnLst>
                  <a:cxn ang="0">
                    <a:pos x="connsiteX0" y="connsiteY0"/>
                  </a:cxn>
                  <a:cxn ang="0">
                    <a:pos x="connsiteX1" y="connsiteY1"/>
                  </a:cxn>
                  <a:cxn ang="0">
                    <a:pos x="connsiteX2" y="connsiteY2"/>
                  </a:cxn>
                </a:cxnLst>
                <a:rect l="l" t="t" r="r" b="b"/>
                <a:pathLst>
                  <a:path w="1387088" h="818079">
                    <a:moveTo>
                      <a:pt x="0" y="331322"/>
                    </a:moveTo>
                    <a:cubicBezTo>
                      <a:pt x="140287" y="130227"/>
                      <a:pt x="364593" y="0"/>
                      <a:pt x="617223" y="0"/>
                    </a:cubicBezTo>
                    <a:cubicBezTo>
                      <a:pt x="1040840" y="0"/>
                      <a:pt x="1384523" y="365948"/>
                      <a:pt x="1387089" y="818079"/>
                    </a:cubicBezTo>
                  </a:path>
                </a:pathLst>
              </a:custGeom>
              <a:noFill/>
              <a:ln w="9525" cap="rnd">
                <a:solidFill>
                  <a:schemeClr val="tx2"/>
                </a:solidFill>
                <a:custDash>
                  <a:ds d="149250" sp="22425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719" name="Gráfico 7">
                <a:extLst>
                  <a:ext uri="{FF2B5EF4-FFF2-40B4-BE49-F238E27FC236}">
                    <a16:creationId xmlns:a16="http://schemas.microsoft.com/office/drawing/2014/main" id="{8E783E5B-8E28-6AF2-F816-30B6AC309600}"/>
                  </a:ext>
                </a:extLst>
              </p:cNvPr>
              <p:cNvSpPr/>
              <p:nvPr/>
            </p:nvSpPr>
            <p:spPr>
              <a:xfrm>
                <a:off x="-2679925" y="1990696"/>
                <a:ext cx="8188" cy="12001"/>
              </a:xfrm>
              <a:custGeom>
                <a:avLst/>
                <a:gdLst>
                  <a:gd name="connsiteX0" fmla="*/ 0 w 5322"/>
                  <a:gd name="connsiteY0" fmla="*/ 7800 h 7800"/>
                  <a:gd name="connsiteX1" fmla="*/ 5323 w 5322"/>
                  <a:gd name="connsiteY1" fmla="*/ 0 h 7800"/>
                </a:gdLst>
                <a:ahLst/>
                <a:cxnLst>
                  <a:cxn ang="0">
                    <a:pos x="connsiteX0" y="connsiteY0"/>
                  </a:cxn>
                  <a:cxn ang="0">
                    <a:pos x="connsiteX1" y="connsiteY1"/>
                  </a:cxn>
                </a:cxnLst>
                <a:rect l="l" t="t" r="r" b="b"/>
                <a:pathLst>
                  <a:path w="5322" h="7800">
                    <a:moveTo>
                      <a:pt x="0" y="7800"/>
                    </a:moveTo>
                    <a:cubicBezTo>
                      <a:pt x="1711" y="5137"/>
                      <a:pt x="3517" y="2568"/>
                      <a:pt x="5323" y="0"/>
                    </a:cubicBezTo>
                  </a:path>
                </a:pathLst>
              </a:custGeom>
              <a:noFill/>
              <a:ln w="4657" cap="rnd">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720" name="Gráfico 7">
                <a:extLst>
                  <a:ext uri="{FF2B5EF4-FFF2-40B4-BE49-F238E27FC236}">
                    <a16:creationId xmlns:a16="http://schemas.microsoft.com/office/drawing/2014/main" id="{0F8F20FD-1DBB-2FB3-0054-310C355CAF76}"/>
                  </a:ext>
                </a:extLst>
              </p:cNvPr>
              <p:cNvSpPr/>
              <p:nvPr/>
            </p:nvSpPr>
            <p:spPr>
              <a:xfrm rot="19734559">
                <a:off x="-2708344" y="3607303"/>
                <a:ext cx="656772" cy="348473"/>
              </a:xfrm>
              <a:custGeom>
                <a:avLst/>
                <a:gdLst>
                  <a:gd name="connsiteX0" fmla="*/ 0 w 935149"/>
                  <a:gd name="connsiteY0" fmla="*/ 329102 h 329101"/>
                  <a:gd name="connsiteX1" fmla="*/ 527311 w 935149"/>
                  <a:gd name="connsiteY1" fmla="*/ 63 h 329101"/>
                  <a:gd name="connsiteX2" fmla="*/ 935149 w 935149"/>
                  <a:gd name="connsiteY2" fmla="*/ 129814 h 329101"/>
                </a:gdLst>
                <a:ahLst/>
                <a:cxnLst>
                  <a:cxn ang="0">
                    <a:pos x="connsiteX0" y="connsiteY0"/>
                  </a:cxn>
                  <a:cxn ang="0">
                    <a:pos x="connsiteX1" y="connsiteY1"/>
                  </a:cxn>
                  <a:cxn ang="0">
                    <a:pos x="connsiteX2" y="connsiteY2"/>
                  </a:cxn>
                </a:cxnLst>
                <a:rect l="l" t="t" r="r" b="b"/>
                <a:pathLst>
                  <a:path w="935149" h="329101">
                    <a:moveTo>
                      <a:pt x="0" y="329102"/>
                    </a:moveTo>
                    <a:cubicBezTo>
                      <a:pt x="46857" y="144844"/>
                      <a:pt x="264321" y="3583"/>
                      <a:pt x="527311" y="63"/>
                    </a:cubicBezTo>
                    <a:cubicBezTo>
                      <a:pt x="688887" y="-2030"/>
                      <a:pt x="834687" y="48196"/>
                      <a:pt x="935149" y="129814"/>
                    </a:cubicBezTo>
                  </a:path>
                </a:pathLst>
              </a:custGeom>
              <a:noFill/>
              <a:ln w="19050" cap="rnd">
                <a:solidFill>
                  <a:schemeClr val="tx2"/>
                </a:solidFill>
                <a:custDash>
                  <a:ds d="153000" sp="22950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721" name="Gráfico 7">
                <a:extLst>
                  <a:ext uri="{FF2B5EF4-FFF2-40B4-BE49-F238E27FC236}">
                    <a16:creationId xmlns:a16="http://schemas.microsoft.com/office/drawing/2014/main" id="{540F2EED-E1FA-CE3B-69F4-6DF0E6CF53A7}"/>
                  </a:ext>
                </a:extLst>
              </p:cNvPr>
              <p:cNvSpPr/>
              <p:nvPr/>
            </p:nvSpPr>
            <p:spPr>
              <a:xfrm rot="18492424">
                <a:off x="-2549968" y="2538611"/>
                <a:ext cx="1441826" cy="618370"/>
              </a:xfrm>
              <a:custGeom>
                <a:avLst/>
                <a:gdLst>
                  <a:gd name="connsiteX0" fmla="*/ 0 w 1121437"/>
                  <a:gd name="connsiteY0" fmla="*/ 381739 h 381738"/>
                  <a:gd name="connsiteX1" fmla="*/ 573693 w 1121437"/>
                  <a:gd name="connsiteY1" fmla="*/ 0 h 381738"/>
                  <a:gd name="connsiteX2" fmla="*/ 1121438 w 1121437"/>
                  <a:gd name="connsiteY2" fmla="*/ 311251 h 381738"/>
                </a:gdLst>
                <a:ahLst/>
                <a:cxnLst>
                  <a:cxn ang="0">
                    <a:pos x="connsiteX0" y="connsiteY0"/>
                  </a:cxn>
                  <a:cxn ang="0">
                    <a:pos x="connsiteX1" y="connsiteY1"/>
                  </a:cxn>
                  <a:cxn ang="0">
                    <a:pos x="connsiteX2" y="connsiteY2"/>
                  </a:cxn>
                </a:cxnLst>
                <a:rect l="l" t="t" r="r" b="b"/>
                <a:pathLst>
                  <a:path w="1121437" h="381738">
                    <a:moveTo>
                      <a:pt x="0" y="381739"/>
                    </a:moveTo>
                    <a:cubicBezTo>
                      <a:pt x="59023" y="162950"/>
                      <a:pt x="293404" y="0"/>
                      <a:pt x="573693" y="0"/>
                    </a:cubicBezTo>
                    <a:cubicBezTo>
                      <a:pt x="822806" y="0"/>
                      <a:pt x="1035802" y="129085"/>
                      <a:pt x="1121438" y="311251"/>
                    </a:cubicBezTo>
                  </a:path>
                </a:pathLst>
              </a:custGeom>
              <a:noFill/>
              <a:ln w="19050" cap="rnd">
                <a:solidFill>
                  <a:schemeClr val="tx2"/>
                </a:solidFill>
                <a:custDash>
                  <a:ds d="149250" sp="22350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722" name="Gráfico 7">
                <a:extLst>
                  <a:ext uri="{FF2B5EF4-FFF2-40B4-BE49-F238E27FC236}">
                    <a16:creationId xmlns:a16="http://schemas.microsoft.com/office/drawing/2014/main" id="{E8613EEC-CCB8-0633-BC03-101CB45EA887}"/>
                  </a:ext>
                </a:extLst>
              </p:cNvPr>
              <p:cNvSpPr/>
              <p:nvPr/>
            </p:nvSpPr>
            <p:spPr>
              <a:xfrm>
                <a:off x="-2572736" y="2747944"/>
                <a:ext cx="14623" cy="14635"/>
              </a:xfrm>
              <a:custGeom>
                <a:avLst/>
                <a:gdLst>
                  <a:gd name="connsiteX0" fmla="*/ 0 w 9504"/>
                  <a:gd name="connsiteY0" fmla="*/ 9513 h 9512"/>
                  <a:gd name="connsiteX1" fmla="*/ 0 w 9504"/>
                  <a:gd name="connsiteY1" fmla="*/ 0 h 9512"/>
                </a:gdLst>
                <a:ahLst/>
                <a:cxnLst>
                  <a:cxn ang="0">
                    <a:pos x="connsiteX0" y="connsiteY0"/>
                  </a:cxn>
                  <a:cxn ang="0">
                    <a:pos x="connsiteX1" y="connsiteY1"/>
                  </a:cxn>
                </a:cxnLst>
                <a:rect l="l" t="t" r="r" b="b"/>
                <a:pathLst>
                  <a:path w="9504" h="9512">
                    <a:moveTo>
                      <a:pt x="0" y="9513"/>
                    </a:moveTo>
                    <a:cubicBezTo>
                      <a:pt x="0" y="6374"/>
                      <a:pt x="0" y="3139"/>
                      <a:pt x="0" y="0"/>
                    </a:cubicBezTo>
                  </a:path>
                </a:pathLst>
              </a:custGeom>
              <a:noFill/>
              <a:ln w="2376" cap="rnd">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723" name="Gráfico 7">
                <a:extLst>
                  <a:ext uri="{FF2B5EF4-FFF2-40B4-BE49-F238E27FC236}">
                    <a16:creationId xmlns:a16="http://schemas.microsoft.com/office/drawing/2014/main" id="{98F8BDAB-8094-B16D-6E38-9F3D46AD6FAA}"/>
                  </a:ext>
                </a:extLst>
              </p:cNvPr>
              <p:cNvSpPr/>
              <p:nvPr/>
            </p:nvSpPr>
            <p:spPr>
              <a:xfrm>
                <a:off x="-3063408" y="2086671"/>
                <a:ext cx="1790102" cy="697569"/>
              </a:xfrm>
              <a:custGeom>
                <a:avLst/>
                <a:gdLst>
                  <a:gd name="connsiteX0" fmla="*/ 0 w 842860"/>
                  <a:gd name="connsiteY0" fmla="*/ 400881 h 400881"/>
                  <a:gd name="connsiteX1" fmla="*/ 473325 w 842860"/>
                  <a:gd name="connsiteY1" fmla="*/ 23 h 400881"/>
                  <a:gd name="connsiteX2" fmla="*/ 842860 w 842860"/>
                  <a:gd name="connsiteY2" fmla="*/ 163353 h 400881"/>
                </a:gdLst>
                <a:ahLst/>
                <a:cxnLst>
                  <a:cxn ang="0">
                    <a:pos x="connsiteX0" y="connsiteY0"/>
                  </a:cxn>
                  <a:cxn ang="0">
                    <a:pos x="connsiteX1" y="connsiteY1"/>
                  </a:cxn>
                  <a:cxn ang="0">
                    <a:pos x="connsiteX2" y="connsiteY2"/>
                  </a:cxn>
                </a:cxnLst>
                <a:rect l="l" t="t" r="r" b="b"/>
                <a:pathLst>
                  <a:path w="842860" h="400881">
                    <a:moveTo>
                      <a:pt x="0" y="400881"/>
                    </a:moveTo>
                    <a:cubicBezTo>
                      <a:pt x="21100" y="176005"/>
                      <a:pt x="224972" y="23"/>
                      <a:pt x="473325" y="23"/>
                    </a:cubicBezTo>
                    <a:cubicBezTo>
                      <a:pt x="614258" y="-1329"/>
                      <a:pt x="748927" y="58194"/>
                      <a:pt x="842860" y="163353"/>
                    </a:cubicBezTo>
                  </a:path>
                </a:pathLst>
              </a:custGeom>
              <a:noFill/>
              <a:ln w="19050" cap="rnd">
                <a:solidFill>
                  <a:schemeClr val="tx2"/>
                </a:solidFill>
                <a:custDash>
                  <a:ds d="152250" sp="22875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724" name="Gráfico 7">
                <a:extLst>
                  <a:ext uri="{FF2B5EF4-FFF2-40B4-BE49-F238E27FC236}">
                    <a16:creationId xmlns:a16="http://schemas.microsoft.com/office/drawing/2014/main" id="{C21CCD84-C567-9CFB-51E4-B50D4CB85A1D}"/>
                  </a:ext>
                </a:extLst>
              </p:cNvPr>
              <p:cNvSpPr/>
              <p:nvPr/>
            </p:nvSpPr>
            <p:spPr>
              <a:xfrm rot="2836142">
                <a:off x="-3030657" y="2762287"/>
                <a:ext cx="1300777" cy="614364"/>
              </a:xfrm>
              <a:custGeom>
                <a:avLst/>
                <a:gdLst>
                  <a:gd name="connsiteX0" fmla="*/ 0 w 1032570"/>
                  <a:gd name="connsiteY0" fmla="*/ 352600 h 352599"/>
                  <a:gd name="connsiteX1" fmla="*/ 551262 w 1032570"/>
                  <a:gd name="connsiteY1" fmla="*/ 64 h 352599"/>
                  <a:gd name="connsiteX2" fmla="*/ 1032571 w 1032570"/>
                  <a:gd name="connsiteY2" fmla="*/ 201445 h 352599"/>
                </a:gdLst>
                <a:ahLst/>
                <a:cxnLst>
                  <a:cxn ang="0">
                    <a:pos x="connsiteX0" y="connsiteY0"/>
                  </a:cxn>
                  <a:cxn ang="0">
                    <a:pos x="connsiteX1" y="connsiteY1"/>
                  </a:cxn>
                  <a:cxn ang="0">
                    <a:pos x="connsiteX2" y="connsiteY2"/>
                  </a:cxn>
                </a:cxnLst>
                <a:rect l="l" t="t" r="r" b="b"/>
                <a:pathLst>
                  <a:path w="1032570" h="352599">
                    <a:moveTo>
                      <a:pt x="0" y="352600"/>
                    </a:moveTo>
                    <a:cubicBezTo>
                      <a:pt x="64346" y="152836"/>
                      <a:pt x="285896" y="3584"/>
                      <a:pt x="551262" y="64"/>
                    </a:cubicBezTo>
                    <a:cubicBezTo>
                      <a:pt x="750857" y="-2599"/>
                      <a:pt x="927356" y="77497"/>
                      <a:pt x="1032571" y="201445"/>
                    </a:cubicBezTo>
                  </a:path>
                </a:pathLst>
              </a:custGeom>
              <a:noFill/>
              <a:ln w="15875" cap="rnd">
                <a:solidFill>
                  <a:schemeClr val="tx2"/>
                </a:solidFill>
                <a:custDash>
                  <a:ds d="151500" sp="22725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725" name="Gráfico 7">
                <a:extLst>
                  <a:ext uri="{FF2B5EF4-FFF2-40B4-BE49-F238E27FC236}">
                    <a16:creationId xmlns:a16="http://schemas.microsoft.com/office/drawing/2014/main" id="{6C93FD6E-DB00-4C3C-FBDD-13A20DF370EA}"/>
                  </a:ext>
                </a:extLst>
              </p:cNvPr>
              <p:cNvSpPr/>
              <p:nvPr/>
            </p:nvSpPr>
            <p:spPr>
              <a:xfrm rot="5665148">
                <a:off x="-1450146" y="2055834"/>
                <a:ext cx="349692" cy="192984"/>
              </a:xfrm>
              <a:custGeom>
                <a:avLst/>
                <a:gdLst>
                  <a:gd name="connsiteX0" fmla="*/ 0 w 935149"/>
                  <a:gd name="connsiteY0" fmla="*/ 329102 h 329101"/>
                  <a:gd name="connsiteX1" fmla="*/ 527311 w 935149"/>
                  <a:gd name="connsiteY1" fmla="*/ 63 h 329101"/>
                  <a:gd name="connsiteX2" fmla="*/ 935149 w 935149"/>
                  <a:gd name="connsiteY2" fmla="*/ 129814 h 329101"/>
                </a:gdLst>
                <a:ahLst/>
                <a:cxnLst>
                  <a:cxn ang="0">
                    <a:pos x="connsiteX0" y="connsiteY0"/>
                  </a:cxn>
                  <a:cxn ang="0">
                    <a:pos x="connsiteX1" y="connsiteY1"/>
                  </a:cxn>
                  <a:cxn ang="0">
                    <a:pos x="connsiteX2" y="connsiteY2"/>
                  </a:cxn>
                </a:cxnLst>
                <a:rect l="l" t="t" r="r" b="b"/>
                <a:pathLst>
                  <a:path w="935149" h="329101">
                    <a:moveTo>
                      <a:pt x="0" y="329102"/>
                    </a:moveTo>
                    <a:cubicBezTo>
                      <a:pt x="46857" y="144844"/>
                      <a:pt x="264321" y="3583"/>
                      <a:pt x="527311" y="63"/>
                    </a:cubicBezTo>
                    <a:cubicBezTo>
                      <a:pt x="688887" y="-2030"/>
                      <a:pt x="834687" y="48196"/>
                      <a:pt x="935149" y="129814"/>
                    </a:cubicBezTo>
                  </a:path>
                </a:pathLst>
              </a:custGeom>
              <a:noFill/>
              <a:ln w="19050" cap="rnd">
                <a:solidFill>
                  <a:schemeClr val="tx2"/>
                </a:solidFill>
                <a:custDash>
                  <a:ds d="153000" sp="22950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726" name="Gráfico 7">
                <a:extLst>
                  <a:ext uri="{FF2B5EF4-FFF2-40B4-BE49-F238E27FC236}">
                    <a16:creationId xmlns:a16="http://schemas.microsoft.com/office/drawing/2014/main" id="{C255D3A1-D1AC-32D9-A7D2-8733437C80FD}"/>
                  </a:ext>
                </a:extLst>
              </p:cNvPr>
              <p:cNvSpPr/>
              <p:nvPr/>
            </p:nvSpPr>
            <p:spPr>
              <a:xfrm>
                <a:off x="-1343141" y="2080368"/>
                <a:ext cx="301822" cy="166566"/>
              </a:xfrm>
              <a:custGeom>
                <a:avLst/>
                <a:gdLst>
                  <a:gd name="connsiteX0" fmla="*/ 0 w 935149"/>
                  <a:gd name="connsiteY0" fmla="*/ 329102 h 329101"/>
                  <a:gd name="connsiteX1" fmla="*/ 527311 w 935149"/>
                  <a:gd name="connsiteY1" fmla="*/ 63 h 329101"/>
                  <a:gd name="connsiteX2" fmla="*/ 935149 w 935149"/>
                  <a:gd name="connsiteY2" fmla="*/ 129814 h 329101"/>
                </a:gdLst>
                <a:ahLst/>
                <a:cxnLst>
                  <a:cxn ang="0">
                    <a:pos x="connsiteX0" y="connsiteY0"/>
                  </a:cxn>
                  <a:cxn ang="0">
                    <a:pos x="connsiteX1" y="connsiteY1"/>
                  </a:cxn>
                  <a:cxn ang="0">
                    <a:pos x="connsiteX2" y="connsiteY2"/>
                  </a:cxn>
                </a:cxnLst>
                <a:rect l="l" t="t" r="r" b="b"/>
                <a:pathLst>
                  <a:path w="935149" h="329101">
                    <a:moveTo>
                      <a:pt x="0" y="329102"/>
                    </a:moveTo>
                    <a:cubicBezTo>
                      <a:pt x="46857" y="144844"/>
                      <a:pt x="264321" y="3583"/>
                      <a:pt x="527311" y="63"/>
                    </a:cubicBezTo>
                    <a:cubicBezTo>
                      <a:pt x="688887" y="-2030"/>
                      <a:pt x="834687" y="48196"/>
                      <a:pt x="935149" y="129814"/>
                    </a:cubicBezTo>
                  </a:path>
                </a:pathLst>
              </a:custGeom>
              <a:noFill/>
              <a:ln w="19050" cap="rnd">
                <a:solidFill>
                  <a:schemeClr val="tx2"/>
                </a:solidFill>
                <a:custDash>
                  <a:ds d="153000" sp="22950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grpSp>
        <p:sp>
          <p:nvSpPr>
            <p:cNvPr id="728" name="Rectángulo 727">
              <a:extLst>
                <a:ext uri="{FF2B5EF4-FFF2-40B4-BE49-F238E27FC236}">
                  <a16:creationId xmlns:a16="http://schemas.microsoft.com/office/drawing/2014/main" id="{3306DAE5-D8D3-395B-4FBC-31BAA34025A2}"/>
                </a:ext>
              </a:extLst>
            </p:cNvPr>
            <p:cNvSpPr/>
            <p:nvPr/>
          </p:nvSpPr>
          <p:spPr bwMode="auto">
            <a:xfrm>
              <a:off x="741453" y="1326139"/>
              <a:ext cx="50358" cy="44881"/>
            </a:xfrm>
            <a:prstGeom prst="rect">
              <a:avLst/>
            </a:prstGeom>
            <a:solidFill>
              <a:schemeClr val="bg1"/>
            </a:solidFill>
            <a:ln w="25400" cap="flat">
              <a:solidFill>
                <a:srgbClr val="000000"/>
              </a:solidFill>
              <a:miter lim="800000"/>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729" name="Rectángulo 728">
              <a:extLst>
                <a:ext uri="{FF2B5EF4-FFF2-40B4-BE49-F238E27FC236}">
                  <a16:creationId xmlns:a16="http://schemas.microsoft.com/office/drawing/2014/main" id="{71145DD5-4632-8D58-D165-94021E487D96}"/>
                </a:ext>
              </a:extLst>
            </p:cNvPr>
            <p:cNvSpPr/>
            <p:nvPr/>
          </p:nvSpPr>
          <p:spPr bwMode="auto">
            <a:xfrm>
              <a:off x="1019614" y="1508048"/>
              <a:ext cx="50358" cy="44881"/>
            </a:xfrm>
            <a:prstGeom prst="rect">
              <a:avLst/>
            </a:prstGeom>
            <a:solidFill>
              <a:schemeClr val="bg1"/>
            </a:solidFill>
            <a:ln w="25400" cap="flat">
              <a:solidFill>
                <a:srgbClr val="000000"/>
              </a:solidFill>
              <a:miter lim="800000"/>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730" name="Rectángulo 729">
              <a:extLst>
                <a:ext uri="{FF2B5EF4-FFF2-40B4-BE49-F238E27FC236}">
                  <a16:creationId xmlns:a16="http://schemas.microsoft.com/office/drawing/2014/main" id="{7DEA0DC9-6650-9DDC-2C81-23EE3D92DAE4}"/>
                </a:ext>
              </a:extLst>
            </p:cNvPr>
            <p:cNvSpPr/>
            <p:nvPr/>
          </p:nvSpPr>
          <p:spPr bwMode="auto">
            <a:xfrm>
              <a:off x="1325775" y="1805493"/>
              <a:ext cx="50358" cy="44881"/>
            </a:xfrm>
            <a:prstGeom prst="rect">
              <a:avLst/>
            </a:prstGeom>
            <a:solidFill>
              <a:schemeClr val="bg1"/>
            </a:solidFill>
            <a:ln w="25400" cap="flat">
              <a:solidFill>
                <a:srgbClr val="000000"/>
              </a:solidFill>
              <a:miter lim="800000"/>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731" name="Rectángulo 730">
              <a:extLst>
                <a:ext uri="{FF2B5EF4-FFF2-40B4-BE49-F238E27FC236}">
                  <a16:creationId xmlns:a16="http://schemas.microsoft.com/office/drawing/2014/main" id="{FF85A330-AEC4-63A7-7BB0-89893B02D0B7}"/>
                </a:ext>
              </a:extLst>
            </p:cNvPr>
            <p:cNvSpPr/>
            <p:nvPr/>
          </p:nvSpPr>
          <p:spPr bwMode="auto">
            <a:xfrm>
              <a:off x="1204414" y="1977568"/>
              <a:ext cx="50358" cy="44881"/>
            </a:xfrm>
            <a:prstGeom prst="rect">
              <a:avLst/>
            </a:prstGeom>
            <a:solidFill>
              <a:schemeClr val="bg1"/>
            </a:solidFill>
            <a:ln w="25400" cap="flat">
              <a:solidFill>
                <a:srgbClr val="000000"/>
              </a:solidFill>
              <a:miter lim="800000"/>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732" name="Rectángulo 731">
              <a:extLst>
                <a:ext uri="{FF2B5EF4-FFF2-40B4-BE49-F238E27FC236}">
                  <a16:creationId xmlns:a16="http://schemas.microsoft.com/office/drawing/2014/main" id="{AB65F453-BA00-D0B0-00BA-995BC31E06C5}"/>
                </a:ext>
              </a:extLst>
            </p:cNvPr>
            <p:cNvSpPr/>
            <p:nvPr/>
          </p:nvSpPr>
          <p:spPr bwMode="auto">
            <a:xfrm>
              <a:off x="1069262" y="2041482"/>
              <a:ext cx="50358" cy="44881"/>
            </a:xfrm>
            <a:prstGeom prst="rect">
              <a:avLst/>
            </a:prstGeom>
            <a:solidFill>
              <a:schemeClr val="bg1"/>
            </a:solidFill>
            <a:ln w="25400" cap="flat">
              <a:solidFill>
                <a:srgbClr val="000000"/>
              </a:solidFill>
              <a:miter lim="800000"/>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733" name="Rectángulo 732">
              <a:extLst>
                <a:ext uri="{FF2B5EF4-FFF2-40B4-BE49-F238E27FC236}">
                  <a16:creationId xmlns:a16="http://schemas.microsoft.com/office/drawing/2014/main" id="{6BAF93CE-0E53-6753-6297-1838E3516CB2}"/>
                </a:ext>
              </a:extLst>
            </p:cNvPr>
            <p:cNvSpPr/>
            <p:nvPr/>
          </p:nvSpPr>
          <p:spPr bwMode="auto">
            <a:xfrm>
              <a:off x="1722957" y="1085233"/>
              <a:ext cx="50358" cy="44881"/>
            </a:xfrm>
            <a:prstGeom prst="rect">
              <a:avLst/>
            </a:prstGeom>
            <a:solidFill>
              <a:schemeClr val="bg1"/>
            </a:solidFill>
            <a:ln w="25400" cap="flat">
              <a:solidFill>
                <a:srgbClr val="000000"/>
              </a:solidFill>
              <a:miter lim="800000"/>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734" name="Rectángulo 733">
              <a:extLst>
                <a:ext uri="{FF2B5EF4-FFF2-40B4-BE49-F238E27FC236}">
                  <a16:creationId xmlns:a16="http://schemas.microsoft.com/office/drawing/2014/main" id="{BDCD7E14-04B3-12AC-DE6B-9E7C645FE534}"/>
                </a:ext>
              </a:extLst>
            </p:cNvPr>
            <p:cNvSpPr/>
            <p:nvPr/>
          </p:nvSpPr>
          <p:spPr bwMode="auto">
            <a:xfrm>
              <a:off x="1802945" y="1087692"/>
              <a:ext cx="50358" cy="44881"/>
            </a:xfrm>
            <a:prstGeom prst="rect">
              <a:avLst/>
            </a:prstGeom>
            <a:solidFill>
              <a:schemeClr val="bg1"/>
            </a:solidFill>
            <a:ln w="25400" cap="flat">
              <a:solidFill>
                <a:srgbClr val="000000"/>
              </a:solidFill>
              <a:miter lim="800000"/>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735" name="Rectángulo 734">
              <a:extLst>
                <a:ext uri="{FF2B5EF4-FFF2-40B4-BE49-F238E27FC236}">
                  <a16:creationId xmlns:a16="http://schemas.microsoft.com/office/drawing/2014/main" id="{98CB9B06-18CC-734D-5D7A-9A0BB414A9E1}"/>
                </a:ext>
              </a:extLst>
            </p:cNvPr>
            <p:cNvSpPr/>
            <p:nvPr/>
          </p:nvSpPr>
          <p:spPr bwMode="auto">
            <a:xfrm>
              <a:off x="567269" y="1127023"/>
              <a:ext cx="50358" cy="44881"/>
            </a:xfrm>
            <a:prstGeom prst="rect">
              <a:avLst/>
            </a:prstGeom>
            <a:solidFill>
              <a:schemeClr val="bg1"/>
            </a:solidFill>
            <a:ln w="25400" cap="flat">
              <a:solidFill>
                <a:srgbClr val="000000"/>
              </a:solidFill>
              <a:miter lim="800000"/>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736" name="Rectángulo 735">
              <a:extLst>
                <a:ext uri="{FF2B5EF4-FFF2-40B4-BE49-F238E27FC236}">
                  <a16:creationId xmlns:a16="http://schemas.microsoft.com/office/drawing/2014/main" id="{5D3666CE-CBE0-1068-18AC-985C0602D228}"/>
                </a:ext>
              </a:extLst>
            </p:cNvPr>
            <p:cNvSpPr/>
            <p:nvPr/>
          </p:nvSpPr>
          <p:spPr bwMode="auto">
            <a:xfrm>
              <a:off x="3066202" y="1247476"/>
              <a:ext cx="50358" cy="44881"/>
            </a:xfrm>
            <a:prstGeom prst="rect">
              <a:avLst/>
            </a:prstGeom>
            <a:solidFill>
              <a:schemeClr val="bg1"/>
            </a:solidFill>
            <a:ln w="25400" cap="flat">
              <a:solidFill>
                <a:srgbClr val="000000"/>
              </a:solidFill>
              <a:miter lim="800000"/>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494949"/>
                </a:solidFill>
                <a:effectLst/>
                <a:uLnTx/>
                <a:uFillTx/>
                <a:latin typeface="Arial" panose="020B0604020202020204"/>
                <a:ea typeface="+mn-ea"/>
                <a:cs typeface="+mn-cs"/>
              </a:endParaRPr>
            </a:p>
          </p:txBody>
        </p:sp>
      </p:grpSp>
      <p:grpSp>
        <p:nvGrpSpPr>
          <p:cNvPr id="828" name="Grupo 827">
            <a:extLst>
              <a:ext uri="{FF2B5EF4-FFF2-40B4-BE49-F238E27FC236}">
                <a16:creationId xmlns:a16="http://schemas.microsoft.com/office/drawing/2014/main" id="{CEB4C429-B5C6-0B0B-1C3E-31F7FEB6B046}"/>
              </a:ext>
            </a:extLst>
          </p:cNvPr>
          <p:cNvGrpSpPr/>
          <p:nvPr/>
        </p:nvGrpSpPr>
        <p:grpSpPr>
          <a:xfrm>
            <a:off x="10547506" y="228976"/>
            <a:ext cx="1386248" cy="1395931"/>
            <a:chOff x="10547506" y="219832"/>
            <a:chExt cx="1386248" cy="1395931"/>
          </a:xfrm>
        </p:grpSpPr>
        <p:sp>
          <p:nvSpPr>
            <p:cNvPr id="741" name="Rectángulo 740">
              <a:extLst>
                <a:ext uri="{FF2B5EF4-FFF2-40B4-BE49-F238E27FC236}">
                  <a16:creationId xmlns:a16="http://schemas.microsoft.com/office/drawing/2014/main" id="{B047B2BC-FDE0-8B1B-0A02-6AEA89CB4F7C}"/>
                </a:ext>
              </a:extLst>
            </p:cNvPr>
            <p:cNvSpPr/>
            <p:nvPr/>
          </p:nvSpPr>
          <p:spPr bwMode="auto">
            <a:xfrm>
              <a:off x="10547506" y="219832"/>
              <a:ext cx="1386248" cy="1395931"/>
            </a:xfrm>
            <a:prstGeom prst="rect">
              <a:avLst/>
            </a:prstGeom>
            <a:solidFill>
              <a:schemeClr val="bg1"/>
            </a:solidFill>
            <a:ln w="38100" cap="flat">
              <a:solidFill>
                <a:schemeClr val="tx2">
                  <a:lumMod val="65000"/>
                  <a:lumOff val="35000"/>
                </a:schemeClr>
              </a:solidFill>
              <a:miter lim="800000"/>
            </a:ln>
          </p:spPr>
          <p:txBody>
            <a:bodyPr lIns="144000" tIns="0" rIns="0" bIns="108000"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742" name="Agrupar 92">
              <a:extLst>
                <a:ext uri="{FF2B5EF4-FFF2-40B4-BE49-F238E27FC236}">
                  <a16:creationId xmlns:a16="http://schemas.microsoft.com/office/drawing/2014/main" id="{AD9697FA-DDC2-4C6A-E729-261233FA8B85}"/>
                </a:ext>
              </a:extLst>
            </p:cNvPr>
            <p:cNvGrpSpPr/>
            <p:nvPr/>
          </p:nvGrpSpPr>
          <p:grpSpPr>
            <a:xfrm>
              <a:off x="10600872" y="924786"/>
              <a:ext cx="1279516" cy="579552"/>
              <a:chOff x="319885" y="5217091"/>
              <a:chExt cx="1881866" cy="874736"/>
            </a:xfrm>
          </p:grpSpPr>
          <p:sp>
            <p:nvSpPr>
              <p:cNvPr id="744" name="CuadroTexto 743">
                <a:extLst>
                  <a:ext uri="{FF2B5EF4-FFF2-40B4-BE49-F238E27FC236}">
                    <a16:creationId xmlns:a16="http://schemas.microsoft.com/office/drawing/2014/main" id="{5DC6FFED-DFFC-BCB3-9BDE-C4E7E368CAE4}"/>
                  </a:ext>
                </a:extLst>
              </p:cNvPr>
              <p:cNvSpPr txBox="1"/>
              <p:nvPr/>
            </p:nvSpPr>
            <p:spPr>
              <a:xfrm>
                <a:off x="502544" y="5217091"/>
                <a:ext cx="1516546" cy="64122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494949"/>
                    </a:solidFill>
                    <a:effectLst/>
                    <a:uLnTx/>
                    <a:uFillTx/>
                    <a:latin typeface="Arial" panose="020B0604020202020204"/>
                    <a:ea typeface="+mn-ea"/>
                    <a:cs typeface="+mn-cs"/>
                  </a:rPr>
                  <a:t>1,800+</a:t>
                </a:r>
              </a:p>
            </p:txBody>
          </p:sp>
          <p:sp>
            <p:nvSpPr>
              <p:cNvPr id="745" name="CuadroTexto 744">
                <a:extLst>
                  <a:ext uri="{FF2B5EF4-FFF2-40B4-BE49-F238E27FC236}">
                    <a16:creationId xmlns:a16="http://schemas.microsoft.com/office/drawing/2014/main" id="{B1DD2355-1880-7E56-F845-B70AC45CDE5B}"/>
                  </a:ext>
                </a:extLst>
              </p:cNvPr>
              <p:cNvSpPr txBox="1"/>
              <p:nvPr/>
            </p:nvSpPr>
            <p:spPr>
              <a:xfrm>
                <a:off x="319885" y="5720198"/>
                <a:ext cx="1881866" cy="37162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29A8C5"/>
                    </a:solidFill>
                    <a:effectLst/>
                    <a:uLnTx/>
                    <a:uFillTx/>
                    <a:latin typeface="Arial" panose="020B0604020202020204"/>
                    <a:ea typeface="+mn-ea"/>
                    <a:cs typeface="+mn-cs"/>
                  </a:rPr>
                  <a:t>PROFESSIONALS</a:t>
                </a:r>
              </a:p>
            </p:txBody>
          </p:sp>
        </p:grpSp>
        <p:sp>
          <p:nvSpPr>
            <p:cNvPr id="743" name="Forma libre 55">
              <a:extLst>
                <a:ext uri="{FF2B5EF4-FFF2-40B4-BE49-F238E27FC236}">
                  <a16:creationId xmlns:a16="http://schemas.microsoft.com/office/drawing/2014/main" id="{446402F9-1A31-143C-6BBB-5174AF8894C0}"/>
                </a:ext>
              </a:extLst>
            </p:cNvPr>
            <p:cNvSpPr/>
            <p:nvPr/>
          </p:nvSpPr>
          <p:spPr>
            <a:xfrm>
              <a:off x="11014275" y="367849"/>
              <a:ext cx="452710" cy="443980"/>
            </a:xfrm>
            <a:custGeom>
              <a:avLst/>
              <a:gdLst>
                <a:gd name="connsiteX0" fmla="*/ 663251 w 865110"/>
                <a:gd name="connsiteY0" fmla="*/ 807436 h 865111"/>
                <a:gd name="connsiteX1" fmla="*/ 692088 w 865110"/>
                <a:gd name="connsiteY1" fmla="*/ 807436 h 865111"/>
                <a:gd name="connsiteX2" fmla="*/ 692088 w 865110"/>
                <a:gd name="connsiteY2" fmla="*/ 865110 h 865111"/>
                <a:gd name="connsiteX3" fmla="*/ 663251 w 865110"/>
                <a:gd name="connsiteY3" fmla="*/ 865110 h 865111"/>
                <a:gd name="connsiteX4" fmla="*/ 173022 w 865110"/>
                <a:gd name="connsiteY4" fmla="*/ 807436 h 865111"/>
                <a:gd name="connsiteX5" fmla="*/ 201859 w 865110"/>
                <a:gd name="connsiteY5" fmla="*/ 807436 h 865111"/>
                <a:gd name="connsiteX6" fmla="*/ 201859 w 865110"/>
                <a:gd name="connsiteY6" fmla="*/ 865110 h 865111"/>
                <a:gd name="connsiteX7" fmla="*/ 173022 w 865110"/>
                <a:gd name="connsiteY7" fmla="*/ 865110 h 865111"/>
                <a:gd name="connsiteX8" fmla="*/ 418137 w 865110"/>
                <a:gd name="connsiteY8" fmla="*/ 749762 h 865111"/>
                <a:gd name="connsiteX9" fmla="*/ 446974 w 865110"/>
                <a:gd name="connsiteY9" fmla="*/ 749762 h 865111"/>
                <a:gd name="connsiteX10" fmla="*/ 446974 w 865110"/>
                <a:gd name="connsiteY10" fmla="*/ 865110 h 865111"/>
                <a:gd name="connsiteX11" fmla="*/ 418137 w 865110"/>
                <a:gd name="connsiteY11" fmla="*/ 865110 h 865111"/>
                <a:gd name="connsiteX12" fmla="*/ 374881 w 865110"/>
                <a:gd name="connsiteY12" fmla="*/ 418136 h 865111"/>
                <a:gd name="connsiteX13" fmla="*/ 490229 w 865110"/>
                <a:gd name="connsiteY13" fmla="*/ 418136 h 865111"/>
                <a:gd name="connsiteX14" fmla="*/ 563273 w 865110"/>
                <a:gd name="connsiteY14" fmla="*/ 440716 h 865111"/>
                <a:gd name="connsiteX15" fmla="*/ 599100 w 865110"/>
                <a:gd name="connsiteY15" fmla="*/ 477698 h 865111"/>
                <a:gd name="connsiteX16" fmla="*/ 619996 w 865110"/>
                <a:gd name="connsiteY16" fmla="*/ 475810 h 865111"/>
                <a:gd name="connsiteX17" fmla="*/ 735344 w 865110"/>
                <a:gd name="connsiteY17" fmla="*/ 475810 h 865111"/>
                <a:gd name="connsiteX18" fmla="*/ 808388 w 865110"/>
                <a:gd name="connsiteY18" fmla="*/ 498390 h 865111"/>
                <a:gd name="connsiteX19" fmla="*/ 865110 w 865110"/>
                <a:gd name="connsiteY19" fmla="*/ 605577 h 865111"/>
                <a:gd name="connsiteX20" fmla="*/ 865110 w 865110"/>
                <a:gd name="connsiteY20" fmla="*/ 692088 h 865111"/>
                <a:gd name="connsiteX21" fmla="*/ 806151 w 865110"/>
                <a:gd name="connsiteY21" fmla="*/ 783815 h 865111"/>
                <a:gd name="connsiteX22" fmla="*/ 778599 w 865110"/>
                <a:gd name="connsiteY22" fmla="*/ 791892 h 865111"/>
                <a:gd name="connsiteX23" fmla="*/ 778599 w 865110"/>
                <a:gd name="connsiteY23" fmla="*/ 865111 h 865111"/>
                <a:gd name="connsiteX24" fmla="*/ 749762 w 865110"/>
                <a:gd name="connsiteY24" fmla="*/ 865111 h 865111"/>
                <a:gd name="connsiteX25" fmla="*/ 749762 w 865110"/>
                <a:gd name="connsiteY25" fmla="*/ 562321 h 865111"/>
                <a:gd name="connsiteX26" fmla="*/ 778599 w 865110"/>
                <a:gd name="connsiteY26" fmla="*/ 562321 h 865111"/>
                <a:gd name="connsiteX27" fmla="*/ 778599 w 865110"/>
                <a:gd name="connsiteY27" fmla="*/ 762740 h 865111"/>
                <a:gd name="connsiteX28" fmla="*/ 794054 w 865110"/>
                <a:gd name="connsiteY28" fmla="*/ 757637 h 865111"/>
                <a:gd name="connsiteX29" fmla="*/ 836273 w 865110"/>
                <a:gd name="connsiteY29" fmla="*/ 692088 h 865111"/>
                <a:gd name="connsiteX30" fmla="*/ 836273 w 865110"/>
                <a:gd name="connsiteY30" fmla="*/ 605577 h 865111"/>
                <a:gd name="connsiteX31" fmla="*/ 792111 w 865110"/>
                <a:gd name="connsiteY31" fmla="*/ 522175 h 865111"/>
                <a:gd name="connsiteX32" fmla="*/ 735344 w 865110"/>
                <a:gd name="connsiteY32" fmla="*/ 504647 h 865111"/>
                <a:gd name="connsiteX33" fmla="*/ 619996 w 865110"/>
                <a:gd name="connsiteY33" fmla="*/ 504647 h 865111"/>
                <a:gd name="connsiteX34" fmla="*/ 612538 w 865110"/>
                <a:gd name="connsiteY34" fmla="*/ 505093 h 865111"/>
                <a:gd name="connsiteX35" fmla="*/ 619996 w 865110"/>
                <a:gd name="connsiteY35" fmla="*/ 547903 h 865111"/>
                <a:gd name="connsiteX36" fmla="*/ 619996 w 865110"/>
                <a:gd name="connsiteY36" fmla="*/ 663251 h 865111"/>
                <a:gd name="connsiteX37" fmla="*/ 605577 w 865110"/>
                <a:gd name="connsiteY37" fmla="*/ 714708 h 865111"/>
                <a:gd name="connsiteX38" fmla="*/ 605577 w 865110"/>
                <a:gd name="connsiteY38" fmla="*/ 865111 h 865111"/>
                <a:gd name="connsiteX39" fmla="*/ 576740 w 865110"/>
                <a:gd name="connsiteY39" fmla="*/ 865111 h 865111"/>
                <a:gd name="connsiteX40" fmla="*/ 576740 w 865110"/>
                <a:gd name="connsiteY40" fmla="*/ 745842 h 865111"/>
                <a:gd name="connsiteX41" fmla="*/ 561037 w 865110"/>
                <a:gd name="connsiteY41" fmla="*/ 754978 h 865111"/>
                <a:gd name="connsiteX42" fmla="*/ 533485 w 865110"/>
                <a:gd name="connsiteY42" fmla="*/ 763055 h 865111"/>
                <a:gd name="connsiteX43" fmla="*/ 533485 w 865110"/>
                <a:gd name="connsiteY43" fmla="*/ 865111 h 865111"/>
                <a:gd name="connsiteX44" fmla="*/ 504648 w 865110"/>
                <a:gd name="connsiteY44" fmla="*/ 865111 h 865111"/>
                <a:gd name="connsiteX45" fmla="*/ 504648 w 865110"/>
                <a:gd name="connsiteY45" fmla="*/ 504647 h 865111"/>
                <a:gd name="connsiteX46" fmla="*/ 533485 w 865110"/>
                <a:gd name="connsiteY46" fmla="*/ 504647 h 865111"/>
                <a:gd name="connsiteX47" fmla="*/ 533485 w 865110"/>
                <a:gd name="connsiteY47" fmla="*/ 733902 h 865111"/>
                <a:gd name="connsiteX48" fmla="*/ 548940 w 865110"/>
                <a:gd name="connsiteY48" fmla="*/ 728799 h 865111"/>
                <a:gd name="connsiteX49" fmla="*/ 591159 w 865110"/>
                <a:gd name="connsiteY49" fmla="*/ 663251 h 865111"/>
                <a:gd name="connsiteX50" fmla="*/ 591159 w 865110"/>
                <a:gd name="connsiteY50" fmla="*/ 547903 h 865111"/>
                <a:gd name="connsiteX51" fmla="*/ 546996 w 865110"/>
                <a:gd name="connsiteY51" fmla="*/ 464501 h 865111"/>
                <a:gd name="connsiteX52" fmla="*/ 490229 w 865110"/>
                <a:gd name="connsiteY52" fmla="*/ 446973 h 865111"/>
                <a:gd name="connsiteX53" fmla="*/ 374881 w 865110"/>
                <a:gd name="connsiteY53" fmla="*/ 446973 h 865111"/>
                <a:gd name="connsiteX54" fmla="*/ 273952 w 865110"/>
                <a:gd name="connsiteY54" fmla="*/ 547903 h 865111"/>
                <a:gd name="connsiteX55" fmla="*/ 273952 w 865110"/>
                <a:gd name="connsiteY55" fmla="*/ 663251 h 865111"/>
                <a:gd name="connsiteX56" fmla="*/ 331626 w 865110"/>
                <a:gd name="connsiteY56" fmla="*/ 733902 h 865111"/>
                <a:gd name="connsiteX57" fmla="*/ 331626 w 865110"/>
                <a:gd name="connsiteY57" fmla="*/ 504647 h 865111"/>
                <a:gd name="connsiteX58" fmla="*/ 360463 w 865110"/>
                <a:gd name="connsiteY58" fmla="*/ 504647 h 865111"/>
                <a:gd name="connsiteX59" fmla="*/ 360463 w 865110"/>
                <a:gd name="connsiteY59" fmla="*/ 865111 h 865111"/>
                <a:gd name="connsiteX60" fmla="*/ 331626 w 865110"/>
                <a:gd name="connsiteY60" fmla="*/ 865111 h 865111"/>
                <a:gd name="connsiteX61" fmla="*/ 331626 w 865110"/>
                <a:gd name="connsiteY61" fmla="*/ 763026 h 865111"/>
                <a:gd name="connsiteX62" fmla="*/ 288370 w 865110"/>
                <a:gd name="connsiteY62" fmla="*/ 745954 h 865111"/>
                <a:gd name="connsiteX63" fmla="*/ 288370 w 865110"/>
                <a:gd name="connsiteY63" fmla="*/ 865111 h 865111"/>
                <a:gd name="connsiteX64" fmla="*/ 259533 w 865110"/>
                <a:gd name="connsiteY64" fmla="*/ 865111 h 865111"/>
                <a:gd name="connsiteX65" fmla="*/ 259533 w 865110"/>
                <a:gd name="connsiteY65" fmla="*/ 714966 h 865111"/>
                <a:gd name="connsiteX66" fmla="*/ 245115 w 865110"/>
                <a:gd name="connsiteY66" fmla="*/ 663251 h 865111"/>
                <a:gd name="connsiteX67" fmla="*/ 245115 w 865110"/>
                <a:gd name="connsiteY67" fmla="*/ 547903 h 865111"/>
                <a:gd name="connsiteX68" fmla="*/ 252527 w 865110"/>
                <a:gd name="connsiteY68" fmla="*/ 505093 h 865111"/>
                <a:gd name="connsiteX69" fmla="*/ 245115 w 865110"/>
                <a:gd name="connsiteY69" fmla="*/ 504647 h 865111"/>
                <a:gd name="connsiteX70" fmla="*/ 129767 w 865110"/>
                <a:gd name="connsiteY70" fmla="*/ 504647 h 865111"/>
                <a:gd name="connsiteX71" fmla="*/ 73044 w 865110"/>
                <a:gd name="connsiteY71" fmla="*/ 522153 h 865111"/>
                <a:gd name="connsiteX72" fmla="*/ 28837 w 865110"/>
                <a:gd name="connsiteY72" fmla="*/ 605577 h 865111"/>
                <a:gd name="connsiteX73" fmla="*/ 28837 w 865110"/>
                <a:gd name="connsiteY73" fmla="*/ 692088 h 865111"/>
                <a:gd name="connsiteX74" fmla="*/ 70808 w 865110"/>
                <a:gd name="connsiteY74" fmla="*/ 757563 h 865111"/>
                <a:gd name="connsiteX75" fmla="*/ 86511 w 865110"/>
                <a:gd name="connsiteY75" fmla="*/ 762740 h 865111"/>
                <a:gd name="connsiteX76" fmla="*/ 86511 w 865110"/>
                <a:gd name="connsiteY76" fmla="*/ 562321 h 865111"/>
                <a:gd name="connsiteX77" fmla="*/ 115348 w 865110"/>
                <a:gd name="connsiteY77" fmla="*/ 562321 h 865111"/>
                <a:gd name="connsiteX78" fmla="*/ 115348 w 865110"/>
                <a:gd name="connsiteY78" fmla="*/ 865111 h 865111"/>
                <a:gd name="connsiteX79" fmla="*/ 86511 w 865110"/>
                <a:gd name="connsiteY79" fmla="*/ 865111 h 865111"/>
                <a:gd name="connsiteX80" fmla="*/ 86511 w 865110"/>
                <a:gd name="connsiteY80" fmla="*/ 791892 h 865111"/>
                <a:gd name="connsiteX81" fmla="*/ 58710 w 865110"/>
                <a:gd name="connsiteY81" fmla="*/ 783703 h 865111"/>
                <a:gd name="connsiteX82" fmla="*/ 0 w 865110"/>
                <a:gd name="connsiteY82" fmla="*/ 692088 h 865111"/>
                <a:gd name="connsiteX83" fmla="*/ 0 w 865110"/>
                <a:gd name="connsiteY83" fmla="*/ 605577 h 865111"/>
                <a:gd name="connsiteX84" fmla="*/ 56767 w 865110"/>
                <a:gd name="connsiteY84" fmla="*/ 498362 h 865111"/>
                <a:gd name="connsiteX85" fmla="*/ 129767 w 865110"/>
                <a:gd name="connsiteY85" fmla="*/ 475810 h 865111"/>
                <a:gd name="connsiteX86" fmla="*/ 245115 w 865110"/>
                <a:gd name="connsiteY86" fmla="*/ 475810 h 865111"/>
                <a:gd name="connsiteX87" fmla="*/ 265920 w 865110"/>
                <a:gd name="connsiteY87" fmla="*/ 477681 h 865111"/>
                <a:gd name="connsiteX88" fmla="*/ 374881 w 865110"/>
                <a:gd name="connsiteY88" fmla="*/ 418136 h 865111"/>
                <a:gd name="connsiteX89" fmla="*/ 677670 w 865110"/>
                <a:gd name="connsiteY89" fmla="*/ 317207 h 865111"/>
                <a:gd name="connsiteX90" fmla="*/ 619996 w 865110"/>
                <a:gd name="connsiteY90" fmla="*/ 374881 h 865111"/>
                <a:gd name="connsiteX91" fmla="*/ 677670 w 865110"/>
                <a:gd name="connsiteY91" fmla="*/ 432555 h 865111"/>
                <a:gd name="connsiteX92" fmla="*/ 735344 w 865110"/>
                <a:gd name="connsiteY92" fmla="*/ 374881 h 865111"/>
                <a:gd name="connsiteX93" fmla="*/ 677670 w 865110"/>
                <a:gd name="connsiteY93" fmla="*/ 317207 h 865111"/>
                <a:gd name="connsiteX94" fmla="*/ 187441 w 865110"/>
                <a:gd name="connsiteY94" fmla="*/ 317207 h 865111"/>
                <a:gd name="connsiteX95" fmla="*/ 129767 w 865110"/>
                <a:gd name="connsiteY95" fmla="*/ 374881 h 865111"/>
                <a:gd name="connsiteX96" fmla="*/ 187441 w 865110"/>
                <a:gd name="connsiteY96" fmla="*/ 432555 h 865111"/>
                <a:gd name="connsiteX97" fmla="*/ 245115 w 865110"/>
                <a:gd name="connsiteY97" fmla="*/ 374881 h 865111"/>
                <a:gd name="connsiteX98" fmla="*/ 187441 w 865110"/>
                <a:gd name="connsiteY98" fmla="*/ 317207 h 865111"/>
                <a:gd name="connsiteX99" fmla="*/ 677670 w 865110"/>
                <a:gd name="connsiteY99" fmla="*/ 288370 h 865111"/>
                <a:gd name="connsiteX100" fmla="*/ 764181 w 865110"/>
                <a:gd name="connsiteY100" fmla="*/ 374881 h 865111"/>
                <a:gd name="connsiteX101" fmla="*/ 677670 w 865110"/>
                <a:gd name="connsiteY101" fmla="*/ 461392 h 865111"/>
                <a:gd name="connsiteX102" fmla="*/ 591159 w 865110"/>
                <a:gd name="connsiteY102" fmla="*/ 374881 h 865111"/>
                <a:gd name="connsiteX103" fmla="*/ 677670 w 865110"/>
                <a:gd name="connsiteY103" fmla="*/ 288370 h 865111"/>
                <a:gd name="connsiteX104" fmla="*/ 187441 w 865110"/>
                <a:gd name="connsiteY104" fmla="*/ 288370 h 865111"/>
                <a:gd name="connsiteX105" fmla="*/ 273952 w 865110"/>
                <a:gd name="connsiteY105" fmla="*/ 374881 h 865111"/>
                <a:gd name="connsiteX106" fmla="*/ 187441 w 865110"/>
                <a:gd name="connsiteY106" fmla="*/ 461392 h 865111"/>
                <a:gd name="connsiteX107" fmla="*/ 100930 w 865110"/>
                <a:gd name="connsiteY107" fmla="*/ 374881 h 865111"/>
                <a:gd name="connsiteX108" fmla="*/ 187441 w 865110"/>
                <a:gd name="connsiteY108" fmla="*/ 288370 h 865111"/>
                <a:gd name="connsiteX109" fmla="*/ 432555 w 865110"/>
                <a:gd name="connsiteY109" fmla="*/ 259533 h 865111"/>
                <a:gd name="connsiteX110" fmla="*/ 374881 w 865110"/>
                <a:gd name="connsiteY110" fmla="*/ 317207 h 865111"/>
                <a:gd name="connsiteX111" fmla="*/ 432555 w 865110"/>
                <a:gd name="connsiteY111" fmla="*/ 374881 h 865111"/>
                <a:gd name="connsiteX112" fmla="*/ 490229 w 865110"/>
                <a:gd name="connsiteY112" fmla="*/ 317207 h 865111"/>
                <a:gd name="connsiteX113" fmla="*/ 432555 w 865110"/>
                <a:gd name="connsiteY113" fmla="*/ 259533 h 865111"/>
                <a:gd name="connsiteX114" fmla="*/ 432555 w 865110"/>
                <a:gd name="connsiteY114" fmla="*/ 230696 h 865111"/>
                <a:gd name="connsiteX115" fmla="*/ 519066 w 865110"/>
                <a:gd name="connsiteY115" fmla="*/ 317207 h 865111"/>
                <a:gd name="connsiteX116" fmla="*/ 432555 w 865110"/>
                <a:gd name="connsiteY116" fmla="*/ 403718 h 865111"/>
                <a:gd name="connsiteX117" fmla="*/ 346044 w 865110"/>
                <a:gd name="connsiteY117" fmla="*/ 317207 h 865111"/>
                <a:gd name="connsiteX118" fmla="*/ 432555 w 865110"/>
                <a:gd name="connsiteY118" fmla="*/ 230696 h 865111"/>
                <a:gd name="connsiteX119" fmla="*/ 591159 w 865110"/>
                <a:gd name="connsiteY119" fmla="*/ 144185 h 865111"/>
                <a:gd name="connsiteX120" fmla="*/ 533485 w 865110"/>
                <a:gd name="connsiteY120" fmla="*/ 201859 h 865111"/>
                <a:gd name="connsiteX121" fmla="*/ 591159 w 865110"/>
                <a:gd name="connsiteY121" fmla="*/ 259533 h 865111"/>
                <a:gd name="connsiteX122" fmla="*/ 648833 w 865110"/>
                <a:gd name="connsiteY122" fmla="*/ 201859 h 865111"/>
                <a:gd name="connsiteX123" fmla="*/ 591159 w 865110"/>
                <a:gd name="connsiteY123" fmla="*/ 144185 h 865111"/>
                <a:gd name="connsiteX124" fmla="*/ 273952 w 865110"/>
                <a:gd name="connsiteY124" fmla="*/ 144185 h 865111"/>
                <a:gd name="connsiteX125" fmla="*/ 216278 w 865110"/>
                <a:gd name="connsiteY125" fmla="*/ 201859 h 865111"/>
                <a:gd name="connsiteX126" fmla="*/ 273952 w 865110"/>
                <a:gd name="connsiteY126" fmla="*/ 259533 h 865111"/>
                <a:gd name="connsiteX127" fmla="*/ 331626 w 865110"/>
                <a:gd name="connsiteY127" fmla="*/ 201859 h 865111"/>
                <a:gd name="connsiteX128" fmla="*/ 273952 w 865110"/>
                <a:gd name="connsiteY128" fmla="*/ 144185 h 865111"/>
                <a:gd name="connsiteX129" fmla="*/ 591159 w 865110"/>
                <a:gd name="connsiteY129" fmla="*/ 115348 h 865111"/>
                <a:gd name="connsiteX130" fmla="*/ 677670 w 865110"/>
                <a:gd name="connsiteY130" fmla="*/ 201859 h 865111"/>
                <a:gd name="connsiteX131" fmla="*/ 591159 w 865110"/>
                <a:gd name="connsiteY131" fmla="*/ 288370 h 865111"/>
                <a:gd name="connsiteX132" fmla="*/ 504648 w 865110"/>
                <a:gd name="connsiteY132" fmla="*/ 201859 h 865111"/>
                <a:gd name="connsiteX133" fmla="*/ 591159 w 865110"/>
                <a:gd name="connsiteY133" fmla="*/ 115348 h 865111"/>
                <a:gd name="connsiteX134" fmla="*/ 273952 w 865110"/>
                <a:gd name="connsiteY134" fmla="*/ 115348 h 865111"/>
                <a:gd name="connsiteX135" fmla="*/ 360463 w 865110"/>
                <a:gd name="connsiteY135" fmla="*/ 201859 h 865111"/>
                <a:gd name="connsiteX136" fmla="*/ 273952 w 865110"/>
                <a:gd name="connsiteY136" fmla="*/ 288370 h 865111"/>
                <a:gd name="connsiteX137" fmla="*/ 187441 w 865110"/>
                <a:gd name="connsiteY137" fmla="*/ 201859 h 865111"/>
                <a:gd name="connsiteX138" fmla="*/ 273952 w 865110"/>
                <a:gd name="connsiteY138" fmla="*/ 115348 h 865111"/>
                <a:gd name="connsiteX139" fmla="*/ 432555 w 865110"/>
                <a:gd name="connsiteY139" fmla="*/ 28837 h 865111"/>
                <a:gd name="connsiteX140" fmla="*/ 374881 w 865110"/>
                <a:gd name="connsiteY140" fmla="*/ 86511 h 865111"/>
                <a:gd name="connsiteX141" fmla="*/ 432555 w 865110"/>
                <a:gd name="connsiteY141" fmla="*/ 144185 h 865111"/>
                <a:gd name="connsiteX142" fmla="*/ 490229 w 865110"/>
                <a:gd name="connsiteY142" fmla="*/ 86511 h 865111"/>
                <a:gd name="connsiteX143" fmla="*/ 432555 w 865110"/>
                <a:gd name="connsiteY143" fmla="*/ 28837 h 865111"/>
                <a:gd name="connsiteX144" fmla="*/ 432555 w 865110"/>
                <a:gd name="connsiteY144" fmla="*/ 0 h 865111"/>
                <a:gd name="connsiteX145" fmla="*/ 519066 w 865110"/>
                <a:gd name="connsiteY145" fmla="*/ 86511 h 865111"/>
                <a:gd name="connsiteX146" fmla="*/ 432555 w 865110"/>
                <a:gd name="connsiteY146" fmla="*/ 173022 h 865111"/>
                <a:gd name="connsiteX147" fmla="*/ 346044 w 865110"/>
                <a:gd name="connsiteY147" fmla="*/ 86511 h 865111"/>
                <a:gd name="connsiteX148" fmla="*/ 432555 w 865110"/>
                <a:gd name="connsiteY148" fmla="*/ 0 h 86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865110" h="865111">
                  <a:moveTo>
                    <a:pt x="663251" y="807436"/>
                  </a:moveTo>
                  <a:lnTo>
                    <a:pt x="692088" y="807436"/>
                  </a:lnTo>
                  <a:lnTo>
                    <a:pt x="692088" y="865110"/>
                  </a:lnTo>
                  <a:lnTo>
                    <a:pt x="663251" y="865110"/>
                  </a:lnTo>
                  <a:close/>
                  <a:moveTo>
                    <a:pt x="173022" y="807436"/>
                  </a:moveTo>
                  <a:lnTo>
                    <a:pt x="201859" y="807436"/>
                  </a:lnTo>
                  <a:lnTo>
                    <a:pt x="201859" y="865110"/>
                  </a:lnTo>
                  <a:lnTo>
                    <a:pt x="173022" y="865110"/>
                  </a:lnTo>
                  <a:close/>
                  <a:moveTo>
                    <a:pt x="418137" y="749762"/>
                  </a:moveTo>
                  <a:lnTo>
                    <a:pt x="446974" y="749762"/>
                  </a:lnTo>
                  <a:lnTo>
                    <a:pt x="446974" y="865110"/>
                  </a:lnTo>
                  <a:lnTo>
                    <a:pt x="418137" y="865110"/>
                  </a:lnTo>
                  <a:close/>
                  <a:moveTo>
                    <a:pt x="374881" y="418136"/>
                  </a:moveTo>
                  <a:lnTo>
                    <a:pt x="490229" y="418136"/>
                  </a:lnTo>
                  <a:cubicBezTo>
                    <a:pt x="516306" y="418069"/>
                    <a:pt x="541787" y="425943"/>
                    <a:pt x="563273" y="440716"/>
                  </a:cubicBezTo>
                  <a:cubicBezTo>
                    <a:pt x="577562" y="450528"/>
                    <a:pt x="589746" y="463105"/>
                    <a:pt x="599100" y="477698"/>
                  </a:cubicBezTo>
                  <a:cubicBezTo>
                    <a:pt x="606005" y="476508"/>
                    <a:pt x="612990" y="475872"/>
                    <a:pt x="619996" y="475810"/>
                  </a:cubicBezTo>
                  <a:lnTo>
                    <a:pt x="735344" y="475810"/>
                  </a:lnTo>
                  <a:cubicBezTo>
                    <a:pt x="761421" y="475743"/>
                    <a:pt x="786901" y="483617"/>
                    <a:pt x="808388" y="498390"/>
                  </a:cubicBezTo>
                  <a:cubicBezTo>
                    <a:pt x="843854" y="522547"/>
                    <a:pt x="865087" y="562665"/>
                    <a:pt x="865110" y="605577"/>
                  </a:cubicBezTo>
                  <a:lnTo>
                    <a:pt x="865110" y="692088"/>
                  </a:lnTo>
                  <a:cubicBezTo>
                    <a:pt x="865054" y="731559"/>
                    <a:pt x="842029" y="767381"/>
                    <a:pt x="806151" y="783815"/>
                  </a:cubicBezTo>
                  <a:cubicBezTo>
                    <a:pt x="797432" y="787887"/>
                    <a:pt x="788140" y="790608"/>
                    <a:pt x="778599" y="791892"/>
                  </a:cubicBezTo>
                  <a:lnTo>
                    <a:pt x="778599" y="865111"/>
                  </a:lnTo>
                  <a:lnTo>
                    <a:pt x="749762" y="865111"/>
                  </a:lnTo>
                  <a:lnTo>
                    <a:pt x="749762" y="562321"/>
                  </a:lnTo>
                  <a:lnTo>
                    <a:pt x="778599" y="562321"/>
                  </a:lnTo>
                  <a:lnTo>
                    <a:pt x="778599" y="762740"/>
                  </a:lnTo>
                  <a:cubicBezTo>
                    <a:pt x="783944" y="761676"/>
                    <a:pt x="789132" y="759963"/>
                    <a:pt x="794054" y="757637"/>
                  </a:cubicBezTo>
                  <a:cubicBezTo>
                    <a:pt x="819725" y="745921"/>
                    <a:pt x="836223" y="720311"/>
                    <a:pt x="836273" y="692088"/>
                  </a:cubicBezTo>
                  <a:lnTo>
                    <a:pt x="836273" y="605577"/>
                  </a:lnTo>
                  <a:cubicBezTo>
                    <a:pt x="836240" y="572184"/>
                    <a:pt x="819709" y="540975"/>
                    <a:pt x="792111" y="522175"/>
                  </a:cubicBezTo>
                  <a:cubicBezTo>
                    <a:pt x="775411" y="510708"/>
                    <a:pt x="755609" y="504591"/>
                    <a:pt x="735344" y="504647"/>
                  </a:cubicBezTo>
                  <a:lnTo>
                    <a:pt x="619996" y="504647"/>
                  </a:lnTo>
                  <a:cubicBezTo>
                    <a:pt x="617472" y="504647"/>
                    <a:pt x="615017" y="504923"/>
                    <a:pt x="612538" y="505093"/>
                  </a:cubicBezTo>
                  <a:cubicBezTo>
                    <a:pt x="617416" y="518841"/>
                    <a:pt x="619939" y="533316"/>
                    <a:pt x="619996" y="547903"/>
                  </a:cubicBezTo>
                  <a:lnTo>
                    <a:pt x="619996" y="663251"/>
                  </a:lnTo>
                  <a:cubicBezTo>
                    <a:pt x="619984" y="681398"/>
                    <a:pt x="614988" y="699196"/>
                    <a:pt x="605577" y="714708"/>
                  </a:cubicBezTo>
                  <a:lnTo>
                    <a:pt x="605577" y="865111"/>
                  </a:lnTo>
                  <a:lnTo>
                    <a:pt x="576740" y="865111"/>
                  </a:lnTo>
                  <a:lnTo>
                    <a:pt x="576740" y="745842"/>
                  </a:lnTo>
                  <a:cubicBezTo>
                    <a:pt x="571794" y="749369"/>
                    <a:pt x="566546" y="752433"/>
                    <a:pt x="561037" y="754978"/>
                  </a:cubicBezTo>
                  <a:cubicBezTo>
                    <a:pt x="552318" y="759050"/>
                    <a:pt x="543025" y="761771"/>
                    <a:pt x="533485" y="763055"/>
                  </a:cubicBezTo>
                  <a:lnTo>
                    <a:pt x="533485" y="865111"/>
                  </a:lnTo>
                  <a:lnTo>
                    <a:pt x="504648" y="865111"/>
                  </a:lnTo>
                  <a:lnTo>
                    <a:pt x="504648" y="504647"/>
                  </a:lnTo>
                  <a:lnTo>
                    <a:pt x="533485" y="504647"/>
                  </a:lnTo>
                  <a:lnTo>
                    <a:pt x="533485" y="733902"/>
                  </a:lnTo>
                  <a:cubicBezTo>
                    <a:pt x="538829" y="732838"/>
                    <a:pt x="544017" y="731125"/>
                    <a:pt x="548940" y="728799"/>
                  </a:cubicBezTo>
                  <a:cubicBezTo>
                    <a:pt x="574610" y="717084"/>
                    <a:pt x="591108" y="691474"/>
                    <a:pt x="591159" y="663251"/>
                  </a:cubicBezTo>
                  <a:lnTo>
                    <a:pt x="591159" y="547903"/>
                  </a:lnTo>
                  <a:cubicBezTo>
                    <a:pt x="591125" y="514510"/>
                    <a:pt x="574595" y="483301"/>
                    <a:pt x="546996" y="464501"/>
                  </a:cubicBezTo>
                  <a:cubicBezTo>
                    <a:pt x="530297" y="453034"/>
                    <a:pt x="510494" y="446917"/>
                    <a:pt x="490229" y="446973"/>
                  </a:cubicBezTo>
                  <a:lnTo>
                    <a:pt x="374881" y="446973"/>
                  </a:lnTo>
                  <a:cubicBezTo>
                    <a:pt x="319166" y="447035"/>
                    <a:pt x="274014" y="492188"/>
                    <a:pt x="273952" y="547903"/>
                  </a:cubicBezTo>
                  <a:lnTo>
                    <a:pt x="273952" y="663251"/>
                  </a:lnTo>
                  <a:cubicBezTo>
                    <a:pt x="273996" y="697495"/>
                    <a:pt x="298079" y="727002"/>
                    <a:pt x="331626" y="733902"/>
                  </a:cubicBezTo>
                  <a:lnTo>
                    <a:pt x="331626" y="504647"/>
                  </a:lnTo>
                  <a:lnTo>
                    <a:pt x="360463" y="504647"/>
                  </a:lnTo>
                  <a:lnTo>
                    <a:pt x="360463" y="865111"/>
                  </a:lnTo>
                  <a:lnTo>
                    <a:pt x="331626" y="865111"/>
                  </a:lnTo>
                  <a:lnTo>
                    <a:pt x="331626" y="763026"/>
                  </a:lnTo>
                  <a:cubicBezTo>
                    <a:pt x="316069" y="760807"/>
                    <a:pt x="301246" y="754967"/>
                    <a:pt x="288370" y="745954"/>
                  </a:cubicBezTo>
                  <a:lnTo>
                    <a:pt x="288370" y="865111"/>
                  </a:lnTo>
                  <a:lnTo>
                    <a:pt x="259533" y="865111"/>
                  </a:lnTo>
                  <a:lnTo>
                    <a:pt x="259533" y="714966"/>
                  </a:lnTo>
                  <a:cubicBezTo>
                    <a:pt x="250116" y="699359"/>
                    <a:pt x="245126" y="681477"/>
                    <a:pt x="245115" y="663251"/>
                  </a:cubicBezTo>
                  <a:lnTo>
                    <a:pt x="245115" y="547903"/>
                  </a:lnTo>
                  <a:cubicBezTo>
                    <a:pt x="245143" y="533316"/>
                    <a:pt x="247649" y="518841"/>
                    <a:pt x="252527" y="505093"/>
                  </a:cubicBezTo>
                  <a:cubicBezTo>
                    <a:pt x="250060" y="504923"/>
                    <a:pt x="247620" y="504647"/>
                    <a:pt x="245115" y="504647"/>
                  </a:cubicBezTo>
                  <a:lnTo>
                    <a:pt x="129767" y="504647"/>
                  </a:lnTo>
                  <a:cubicBezTo>
                    <a:pt x="109519" y="504591"/>
                    <a:pt x="89733" y="510696"/>
                    <a:pt x="73044" y="522153"/>
                  </a:cubicBezTo>
                  <a:cubicBezTo>
                    <a:pt x="45424" y="540942"/>
                    <a:pt x="28871" y="572172"/>
                    <a:pt x="28837" y="605577"/>
                  </a:cubicBezTo>
                  <a:lnTo>
                    <a:pt x="28837" y="692088"/>
                  </a:lnTo>
                  <a:cubicBezTo>
                    <a:pt x="28871" y="720227"/>
                    <a:pt x="45255" y="745774"/>
                    <a:pt x="70808" y="757563"/>
                  </a:cubicBezTo>
                  <a:cubicBezTo>
                    <a:pt x="75815" y="759906"/>
                    <a:pt x="81093" y="761647"/>
                    <a:pt x="86511" y="762740"/>
                  </a:cubicBezTo>
                  <a:lnTo>
                    <a:pt x="86511" y="562321"/>
                  </a:lnTo>
                  <a:lnTo>
                    <a:pt x="115348" y="562321"/>
                  </a:lnTo>
                  <a:lnTo>
                    <a:pt x="115348" y="865111"/>
                  </a:lnTo>
                  <a:lnTo>
                    <a:pt x="86511" y="865111"/>
                  </a:lnTo>
                  <a:lnTo>
                    <a:pt x="86511" y="791892"/>
                  </a:lnTo>
                  <a:cubicBezTo>
                    <a:pt x="76886" y="790585"/>
                    <a:pt x="67519" y="787815"/>
                    <a:pt x="58710" y="783703"/>
                  </a:cubicBezTo>
                  <a:cubicBezTo>
                    <a:pt x="22957" y="767217"/>
                    <a:pt x="45" y="731458"/>
                    <a:pt x="0" y="692088"/>
                  </a:cubicBezTo>
                  <a:lnTo>
                    <a:pt x="0" y="605577"/>
                  </a:lnTo>
                  <a:cubicBezTo>
                    <a:pt x="23" y="562653"/>
                    <a:pt x="21279" y="522508"/>
                    <a:pt x="56767" y="498362"/>
                  </a:cubicBezTo>
                  <a:cubicBezTo>
                    <a:pt x="78243" y="483605"/>
                    <a:pt x="103712" y="475743"/>
                    <a:pt x="129767" y="475810"/>
                  </a:cubicBezTo>
                  <a:lnTo>
                    <a:pt x="245115" y="475810"/>
                  </a:lnTo>
                  <a:cubicBezTo>
                    <a:pt x="252093" y="475872"/>
                    <a:pt x="259049" y="476498"/>
                    <a:pt x="265920" y="477681"/>
                  </a:cubicBezTo>
                  <a:cubicBezTo>
                    <a:pt x="289756" y="440603"/>
                    <a:pt x="330804" y="418170"/>
                    <a:pt x="374881" y="418136"/>
                  </a:cubicBezTo>
                  <a:close/>
                  <a:moveTo>
                    <a:pt x="677670" y="317207"/>
                  </a:moveTo>
                  <a:cubicBezTo>
                    <a:pt x="645820" y="317207"/>
                    <a:pt x="619996" y="343031"/>
                    <a:pt x="619996" y="374881"/>
                  </a:cubicBezTo>
                  <a:cubicBezTo>
                    <a:pt x="619996" y="406731"/>
                    <a:pt x="645820" y="432555"/>
                    <a:pt x="677670" y="432555"/>
                  </a:cubicBezTo>
                  <a:cubicBezTo>
                    <a:pt x="709520" y="432555"/>
                    <a:pt x="735344" y="406731"/>
                    <a:pt x="735344" y="374881"/>
                  </a:cubicBezTo>
                  <a:cubicBezTo>
                    <a:pt x="735344" y="343031"/>
                    <a:pt x="709520" y="317207"/>
                    <a:pt x="677670" y="317207"/>
                  </a:cubicBezTo>
                  <a:close/>
                  <a:moveTo>
                    <a:pt x="187441" y="317207"/>
                  </a:moveTo>
                  <a:cubicBezTo>
                    <a:pt x="155591" y="317207"/>
                    <a:pt x="129767" y="343031"/>
                    <a:pt x="129767" y="374881"/>
                  </a:cubicBezTo>
                  <a:cubicBezTo>
                    <a:pt x="129767" y="406731"/>
                    <a:pt x="155591" y="432555"/>
                    <a:pt x="187441" y="432555"/>
                  </a:cubicBezTo>
                  <a:cubicBezTo>
                    <a:pt x="219291" y="432555"/>
                    <a:pt x="245115" y="406731"/>
                    <a:pt x="245115" y="374881"/>
                  </a:cubicBezTo>
                  <a:cubicBezTo>
                    <a:pt x="245115" y="343031"/>
                    <a:pt x="219291" y="317207"/>
                    <a:pt x="187441" y="317207"/>
                  </a:cubicBezTo>
                  <a:close/>
                  <a:moveTo>
                    <a:pt x="677670" y="288370"/>
                  </a:moveTo>
                  <a:cubicBezTo>
                    <a:pt x="725443" y="288370"/>
                    <a:pt x="764181" y="327108"/>
                    <a:pt x="764181" y="374881"/>
                  </a:cubicBezTo>
                  <a:cubicBezTo>
                    <a:pt x="764131" y="422642"/>
                    <a:pt x="725431" y="461342"/>
                    <a:pt x="677670" y="461392"/>
                  </a:cubicBezTo>
                  <a:cubicBezTo>
                    <a:pt x="629897" y="461392"/>
                    <a:pt x="591159" y="422654"/>
                    <a:pt x="591159" y="374881"/>
                  </a:cubicBezTo>
                  <a:cubicBezTo>
                    <a:pt x="591159" y="327108"/>
                    <a:pt x="629897" y="288370"/>
                    <a:pt x="677670" y="288370"/>
                  </a:cubicBezTo>
                  <a:close/>
                  <a:moveTo>
                    <a:pt x="187441" y="288370"/>
                  </a:moveTo>
                  <a:cubicBezTo>
                    <a:pt x="235214" y="288370"/>
                    <a:pt x="273952" y="327108"/>
                    <a:pt x="273952" y="374881"/>
                  </a:cubicBezTo>
                  <a:cubicBezTo>
                    <a:pt x="273902" y="422642"/>
                    <a:pt x="235202" y="461342"/>
                    <a:pt x="187441" y="461392"/>
                  </a:cubicBezTo>
                  <a:cubicBezTo>
                    <a:pt x="139668" y="461392"/>
                    <a:pt x="100930" y="422654"/>
                    <a:pt x="100930" y="374881"/>
                  </a:cubicBezTo>
                  <a:cubicBezTo>
                    <a:pt x="100930" y="327108"/>
                    <a:pt x="139668" y="288370"/>
                    <a:pt x="187441" y="288370"/>
                  </a:cubicBezTo>
                  <a:close/>
                  <a:moveTo>
                    <a:pt x="432555" y="259533"/>
                  </a:moveTo>
                  <a:cubicBezTo>
                    <a:pt x="400705" y="259533"/>
                    <a:pt x="374881" y="285357"/>
                    <a:pt x="374881" y="317207"/>
                  </a:cubicBezTo>
                  <a:cubicBezTo>
                    <a:pt x="374881" y="349057"/>
                    <a:pt x="400705" y="374881"/>
                    <a:pt x="432555" y="374881"/>
                  </a:cubicBezTo>
                  <a:cubicBezTo>
                    <a:pt x="464405" y="374881"/>
                    <a:pt x="490229" y="349057"/>
                    <a:pt x="490229" y="317207"/>
                  </a:cubicBezTo>
                  <a:cubicBezTo>
                    <a:pt x="490229" y="285357"/>
                    <a:pt x="464405" y="259533"/>
                    <a:pt x="432555" y="259533"/>
                  </a:cubicBezTo>
                  <a:close/>
                  <a:moveTo>
                    <a:pt x="432555" y="230696"/>
                  </a:moveTo>
                  <a:cubicBezTo>
                    <a:pt x="480328" y="230696"/>
                    <a:pt x="519066" y="269434"/>
                    <a:pt x="519066" y="317207"/>
                  </a:cubicBezTo>
                  <a:cubicBezTo>
                    <a:pt x="519016" y="364968"/>
                    <a:pt x="480316" y="403668"/>
                    <a:pt x="432555" y="403718"/>
                  </a:cubicBezTo>
                  <a:cubicBezTo>
                    <a:pt x="384782" y="403718"/>
                    <a:pt x="346044" y="364980"/>
                    <a:pt x="346044" y="317207"/>
                  </a:cubicBezTo>
                  <a:cubicBezTo>
                    <a:pt x="346044" y="269434"/>
                    <a:pt x="384782" y="230696"/>
                    <a:pt x="432555" y="230696"/>
                  </a:cubicBezTo>
                  <a:close/>
                  <a:moveTo>
                    <a:pt x="591159" y="144185"/>
                  </a:moveTo>
                  <a:cubicBezTo>
                    <a:pt x="559309" y="144185"/>
                    <a:pt x="533485" y="170009"/>
                    <a:pt x="533485" y="201859"/>
                  </a:cubicBezTo>
                  <a:cubicBezTo>
                    <a:pt x="533485" y="233709"/>
                    <a:pt x="559309" y="259533"/>
                    <a:pt x="591159" y="259533"/>
                  </a:cubicBezTo>
                  <a:cubicBezTo>
                    <a:pt x="623009" y="259533"/>
                    <a:pt x="648833" y="233709"/>
                    <a:pt x="648833" y="201859"/>
                  </a:cubicBezTo>
                  <a:cubicBezTo>
                    <a:pt x="648833" y="170009"/>
                    <a:pt x="623009" y="144185"/>
                    <a:pt x="591159" y="144185"/>
                  </a:cubicBezTo>
                  <a:close/>
                  <a:moveTo>
                    <a:pt x="273952" y="144185"/>
                  </a:moveTo>
                  <a:cubicBezTo>
                    <a:pt x="242102" y="144185"/>
                    <a:pt x="216278" y="170009"/>
                    <a:pt x="216278" y="201859"/>
                  </a:cubicBezTo>
                  <a:cubicBezTo>
                    <a:pt x="216278" y="233709"/>
                    <a:pt x="242102" y="259533"/>
                    <a:pt x="273952" y="259533"/>
                  </a:cubicBezTo>
                  <a:cubicBezTo>
                    <a:pt x="305802" y="259533"/>
                    <a:pt x="331626" y="233709"/>
                    <a:pt x="331626" y="201859"/>
                  </a:cubicBezTo>
                  <a:cubicBezTo>
                    <a:pt x="331626" y="170009"/>
                    <a:pt x="305802" y="144185"/>
                    <a:pt x="273952" y="144185"/>
                  </a:cubicBezTo>
                  <a:close/>
                  <a:moveTo>
                    <a:pt x="591159" y="115348"/>
                  </a:moveTo>
                  <a:cubicBezTo>
                    <a:pt x="638932" y="115348"/>
                    <a:pt x="677670" y="154086"/>
                    <a:pt x="677670" y="201859"/>
                  </a:cubicBezTo>
                  <a:cubicBezTo>
                    <a:pt x="677620" y="249620"/>
                    <a:pt x="638920" y="288320"/>
                    <a:pt x="591159" y="288370"/>
                  </a:cubicBezTo>
                  <a:cubicBezTo>
                    <a:pt x="543386" y="288370"/>
                    <a:pt x="504648" y="249632"/>
                    <a:pt x="504648" y="201859"/>
                  </a:cubicBezTo>
                  <a:cubicBezTo>
                    <a:pt x="504648" y="154086"/>
                    <a:pt x="543386" y="115348"/>
                    <a:pt x="591159" y="115348"/>
                  </a:cubicBezTo>
                  <a:close/>
                  <a:moveTo>
                    <a:pt x="273952" y="115348"/>
                  </a:moveTo>
                  <a:cubicBezTo>
                    <a:pt x="321725" y="115348"/>
                    <a:pt x="360463" y="154086"/>
                    <a:pt x="360463" y="201859"/>
                  </a:cubicBezTo>
                  <a:cubicBezTo>
                    <a:pt x="360413" y="249620"/>
                    <a:pt x="321713" y="288320"/>
                    <a:pt x="273952" y="288370"/>
                  </a:cubicBezTo>
                  <a:cubicBezTo>
                    <a:pt x="226179" y="288370"/>
                    <a:pt x="187441" y="249632"/>
                    <a:pt x="187441" y="201859"/>
                  </a:cubicBezTo>
                  <a:cubicBezTo>
                    <a:pt x="187441" y="154086"/>
                    <a:pt x="226179" y="115348"/>
                    <a:pt x="273952" y="115348"/>
                  </a:cubicBezTo>
                  <a:close/>
                  <a:moveTo>
                    <a:pt x="432555" y="28837"/>
                  </a:moveTo>
                  <a:cubicBezTo>
                    <a:pt x="400705" y="28837"/>
                    <a:pt x="374881" y="54661"/>
                    <a:pt x="374881" y="86511"/>
                  </a:cubicBezTo>
                  <a:cubicBezTo>
                    <a:pt x="374881" y="118361"/>
                    <a:pt x="400705" y="144185"/>
                    <a:pt x="432555" y="144185"/>
                  </a:cubicBezTo>
                  <a:cubicBezTo>
                    <a:pt x="464405" y="144185"/>
                    <a:pt x="490229" y="118361"/>
                    <a:pt x="490229" y="86511"/>
                  </a:cubicBezTo>
                  <a:cubicBezTo>
                    <a:pt x="490229" y="54661"/>
                    <a:pt x="464405" y="28837"/>
                    <a:pt x="432555" y="28837"/>
                  </a:cubicBezTo>
                  <a:close/>
                  <a:moveTo>
                    <a:pt x="432555" y="0"/>
                  </a:moveTo>
                  <a:cubicBezTo>
                    <a:pt x="480328" y="0"/>
                    <a:pt x="519066" y="38738"/>
                    <a:pt x="519066" y="86511"/>
                  </a:cubicBezTo>
                  <a:cubicBezTo>
                    <a:pt x="519016" y="134272"/>
                    <a:pt x="480316" y="172972"/>
                    <a:pt x="432555" y="173022"/>
                  </a:cubicBezTo>
                  <a:cubicBezTo>
                    <a:pt x="384782" y="173022"/>
                    <a:pt x="346044" y="134284"/>
                    <a:pt x="346044" y="86511"/>
                  </a:cubicBezTo>
                  <a:cubicBezTo>
                    <a:pt x="346044" y="38738"/>
                    <a:pt x="384782" y="0"/>
                    <a:pt x="432555" y="0"/>
                  </a:cubicBezTo>
                  <a:close/>
                </a:path>
              </a:pathLst>
            </a:custGeom>
            <a:solidFill>
              <a:schemeClr val="tx2"/>
            </a:solidFill>
            <a:ln w="1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494949"/>
                </a:solidFill>
                <a:effectLst/>
                <a:uLnTx/>
                <a:uFillTx/>
                <a:latin typeface="Arial" panose="020B0604020202020204"/>
                <a:ea typeface="+mn-ea"/>
                <a:cs typeface="+mn-cs"/>
              </a:endParaRPr>
            </a:p>
          </p:txBody>
        </p:sp>
      </p:grpSp>
      <p:grpSp>
        <p:nvGrpSpPr>
          <p:cNvPr id="827" name="Grupo 826">
            <a:extLst>
              <a:ext uri="{FF2B5EF4-FFF2-40B4-BE49-F238E27FC236}">
                <a16:creationId xmlns:a16="http://schemas.microsoft.com/office/drawing/2014/main" id="{6015FEC3-AC54-A3A9-AEAC-BD39098778BF}"/>
              </a:ext>
            </a:extLst>
          </p:cNvPr>
          <p:cNvGrpSpPr/>
          <p:nvPr/>
        </p:nvGrpSpPr>
        <p:grpSpPr>
          <a:xfrm>
            <a:off x="9078710" y="228976"/>
            <a:ext cx="1386248" cy="1395931"/>
            <a:chOff x="9036349" y="219832"/>
            <a:chExt cx="1386248" cy="1395931"/>
          </a:xfrm>
        </p:grpSpPr>
        <p:sp>
          <p:nvSpPr>
            <p:cNvPr id="747" name="Rectángulo 746">
              <a:extLst>
                <a:ext uri="{FF2B5EF4-FFF2-40B4-BE49-F238E27FC236}">
                  <a16:creationId xmlns:a16="http://schemas.microsoft.com/office/drawing/2014/main" id="{D52595B9-7947-0CF2-0A2F-08F69BF33D06}"/>
                </a:ext>
              </a:extLst>
            </p:cNvPr>
            <p:cNvSpPr/>
            <p:nvPr/>
          </p:nvSpPr>
          <p:spPr bwMode="auto">
            <a:xfrm>
              <a:off x="9036349" y="219832"/>
              <a:ext cx="1386248" cy="1395931"/>
            </a:xfrm>
            <a:prstGeom prst="rect">
              <a:avLst/>
            </a:prstGeom>
            <a:solidFill>
              <a:schemeClr val="bg1"/>
            </a:solidFill>
            <a:ln w="38100" cap="flat">
              <a:solidFill>
                <a:schemeClr val="tx2">
                  <a:lumMod val="65000"/>
                  <a:lumOff val="35000"/>
                </a:schemeClr>
              </a:solidFill>
              <a:miter lim="800000"/>
            </a:ln>
          </p:spPr>
          <p:txBody>
            <a:bodyPr lIns="144000" tIns="0" rIns="0" bIns="108000"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748" name="Agrupar 89">
              <a:extLst>
                <a:ext uri="{FF2B5EF4-FFF2-40B4-BE49-F238E27FC236}">
                  <a16:creationId xmlns:a16="http://schemas.microsoft.com/office/drawing/2014/main" id="{416CDCAA-0746-EF26-0BC2-865F167768CA}"/>
                </a:ext>
              </a:extLst>
            </p:cNvPr>
            <p:cNvGrpSpPr/>
            <p:nvPr/>
          </p:nvGrpSpPr>
          <p:grpSpPr>
            <a:xfrm>
              <a:off x="9213909" y="924786"/>
              <a:ext cx="1031129" cy="579552"/>
              <a:chOff x="653840" y="5217091"/>
              <a:chExt cx="1213949" cy="874736"/>
            </a:xfrm>
          </p:grpSpPr>
          <p:sp>
            <p:nvSpPr>
              <p:cNvPr id="750" name="CuadroTexto 749">
                <a:extLst>
                  <a:ext uri="{FF2B5EF4-FFF2-40B4-BE49-F238E27FC236}">
                    <a16:creationId xmlns:a16="http://schemas.microsoft.com/office/drawing/2014/main" id="{79765995-42B7-B5AF-5833-EFBE16E569B1}"/>
                  </a:ext>
                </a:extLst>
              </p:cNvPr>
              <p:cNvSpPr txBox="1"/>
              <p:nvPr/>
            </p:nvSpPr>
            <p:spPr>
              <a:xfrm>
                <a:off x="653840" y="5217091"/>
                <a:ext cx="1213949" cy="64122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494949"/>
                    </a:solidFill>
                    <a:effectLst/>
                    <a:uLnTx/>
                    <a:uFillTx/>
                    <a:latin typeface="Arial" panose="020B0604020202020204"/>
                    <a:ea typeface="+mn-ea"/>
                    <a:cs typeface="+mn-cs"/>
                  </a:rPr>
                  <a:t>1,500+</a:t>
                </a:r>
              </a:p>
            </p:txBody>
          </p:sp>
          <p:sp>
            <p:nvSpPr>
              <p:cNvPr id="751" name="CuadroTexto 750">
                <a:extLst>
                  <a:ext uri="{FF2B5EF4-FFF2-40B4-BE49-F238E27FC236}">
                    <a16:creationId xmlns:a16="http://schemas.microsoft.com/office/drawing/2014/main" id="{10B9BB85-13DA-69B0-25AE-FE74E6A691B4}"/>
                  </a:ext>
                </a:extLst>
              </p:cNvPr>
              <p:cNvSpPr txBox="1"/>
              <p:nvPr/>
            </p:nvSpPr>
            <p:spPr>
              <a:xfrm>
                <a:off x="829398" y="5720198"/>
                <a:ext cx="862836" cy="37162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29A8C5"/>
                    </a:solidFill>
                    <a:effectLst/>
                    <a:uLnTx/>
                    <a:uFillTx/>
                    <a:latin typeface="Arial" panose="020B0604020202020204"/>
                    <a:ea typeface="+mn-ea"/>
                    <a:cs typeface="+mn-cs"/>
                  </a:rPr>
                  <a:t>CLIENTS</a:t>
                </a:r>
              </a:p>
            </p:txBody>
          </p:sp>
        </p:grpSp>
        <p:sp>
          <p:nvSpPr>
            <p:cNvPr id="749" name="Freeform: Shape 109">
              <a:extLst>
                <a:ext uri="{FF2B5EF4-FFF2-40B4-BE49-F238E27FC236}">
                  <a16:creationId xmlns:a16="http://schemas.microsoft.com/office/drawing/2014/main" id="{F6DE19FC-001E-8B87-9779-8B973F4612C8}"/>
                </a:ext>
              </a:extLst>
            </p:cNvPr>
            <p:cNvSpPr>
              <a:spLocks noChangeAspect="1"/>
            </p:cNvSpPr>
            <p:nvPr/>
          </p:nvSpPr>
          <p:spPr>
            <a:xfrm>
              <a:off x="9507644" y="398534"/>
              <a:ext cx="443659" cy="382610"/>
            </a:xfrm>
            <a:custGeom>
              <a:avLst/>
              <a:gdLst>
                <a:gd name="connsiteX0" fmla="*/ 3055144 w 3552825"/>
                <a:gd name="connsiteY0" fmla="*/ 530638 h 3124200"/>
                <a:gd name="connsiteX1" fmla="*/ 2418112 w 3552825"/>
                <a:gd name="connsiteY1" fmla="*/ 530638 h 3124200"/>
                <a:gd name="connsiteX2" fmla="*/ 2418112 w 3552825"/>
                <a:gd name="connsiteY2" fmla="*/ 159544 h 3124200"/>
                <a:gd name="connsiteX3" fmla="*/ 2265712 w 3552825"/>
                <a:gd name="connsiteY3" fmla="*/ 7144 h 3124200"/>
                <a:gd name="connsiteX4" fmla="*/ 1291114 w 3552825"/>
                <a:gd name="connsiteY4" fmla="*/ 7144 h 3124200"/>
                <a:gd name="connsiteX5" fmla="*/ 1138714 w 3552825"/>
                <a:gd name="connsiteY5" fmla="*/ 159544 h 3124200"/>
                <a:gd name="connsiteX6" fmla="*/ 1138714 w 3552825"/>
                <a:gd name="connsiteY6" fmla="*/ 530638 h 3124200"/>
                <a:gd name="connsiteX7" fmla="*/ 502444 w 3552825"/>
                <a:gd name="connsiteY7" fmla="*/ 530638 h 3124200"/>
                <a:gd name="connsiteX8" fmla="*/ 7144 w 3552825"/>
                <a:gd name="connsiteY8" fmla="*/ 1007650 h 3124200"/>
                <a:gd name="connsiteX9" fmla="*/ 7144 w 3552825"/>
                <a:gd name="connsiteY9" fmla="*/ 2644426 h 3124200"/>
                <a:gd name="connsiteX10" fmla="*/ 502444 w 3552825"/>
                <a:gd name="connsiteY10" fmla="*/ 3121438 h 3124200"/>
                <a:gd name="connsiteX11" fmla="*/ 3055144 w 3552825"/>
                <a:gd name="connsiteY11" fmla="*/ 3121438 h 3124200"/>
                <a:gd name="connsiteX12" fmla="*/ 3550444 w 3552825"/>
                <a:gd name="connsiteY12" fmla="*/ 2644426 h 3124200"/>
                <a:gd name="connsiteX13" fmla="*/ 3550444 w 3552825"/>
                <a:gd name="connsiteY13" fmla="*/ 1008412 h 3124200"/>
                <a:gd name="connsiteX14" fmla="*/ 3055144 w 3552825"/>
                <a:gd name="connsiteY14" fmla="*/ 530638 h 3124200"/>
                <a:gd name="connsiteX15" fmla="*/ 1291876 w 3552825"/>
                <a:gd name="connsiteY15" fmla="*/ 160306 h 3124200"/>
                <a:gd name="connsiteX16" fmla="*/ 2265712 w 3552825"/>
                <a:gd name="connsiteY16" fmla="*/ 159544 h 3124200"/>
                <a:gd name="connsiteX17" fmla="*/ 2265712 w 3552825"/>
                <a:gd name="connsiteY17" fmla="*/ 530638 h 3124200"/>
                <a:gd name="connsiteX18" fmla="*/ 1291876 w 3552825"/>
                <a:gd name="connsiteY18" fmla="*/ 530638 h 3124200"/>
                <a:gd name="connsiteX19" fmla="*/ 1291876 w 3552825"/>
                <a:gd name="connsiteY19" fmla="*/ 160306 h 3124200"/>
                <a:gd name="connsiteX20" fmla="*/ 3055144 w 3552825"/>
                <a:gd name="connsiteY20" fmla="*/ 2968276 h 3124200"/>
                <a:gd name="connsiteX21" fmla="*/ 502444 w 3552825"/>
                <a:gd name="connsiteY21" fmla="*/ 2968276 h 3124200"/>
                <a:gd name="connsiteX22" fmla="*/ 159544 w 3552825"/>
                <a:gd name="connsiteY22" fmla="*/ 2643664 h 3124200"/>
                <a:gd name="connsiteX23" fmla="*/ 159544 w 3552825"/>
                <a:gd name="connsiteY23" fmla="*/ 2105692 h 3124200"/>
                <a:gd name="connsiteX24" fmla="*/ 1302544 w 3552825"/>
                <a:gd name="connsiteY24" fmla="*/ 2105692 h 3124200"/>
                <a:gd name="connsiteX25" fmla="*/ 1302544 w 3552825"/>
                <a:gd name="connsiteY25" fmla="*/ 2122456 h 3124200"/>
                <a:gd name="connsiteX26" fmla="*/ 1302544 w 3552825"/>
                <a:gd name="connsiteY26" fmla="*/ 2357914 h 3124200"/>
                <a:gd name="connsiteX27" fmla="*/ 1471689 w 3552825"/>
                <a:gd name="connsiteY27" fmla="*/ 2527097 h 3124200"/>
                <a:gd name="connsiteX28" fmla="*/ 1473994 w 3552825"/>
                <a:gd name="connsiteY28" fmla="*/ 2527078 h 3124200"/>
                <a:gd name="connsiteX29" fmla="*/ 1702594 w 3552825"/>
                <a:gd name="connsiteY29" fmla="*/ 2527078 h 3124200"/>
                <a:gd name="connsiteX30" fmla="*/ 1702594 w 3552825"/>
                <a:gd name="connsiteY30" fmla="*/ 2679478 h 3124200"/>
                <a:gd name="connsiteX31" fmla="*/ 1778794 w 3552825"/>
                <a:gd name="connsiteY31" fmla="*/ 2755678 h 3124200"/>
                <a:gd name="connsiteX32" fmla="*/ 1854994 w 3552825"/>
                <a:gd name="connsiteY32" fmla="*/ 2679478 h 3124200"/>
                <a:gd name="connsiteX33" fmla="*/ 1854994 w 3552825"/>
                <a:gd name="connsiteY33" fmla="*/ 2527078 h 3124200"/>
                <a:gd name="connsiteX34" fmla="*/ 2083594 w 3552825"/>
                <a:gd name="connsiteY34" fmla="*/ 2527078 h 3124200"/>
                <a:gd name="connsiteX35" fmla="*/ 2252758 w 3552825"/>
                <a:gd name="connsiteY35" fmla="*/ 2357914 h 3124200"/>
                <a:gd name="connsiteX36" fmla="*/ 2252758 w 3552825"/>
                <a:gd name="connsiteY36" fmla="*/ 2357914 h 3124200"/>
                <a:gd name="connsiteX37" fmla="*/ 2252758 w 3552825"/>
                <a:gd name="connsiteY37" fmla="*/ 2122456 h 3124200"/>
                <a:gd name="connsiteX38" fmla="*/ 2252758 w 3552825"/>
                <a:gd name="connsiteY38" fmla="*/ 2105692 h 3124200"/>
                <a:gd name="connsiteX39" fmla="*/ 3395758 w 3552825"/>
                <a:gd name="connsiteY39" fmla="*/ 2105692 h 3124200"/>
                <a:gd name="connsiteX40" fmla="*/ 3398044 w 3552825"/>
                <a:gd name="connsiteY40" fmla="*/ 2643664 h 3124200"/>
                <a:gd name="connsiteX41" fmla="*/ 3055144 w 3552825"/>
                <a:gd name="connsiteY41" fmla="*/ 2968276 h 3124200"/>
                <a:gd name="connsiteX42" fmla="*/ 1778794 w 3552825"/>
                <a:gd name="connsiteY42" fmla="*/ 2164366 h 3124200"/>
                <a:gd name="connsiteX43" fmla="*/ 1702594 w 3552825"/>
                <a:gd name="connsiteY43" fmla="*/ 2240566 h 3124200"/>
                <a:gd name="connsiteX44" fmla="*/ 1702594 w 3552825"/>
                <a:gd name="connsiteY44" fmla="*/ 2374678 h 3124200"/>
                <a:gd name="connsiteX45" fmla="*/ 1473994 w 3552825"/>
                <a:gd name="connsiteY45" fmla="*/ 2374678 h 3124200"/>
                <a:gd name="connsiteX46" fmla="*/ 1457230 w 3552825"/>
                <a:gd name="connsiteY46" fmla="*/ 2357914 h 3124200"/>
                <a:gd name="connsiteX47" fmla="*/ 1457230 w 3552825"/>
                <a:gd name="connsiteY47" fmla="*/ 2122456 h 3124200"/>
                <a:gd name="connsiteX48" fmla="*/ 1473994 w 3552825"/>
                <a:gd name="connsiteY48" fmla="*/ 2105692 h 3124200"/>
                <a:gd name="connsiteX49" fmla="*/ 2083594 w 3552825"/>
                <a:gd name="connsiteY49" fmla="*/ 2105692 h 3124200"/>
                <a:gd name="connsiteX50" fmla="*/ 2100358 w 3552825"/>
                <a:gd name="connsiteY50" fmla="*/ 2122456 h 3124200"/>
                <a:gd name="connsiteX51" fmla="*/ 2100358 w 3552825"/>
                <a:gd name="connsiteY51" fmla="*/ 2122456 h 3124200"/>
                <a:gd name="connsiteX52" fmla="*/ 2100358 w 3552825"/>
                <a:gd name="connsiteY52" fmla="*/ 2357914 h 3124200"/>
                <a:gd name="connsiteX53" fmla="*/ 2083594 w 3552825"/>
                <a:gd name="connsiteY53" fmla="*/ 2374678 h 3124200"/>
                <a:gd name="connsiteX54" fmla="*/ 2083594 w 3552825"/>
                <a:gd name="connsiteY54" fmla="*/ 2374678 h 3124200"/>
                <a:gd name="connsiteX55" fmla="*/ 1854994 w 3552825"/>
                <a:gd name="connsiteY55" fmla="*/ 2374678 h 3124200"/>
                <a:gd name="connsiteX56" fmla="*/ 1854994 w 3552825"/>
                <a:gd name="connsiteY56" fmla="*/ 2240566 h 3124200"/>
                <a:gd name="connsiteX57" fmla="*/ 1778794 w 3552825"/>
                <a:gd name="connsiteY57" fmla="*/ 2164366 h 3124200"/>
                <a:gd name="connsiteX58" fmla="*/ 3398044 w 3552825"/>
                <a:gd name="connsiteY58" fmla="*/ 1953292 h 3124200"/>
                <a:gd name="connsiteX59" fmla="*/ 159544 w 3552825"/>
                <a:gd name="connsiteY59" fmla="*/ 1953292 h 3124200"/>
                <a:gd name="connsiteX60" fmla="*/ 159544 w 3552825"/>
                <a:gd name="connsiteY60" fmla="*/ 1008412 h 3124200"/>
                <a:gd name="connsiteX61" fmla="*/ 502444 w 3552825"/>
                <a:gd name="connsiteY61" fmla="*/ 683800 h 3124200"/>
                <a:gd name="connsiteX62" fmla="*/ 3055144 w 3552825"/>
                <a:gd name="connsiteY62" fmla="*/ 683800 h 3124200"/>
                <a:gd name="connsiteX63" fmla="*/ 3398044 w 3552825"/>
                <a:gd name="connsiteY63" fmla="*/ 1008412 h 3124200"/>
                <a:gd name="connsiteX64" fmla="*/ 3398044 w 3552825"/>
                <a:gd name="connsiteY64" fmla="*/ 1953292 h 3124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552825" h="3124200">
                  <a:moveTo>
                    <a:pt x="3055144" y="530638"/>
                  </a:moveTo>
                  <a:lnTo>
                    <a:pt x="2418112" y="530638"/>
                  </a:lnTo>
                  <a:lnTo>
                    <a:pt x="2418112" y="159544"/>
                  </a:lnTo>
                  <a:cubicBezTo>
                    <a:pt x="2418112" y="75371"/>
                    <a:pt x="2349884" y="7144"/>
                    <a:pt x="2265712" y="7144"/>
                  </a:cubicBezTo>
                  <a:lnTo>
                    <a:pt x="1291114" y="7144"/>
                  </a:lnTo>
                  <a:cubicBezTo>
                    <a:pt x="1206941" y="7144"/>
                    <a:pt x="1138714" y="75371"/>
                    <a:pt x="1138714" y="159544"/>
                  </a:cubicBezTo>
                  <a:lnTo>
                    <a:pt x="1138714" y="530638"/>
                  </a:lnTo>
                  <a:lnTo>
                    <a:pt x="502444" y="530638"/>
                  </a:lnTo>
                  <a:cubicBezTo>
                    <a:pt x="273844" y="530638"/>
                    <a:pt x="7144" y="655606"/>
                    <a:pt x="7144" y="1007650"/>
                  </a:cubicBezTo>
                  <a:lnTo>
                    <a:pt x="7144" y="2644426"/>
                  </a:lnTo>
                  <a:cubicBezTo>
                    <a:pt x="7144" y="2996470"/>
                    <a:pt x="273844" y="3121438"/>
                    <a:pt x="502444" y="3121438"/>
                  </a:cubicBezTo>
                  <a:lnTo>
                    <a:pt x="3055144" y="3121438"/>
                  </a:lnTo>
                  <a:cubicBezTo>
                    <a:pt x="3420904" y="3121438"/>
                    <a:pt x="3550444" y="2864644"/>
                    <a:pt x="3550444" y="2644426"/>
                  </a:cubicBezTo>
                  <a:lnTo>
                    <a:pt x="3550444" y="1008412"/>
                  </a:lnTo>
                  <a:cubicBezTo>
                    <a:pt x="3550444" y="655606"/>
                    <a:pt x="3283744" y="530638"/>
                    <a:pt x="3055144" y="530638"/>
                  </a:cubicBezTo>
                  <a:close/>
                  <a:moveTo>
                    <a:pt x="1291876" y="160306"/>
                  </a:moveTo>
                  <a:lnTo>
                    <a:pt x="2265712" y="159544"/>
                  </a:lnTo>
                  <a:lnTo>
                    <a:pt x="2265712" y="530638"/>
                  </a:lnTo>
                  <a:lnTo>
                    <a:pt x="1291876" y="530638"/>
                  </a:lnTo>
                  <a:lnTo>
                    <a:pt x="1291876" y="160306"/>
                  </a:lnTo>
                  <a:close/>
                  <a:moveTo>
                    <a:pt x="3055144" y="2968276"/>
                  </a:moveTo>
                  <a:lnTo>
                    <a:pt x="502444" y="2968276"/>
                  </a:lnTo>
                  <a:cubicBezTo>
                    <a:pt x="399574" y="2968276"/>
                    <a:pt x="159544" y="2936272"/>
                    <a:pt x="159544" y="2643664"/>
                  </a:cubicBezTo>
                  <a:lnTo>
                    <a:pt x="159544" y="2105692"/>
                  </a:lnTo>
                  <a:lnTo>
                    <a:pt x="1302544" y="2105692"/>
                  </a:lnTo>
                  <a:cubicBezTo>
                    <a:pt x="1302239" y="2111273"/>
                    <a:pt x="1302239" y="2116874"/>
                    <a:pt x="1302544" y="2122456"/>
                  </a:cubicBezTo>
                  <a:lnTo>
                    <a:pt x="1302544" y="2357914"/>
                  </a:lnTo>
                  <a:cubicBezTo>
                    <a:pt x="1302534" y="2451345"/>
                    <a:pt x="1378268" y="2527087"/>
                    <a:pt x="1471689" y="2527097"/>
                  </a:cubicBezTo>
                  <a:cubicBezTo>
                    <a:pt x="1472460" y="2527097"/>
                    <a:pt x="1473222" y="2527087"/>
                    <a:pt x="1473994" y="2527078"/>
                  </a:cubicBezTo>
                  <a:lnTo>
                    <a:pt x="1702594" y="2527078"/>
                  </a:lnTo>
                  <a:lnTo>
                    <a:pt x="1702594" y="2679478"/>
                  </a:lnTo>
                  <a:cubicBezTo>
                    <a:pt x="1702594" y="2721559"/>
                    <a:pt x="1736712" y="2755678"/>
                    <a:pt x="1778794" y="2755678"/>
                  </a:cubicBezTo>
                  <a:cubicBezTo>
                    <a:pt x="1820875" y="2755678"/>
                    <a:pt x="1854994" y="2721559"/>
                    <a:pt x="1854994" y="2679478"/>
                  </a:cubicBezTo>
                  <a:lnTo>
                    <a:pt x="1854994" y="2527078"/>
                  </a:lnTo>
                  <a:lnTo>
                    <a:pt x="2083594" y="2527078"/>
                  </a:lnTo>
                  <a:cubicBezTo>
                    <a:pt x="2177025" y="2527078"/>
                    <a:pt x="2252758" y="2451345"/>
                    <a:pt x="2252758" y="2357914"/>
                  </a:cubicBezTo>
                  <a:cubicBezTo>
                    <a:pt x="2252758" y="2357914"/>
                    <a:pt x="2252758" y="2357914"/>
                    <a:pt x="2252758" y="2357914"/>
                  </a:cubicBezTo>
                  <a:lnTo>
                    <a:pt x="2252758" y="2122456"/>
                  </a:lnTo>
                  <a:cubicBezTo>
                    <a:pt x="2253063" y="2116874"/>
                    <a:pt x="2253063" y="2111273"/>
                    <a:pt x="2252758" y="2105692"/>
                  </a:cubicBezTo>
                  <a:lnTo>
                    <a:pt x="3395758" y="2105692"/>
                  </a:lnTo>
                  <a:lnTo>
                    <a:pt x="3398044" y="2643664"/>
                  </a:lnTo>
                  <a:cubicBezTo>
                    <a:pt x="3398044" y="2741200"/>
                    <a:pt x="3364516" y="2968276"/>
                    <a:pt x="3055144" y="2968276"/>
                  </a:cubicBezTo>
                  <a:close/>
                  <a:moveTo>
                    <a:pt x="1778794" y="2164366"/>
                  </a:moveTo>
                  <a:cubicBezTo>
                    <a:pt x="1736712" y="2164366"/>
                    <a:pt x="1702594" y="2198484"/>
                    <a:pt x="1702594" y="2240566"/>
                  </a:cubicBezTo>
                  <a:lnTo>
                    <a:pt x="1702594" y="2374678"/>
                  </a:lnTo>
                  <a:lnTo>
                    <a:pt x="1473994" y="2374678"/>
                  </a:lnTo>
                  <a:cubicBezTo>
                    <a:pt x="1464736" y="2374678"/>
                    <a:pt x="1457230" y="2367172"/>
                    <a:pt x="1457230" y="2357914"/>
                  </a:cubicBezTo>
                  <a:lnTo>
                    <a:pt x="1457230" y="2122456"/>
                  </a:lnTo>
                  <a:cubicBezTo>
                    <a:pt x="1457230" y="2113198"/>
                    <a:pt x="1464736" y="2105692"/>
                    <a:pt x="1473994" y="2105692"/>
                  </a:cubicBezTo>
                  <a:lnTo>
                    <a:pt x="2083594" y="2105692"/>
                  </a:lnTo>
                  <a:cubicBezTo>
                    <a:pt x="2092852" y="2105692"/>
                    <a:pt x="2100358" y="2113198"/>
                    <a:pt x="2100358" y="2122456"/>
                  </a:cubicBezTo>
                  <a:cubicBezTo>
                    <a:pt x="2100358" y="2122456"/>
                    <a:pt x="2100358" y="2122456"/>
                    <a:pt x="2100358" y="2122456"/>
                  </a:cubicBezTo>
                  <a:lnTo>
                    <a:pt x="2100358" y="2357914"/>
                  </a:lnTo>
                  <a:cubicBezTo>
                    <a:pt x="2100358" y="2367172"/>
                    <a:pt x="2092852" y="2374678"/>
                    <a:pt x="2083594" y="2374678"/>
                  </a:cubicBezTo>
                  <a:cubicBezTo>
                    <a:pt x="2083594" y="2374678"/>
                    <a:pt x="2083594" y="2374678"/>
                    <a:pt x="2083594" y="2374678"/>
                  </a:cubicBezTo>
                  <a:lnTo>
                    <a:pt x="1854994" y="2374678"/>
                  </a:lnTo>
                  <a:lnTo>
                    <a:pt x="1854994" y="2240566"/>
                  </a:lnTo>
                  <a:cubicBezTo>
                    <a:pt x="1854994" y="2198484"/>
                    <a:pt x="1820875" y="2164366"/>
                    <a:pt x="1778794" y="2164366"/>
                  </a:cubicBezTo>
                  <a:close/>
                  <a:moveTo>
                    <a:pt x="3398044" y="1953292"/>
                  </a:moveTo>
                  <a:lnTo>
                    <a:pt x="159544" y="1953292"/>
                  </a:lnTo>
                  <a:lnTo>
                    <a:pt x="159544" y="1008412"/>
                  </a:lnTo>
                  <a:cubicBezTo>
                    <a:pt x="159544" y="715042"/>
                    <a:pt x="399574" y="683800"/>
                    <a:pt x="502444" y="683800"/>
                  </a:cubicBezTo>
                  <a:lnTo>
                    <a:pt x="3055144" y="683800"/>
                  </a:lnTo>
                  <a:cubicBezTo>
                    <a:pt x="3158014" y="683800"/>
                    <a:pt x="3398044" y="715042"/>
                    <a:pt x="3398044" y="1008412"/>
                  </a:cubicBezTo>
                  <a:lnTo>
                    <a:pt x="3398044" y="1953292"/>
                  </a:lnTo>
                  <a:close/>
                </a:path>
              </a:pathLst>
            </a:custGeom>
            <a:solidFill>
              <a:schemeClr val="tx2"/>
            </a:solidFill>
            <a:ln w="9525" cap="flat">
              <a:noFill/>
              <a:prstDash val="solid"/>
              <a:miter/>
            </a:ln>
          </p:spPr>
          <p:txBody>
            <a:bodyPr rtlCol="0" anchor="ct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srgbClr val="656D78"/>
                </a:solidFill>
                <a:effectLst/>
                <a:uLnTx/>
                <a:uFillTx/>
                <a:latin typeface="Calibri" panose="020F0502020204030204"/>
                <a:ea typeface="+mn-ea"/>
                <a:cs typeface="+mn-cs"/>
              </a:endParaRPr>
            </a:p>
          </p:txBody>
        </p:sp>
      </p:grpSp>
      <p:grpSp>
        <p:nvGrpSpPr>
          <p:cNvPr id="826" name="Grupo 825">
            <a:extLst>
              <a:ext uri="{FF2B5EF4-FFF2-40B4-BE49-F238E27FC236}">
                <a16:creationId xmlns:a16="http://schemas.microsoft.com/office/drawing/2014/main" id="{F0FC20EC-0A98-9F8E-E307-DA3374A150FC}"/>
              </a:ext>
            </a:extLst>
          </p:cNvPr>
          <p:cNvGrpSpPr/>
          <p:nvPr/>
        </p:nvGrpSpPr>
        <p:grpSpPr>
          <a:xfrm>
            <a:off x="7609914" y="228976"/>
            <a:ext cx="1386248" cy="1395931"/>
            <a:chOff x="7559872" y="219832"/>
            <a:chExt cx="1386248" cy="1395931"/>
          </a:xfrm>
        </p:grpSpPr>
        <p:sp>
          <p:nvSpPr>
            <p:cNvPr id="753" name="Rectángulo 752">
              <a:extLst>
                <a:ext uri="{FF2B5EF4-FFF2-40B4-BE49-F238E27FC236}">
                  <a16:creationId xmlns:a16="http://schemas.microsoft.com/office/drawing/2014/main" id="{98313660-466D-7035-DFBA-EECBBFE0F252}"/>
                </a:ext>
              </a:extLst>
            </p:cNvPr>
            <p:cNvSpPr/>
            <p:nvPr/>
          </p:nvSpPr>
          <p:spPr bwMode="auto">
            <a:xfrm>
              <a:off x="7559872" y="219832"/>
              <a:ext cx="1386248" cy="1395931"/>
            </a:xfrm>
            <a:prstGeom prst="rect">
              <a:avLst/>
            </a:prstGeom>
            <a:solidFill>
              <a:schemeClr val="bg1"/>
            </a:solidFill>
            <a:ln w="38100" cap="flat">
              <a:solidFill>
                <a:schemeClr val="tx2">
                  <a:lumMod val="65000"/>
                  <a:lumOff val="35000"/>
                </a:schemeClr>
              </a:solidFill>
              <a:miter lim="800000"/>
            </a:ln>
          </p:spPr>
          <p:txBody>
            <a:bodyPr lIns="144000" tIns="0" rIns="0" bIns="108000"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754" name="Agrupar 8">
              <a:extLst>
                <a:ext uri="{FF2B5EF4-FFF2-40B4-BE49-F238E27FC236}">
                  <a16:creationId xmlns:a16="http://schemas.microsoft.com/office/drawing/2014/main" id="{CBFABE78-B472-F699-17BF-FB82691734DF}"/>
                </a:ext>
              </a:extLst>
            </p:cNvPr>
            <p:cNvGrpSpPr/>
            <p:nvPr/>
          </p:nvGrpSpPr>
          <p:grpSpPr>
            <a:xfrm>
              <a:off x="7692586" y="924786"/>
              <a:ext cx="1120820" cy="579552"/>
              <a:chOff x="569413" y="5217091"/>
              <a:chExt cx="1711292" cy="874736"/>
            </a:xfrm>
          </p:grpSpPr>
          <p:sp>
            <p:nvSpPr>
              <p:cNvPr id="756" name="CuadroTexto 755">
                <a:extLst>
                  <a:ext uri="{FF2B5EF4-FFF2-40B4-BE49-F238E27FC236}">
                    <a16:creationId xmlns:a16="http://schemas.microsoft.com/office/drawing/2014/main" id="{EEC3C31B-9EE8-A3FD-2228-AAF1E352061F}"/>
                  </a:ext>
                </a:extLst>
              </p:cNvPr>
              <p:cNvSpPr txBox="1"/>
              <p:nvPr/>
            </p:nvSpPr>
            <p:spPr>
              <a:xfrm>
                <a:off x="598414" y="5217091"/>
                <a:ext cx="1653293" cy="64122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494949"/>
                    </a:solidFill>
                    <a:effectLst/>
                    <a:uLnTx/>
                    <a:uFillTx/>
                    <a:latin typeface="Arial" panose="020B0604020202020204"/>
                    <a:ea typeface="+mn-ea"/>
                    <a:cs typeface="+mn-cs"/>
                  </a:rPr>
                  <a:t>115 M€</a:t>
                </a:r>
              </a:p>
            </p:txBody>
          </p:sp>
          <p:sp>
            <p:nvSpPr>
              <p:cNvPr id="757" name="CuadroTexto 756">
                <a:extLst>
                  <a:ext uri="{FF2B5EF4-FFF2-40B4-BE49-F238E27FC236}">
                    <a16:creationId xmlns:a16="http://schemas.microsoft.com/office/drawing/2014/main" id="{9FA81AED-6D86-1BBA-75FC-EBF1790C69E3}"/>
                  </a:ext>
                </a:extLst>
              </p:cNvPr>
              <p:cNvSpPr txBox="1"/>
              <p:nvPr/>
            </p:nvSpPr>
            <p:spPr>
              <a:xfrm>
                <a:off x="569413" y="5720198"/>
                <a:ext cx="1711292" cy="37162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29A8C5"/>
                    </a:solidFill>
                    <a:effectLst/>
                    <a:uLnTx/>
                    <a:uFillTx/>
                    <a:latin typeface="Arial" panose="020B0604020202020204"/>
                    <a:ea typeface="+mn-ea"/>
                    <a:cs typeface="+mn-cs"/>
                  </a:rPr>
                  <a:t>2023 REVENUE</a:t>
                </a:r>
              </a:p>
            </p:txBody>
          </p:sp>
        </p:grpSp>
        <p:sp>
          <p:nvSpPr>
            <p:cNvPr id="755" name="Forma libre 57">
              <a:extLst>
                <a:ext uri="{FF2B5EF4-FFF2-40B4-BE49-F238E27FC236}">
                  <a16:creationId xmlns:a16="http://schemas.microsoft.com/office/drawing/2014/main" id="{142CE640-CDCA-FC03-41AD-2FF639ACA29A}"/>
                </a:ext>
              </a:extLst>
            </p:cNvPr>
            <p:cNvSpPr/>
            <p:nvPr/>
          </p:nvSpPr>
          <p:spPr>
            <a:xfrm>
              <a:off x="8008117" y="349730"/>
              <a:ext cx="489758" cy="480220"/>
            </a:xfrm>
            <a:custGeom>
              <a:avLst/>
              <a:gdLst>
                <a:gd name="connsiteX0" fmla="*/ 1676454 w 4577661"/>
                <a:gd name="connsiteY0" fmla="*/ 3967166 h 4576766"/>
                <a:gd name="connsiteX1" fmla="*/ 1600254 w 4577661"/>
                <a:gd name="connsiteY1" fmla="*/ 4043366 h 4576766"/>
                <a:gd name="connsiteX2" fmla="*/ 1676454 w 4577661"/>
                <a:gd name="connsiteY2" fmla="*/ 4119566 h 4576766"/>
                <a:gd name="connsiteX3" fmla="*/ 1752654 w 4577661"/>
                <a:gd name="connsiteY3" fmla="*/ 4043366 h 4576766"/>
                <a:gd name="connsiteX4" fmla="*/ 1676454 w 4577661"/>
                <a:gd name="connsiteY4" fmla="*/ 3967166 h 4576766"/>
                <a:gd name="connsiteX5" fmla="*/ 838254 w 4577661"/>
                <a:gd name="connsiteY5" fmla="*/ 3890966 h 4576766"/>
                <a:gd name="connsiteX6" fmla="*/ 1295454 w 4577661"/>
                <a:gd name="connsiteY6" fmla="*/ 3890966 h 4576766"/>
                <a:gd name="connsiteX7" fmla="*/ 1295454 w 4577661"/>
                <a:gd name="connsiteY7" fmla="*/ 4043366 h 4576766"/>
                <a:gd name="connsiteX8" fmla="*/ 838254 w 4577661"/>
                <a:gd name="connsiteY8" fmla="*/ 4043366 h 4576766"/>
                <a:gd name="connsiteX9" fmla="*/ 381054 w 4577661"/>
                <a:gd name="connsiteY9" fmla="*/ 3890966 h 4576766"/>
                <a:gd name="connsiteX10" fmla="*/ 685854 w 4577661"/>
                <a:gd name="connsiteY10" fmla="*/ 3890966 h 4576766"/>
                <a:gd name="connsiteX11" fmla="*/ 685854 w 4577661"/>
                <a:gd name="connsiteY11" fmla="*/ 4043366 h 4576766"/>
                <a:gd name="connsiteX12" fmla="*/ 381054 w 4577661"/>
                <a:gd name="connsiteY12" fmla="*/ 4043366 h 4576766"/>
                <a:gd name="connsiteX13" fmla="*/ 2590854 w 4577661"/>
                <a:gd name="connsiteY13" fmla="*/ 3586166 h 4576766"/>
                <a:gd name="connsiteX14" fmla="*/ 2590854 w 4577661"/>
                <a:gd name="connsiteY14" fmla="*/ 3967166 h 4576766"/>
                <a:gd name="connsiteX15" fmla="*/ 2895654 w 4577661"/>
                <a:gd name="connsiteY15" fmla="*/ 3967166 h 4576766"/>
                <a:gd name="connsiteX16" fmla="*/ 2895654 w 4577661"/>
                <a:gd name="connsiteY16" fmla="*/ 3586166 h 4576766"/>
                <a:gd name="connsiteX17" fmla="*/ 1295454 w 4577661"/>
                <a:gd name="connsiteY17" fmla="*/ 3509966 h 4576766"/>
                <a:gd name="connsiteX18" fmla="*/ 1752654 w 4577661"/>
                <a:gd name="connsiteY18" fmla="*/ 3509966 h 4576766"/>
                <a:gd name="connsiteX19" fmla="*/ 1752654 w 4577661"/>
                <a:gd name="connsiteY19" fmla="*/ 3662366 h 4576766"/>
                <a:gd name="connsiteX20" fmla="*/ 1295454 w 4577661"/>
                <a:gd name="connsiteY20" fmla="*/ 3662366 h 4576766"/>
                <a:gd name="connsiteX21" fmla="*/ 381054 w 4577661"/>
                <a:gd name="connsiteY21" fmla="*/ 3509966 h 4576766"/>
                <a:gd name="connsiteX22" fmla="*/ 1143054 w 4577661"/>
                <a:gd name="connsiteY22" fmla="*/ 3509966 h 4576766"/>
                <a:gd name="connsiteX23" fmla="*/ 1143054 w 4577661"/>
                <a:gd name="connsiteY23" fmla="*/ 3662366 h 4576766"/>
                <a:gd name="connsiteX24" fmla="*/ 381054 w 4577661"/>
                <a:gd name="connsiteY24" fmla="*/ 3662366 h 4576766"/>
                <a:gd name="connsiteX25" fmla="*/ 3048054 w 4577661"/>
                <a:gd name="connsiteY25" fmla="*/ 3128966 h 4576766"/>
                <a:gd name="connsiteX26" fmla="*/ 3048054 w 4577661"/>
                <a:gd name="connsiteY26" fmla="*/ 3967166 h 4576766"/>
                <a:gd name="connsiteX27" fmla="*/ 3352854 w 4577661"/>
                <a:gd name="connsiteY27" fmla="*/ 3967166 h 4576766"/>
                <a:gd name="connsiteX28" fmla="*/ 3352854 w 4577661"/>
                <a:gd name="connsiteY28" fmla="*/ 3128966 h 4576766"/>
                <a:gd name="connsiteX29" fmla="*/ 838254 w 4577661"/>
                <a:gd name="connsiteY29" fmla="*/ 3128966 h 4576766"/>
                <a:gd name="connsiteX30" fmla="*/ 1752654 w 4577661"/>
                <a:gd name="connsiteY30" fmla="*/ 3128966 h 4576766"/>
                <a:gd name="connsiteX31" fmla="*/ 1752654 w 4577661"/>
                <a:gd name="connsiteY31" fmla="*/ 3281366 h 4576766"/>
                <a:gd name="connsiteX32" fmla="*/ 838254 w 4577661"/>
                <a:gd name="connsiteY32" fmla="*/ 3281366 h 4576766"/>
                <a:gd name="connsiteX33" fmla="*/ 381054 w 4577661"/>
                <a:gd name="connsiteY33" fmla="*/ 3128966 h 4576766"/>
                <a:gd name="connsiteX34" fmla="*/ 685854 w 4577661"/>
                <a:gd name="connsiteY34" fmla="*/ 3128966 h 4576766"/>
                <a:gd name="connsiteX35" fmla="*/ 685854 w 4577661"/>
                <a:gd name="connsiteY35" fmla="*/ 3281366 h 4576766"/>
                <a:gd name="connsiteX36" fmla="*/ 381054 w 4577661"/>
                <a:gd name="connsiteY36" fmla="*/ 3281366 h 4576766"/>
                <a:gd name="connsiteX37" fmla="*/ 1524054 w 4577661"/>
                <a:gd name="connsiteY37" fmla="*/ 2747966 h 4576766"/>
                <a:gd name="connsiteX38" fmla="*/ 1752654 w 4577661"/>
                <a:gd name="connsiteY38" fmla="*/ 2747966 h 4576766"/>
                <a:gd name="connsiteX39" fmla="*/ 1752654 w 4577661"/>
                <a:gd name="connsiteY39" fmla="*/ 2900366 h 4576766"/>
                <a:gd name="connsiteX40" fmla="*/ 1524054 w 4577661"/>
                <a:gd name="connsiteY40" fmla="*/ 2900366 h 4576766"/>
                <a:gd name="connsiteX41" fmla="*/ 990654 w 4577661"/>
                <a:gd name="connsiteY41" fmla="*/ 2747966 h 4576766"/>
                <a:gd name="connsiteX42" fmla="*/ 1371654 w 4577661"/>
                <a:gd name="connsiteY42" fmla="*/ 2747966 h 4576766"/>
                <a:gd name="connsiteX43" fmla="*/ 1371654 w 4577661"/>
                <a:gd name="connsiteY43" fmla="*/ 2900366 h 4576766"/>
                <a:gd name="connsiteX44" fmla="*/ 990654 w 4577661"/>
                <a:gd name="connsiteY44" fmla="*/ 2900366 h 4576766"/>
                <a:gd name="connsiteX45" fmla="*/ 381054 w 4577661"/>
                <a:gd name="connsiteY45" fmla="*/ 2747966 h 4576766"/>
                <a:gd name="connsiteX46" fmla="*/ 838254 w 4577661"/>
                <a:gd name="connsiteY46" fmla="*/ 2747966 h 4576766"/>
                <a:gd name="connsiteX47" fmla="*/ 838254 w 4577661"/>
                <a:gd name="connsiteY47" fmla="*/ 2900366 h 4576766"/>
                <a:gd name="connsiteX48" fmla="*/ 381054 w 4577661"/>
                <a:gd name="connsiteY48" fmla="*/ 2900366 h 4576766"/>
                <a:gd name="connsiteX49" fmla="*/ 3505254 w 4577661"/>
                <a:gd name="connsiteY49" fmla="*/ 2671766 h 4576766"/>
                <a:gd name="connsiteX50" fmla="*/ 3505254 w 4577661"/>
                <a:gd name="connsiteY50" fmla="*/ 3967166 h 4576766"/>
                <a:gd name="connsiteX51" fmla="*/ 3810054 w 4577661"/>
                <a:gd name="connsiteY51" fmla="*/ 3967166 h 4576766"/>
                <a:gd name="connsiteX52" fmla="*/ 3810054 w 4577661"/>
                <a:gd name="connsiteY52" fmla="*/ 2671766 h 4576766"/>
                <a:gd name="connsiteX53" fmla="*/ 990654 w 4577661"/>
                <a:gd name="connsiteY53" fmla="*/ 2366966 h 4576766"/>
                <a:gd name="connsiteX54" fmla="*/ 1219254 w 4577661"/>
                <a:gd name="connsiteY54" fmla="*/ 2366966 h 4576766"/>
                <a:gd name="connsiteX55" fmla="*/ 1219254 w 4577661"/>
                <a:gd name="connsiteY55" fmla="*/ 2519366 h 4576766"/>
                <a:gd name="connsiteX56" fmla="*/ 990654 w 4577661"/>
                <a:gd name="connsiteY56" fmla="*/ 2519366 h 4576766"/>
                <a:gd name="connsiteX57" fmla="*/ 1600253 w 4577661"/>
                <a:gd name="connsiteY57" fmla="*/ 2290765 h 4576766"/>
                <a:gd name="connsiteX58" fmla="*/ 1524053 w 4577661"/>
                <a:gd name="connsiteY58" fmla="*/ 2366965 h 4576766"/>
                <a:gd name="connsiteX59" fmla="*/ 1600253 w 4577661"/>
                <a:gd name="connsiteY59" fmla="*/ 2443165 h 4576766"/>
                <a:gd name="connsiteX60" fmla="*/ 1676453 w 4577661"/>
                <a:gd name="connsiteY60" fmla="*/ 2366965 h 4576766"/>
                <a:gd name="connsiteX61" fmla="*/ 1600253 w 4577661"/>
                <a:gd name="connsiteY61" fmla="*/ 2290765 h 4576766"/>
                <a:gd name="connsiteX62" fmla="*/ 3962454 w 4577661"/>
                <a:gd name="connsiteY62" fmla="*/ 2214566 h 4576766"/>
                <a:gd name="connsiteX63" fmla="*/ 3962454 w 4577661"/>
                <a:gd name="connsiteY63" fmla="*/ 3967166 h 4576766"/>
                <a:gd name="connsiteX64" fmla="*/ 4267254 w 4577661"/>
                <a:gd name="connsiteY64" fmla="*/ 3967166 h 4576766"/>
                <a:gd name="connsiteX65" fmla="*/ 4267254 w 4577661"/>
                <a:gd name="connsiteY65" fmla="*/ 2214566 h 4576766"/>
                <a:gd name="connsiteX66" fmla="*/ 609654 w 4577661"/>
                <a:gd name="connsiteY66" fmla="*/ 2093732 h 4576766"/>
                <a:gd name="connsiteX67" fmla="*/ 260220 w 4577661"/>
                <a:gd name="connsiteY67" fmla="*/ 2443166 h 4576766"/>
                <a:gd name="connsiteX68" fmla="*/ 533454 w 4577661"/>
                <a:gd name="connsiteY68" fmla="*/ 2443166 h 4576766"/>
                <a:gd name="connsiteX69" fmla="*/ 609654 w 4577661"/>
                <a:gd name="connsiteY69" fmla="*/ 2366966 h 4576766"/>
                <a:gd name="connsiteX70" fmla="*/ 748976 w 4577661"/>
                <a:gd name="connsiteY70" fmla="*/ 1833566 h 4576766"/>
                <a:gd name="connsiteX71" fmla="*/ 1905054 w 4577661"/>
                <a:gd name="connsiteY71" fmla="*/ 1833566 h 4576766"/>
                <a:gd name="connsiteX72" fmla="*/ 2133654 w 4577661"/>
                <a:gd name="connsiteY72" fmla="*/ 2062166 h 4576766"/>
                <a:gd name="connsiteX73" fmla="*/ 2133654 w 4577661"/>
                <a:gd name="connsiteY73" fmla="*/ 2138366 h 4576766"/>
                <a:gd name="connsiteX74" fmla="*/ 1981254 w 4577661"/>
                <a:gd name="connsiteY74" fmla="*/ 2138366 h 4576766"/>
                <a:gd name="connsiteX75" fmla="*/ 1981254 w 4577661"/>
                <a:gd name="connsiteY75" fmla="*/ 2062166 h 4576766"/>
                <a:gd name="connsiteX76" fmla="*/ 1905054 w 4577661"/>
                <a:gd name="connsiteY76" fmla="*/ 1985966 h 4576766"/>
                <a:gd name="connsiteX77" fmla="*/ 762054 w 4577661"/>
                <a:gd name="connsiteY77" fmla="*/ 1985966 h 4576766"/>
                <a:gd name="connsiteX78" fmla="*/ 762054 w 4577661"/>
                <a:gd name="connsiteY78" fmla="*/ 2366966 h 4576766"/>
                <a:gd name="connsiteX79" fmla="*/ 533454 w 4577661"/>
                <a:gd name="connsiteY79" fmla="*/ 2595566 h 4576766"/>
                <a:gd name="connsiteX80" fmla="*/ 152454 w 4577661"/>
                <a:gd name="connsiteY80" fmla="*/ 2595566 h 4576766"/>
                <a:gd name="connsiteX81" fmla="*/ 152454 w 4577661"/>
                <a:gd name="connsiteY81" fmla="*/ 4348166 h 4576766"/>
                <a:gd name="connsiteX82" fmla="*/ 228654 w 4577661"/>
                <a:gd name="connsiteY82" fmla="*/ 4424366 h 4576766"/>
                <a:gd name="connsiteX83" fmla="*/ 1905054 w 4577661"/>
                <a:gd name="connsiteY83" fmla="*/ 4424366 h 4576766"/>
                <a:gd name="connsiteX84" fmla="*/ 1981254 w 4577661"/>
                <a:gd name="connsiteY84" fmla="*/ 4348166 h 4576766"/>
                <a:gd name="connsiteX85" fmla="*/ 1981254 w 4577661"/>
                <a:gd name="connsiteY85" fmla="*/ 4119566 h 4576766"/>
                <a:gd name="connsiteX86" fmla="*/ 1891947 w 4577661"/>
                <a:gd name="connsiteY86" fmla="*/ 4119566 h 4576766"/>
                <a:gd name="connsiteX87" fmla="*/ 1752616 w 4577661"/>
                <a:gd name="connsiteY87" fmla="*/ 4258888 h 4576766"/>
                <a:gd name="connsiteX88" fmla="*/ 1460894 w 4577661"/>
                <a:gd name="connsiteY88" fmla="*/ 4119566 h 4576766"/>
                <a:gd name="connsiteX89" fmla="*/ 1600216 w 4577661"/>
                <a:gd name="connsiteY89" fmla="*/ 3827844 h 4576766"/>
                <a:gd name="connsiteX90" fmla="*/ 1891947 w 4577661"/>
                <a:gd name="connsiteY90" fmla="*/ 3967166 h 4576766"/>
                <a:gd name="connsiteX91" fmla="*/ 2438454 w 4577661"/>
                <a:gd name="connsiteY91" fmla="*/ 3967166 h 4576766"/>
                <a:gd name="connsiteX92" fmla="*/ 2438454 w 4577661"/>
                <a:gd name="connsiteY92" fmla="*/ 3509966 h 4576766"/>
                <a:gd name="connsiteX93" fmla="*/ 2514654 w 4577661"/>
                <a:gd name="connsiteY93" fmla="*/ 3433766 h 4576766"/>
                <a:gd name="connsiteX94" fmla="*/ 2895654 w 4577661"/>
                <a:gd name="connsiteY94" fmla="*/ 3433766 h 4576766"/>
                <a:gd name="connsiteX95" fmla="*/ 2895654 w 4577661"/>
                <a:gd name="connsiteY95" fmla="*/ 3052766 h 4576766"/>
                <a:gd name="connsiteX96" fmla="*/ 2971854 w 4577661"/>
                <a:gd name="connsiteY96" fmla="*/ 2976566 h 4576766"/>
                <a:gd name="connsiteX97" fmla="*/ 3352854 w 4577661"/>
                <a:gd name="connsiteY97" fmla="*/ 2976566 h 4576766"/>
                <a:gd name="connsiteX98" fmla="*/ 3352854 w 4577661"/>
                <a:gd name="connsiteY98" fmla="*/ 2595566 h 4576766"/>
                <a:gd name="connsiteX99" fmla="*/ 3429054 w 4577661"/>
                <a:gd name="connsiteY99" fmla="*/ 2519366 h 4576766"/>
                <a:gd name="connsiteX100" fmla="*/ 3810054 w 4577661"/>
                <a:gd name="connsiteY100" fmla="*/ 2519366 h 4576766"/>
                <a:gd name="connsiteX101" fmla="*/ 3810054 w 4577661"/>
                <a:gd name="connsiteY101" fmla="*/ 2138366 h 4576766"/>
                <a:gd name="connsiteX102" fmla="*/ 3886254 w 4577661"/>
                <a:gd name="connsiteY102" fmla="*/ 2062166 h 4576766"/>
                <a:gd name="connsiteX103" fmla="*/ 4343454 w 4577661"/>
                <a:gd name="connsiteY103" fmla="*/ 2062166 h 4576766"/>
                <a:gd name="connsiteX104" fmla="*/ 4419654 w 4577661"/>
                <a:gd name="connsiteY104" fmla="*/ 2138366 h 4576766"/>
                <a:gd name="connsiteX105" fmla="*/ 4419654 w 4577661"/>
                <a:gd name="connsiteY105" fmla="*/ 3967166 h 4576766"/>
                <a:gd name="connsiteX106" fmla="*/ 4572054 w 4577661"/>
                <a:gd name="connsiteY106" fmla="*/ 3967166 h 4576766"/>
                <a:gd name="connsiteX107" fmla="*/ 4572054 w 4577661"/>
                <a:gd name="connsiteY107" fmla="*/ 4119566 h 4576766"/>
                <a:gd name="connsiteX108" fmla="*/ 2133654 w 4577661"/>
                <a:gd name="connsiteY108" fmla="*/ 4119566 h 4576766"/>
                <a:gd name="connsiteX109" fmla="*/ 2133654 w 4577661"/>
                <a:gd name="connsiteY109" fmla="*/ 4348166 h 4576766"/>
                <a:gd name="connsiteX110" fmla="*/ 1905054 w 4577661"/>
                <a:gd name="connsiteY110" fmla="*/ 4576766 h 4576766"/>
                <a:gd name="connsiteX111" fmla="*/ 228654 w 4577661"/>
                <a:gd name="connsiteY111" fmla="*/ 4576766 h 4576766"/>
                <a:gd name="connsiteX112" fmla="*/ 54 w 4577661"/>
                <a:gd name="connsiteY112" fmla="*/ 4348166 h 4576766"/>
                <a:gd name="connsiteX113" fmla="*/ 54 w 4577661"/>
                <a:gd name="connsiteY113" fmla="*/ 2582488 h 4576766"/>
                <a:gd name="connsiteX114" fmla="*/ 67008 w 4577661"/>
                <a:gd name="connsiteY114" fmla="*/ 2420849 h 4576766"/>
                <a:gd name="connsiteX115" fmla="*/ 587329 w 4577661"/>
                <a:gd name="connsiteY115" fmla="*/ 1900527 h 4576766"/>
                <a:gd name="connsiteX116" fmla="*/ 748976 w 4577661"/>
                <a:gd name="connsiteY116" fmla="*/ 1833566 h 4576766"/>
                <a:gd name="connsiteX117" fmla="*/ 228653 w 4577661"/>
                <a:gd name="connsiteY117" fmla="*/ 1604966 h 4576766"/>
                <a:gd name="connsiteX118" fmla="*/ 152453 w 4577661"/>
                <a:gd name="connsiteY118" fmla="*/ 1681166 h 4576766"/>
                <a:gd name="connsiteX119" fmla="*/ 228653 w 4577661"/>
                <a:gd name="connsiteY119" fmla="*/ 1757366 h 4576766"/>
                <a:gd name="connsiteX120" fmla="*/ 304853 w 4577661"/>
                <a:gd name="connsiteY120" fmla="*/ 1681166 h 4576766"/>
                <a:gd name="connsiteX121" fmla="*/ 228653 w 4577661"/>
                <a:gd name="connsiteY121" fmla="*/ 1604966 h 4576766"/>
                <a:gd name="connsiteX122" fmla="*/ 3751141 w 4577661"/>
                <a:gd name="connsiteY122" fmla="*/ 1071565 h 4576766"/>
                <a:gd name="connsiteX123" fmla="*/ 4192673 w 4577661"/>
                <a:gd name="connsiteY123" fmla="*/ 1568294 h 4576766"/>
                <a:gd name="connsiteX124" fmla="*/ 4416148 w 4577661"/>
                <a:gd name="connsiteY124" fmla="*/ 1071565 h 4576766"/>
                <a:gd name="connsiteX125" fmla="*/ 1524053 w 4577661"/>
                <a:gd name="connsiteY125" fmla="*/ 1071565 h 4576766"/>
                <a:gd name="connsiteX126" fmla="*/ 1447853 w 4577661"/>
                <a:gd name="connsiteY126" fmla="*/ 1147765 h 4576766"/>
                <a:gd name="connsiteX127" fmla="*/ 1524053 w 4577661"/>
                <a:gd name="connsiteY127" fmla="*/ 1223965 h 4576766"/>
                <a:gd name="connsiteX128" fmla="*/ 1600253 w 4577661"/>
                <a:gd name="connsiteY128" fmla="*/ 1147765 h 4576766"/>
                <a:gd name="connsiteX129" fmla="*/ 1524053 w 4577661"/>
                <a:gd name="connsiteY129" fmla="*/ 1071565 h 4576766"/>
                <a:gd name="connsiteX130" fmla="*/ 762053 w 4577661"/>
                <a:gd name="connsiteY130" fmla="*/ 1071565 h 4576766"/>
                <a:gd name="connsiteX131" fmla="*/ 685853 w 4577661"/>
                <a:gd name="connsiteY131" fmla="*/ 1147765 h 4576766"/>
                <a:gd name="connsiteX132" fmla="*/ 762053 w 4577661"/>
                <a:gd name="connsiteY132" fmla="*/ 1223965 h 4576766"/>
                <a:gd name="connsiteX133" fmla="*/ 838253 w 4577661"/>
                <a:gd name="connsiteY133" fmla="*/ 1147765 h 4576766"/>
                <a:gd name="connsiteX134" fmla="*/ 762053 w 4577661"/>
                <a:gd name="connsiteY134" fmla="*/ 1071565 h 4576766"/>
                <a:gd name="connsiteX135" fmla="*/ 2286053 w 4577661"/>
                <a:gd name="connsiteY135" fmla="*/ 538165 h 4576766"/>
                <a:gd name="connsiteX136" fmla="*/ 2209853 w 4577661"/>
                <a:gd name="connsiteY136" fmla="*/ 614365 h 4576766"/>
                <a:gd name="connsiteX137" fmla="*/ 2286053 w 4577661"/>
                <a:gd name="connsiteY137" fmla="*/ 690565 h 4576766"/>
                <a:gd name="connsiteX138" fmla="*/ 2362253 w 4577661"/>
                <a:gd name="connsiteY138" fmla="*/ 614365 h 4576766"/>
                <a:gd name="connsiteX139" fmla="*/ 2286053 w 4577661"/>
                <a:gd name="connsiteY139" fmla="*/ 538165 h 4576766"/>
                <a:gd name="connsiteX140" fmla="*/ 2305174 w 4577661"/>
                <a:gd name="connsiteY140" fmla="*/ 386405 h 4576766"/>
                <a:gd name="connsiteX141" fmla="*/ 2392314 w 4577661"/>
                <a:gd name="connsiteY141" fmla="*/ 411856 h 4576766"/>
                <a:gd name="connsiteX142" fmla="*/ 2488469 w 4577661"/>
                <a:gd name="connsiteY142" fmla="*/ 720521 h 4576766"/>
                <a:gd name="connsiteX143" fmla="*/ 2179811 w 4577661"/>
                <a:gd name="connsiteY143" fmla="*/ 816676 h 4576766"/>
                <a:gd name="connsiteX144" fmla="*/ 1749481 w 4577661"/>
                <a:gd name="connsiteY144" fmla="*/ 1185532 h 4576766"/>
                <a:gd name="connsiteX145" fmla="*/ 1600215 w 4577661"/>
                <a:gd name="connsiteY145" fmla="*/ 1363307 h 4576766"/>
                <a:gd name="connsiteX146" fmla="*/ 1308560 w 4577661"/>
                <a:gd name="connsiteY146" fmla="*/ 1223965 h 4576766"/>
                <a:gd name="connsiteX147" fmla="*/ 977547 w 4577661"/>
                <a:gd name="connsiteY147" fmla="*/ 1223965 h 4576766"/>
                <a:gd name="connsiteX148" fmla="*/ 968250 w 4577661"/>
                <a:gd name="connsiteY148" fmla="*/ 1246406 h 4576766"/>
                <a:gd name="connsiteX149" fmla="*/ 663557 w 4577661"/>
                <a:gd name="connsiteY149" fmla="*/ 1354029 h 4576766"/>
                <a:gd name="connsiteX150" fmla="*/ 434915 w 4577661"/>
                <a:gd name="connsiteY150" fmla="*/ 1582667 h 4576766"/>
                <a:gd name="connsiteX151" fmla="*/ 457253 w 4577661"/>
                <a:gd name="connsiteY151" fmla="*/ 1681270 h 4576766"/>
                <a:gd name="connsiteX152" fmla="*/ 228653 w 4577661"/>
                <a:gd name="connsiteY152" fmla="*/ 1909766 h 4576766"/>
                <a:gd name="connsiteX153" fmla="*/ 130132 w 4577661"/>
                <a:gd name="connsiteY153" fmla="*/ 1887448 h 4576766"/>
                <a:gd name="connsiteX154" fmla="*/ 22368 w 4577661"/>
                <a:gd name="connsiteY154" fmla="*/ 1582667 h 4576766"/>
                <a:gd name="connsiteX155" fmla="*/ 327149 w 4577661"/>
                <a:gd name="connsiteY155" fmla="*/ 1474902 h 4576766"/>
                <a:gd name="connsiteX156" fmla="*/ 555791 w 4577661"/>
                <a:gd name="connsiteY156" fmla="*/ 1246264 h 4576766"/>
                <a:gd name="connsiteX157" fmla="*/ 546508 w 4577661"/>
                <a:gd name="connsiteY157" fmla="*/ 1223851 h 4576766"/>
                <a:gd name="connsiteX158" fmla="*/ 685885 w 4577661"/>
                <a:gd name="connsiteY158" fmla="*/ 932186 h 4576766"/>
                <a:gd name="connsiteX159" fmla="*/ 977547 w 4577661"/>
                <a:gd name="connsiteY159" fmla="*/ 1071565 h 4576766"/>
                <a:gd name="connsiteX160" fmla="*/ 1308560 w 4577661"/>
                <a:gd name="connsiteY160" fmla="*/ 1071565 h 4576766"/>
                <a:gd name="connsiteX161" fmla="*/ 1393656 w 4577661"/>
                <a:gd name="connsiteY161" fmla="*/ 959990 h 4576766"/>
                <a:gd name="connsiteX162" fmla="*/ 1711591 w 4577661"/>
                <a:gd name="connsiteY162" fmla="*/ 1017283 h 4576766"/>
                <a:gd name="connsiteX163" fmla="*/ 2076151 w 4577661"/>
                <a:gd name="connsiteY163" fmla="*/ 704810 h 4576766"/>
                <a:gd name="connsiteX164" fmla="*/ 2083647 w 4577661"/>
                <a:gd name="connsiteY164" fmla="*/ 508016 h 4576766"/>
                <a:gd name="connsiteX165" fmla="*/ 2305174 w 4577661"/>
                <a:gd name="connsiteY165" fmla="*/ 386405 h 4576766"/>
                <a:gd name="connsiteX166" fmla="*/ 3657653 w 4577661"/>
                <a:gd name="connsiteY166" fmla="*/ 160666 h 4576766"/>
                <a:gd name="connsiteX167" fmla="*/ 3657653 w 4577661"/>
                <a:gd name="connsiteY167" fmla="*/ 919165 h 4576766"/>
                <a:gd name="connsiteX168" fmla="*/ 4416148 w 4577661"/>
                <a:gd name="connsiteY168" fmla="*/ 919165 h 4576766"/>
                <a:gd name="connsiteX169" fmla="*/ 3657653 w 4577661"/>
                <a:gd name="connsiteY169" fmla="*/ 160666 h 4576766"/>
                <a:gd name="connsiteX170" fmla="*/ 3505253 w 4577661"/>
                <a:gd name="connsiteY170" fmla="*/ 160666 h 4576766"/>
                <a:gd name="connsiteX171" fmla="*/ 3083753 w 4577661"/>
                <a:gd name="connsiteY171" fmla="*/ 320883 h 4576766"/>
                <a:gd name="connsiteX172" fmla="*/ 2906931 w 4577661"/>
                <a:gd name="connsiteY172" fmla="*/ 1492780 h 4576766"/>
                <a:gd name="connsiteX173" fmla="*/ 4078829 w 4577661"/>
                <a:gd name="connsiteY173" fmla="*/ 1669612 h 4576766"/>
                <a:gd name="connsiteX174" fmla="*/ 3524503 w 4577661"/>
                <a:gd name="connsiteY174" fmla="*/ 1045991 h 4576766"/>
                <a:gd name="connsiteX175" fmla="*/ 3524560 w 4577661"/>
                <a:gd name="connsiteY175" fmla="*/ 1045933 h 4576766"/>
                <a:gd name="connsiteX176" fmla="*/ 3505253 w 4577661"/>
                <a:gd name="connsiteY176" fmla="*/ 995365 h 4576766"/>
                <a:gd name="connsiteX177" fmla="*/ 3575408 w 4577661"/>
                <a:gd name="connsiteY177" fmla="*/ 46 h 4576766"/>
                <a:gd name="connsiteX178" fmla="*/ 4049826 w 4577661"/>
                <a:gd name="connsiteY178" fmla="*/ 116115 h 4576766"/>
                <a:gd name="connsiteX179" fmla="*/ 4461544 w 4577661"/>
                <a:gd name="connsiteY179" fmla="*/ 1459176 h 4576766"/>
                <a:gd name="connsiteX180" fmla="*/ 3118490 w 4577661"/>
                <a:gd name="connsiteY180" fmla="*/ 1870894 h 4576766"/>
                <a:gd name="connsiteX181" fmla="*/ 2568536 w 4577661"/>
                <a:gd name="connsiteY181" fmla="*/ 2420848 h 4576766"/>
                <a:gd name="connsiteX182" fmla="*/ 2514653 w 4577661"/>
                <a:gd name="connsiteY182" fmla="*/ 2443165 h 4576766"/>
                <a:gd name="connsiteX183" fmla="*/ 2133653 w 4577661"/>
                <a:gd name="connsiteY183" fmla="*/ 2443165 h 4576766"/>
                <a:gd name="connsiteX184" fmla="*/ 2133653 w 4577661"/>
                <a:gd name="connsiteY184" fmla="*/ 3814765 h 4576766"/>
                <a:gd name="connsiteX185" fmla="*/ 1981253 w 4577661"/>
                <a:gd name="connsiteY185" fmla="*/ 3814765 h 4576766"/>
                <a:gd name="connsiteX186" fmla="*/ 1981253 w 4577661"/>
                <a:gd name="connsiteY186" fmla="*/ 2443165 h 4576766"/>
                <a:gd name="connsiteX187" fmla="*/ 1815747 w 4577661"/>
                <a:gd name="connsiteY187" fmla="*/ 2443165 h 4576766"/>
                <a:gd name="connsiteX188" fmla="*/ 1676415 w 4577661"/>
                <a:gd name="connsiteY188" fmla="*/ 2582488 h 4576766"/>
                <a:gd name="connsiteX189" fmla="*/ 1384693 w 4577661"/>
                <a:gd name="connsiteY189" fmla="*/ 2443165 h 4576766"/>
                <a:gd name="connsiteX190" fmla="*/ 1524015 w 4577661"/>
                <a:gd name="connsiteY190" fmla="*/ 2151443 h 4576766"/>
                <a:gd name="connsiteX191" fmla="*/ 1815747 w 4577661"/>
                <a:gd name="connsiteY191" fmla="*/ 2290765 h 4576766"/>
                <a:gd name="connsiteX192" fmla="*/ 2483097 w 4577661"/>
                <a:gd name="connsiteY192" fmla="*/ 2290765 h 4576766"/>
                <a:gd name="connsiteX193" fmla="*/ 2986760 w 4577661"/>
                <a:gd name="connsiteY193" fmla="*/ 1787093 h 4576766"/>
                <a:gd name="connsiteX194" fmla="*/ 2706772 w 4577661"/>
                <a:gd name="connsiteY194" fmla="*/ 527837 h 4576766"/>
                <a:gd name="connsiteX195" fmla="*/ 3575408 w 4577661"/>
                <a:gd name="connsiteY195" fmla="*/ 46 h 4576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4577661" h="4576766">
                  <a:moveTo>
                    <a:pt x="1676454" y="3967166"/>
                  </a:moveTo>
                  <a:cubicBezTo>
                    <a:pt x="1634372" y="3967166"/>
                    <a:pt x="1600254" y="4001284"/>
                    <a:pt x="1600254" y="4043366"/>
                  </a:cubicBezTo>
                  <a:cubicBezTo>
                    <a:pt x="1600254" y="4085447"/>
                    <a:pt x="1634372" y="4119566"/>
                    <a:pt x="1676454" y="4119566"/>
                  </a:cubicBezTo>
                  <a:cubicBezTo>
                    <a:pt x="1718516" y="4119518"/>
                    <a:pt x="1752606" y="4085428"/>
                    <a:pt x="1752654" y="4043366"/>
                  </a:cubicBezTo>
                  <a:cubicBezTo>
                    <a:pt x="1752654" y="4001284"/>
                    <a:pt x="1718535" y="3967166"/>
                    <a:pt x="1676454" y="3967166"/>
                  </a:cubicBezTo>
                  <a:close/>
                  <a:moveTo>
                    <a:pt x="838254" y="3890966"/>
                  </a:moveTo>
                  <a:lnTo>
                    <a:pt x="1295454" y="3890966"/>
                  </a:lnTo>
                  <a:lnTo>
                    <a:pt x="1295454" y="4043366"/>
                  </a:lnTo>
                  <a:lnTo>
                    <a:pt x="838254" y="4043366"/>
                  </a:lnTo>
                  <a:close/>
                  <a:moveTo>
                    <a:pt x="381054" y="3890966"/>
                  </a:moveTo>
                  <a:lnTo>
                    <a:pt x="685854" y="3890966"/>
                  </a:lnTo>
                  <a:lnTo>
                    <a:pt x="685854" y="4043366"/>
                  </a:lnTo>
                  <a:lnTo>
                    <a:pt x="381054" y="4043366"/>
                  </a:lnTo>
                  <a:close/>
                  <a:moveTo>
                    <a:pt x="2590854" y="3586166"/>
                  </a:moveTo>
                  <a:lnTo>
                    <a:pt x="2590854" y="3967166"/>
                  </a:lnTo>
                  <a:lnTo>
                    <a:pt x="2895654" y="3967166"/>
                  </a:lnTo>
                  <a:lnTo>
                    <a:pt x="2895654" y="3586166"/>
                  </a:lnTo>
                  <a:close/>
                  <a:moveTo>
                    <a:pt x="1295454" y="3509966"/>
                  </a:moveTo>
                  <a:lnTo>
                    <a:pt x="1752654" y="3509966"/>
                  </a:lnTo>
                  <a:lnTo>
                    <a:pt x="1752654" y="3662366"/>
                  </a:lnTo>
                  <a:lnTo>
                    <a:pt x="1295454" y="3662366"/>
                  </a:lnTo>
                  <a:close/>
                  <a:moveTo>
                    <a:pt x="381054" y="3509966"/>
                  </a:moveTo>
                  <a:lnTo>
                    <a:pt x="1143054" y="3509966"/>
                  </a:lnTo>
                  <a:lnTo>
                    <a:pt x="1143054" y="3662366"/>
                  </a:lnTo>
                  <a:lnTo>
                    <a:pt x="381054" y="3662366"/>
                  </a:lnTo>
                  <a:close/>
                  <a:moveTo>
                    <a:pt x="3048054" y="3128966"/>
                  </a:moveTo>
                  <a:lnTo>
                    <a:pt x="3048054" y="3967166"/>
                  </a:lnTo>
                  <a:lnTo>
                    <a:pt x="3352854" y="3967166"/>
                  </a:lnTo>
                  <a:lnTo>
                    <a:pt x="3352854" y="3128966"/>
                  </a:lnTo>
                  <a:close/>
                  <a:moveTo>
                    <a:pt x="838254" y="3128966"/>
                  </a:moveTo>
                  <a:lnTo>
                    <a:pt x="1752654" y="3128966"/>
                  </a:lnTo>
                  <a:lnTo>
                    <a:pt x="1752654" y="3281366"/>
                  </a:lnTo>
                  <a:lnTo>
                    <a:pt x="838254" y="3281366"/>
                  </a:lnTo>
                  <a:close/>
                  <a:moveTo>
                    <a:pt x="381054" y="3128966"/>
                  </a:moveTo>
                  <a:lnTo>
                    <a:pt x="685854" y="3128966"/>
                  </a:lnTo>
                  <a:lnTo>
                    <a:pt x="685854" y="3281366"/>
                  </a:lnTo>
                  <a:lnTo>
                    <a:pt x="381054" y="3281366"/>
                  </a:lnTo>
                  <a:close/>
                  <a:moveTo>
                    <a:pt x="1524054" y="2747966"/>
                  </a:moveTo>
                  <a:lnTo>
                    <a:pt x="1752654" y="2747966"/>
                  </a:lnTo>
                  <a:lnTo>
                    <a:pt x="1752654" y="2900366"/>
                  </a:lnTo>
                  <a:lnTo>
                    <a:pt x="1524054" y="2900366"/>
                  </a:lnTo>
                  <a:close/>
                  <a:moveTo>
                    <a:pt x="990654" y="2747966"/>
                  </a:moveTo>
                  <a:lnTo>
                    <a:pt x="1371654" y="2747966"/>
                  </a:lnTo>
                  <a:lnTo>
                    <a:pt x="1371654" y="2900366"/>
                  </a:lnTo>
                  <a:lnTo>
                    <a:pt x="990654" y="2900366"/>
                  </a:lnTo>
                  <a:close/>
                  <a:moveTo>
                    <a:pt x="381054" y="2747966"/>
                  </a:moveTo>
                  <a:lnTo>
                    <a:pt x="838254" y="2747966"/>
                  </a:lnTo>
                  <a:lnTo>
                    <a:pt x="838254" y="2900366"/>
                  </a:lnTo>
                  <a:lnTo>
                    <a:pt x="381054" y="2900366"/>
                  </a:lnTo>
                  <a:close/>
                  <a:moveTo>
                    <a:pt x="3505254" y="2671766"/>
                  </a:moveTo>
                  <a:lnTo>
                    <a:pt x="3505254" y="3967166"/>
                  </a:lnTo>
                  <a:lnTo>
                    <a:pt x="3810054" y="3967166"/>
                  </a:lnTo>
                  <a:lnTo>
                    <a:pt x="3810054" y="2671766"/>
                  </a:lnTo>
                  <a:close/>
                  <a:moveTo>
                    <a:pt x="990654" y="2366966"/>
                  </a:moveTo>
                  <a:lnTo>
                    <a:pt x="1219254" y="2366966"/>
                  </a:lnTo>
                  <a:lnTo>
                    <a:pt x="1219254" y="2519366"/>
                  </a:lnTo>
                  <a:lnTo>
                    <a:pt x="990654" y="2519366"/>
                  </a:lnTo>
                  <a:close/>
                  <a:moveTo>
                    <a:pt x="1600253" y="2290765"/>
                  </a:moveTo>
                  <a:cubicBezTo>
                    <a:pt x="1558172" y="2290765"/>
                    <a:pt x="1524053" y="2324884"/>
                    <a:pt x="1524053" y="2366965"/>
                  </a:cubicBezTo>
                  <a:cubicBezTo>
                    <a:pt x="1524053" y="2409047"/>
                    <a:pt x="1558172" y="2443165"/>
                    <a:pt x="1600253" y="2443165"/>
                  </a:cubicBezTo>
                  <a:cubicBezTo>
                    <a:pt x="1642315" y="2443118"/>
                    <a:pt x="1676405" y="2409028"/>
                    <a:pt x="1676453" y="2366965"/>
                  </a:cubicBezTo>
                  <a:cubicBezTo>
                    <a:pt x="1676453" y="2324884"/>
                    <a:pt x="1642334" y="2290765"/>
                    <a:pt x="1600253" y="2290765"/>
                  </a:cubicBezTo>
                  <a:close/>
                  <a:moveTo>
                    <a:pt x="3962454" y="2214566"/>
                  </a:moveTo>
                  <a:lnTo>
                    <a:pt x="3962454" y="3967166"/>
                  </a:lnTo>
                  <a:lnTo>
                    <a:pt x="4267254" y="3967166"/>
                  </a:lnTo>
                  <a:lnTo>
                    <a:pt x="4267254" y="2214566"/>
                  </a:lnTo>
                  <a:close/>
                  <a:moveTo>
                    <a:pt x="609654" y="2093732"/>
                  </a:moveTo>
                  <a:lnTo>
                    <a:pt x="260220" y="2443166"/>
                  </a:lnTo>
                  <a:lnTo>
                    <a:pt x="533454" y="2443166"/>
                  </a:lnTo>
                  <a:cubicBezTo>
                    <a:pt x="575518" y="2443118"/>
                    <a:pt x="609605" y="2409028"/>
                    <a:pt x="609654" y="2366966"/>
                  </a:cubicBezTo>
                  <a:close/>
                  <a:moveTo>
                    <a:pt x="748976" y="1833566"/>
                  </a:moveTo>
                  <a:lnTo>
                    <a:pt x="1905054" y="1833566"/>
                  </a:lnTo>
                  <a:cubicBezTo>
                    <a:pt x="2031251" y="1833709"/>
                    <a:pt x="2133511" y="1935969"/>
                    <a:pt x="2133654" y="2062166"/>
                  </a:cubicBezTo>
                  <a:lnTo>
                    <a:pt x="2133654" y="2138366"/>
                  </a:lnTo>
                  <a:lnTo>
                    <a:pt x="1981254" y="2138366"/>
                  </a:lnTo>
                  <a:lnTo>
                    <a:pt x="1981254" y="2062166"/>
                  </a:lnTo>
                  <a:cubicBezTo>
                    <a:pt x="1981206" y="2020103"/>
                    <a:pt x="1947116" y="1986013"/>
                    <a:pt x="1905054" y="1985966"/>
                  </a:cubicBezTo>
                  <a:lnTo>
                    <a:pt x="762054" y="1985966"/>
                  </a:lnTo>
                  <a:lnTo>
                    <a:pt x="762054" y="2366966"/>
                  </a:lnTo>
                  <a:cubicBezTo>
                    <a:pt x="761909" y="2493162"/>
                    <a:pt x="659647" y="2595423"/>
                    <a:pt x="533454" y="2595566"/>
                  </a:cubicBezTo>
                  <a:lnTo>
                    <a:pt x="152454" y="2595566"/>
                  </a:lnTo>
                  <a:lnTo>
                    <a:pt x="152454" y="4348166"/>
                  </a:lnTo>
                  <a:cubicBezTo>
                    <a:pt x="152502" y="4390228"/>
                    <a:pt x="186590" y="4424318"/>
                    <a:pt x="228654" y="4424366"/>
                  </a:cubicBezTo>
                  <a:lnTo>
                    <a:pt x="1905054" y="4424366"/>
                  </a:lnTo>
                  <a:cubicBezTo>
                    <a:pt x="1947116" y="4424318"/>
                    <a:pt x="1981206" y="4390228"/>
                    <a:pt x="1981254" y="4348166"/>
                  </a:cubicBezTo>
                  <a:lnTo>
                    <a:pt x="1981254" y="4119566"/>
                  </a:lnTo>
                  <a:lnTo>
                    <a:pt x="1891947" y="4119566"/>
                  </a:lnTo>
                  <a:cubicBezTo>
                    <a:pt x="1868926" y="4184669"/>
                    <a:pt x="1817719" y="4235876"/>
                    <a:pt x="1752616" y="4258888"/>
                  </a:cubicBezTo>
                  <a:cubicBezTo>
                    <a:pt x="1633591" y="4300979"/>
                    <a:pt x="1502975" y="4238600"/>
                    <a:pt x="1460894" y="4119566"/>
                  </a:cubicBezTo>
                  <a:cubicBezTo>
                    <a:pt x="1418812" y="4000532"/>
                    <a:pt x="1481191" y="3869925"/>
                    <a:pt x="1600216" y="3827844"/>
                  </a:cubicBezTo>
                  <a:cubicBezTo>
                    <a:pt x="1719250" y="3785753"/>
                    <a:pt x="1849866" y="3848132"/>
                    <a:pt x="1891947" y="3967166"/>
                  </a:cubicBezTo>
                  <a:lnTo>
                    <a:pt x="2438454" y="3967166"/>
                  </a:lnTo>
                  <a:lnTo>
                    <a:pt x="2438454" y="3509966"/>
                  </a:lnTo>
                  <a:cubicBezTo>
                    <a:pt x="2438454" y="3467884"/>
                    <a:pt x="2472573" y="3433766"/>
                    <a:pt x="2514654" y="3433766"/>
                  </a:cubicBezTo>
                  <a:lnTo>
                    <a:pt x="2895654" y="3433766"/>
                  </a:lnTo>
                  <a:lnTo>
                    <a:pt x="2895654" y="3052766"/>
                  </a:lnTo>
                  <a:cubicBezTo>
                    <a:pt x="2895654" y="3010684"/>
                    <a:pt x="2929773" y="2976566"/>
                    <a:pt x="2971854" y="2976566"/>
                  </a:cubicBezTo>
                  <a:lnTo>
                    <a:pt x="3352854" y="2976566"/>
                  </a:lnTo>
                  <a:lnTo>
                    <a:pt x="3352854" y="2595566"/>
                  </a:lnTo>
                  <a:cubicBezTo>
                    <a:pt x="3352854" y="2553484"/>
                    <a:pt x="3386973" y="2519366"/>
                    <a:pt x="3429054" y="2519366"/>
                  </a:cubicBezTo>
                  <a:lnTo>
                    <a:pt x="3810054" y="2519366"/>
                  </a:lnTo>
                  <a:lnTo>
                    <a:pt x="3810054" y="2138366"/>
                  </a:lnTo>
                  <a:cubicBezTo>
                    <a:pt x="3810054" y="2096284"/>
                    <a:pt x="3844173" y="2062166"/>
                    <a:pt x="3886254" y="2062166"/>
                  </a:cubicBezTo>
                  <a:lnTo>
                    <a:pt x="4343454" y="2062166"/>
                  </a:lnTo>
                  <a:cubicBezTo>
                    <a:pt x="4385536" y="2062166"/>
                    <a:pt x="4419654" y="2096284"/>
                    <a:pt x="4419654" y="2138366"/>
                  </a:cubicBezTo>
                  <a:lnTo>
                    <a:pt x="4419654" y="3967166"/>
                  </a:lnTo>
                  <a:lnTo>
                    <a:pt x="4572054" y="3967166"/>
                  </a:lnTo>
                  <a:lnTo>
                    <a:pt x="4572054" y="4119566"/>
                  </a:lnTo>
                  <a:lnTo>
                    <a:pt x="2133654" y="4119566"/>
                  </a:lnTo>
                  <a:lnTo>
                    <a:pt x="2133654" y="4348166"/>
                  </a:lnTo>
                  <a:cubicBezTo>
                    <a:pt x="2133511" y="4474363"/>
                    <a:pt x="2031251" y="4576623"/>
                    <a:pt x="1905054" y="4576766"/>
                  </a:cubicBezTo>
                  <a:lnTo>
                    <a:pt x="228654" y="4576766"/>
                  </a:lnTo>
                  <a:cubicBezTo>
                    <a:pt x="102461" y="4576623"/>
                    <a:pt x="199" y="4474363"/>
                    <a:pt x="54" y="4348166"/>
                  </a:cubicBezTo>
                  <a:lnTo>
                    <a:pt x="54" y="2582488"/>
                  </a:lnTo>
                  <a:cubicBezTo>
                    <a:pt x="-113" y="2521833"/>
                    <a:pt x="23997" y="2463626"/>
                    <a:pt x="67008" y="2420849"/>
                  </a:cubicBezTo>
                  <a:lnTo>
                    <a:pt x="587329" y="1900527"/>
                  </a:lnTo>
                  <a:cubicBezTo>
                    <a:pt x="630107" y="1857512"/>
                    <a:pt x="688313" y="1833404"/>
                    <a:pt x="748976" y="1833566"/>
                  </a:cubicBezTo>
                  <a:close/>
                  <a:moveTo>
                    <a:pt x="228653" y="1604966"/>
                  </a:moveTo>
                  <a:cubicBezTo>
                    <a:pt x="186589" y="1605013"/>
                    <a:pt x="152502" y="1639103"/>
                    <a:pt x="152453" y="1681166"/>
                  </a:cubicBezTo>
                  <a:cubicBezTo>
                    <a:pt x="152453" y="1723247"/>
                    <a:pt x="186569" y="1757366"/>
                    <a:pt x="228653" y="1757366"/>
                  </a:cubicBezTo>
                  <a:cubicBezTo>
                    <a:pt x="270737" y="1757366"/>
                    <a:pt x="304853" y="1723247"/>
                    <a:pt x="304853" y="1681166"/>
                  </a:cubicBezTo>
                  <a:cubicBezTo>
                    <a:pt x="304853" y="1639084"/>
                    <a:pt x="270737" y="1604966"/>
                    <a:pt x="228653" y="1604966"/>
                  </a:cubicBezTo>
                  <a:close/>
                  <a:moveTo>
                    <a:pt x="3751141" y="1071565"/>
                  </a:moveTo>
                  <a:lnTo>
                    <a:pt x="4192673" y="1568294"/>
                  </a:lnTo>
                  <a:cubicBezTo>
                    <a:pt x="4320574" y="1432334"/>
                    <a:pt x="4399241" y="1257455"/>
                    <a:pt x="4416148" y="1071565"/>
                  </a:cubicBezTo>
                  <a:close/>
                  <a:moveTo>
                    <a:pt x="1524053" y="1071565"/>
                  </a:moveTo>
                  <a:cubicBezTo>
                    <a:pt x="1481991" y="1071613"/>
                    <a:pt x="1447901" y="1105703"/>
                    <a:pt x="1447853" y="1147765"/>
                  </a:cubicBezTo>
                  <a:cubicBezTo>
                    <a:pt x="1447853" y="1189847"/>
                    <a:pt x="1481972" y="1223965"/>
                    <a:pt x="1524053" y="1223965"/>
                  </a:cubicBezTo>
                  <a:cubicBezTo>
                    <a:pt x="1566135" y="1223965"/>
                    <a:pt x="1600253" y="1189847"/>
                    <a:pt x="1600253" y="1147765"/>
                  </a:cubicBezTo>
                  <a:cubicBezTo>
                    <a:pt x="1600253" y="1105684"/>
                    <a:pt x="1566135" y="1071565"/>
                    <a:pt x="1524053" y="1071565"/>
                  </a:cubicBezTo>
                  <a:close/>
                  <a:moveTo>
                    <a:pt x="762053" y="1071565"/>
                  </a:moveTo>
                  <a:cubicBezTo>
                    <a:pt x="719989" y="1071613"/>
                    <a:pt x="685902" y="1105703"/>
                    <a:pt x="685853" y="1147765"/>
                  </a:cubicBezTo>
                  <a:cubicBezTo>
                    <a:pt x="685853" y="1189847"/>
                    <a:pt x="719969" y="1223965"/>
                    <a:pt x="762053" y="1223965"/>
                  </a:cubicBezTo>
                  <a:cubicBezTo>
                    <a:pt x="804135" y="1223965"/>
                    <a:pt x="838253" y="1189847"/>
                    <a:pt x="838253" y="1147765"/>
                  </a:cubicBezTo>
                  <a:cubicBezTo>
                    <a:pt x="838253" y="1105684"/>
                    <a:pt x="804135" y="1071565"/>
                    <a:pt x="762053" y="1071565"/>
                  </a:cubicBezTo>
                  <a:close/>
                  <a:moveTo>
                    <a:pt x="2286053" y="538165"/>
                  </a:moveTo>
                  <a:cubicBezTo>
                    <a:pt x="2243991" y="538214"/>
                    <a:pt x="2209901" y="572301"/>
                    <a:pt x="2209853" y="614365"/>
                  </a:cubicBezTo>
                  <a:cubicBezTo>
                    <a:pt x="2209853" y="656450"/>
                    <a:pt x="2243972" y="690565"/>
                    <a:pt x="2286053" y="690565"/>
                  </a:cubicBezTo>
                  <a:cubicBezTo>
                    <a:pt x="2328135" y="690565"/>
                    <a:pt x="2362253" y="656450"/>
                    <a:pt x="2362253" y="614365"/>
                  </a:cubicBezTo>
                  <a:cubicBezTo>
                    <a:pt x="2362253" y="572281"/>
                    <a:pt x="2328135" y="538165"/>
                    <a:pt x="2286053" y="538165"/>
                  </a:cubicBezTo>
                  <a:close/>
                  <a:moveTo>
                    <a:pt x="2305174" y="386405"/>
                  </a:moveTo>
                  <a:cubicBezTo>
                    <a:pt x="2334767" y="388874"/>
                    <a:pt x="2364365" y="397186"/>
                    <a:pt x="2392314" y="411856"/>
                  </a:cubicBezTo>
                  <a:cubicBezTo>
                    <a:pt x="2504099" y="470538"/>
                    <a:pt x="2547152" y="608731"/>
                    <a:pt x="2488469" y="720521"/>
                  </a:cubicBezTo>
                  <a:cubicBezTo>
                    <a:pt x="2429785" y="832307"/>
                    <a:pt x="2291597" y="875360"/>
                    <a:pt x="2179811" y="816676"/>
                  </a:cubicBezTo>
                  <a:lnTo>
                    <a:pt x="1749481" y="1185532"/>
                  </a:lnTo>
                  <a:cubicBezTo>
                    <a:pt x="1735756" y="1267523"/>
                    <a:pt x="1678596" y="1335608"/>
                    <a:pt x="1600215" y="1363307"/>
                  </a:cubicBezTo>
                  <a:cubicBezTo>
                    <a:pt x="1481200" y="1405360"/>
                    <a:pt x="1350622" y="1342980"/>
                    <a:pt x="1308560" y="1223965"/>
                  </a:cubicBezTo>
                  <a:lnTo>
                    <a:pt x="977547" y="1223965"/>
                  </a:lnTo>
                  <a:cubicBezTo>
                    <a:pt x="974842" y="1231605"/>
                    <a:pt x="971746" y="1239101"/>
                    <a:pt x="968250" y="1246406"/>
                  </a:cubicBezTo>
                  <a:cubicBezTo>
                    <a:pt x="913824" y="1360268"/>
                    <a:pt x="777412" y="1408446"/>
                    <a:pt x="663557" y="1354029"/>
                  </a:cubicBezTo>
                  <a:lnTo>
                    <a:pt x="434915" y="1582667"/>
                  </a:lnTo>
                  <a:cubicBezTo>
                    <a:pt x="449628" y="1613462"/>
                    <a:pt x="457261" y="1647152"/>
                    <a:pt x="457253" y="1681270"/>
                  </a:cubicBezTo>
                  <a:cubicBezTo>
                    <a:pt x="457225" y="1807496"/>
                    <a:pt x="354876" y="1909794"/>
                    <a:pt x="228653" y="1909766"/>
                  </a:cubicBezTo>
                  <a:cubicBezTo>
                    <a:pt x="194559" y="1909766"/>
                    <a:pt x="160898" y="1902145"/>
                    <a:pt x="130132" y="1887448"/>
                  </a:cubicBezTo>
                  <a:cubicBezTo>
                    <a:pt x="16211" y="1833042"/>
                    <a:pt x="-32037" y="1696587"/>
                    <a:pt x="22368" y="1582667"/>
                  </a:cubicBezTo>
                  <a:cubicBezTo>
                    <a:pt x="76773" y="1468749"/>
                    <a:pt x="213228" y="1420504"/>
                    <a:pt x="327149" y="1474902"/>
                  </a:cubicBezTo>
                  <a:lnTo>
                    <a:pt x="555791" y="1246264"/>
                  </a:lnTo>
                  <a:cubicBezTo>
                    <a:pt x="552302" y="1238958"/>
                    <a:pt x="549204" y="1231481"/>
                    <a:pt x="546508" y="1223851"/>
                  </a:cubicBezTo>
                  <a:cubicBezTo>
                    <a:pt x="504456" y="1104827"/>
                    <a:pt x="566857" y="974239"/>
                    <a:pt x="685885" y="932186"/>
                  </a:cubicBezTo>
                  <a:cubicBezTo>
                    <a:pt x="804916" y="890133"/>
                    <a:pt x="935494" y="952541"/>
                    <a:pt x="977547" y="1071565"/>
                  </a:cubicBezTo>
                  <a:lnTo>
                    <a:pt x="1308560" y="1071565"/>
                  </a:lnTo>
                  <a:cubicBezTo>
                    <a:pt x="1324514" y="1026369"/>
                    <a:pt x="1354289" y="987336"/>
                    <a:pt x="1393656" y="959990"/>
                  </a:cubicBezTo>
                  <a:cubicBezTo>
                    <a:pt x="1497269" y="888009"/>
                    <a:pt x="1639620" y="913660"/>
                    <a:pt x="1711591" y="1017283"/>
                  </a:cubicBezTo>
                  <a:lnTo>
                    <a:pt x="2076151" y="704810"/>
                  </a:lnTo>
                  <a:cubicBezTo>
                    <a:pt x="2048814" y="641443"/>
                    <a:pt x="2051567" y="569120"/>
                    <a:pt x="2083647" y="508016"/>
                  </a:cubicBezTo>
                  <a:cubicBezTo>
                    <a:pt x="2127660" y="424174"/>
                    <a:pt x="2216394" y="378997"/>
                    <a:pt x="2305174" y="386405"/>
                  </a:cubicBezTo>
                  <a:close/>
                  <a:moveTo>
                    <a:pt x="3657653" y="160666"/>
                  </a:moveTo>
                  <a:lnTo>
                    <a:pt x="3657653" y="919165"/>
                  </a:lnTo>
                  <a:lnTo>
                    <a:pt x="4416148" y="919165"/>
                  </a:lnTo>
                  <a:cubicBezTo>
                    <a:pt x="4378848" y="516721"/>
                    <a:pt x="4060094" y="197970"/>
                    <a:pt x="3657653" y="160666"/>
                  </a:cubicBezTo>
                  <a:close/>
                  <a:moveTo>
                    <a:pt x="3505253" y="160666"/>
                  </a:moveTo>
                  <a:cubicBezTo>
                    <a:pt x="3352758" y="174560"/>
                    <a:pt x="3206978" y="229972"/>
                    <a:pt x="3083753" y="320883"/>
                  </a:cubicBezTo>
                  <a:cubicBezTo>
                    <a:pt x="2711316" y="595665"/>
                    <a:pt x="2632144" y="1120343"/>
                    <a:pt x="2906931" y="1492780"/>
                  </a:cubicBezTo>
                  <a:cubicBezTo>
                    <a:pt x="3181708" y="1865226"/>
                    <a:pt x="3706383" y="1944389"/>
                    <a:pt x="4078829" y="1669612"/>
                  </a:cubicBezTo>
                  <a:lnTo>
                    <a:pt x="3524503" y="1045991"/>
                  </a:lnTo>
                  <a:lnTo>
                    <a:pt x="3524560" y="1045933"/>
                  </a:lnTo>
                  <a:cubicBezTo>
                    <a:pt x="3512121" y="1032027"/>
                    <a:pt x="3505244" y="1014025"/>
                    <a:pt x="3505253" y="995365"/>
                  </a:cubicBezTo>
                  <a:close/>
                  <a:moveTo>
                    <a:pt x="3575408" y="46"/>
                  </a:moveTo>
                  <a:cubicBezTo>
                    <a:pt x="3735572" y="-1506"/>
                    <a:pt x="3898400" y="35746"/>
                    <a:pt x="4049826" y="116115"/>
                  </a:cubicBezTo>
                  <a:cubicBezTo>
                    <a:pt x="4534391" y="373296"/>
                    <a:pt x="4718729" y="974601"/>
                    <a:pt x="4461544" y="1459176"/>
                  </a:cubicBezTo>
                  <a:cubicBezTo>
                    <a:pt x="4204369" y="1943741"/>
                    <a:pt x="3603056" y="2128078"/>
                    <a:pt x="3118490" y="1870894"/>
                  </a:cubicBezTo>
                  <a:lnTo>
                    <a:pt x="2568536" y="2420848"/>
                  </a:lnTo>
                  <a:cubicBezTo>
                    <a:pt x="2554249" y="2435136"/>
                    <a:pt x="2534865" y="2443165"/>
                    <a:pt x="2514653" y="2443165"/>
                  </a:cubicBezTo>
                  <a:lnTo>
                    <a:pt x="2133653" y="2443165"/>
                  </a:lnTo>
                  <a:lnTo>
                    <a:pt x="2133653" y="3814765"/>
                  </a:lnTo>
                  <a:lnTo>
                    <a:pt x="1981253" y="3814765"/>
                  </a:lnTo>
                  <a:lnTo>
                    <a:pt x="1981253" y="2443165"/>
                  </a:lnTo>
                  <a:lnTo>
                    <a:pt x="1815747" y="2443165"/>
                  </a:lnTo>
                  <a:cubicBezTo>
                    <a:pt x="1792725" y="2508269"/>
                    <a:pt x="1741518" y="2559475"/>
                    <a:pt x="1676415" y="2582488"/>
                  </a:cubicBezTo>
                  <a:cubicBezTo>
                    <a:pt x="1557391" y="2624578"/>
                    <a:pt x="1426774" y="2562199"/>
                    <a:pt x="1384693" y="2443165"/>
                  </a:cubicBezTo>
                  <a:cubicBezTo>
                    <a:pt x="1342611" y="2324131"/>
                    <a:pt x="1404991" y="2193525"/>
                    <a:pt x="1524015" y="2151443"/>
                  </a:cubicBezTo>
                  <a:cubicBezTo>
                    <a:pt x="1643049" y="2109352"/>
                    <a:pt x="1773665" y="2171732"/>
                    <a:pt x="1815747" y="2290765"/>
                  </a:cubicBezTo>
                  <a:lnTo>
                    <a:pt x="2483097" y="2290765"/>
                  </a:lnTo>
                  <a:lnTo>
                    <a:pt x="2986760" y="1787093"/>
                  </a:lnTo>
                  <a:cubicBezTo>
                    <a:pt x="2596482" y="1493294"/>
                    <a:pt x="2477753" y="959332"/>
                    <a:pt x="2706772" y="527837"/>
                  </a:cubicBezTo>
                  <a:cubicBezTo>
                    <a:pt x="2883580" y="194696"/>
                    <a:pt x="3223047" y="3463"/>
                    <a:pt x="3575408" y="46"/>
                  </a:cubicBez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494949"/>
                </a:solidFill>
                <a:effectLst/>
                <a:uLnTx/>
                <a:uFillTx/>
                <a:latin typeface="Arial" panose="020B0604020202020204"/>
                <a:ea typeface="+mn-ea"/>
                <a:cs typeface="+mn-cs"/>
              </a:endParaRPr>
            </a:p>
          </p:txBody>
        </p:sp>
      </p:grpSp>
      <p:grpSp>
        <p:nvGrpSpPr>
          <p:cNvPr id="836" name="Grupo 835">
            <a:extLst>
              <a:ext uri="{FF2B5EF4-FFF2-40B4-BE49-F238E27FC236}">
                <a16:creationId xmlns:a16="http://schemas.microsoft.com/office/drawing/2014/main" id="{2EAFDE11-0853-C1F9-8112-92A3B041EE13}"/>
              </a:ext>
            </a:extLst>
          </p:cNvPr>
          <p:cNvGrpSpPr/>
          <p:nvPr/>
        </p:nvGrpSpPr>
        <p:grpSpPr>
          <a:xfrm>
            <a:off x="4342478" y="1110799"/>
            <a:ext cx="3499232" cy="1354532"/>
            <a:chOff x="4243489" y="631047"/>
            <a:chExt cx="3499232" cy="1354532"/>
          </a:xfrm>
        </p:grpSpPr>
        <p:sp>
          <p:nvSpPr>
            <p:cNvPr id="461" name="Rectángulo redondeado 116">
              <a:extLst>
                <a:ext uri="{FF2B5EF4-FFF2-40B4-BE49-F238E27FC236}">
                  <a16:creationId xmlns:a16="http://schemas.microsoft.com/office/drawing/2014/main" id="{EBCD5B60-1254-7346-FD85-B24E5D218B95}"/>
                </a:ext>
              </a:extLst>
            </p:cNvPr>
            <p:cNvSpPr/>
            <p:nvPr/>
          </p:nvSpPr>
          <p:spPr bwMode="auto">
            <a:xfrm>
              <a:off x="4243489" y="687916"/>
              <a:ext cx="164095" cy="146248"/>
            </a:xfrm>
            <a:prstGeom prst="roundRect">
              <a:avLst/>
            </a:prstGeom>
            <a:solidFill>
              <a:srgbClr val="F6D285"/>
            </a:solidFill>
            <a:ln>
              <a:noFill/>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462" name="object 15">
              <a:extLst>
                <a:ext uri="{FF2B5EF4-FFF2-40B4-BE49-F238E27FC236}">
                  <a16:creationId xmlns:a16="http://schemas.microsoft.com/office/drawing/2014/main" id="{4185B52C-AAF4-ACCF-878D-0470FB1C9F2E}"/>
                </a:ext>
              </a:extLst>
            </p:cNvPr>
            <p:cNvSpPr txBox="1"/>
            <p:nvPr/>
          </p:nvSpPr>
          <p:spPr>
            <a:xfrm>
              <a:off x="4532935" y="631047"/>
              <a:ext cx="3209786" cy="248144"/>
            </a:xfrm>
            <a:prstGeom prst="rect">
              <a:avLst/>
            </a:prstGeom>
          </p:spPr>
          <p:txBody>
            <a:bodyPr vert="horz" wrap="square" lIns="0" tIns="32384" rIns="0" bIns="0" rtlCol="0">
              <a:spAutoFit/>
            </a:bodyPr>
            <a:lstStyle/>
            <a:p>
              <a:pPr marL="12700" marR="0" lvl="0" indent="0" algn="l" defTabSz="914400" rtl="0" eaLnBrk="1" fontAlgn="auto" latinLnBrk="0" hangingPunct="1">
                <a:lnSpc>
                  <a:spcPct val="100000"/>
                </a:lnSpc>
                <a:spcBef>
                  <a:spcPts val="254"/>
                </a:spcBef>
                <a:spcAft>
                  <a:spcPts val="10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a:ea typeface="+mn-ea"/>
                  <a:cs typeface="+mn-cs"/>
                </a:rPr>
                <a:t>PROJECTS IN  </a:t>
              </a:r>
              <a:r>
                <a:rPr kumimoji="0" lang="en-GB" sz="1400" b="1" i="0" u="none" strike="noStrike" kern="1200" cap="none" spc="0" normalizeH="0" baseline="0" noProof="0">
                  <a:ln>
                    <a:noFill/>
                  </a:ln>
                  <a:solidFill>
                    <a:srgbClr val="000000"/>
                  </a:solidFill>
                  <a:effectLst/>
                  <a:uLnTx/>
                  <a:uFillTx/>
                  <a:latin typeface="Arial" panose="020B0604020202020204"/>
                  <a:ea typeface="+mn-ea"/>
                  <a:cs typeface="+mn-cs"/>
                </a:rPr>
                <a:t>60+ Countries</a:t>
              </a:r>
              <a:endParaRPr kumimoji="0" lang="en-GB" sz="1400" b="0" i="0" u="none" strike="noStrike" kern="1200" cap="none" spc="0" normalizeH="0" baseline="0" noProof="0">
                <a:ln>
                  <a:noFill/>
                </a:ln>
                <a:solidFill>
                  <a:srgbClr val="000000"/>
                </a:solidFill>
                <a:effectLst/>
                <a:uLnTx/>
                <a:uFillTx/>
                <a:latin typeface="Arial" panose="020B0604020202020204"/>
                <a:ea typeface="+mn-ea"/>
                <a:cs typeface="Helvetica Neue Condensed"/>
              </a:endParaRPr>
            </a:p>
          </p:txBody>
        </p:sp>
        <p:sp>
          <p:nvSpPr>
            <p:cNvPr id="247" name="CuadroTexto 246">
              <a:extLst>
                <a:ext uri="{FF2B5EF4-FFF2-40B4-BE49-F238E27FC236}">
                  <a16:creationId xmlns:a16="http://schemas.microsoft.com/office/drawing/2014/main" id="{53C7F20F-0444-FA74-A37C-87BCD299B14F}"/>
                </a:ext>
              </a:extLst>
            </p:cNvPr>
            <p:cNvSpPr txBox="1"/>
            <p:nvPr/>
          </p:nvSpPr>
          <p:spPr>
            <a:xfrm>
              <a:off x="4426337" y="919425"/>
              <a:ext cx="2971353" cy="1066154"/>
            </a:xfrm>
            <a:prstGeom prst="rect">
              <a:avLst/>
            </a:prstGeom>
            <a:noFill/>
          </p:spPr>
          <p:txBody>
            <a:bodyPr wrap="square" numCol="2" rtlCol="0">
              <a:noAutofit/>
            </a:bodyPr>
            <a:lstStyle/>
            <a:p>
              <a:pPr marL="171450" lvl="0" indent="-171450">
                <a:buFont typeface="Wingdings" pitchFamily="2" charset="2"/>
                <a:buChar char="§"/>
                <a:defRPr/>
              </a:pPr>
              <a:r>
                <a:rPr lang="en-GB" sz="1100" noProof="0">
                  <a:solidFill>
                    <a:srgbClr val="000000"/>
                  </a:solidFill>
                  <a:latin typeface="Arial" panose="020B0604020202020204"/>
                </a:rPr>
                <a:t>Spain
Portugal
UK
Brazil
Mexico
Argentina
Colombia
Chile
Germany
Netherlands</a:t>
              </a:r>
              <a:endParaRPr kumimoji="0" lang="en-GB"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200" name="Rectángulo 11">
            <a:extLst>
              <a:ext uri="{FF2B5EF4-FFF2-40B4-BE49-F238E27FC236}">
                <a16:creationId xmlns:a16="http://schemas.microsoft.com/office/drawing/2014/main" id="{3A6C3D3B-5408-5E10-D086-62E05AA63F36}"/>
              </a:ext>
            </a:extLst>
          </p:cNvPr>
          <p:cNvSpPr/>
          <p:nvPr/>
        </p:nvSpPr>
        <p:spPr>
          <a:xfrm>
            <a:off x="7605657" y="2657085"/>
            <a:ext cx="4347130" cy="2158004"/>
          </a:xfrm>
          <a:prstGeom prst="rect">
            <a:avLst/>
          </a:prstGeom>
          <a:solidFill>
            <a:srgbClr val="FFFFFF"/>
          </a:solidFill>
          <a:ln w="38100" cap="flat">
            <a:solidFill>
              <a:schemeClr val="accent4"/>
            </a:solidFill>
            <a:prstDash val="solid"/>
            <a:miter/>
          </a:ln>
        </p:spPr>
        <p:txBody>
          <a:bodyPr vert="horz" wrap="square" lIns="143999" tIns="324000" rIns="0" bIns="107999"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2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CCELERATORS</a:t>
            </a:r>
          </a:p>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2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BY STRATESYS</a:t>
            </a:r>
          </a:p>
        </p:txBody>
      </p:sp>
      <p:grpSp>
        <p:nvGrpSpPr>
          <p:cNvPr id="819" name="Grupo 818">
            <a:extLst>
              <a:ext uri="{FF2B5EF4-FFF2-40B4-BE49-F238E27FC236}">
                <a16:creationId xmlns:a16="http://schemas.microsoft.com/office/drawing/2014/main" id="{6D7CDEC7-E138-20C8-3C49-59ECD5521295}"/>
              </a:ext>
            </a:extLst>
          </p:cNvPr>
          <p:cNvGrpSpPr/>
          <p:nvPr/>
        </p:nvGrpSpPr>
        <p:grpSpPr>
          <a:xfrm>
            <a:off x="9295292" y="2898274"/>
            <a:ext cx="646331" cy="705006"/>
            <a:chOff x="8359649" y="4910957"/>
            <a:chExt cx="646331" cy="705006"/>
          </a:xfrm>
        </p:grpSpPr>
        <p:sp>
          <p:nvSpPr>
            <p:cNvPr id="23" name="Forma libre 22">
              <a:extLst>
                <a:ext uri="{FF2B5EF4-FFF2-40B4-BE49-F238E27FC236}">
                  <a16:creationId xmlns:a16="http://schemas.microsoft.com/office/drawing/2014/main" id="{8B4336F2-39A0-E1F1-39AC-8FCABDB6B430}"/>
                </a:ext>
              </a:extLst>
            </p:cNvPr>
            <p:cNvSpPr/>
            <p:nvPr/>
          </p:nvSpPr>
          <p:spPr>
            <a:xfrm>
              <a:off x="8452539" y="4910957"/>
              <a:ext cx="431051" cy="439246"/>
            </a:xfrm>
            <a:custGeom>
              <a:avLst/>
              <a:gdLst>
                <a:gd name="connsiteX0" fmla="*/ 1320528 w 4582231"/>
                <a:gd name="connsiteY0" fmla="*/ 2689934 h 4669341"/>
                <a:gd name="connsiteX1" fmla="*/ 2195483 w 4582231"/>
                <a:gd name="connsiteY1" fmla="*/ 3593577 h 4669341"/>
                <a:gd name="connsiteX2" fmla="*/ 2260029 w 4582231"/>
                <a:gd name="connsiteY2" fmla="*/ 3672466 h 4669341"/>
                <a:gd name="connsiteX3" fmla="*/ 2181140 w 4582231"/>
                <a:gd name="connsiteY3" fmla="*/ 3737012 h 4669341"/>
                <a:gd name="connsiteX4" fmla="*/ 1177093 w 4582231"/>
                <a:gd name="connsiteY4" fmla="*/ 2697106 h 4669341"/>
                <a:gd name="connsiteX5" fmla="*/ 395370 w 4582231"/>
                <a:gd name="connsiteY5" fmla="*/ 2697106 h 4669341"/>
                <a:gd name="connsiteX6" fmla="*/ 395370 w 4582231"/>
                <a:gd name="connsiteY6" fmla="*/ 2847713 h 4669341"/>
                <a:gd name="connsiteX7" fmla="*/ 804161 w 4582231"/>
                <a:gd name="connsiteY7" fmla="*/ 2897916 h 4669341"/>
                <a:gd name="connsiteX8" fmla="*/ 868707 w 4582231"/>
                <a:gd name="connsiteY8" fmla="*/ 2955290 h 4669341"/>
                <a:gd name="connsiteX9" fmla="*/ 1055172 w 4582231"/>
                <a:gd name="connsiteY9" fmla="*/ 3407111 h 4669341"/>
                <a:gd name="connsiteX10" fmla="*/ 1048001 w 4582231"/>
                <a:gd name="connsiteY10" fmla="*/ 3493172 h 4669341"/>
                <a:gd name="connsiteX11" fmla="*/ 789817 w 4582231"/>
                <a:gd name="connsiteY11" fmla="*/ 3815902 h 4669341"/>
                <a:gd name="connsiteX12" fmla="*/ 1098203 w 4582231"/>
                <a:gd name="connsiteY12" fmla="*/ 4124287 h 4669341"/>
                <a:gd name="connsiteX13" fmla="*/ 1420933 w 4582231"/>
                <a:gd name="connsiteY13" fmla="*/ 3866104 h 4669341"/>
                <a:gd name="connsiteX14" fmla="*/ 1506994 w 4582231"/>
                <a:gd name="connsiteY14" fmla="*/ 3858932 h 4669341"/>
                <a:gd name="connsiteX15" fmla="*/ 1958815 w 4582231"/>
                <a:gd name="connsiteY15" fmla="*/ 4045398 h 4669341"/>
                <a:gd name="connsiteX16" fmla="*/ 2016189 w 4582231"/>
                <a:gd name="connsiteY16" fmla="*/ 4109944 h 4669341"/>
                <a:gd name="connsiteX17" fmla="*/ 2066391 w 4582231"/>
                <a:gd name="connsiteY17" fmla="*/ 4518734 h 4669341"/>
                <a:gd name="connsiteX18" fmla="*/ 2503869 w 4582231"/>
                <a:gd name="connsiteY18" fmla="*/ 4518734 h 4669341"/>
                <a:gd name="connsiteX19" fmla="*/ 2554071 w 4582231"/>
                <a:gd name="connsiteY19" fmla="*/ 4109944 h 4669341"/>
                <a:gd name="connsiteX20" fmla="*/ 2611446 w 4582231"/>
                <a:gd name="connsiteY20" fmla="*/ 4045398 h 4669341"/>
                <a:gd name="connsiteX21" fmla="*/ 3063267 w 4582231"/>
                <a:gd name="connsiteY21" fmla="*/ 3858932 h 4669341"/>
                <a:gd name="connsiteX22" fmla="*/ 3149328 w 4582231"/>
                <a:gd name="connsiteY22" fmla="*/ 3866104 h 4669341"/>
                <a:gd name="connsiteX23" fmla="*/ 3486401 w 4582231"/>
                <a:gd name="connsiteY23" fmla="*/ 4117116 h 4669341"/>
                <a:gd name="connsiteX24" fmla="*/ 3794787 w 4582231"/>
                <a:gd name="connsiteY24" fmla="*/ 3808730 h 4669341"/>
                <a:gd name="connsiteX25" fmla="*/ 3536603 w 4582231"/>
                <a:gd name="connsiteY25" fmla="*/ 3486000 h 4669341"/>
                <a:gd name="connsiteX26" fmla="*/ 3529431 w 4582231"/>
                <a:gd name="connsiteY26" fmla="*/ 3399939 h 4669341"/>
                <a:gd name="connsiteX27" fmla="*/ 3715897 w 4582231"/>
                <a:gd name="connsiteY27" fmla="*/ 2948118 h 4669341"/>
                <a:gd name="connsiteX28" fmla="*/ 3780443 w 4582231"/>
                <a:gd name="connsiteY28" fmla="*/ 2890744 h 4669341"/>
                <a:gd name="connsiteX29" fmla="*/ 4189234 w 4582231"/>
                <a:gd name="connsiteY29" fmla="*/ 2840541 h 4669341"/>
                <a:gd name="connsiteX30" fmla="*/ 4189234 w 4582231"/>
                <a:gd name="connsiteY30" fmla="*/ 2689934 h 4669341"/>
                <a:gd name="connsiteX31" fmla="*/ 3407511 w 4582231"/>
                <a:gd name="connsiteY31" fmla="*/ 2689934 h 4669341"/>
                <a:gd name="connsiteX32" fmla="*/ 2489526 w 4582231"/>
                <a:gd name="connsiteY32" fmla="*/ 3722669 h 4669341"/>
                <a:gd name="connsiteX33" fmla="*/ 2403464 w 4582231"/>
                <a:gd name="connsiteY33" fmla="*/ 3665294 h 4669341"/>
                <a:gd name="connsiteX34" fmla="*/ 2460839 w 4582231"/>
                <a:gd name="connsiteY34" fmla="*/ 3579233 h 4669341"/>
                <a:gd name="connsiteX35" fmla="*/ 3264076 w 4582231"/>
                <a:gd name="connsiteY35" fmla="*/ 2689934 h 4669341"/>
                <a:gd name="connsiteX36" fmla="*/ 2216998 w 4582231"/>
                <a:gd name="connsiteY36" fmla="*/ 2051647 h 4669341"/>
                <a:gd name="connsiteX37" fmla="*/ 2123766 w 4582231"/>
                <a:gd name="connsiteY37" fmla="*/ 2553671 h 4669341"/>
                <a:gd name="connsiteX38" fmla="*/ 2460839 w 4582231"/>
                <a:gd name="connsiteY38" fmla="*/ 2553671 h 4669341"/>
                <a:gd name="connsiteX39" fmla="*/ 2367605 w 4582231"/>
                <a:gd name="connsiteY39" fmla="*/ 2051647 h 4669341"/>
                <a:gd name="connsiteX40" fmla="*/ 3385996 w 4582231"/>
                <a:gd name="connsiteY40" fmla="*/ 1987102 h 4669341"/>
                <a:gd name="connsiteX41" fmla="*/ 3292763 w 4582231"/>
                <a:gd name="connsiteY41" fmla="*/ 2008617 h 4669341"/>
                <a:gd name="connsiteX42" fmla="*/ 3027408 w 4582231"/>
                <a:gd name="connsiteY42" fmla="*/ 2381549 h 4669341"/>
                <a:gd name="connsiteX43" fmla="*/ 3027408 w 4582231"/>
                <a:gd name="connsiteY43" fmla="*/ 2553671 h 4669341"/>
                <a:gd name="connsiteX44" fmla="*/ 4440246 w 4582231"/>
                <a:gd name="connsiteY44" fmla="*/ 2553671 h 4669341"/>
                <a:gd name="connsiteX45" fmla="*/ 4440246 w 4582231"/>
                <a:gd name="connsiteY45" fmla="*/ 2381549 h 4669341"/>
                <a:gd name="connsiteX46" fmla="*/ 4088829 w 4582231"/>
                <a:gd name="connsiteY46" fmla="*/ 1987102 h 4669341"/>
                <a:gd name="connsiteX47" fmla="*/ 3787615 w 4582231"/>
                <a:gd name="connsiteY47" fmla="*/ 2288316 h 4669341"/>
                <a:gd name="connsiteX48" fmla="*/ 3687210 w 4582231"/>
                <a:gd name="connsiteY48" fmla="*/ 2288316 h 4669341"/>
                <a:gd name="connsiteX49" fmla="*/ 3565290 w 4582231"/>
                <a:gd name="connsiteY49" fmla="*/ 1836494 h 4669341"/>
                <a:gd name="connsiteX50" fmla="*/ 3507916 w 4582231"/>
                <a:gd name="connsiteY50" fmla="*/ 1915384 h 4669341"/>
                <a:gd name="connsiteX51" fmla="*/ 3730241 w 4582231"/>
                <a:gd name="connsiteY51" fmla="*/ 2137708 h 4669341"/>
                <a:gd name="connsiteX52" fmla="*/ 3952566 w 4582231"/>
                <a:gd name="connsiteY52" fmla="*/ 1915384 h 4669341"/>
                <a:gd name="connsiteX53" fmla="*/ 3895192 w 4582231"/>
                <a:gd name="connsiteY53" fmla="*/ 1836494 h 4669341"/>
                <a:gd name="connsiteX54" fmla="*/ 3565290 w 4582231"/>
                <a:gd name="connsiteY54" fmla="*/ 1836494 h 4669341"/>
                <a:gd name="connsiteX55" fmla="*/ 2632961 w 4582231"/>
                <a:gd name="connsiteY55" fmla="*/ 1635685 h 4669341"/>
                <a:gd name="connsiteX56" fmla="*/ 2496697 w 4582231"/>
                <a:gd name="connsiteY56" fmla="*/ 1987102 h 4669341"/>
                <a:gd name="connsiteX57" fmla="*/ 2597102 w 4582231"/>
                <a:gd name="connsiteY57" fmla="*/ 2553671 h 4669341"/>
                <a:gd name="connsiteX58" fmla="*/ 2876801 w 4582231"/>
                <a:gd name="connsiteY58" fmla="*/ 2553671 h 4669341"/>
                <a:gd name="connsiteX59" fmla="*/ 2876801 w 4582231"/>
                <a:gd name="connsiteY59" fmla="*/ 2381549 h 4669341"/>
                <a:gd name="connsiteX60" fmla="*/ 3178015 w 4582231"/>
                <a:gd name="connsiteY60" fmla="*/ 1901040 h 4669341"/>
                <a:gd name="connsiteX61" fmla="*/ 2819427 w 4582231"/>
                <a:gd name="connsiteY61" fmla="*/ 1635685 h 4669341"/>
                <a:gd name="connsiteX62" fmla="*/ 2095078 w 4582231"/>
                <a:gd name="connsiteY62" fmla="*/ 1635685 h 4669341"/>
                <a:gd name="connsiteX63" fmla="*/ 2202655 w 4582231"/>
                <a:gd name="connsiteY63" fmla="*/ 1901040 h 4669341"/>
                <a:gd name="connsiteX64" fmla="*/ 2374777 w 4582231"/>
                <a:gd name="connsiteY64" fmla="*/ 1901040 h 4669341"/>
                <a:gd name="connsiteX65" fmla="*/ 2482354 w 4582231"/>
                <a:gd name="connsiteY65" fmla="*/ 1635685 h 4669341"/>
                <a:gd name="connsiteX66" fmla="*/ 1750834 w 4582231"/>
                <a:gd name="connsiteY66" fmla="*/ 1635685 h 4669341"/>
                <a:gd name="connsiteX67" fmla="*/ 1392245 w 4582231"/>
                <a:gd name="connsiteY67" fmla="*/ 1901040 h 4669341"/>
                <a:gd name="connsiteX68" fmla="*/ 1686288 w 4582231"/>
                <a:gd name="connsiteY68" fmla="*/ 2317003 h 4669341"/>
                <a:gd name="connsiteX69" fmla="*/ 1621742 w 4582231"/>
                <a:gd name="connsiteY69" fmla="*/ 2395892 h 4669341"/>
                <a:gd name="connsiteX70" fmla="*/ 1542853 w 4582231"/>
                <a:gd name="connsiteY70" fmla="*/ 2331346 h 4669341"/>
                <a:gd name="connsiteX71" fmla="*/ 1191436 w 4582231"/>
                <a:gd name="connsiteY71" fmla="*/ 1987102 h 4669341"/>
                <a:gd name="connsiteX72" fmla="*/ 890222 w 4582231"/>
                <a:gd name="connsiteY72" fmla="*/ 2288316 h 4669341"/>
                <a:gd name="connsiteX73" fmla="*/ 789817 w 4582231"/>
                <a:gd name="connsiteY73" fmla="*/ 2288316 h 4669341"/>
                <a:gd name="connsiteX74" fmla="*/ 488603 w 4582231"/>
                <a:gd name="connsiteY74" fmla="*/ 1987102 h 4669341"/>
                <a:gd name="connsiteX75" fmla="*/ 137187 w 4582231"/>
                <a:gd name="connsiteY75" fmla="*/ 2381549 h 4669341"/>
                <a:gd name="connsiteX76" fmla="*/ 137187 w 4582231"/>
                <a:gd name="connsiteY76" fmla="*/ 2553671 h 4669341"/>
                <a:gd name="connsiteX77" fmla="*/ 1973158 w 4582231"/>
                <a:gd name="connsiteY77" fmla="*/ 2553671 h 4669341"/>
                <a:gd name="connsiteX78" fmla="*/ 2073563 w 4582231"/>
                <a:gd name="connsiteY78" fmla="*/ 1987102 h 4669341"/>
                <a:gd name="connsiteX79" fmla="*/ 1937300 w 4582231"/>
                <a:gd name="connsiteY79" fmla="*/ 1635685 h 4669341"/>
                <a:gd name="connsiteX80" fmla="*/ 560321 w 4582231"/>
                <a:gd name="connsiteY80" fmla="*/ 1205379 h 4669341"/>
                <a:gd name="connsiteX81" fmla="*/ 560321 w 4582231"/>
                <a:gd name="connsiteY81" fmla="*/ 1377502 h 4669341"/>
                <a:gd name="connsiteX82" fmla="*/ 861536 w 4582231"/>
                <a:gd name="connsiteY82" fmla="*/ 1664372 h 4669341"/>
                <a:gd name="connsiteX83" fmla="*/ 1134063 w 4582231"/>
                <a:gd name="connsiteY83" fmla="*/ 1377502 h 4669341"/>
                <a:gd name="connsiteX84" fmla="*/ 1134063 w 4582231"/>
                <a:gd name="connsiteY84" fmla="*/ 1205379 h 4669341"/>
                <a:gd name="connsiteX85" fmla="*/ 3758928 w 4582231"/>
                <a:gd name="connsiteY85" fmla="*/ 1148005 h 4669341"/>
                <a:gd name="connsiteX86" fmla="*/ 3350137 w 4582231"/>
                <a:gd name="connsiteY86" fmla="*/ 1320127 h 4669341"/>
                <a:gd name="connsiteX87" fmla="*/ 3464886 w 4582231"/>
                <a:gd name="connsiteY87" fmla="*/ 1614170 h 4669341"/>
                <a:gd name="connsiteX88" fmla="*/ 4117516 w 4582231"/>
                <a:gd name="connsiteY88" fmla="*/ 1341643 h 4669341"/>
                <a:gd name="connsiteX89" fmla="*/ 4117516 w 4582231"/>
                <a:gd name="connsiteY89" fmla="*/ 1212551 h 4669341"/>
                <a:gd name="connsiteX90" fmla="*/ 3758928 w 4582231"/>
                <a:gd name="connsiteY90" fmla="*/ 1148005 h 4669341"/>
                <a:gd name="connsiteX91" fmla="*/ 3608321 w 4582231"/>
                <a:gd name="connsiteY91" fmla="*/ 839619 h 4669341"/>
                <a:gd name="connsiteX92" fmla="*/ 3350137 w 4582231"/>
                <a:gd name="connsiteY92" fmla="*/ 1097803 h 4669341"/>
                <a:gd name="connsiteX93" fmla="*/ 3350137 w 4582231"/>
                <a:gd name="connsiteY93" fmla="*/ 1176692 h 4669341"/>
                <a:gd name="connsiteX94" fmla="*/ 3680039 w 4582231"/>
                <a:gd name="connsiteY94" fmla="*/ 990226 h 4669341"/>
                <a:gd name="connsiteX95" fmla="*/ 3809130 w 4582231"/>
                <a:gd name="connsiteY95" fmla="*/ 983054 h 4669341"/>
                <a:gd name="connsiteX96" fmla="*/ 3959737 w 4582231"/>
                <a:gd name="connsiteY96" fmla="*/ 1104974 h 4669341"/>
                <a:gd name="connsiteX97" fmla="*/ 4103173 w 4582231"/>
                <a:gd name="connsiteY97" fmla="*/ 1040428 h 4669341"/>
                <a:gd name="connsiteX98" fmla="*/ 3852161 w 4582231"/>
                <a:gd name="connsiteY98" fmla="*/ 839619 h 4669341"/>
                <a:gd name="connsiteX99" fmla="*/ 409714 w 4582231"/>
                <a:gd name="connsiteY99" fmla="*/ 839619 h 4669341"/>
                <a:gd name="connsiteX100" fmla="*/ 409714 w 4582231"/>
                <a:gd name="connsiteY100" fmla="*/ 947196 h 4669341"/>
                <a:gd name="connsiteX101" fmla="*/ 517291 w 4582231"/>
                <a:gd name="connsiteY101" fmla="*/ 1054772 h 4669341"/>
                <a:gd name="connsiteX102" fmla="*/ 1162750 w 4582231"/>
                <a:gd name="connsiteY102" fmla="*/ 1054772 h 4669341"/>
                <a:gd name="connsiteX103" fmla="*/ 1270326 w 4582231"/>
                <a:gd name="connsiteY103" fmla="*/ 947196 h 4669341"/>
                <a:gd name="connsiteX104" fmla="*/ 1162750 w 4582231"/>
                <a:gd name="connsiteY104" fmla="*/ 839619 h 4669341"/>
                <a:gd name="connsiteX105" fmla="*/ 337997 w 4582231"/>
                <a:gd name="connsiteY105" fmla="*/ 696184 h 4669341"/>
                <a:gd name="connsiteX106" fmla="*/ 1169921 w 4582231"/>
                <a:gd name="connsiteY106" fmla="*/ 696184 h 4669341"/>
                <a:gd name="connsiteX107" fmla="*/ 1277498 w 4582231"/>
                <a:gd name="connsiteY107" fmla="*/ 1176692 h 4669341"/>
                <a:gd name="connsiteX108" fmla="*/ 1277498 w 4582231"/>
                <a:gd name="connsiteY108" fmla="*/ 1377502 h 4669341"/>
                <a:gd name="connsiteX109" fmla="*/ 868707 w 4582231"/>
                <a:gd name="connsiteY109" fmla="*/ 1807808 h 4669341"/>
                <a:gd name="connsiteX110" fmla="*/ 409714 w 4582231"/>
                <a:gd name="connsiteY110" fmla="*/ 1377502 h 4669341"/>
                <a:gd name="connsiteX111" fmla="*/ 409714 w 4582231"/>
                <a:gd name="connsiteY111" fmla="*/ 1176692 h 4669341"/>
                <a:gd name="connsiteX112" fmla="*/ 266279 w 4582231"/>
                <a:gd name="connsiteY112" fmla="*/ 947196 h 4669341"/>
                <a:gd name="connsiteX113" fmla="*/ 266279 w 4582231"/>
                <a:gd name="connsiteY113" fmla="*/ 767902 h 4669341"/>
                <a:gd name="connsiteX114" fmla="*/ 337997 w 4582231"/>
                <a:gd name="connsiteY114" fmla="*/ 696184 h 4669341"/>
                <a:gd name="connsiteX115" fmla="*/ 3608321 w 4582231"/>
                <a:gd name="connsiteY115" fmla="*/ 689012 h 4669341"/>
                <a:gd name="connsiteX116" fmla="*/ 3852161 w 4582231"/>
                <a:gd name="connsiteY116" fmla="*/ 689012 h 4669341"/>
                <a:gd name="connsiteX117" fmla="*/ 4253780 w 4582231"/>
                <a:gd name="connsiteY117" fmla="*/ 1090631 h 4669341"/>
                <a:gd name="connsiteX118" fmla="*/ 4253780 w 4582231"/>
                <a:gd name="connsiteY118" fmla="*/ 1334471 h 4669341"/>
                <a:gd name="connsiteX119" fmla="*/ 4024283 w 4582231"/>
                <a:gd name="connsiteY119" fmla="*/ 1771949 h 4669341"/>
                <a:gd name="connsiteX120" fmla="*/ 4081657 w 4582231"/>
                <a:gd name="connsiteY120" fmla="*/ 1836494 h 4669341"/>
                <a:gd name="connsiteX121" fmla="*/ 4576509 w 4582231"/>
                <a:gd name="connsiteY121" fmla="*/ 2374377 h 4669341"/>
                <a:gd name="connsiteX122" fmla="*/ 4576509 w 4582231"/>
                <a:gd name="connsiteY122" fmla="*/ 2596702 h 4669341"/>
                <a:gd name="connsiteX123" fmla="*/ 4511963 w 4582231"/>
                <a:gd name="connsiteY123" fmla="*/ 2689934 h 4669341"/>
                <a:gd name="connsiteX124" fmla="*/ 4339841 w 4582231"/>
                <a:gd name="connsiteY124" fmla="*/ 2689934 h 4669341"/>
                <a:gd name="connsiteX125" fmla="*/ 4339841 w 4582231"/>
                <a:gd name="connsiteY125" fmla="*/ 2905087 h 4669341"/>
                <a:gd name="connsiteX126" fmla="*/ 4275295 w 4582231"/>
                <a:gd name="connsiteY126" fmla="*/ 2976805 h 4669341"/>
                <a:gd name="connsiteX127" fmla="*/ 3852161 w 4582231"/>
                <a:gd name="connsiteY127" fmla="*/ 3027007 h 4669341"/>
                <a:gd name="connsiteX128" fmla="*/ 3680039 w 4582231"/>
                <a:gd name="connsiteY128" fmla="*/ 3435798 h 4669341"/>
                <a:gd name="connsiteX129" fmla="*/ 3945394 w 4582231"/>
                <a:gd name="connsiteY129" fmla="*/ 3772871 h 4669341"/>
                <a:gd name="connsiteX130" fmla="*/ 3938222 w 4582231"/>
                <a:gd name="connsiteY130" fmla="*/ 3866104 h 4669341"/>
                <a:gd name="connsiteX131" fmla="*/ 3536603 w 4582231"/>
                <a:gd name="connsiteY131" fmla="*/ 4267723 h 4669341"/>
                <a:gd name="connsiteX132" fmla="*/ 3443370 w 4582231"/>
                <a:gd name="connsiteY132" fmla="*/ 4274894 h 4669341"/>
                <a:gd name="connsiteX133" fmla="*/ 3106297 w 4582231"/>
                <a:gd name="connsiteY133" fmla="*/ 4009539 h 4669341"/>
                <a:gd name="connsiteX134" fmla="*/ 2697507 w 4582231"/>
                <a:gd name="connsiteY134" fmla="*/ 4181661 h 4669341"/>
                <a:gd name="connsiteX135" fmla="*/ 2647304 w 4582231"/>
                <a:gd name="connsiteY135" fmla="*/ 4604795 h 4669341"/>
                <a:gd name="connsiteX136" fmla="*/ 2575587 w 4582231"/>
                <a:gd name="connsiteY136" fmla="*/ 4669341 h 4669341"/>
                <a:gd name="connsiteX137" fmla="*/ 2009017 w 4582231"/>
                <a:gd name="connsiteY137" fmla="*/ 4669341 h 4669341"/>
                <a:gd name="connsiteX138" fmla="*/ 1937300 w 4582231"/>
                <a:gd name="connsiteY138" fmla="*/ 4604795 h 4669341"/>
                <a:gd name="connsiteX139" fmla="*/ 1887097 w 4582231"/>
                <a:gd name="connsiteY139" fmla="*/ 4181661 h 4669341"/>
                <a:gd name="connsiteX140" fmla="*/ 1478307 w 4582231"/>
                <a:gd name="connsiteY140" fmla="*/ 4009539 h 4669341"/>
                <a:gd name="connsiteX141" fmla="*/ 1141234 w 4582231"/>
                <a:gd name="connsiteY141" fmla="*/ 4274894 h 4669341"/>
                <a:gd name="connsiteX142" fmla="*/ 1048001 w 4582231"/>
                <a:gd name="connsiteY142" fmla="*/ 4267723 h 4669341"/>
                <a:gd name="connsiteX143" fmla="*/ 646382 w 4582231"/>
                <a:gd name="connsiteY143" fmla="*/ 3866104 h 4669341"/>
                <a:gd name="connsiteX144" fmla="*/ 639210 w 4582231"/>
                <a:gd name="connsiteY144" fmla="*/ 3772871 h 4669341"/>
                <a:gd name="connsiteX145" fmla="*/ 904565 w 4582231"/>
                <a:gd name="connsiteY145" fmla="*/ 3442970 h 4669341"/>
                <a:gd name="connsiteX146" fmla="*/ 732443 w 4582231"/>
                <a:gd name="connsiteY146" fmla="*/ 3034179 h 4669341"/>
                <a:gd name="connsiteX147" fmla="*/ 309309 w 4582231"/>
                <a:gd name="connsiteY147" fmla="*/ 2983977 h 4669341"/>
                <a:gd name="connsiteX148" fmla="*/ 244763 w 4582231"/>
                <a:gd name="connsiteY148" fmla="*/ 2912259 h 4669341"/>
                <a:gd name="connsiteX149" fmla="*/ 244763 w 4582231"/>
                <a:gd name="connsiteY149" fmla="*/ 2697106 h 4669341"/>
                <a:gd name="connsiteX150" fmla="*/ 65469 w 4582231"/>
                <a:gd name="connsiteY150" fmla="*/ 2697106 h 4669341"/>
                <a:gd name="connsiteX151" fmla="*/ 923 w 4582231"/>
                <a:gd name="connsiteY151" fmla="*/ 2625388 h 4669341"/>
                <a:gd name="connsiteX152" fmla="*/ 923 w 4582231"/>
                <a:gd name="connsiteY152" fmla="*/ 2381549 h 4669341"/>
                <a:gd name="connsiteX153" fmla="*/ 524462 w 4582231"/>
                <a:gd name="connsiteY153" fmla="*/ 1843666 h 4669341"/>
                <a:gd name="connsiteX154" fmla="*/ 847191 w 4582231"/>
                <a:gd name="connsiteY154" fmla="*/ 2137708 h 4669341"/>
                <a:gd name="connsiteX155" fmla="*/ 1119718 w 4582231"/>
                <a:gd name="connsiteY155" fmla="*/ 1865181 h 4669341"/>
                <a:gd name="connsiteX156" fmla="*/ 1169921 w 4582231"/>
                <a:gd name="connsiteY156" fmla="*/ 1843666 h 4669341"/>
                <a:gd name="connsiteX157" fmla="*/ 1263154 w 4582231"/>
                <a:gd name="connsiteY157" fmla="*/ 1850838 h 4669341"/>
                <a:gd name="connsiteX158" fmla="*/ 1758006 w 4582231"/>
                <a:gd name="connsiteY158" fmla="*/ 1492250 h 4669341"/>
                <a:gd name="connsiteX159" fmla="*/ 2826598 w 4582231"/>
                <a:gd name="connsiteY159" fmla="*/ 1492250 h 4669341"/>
                <a:gd name="connsiteX160" fmla="*/ 3321450 w 4582231"/>
                <a:gd name="connsiteY160" fmla="*/ 1850838 h 4669341"/>
                <a:gd name="connsiteX161" fmla="*/ 3378824 w 4582231"/>
                <a:gd name="connsiteY161" fmla="*/ 1843666 h 4669341"/>
                <a:gd name="connsiteX162" fmla="*/ 3436198 w 4582231"/>
                <a:gd name="connsiteY162" fmla="*/ 1771949 h 4669341"/>
                <a:gd name="connsiteX163" fmla="*/ 3357309 w 4582231"/>
                <a:gd name="connsiteY163" fmla="*/ 1707403 h 4669341"/>
                <a:gd name="connsiteX164" fmla="*/ 3206702 w 4582231"/>
                <a:gd name="connsiteY164" fmla="*/ 1334471 h 4669341"/>
                <a:gd name="connsiteX165" fmla="*/ 3206702 w 4582231"/>
                <a:gd name="connsiteY165" fmla="*/ 1090631 h 4669341"/>
                <a:gd name="connsiteX166" fmla="*/ 3608321 w 4582231"/>
                <a:gd name="connsiteY166" fmla="*/ 689012 h 4669341"/>
                <a:gd name="connsiteX167" fmla="*/ 2001846 w 4582231"/>
                <a:gd name="connsiteY167" fmla="*/ 653153 h 4669341"/>
                <a:gd name="connsiteX168" fmla="*/ 1915785 w 4582231"/>
                <a:gd name="connsiteY168" fmla="*/ 818104 h 4669341"/>
                <a:gd name="connsiteX169" fmla="*/ 1915785 w 4582231"/>
                <a:gd name="connsiteY169" fmla="*/ 896993 h 4669341"/>
                <a:gd name="connsiteX170" fmla="*/ 2281545 w 4582231"/>
                <a:gd name="connsiteY170" fmla="*/ 1262753 h 4669341"/>
                <a:gd name="connsiteX171" fmla="*/ 2647305 w 4582231"/>
                <a:gd name="connsiteY171" fmla="*/ 896993 h 4669341"/>
                <a:gd name="connsiteX172" fmla="*/ 2640133 w 4582231"/>
                <a:gd name="connsiteY172" fmla="*/ 896993 h 4669341"/>
                <a:gd name="connsiteX173" fmla="*/ 2640133 w 4582231"/>
                <a:gd name="connsiteY173" fmla="*/ 818104 h 4669341"/>
                <a:gd name="connsiteX174" fmla="*/ 2525385 w 4582231"/>
                <a:gd name="connsiteY174" fmla="*/ 653153 h 4669341"/>
                <a:gd name="connsiteX175" fmla="*/ 2576148 w 4582231"/>
                <a:gd name="connsiteY175" fmla="*/ 135441 h 4669341"/>
                <a:gd name="connsiteX176" fmla="*/ 2475183 w 4582231"/>
                <a:gd name="connsiteY176" fmla="*/ 194160 h 4669341"/>
                <a:gd name="connsiteX177" fmla="*/ 2453667 w 4582231"/>
                <a:gd name="connsiteY177" fmla="*/ 230019 h 4669341"/>
                <a:gd name="connsiteX178" fmla="*/ 2367606 w 4582231"/>
                <a:gd name="connsiteY178" fmla="*/ 273050 h 4669341"/>
                <a:gd name="connsiteX179" fmla="*/ 1844067 w 4582231"/>
                <a:gd name="connsiteY179" fmla="*/ 423657 h 4669341"/>
                <a:gd name="connsiteX180" fmla="*/ 1844067 w 4582231"/>
                <a:gd name="connsiteY180" fmla="*/ 638810 h 4669341"/>
                <a:gd name="connsiteX181" fmla="*/ 1879926 w 4582231"/>
                <a:gd name="connsiteY181" fmla="*/ 574264 h 4669341"/>
                <a:gd name="connsiteX182" fmla="*/ 1994674 w 4582231"/>
                <a:gd name="connsiteY182" fmla="*/ 509718 h 4669341"/>
                <a:gd name="connsiteX183" fmla="*/ 2539729 w 4582231"/>
                <a:gd name="connsiteY183" fmla="*/ 509718 h 4669341"/>
                <a:gd name="connsiteX184" fmla="*/ 2647305 w 4582231"/>
                <a:gd name="connsiteY184" fmla="*/ 567092 h 4669341"/>
                <a:gd name="connsiteX185" fmla="*/ 2711851 w 4582231"/>
                <a:gd name="connsiteY185" fmla="*/ 653153 h 4669341"/>
                <a:gd name="connsiteX186" fmla="*/ 2805084 w 4582231"/>
                <a:gd name="connsiteY186" fmla="*/ 373454 h 4669341"/>
                <a:gd name="connsiteX187" fmla="*/ 2576148 w 4582231"/>
                <a:gd name="connsiteY187" fmla="*/ 135441 h 4669341"/>
                <a:gd name="connsiteX188" fmla="*/ 2589311 w 4582231"/>
                <a:gd name="connsiteY188" fmla="*/ 274 h 4669341"/>
                <a:gd name="connsiteX189" fmla="*/ 2941347 w 4582231"/>
                <a:gd name="connsiteY189" fmla="*/ 416485 h 4669341"/>
                <a:gd name="connsiteX190" fmla="*/ 2790740 w 4582231"/>
                <a:gd name="connsiteY190" fmla="*/ 818104 h 4669341"/>
                <a:gd name="connsiteX191" fmla="*/ 2790740 w 4582231"/>
                <a:gd name="connsiteY191" fmla="*/ 896993 h 4669341"/>
                <a:gd name="connsiteX192" fmla="*/ 2281545 w 4582231"/>
                <a:gd name="connsiteY192" fmla="*/ 1406188 h 4669341"/>
                <a:gd name="connsiteX193" fmla="*/ 1779521 w 4582231"/>
                <a:gd name="connsiteY193" fmla="*/ 896993 h 4669341"/>
                <a:gd name="connsiteX194" fmla="*/ 1779521 w 4582231"/>
                <a:gd name="connsiteY194" fmla="*/ 818104 h 4669341"/>
                <a:gd name="connsiteX195" fmla="*/ 1707804 w 4582231"/>
                <a:gd name="connsiteY195" fmla="*/ 394970 h 4669341"/>
                <a:gd name="connsiteX196" fmla="*/ 1851239 w 4582231"/>
                <a:gd name="connsiteY196" fmla="*/ 201332 h 4669341"/>
                <a:gd name="connsiteX197" fmla="*/ 2346091 w 4582231"/>
                <a:gd name="connsiteY197" fmla="*/ 129614 h 4669341"/>
                <a:gd name="connsiteX198" fmla="*/ 2589311 w 4582231"/>
                <a:gd name="connsiteY198" fmla="*/ 274 h 4669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Lst>
              <a:rect l="l" t="t" r="r" b="b"/>
              <a:pathLst>
                <a:path w="4582231" h="4669341">
                  <a:moveTo>
                    <a:pt x="1320528" y="2689934"/>
                  </a:moveTo>
                  <a:cubicBezTo>
                    <a:pt x="1356387" y="3163271"/>
                    <a:pt x="1722147" y="3543375"/>
                    <a:pt x="2195483" y="3593577"/>
                  </a:cubicBezTo>
                  <a:cubicBezTo>
                    <a:pt x="2238514" y="3600749"/>
                    <a:pt x="2267201" y="3636607"/>
                    <a:pt x="2260029" y="3672466"/>
                  </a:cubicBezTo>
                  <a:cubicBezTo>
                    <a:pt x="2252857" y="3708325"/>
                    <a:pt x="2224170" y="3737012"/>
                    <a:pt x="2181140" y="3737012"/>
                  </a:cubicBezTo>
                  <a:cubicBezTo>
                    <a:pt x="1628914" y="3686810"/>
                    <a:pt x="1212951" y="3242160"/>
                    <a:pt x="1177093" y="2697106"/>
                  </a:cubicBezTo>
                  <a:lnTo>
                    <a:pt x="395370" y="2697106"/>
                  </a:lnTo>
                  <a:lnTo>
                    <a:pt x="395370" y="2847713"/>
                  </a:lnTo>
                  <a:lnTo>
                    <a:pt x="804161" y="2897916"/>
                  </a:lnTo>
                  <a:cubicBezTo>
                    <a:pt x="840020" y="2905087"/>
                    <a:pt x="861535" y="2926603"/>
                    <a:pt x="868707" y="2955290"/>
                  </a:cubicBezTo>
                  <a:cubicBezTo>
                    <a:pt x="904565" y="3113069"/>
                    <a:pt x="969111" y="3263676"/>
                    <a:pt x="1055172" y="3407111"/>
                  </a:cubicBezTo>
                  <a:cubicBezTo>
                    <a:pt x="1069516" y="3435798"/>
                    <a:pt x="1069516" y="3471657"/>
                    <a:pt x="1048001" y="3493172"/>
                  </a:cubicBezTo>
                  <a:lnTo>
                    <a:pt x="789817" y="3815902"/>
                  </a:lnTo>
                  <a:lnTo>
                    <a:pt x="1098203" y="4124287"/>
                  </a:lnTo>
                  <a:lnTo>
                    <a:pt x="1420933" y="3866104"/>
                  </a:lnTo>
                  <a:cubicBezTo>
                    <a:pt x="1449620" y="3844588"/>
                    <a:pt x="1478307" y="3844588"/>
                    <a:pt x="1506994" y="3858932"/>
                  </a:cubicBezTo>
                  <a:cubicBezTo>
                    <a:pt x="1643257" y="3944993"/>
                    <a:pt x="1793864" y="4009539"/>
                    <a:pt x="1958815" y="4045398"/>
                  </a:cubicBezTo>
                  <a:cubicBezTo>
                    <a:pt x="1987502" y="4052570"/>
                    <a:pt x="2009017" y="4081257"/>
                    <a:pt x="2016189" y="4109944"/>
                  </a:cubicBezTo>
                  <a:lnTo>
                    <a:pt x="2066391" y="4518734"/>
                  </a:lnTo>
                  <a:lnTo>
                    <a:pt x="2503869" y="4518734"/>
                  </a:lnTo>
                  <a:lnTo>
                    <a:pt x="2554071" y="4109944"/>
                  </a:lnTo>
                  <a:cubicBezTo>
                    <a:pt x="2561243" y="4074085"/>
                    <a:pt x="2582758" y="4052570"/>
                    <a:pt x="2611446" y="4045398"/>
                  </a:cubicBezTo>
                  <a:cubicBezTo>
                    <a:pt x="2769224" y="4009539"/>
                    <a:pt x="2919831" y="3944993"/>
                    <a:pt x="3063267" y="3858932"/>
                  </a:cubicBezTo>
                  <a:cubicBezTo>
                    <a:pt x="3091954" y="3844588"/>
                    <a:pt x="3127813" y="3844588"/>
                    <a:pt x="3149328" y="3866104"/>
                  </a:cubicBezTo>
                  <a:lnTo>
                    <a:pt x="3486401" y="4117116"/>
                  </a:lnTo>
                  <a:lnTo>
                    <a:pt x="3794787" y="3808730"/>
                  </a:lnTo>
                  <a:lnTo>
                    <a:pt x="3536603" y="3486000"/>
                  </a:lnTo>
                  <a:cubicBezTo>
                    <a:pt x="3515088" y="3457313"/>
                    <a:pt x="3515088" y="3428626"/>
                    <a:pt x="3529431" y="3399939"/>
                  </a:cubicBezTo>
                  <a:cubicBezTo>
                    <a:pt x="3615493" y="3263676"/>
                    <a:pt x="3680039" y="3113069"/>
                    <a:pt x="3715897" y="2948118"/>
                  </a:cubicBezTo>
                  <a:cubicBezTo>
                    <a:pt x="3723069" y="2919431"/>
                    <a:pt x="3751756" y="2890744"/>
                    <a:pt x="3780443" y="2890744"/>
                  </a:cubicBezTo>
                  <a:lnTo>
                    <a:pt x="4189234" y="2840541"/>
                  </a:lnTo>
                  <a:lnTo>
                    <a:pt x="4189234" y="2689934"/>
                  </a:lnTo>
                  <a:lnTo>
                    <a:pt x="3407511" y="2689934"/>
                  </a:lnTo>
                  <a:cubicBezTo>
                    <a:pt x="3378824" y="3206302"/>
                    <a:pt x="2998721" y="3629436"/>
                    <a:pt x="2489526" y="3722669"/>
                  </a:cubicBezTo>
                  <a:cubicBezTo>
                    <a:pt x="2446495" y="3729840"/>
                    <a:pt x="2410636" y="3701153"/>
                    <a:pt x="2403464" y="3665294"/>
                  </a:cubicBezTo>
                  <a:cubicBezTo>
                    <a:pt x="2396293" y="3622264"/>
                    <a:pt x="2424980" y="3586405"/>
                    <a:pt x="2460839" y="3579233"/>
                  </a:cubicBezTo>
                  <a:cubicBezTo>
                    <a:pt x="2905488" y="3500344"/>
                    <a:pt x="3235389" y="3134584"/>
                    <a:pt x="3264076" y="2689934"/>
                  </a:cubicBezTo>
                  <a:close/>
                  <a:moveTo>
                    <a:pt x="2216998" y="2051647"/>
                  </a:moveTo>
                  <a:lnTo>
                    <a:pt x="2123766" y="2553671"/>
                  </a:lnTo>
                  <a:lnTo>
                    <a:pt x="2460839" y="2553671"/>
                  </a:lnTo>
                  <a:lnTo>
                    <a:pt x="2367605" y="2051647"/>
                  </a:lnTo>
                  <a:close/>
                  <a:moveTo>
                    <a:pt x="3385996" y="1987102"/>
                  </a:moveTo>
                  <a:cubicBezTo>
                    <a:pt x="3350137" y="1994273"/>
                    <a:pt x="3321450" y="2001445"/>
                    <a:pt x="3292763" y="2008617"/>
                  </a:cubicBezTo>
                  <a:cubicBezTo>
                    <a:pt x="3127813" y="2065991"/>
                    <a:pt x="3027408" y="2216598"/>
                    <a:pt x="3027408" y="2381549"/>
                  </a:cubicBezTo>
                  <a:lnTo>
                    <a:pt x="3027408" y="2553671"/>
                  </a:lnTo>
                  <a:lnTo>
                    <a:pt x="4440246" y="2553671"/>
                  </a:lnTo>
                  <a:lnTo>
                    <a:pt x="4440246" y="2381549"/>
                  </a:lnTo>
                  <a:cubicBezTo>
                    <a:pt x="4440246" y="2173567"/>
                    <a:pt x="4289639" y="2008617"/>
                    <a:pt x="4088829" y="1987102"/>
                  </a:cubicBezTo>
                  <a:lnTo>
                    <a:pt x="3787615" y="2288316"/>
                  </a:lnTo>
                  <a:cubicBezTo>
                    <a:pt x="3758928" y="2317003"/>
                    <a:pt x="3715897" y="2317003"/>
                    <a:pt x="3687210" y="2288316"/>
                  </a:cubicBezTo>
                  <a:close/>
                  <a:moveTo>
                    <a:pt x="3565290" y="1836494"/>
                  </a:moveTo>
                  <a:cubicBezTo>
                    <a:pt x="3550947" y="1865181"/>
                    <a:pt x="3529431" y="1893868"/>
                    <a:pt x="3507916" y="1915384"/>
                  </a:cubicBezTo>
                  <a:lnTo>
                    <a:pt x="3730241" y="2137708"/>
                  </a:lnTo>
                  <a:lnTo>
                    <a:pt x="3952566" y="1915384"/>
                  </a:lnTo>
                  <a:cubicBezTo>
                    <a:pt x="3931050" y="1893868"/>
                    <a:pt x="3909535" y="1872353"/>
                    <a:pt x="3895192" y="1836494"/>
                  </a:cubicBezTo>
                  <a:cubicBezTo>
                    <a:pt x="3787615" y="1872353"/>
                    <a:pt x="3680039" y="1872353"/>
                    <a:pt x="3565290" y="1836494"/>
                  </a:cubicBezTo>
                  <a:close/>
                  <a:moveTo>
                    <a:pt x="2632961" y="1635685"/>
                  </a:moveTo>
                  <a:lnTo>
                    <a:pt x="2496697" y="1987102"/>
                  </a:lnTo>
                  <a:lnTo>
                    <a:pt x="2597102" y="2553671"/>
                  </a:lnTo>
                  <a:lnTo>
                    <a:pt x="2876801" y="2553671"/>
                  </a:lnTo>
                  <a:lnTo>
                    <a:pt x="2876801" y="2381549"/>
                  </a:lnTo>
                  <a:cubicBezTo>
                    <a:pt x="2876801" y="2173567"/>
                    <a:pt x="2998721" y="1987102"/>
                    <a:pt x="3178015" y="1901040"/>
                  </a:cubicBezTo>
                  <a:cubicBezTo>
                    <a:pt x="3127813" y="1743261"/>
                    <a:pt x="2984377" y="1635685"/>
                    <a:pt x="2819427" y="1635685"/>
                  </a:cubicBezTo>
                  <a:close/>
                  <a:moveTo>
                    <a:pt x="2095078" y="1635685"/>
                  </a:moveTo>
                  <a:lnTo>
                    <a:pt x="2202655" y="1901040"/>
                  </a:lnTo>
                  <a:lnTo>
                    <a:pt x="2374777" y="1901040"/>
                  </a:lnTo>
                  <a:lnTo>
                    <a:pt x="2482354" y="1635685"/>
                  </a:lnTo>
                  <a:close/>
                  <a:moveTo>
                    <a:pt x="1750834" y="1635685"/>
                  </a:moveTo>
                  <a:cubicBezTo>
                    <a:pt x="1585883" y="1635685"/>
                    <a:pt x="1442448" y="1743261"/>
                    <a:pt x="1392245" y="1901040"/>
                  </a:cubicBezTo>
                  <a:cubicBezTo>
                    <a:pt x="1550024" y="1979930"/>
                    <a:pt x="1664772" y="2137708"/>
                    <a:pt x="1686288" y="2317003"/>
                  </a:cubicBezTo>
                  <a:cubicBezTo>
                    <a:pt x="1686288" y="2352861"/>
                    <a:pt x="1657601" y="2388720"/>
                    <a:pt x="1621742" y="2395892"/>
                  </a:cubicBezTo>
                  <a:cubicBezTo>
                    <a:pt x="1585883" y="2403064"/>
                    <a:pt x="1550024" y="2367205"/>
                    <a:pt x="1542853" y="2331346"/>
                  </a:cubicBezTo>
                  <a:cubicBezTo>
                    <a:pt x="1521337" y="2159224"/>
                    <a:pt x="1385074" y="2008617"/>
                    <a:pt x="1191436" y="1987102"/>
                  </a:cubicBezTo>
                  <a:lnTo>
                    <a:pt x="890222" y="2288316"/>
                  </a:lnTo>
                  <a:cubicBezTo>
                    <a:pt x="861535" y="2317003"/>
                    <a:pt x="818504" y="2317003"/>
                    <a:pt x="789817" y="2288316"/>
                  </a:cubicBezTo>
                  <a:lnTo>
                    <a:pt x="488603" y="1987102"/>
                  </a:lnTo>
                  <a:cubicBezTo>
                    <a:pt x="294965" y="2008617"/>
                    <a:pt x="137187" y="2180739"/>
                    <a:pt x="137187" y="2381549"/>
                  </a:cubicBezTo>
                  <a:lnTo>
                    <a:pt x="137187" y="2553671"/>
                  </a:lnTo>
                  <a:cubicBezTo>
                    <a:pt x="194561" y="2553671"/>
                    <a:pt x="-156856" y="2553671"/>
                    <a:pt x="1973158" y="2553671"/>
                  </a:cubicBezTo>
                  <a:lnTo>
                    <a:pt x="2073563" y="1987102"/>
                  </a:lnTo>
                  <a:lnTo>
                    <a:pt x="1937300" y="1635685"/>
                  </a:lnTo>
                  <a:close/>
                  <a:moveTo>
                    <a:pt x="560321" y="1205379"/>
                  </a:moveTo>
                  <a:lnTo>
                    <a:pt x="560321" y="1377502"/>
                  </a:lnTo>
                  <a:cubicBezTo>
                    <a:pt x="560321" y="1556796"/>
                    <a:pt x="710928" y="1671544"/>
                    <a:pt x="861536" y="1664372"/>
                  </a:cubicBezTo>
                  <a:cubicBezTo>
                    <a:pt x="1012143" y="1657201"/>
                    <a:pt x="1134063" y="1535280"/>
                    <a:pt x="1134063" y="1377502"/>
                  </a:cubicBezTo>
                  <a:lnTo>
                    <a:pt x="1134063" y="1205379"/>
                  </a:lnTo>
                  <a:close/>
                  <a:moveTo>
                    <a:pt x="3758928" y="1148005"/>
                  </a:moveTo>
                  <a:cubicBezTo>
                    <a:pt x="3658523" y="1277097"/>
                    <a:pt x="3522260" y="1341643"/>
                    <a:pt x="3350137" y="1320127"/>
                  </a:cubicBezTo>
                  <a:cubicBezTo>
                    <a:pt x="3350137" y="1327299"/>
                    <a:pt x="3335794" y="1485078"/>
                    <a:pt x="3464886" y="1614170"/>
                  </a:cubicBezTo>
                  <a:cubicBezTo>
                    <a:pt x="3701554" y="1850838"/>
                    <a:pt x="4117516" y="1685887"/>
                    <a:pt x="4117516" y="1341643"/>
                  </a:cubicBezTo>
                  <a:lnTo>
                    <a:pt x="4117516" y="1212551"/>
                  </a:lnTo>
                  <a:cubicBezTo>
                    <a:pt x="3988424" y="1284268"/>
                    <a:pt x="3859333" y="1255581"/>
                    <a:pt x="3758928" y="1148005"/>
                  </a:cubicBezTo>
                  <a:close/>
                  <a:moveTo>
                    <a:pt x="3608321" y="839619"/>
                  </a:moveTo>
                  <a:cubicBezTo>
                    <a:pt x="3464886" y="839619"/>
                    <a:pt x="3350137" y="954367"/>
                    <a:pt x="3350137" y="1097803"/>
                  </a:cubicBezTo>
                  <a:lnTo>
                    <a:pt x="3350137" y="1176692"/>
                  </a:lnTo>
                  <a:cubicBezTo>
                    <a:pt x="3579634" y="1219723"/>
                    <a:pt x="3672867" y="1011741"/>
                    <a:pt x="3680039" y="990226"/>
                  </a:cubicBezTo>
                  <a:cubicBezTo>
                    <a:pt x="3701554" y="932852"/>
                    <a:pt x="3780443" y="932852"/>
                    <a:pt x="3809130" y="983054"/>
                  </a:cubicBezTo>
                  <a:cubicBezTo>
                    <a:pt x="3830646" y="1011741"/>
                    <a:pt x="3888020" y="1097803"/>
                    <a:pt x="3959737" y="1104974"/>
                  </a:cubicBezTo>
                  <a:cubicBezTo>
                    <a:pt x="4002768" y="1112146"/>
                    <a:pt x="4052970" y="1090631"/>
                    <a:pt x="4103173" y="1040428"/>
                  </a:cubicBezTo>
                  <a:cubicBezTo>
                    <a:pt x="4081657" y="925680"/>
                    <a:pt x="3974081" y="839619"/>
                    <a:pt x="3852161" y="839619"/>
                  </a:cubicBezTo>
                  <a:close/>
                  <a:moveTo>
                    <a:pt x="409714" y="839619"/>
                  </a:moveTo>
                  <a:lnTo>
                    <a:pt x="409714" y="947196"/>
                  </a:lnTo>
                  <a:cubicBezTo>
                    <a:pt x="409714" y="1011742"/>
                    <a:pt x="459917" y="1061944"/>
                    <a:pt x="517291" y="1054772"/>
                  </a:cubicBezTo>
                  <a:lnTo>
                    <a:pt x="1162750" y="1054772"/>
                  </a:lnTo>
                  <a:cubicBezTo>
                    <a:pt x="1220124" y="1054772"/>
                    <a:pt x="1270326" y="1011742"/>
                    <a:pt x="1270326" y="947196"/>
                  </a:cubicBezTo>
                  <a:cubicBezTo>
                    <a:pt x="1270326" y="889822"/>
                    <a:pt x="1220124" y="839619"/>
                    <a:pt x="1162750" y="839619"/>
                  </a:cubicBezTo>
                  <a:close/>
                  <a:moveTo>
                    <a:pt x="337997" y="696184"/>
                  </a:moveTo>
                  <a:lnTo>
                    <a:pt x="1169921" y="696184"/>
                  </a:lnTo>
                  <a:cubicBezTo>
                    <a:pt x="1435277" y="696184"/>
                    <a:pt x="1521338" y="1061944"/>
                    <a:pt x="1277498" y="1176692"/>
                  </a:cubicBezTo>
                  <a:lnTo>
                    <a:pt x="1277498" y="1377502"/>
                  </a:lnTo>
                  <a:cubicBezTo>
                    <a:pt x="1277498" y="1606998"/>
                    <a:pt x="1091032" y="1800636"/>
                    <a:pt x="868707" y="1807808"/>
                  </a:cubicBezTo>
                  <a:cubicBezTo>
                    <a:pt x="639211" y="1822151"/>
                    <a:pt x="409714" y="1650029"/>
                    <a:pt x="409714" y="1377502"/>
                  </a:cubicBezTo>
                  <a:lnTo>
                    <a:pt x="409714" y="1176692"/>
                  </a:lnTo>
                  <a:cubicBezTo>
                    <a:pt x="323653" y="1133662"/>
                    <a:pt x="266279" y="1047601"/>
                    <a:pt x="266279" y="947196"/>
                  </a:cubicBezTo>
                  <a:lnTo>
                    <a:pt x="266279" y="767902"/>
                  </a:lnTo>
                  <a:cubicBezTo>
                    <a:pt x="266279" y="724871"/>
                    <a:pt x="294966" y="696184"/>
                    <a:pt x="337997" y="696184"/>
                  </a:cubicBezTo>
                  <a:close/>
                  <a:moveTo>
                    <a:pt x="3608321" y="689012"/>
                  </a:moveTo>
                  <a:lnTo>
                    <a:pt x="3852161" y="689012"/>
                  </a:lnTo>
                  <a:cubicBezTo>
                    <a:pt x="4074486" y="689012"/>
                    <a:pt x="4253780" y="868306"/>
                    <a:pt x="4253780" y="1090631"/>
                  </a:cubicBezTo>
                  <a:lnTo>
                    <a:pt x="4253780" y="1334471"/>
                  </a:lnTo>
                  <a:cubicBezTo>
                    <a:pt x="4253780" y="1513765"/>
                    <a:pt x="4167719" y="1678716"/>
                    <a:pt x="4024283" y="1771949"/>
                  </a:cubicBezTo>
                  <a:cubicBezTo>
                    <a:pt x="4038627" y="1793464"/>
                    <a:pt x="4060142" y="1814979"/>
                    <a:pt x="4081657" y="1836494"/>
                  </a:cubicBezTo>
                  <a:cubicBezTo>
                    <a:pt x="4354184" y="1858010"/>
                    <a:pt x="4576509" y="2094678"/>
                    <a:pt x="4576509" y="2374377"/>
                  </a:cubicBezTo>
                  <a:lnTo>
                    <a:pt x="4576509" y="2596702"/>
                  </a:lnTo>
                  <a:cubicBezTo>
                    <a:pt x="4598024" y="2646904"/>
                    <a:pt x="4554994" y="2689934"/>
                    <a:pt x="4511963" y="2689934"/>
                  </a:cubicBezTo>
                  <a:lnTo>
                    <a:pt x="4339841" y="2689934"/>
                  </a:lnTo>
                  <a:lnTo>
                    <a:pt x="4339841" y="2905087"/>
                  </a:lnTo>
                  <a:cubicBezTo>
                    <a:pt x="4339841" y="2940946"/>
                    <a:pt x="4311154" y="2969633"/>
                    <a:pt x="4275295" y="2976805"/>
                  </a:cubicBezTo>
                  <a:lnTo>
                    <a:pt x="3852161" y="3027007"/>
                  </a:lnTo>
                  <a:cubicBezTo>
                    <a:pt x="3809130" y="3170443"/>
                    <a:pt x="3751756" y="3306706"/>
                    <a:pt x="3680039" y="3435798"/>
                  </a:cubicBezTo>
                  <a:lnTo>
                    <a:pt x="3945394" y="3772871"/>
                  </a:lnTo>
                  <a:cubicBezTo>
                    <a:pt x="3966909" y="3801558"/>
                    <a:pt x="3966909" y="3837417"/>
                    <a:pt x="3938222" y="3866104"/>
                  </a:cubicBezTo>
                  <a:lnTo>
                    <a:pt x="3536603" y="4267723"/>
                  </a:lnTo>
                  <a:cubicBezTo>
                    <a:pt x="3515088" y="4296410"/>
                    <a:pt x="3472057" y="4296410"/>
                    <a:pt x="3443370" y="4274894"/>
                  </a:cubicBezTo>
                  <a:lnTo>
                    <a:pt x="3106297" y="4009539"/>
                  </a:lnTo>
                  <a:cubicBezTo>
                    <a:pt x="2977205" y="4088429"/>
                    <a:pt x="2840942" y="4145803"/>
                    <a:pt x="2697507" y="4181661"/>
                  </a:cubicBezTo>
                  <a:lnTo>
                    <a:pt x="2647304" y="4604795"/>
                  </a:lnTo>
                  <a:cubicBezTo>
                    <a:pt x="2640133" y="4640654"/>
                    <a:pt x="2611446" y="4669341"/>
                    <a:pt x="2575587" y="4669341"/>
                  </a:cubicBezTo>
                  <a:lnTo>
                    <a:pt x="2009017" y="4669341"/>
                  </a:lnTo>
                  <a:cubicBezTo>
                    <a:pt x="1973158" y="4669341"/>
                    <a:pt x="1944471" y="4640654"/>
                    <a:pt x="1937300" y="4604795"/>
                  </a:cubicBezTo>
                  <a:lnTo>
                    <a:pt x="1887097" y="4181661"/>
                  </a:lnTo>
                  <a:cubicBezTo>
                    <a:pt x="1743662" y="4138631"/>
                    <a:pt x="1607398" y="4081257"/>
                    <a:pt x="1478307" y="4009539"/>
                  </a:cubicBezTo>
                  <a:lnTo>
                    <a:pt x="1141234" y="4274894"/>
                  </a:lnTo>
                  <a:cubicBezTo>
                    <a:pt x="1112547" y="4296410"/>
                    <a:pt x="1076688" y="4296410"/>
                    <a:pt x="1048001" y="4267723"/>
                  </a:cubicBezTo>
                  <a:lnTo>
                    <a:pt x="646382" y="3866104"/>
                  </a:lnTo>
                  <a:cubicBezTo>
                    <a:pt x="617695" y="3844588"/>
                    <a:pt x="617695" y="3801558"/>
                    <a:pt x="639210" y="3772871"/>
                  </a:cubicBezTo>
                  <a:lnTo>
                    <a:pt x="904565" y="3442970"/>
                  </a:lnTo>
                  <a:cubicBezTo>
                    <a:pt x="825676" y="3313878"/>
                    <a:pt x="768302" y="3177614"/>
                    <a:pt x="732443" y="3034179"/>
                  </a:cubicBezTo>
                  <a:lnTo>
                    <a:pt x="309309" y="2983977"/>
                  </a:lnTo>
                  <a:cubicBezTo>
                    <a:pt x="273450" y="2976805"/>
                    <a:pt x="244763" y="2948118"/>
                    <a:pt x="244763" y="2912259"/>
                  </a:cubicBezTo>
                  <a:lnTo>
                    <a:pt x="244763" y="2697106"/>
                  </a:lnTo>
                  <a:lnTo>
                    <a:pt x="65469" y="2697106"/>
                  </a:lnTo>
                  <a:cubicBezTo>
                    <a:pt x="29610" y="2697106"/>
                    <a:pt x="-6249" y="2661247"/>
                    <a:pt x="923" y="2625388"/>
                  </a:cubicBezTo>
                  <a:lnTo>
                    <a:pt x="923" y="2381549"/>
                  </a:lnTo>
                  <a:cubicBezTo>
                    <a:pt x="923" y="2087506"/>
                    <a:pt x="237591" y="1850838"/>
                    <a:pt x="524462" y="1843666"/>
                  </a:cubicBezTo>
                  <a:cubicBezTo>
                    <a:pt x="574664" y="1836494"/>
                    <a:pt x="574664" y="1872353"/>
                    <a:pt x="847191" y="2137708"/>
                  </a:cubicBezTo>
                  <a:lnTo>
                    <a:pt x="1119718" y="1865181"/>
                  </a:lnTo>
                  <a:cubicBezTo>
                    <a:pt x="1134062" y="1850838"/>
                    <a:pt x="1148406" y="1843666"/>
                    <a:pt x="1169921" y="1843666"/>
                  </a:cubicBezTo>
                  <a:cubicBezTo>
                    <a:pt x="1205780" y="1843666"/>
                    <a:pt x="1234467" y="1843666"/>
                    <a:pt x="1263154" y="1850838"/>
                  </a:cubicBezTo>
                  <a:cubicBezTo>
                    <a:pt x="1327700" y="1642857"/>
                    <a:pt x="1528509" y="1492250"/>
                    <a:pt x="1758006" y="1492250"/>
                  </a:cubicBezTo>
                  <a:cubicBezTo>
                    <a:pt x="2209827" y="1492250"/>
                    <a:pt x="2625789" y="1492250"/>
                    <a:pt x="2826598" y="1492250"/>
                  </a:cubicBezTo>
                  <a:cubicBezTo>
                    <a:pt x="3056095" y="1492250"/>
                    <a:pt x="3256904" y="1635685"/>
                    <a:pt x="3321450" y="1850838"/>
                  </a:cubicBezTo>
                  <a:cubicBezTo>
                    <a:pt x="3335794" y="1843666"/>
                    <a:pt x="3357309" y="1843666"/>
                    <a:pt x="3378824" y="1843666"/>
                  </a:cubicBezTo>
                  <a:cubicBezTo>
                    <a:pt x="3400340" y="1822151"/>
                    <a:pt x="3421855" y="1793464"/>
                    <a:pt x="3436198" y="1771949"/>
                  </a:cubicBezTo>
                  <a:cubicBezTo>
                    <a:pt x="3407511" y="1750433"/>
                    <a:pt x="3378824" y="1728918"/>
                    <a:pt x="3357309" y="1707403"/>
                  </a:cubicBezTo>
                  <a:cubicBezTo>
                    <a:pt x="3264076" y="1606998"/>
                    <a:pt x="3206702" y="1477906"/>
                    <a:pt x="3206702" y="1334471"/>
                  </a:cubicBezTo>
                  <a:lnTo>
                    <a:pt x="3206702" y="1090631"/>
                  </a:lnTo>
                  <a:cubicBezTo>
                    <a:pt x="3206702" y="868306"/>
                    <a:pt x="3385996" y="689012"/>
                    <a:pt x="3608321" y="689012"/>
                  </a:cubicBezTo>
                  <a:close/>
                  <a:moveTo>
                    <a:pt x="2001846" y="653153"/>
                  </a:moveTo>
                  <a:lnTo>
                    <a:pt x="1915785" y="818104"/>
                  </a:lnTo>
                  <a:lnTo>
                    <a:pt x="1915785" y="896993"/>
                  </a:lnTo>
                  <a:cubicBezTo>
                    <a:pt x="1915785" y="1097803"/>
                    <a:pt x="2080736" y="1262753"/>
                    <a:pt x="2281545" y="1262753"/>
                  </a:cubicBezTo>
                  <a:cubicBezTo>
                    <a:pt x="2482355" y="1262753"/>
                    <a:pt x="2647305" y="1097803"/>
                    <a:pt x="2647305" y="896993"/>
                  </a:cubicBezTo>
                  <a:lnTo>
                    <a:pt x="2640133" y="896993"/>
                  </a:lnTo>
                  <a:lnTo>
                    <a:pt x="2640133" y="818104"/>
                  </a:lnTo>
                  <a:lnTo>
                    <a:pt x="2525385" y="653153"/>
                  </a:lnTo>
                  <a:close/>
                  <a:moveTo>
                    <a:pt x="2576148" y="135441"/>
                  </a:moveTo>
                  <a:cubicBezTo>
                    <a:pt x="2537936" y="137234"/>
                    <a:pt x="2502077" y="154715"/>
                    <a:pt x="2475183" y="194160"/>
                  </a:cubicBezTo>
                  <a:cubicBezTo>
                    <a:pt x="2460839" y="215675"/>
                    <a:pt x="2453667" y="230019"/>
                    <a:pt x="2453667" y="230019"/>
                  </a:cubicBezTo>
                  <a:cubicBezTo>
                    <a:pt x="2439324" y="265878"/>
                    <a:pt x="2403465" y="280221"/>
                    <a:pt x="2367606" y="273050"/>
                  </a:cubicBezTo>
                  <a:cubicBezTo>
                    <a:pt x="2059220" y="201332"/>
                    <a:pt x="1865583" y="330424"/>
                    <a:pt x="1844067" y="423657"/>
                  </a:cubicBezTo>
                  <a:cubicBezTo>
                    <a:pt x="1829724" y="516890"/>
                    <a:pt x="1836896" y="588607"/>
                    <a:pt x="1844067" y="638810"/>
                  </a:cubicBezTo>
                  <a:lnTo>
                    <a:pt x="1879926" y="574264"/>
                  </a:lnTo>
                  <a:cubicBezTo>
                    <a:pt x="1901442" y="538405"/>
                    <a:pt x="1944472" y="509718"/>
                    <a:pt x="1994674" y="509718"/>
                  </a:cubicBezTo>
                  <a:lnTo>
                    <a:pt x="2539729" y="509718"/>
                  </a:lnTo>
                  <a:cubicBezTo>
                    <a:pt x="2582759" y="509718"/>
                    <a:pt x="2625790" y="531233"/>
                    <a:pt x="2647305" y="567092"/>
                  </a:cubicBezTo>
                  <a:lnTo>
                    <a:pt x="2711851" y="653153"/>
                  </a:lnTo>
                  <a:cubicBezTo>
                    <a:pt x="2762053" y="545577"/>
                    <a:pt x="2790740" y="452344"/>
                    <a:pt x="2805084" y="373454"/>
                  </a:cubicBezTo>
                  <a:cubicBezTo>
                    <a:pt x="2826599" y="265878"/>
                    <a:pt x="2690784" y="130062"/>
                    <a:pt x="2576148" y="135441"/>
                  </a:cubicBezTo>
                  <a:close/>
                  <a:moveTo>
                    <a:pt x="2589311" y="274"/>
                  </a:moveTo>
                  <a:cubicBezTo>
                    <a:pt x="2786034" y="8787"/>
                    <a:pt x="2985722" y="214331"/>
                    <a:pt x="2941347" y="416485"/>
                  </a:cubicBezTo>
                  <a:cubicBezTo>
                    <a:pt x="2919832" y="524061"/>
                    <a:pt x="2883973" y="660325"/>
                    <a:pt x="2790740" y="818104"/>
                  </a:cubicBezTo>
                  <a:lnTo>
                    <a:pt x="2790740" y="896993"/>
                  </a:lnTo>
                  <a:cubicBezTo>
                    <a:pt x="2790740" y="1176692"/>
                    <a:pt x="2561244" y="1406188"/>
                    <a:pt x="2281545" y="1406188"/>
                  </a:cubicBezTo>
                  <a:cubicBezTo>
                    <a:pt x="2001846" y="1406188"/>
                    <a:pt x="1772350" y="1176692"/>
                    <a:pt x="1779521" y="896993"/>
                  </a:cubicBezTo>
                  <a:lnTo>
                    <a:pt x="1779521" y="818104"/>
                  </a:lnTo>
                  <a:cubicBezTo>
                    <a:pt x="1743663" y="760730"/>
                    <a:pt x="1664773" y="617294"/>
                    <a:pt x="1707804" y="394970"/>
                  </a:cubicBezTo>
                  <a:cubicBezTo>
                    <a:pt x="1722147" y="323252"/>
                    <a:pt x="1772350" y="251534"/>
                    <a:pt x="1851239" y="201332"/>
                  </a:cubicBezTo>
                  <a:cubicBezTo>
                    <a:pt x="1980331" y="122443"/>
                    <a:pt x="2159625" y="93755"/>
                    <a:pt x="2346091" y="129614"/>
                  </a:cubicBezTo>
                  <a:cubicBezTo>
                    <a:pt x="2411085" y="33244"/>
                    <a:pt x="2499892" y="-3596"/>
                    <a:pt x="2589311" y="274"/>
                  </a:cubicBezTo>
                  <a:close/>
                </a:path>
              </a:pathLst>
            </a:custGeom>
            <a:solidFill>
              <a:srgbClr val="000000"/>
            </a:solidFill>
            <a:ln w="717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250" name="CuadroTexto 249">
              <a:extLst>
                <a:ext uri="{FF2B5EF4-FFF2-40B4-BE49-F238E27FC236}">
                  <a16:creationId xmlns:a16="http://schemas.microsoft.com/office/drawing/2014/main" id="{DBDBD433-B3CA-3773-BEDE-E2D327731E3B}"/>
                </a:ext>
              </a:extLst>
            </p:cNvPr>
            <p:cNvSpPr txBox="1"/>
            <p:nvPr/>
          </p:nvSpPr>
          <p:spPr>
            <a:xfrm>
              <a:off x="8359649" y="5385131"/>
              <a:ext cx="646331"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PEOPLE</a:t>
              </a:r>
            </a:p>
          </p:txBody>
        </p:sp>
      </p:grpSp>
      <p:grpSp>
        <p:nvGrpSpPr>
          <p:cNvPr id="818" name="Grupo 817">
            <a:extLst>
              <a:ext uri="{FF2B5EF4-FFF2-40B4-BE49-F238E27FC236}">
                <a16:creationId xmlns:a16="http://schemas.microsoft.com/office/drawing/2014/main" id="{5FE2FF67-AE43-5DA8-4DEF-C4EAF3675F03}"/>
              </a:ext>
            </a:extLst>
          </p:cNvPr>
          <p:cNvGrpSpPr/>
          <p:nvPr/>
        </p:nvGrpSpPr>
        <p:grpSpPr>
          <a:xfrm>
            <a:off x="10099925" y="2898202"/>
            <a:ext cx="691215" cy="705078"/>
            <a:chOff x="9164282" y="4910885"/>
            <a:chExt cx="691215" cy="705078"/>
          </a:xfrm>
        </p:grpSpPr>
        <p:sp>
          <p:nvSpPr>
            <p:cNvPr id="40" name="Forma libre 39">
              <a:extLst>
                <a:ext uri="{FF2B5EF4-FFF2-40B4-BE49-F238E27FC236}">
                  <a16:creationId xmlns:a16="http://schemas.microsoft.com/office/drawing/2014/main" id="{6240A8FC-D793-B40E-B4BB-46B694AFE31D}"/>
                </a:ext>
              </a:extLst>
            </p:cNvPr>
            <p:cNvSpPr/>
            <p:nvPr/>
          </p:nvSpPr>
          <p:spPr>
            <a:xfrm>
              <a:off x="9318489" y="4910885"/>
              <a:ext cx="421272" cy="421190"/>
            </a:xfrm>
            <a:custGeom>
              <a:avLst/>
              <a:gdLst>
                <a:gd name="connsiteX0" fmla="*/ 1676454 w 4577661"/>
                <a:gd name="connsiteY0" fmla="*/ 3967166 h 4576766"/>
                <a:gd name="connsiteX1" fmla="*/ 1600254 w 4577661"/>
                <a:gd name="connsiteY1" fmla="*/ 4043366 h 4576766"/>
                <a:gd name="connsiteX2" fmla="*/ 1676454 w 4577661"/>
                <a:gd name="connsiteY2" fmla="*/ 4119566 h 4576766"/>
                <a:gd name="connsiteX3" fmla="*/ 1752654 w 4577661"/>
                <a:gd name="connsiteY3" fmla="*/ 4043366 h 4576766"/>
                <a:gd name="connsiteX4" fmla="*/ 1676454 w 4577661"/>
                <a:gd name="connsiteY4" fmla="*/ 3967166 h 4576766"/>
                <a:gd name="connsiteX5" fmla="*/ 838254 w 4577661"/>
                <a:gd name="connsiteY5" fmla="*/ 3890966 h 4576766"/>
                <a:gd name="connsiteX6" fmla="*/ 1295454 w 4577661"/>
                <a:gd name="connsiteY6" fmla="*/ 3890966 h 4576766"/>
                <a:gd name="connsiteX7" fmla="*/ 1295454 w 4577661"/>
                <a:gd name="connsiteY7" fmla="*/ 4043366 h 4576766"/>
                <a:gd name="connsiteX8" fmla="*/ 838254 w 4577661"/>
                <a:gd name="connsiteY8" fmla="*/ 4043366 h 4576766"/>
                <a:gd name="connsiteX9" fmla="*/ 381054 w 4577661"/>
                <a:gd name="connsiteY9" fmla="*/ 3890966 h 4576766"/>
                <a:gd name="connsiteX10" fmla="*/ 685854 w 4577661"/>
                <a:gd name="connsiteY10" fmla="*/ 3890966 h 4576766"/>
                <a:gd name="connsiteX11" fmla="*/ 685854 w 4577661"/>
                <a:gd name="connsiteY11" fmla="*/ 4043366 h 4576766"/>
                <a:gd name="connsiteX12" fmla="*/ 381054 w 4577661"/>
                <a:gd name="connsiteY12" fmla="*/ 4043366 h 4576766"/>
                <a:gd name="connsiteX13" fmla="*/ 2590854 w 4577661"/>
                <a:gd name="connsiteY13" fmla="*/ 3586166 h 4576766"/>
                <a:gd name="connsiteX14" fmla="*/ 2590854 w 4577661"/>
                <a:gd name="connsiteY14" fmla="*/ 3967166 h 4576766"/>
                <a:gd name="connsiteX15" fmla="*/ 2895654 w 4577661"/>
                <a:gd name="connsiteY15" fmla="*/ 3967166 h 4576766"/>
                <a:gd name="connsiteX16" fmla="*/ 2895654 w 4577661"/>
                <a:gd name="connsiteY16" fmla="*/ 3586166 h 4576766"/>
                <a:gd name="connsiteX17" fmla="*/ 1295454 w 4577661"/>
                <a:gd name="connsiteY17" fmla="*/ 3509966 h 4576766"/>
                <a:gd name="connsiteX18" fmla="*/ 1752654 w 4577661"/>
                <a:gd name="connsiteY18" fmla="*/ 3509966 h 4576766"/>
                <a:gd name="connsiteX19" fmla="*/ 1752654 w 4577661"/>
                <a:gd name="connsiteY19" fmla="*/ 3662366 h 4576766"/>
                <a:gd name="connsiteX20" fmla="*/ 1295454 w 4577661"/>
                <a:gd name="connsiteY20" fmla="*/ 3662366 h 4576766"/>
                <a:gd name="connsiteX21" fmla="*/ 381054 w 4577661"/>
                <a:gd name="connsiteY21" fmla="*/ 3509966 h 4576766"/>
                <a:gd name="connsiteX22" fmla="*/ 1143054 w 4577661"/>
                <a:gd name="connsiteY22" fmla="*/ 3509966 h 4576766"/>
                <a:gd name="connsiteX23" fmla="*/ 1143054 w 4577661"/>
                <a:gd name="connsiteY23" fmla="*/ 3662366 h 4576766"/>
                <a:gd name="connsiteX24" fmla="*/ 381054 w 4577661"/>
                <a:gd name="connsiteY24" fmla="*/ 3662366 h 4576766"/>
                <a:gd name="connsiteX25" fmla="*/ 3048054 w 4577661"/>
                <a:gd name="connsiteY25" fmla="*/ 3128966 h 4576766"/>
                <a:gd name="connsiteX26" fmla="*/ 3048054 w 4577661"/>
                <a:gd name="connsiteY26" fmla="*/ 3967166 h 4576766"/>
                <a:gd name="connsiteX27" fmla="*/ 3352854 w 4577661"/>
                <a:gd name="connsiteY27" fmla="*/ 3967166 h 4576766"/>
                <a:gd name="connsiteX28" fmla="*/ 3352854 w 4577661"/>
                <a:gd name="connsiteY28" fmla="*/ 3128966 h 4576766"/>
                <a:gd name="connsiteX29" fmla="*/ 838254 w 4577661"/>
                <a:gd name="connsiteY29" fmla="*/ 3128966 h 4576766"/>
                <a:gd name="connsiteX30" fmla="*/ 1752654 w 4577661"/>
                <a:gd name="connsiteY30" fmla="*/ 3128966 h 4576766"/>
                <a:gd name="connsiteX31" fmla="*/ 1752654 w 4577661"/>
                <a:gd name="connsiteY31" fmla="*/ 3281366 h 4576766"/>
                <a:gd name="connsiteX32" fmla="*/ 838254 w 4577661"/>
                <a:gd name="connsiteY32" fmla="*/ 3281366 h 4576766"/>
                <a:gd name="connsiteX33" fmla="*/ 381054 w 4577661"/>
                <a:gd name="connsiteY33" fmla="*/ 3128966 h 4576766"/>
                <a:gd name="connsiteX34" fmla="*/ 685854 w 4577661"/>
                <a:gd name="connsiteY34" fmla="*/ 3128966 h 4576766"/>
                <a:gd name="connsiteX35" fmla="*/ 685854 w 4577661"/>
                <a:gd name="connsiteY35" fmla="*/ 3281366 h 4576766"/>
                <a:gd name="connsiteX36" fmla="*/ 381054 w 4577661"/>
                <a:gd name="connsiteY36" fmla="*/ 3281366 h 4576766"/>
                <a:gd name="connsiteX37" fmla="*/ 1524054 w 4577661"/>
                <a:gd name="connsiteY37" fmla="*/ 2747966 h 4576766"/>
                <a:gd name="connsiteX38" fmla="*/ 1752654 w 4577661"/>
                <a:gd name="connsiteY38" fmla="*/ 2747966 h 4576766"/>
                <a:gd name="connsiteX39" fmla="*/ 1752654 w 4577661"/>
                <a:gd name="connsiteY39" fmla="*/ 2900366 h 4576766"/>
                <a:gd name="connsiteX40" fmla="*/ 1524054 w 4577661"/>
                <a:gd name="connsiteY40" fmla="*/ 2900366 h 4576766"/>
                <a:gd name="connsiteX41" fmla="*/ 990654 w 4577661"/>
                <a:gd name="connsiteY41" fmla="*/ 2747966 h 4576766"/>
                <a:gd name="connsiteX42" fmla="*/ 1371654 w 4577661"/>
                <a:gd name="connsiteY42" fmla="*/ 2747966 h 4576766"/>
                <a:gd name="connsiteX43" fmla="*/ 1371654 w 4577661"/>
                <a:gd name="connsiteY43" fmla="*/ 2900366 h 4576766"/>
                <a:gd name="connsiteX44" fmla="*/ 990654 w 4577661"/>
                <a:gd name="connsiteY44" fmla="*/ 2900366 h 4576766"/>
                <a:gd name="connsiteX45" fmla="*/ 381054 w 4577661"/>
                <a:gd name="connsiteY45" fmla="*/ 2747966 h 4576766"/>
                <a:gd name="connsiteX46" fmla="*/ 838254 w 4577661"/>
                <a:gd name="connsiteY46" fmla="*/ 2747966 h 4576766"/>
                <a:gd name="connsiteX47" fmla="*/ 838254 w 4577661"/>
                <a:gd name="connsiteY47" fmla="*/ 2900366 h 4576766"/>
                <a:gd name="connsiteX48" fmla="*/ 381054 w 4577661"/>
                <a:gd name="connsiteY48" fmla="*/ 2900366 h 4576766"/>
                <a:gd name="connsiteX49" fmla="*/ 3505254 w 4577661"/>
                <a:gd name="connsiteY49" fmla="*/ 2671766 h 4576766"/>
                <a:gd name="connsiteX50" fmla="*/ 3505254 w 4577661"/>
                <a:gd name="connsiteY50" fmla="*/ 3967166 h 4576766"/>
                <a:gd name="connsiteX51" fmla="*/ 3810054 w 4577661"/>
                <a:gd name="connsiteY51" fmla="*/ 3967166 h 4576766"/>
                <a:gd name="connsiteX52" fmla="*/ 3810054 w 4577661"/>
                <a:gd name="connsiteY52" fmla="*/ 2671766 h 4576766"/>
                <a:gd name="connsiteX53" fmla="*/ 990654 w 4577661"/>
                <a:gd name="connsiteY53" fmla="*/ 2366966 h 4576766"/>
                <a:gd name="connsiteX54" fmla="*/ 1219254 w 4577661"/>
                <a:gd name="connsiteY54" fmla="*/ 2366966 h 4576766"/>
                <a:gd name="connsiteX55" fmla="*/ 1219254 w 4577661"/>
                <a:gd name="connsiteY55" fmla="*/ 2519366 h 4576766"/>
                <a:gd name="connsiteX56" fmla="*/ 990654 w 4577661"/>
                <a:gd name="connsiteY56" fmla="*/ 2519366 h 4576766"/>
                <a:gd name="connsiteX57" fmla="*/ 1600253 w 4577661"/>
                <a:gd name="connsiteY57" fmla="*/ 2290765 h 4576766"/>
                <a:gd name="connsiteX58" fmla="*/ 1524053 w 4577661"/>
                <a:gd name="connsiteY58" fmla="*/ 2366965 h 4576766"/>
                <a:gd name="connsiteX59" fmla="*/ 1600253 w 4577661"/>
                <a:gd name="connsiteY59" fmla="*/ 2443165 h 4576766"/>
                <a:gd name="connsiteX60" fmla="*/ 1676453 w 4577661"/>
                <a:gd name="connsiteY60" fmla="*/ 2366965 h 4576766"/>
                <a:gd name="connsiteX61" fmla="*/ 1600253 w 4577661"/>
                <a:gd name="connsiteY61" fmla="*/ 2290765 h 4576766"/>
                <a:gd name="connsiteX62" fmla="*/ 3962454 w 4577661"/>
                <a:gd name="connsiteY62" fmla="*/ 2214566 h 4576766"/>
                <a:gd name="connsiteX63" fmla="*/ 3962454 w 4577661"/>
                <a:gd name="connsiteY63" fmla="*/ 3967166 h 4576766"/>
                <a:gd name="connsiteX64" fmla="*/ 4267254 w 4577661"/>
                <a:gd name="connsiteY64" fmla="*/ 3967166 h 4576766"/>
                <a:gd name="connsiteX65" fmla="*/ 4267254 w 4577661"/>
                <a:gd name="connsiteY65" fmla="*/ 2214566 h 4576766"/>
                <a:gd name="connsiteX66" fmla="*/ 609654 w 4577661"/>
                <a:gd name="connsiteY66" fmla="*/ 2093732 h 4576766"/>
                <a:gd name="connsiteX67" fmla="*/ 260220 w 4577661"/>
                <a:gd name="connsiteY67" fmla="*/ 2443166 h 4576766"/>
                <a:gd name="connsiteX68" fmla="*/ 533454 w 4577661"/>
                <a:gd name="connsiteY68" fmla="*/ 2443166 h 4576766"/>
                <a:gd name="connsiteX69" fmla="*/ 609654 w 4577661"/>
                <a:gd name="connsiteY69" fmla="*/ 2366966 h 4576766"/>
                <a:gd name="connsiteX70" fmla="*/ 748976 w 4577661"/>
                <a:gd name="connsiteY70" fmla="*/ 1833566 h 4576766"/>
                <a:gd name="connsiteX71" fmla="*/ 1905054 w 4577661"/>
                <a:gd name="connsiteY71" fmla="*/ 1833566 h 4576766"/>
                <a:gd name="connsiteX72" fmla="*/ 2133654 w 4577661"/>
                <a:gd name="connsiteY72" fmla="*/ 2062166 h 4576766"/>
                <a:gd name="connsiteX73" fmla="*/ 2133654 w 4577661"/>
                <a:gd name="connsiteY73" fmla="*/ 2138366 h 4576766"/>
                <a:gd name="connsiteX74" fmla="*/ 1981254 w 4577661"/>
                <a:gd name="connsiteY74" fmla="*/ 2138366 h 4576766"/>
                <a:gd name="connsiteX75" fmla="*/ 1981254 w 4577661"/>
                <a:gd name="connsiteY75" fmla="*/ 2062166 h 4576766"/>
                <a:gd name="connsiteX76" fmla="*/ 1905054 w 4577661"/>
                <a:gd name="connsiteY76" fmla="*/ 1985966 h 4576766"/>
                <a:gd name="connsiteX77" fmla="*/ 762054 w 4577661"/>
                <a:gd name="connsiteY77" fmla="*/ 1985966 h 4576766"/>
                <a:gd name="connsiteX78" fmla="*/ 762054 w 4577661"/>
                <a:gd name="connsiteY78" fmla="*/ 2366966 h 4576766"/>
                <a:gd name="connsiteX79" fmla="*/ 533454 w 4577661"/>
                <a:gd name="connsiteY79" fmla="*/ 2595566 h 4576766"/>
                <a:gd name="connsiteX80" fmla="*/ 152454 w 4577661"/>
                <a:gd name="connsiteY80" fmla="*/ 2595566 h 4576766"/>
                <a:gd name="connsiteX81" fmla="*/ 152454 w 4577661"/>
                <a:gd name="connsiteY81" fmla="*/ 4348166 h 4576766"/>
                <a:gd name="connsiteX82" fmla="*/ 228654 w 4577661"/>
                <a:gd name="connsiteY82" fmla="*/ 4424366 h 4576766"/>
                <a:gd name="connsiteX83" fmla="*/ 1905054 w 4577661"/>
                <a:gd name="connsiteY83" fmla="*/ 4424366 h 4576766"/>
                <a:gd name="connsiteX84" fmla="*/ 1981254 w 4577661"/>
                <a:gd name="connsiteY84" fmla="*/ 4348166 h 4576766"/>
                <a:gd name="connsiteX85" fmla="*/ 1981254 w 4577661"/>
                <a:gd name="connsiteY85" fmla="*/ 4119566 h 4576766"/>
                <a:gd name="connsiteX86" fmla="*/ 1891947 w 4577661"/>
                <a:gd name="connsiteY86" fmla="*/ 4119566 h 4576766"/>
                <a:gd name="connsiteX87" fmla="*/ 1752616 w 4577661"/>
                <a:gd name="connsiteY87" fmla="*/ 4258888 h 4576766"/>
                <a:gd name="connsiteX88" fmla="*/ 1460894 w 4577661"/>
                <a:gd name="connsiteY88" fmla="*/ 4119566 h 4576766"/>
                <a:gd name="connsiteX89" fmla="*/ 1600216 w 4577661"/>
                <a:gd name="connsiteY89" fmla="*/ 3827844 h 4576766"/>
                <a:gd name="connsiteX90" fmla="*/ 1891947 w 4577661"/>
                <a:gd name="connsiteY90" fmla="*/ 3967166 h 4576766"/>
                <a:gd name="connsiteX91" fmla="*/ 2438454 w 4577661"/>
                <a:gd name="connsiteY91" fmla="*/ 3967166 h 4576766"/>
                <a:gd name="connsiteX92" fmla="*/ 2438454 w 4577661"/>
                <a:gd name="connsiteY92" fmla="*/ 3509966 h 4576766"/>
                <a:gd name="connsiteX93" fmla="*/ 2514654 w 4577661"/>
                <a:gd name="connsiteY93" fmla="*/ 3433766 h 4576766"/>
                <a:gd name="connsiteX94" fmla="*/ 2895654 w 4577661"/>
                <a:gd name="connsiteY94" fmla="*/ 3433766 h 4576766"/>
                <a:gd name="connsiteX95" fmla="*/ 2895654 w 4577661"/>
                <a:gd name="connsiteY95" fmla="*/ 3052766 h 4576766"/>
                <a:gd name="connsiteX96" fmla="*/ 2971854 w 4577661"/>
                <a:gd name="connsiteY96" fmla="*/ 2976566 h 4576766"/>
                <a:gd name="connsiteX97" fmla="*/ 3352854 w 4577661"/>
                <a:gd name="connsiteY97" fmla="*/ 2976566 h 4576766"/>
                <a:gd name="connsiteX98" fmla="*/ 3352854 w 4577661"/>
                <a:gd name="connsiteY98" fmla="*/ 2595566 h 4576766"/>
                <a:gd name="connsiteX99" fmla="*/ 3429054 w 4577661"/>
                <a:gd name="connsiteY99" fmla="*/ 2519366 h 4576766"/>
                <a:gd name="connsiteX100" fmla="*/ 3810054 w 4577661"/>
                <a:gd name="connsiteY100" fmla="*/ 2519366 h 4576766"/>
                <a:gd name="connsiteX101" fmla="*/ 3810054 w 4577661"/>
                <a:gd name="connsiteY101" fmla="*/ 2138366 h 4576766"/>
                <a:gd name="connsiteX102" fmla="*/ 3886254 w 4577661"/>
                <a:gd name="connsiteY102" fmla="*/ 2062166 h 4576766"/>
                <a:gd name="connsiteX103" fmla="*/ 4343454 w 4577661"/>
                <a:gd name="connsiteY103" fmla="*/ 2062166 h 4576766"/>
                <a:gd name="connsiteX104" fmla="*/ 4419654 w 4577661"/>
                <a:gd name="connsiteY104" fmla="*/ 2138366 h 4576766"/>
                <a:gd name="connsiteX105" fmla="*/ 4419654 w 4577661"/>
                <a:gd name="connsiteY105" fmla="*/ 3967166 h 4576766"/>
                <a:gd name="connsiteX106" fmla="*/ 4572054 w 4577661"/>
                <a:gd name="connsiteY106" fmla="*/ 3967166 h 4576766"/>
                <a:gd name="connsiteX107" fmla="*/ 4572054 w 4577661"/>
                <a:gd name="connsiteY107" fmla="*/ 4119566 h 4576766"/>
                <a:gd name="connsiteX108" fmla="*/ 2133654 w 4577661"/>
                <a:gd name="connsiteY108" fmla="*/ 4119566 h 4576766"/>
                <a:gd name="connsiteX109" fmla="*/ 2133654 w 4577661"/>
                <a:gd name="connsiteY109" fmla="*/ 4348166 h 4576766"/>
                <a:gd name="connsiteX110" fmla="*/ 1905054 w 4577661"/>
                <a:gd name="connsiteY110" fmla="*/ 4576766 h 4576766"/>
                <a:gd name="connsiteX111" fmla="*/ 228654 w 4577661"/>
                <a:gd name="connsiteY111" fmla="*/ 4576766 h 4576766"/>
                <a:gd name="connsiteX112" fmla="*/ 54 w 4577661"/>
                <a:gd name="connsiteY112" fmla="*/ 4348166 h 4576766"/>
                <a:gd name="connsiteX113" fmla="*/ 54 w 4577661"/>
                <a:gd name="connsiteY113" fmla="*/ 2582488 h 4576766"/>
                <a:gd name="connsiteX114" fmla="*/ 67008 w 4577661"/>
                <a:gd name="connsiteY114" fmla="*/ 2420849 h 4576766"/>
                <a:gd name="connsiteX115" fmla="*/ 587329 w 4577661"/>
                <a:gd name="connsiteY115" fmla="*/ 1900527 h 4576766"/>
                <a:gd name="connsiteX116" fmla="*/ 748976 w 4577661"/>
                <a:gd name="connsiteY116" fmla="*/ 1833566 h 4576766"/>
                <a:gd name="connsiteX117" fmla="*/ 228653 w 4577661"/>
                <a:gd name="connsiteY117" fmla="*/ 1604966 h 4576766"/>
                <a:gd name="connsiteX118" fmla="*/ 152453 w 4577661"/>
                <a:gd name="connsiteY118" fmla="*/ 1681166 h 4576766"/>
                <a:gd name="connsiteX119" fmla="*/ 228653 w 4577661"/>
                <a:gd name="connsiteY119" fmla="*/ 1757366 h 4576766"/>
                <a:gd name="connsiteX120" fmla="*/ 304853 w 4577661"/>
                <a:gd name="connsiteY120" fmla="*/ 1681166 h 4576766"/>
                <a:gd name="connsiteX121" fmla="*/ 228653 w 4577661"/>
                <a:gd name="connsiteY121" fmla="*/ 1604966 h 4576766"/>
                <a:gd name="connsiteX122" fmla="*/ 3751141 w 4577661"/>
                <a:gd name="connsiteY122" fmla="*/ 1071565 h 4576766"/>
                <a:gd name="connsiteX123" fmla="*/ 4192673 w 4577661"/>
                <a:gd name="connsiteY123" fmla="*/ 1568294 h 4576766"/>
                <a:gd name="connsiteX124" fmla="*/ 4416148 w 4577661"/>
                <a:gd name="connsiteY124" fmla="*/ 1071565 h 4576766"/>
                <a:gd name="connsiteX125" fmla="*/ 1524053 w 4577661"/>
                <a:gd name="connsiteY125" fmla="*/ 1071565 h 4576766"/>
                <a:gd name="connsiteX126" fmla="*/ 1447853 w 4577661"/>
                <a:gd name="connsiteY126" fmla="*/ 1147765 h 4576766"/>
                <a:gd name="connsiteX127" fmla="*/ 1524053 w 4577661"/>
                <a:gd name="connsiteY127" fmla="*/ 1223965 h 4576766"/>
                <a:gd name="connsiteX128" fmla="*/ 1600253 w 4577661"/>
                <a:gd name="connsiteY128" fmla="*/ 1147765 h 4576766"/>
                <a:gd name="connsiteX129" fmla="*/ 1524053 w 4577661"/>
                <a:gd name="connsiteY129" fmla="*/ 1071565 h 4576766"/>
                <a:gd name="connsiteX130" fmla="*/ 762053 w 4577661"/>
                <a:gd name="connsiteY130" fmla="*/ 1071565 h 4576766"/>
                <a:gd name="connsiteX131" fmla="*/ 685853 w 4577661"/>
                <a:gd name="connsiteY131" fmla="*/ 1147765 h 4576766"/>
                <a:gd name="connsiteX132" fmla="*/ 762053 w 4577661"/>
                <a:gd name="connsiteY132" fmla="*/ 1223965 h 4576766"/>
                <a:gd name="connsiteX133" fmla="*/ 838253 w 4577661"/>
                <a:gd name="connsiteY133" fmla="*/ 1147765 h 4576766"/>
                <a:gd name="connsiteX134" fmla="*/ 762053 w 4577661"/>
                <a:gd name="connsiteY134" fmla="*/ 1071565 h 4576766"/>
                <a:gd name="connsiteX135" fmla="*/ 2286053 w 4577661"/>
                <a:gd name="connsiteY135" fmla="*/ 538165 h 4576766"/>
                <a:gd name="connsiteX136" fmla="*/ 2209853 w 4577661"/>
                <a:gd name="connsiteY136" fmla="*/ 614365 h 4576766"/>
                <a:gd name="connsiteX137" fmla="*/ 2286053 w 4577661"/>
                <a:gd name="connsiteY137" fmla="*/ 690565 h 4576766"/>
                <a:gd name="connsiteX138" fmla="*/ 2362253 w 4577661"/>
                <a:gd name="connsiteY138" fmla="*/ 614365 h 4576766"/>
                <a:gd name="connsiteX139" fmla="*/ 2286053 w 4577661"/>
                <a:gd name="connsiteY139" fmla="*/ 538165 h 4576766"/>
                <a:gd name="connsiteX140" fmla="*/ 2305174 w 4577661"/>
                <a:gd name="connsiteY140" fmla="*/ 386404 h 4576766"/>
                <a:gd name="connsiteX141" fmla="*/ 2392314 w 4577661"/>
                <a:gd name="connsiteY141" fmla="*/ 411856 h 4576766"/>
                <a:gd name="connsiteX142" fmla="*/ 2488469 w 4577661"/>
                <a:gd name="connsiteY142" fmla="*/ 720521 h 4576766"/>
                <a:gd name="connsiteX143" fmla="*/ 2179811 w 4577661"/>
                <a:gd name="connsiteY143" fmla="*/ 816676 h 4576766"/>
                <a:gd name="connsiteX144" fmla="*/ 1749481 w 4577661"/>
                <a:gd name="connsiteY144" fmla="*/ 1185532 h 4576766"/>
                <a:gd name="connsiteX145" fmla="*/ 1600215 w 4577661"/>
                <a:gd name="connsiteY145" fmla="*/ 1363307 h 4576766"/>
                <a:gd name="connsiteX146" fmla="*/ 1308560 w 4577661"/>
                <a:gd name="connsiteY146" fmla="*/ 1223965 h 4576766"/>
                <a:gd name="connsiteX147" fmla="*/ 977547 w 4577661"/>
                <a:gd name="connsiteY147" fmla="*/ 1223965 h 4576766"/>
                <a:gd name="connsiteX148" fmla="*/ 968250 w 4577661"/>
                <a:gd name="connsiteY148" fmla="*/ 1246406 h 4576766"/>
                <a:gd name="connsiteX149" fmla="*/ 663557 w 4577661"/>
                <a:gd name="connsiteY149" fmla="*/ 1354029 h 4576766"/>
                <a:gd name="connsiteX150" fmla="*/ 434915 w 4577661"/>
                <a:gd name="connsiteY150" fmla="*/ 1582667 h 4576766"/>
                <a:gd name="connsiteX151" fmla="*/ 457253 w 4577661"/>
                <a:gd name="connsiteY151" fmla="*/ 1681270 h 4576766"/>
                <a:gd name="connsiteX152" fmla="*/ 228653 w 4577661"/>
                <a:gd name="connsiteY152" fmla="*/ 1909766 h 4576766"/>
                <a:gd name="connsiteX153" fmla="*/ 130132 w 4577661"/>
                <a:gd name="connsiteY153" fmla="*/ 1887448 h 4576766"/>
                <a:gd name="connsiteX154" fmla="*/ 22368 w 4577661"/>
                <a:gd name="connsiteY154" fmla="*/ 1582667 h 4576766"/>
                <a:gd name="connsiteX155" fmla="*/ 327149 w 4577661"/>
                <a:gd name="connsiteY155" fmla="*/ 1474902 h 4576766"/>
                <a:gd name="connsiteX156" fmla="*/ 555791 w 4577661"/>
                <a:gd name="connsiteY156" fmla="*/ 1246264 h 4576766"/>
                <a:gd name="connsiteX157" fmla="*/ 546508 w 4577661"/>
                <a:gd name="connsiteY157" fmla="*/ 1223851 h 4576766"/>
                <a:gd name="connsiteX158" fmla="*/ 685885 w 4577661"/>
                <a:gd name="connsiteY158" fmla="*/ 932186 h 4576766"/>
                <a:gd name="connsiteX159" fmla="*/ 977547 w 4577661"/>
                <a:gd name="connsiteY159" fmla="*/ 1071565 h 4576766"/>
                <a:gd name="connsiteX160" fmla="*/ 1308560 w 4577661"/>
                <a:gd name="connsiteY160" fmla="*/ 1071565 h 4576766"/>
                <a:gd name="connsiteX161" fmla="*/ 1393656 w 4577661"/>
                <a:gd name="connsiteY161" fmla="*/ 959990 h 4576766"/>
                <a:gd name="connsiteX162" fmla="*/ 1711591 w 4577661"/>
                <a:gd name="connsiteY162" fmla="*/ 1017283 h 4576766"/>
                <a:gd name="connsiteX163" fmla="*/ 2076151 w 4577661"/>
                <a:gd name="connsiteY163" fmla="*/ 704810 h 4576766"/>
                <a:gd name="connsiteX164" fmla="*/ 2083647 w 4577661"/>
                <a:gd name="connsiteY164" fmla="*/ 508016 h 4576766"/>
                <a:gd name="connsiteX165" fmla="*/ 2305174 w 4577661"/>
                <a:gd name="connsiteY165" fmla="*/ 386404 h 4576766"/>
                <a:gd name="connsiteX166" fmla="*/ 3657653 w 4577661"/>
                <a:gd name="connsiteY166" fmla="*/ 160666 h 4576766"/>
                <a:gd name="connsiteX167" fmla="*/ 3657653 w 4577661"/>
                <a:gd name="connsiteY167" fmla="*/ 919165 h 4576766"/>
                <a:gd name="connsiteX168" fmla="*/ 4416148 w 4577661"/>
                <a:gd name="connsiteY168" fmla="*/ 919165 h 4576766"/>
                <a:gd name="connsiteX169" fmla="*/ 3657653 w 4577661"/>
                <a:gd name="connsiteY169" fmla="*/ 160666 h 4576766"/>
                <a:gd name="connsiteX170" fmla="*/ 3505253 w 4577661"/>
                <a:gd name="connsiteY170" fmla="*/ 160666 h 4576766"/>
                <a:gd name="connsiteX171" fmla="*/ 3083753 w 4577661"/>
                <a:gd name="connsiteY171" fmla="*/ 320883 h 4576766"/>
                <a:gd name="connsiteX172" fmla="*/ 2906931 w 4577661"/>
                <a:gd name="connsiteY172" fmla="*/ 1492780 h 4576766"/>
                <a:gd name="connsiteX173" fmla="*/ 4078829 w 4577661"/>
                <a:gd name="connsiteY173" fmla="*/ 1669612 h 4576766"/>
                <a:gd name="connsiteX174" fmla="*/ 3524503 w 4577661"/>
                <a:gd name="connsiteY174" fmla="*/ 1045991 h 4576766"/>
                <a:gd name="connsiteX175" fmla="*/ 3524560 w 4577661"/>
                <a:gd name="connsiteY175" fmla="*/ 1045933 h 4576766"/>
                <a:gd name="connsiteX176" fmla="*/ 3505253 w 4577661"/>
                <a:gd name="connsiteY176" fmla="*/ 995365 h 4576766"/>
                <a:gd name="connsiteX177" fmla="*/ 3575408 w 4577661"/>
                <a:gd name="connsiteY177" fmla="*/ 46 h 4576766"/>
                <a:gd name="connsiteX178" fmla="*/ 4049826 w 4577661"/>
                <a:gd name="connsiteY178" fmla="*/ 116115 h 4576766"/>
                <a:gd name="connsiteX179" fmla="*/ 4461544 w 4577661"/>
                <a:gd name="connsiteY179" fmla="*/ 1459176 h 4576766"/>
                <a:gd name="connsiteX180" fmla="*/ 3118490 w 4577661"/>
                <a:gd name="connsiteY180" fmla="*/ 1870894 h 4576766"/>
                <a:gd name="connsiteX181" fmla="*/ 2568536 w 4577661"/>
                <a:gd name="connsiteY181" fmla="*/ 2420848 h 4576766"/>
                <a:gd name="connsiteX182" fmla="*/ 2514653 w 4577661"/>
                <a:gd name="connsiteY182" fmla="*/ 2443165 h 4576766"/>
                <a:gd name="connsiteX183" fmla="*/ 2133653 w 4577661"/>
                <a:gd name="connsiteY183" fmla="*/ 2443165 h 4576766"/>
                <a:gd name="connsiteX184" fmla="*/ 2133653 w 4577661"/>
                <a:gd name="connsiteY184" fmla="*/ 3814765 h 4576766"/>
                <a:gd name="connsiteX185" fmla="*/ 1981253 w 4577661"/>
                <a:gd name="connsiteY185" fmla="*/ 3814765 h 4576766"/>
                <a:gd name="connsiteX186" fmla="*/ 1981253 w 4577661"/>
                <a:gd name="connsiteY186" fmla="*/ 2443165 h 4576766"/>
                <a:gd name="connsiteX187" fmla="*/ 1815747 w 4577661"/>
                <a:gd name="connsiteY187" fmla="*/ 2443165 h 4576766"/>
                <a:gd name="connsiteX188" fmla="*/ 1676415 w 4577661"/>
                <a:gd name="connsiteY188" fmla="*/ 2582488 h 4576766"/>
                <a:gd name="connsiteX189" fmla="*/ 1384693 w 4577661"/>
                <a:gd name="connsiteY189" fmla="*/ 2443165 h 4576766"/>
                <a:gd name="connsiteX190" fmla="*/ 1524015 w 4577661"/>
                <a:gd name="connsiteY190" fmla="*/ 2151443 h 4576766"/>
                <a:gd name="connsiteX191" fmla="*/ 1815747 w 4577661"/>
                <a:gd name="connsiteY191" fmla="*/ 2290765 h 4576766"/>
                <a:gd name="connsiteX192" fmla="*/ 2483097 w 4577661"/>
                <a:gd name="connsiteY192" fmla="*/ 2290765 h 4576766"/>
                <a:gd name="connsiteX193" fmla="*/ 2986760 w 4577661"/>
                <a:gd name="connsiteY193" fmla="*/ 1787093 h 4576766"/>
                <a:gd name="connsiteX194" fmla="*/ 2706772 w 4577661"/>
                <a:gd name="connsiteY194" fmla="*/ 527837 h 4576766"/>
                <a:gd name="connsiteX195" fmla="*/ 3575408 w 4577661"/>
                <a:gd name="connsiteY195" fmla="*/ 46 h 4576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4577661" h="4576766">
                  <a:moveTo>
                    <a:pt x="1676454" y="3967166"/>
                  </a:moveTo>
                  <a:cubicBezTo>
                    <a:pt x="1634372" y="3967166"/>
                    <a:pt x="1600254" y="4001284"/>
                    <a:pt x="1600254" y="4043366"/>
                  </a:cubicBezTo>
                  <a:cubicBezTo>
                    <a:pt x="1600254" y="4085447"/>
                    <a:pt x="1634372" y="4119566"/>
                    <a:pt x="1676454" y="4119566"/>
                  </a:cubicBezTo>
                  <a:cubicBezTo>
                    <a:pt x="1718516" y="4119518"/>
                    <a:pt x="1752606" y="4085428"/>
                    <a:pt x="1752654" y="4043366"/>
                  </a:cubicBezTo>
                  <a:cubicBezTo>
                    <a:pt x="1752654" y="4001284"/>
                    <a:pt x="1718535" y="3967166"/>
                    <a:pt x="1676454" y="3967166"/>
                  </a:cubicBezTo>
                  <a:close/>
                  <a:moveTo>
                    <a:pt x="838254" y="3890966"/>
                  </a:moveTo>
                  <a:lnTo>
                    <a:pt x="1295454" y="3890966"/>
                  </a:lnTo>
                  <a:lnTo>
                    <a:pt x="1295454" y="4043366"/>
                  </a:lnTo>
                  <a:lnTo>
                    <a:pt x="838254" y="4043366"/>
                  </a:lnTo>
                  <a:close/>
                  <a:moveTo>
                    <a:pt x="381054" y="3890966"/>
                  </a:moveTo>
                  <a:lnTo>
                    <a:pt x="685854" y="3890966"/>
                  </a:lnTo>
                  <a:lnTo>
                    <a:pt x="685854" y="4043366"/>
                  </a:lnTo>
                  <a:lnTo>
                    <a:pt x="381054" y="4043366"/>
                  </a:lnTo>
                  <a:close/>
                  <a:moveTo>
                    <a:pt x="2590854" y="3586166"/>
                  </a:moveTo>
                  <a:lnTo>
                    <a:pt x="2590854" y="3967166"/>
                  </a:lnTo>
                  <a:lnTo>
                    <a:pt x="2895654" y="3967166"/>
                  </a:lnTo>
                  <a:lnTo>
                    <a:pt x="2895654" y="3586166"/>
                  </a:lnTo>
                  <a:close/>
                  <a:moveTo>
                    <a:pt x="1295454" y="3509966"/>
                  </a:moveTo>
                  <a:lnTo>
                    <a:pt x="1752654" y="3509966"/>
                  </a:lnTo>
                  <a:lnTo>
                    <a:pt x="1752654" y="3662366"/>
                  </a:lnTo>
                  <a:lnTo>
                    <a:pt x="1295454" y="3662366"/>
                  </a:lnTo>
                  <a:close/>
                  <a:moveTo>
                    <a:pt x="381054" y="3509966"/>
                  </a:moveTo>
                  <a:lnTo>
                    <a:pt x="1143054" y="3509966"/>
                  </a:lnTo>
                  <a:lnTo>
                    <a:pt x="1143054" y="3662366"/>
                  </a:lnTo>
                  <a:lnTo>
                    <a:pt x="381054" y="3662366"/>
                  </a:lnTo>
                  <a:close/>
                  <a:moveTo>
                    <a:pt x="3048054" y="3128966"/>
                  </a:moveTo>
                  <a:lnTo>
                    <a:pt x="3048054" y="3967166"/>
                  </a:lnTo>
                  <a:lnTo>
                    <a:pt x="3352854" y="3967166"/>
                  </a:lnTo>
                  <a:lnTo>
                    <a:pt x="3352854" y="3128966"/>
                  </a:lnTo>
                  <a:close/>
                  <a:moveTo>
                    <a:pt x="838254" y="3128966"/>
                  </a:moveTo>
                  <a:lnTo>
                    <a:pt x="1752654" y="3128966"/>
                  </a:lnTo>
                  <a:lnTo>
                    <a:pt x="1752654" y="3281366"/>
                  </a:lnTo>
                  <a:lnTo>
                    <a:pt x="838254" y="3281366"/>
                  </a:lnTo>
                  <a:close/>
                  <a:moveTo>
                    <a:pt x="381054" y="3128966"/>
                  </a:moveTo>
                  <a:lnTo>
                    <a:pt x="685854" y="3128966"/>
                  </a:lnTo>
                  <a:lnTo>
                    <a:pt x="685854" y="3281366"/>
                  </a:lnTo>
                  <a:lnTo>
                    <a:pt x="381054" y="3281366"/>
                  </a:lnTo>
                  <a:close/>
                  <a:moveTo>
                    <a:pt x="1524054" y="2747966"/>
                  </a:moveTo>
                  <a:lnTo>
                    <a:pt x="1752654" y="2747966"/>
                  </a:lnTo>
                  <a:lnTo>
                    <a:pt x="1752654" y="2900366"/>
                  </a:lnTo>
                  <a:lnTo>
                    <a:pt x="1524054" y="2900366"/>
                  </a:lnTo>
                  <a:close/>
                  <a:moveTo>
                    <a:pt x="990654" y="2747966"/>
                  </a:moveTo>
                  <a:lnTo>
                    <a:pt x="1371654" y="2747966"/>
                  </a:lnTo>
                  <a:lnTo>
                    <a:pt x="1371654" y="2900366"/>
                  </a:lnTo>
                  <a:lnTo>
                    <a:pt x="990654" y="2900366"/>
                  </a:lnTo>
                  <a:close/>
                  <a:moveTo>
                    <a:pt x="381054" y="2747966"/>
                  </a:moveTo>
                  <a:lnTo>
                    <a:pt x="838254" y="2747966"/>
                  </a:lnTo>
                  <a:lnTo>
                    <a:pt x="838254" y="2900366"/>
                  </a:lnTo>
                  <a:lnTo>
                    <a:pt x="381054" y="2900366"/>
                  </a:lnTo>
                  <a:close/>
                  <a:moveTo>
                    <a:pt x="3505254" y="2671766"/>
                  </a:moveTo>
                  <a:lnTo>
                    <a:pt x="3505254" y="3967166"/>
                  </a:lnTo>
                  <a:lnTo>
                    <a:pt x="3810054" y="3967166"/>
                  </a:lnTo>
                  <a:lnTo>
                    <a:pt x="3810054" y="2671766"/>
                  </a:lnTo>
                  <a:close/>
                  <a:moveTo>
                    <a:pt x="990654" y="2366966"/>
                  </a:moveTo>
                  <a:lnTo>
                    <a:pt x="1219254" y="2366966"/>
                  </a:lnTo>
                  <a:lnTo>
                    <a:pt x="1219254" y="2519366"/>
                  </a:lnTo>
                  <a:lnTo>
                    <a:pt x="990654" y="2519366"/>
                  </a:lnTo>
                  <a:close/>
                  <a:moveTo>
                    <a:pt x="1600253" y="2290765"/>
                  </a:moveTo>
                  <a:cubicBezTo>
                    <a:pt x="1558172" y="2290765"/>
                    <a:pt x="1524053" y="2324884"/>
                    <a:pt x="1524053" y="2366965"/>
                  </a:cubicBezTo>
                  <a:cubicBezTo>
                    <a:pt x="1524053" y="2409047"/>
                    <a:pt x="1558172" y="2443165"/>
                    <a:pt x="1600253" y="2443165"/>
                  </a:cubicBezTo>
                  <a:cubicBezTo>
                    <a:pt x="1642315" y="2443118"/>
                    <a:pt x="1676405" y="2409028"/>
                    <a:pt x="1676453" y="2366965"/>
                  </a:cubicBezTo>
                  <a:cubicBezTo>
                    <a:pt x="1676453" y="2324884"/>
                    <a:pt x="1642334" y="2290765"/>
                    <a:pt x="1600253" y="2290765"/>
                  </a:cubicBezTo>
                  <a:close/>
                  <a:moveTo>
                    <a:pt x="3962454" y="2214566"/>
                  </a:moveTo>
                  <a:lnTo>
                    <a:pt x="3962454" y="3967166"/>
                  </a:lnTo>
                  <a:lnTo>
                    <a:pt x="4267254" y="3967166"/>
                  </a:lnTo>
                  <a:lnTo>
                    <a:pt x="4267254" y="2214566"/>
                  </a:lnTo>
                  <a:close/>
                  <a:moveTo>
                    <a:pt x="609654" y="2093732"/>
                  </a:moveTo>
                  <a:lnTo>
                    <a:pt x="260220" y="2443166"/>
                  </a:lnTo>
                  <a:lnTo>
                    <a:pt x="533454" y="2443166"/>
                  </a:lnTo>
                  <a:cubicBezTo>
                    <a:pt x="575518" y="2443118"/>
                    <a:pt x="609605" y="2409028"/>
                    <a:pt x="609654" y="2366966"/>
                  </a:cubicBezTo>
                  <a:close/>
                  <a:moveTo>
                    <a:pt x="748976" y="1833566"/>
                  </a:moveTo>
                  <a:lnTo>
                    <a:pt x="1905054" y="1833566"/>
                  </a:lnTo>
                  <a:cubicBezTo>
                    <a:pt x="2031251" y="1833709"/>
                    <a:pt x="2133511" y="1935969"/>
                    <a:pt x="2133654" y="2062166"/>
                  </a:cubicBezTo>
                  <a:lnTo>
                    <a:pt x="2133654" y="2138366"/>
                  </a:lnTo>
                  <a:lnTo>
                    <a:pt x="1981254" y="2138366"/>
                  </a:lnTo>
                  <a:lnTo>
                    <a:pt x="1981254" y="2062166"/>
                  </a:lnTo>
                  <a:cubicBezTo>
                    <a:pt x="1981206" y="2020103"/>
                    <a:pt x="1947116" y="1986013"/>
                    <a:pt x="1905054" y="1985966"/>
                  </a:cubicBezTo>
                  <a:lnTo>
                    <a:pt x="762054" y="1985966"/>
                  </a:lnTo>
                  <a:lnTo>
                    <a:pt x="762054" y="2366966"/>
                  </a:lnTo>
                  <a:cubicBezTo>
                    <a:pt x="761909" y="2493162"/>
                    <a:pt x="659647" y="2595423"/>
                    <a:pt x="533454" y="2595566"/>
                  </a:cubicBezTo>
                  <a:lnTo>
                    <a:pt x="152454" y="2595566"/>
                  </a:lnTo>
                  <a:lnTo>
                    <a:pt x="152454" y="4348166"/>
                  </a:lnTo>
                  <a:cubicBezTo>
                    <a:pt x="152502" y="4390228"/>
                    <a:pt x="186590" y="4424318"/>
                    <a:pt x="228654" y="4424366"/>
                  </a:cubicBezTo>
                  <a:lnTo>
                    <a:pt x="1905054" y="4424366"/>
                  </a:lnTo>
                  <a:cubicBezTo>
                    <a:pt x="1947116" y="4424318"/>
                    <a:pt x="1981206" y="4390228"/>
                    <a:pt x="1981254" y="4348166"/>
                  </a:cubicBezTo>
                  <a:lnTo>
                    <a:pt x="1981254" y="4119566"/>
                  </a:lnTo>
                  <a:lnTo>
                    <a:pt x="1891947" y="4119566"/>
                  </a:lnTo>
                  <a:cubicBezTo>
                    <a:pt x="1868926" y="4184669"/>
                    <a:pt x="1817719" y="4235876"/>
                    <a:pt x="1752616" y="4258888"/>
                  </a:cubicBezTo>
                  <a:cubicBezTo>
                    <a:pt x="1633591" y="4300979"/>
                    <a:pt x="1502975" y="4238600"/>
                    <a:pt x="1460894" y="4119566"/>
                  </a:cubicBezTo>
                  <a:cubicBezTo>
                    <a:pt x="1418812" y="4000532"/>
                    <a:pt x="1481191" y="3869925"/>
                    <a:pt x="1600216" y="3827844"/>
                  </a:cubicBezTo>
                  <a:cubicBezTo>
                    <a:pt x="1719250" y="3785753"/>
                    <a:pt x="1849866" y="3848132"/>
                    <a:pt x="1891947" y="3967166"/>
                  </a:cubicBezTo>
                  <a:lnTo>
                    <a:pt x="2438454" y="3967166"/>
                  </a:lnTo>
                  <a:lnTo>
                    <a:pt x="2438454" y="3509966"/>
                  </a:lnTo>
                  <a:cubicBezTo>
                    <a:pt x="2438454" y="3467884"/>
                    <a:pt x="2472573" y="3433766"/>
                    <a:pt x="2514654" y="3433766"/>
                  </a:cubicBezTo>
                  <a:lnTo>
                    <a:pt x="2895654" y="3433766"/>
                  </a:lnTo>
                  <a:lnTo>
                    <a:pt x="2895654" y="3052766"/>
                  </a:lnTo>
                  <a:cubicBezTo>
                    <a:pt x="2895654" y="3010684"/>
                    <a:pt x="2929773" y="2976566"/>
                    <a:pt x="2971854" y="2976566"/>
                  </a:cubicBezTo>
                  <a:lnTo>
                    <a:pt x="3352854" y="2976566"/>
                  </a:lnTo>
                  <a:lnTo>
                    <a:pt x="3352854" y="2595566"/>
                  </a:lnTo>
                  <a:cubicBezTo>
                    <a:pt x="3352854" y="2553484"/>
                    <a:pt x="3386973" y="2519366"/>
                    <a:pt x="3429054" y="2519366"/>
                  </a:cubicBezTo>
                  <a:lnTo>
                    <a:pt x="3810054" y="2519366"/>
                  </a:lnTo>
                  <a:lnTo>
                    <a:pt x="3810054" y="2138366"/>
                  </a:lnTo>
                  <a:cubicBezTo>
                    <a:pt x="3810054" y="2096284"/>
                    <a:pt x="3844173" y="2062166"/>
                    <a:pt x="3886254" y="2062166"/>
                  </a:cubicBezTo>
                  <a:lnTo>
                    <a:pt x="4343454" y="2062166"/>
                  </a:lnTo>
                  <a:cubicBezTo>
                    <a:pt x="4385536" y="2062166"/>
                    <a:pt x="4419654" y="2096284"/>
                    <a:pt x="4419654" y="2138366"/>
                  </a:cubicBezTo>
                  <a:lnTo>
                    <a:pt x="4419654" y="3967166"/>
                  </a:lnTo>
                  <a:lnTo>
                    <a:pt x="4572054" y="3967166"/>
                  </a:lnTo>
                  <a:lnTo>
                    <a:pt x="4572054" y="4119566"/>
                  </a:lnTo>
                  <a:lnTo>
                    <a:pt x="2133654" y="4119566"/>
                  </a:lnTo>
                  <a:lnTo>
                    <a:pt x="2133654" y="4348166"/>
                  </a:lnTo>
                  <a:cubicBezTo>
                    <a:pt x="2133511" y="4474363"/>
                    <a:pt x="2031251" y="4576623"/>
                    <a:pt x="1905054" y="4576766"/>
                  </a:cubicBezTo>
                  <a:lnTo>
                    <a:pt x="228654" y="4576766"/>
                  </a:lnTo>
                  <a:cubicBezTo>
                    <a:pt x="102461" y="4576623"/>
                    <a:pt x="199" y="4474363"/>
                    <a:pt x="54" y="4348166"/>
                  </a:cubicBezTo>
                  <a:lnTo>
                    <a:pt x="54" y="2582488"/>
                  </a:lnTo>
                  <a:cubicBezTo>
                    <a:pt x="-113" y="2521833"/>
                    <a:pt x="23997" y="2463626"/>
                    <a:pt x="67008" y="2420849"/>
                  </a:cubicBezTo>
                  <a:lnTo>
                    <a:pt x="587329" y="1900527"/>
                  </a:lnTo>
                  <a:cubicBezTo>
                    <a:pt x="630107" y="1857512"/>
                    <a:pt x="688313" y="1833404"/>
                    <a:pt x="748976" y="1833566"/>
                  </a:cubicBezTo>
                  <a:close/>
                  <a:moveTo>
                    <a:pt x="228653" y="1604966"/>
                  </a:moveTo>
                  <a:cubicBezTo>
                    <a:pt x="186589" y="1605013"/>
                    <a:pt x="152502" y="1639103"/>
                    <a:pt x="152453" y="1681166"/>
                  </a:cubicBezTo>
                  <a:cubicBezTo>
                    <a:pt x="152453" y="1723247"/>
                    <a:pt x="186569" y="1757366"/>
                    <a:pt x="228653" y="1757366"/>
                  </a:cubicBezTo>
                  <a:cubicBezTo>
                    <a:pt x="270737" y="1757366"/>
                    <a:pt x="304853" y="1723247"/>
                    <a:pt x="304853" y="1681166"/>
                  </a:cubicBezTo>
                  <a:cubicBezTo>
                    <a:pt x="304853" y="1639084"/>
                    <a:pt x="270737" y="1604966"/>
                    <a:pt x="228653" y="1604966"/>
                  </a:cubicBezTo>
                  <a:close/>
                  <a:moveTo>
                    <a:pt x="3751141" y="1071565"/>
                  </a:moveTo>
                  <a:lnTo>
                    <a:pt x="4192673" y="1568294"/>
                  </a:lnTo>
                  <a:cubicBezTo>
                    <a:pt x="4320574" y="1432334"/>
                    <a:pt x="4399241" y="1257455"/>
                    <a:pt x="4416148" y="1071565"/>
                  </a:cubicBezTo>
                  <a:close/>
                  <a:moveTo>
                    <a:pt x="1524053" y="1071565"/>
                  </a:moveTo>
                  <a:cubicBezTo>
                    <a:pt x="1481991" y="1071613"/>
                    <a:pt x="1447901" y="1105703"/>
                    <a:pt x="1447853" y="1147765"/>
                  </a:cubicBezTo>
                  <a:cubicBezTo>
                    <a:pt x="1447853" y="1189847"/>
                    <a:pt x="1481972" y="1223965"/>
                    <a:pt x="1524053" y="1223965"/>
                  </a:cubicBezTo>
                  <a:cubicBezTo>
                    <a:pt x="1566135" y="1223965"/>
                    <a:pt x="1600253" y="1189847"/>
                    <a:pt x="1600253" y="1147765"/>
                  </a:cubicBezTo>
                  <a:cubicBezTo>
                    <a:pt x="1600253" y="1105684"/>
                    <a:pt x="1566135" y="1071565"/>
                    <a:pt x="1524053" y="1071565"/>
                  </a:cubicBezTo>
                  <a:close/>
                  <a:moveTo>
                    <a:pt x="762053" y="1071565"/>
                  </a:moveTo>
                  <a:cubicBezTo>
                    <a:pt x="719989" y="1071613"/>
                    <a:pt x="685902" y="1105703"/>
                    <a:pt x="685853" y="1147765"/>
                  </a:cubicBezTo>
                  <a:cubicBezTo>
                    <a:pt x="685853" y="1189847"/>
                    <a:pt x="719969" y="1223965"/>
                    <a:pt x="762053" y="1223965"/>
                  </a:cubicBezTo>
                  <a:cubicBezTo>
                    <a:pt x="804135" y="1223965"/>
                    <a:pt x="838253" y="1189847"/>
                    <a:pt x="838253" y="1147765"/>
                  </a:cubicBezTo>
                  <a:cubicBezTo>
                    <a:pt x="838253" y="1105684"/>
                    <a:pt x="804135" y="1071565"/>
                    <a:pt x="762053" y="1071565"/>
                  </a:cubicBezTo>
                  <a:close/>
                  <a:moveTo>
                    <a:pt x="2286053" y="538165"/>
                  </a:moveTo>
                  <a:cubicBezTo>
                    <a:pt x="2243991" y="538214"/>
                    <a:pt x="2209901" y="572301"/>
                    <a:pt x="2209853" y="614365"/>
                  </a:cubicBezTo>
                  <a:cubicBezTo>
                    <a:pt x="2209853" y="656450"/>
                    <a:pt x="2243972" y="690565"/>
                    <a:pt x="2286053" y="690565"/>
                  </a:cubicBezTo>
                  <a:cubicBezTo>
                    <a:pt x="2328135" y="690565"/>
                    <a:pt x="2362253" y="656450"/>
                    <a:pt x="2362253" y="614365"/>
                  </a:cubicBezTo>
                  <a:cubicBezTo>
                    <a:pt x="2362253" y="572281"/>
                    <a:pt x="2328135" y="538165"/>
                    <a:pt x="2286053" y="538165"/>
                  </a:cubicBezTo>
                  <a:close/>
                  <a:moveTo>
                    <a:pt x="2305174" y="386404"/>
                  </a:moveTo>
                  <a:cubicBezTo>
                    <a:pt x="2334767" y="388874"/>
                    <a:pt x="2364365" y="397186"/>
                    <a:pt x="2392314" y="411856"/>
                  </a:cubicBezTo>
                  <a:cubicBezTo>
                    <a:pt x="2504099" y="470538"/>
                    <a:pt x="2547152" y="608731"/>
                    <a:pt x="2488469" y="720521"/>
                  </a:cubicBezTo>
                  <a:cubicBezTo>
                    <a:pt x="2429785" y="832307"/>
                    <a:pt x="2291597" y="875360"/>
                    <a:pt x="2179811" y="816676"/>
                  </a:cubicBezTo>
                  <a:lnTo>
                    <a:pt x="1749481" y="1185532"/>
                  </a:lnTo>
                  <a:cubicBezTo>
                    <a:pt x="1735756" y="1267523"/>
                    <a:pt x="1678596" y="1335608"/>
                    <a:pt x="1600215" y="1363307"/>
                  </a:cubicBezTo>
                  <a:cubicBezTo>
                    <a:pt x="1481200" y="1405360"/>
                    <a:pt x="1350622" y="1342980"/>
                    <a:pt x="1308560" y="1223965"/>
                  </a:cubicBezTo>
                  <a:lnTo>
                    <a:pt x="977547" y="1223965"/>
                  </a:lnTo>
                  <a:cubicBezTo>
                    <a:pt x="974842" y="1231605"/>
                    <a:pt x="971746" y="1239101"/>
                    <a:pt x="968250" y="1246406"/>
                  </a:cubicBezTo>
                  <a:cubicBezTo>
                    <a:pt x="913824" y="1360268"/>
                    <a:pt x="777412" y="1408446"/>
                    <a:pt x="663557" y="1354029"/>
                  </a:cubicBezTo>
                  <a:lnTo>
                    <a:pt x="434915" y="1582667"/>
                  </a:lnTo>
                  <a:cubicBezTo>
                    <a:pt x="449628" y="1613462"/>
                    <a:pt x="457261" y="1647152"/>
                    <a:pt x="457253" y="1681270"/>
                  </a:cubicBezTo>
                  <a:cubicBezTo>
                    <a:pt x="457225" y="1807496"/>
                    <a:pt x="354876" y="1909794"/>
                    <a:pt x="228653" y="1909766"/>
                  </a:cubicBezTo>
                  <a:cubicBezTo>
                    <a:pt x="194559" y="1909766"/>
                    <a:pt x="160898" y="1902145"/>
                    <a:pt x="130132" y="1887448"/>
                  </a:cubicBezTo>
                  <a:cubicBezTo>
                    <a:pt x="16211" y="1833042"/>
                    <a:pt x="-32037" y="1696587"/>
                    <a:pt x="22368" y="1582667"/>
                  </a:cubicBezTo>
                  <a:cubicBezTo>
                    <a:pt x="76773" y="1468749"/>
                    <a:pt x="213228" y="1420504"/>
                    <a:pt x="327149" y="1474902"/>
                  </a:cubicBezTo>
                  <a:lnTo>
                    <a:pt x="555791" y="1246264"/>
                  </a:lnTo>
                  <a:cubicBezTo>
                    <a:pt x="552302" y="1238958"/>
                    <a:pt x="549204" y="1231481"/>
                    <a:pt x="546508" y="1223851"/>
                  </a:cubicBezTo>
                  <a:cubicBezTo>
                    <a:pt x="504456" y="1104827"/>
                    <a:pt x="566857" y="974239"/>
                    <a:pt x="685885" y="932186"/>
                  </a:cubicBezTo>
                  <a:cubicBezTo>
                    <a:pt x="804916" y="890133"/>
                    <a:pt x="935494" y="952541"/>
                    <a:pt x="977547" y="1071565"/>
                  </a:cubicBezTo>
                  <a:lnTo>
                    <a:pt x="1308560" y="1071565"/>
                  </a:lnTo>
                  <a:cubicBezTo>
                    <a:pt x="1324514" y="1026369"/>
                    <a:pt x="1354289" y="987336"/>
                    <a:pt x="1393656" y="959990"/>
                  </a:cubicBezTo>
                  <a:cubicBezTo>
                    <a:pt x="1497269" y="888009"/>
                    <a:pt x="1639620" y="913660"/>
                    <a:pt x="1711591" y="1017283"/>
                  </a:cubicBezTo>
                  <a:lnTo>
                    <a:pt x="2076151" y="704810"/>
                  </a:lnTo>
                  <a:cubicBezTo>
                    <a:pt x="2048814" y="641443"/>
                    <a:pt x="2051567" y="569120"/>
                    <a:pt x="2083647" y="508016"/>
                  </a:cubicBezTo>
                  <a:cubicBezTo>
                    <a:pt x="2127659" y="424174"/>
                    <a:pt x="2216394" y="378997"/>
                    <a:pt x="2305174" y="386404"/>
                  </a:cubicBezTo>
                  <a:close/>
                  <a:moveTo>
                    <a:pt x="3657653" y="160666"/>
                  </a:moveTo>
                  <a:lnTo>
                    <a:pt x="3657653" y="919165"/>
                  </a:lnTo>
                  <a:lnTo>
                    <a:pt x="4416148" y="919165"/>
                  </a:lnTo>
                  <a:cubicBezTo>
                    <a:pt x="4378848" y="516721"/>
                    <a:pt x="4060094" y="197970"/>
                    <a:pt x="3657653" y="160666"/>
                  </a:cubicBezTo>
                  <a:close/>
                  <a:moveTo>
                    <a:pt x="3505253" y="160666"/>
                  </a:moveTo>
                  <a:cubicBezTo>
                    <a:pt x="3352758" y="174560"/>
                    <a:pt x="3206978" y="229972"/>
                    <a:pt x="3083753" y="320883"/>
                  </a:cubicBezTo>
                  <a:cubicBezTo>
                    <a:pt x="2711316" y="595665"/>
                    <a:pt x="2632144" y="1120343"/>
                    <a:pt x="2906931" y="1492780"/>
                  </a:cubicBezTo>
                  <a:cubicBezTo>
                    <a:pt x="3181708" y="1865226"/>
                    <a:pt x="3706383" y="1944389"/>
                    <a:pt x="4078829" y="1669612"/>
                  </a:cubicBezTo>
                  <a:lnTo>
                    <a:pt x="3524503" y="1045991"/>
                  </a:lnTo>
                  <a:lnTo>
                    <a:pt x="3524560" y="1045933"/>
                  </a:lnTo>
                  <a:cubicBezTo>
                    <a:pt x="3512121" y="1032027"/>
                    <a:pt x="3505244" y="1014025"/>
                    <a:pt x="3505253" y="995365"/>
                  </a:cubicBezTo>
                  <a:close/>
                  <a:moveTo>
                    <a:pt x="3575408" y="46"/>
                  </a:moveTo>
                  <a:cubicBezTo>
                    <a:pt x="3735572" y="-1506"/>
                    <a:pt x="3898399" y="35746"/>
                    <a:pt x="4049826" y="116115"/>
                  </a:cubicBezTo>
                  <a:cubicBezTo>
                    <a:pt x="4534391" y="373296"/>
                    <a:pt x="4718729" y="974601"/>
                    <a:pt x="4461544" y="1459176"/>
                  </a:cubicBezTo>
                  <a:cubicBezTo>
                    <a:pt x="4204369" y="1943741"/>
                    <a:pt x="3603056" y="2128078"/>
                    <a:pt x="3118490" y="1870894"/>
                  </a:cubicBezTo>
                  <a:lnTo>
                    <a:pt x="2568536" y="2420848"/>
                  </a:lnTo>
                  <a:cubicBezTo>
                    <a:pt x="2554249" y="2435136"/>
                    <a:pt x="2534865" y="2443165"/>
                    <a:pt x="2514653" y="2443165"/>
                  </a:cubicBezTo>
                  <a:lnTo>
                    <a:pt x="2133653" y="2443165"/>
                  </a:lnTo>
                  <a:lnTo>
                    <a:pt x="2133653" y="3814765"/>
                  </a:lnTo>
                  <a:lnTo>
                    <a:pt x="1981253" y="3814765"/>
                  </a:lnTo>
                  <a:lnTo>
                    <a:pt x="1981253" y="2443165"/>
                  </a:lnTo>
                  <a:lnTo>
                    <a:pt x="1815747" y="2443165"/>
                  </a:lnTo>
                  <a:cubicBezTo>
                    <a:pt x="1792725" y="2508269"/>
                    <a:pt x="1741518" y="2559475"/>
                    <a:pt x="1676415" y="2582488"/>
                  </a:cubicBezTo>
                  <a:cubicBezTo>
                    <a:pt x="1557391" y="2624578"/>
                    <a:pt x="1426774" y="2562199"/>
                    <a:pt x="1384693" y="2443165"/>
                  </a:cubicBezTo>
                  <a:cubicBezTo>
                    <a:pt x="1342611" y="2324131"/>
                    <a:pt x="1404991" y="2193525"/>
                    <a:pt x="1524015" y="2151443"/>
                  </a:cubicBezTo>
                  <a:cubicBezTo>
                    <a:pt x="1643049" y="2109352"/>
                    <a:pt x="1773665" y="2171732"/>
                    <a:pt x="1815747" y="2290765"/>
                  </a:cubicBezTo>
                  <a:lnTo>
                    <a:pt x="2483097" y="2290765"/>
                  </a:lnTo>
                  <a:lnTo>
                    <a:pt x="2986760" y="1787093"/>
                  </a:lnTo>
                  <a:cubicBezTo>
                    <a:pt x="2596482" y="1493294"/>
                    <a:pt x="2477753" y="959332"/>
                    <a:pt x="2706772" y="527837"/>
                  </a:cubicBezTo>
                  <a:cubicBezTo>
                    <a:pt x="2883580" y="194696"/>
                    <a:pt x="3223047" y="3462"/>
                    <a:pt x="3575408" y="46"/>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805" name="CuadroTexto 804">
              <a:extLst>
                <a:ext uri="{FF2B5EF4-FFF2-40B4-BE49-F238E27FC236}">
                  <a16:creationId xmlns:a16="http://schemas.microsoft.com/office/drawing/2014/main" id="{9DECF529-875F-A936-0A08-306D02099A4E}"/>
                </a:ext>
              </a:extLst>
            </p:cNvPr>
            <p:cNvSpPr txBox="1"/>
            <p:nvPr/>
          </p:nvSpPr>
          <p:spPr>
            <a:xfrm>
              <a:off x="9164282" y="5385131"/>
              <a:ext cx="691215"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FINANCE</a:t>
              </a:r>
            </a:p>
          </p:txBody>
        </p:sp>
      </p:grpSp>
      <p:grpSp>
        <p:nvGrpSpPr>
          <p:cNvPr id="809" name="Grupo 808">
            <a:extLst>
              <a:ext uri="{FF2B5EF4-FFF2-40B4-BE49-F238E27FC236}">
                <a16:creationId xmlns:a16="http://schemas.microsoft.com/office/drawing/2014/main" id="{25F9E7D7-F3A0-9A04-F6BB-7BA04703C4FE}"/>
              </a:ext>
            </a:extLst>
          </p:cNvPr>
          <p:cNvGrpSpPr/>
          <p:nvPr/>
        </p:nvGrpSpPr>
        <p:grpSpPr>
          <a:xfrm>
            <a:off x="7819108" y="3802725"/>
            <a:ext cx="646331" cy="810333"/>
            <a:chOff x="9290575" y="3735597"/>
            <a:chExt cx="646331" cy="810333"/>
          </a:xfrm>
        </p:grpSpPr>
        <p:sp>
          <p:nvSpPr>
            <p:cNvPr id="47" name="Forma libre 46">
              <a:extLst>
                <a:ext uri="{FF2B5EF4-FFF2-40B4-BE49-F238E27FC236}">
                  <a16:creationId xmlns:a16="http://schemas.microsoft.com/office/drawing/2014/main" id="{F178691F-C85D-5911-FDDE-F68D2D2E7171}"/>
                </a:ext>
              </a:extLst>
            </p:cNvPr>
            <p:cNvSpPr/>
            <p:nvPr/>
          </p:nvSpPr>
          <p:spPr>
            <a:xfrm>
              <a:off x="9385013" y="3735597"/>
              <a:ext cx="427086" cy="426909"/>
            </a:xfrm>
            <a:custGeom>
              <a:avLst/>
              <a:gdLst>
                <a:gd name="connsiteX0" fmla="*/ 684647 w 1330865"/>
                <a:gd name="connsiteY0" fmla="*/ 1219636 h 1330312"/>
                <a:gd name="connsiteX1" fmla="*/ 684647 w 1330865"/>
                <a:gd name="connsiteY1" fmla="*/ 1290961 h 1330312"/>
                <a:gd name="connsiteX2" fmla="*/ 788137 w 1330865"/>
                <a:gd name="connsiteY2" fmla="*/ 1279199 h 1330312"/>
                <a:gd name="connsiteX3" fmla="*/ 847149 w 1330865"/>
                <a:gd name="connsiteY3" fmla="*/ 1224232 h 1330312"/>
                <a:gd name="connsiteX4" fmla="*/ 774976 w 1330865"/>
                <a:gd name="connsiteY4" fmla="*/ 1232076 h 1330312"/>
                <a:gd name="connsiteX5" fmla="*/ 684647 w 1330865"/>
                <a:gd name="connsiteY5" fmla="*/ 1219636 h 1330312"/>
                <a:gd name="connsiteX6" fmla="*/ 901502 w 1330865"/>
                <a:gd name="connsiteY6" fmla="*/ 1218196 h 1330312"/>
                <a:gd name="connsiteX7" fmla="*/ 870351 w 1330865"/>
                <a:gd name="connsiteY7" fmla="*/ 1256828 h 1330312"/>
                <a:gd name="connsiteX8" fmla="*/ 941020 w 1330865"/>
                <a:gd name="connsiteY8" fmla="*/ 1227410 h 1330312"/>
                <a:gd name="connsiteX9" fmla="*/ 901502 w 1330865"/>
                <a:gd name="connsiteY9" fmla="*/ 1218196 h 1330312"/>
                <a:gd name="connsiteX10" fmla="*/ 371876 w 1330865"/>
                <a:gd name="connsiteY10" fmla="*/ 1018552 h 1330312"/>
                <a:gd name="connsiteX11" fmla="*/ 542165 w 1330865"/>
                <a:gd name="connsiteY11" fmla="*/ 1279186 h 1330312"/>
                <a:gd name="connsiteX12" fmla="*/ 645670 w 1330865"/>
                <a:gd name="connsiteY12" fmla="*/ 1290959 h 1330312"/>
                <a:gd name="connsiteX13" fmla="*/ 645670 w 1330865"/>
                <a:gd name="connsiteY13" fmla="*/ 1205977 h 1330312"/>
                <a:gd name="connsiteX14" fmla="*/ 470694 w 1330865"/>
                <a:gd name="connsiteY14" fmla="*/ 1034932 h 1330312"/>
                <a:gd name="connsiteX15" fmla="*/ 371876 w 1330865"/>
                <a:gd name="connsiteY15" fmla="*/ 1018552 h 1330312"/>
                <a:gd name="connsiteX16" fmla="*/ 794461 w 1330865"/>
                <a:gd name="connsiteY16" fmla="*/ 921787 h 1330312"/>
                <a:gd name="connsiteX17" fmla="*/ 794461 w 1330865"/>
                <a:gd name="connsiteY17" fmla="*/ 1003129 h 1330312"/>
                <a:gd name="connsiteX18" fmla="*/ 824164 w 1330865"/>
                <a:gd name="connsiteY18" fmla="*/ 962458 h 1330312"/>
                <a:gd name="connsiteX19" fmla="*/ 794461 w 1330865"/>
                <a:gd name="connsiteY19" fmla="*/ 921787 h 1330312"/>
                <a:gd name="connsiteX20" fmla="*/ 93567 w 1330865"/>
                <a:gd name="connsiteY20" fmla="*/ 920774 h 1330312"/>
                <a:gd name="connsiteX21" fmla="*/ 459735 w 1330865"/>
                <a:gd name="connsiteY21" fmla="*/ 1256698 h 1330312"/>
                <a:gd name="connsiteX22" fmla="*/ 327378 w 1330865"/>
                <a:gd name="connsiteY22" fmla="*/ 1008614 h 1330312"/>
                <a:gd name="connsiteX23" fmla="*/ 93567 w 1330865"/>
                <a:gd name="connsiteY23" fmla="*/ 920774 h 1330312"/>
                <a:gd name="connsiteX24" fmla="*/ 755489 w 1330865"/>
                <a:gd name="connsiteY24" fmla="*/ 794178 h 1330312"/>
                <a:gd name="connsiteX25" fmla="*/ 725783 w 1330865"/>
                <a:gd name="connsiteY25" fmla="*/ 834851 h 1330312"/>
                <a:gd name="connsiteX26" fmla="*/ 755489 w 1330865"/>
                <a:gd name="connsiteY26" fmla="*/ 875525 h 1330312"/>
                <a:gd name="connsiteX27" fmla="*/ 774974 w 1330865"/>
                <a:gd name="connsiteY27" fmla="*/ 730442 h 1330312"/>
                <a:gd name="connsiteX28" fmla="*/ 794461 w 1330865"/>
                <a:gd name="connsiteY28" fmla="*/ 749929 h 1330312"/>
                <a:gd name="connsiteX29" fmla="*/ 794461 w 1330865"/>
                <a:gd name="connsiteY29" fmla="*/ 753634 h 1330312"/>
                <a:gd name="connsiteX30" fmla="*/ 863138 w 1330865"/>
                <a:gd name="connsiteY30" fmla="*/ 834851 h 1330312"/>
                <a:gd name="connsiteX31" fmla="*/ 843651 w 1330865"/>
                <a:gd name="connsiteY31" fmla="*/ 854339 h 1330312"/>
                <a:gd name="connsiteX32" fmla="*/ 824164 w 1330865"/>
                <a:gd name="connsiteY32" fmla="*/ 834851 h 1330312"/>
                <a:gd name="connsiteX33" fmla="*/ 794461 w 1330865"/>
                <a:gd name="connsiteY33" fmla="*/ 794178 h 1330312"/>
                <a:gd name="connsiteX34" fmla="*/ 794461 w 1330865"/>
                <a:gd name="connsiteY34" fmla="*/ 881244 h 1330312"/>
                <a:gd name="connsiteX35" fmla="*/ 863138 w 1330865"/>
                <a:gd name="connsiteY35" fmla="*/ 962458 h 1330312"/>
                <a:gd name="connsiteX36" fmla="*/ 794461 w 1330865"/>
                <a:gd name="connsiteY36" fmla="*/ 1043673 h 1330312"/>
                <a:gd name="connsiteX37" fmla="*/ 794461 w 1330865"/>
                <a:gd name="connsiteY37" fmla="*/ 1047380 h 1330312"/>
                <a:gd name="connsiteX38" fmla="*/ 774974 w 1330865"/>
                <a:gd name="connsiteY38" fmla="*/ 1066868 h 1330312"/>
                <a:gd name="connsiteX39" fmla="*/ 755486 w 1330865"/>
                <a:gd name="connsiteY39" fmla="*/ 1047380 h 1330312"/>
                <a:gd name="connsiteX40" fmla="*/ 755486 w 1330865"/>
                <a:gd name="connsiteY40" fmla="*/ 1043673 h 1330312"/>
                <a:gd name="connsiteX41" fmla="*/ 686806 w 1330865"/>
                <a:gd name="connsiteY41" fmla="*/ 962458 h 1330312"/>
                <a:gd name="connsiteX42" fmla="*/ 706293 w 1330865"/>
                <a:gd name="connsiteY42" fmla="*/ 942971 h 1330312"/>
                <a:gd name="connsiteX43" fmla="*/ 725780 w 1330865"/>
                <a:gd name="connsiteY43" fmla="*/ 962458 h 1330312"/>
                <a:gd name="connsiteX44" fmla="*/ 755486 w 1330865"/>
                <a:gd name="connsiteY44" fmla="*/ 1003129 h 1330312"/>
                <a:gd name="connsiteX45" fmla="*/ 755486 w 1330865"/>
                <a:gd name="connsiteY45" fmla="*/ 916066 h 1330312"/>
                <a:gd name="connsiteX46" fmla="*/ 686806 w 1330865"/>
                <a:gd name="connsiteY46" fmla="*/ 834851 h 1330312"/>
                <a:gd name="connsiteX47" fmla="*/ 755486 w 1330865"/>
                <a:gd name="connsiteY47" fmla="*/ 753634 h 1330312"/>
                <a:gd name="connsiteX48" fmla="*/ 755486 w 1330865"/>
                <a:gd name="connsiteY48" fmla="*/ 749929 h 1330312"/>
                <a:gd name="connsiteX49" fmla="*/ 774974 w 1330865"/>
                <a:gd name="connsiteY49" fmla="*/ 730442 h 1330312"/>
                <a:gd name="connsiteX50" fmla="*/ 1252694 w 1330865"/>
                <a:gd name="connsiteY50" fmla="*/ 684647 h 1330312"/>
                <a:gd name="connsiteX51" fmla="*/ 1287472 w 1330865"/>
                <a:gd name="connsiteY51" fmla="*/ 734893 h 1330312"/>
                <a:gd name="connsiteX52" fmla="*/ 1291018 w 1330865"/>
                <a:gd name="connsiteY52" fmla="*/ 684647 h 1330312"/>
                <a:gd name="connsiteX53" fmla="*/ 316450 w 1330865"/>
                <a:gd name="connsiteY53" fmla="*/ 684647 h 1330312"/>
                <a:gd name="connsiteX54" fmla="*/ 358438 w 1330865"/>
                <a:gd name="connsiteY54" fmla="*/ 975863 h 1330312"/>
                <a:gd name="connsiteX55" fmla="*/ 455253 w 1330865"/>
                <a:gd name="connsiteY55" fmla="*/ 993515 h 1330312"/>
                <a:gd name="connsiteX56" fmla="*/ 441552 w 1330865"/>
                <a:gd name="connsiteY56" fmla="*/ 898655 h 1330312"/>
                <a:gd name="connsiteX57" fmla="*/ 519513 w 1330865"/>
                <a:gd name="connsiteY57" fmla="*/ 684647 h 1330312"/>
                <a:gd name="connsiteX58" fmla="*/ 39307 w 1330865"/>
                <a:gd name="connsiteY58" fmla="*/ 684647 h 1330312"/>
                <a:gd name="connsiteX59" fmla="*/ 70380 w 1330865"/>
                <a:gd name="connsiteY59" fmla="*/ 861021 h 1330312"/>
                <a:gd name="connsiteX60" fmla="*/ 314816 w 1330865"/>
                <a:gd name="connsiteY60" fmla="*/ 965287 h 1330312"/>
                <a:gd name="connsiteX61" fmla="*/ 277504 w 1330865"/>
                <a:gd name="connsiteY61" fmla="*/ 684647 h 1330312"/>
                <a:gd name="connsiteX62" fmla="*/ 774976 w 1330865"/>
                <a:gd name="connsiteY62" fmla="*/ 657243 h 1330312"/>
                <a:gd name="connsiteX63" fmla="*/ 1016392 w 1330865"/>
                <a:gd name="connsiteY63" fmla="*/ 898655 h 1330312"/>
                <a:gd name="connsiteX64" fmla="*/ 824423 w 1330865"/>
                <a:gd name="connsiteY64" fmla="*/ 1134976 h 1330312"/>
                <a:gd name="connsiteX65" fmla="*/ 801371 w 1330865"/>
                <a:gd name="connsiteY65" fmla="*/ 1119872 h 1330312"/>
                <a:gd name="connsiteX66" fmla="*/ 816475 w 1330865"/>
                <a:gd name="connsiteY66" fmla="*/ 1096820 h 1330312"/>
                <a:gd name="connsiteX67" fmla="*/ 977415 w 1330865"/>
                <a:gd name="connsiteY67" fmla="*/ 898655 h 1330312"/>
                <a:gd name="connsiteX68" fmla="*/ 774978 w 1330865"/>
                <a:gd name="connsiteY68" fmla="*/ 696217 h 1330312"/>
                <a:gd name="connsiteX69" fmla="*/ 572541 w 1330865"/>
                <a:gd name="connsiteY69" fmla="*/ 898655 h 1330312"/>
                <a:gd name="connsiteX70" fmla="*/ 733481 w 1330865"/>
                <a:gd name="connsiteY70" fmla="*/ 1096820 h 1330312"/>
                <a:gd name="connsiteX71" fmla="*/ 748585 w 1330865"/>
                <a:gd name="connsiteY71" fmla="*/ 1119872 h 1330312"/>
                <a:gd name="connsiteX72" fmla="*/ 725533 w 1330865"/>
                <a:gd name="connsiteY72" fmla="*/ 1134976 h 1330312"/>
                <a:gd name="connsiteX73" fmla="*/ 533564 w 1330865"/>
                <a:gd name="connsiteY73" fmla="*/ 898655 h 1330312"/>
                <a:gd name="connsiteX74" fmla="*/ 774976 w 1330865"/>
                <a:gd name="connsiteY74" fmla="*/ 657243 h 1330312"/>
                <a:gd name="connsiteX75" fmla="*/ 1008765 w 1330865"/>
                <a:gd name="connsiteY75" fmla="*/ 604334 h 1330312"/>
                <a:gd name="connsiteX76" fmla="*/ 941136 w 1330865"/>
                <a:gd name="connsiteY76" fmla="*/ 609500 h 1330312"/>
                <a:gd name="connsiteX77" fmla="*/ 1005187 w 1330865"/>
                <a:gd name="connsiteY77" fmla="*/ 657428 h 1330312"/>
                <a:gd name="connsiteX78" fmla="*/ 1233222 w 1330865"/>
                <a:gd name="connsiteY78" fmla="*/ 849212 h 1330312"/>
                <a:gd name="connsiteX79" fmla="*/ 1218118 w 1330865"/>
                <a:gd name="connsiteY79" fmla="*/ 872264 h 1330312"/>
                <a:gd name="connsiteX80" fmla="*/ 1195067 w 1330865"/>
                <a:gd name="connsiteY80" fmla="*/ 857160 h 1330312"/>
                <a:gd name="connsiteX81" fmla="*/ 1044221 w 1330865"/>
                <a:gd name="connsiteY81" fmla="*/ 701874 h 1330312"/>
                <a:gd name="connsiteX82" fmla="*/ 1108396 w 1330865"/>
                <a:gd name="connsiteY82" fmla="*/ 898655 h 1330312"/>
                <a:gd name="connsiteX83" fmla="*/ 1044221 w 1330865"/>
                <a:gd name="connsiteY83" fmla="*/ 1095435 h 1330312"/>
                <a:gd name="connsiteX84" fmla="*/ 1195067 w 1330865"/>
                <a:gd name="connsiteY84" fmla="*/ 940149 h 1330312"/>
                <a:gd name="connsiteX85" fmla="*/ 1218118 w 1330865"/>
                <a:gd name="connsiteY85" fmla="*/ 925045 h 1330312"/>
                <a:gd name="connsiteX86" fmla="*/ 1233222 w 1330865"/>
                <a:gd name="connsiteY86" fmla="*/ 948097 h 1330312"/>
                <a:gd name="connsiteX87" fmla="*/ 1005189 w 1330865"/>
                <a:gd name="connsiteY87" fmla="*/ 1139879 h 1330312"/>
                <a:gd name="connsiteX88" fmla="*/ 941139 w 1330865"/>
                <a:gd name="connsiteY88" fmla="*/ 1187807 h 1330312"/>
                <a:gd name="connsiteX89" fmla="*/ 1291346 w 1330865"/>
                <a:gd name="connsiteY89" fmla="*/ 898655 h 1330312"/>
                <a:gd name="connsiteX90" fmla="*/ 1008765 w 1330865"/>
                <a:gd name="connsiteY90" fmla="*/ 604334 h 1330312"/>
                <a:gd name="connsiteX91" fmla="*/ 774976 w 1330865"/>
                <a:gd name="connsiteY91" fmla="*/ 604207 h 1330312"/>
                <a:gd name="connsiteX92" fmla="*/ 480529 w 1330865"/>
                <a:gd name="connsiteY92" fmla="*/ 898655 h 1330312"/>
                <a:gd name="connsiteX93" fmla="*/ 774976 w 1330865"/>
                <a:gd name="connsiteY93" fmla="*/ 1193100 h 1330312"/>
                <a:gd name="connsiteX94" fmla="*/ 1069421 w 1330865"/>
                <a:gd name="connsiteY94" fmla="*/ 898655 h 1330312"/>
                <a:gd name="connsiteX95" fmla="*/ 774976 w 1330865"/>
                <a:gd name="connsiteY95" fmla="*/ 604207 h 1330312"/>
                <a:gd name="connsiteX96" fmla="*/ 1015679 w 1330865"/>
                <a:gd name="connsiteY96" fmla="*/ 365201 h 1330312"/>
                <a:gd name="connsiteX97" fmla="*/ 1049386 w 1330865"/>
                <a:gd name="connsiteY97" fmla="*/ 569325 h 1330312"/>
                <a:gd name="connsiteX98" fmla="*/ 1055365 w 1330865"/>
                <a:gd name="connsiteY98" fmla="*/ 570370 h 1330312"/>
                <a:gd name="connsiteX99" fmla="*/ 1056433 w 1330865"/>
                <a:gd name="connsiteY99" fmla="*/ 570562 h 1330312"/>
                <a:gd name="connsiteX100" fmla="*/ 1214073 w 1330865"/>
                <a:gd name="connsiteY100" fmla="*/ 645673 h 1330312"/>
                <a:gd name="connsiteX101" fmla="*/ 1291013 w 1330865"/>
                <a:gd name="connsiteY101" fmla="*/ 645673 h 1330312"/>
                <a:gd name="connsiteX102" fmla="*/ 1259938 w 1330865"/>
                <a:gd name="connsiteY102" fmla="*/ 469294 h 1330312"/>
                <a:gd name="connsiteX103" fmla="*/ 1015679 w 1330865"/>
                <a:gd name="connsiteY103" fmla="*/ 365201 h 1330312"/>
                <a:gd name="connsiteX104" fmla="*/ 314782 w 1330865"/>
                <a:gd name="connsiteY104" fmla="*/ 365168 h 1330312"/>
                <a:gd name="connsiteX105" fmla="*/ 70382 w 1330865"/>
                <a:gd name="connsiteY105" fmla="*/ 469296 h 1330312"/>
                <a:gd name="connsiteX106" fmla="*/ 39307 w 1330865"/>
                <a:gd name="connsiteY106" fmla="*/ 645673 h 1330312"/>
                <a:gd name="connsiteX107" fmla="*/ 277504 w 1330865"/>
                <a:gd name="connsiteY107" fmla="*/ 645673 h 1330312"/>
                <a:gd name="connsiteX108" fmla="*/ 314782 w 1330865"/>
                <a:gd name="connsiteY108" fmla="*/ 365168 h 1330312"/>
                <a:gd name="connsiteX109" fmla="*/ 684647 w 1330865"/>
                <a:gd name="connsiteY109" fmla="*/ 322202 h 1330312"/>
                <a:gd name="connsiteX110" fmla="*/ 684647 w 1330865"/>
                <a:gd name="connsiteY110" fmla="*/ 577673 h 1330312"/>
                <a:gd name="connsiteX111" fmla="*/ 774976 w 1330865"/>
                <a:gd name="connsiteY111" fmla="*/ 565233 h 1330312"/>
                <a:gd name="connsiteX112" fmla="*/ 885939 w 1330865"/>
                <a:gd name="connsiteY112" fmla="*/ 584174 h 1330312"/>
                <a:gd name="connsiteX113" fmla="*/ 1009999 w 1330865"/>
                <a:gd name="connsiteY113" fmla="*/ 565490 h 1330312"/>
                <a:gd name="connsiteX114" fmla="*/ 972165 w 1330865"/>
                <a:gd name="connsiteY114" fmla="*/ 354668 h 1330312"/>
                <a:gd name="connsiteX115" fmla="*/ 684647 w 1330865"/>
                <a:gd name="connsiteY115" fmla="*/ 322202 h 1330312"/>
                <a:gd name="connsiteX116" fmla="*/ 645673 w 1330865"/>
                <a:gd name="connsiteY116" fmla="*/ 322202 h 1330312"/>
                <a:gd name="connsiteX117" fmla="*/ 358394 w 1330865"/>
                <a:gd name="connsiteY117" fmla="*/ 354616 h 1330312"/>
                <a:gd name="connsiteX118" fmla="*/ 316450 w 1330865"/>
                <a:gd name="connsiteY118" fmla="*/ 645676 h 1330312"/>
                <a:gd name="connsiteX119" fmla="*/ 558035 w 1330865"/>
                <a:gd name="connsiteY119" fmla="*/ 645676 h 1330312"/>
                <a:gd name="connsiteX120" fmla="*/ 645673 w 1330865"/>
                <a:gd name="connsiteY120" fmla="*/ 591332 h 1330312"/>
                <a:gd name="connsiteX121" fmla="*/ 870630 w 1330865"/>
                <a:gd name="connsiteY121" fmla="*/ 73640 h 1330312"/>
                <a:gd name="connsiteX122" fmla="*/ 1003241 w 1330865"/>
                <a:gd name="connsiteY122" fmla="*/ 322010 h 1330312"/>
                <a:gd name="connsiteX123" fmla="*/ 1236792 w 1330865"/>
                <a:gd name="connsiteY123" fmla="*/ 409632 h 1330312"/>
                <a:gd name="connsiteX124" fmla="*/ 870630 w 1330865"/>
                <a:gd name="connsiteY124" fmla="*/ 73640 h 1330312"/>
                <a:gd name="connsiteX125" fmla="*/ 459735 w 1330865"/>
                <a:gd name="connsiteY125" fmla="*/ 73625 h 1330312"/>
                <a:gd name="connsiteX126" fmla="*/ 93528 w 1330865"/>
                <a:gd name="connsiteY126" fmla="*/ 409632 h 1330312"/>
                <a:gd name="connsiteX127" fmla="*/ 327300 w 1330865"/>
                <a:gd name="connsiteY127" fmla="*/ 321956 h 1330312"/>
                <a:gd name="connsiteX128" fmla="*/ 459735 w 1330865"/>
                <a:gd name="connsiteY128" fmla="*/ 73625 h 1330312"/>
                <a:gd name="connsiteX129" fmla="*/ 684647 w 1330865"/>
                <a:gd name="connsiteY129" fmla="*/ 39361 h 1330312"/>
                <a:gd name="connsiteX130" fmla="*/ 684647 w 1330865"/>
                <a:gd name="connsiteY130" fmla="*/ 283231 h 1330312"/>
                <a:gd name="connsiteX131" fmla="*/ 958763 w 1330865"/>
                <a:gd name="connsiteY131" fmla="*/ 312051 h 1330312"/>
                <a:gd name="connsiteX132" fmla="*/ 788152 w 1330865"/>
                <a:gd name="connsiteY132" fmla="*/ 51134 h 1330312"/>
                <a:gd name="connsiteX133" fmla="*/ 684647 w 1330865"/>
                <a:gd name="connsiteY133" fmla="*/ 39361 h 1330312"/>
                <a:gd name="connsiteX134" fmla="*/ 645673 w 1330865"/>
                <a:gd name="connsiteY134" fmla="*/ 39361 h 1330312"/>
                <a:gd name="connsiteX135" fmla="*/ 542165 w 1330865"/>
                <a:gd name="connsiteY135" fmla="*/ 51134 h 1330312"/>
                <a:gd name="connsiteX136" fmla="*/ 371798 w 1330865"/>
                <a:gd name="connsiteY136" fmla="*/ 312002 h 1330312"/>
                <a:gd name="connsiteX137" fmla="*/ 645673 w 1330865"/>
                <a:gd name="connsiteY137" fmla="*/ 283231 h 1330312"/>
                <a:gd name="connsiteX138" fmla="*/ 665160 w 1330865"/>
                <a:gd name="connsiteY138" fmla="*/ 0 h 1330312"/>
                <a:gd name="connsiteX139" fmla="*/ 1326846 w 1330865"/>
                <a:gd name="connsiteY139" fmla="*/ 596781 h 1330312"/>
                <a:gd name="connsiteX140" fmla="*/ 1330250 w 1330865"/>
                <a:gd name="connsiteY140" fmla="*/ 627695 h 1330312"/>
                <a:gd name="connsiteX141" fmla="*/ 1330299 w 1330865"/>
                <a:gd name="connsiteY141" fmla="*/ 666781 h 1330312"/>
                <a:gd name="connsiteX142" fmla="*/ 1316084 w 1330865"/>
                <a:gd name="connsiteY142" fmla="*/ 802227 h 1330312"/>
                <a:gd name="connsiteX143" fmla="*/ 1330320 w 1330865"/>
                <a:gd name="connsiteY143" fmla="*/ 898655 h 1330312"/>
                <a:gd name="connsiteX144" fmla="*/ 1013810 w 1330865"/>
                <a:gd name="connsiteY144" fmla="*/ 1231648 h 1330312"/>
                <a:gd name="connsiteX145" fmla="*/ 648198 w 1330865"/>
                <a:gd name="connsiteY145" fmla="*/ 1330104 h 1330312"/>
                <a:gd name="connsiteX146" fmla="*/ 647668 w 1330865"/>
                <a:gd name="connsiteY146" fmla="*/ 1330086 h 1330312"/>
                <a:gd name="connsiteX147" fmla="*/ 0 w 1330865"/>
                <a:gd name="connsiteY147" fmla="*/ 665160 h 1330312"/>
                <a:gd name="connsiteX148" fmla="*/ 665160 w 1330865"/>
                <a:gd name="connsiteY148" fmla="*/ 0 h 1330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1330865" h="1330312">
                  <a:moveTo>
                    <a:pt x="684647" y="1219636"/>
                  </a:moveTo>
                  <a:lnTo>
                    <a:pt x="684647" y="1290961"/>
                  </a:lnTo>
                  <a:cubicBezTo>
                    <a:pt x="718929" y="1289914"/>
                    <a:pt x="752951" y="1286222"/>
                    <a:pt x="788137" y="1279199"/>
                  </a:cubicBezTo>
                  <a:cubicBezTo>
                    <a:pt x="808666" y="1264425"/>
                    <a:pt x="828405" y="1246037"/>
                    <a:pt x="847149" y="1224232"/>
                  </a:cubicBezTo>
                  <a:cubicBezTo>
                    <a:pt x="823731" y="1229403"/>
                    <a:pt x="799257" y="1232074"/>
                    <a:pt x="774976" y="1232076"/>
                  </a:cubicBezTo>
                  <a:cubicBezTo>
                    <a:pt x="743683" y="1232076"/>
                    <a:pt x="713387" y="1227735"/>
                    <a:pt x="684647" y="1219636"/>
                  </a:cubicBezTo>
                  <a:close/>
                  <a:moveTo>
                    <a:pt x="901502" y="1218196"/>
                  </a:moveTo>
                  <a:cubicBezTo>
                    <a:pt x="891455" y="1232011"/>
                    <a:pt x="881062" y="1244899"/>
                    <a:pt x="870351" y="1256828"/>
                  </a:cubicBezTo>
                  <a:cubicBezTo>
                    <a:pt x="894445" y="1248474"/>
                    <a:pt x="918056" y="1238692"/>
                    <a:pt x="941020" y="1227410"/>
                  </a:cubicBezTo>
                  <a:cubicBezTo>
                    <a:pt x="927854" y="1225188"/>
                    <a:pt x="914226" y="1221990"/>
                    <a:pt x="901502" y="1218196"/>
                  </a:cubicBezTo>
                  <a:close/>
                  <a:moveTo>
                    <a:pt x="371876" y="1018552"/>
                  </a:moveTo>
                  <a:cubicBezTo>
                    <a:pt x="411641" y="1134766"/>
                    <a:pt x="470663" y="1227735"/>
                    <a:pt x="542165" y="1279186"/>
                  </a:cubicBezTo>
                  <a:cubicBezTo>
                    <a:pt x="576062" y="1285965"/>
                    <a:pt x="610300" y="1289880"/>
                    <a:pt x="645670" y="1290959"/>
                  </a:cubicBezTo>
                  <a:lnTo>
                    <a:pt x="645670" y="1205977"/>
                  </a:lnTo>
                  <a:cubicBezTo>
                    <a:pt x="567974" y="1173163"/>
                    <a:pt x="505220" y="1111716"/>
                    <a:pt x="470694" y="1034932"/>
                  </a:cubicBezTo>
                  <a:cubicBezTo>
                    <a:pt x="436888" y="1030575"/>
                    <a:pt x="403882" y="1025097"/>
                    <a:pt x="371876" y="1018552"/>
                  </a:cubicBezTo>
                  <a:close/>
                  <a:moveTo>
                    <a:pt x="794461" y="921787"/>
                  </a:moveTo>
                  <a:lnTo>
                    <a:pt x="794461" y="1003129"/>
                  </a:lnTo>
                  <a:cubicBezTo>
                    <a:pt x="811913" y="996316"/>
                    <a:pt x="824164" y="980657"/>
                    <a:pt x="824164" y="962458"/>
                  </a:cubicBezTo>
                  <a:cubicBezTo>
                    <a:pt x="824164" y="944260"/>
                    <a:pt x="811916" y="928600"/>
                    <a:pt x="794461" y="921787"/>
                  </a:cubicBezTo>
                  <a:close/>
                  <a:moveTo>
                    <a:pt x="93567" y="920774"/>
                  </a:moveTo>
                  <a:cubicBezTo>
                    <a:pt x="163822" y="1077260"/>
                    <a:pt x="296511" y="1199847"/>
                    <a:pt x="459735" y="1256698"/>
                  </a:cubicBezTo>
                  <a:cubicBezTo>
                    <a:pt x="397768" y="1187745"/>
                    <a:pt x="355136" y="1096774"/>
                    <a:pt x="327378" y="1008614"/>
                  </a:cubicBezTo>
                  <a:cubicBezTo>
                    <a:pt x="238948" y="987155"/>
                    <a:pt x="159444" y="957355"/>
                    <a:pt x="93567" y="920774"/>
                  </a:cubicBezTo>
                  <a:close/>
                  <a:moveTo>
                    <a:pt x="755489" y="794178"/>
                  </a:moveTo>
                  <a:cubicBezTo>
                    <a:pt x="738034" y="800991"/>
                    <a:pt x="725783" y="816650"/>
                    <a:pt x="725783" y="834851"/>
                  </a:cubicBezTo>
                  <a:cubicBezTo>
                    <a:pt x="725783" y="853052"/>
                    <a:pt x="738034" y="868710"/>
                    <a:pt x="755489" y="875525"/>
                  </a:cubicBezTo>
                  <a:close/>
                  <a:moveTo>
                    <a:pt x="774974" y="730442"/>
                  </a:moveTo>
                  <a:cubicBezTo>
                    <a:pt x="785738" y="730442"/>
                    <a:pt x="794461" y="739164"/>
                    <a:pt x="794461" y="749929"/>
                  </a:cubicBezTo>
                  <a:lnTo>
                    <a:pt x="794461" y="753634"/>
                  </a:lnTo>
                  <a:cubicBezTo>
                    <a:pt x="833726" y="762040"/>
                    <a:pt x="863138" y="795251"/>
                    <a:pt x="863138" y="834851"/>
                  </a:cubicBezTo>
                  <a:cubicBezTo>
                    <a:pt x="863138" y="845616"/>
                    <a:pt x="854416" y="854339"/>
                    <a:pt x="843651" y="854339"/>
                  </a:cubicBezTo>
                  <a:cubicBezTo>
                    <a:pt x="832887" y="854339"/>
                    <a:pt x="824164" y="845616"/>
                    <a:pt x="824164" y="834851"/>
                  </a:cubicBezTo>
                  <a:cubicBezTo>
                    <a:pt x="824164" y="816650"/>
                    <a:pt x="811913" y="800993"/>
                    <a:pt x="794461" y="794178"/>
                  </a:cubicBezTo>
                  <a:lnTo>
                    <a:pt x="794461" y="881244"/>
                  </a:lnTo>
                  <a:cubicBezTo>
                    <a:pt x="833726" y="889649"/>
                    <a:pt x="863138" y="922858"/>
                    <a:pt x="863138" y="962458"/>
                  </a:cubicBezTo>
                  <a:cubicBezTo>
                    <a:pt x="863138" y="1002056"/>
                    <a:pt x="833726" y="1035267"/>
                    <a:pt x="794461" y="1043673"/>
                  </a:cubicBezTo>
                  <a:lnTo>
                    <a:pt x="794461" y="1047380"/>
                  </a:lnTo>
                  <a:cubicBezTo>
                    <a:pt x="794461" y="1058145"/>
                    <a:pt x="785738" y="1066868"/>
                    <a:pt x="774974" y="1066868"/>
                  </a:cubicBezTo>
                  <a:cubicBezTo>
                    <a:pt x="764209" y="1066868"/>
                    <a:pt x="755486" y="1058145"/>
                    <a:pt x="755486" y="1047380"/>
                  </a:cubicBezTo>
                  <a:lnTo>
                    <a:pt x="755486" y="1043673"/>
                  </a:lnTo>
                  <a:cubicBezTo>
                    <a:pt x="716219" y="1035267"/>
                    <a:pt x="686806" y="1002059"/>
                    <a:pt x="686806" y="962458"/>
                  </a:cubicBezTo>
                  <a:cubicBezTo>
                    <a:pt x="686806" y="951693"/>
                    <a:pt x="695528" y="942971"/>
                    <a:pt x="706293" y="942971"/>
                  </a:cubicBezTo>
                  <a:cubicBezTo>
                    <a:pt x="717058" y="942971"/>
                    <a:pt x="725780" y="951693"/>
                    <a:pt x="725780" y="962458"/>
                  </a:cubicBezTo>
                  <a:cubicBezTo>
                    <a:pt x="725780" y="980657"/>
                    <a:pt x="738031" y="996314"/>
                    <a:pt x="755486" y="1003129"/>
                  </a:cubicBezTo>
                  <a:lnTo>
                    <a:pt x="755486" y="916066"/>
                  </a:lnTo>
                  <a:cubicBezTo>
                    <a:pt x="716219" y="907660"/>
                    <a:pt x="686806" y="874452"/>
                    <a:pt x="686806" y="834851"/>
                  </a:cubicBezTo>
                  <a:cubicBezTo>
                    <a:pt x="686806" y="795251"/>
                    <a:pt x="716221" y="762040"/>
                    <a:pt x="755486" y="753634"/>
                  </a:cubicBezTo>
                  <a:lnTo>
                    <a:pt x="755486" y="749929"/>
                  </a:lnTo>
                  <a:cubicBezTo>
                    <a:pt x="755486" y="739164"/>
                    <a:pt x="764209" y="730442"/>
                    <a:pt x="774974" y="730442"/>
                  </a:cubicBezTo>
                  <a:close/>
                  <a:moveTo>
                    <a:pt x="1252694" y="684647"/>
                  </a:moveTo>
                  <a:cubicBezTo>
                    <a:pt x="1265823" y="700294"/>
                    <a:pt x="1277455" y="717094"/>
                    <a:pt x="1287472" y="734893"/>
                  </a:cubicBezTo>
                  <a:cubicBezTo>
                    <a:pt x="1289330" y="718204"/>
                    <a:pt x="1290499" y="701435"/>
                    <a:pt x="1291018" y="684647"/>
                  </a:cubicBezTo>
                  <a:close/>
                  <a:moveTo>
                    <a:pt x="316450" y="684647"/>
                  </a:moveTo>
                  <a:cubicBezTo>
                    <a:pt x="318115" y="788168"/>
                    <a:pt x="332972" y="887576"/>
                    <a:pt x="358438" y="975863"/>
                  </a:cubicBezTo>
                  <a:cubicBezTo>
                    <a:pt x="389680" y="982816"/>
                    <a:pt x="422015" y="988729"/>
                    <a:pt x="455253" y="993515"/>
                  </a:cubicBezTo>
                  <a:cubicBezTo>
                    <a:pt x="446031" y="962450"/>
                    <a:pt x="441552" y="929452"/>
                    <a:pt x="441552" y="898655"/>
                  </a:cubicBezTo>
                  <a:cubicBezTo>
                    <a:pt x="441552" y="817261"/>
                    <a:pt x="470884" y="742599"/>
                    <a:pt x="519513" y="684647"/>
                  </a:cubicBezTo>
                  <a:close/>
                  <a:moveTo>
                    <a:pt x="39307" y="684647"/>
                  </a:moveTo>
                  <a:cubicBezTo>
                    <a:pt x="41159" y="744896"/>
                    <a:pt x="51425" y="803607"/>
                    <a:pt x="70380" y="861021"/>
                  </a:cubicBezTo>
                  <a:cubicBezTo>
                    <a:pt x="135053" y="904527"/>
                    <a:pt x="218830" y="940043"/>
                    <a:pt x="314816" y="965287"/>
                  </a:cubicBezTo>
                  <a:cubicBezTo>
                    <a:pt x="291701" y="878032"/>
                    <a:pt x="278993" y="782857"/>
                    <a:pt x="277504" y="684647"/>
                  </a:cubicBezTo>
                  <a:close/>
                  <a:moveTo>
                    <a:pt x="774976" y="657243"/>
                  </a:moveTo>
                  <a:cubicBezTo>
                    <a:pt x="908088" y="657243"/>
                    <a:pt x="1016387" y="765542"/>
                    <a:pt x="1016392" y="898655"/>
                  </a:cubicBezTo>
                  <a:cubicBezTo>
                    <a:pt x="1016392" y="1012423"/>
                    <a:pt x="935658" y="1111810"/>
                    <a:pt x="824423" y="1134976"/>
                  </a:cubicBezTo>
                  <a:cubicBezTo>
                    <a:pt x="813882" y="1137174"/>
                    <a:pt x="803567" y="1130406"/>
                    <a:pt x="801371" y="1119872"/>
                  </a:cubicBezTo>
                  <a:cubicBezTo>
                    <a:pt x="799178" y="1109334"/>
                    <a:pt x="805939" y="1099016"/>
                    <a:pt x="816475" y="1096820"/>
                  </a:cubicBezTo>
                  <a:cubicBezTo>
                    <a:pt x="909730" y="1077401"/>
                    <a:pt x="977415" y="994058"/>
                    <a:pt x="977415" y="898655"/>
                  </a:cubicBezTo>
                  <a:cubicBezTo>
                    <a:pt x="977415" y="787030"/>
                    <a:pt x="886603" y="696217"/>
                    <a:pt x="774978" y="696217"/>
                  </a:cubicBezTo>
                  <a:cubicBezTo>
                    <a:pt x="663353" y="696217"/>
                    <a:pt x="572541" y="787030"/>
                    <a:pt x="572541" y="898655"/>
                  </a:cubicBezTo>
                  <a:cubicBezTo>
                    <a:pt x="572541" y="994061"/>
                    <a:pt x="640223" y="1077401"/>
                    <a:pt x="733481" y="1096820"/>
                  </a:cubicBezTo>
                  <a:cubicBezTo>
                    <a:pt x="744014" y="1099016"/>
                    <a:pt x="750778" y="1109334"/>
                    <a:pt x="748585" y="1119872"/>
                  </a:cubicBezTo>
                  <a:cubicBezTo>
                    <a:pt x="746389" y="1130403"/>
                    <a:pt x="736058" y="1137177"/>
                    <a:pt x="725533" y="1134976"/>
                  </a:cubicBezTo>
                  <a:cubicBezTo>
                    <a:pt x="614298" y="1111812"/>
                    <a:pt x="533564" y="1012423"/>
                    <a:pt x="533564" y="898655"/>
                  </a:cubicBezTo>
                  <a:cubicBezTo>
                    <a:pt x="533564" y="765542"/>
                    <a:pt x="641863" y="657243"/>
                    <a:pt x="774976" y="657243"/>
                  </a:cubicBezTo>
                  <a:close/>
                  <a:moveTo>
                    <a:pt x="1008765" y="604334"/>
                  </a:moveTo>
                  <a:cubicBezTo>
                    <a:pt x="986669" y="603476"/>
                    <a:pt x="964028" y="605111"/>
                    <a:pt x="941136" y="609500"/>
                  </a:cubicBezTo>
                  <a:cubicBezTo>
                    <a:pt x="964360" y="622837"/>
                    <a:pt x="985829" y="638920"/>
                    <a:pt x="1005187" y="657428"/>
                  </a:cubicBezTo>
                  <a:cubicBezTo>
                    <a:pt x="1115455" y="661242"/>
                    <a:pt x="1210625" y="740710"/>
                    <a:pt x="1233222" y="849212"/>
                  </a:cubicBezTo>
                  <a:cubicBezTo>
                    <a:pt x="1235415" y="859750"/>
                    <a:pt x="1228655" y="870068"/>
                    <a:pt x="1218118" y="872264"/>
                  </a:cubicBezTo>
                  <a:cubicBezTo>
                    <a:pt x="1207593" y="874470"/>
                    <a:pt x="1197262" y="867699"/>
                    <a:pt x="1195067" y="857160"/>
                  </a:cubicBezTo>
                  <a:cubicBezTo>
                    <a:pt x="1178949" y="779760"/>
                    <a:pt x="1118773" y="719958"/>
                    <a:pt x="1044221" y="701874"/>
                  </a:cubicBezTo>
                  <a:cubicBezTo>
                    <a:pt x="1086160" y="759005"/>
                    <a:pt x="1108396" y="827815"/>
                    <a:pt x="1108396" y="898655"/>
                  </a:cubicBezTo>
                  <a:cubicBezTo>
                    <a:pt x="1108396" y="969517"/>
                    <a:pt x="1086131" y="1038343"/>
                    <a:pt x="1044221" y="1095435"/>
                  </a:cubicBezTo>
                  <a:cubicBezTo>
                    <a:pt x="1118776" y="1077351"/>
                    <a:pt x="1178949" y="1017549"/>
                    <a:pt x="1195067" y="940149"/>
                  </a:cubicBezTo>
                  <a:cubicBezTo>
                    <a:pt x="1197262" y="929613"/>
                    <a:pt x="1207585" y="922842"/>
                    <a:pt x="1218118" y="925045"/>
                  </a:cubicBezTo>
                  <a:cubicBezTo>
                    <a:pt x="1228652" y="927241"/>
                    <a:pt x="1235415" y="937559"/>
                    <a:pt x="1233222" y="948097"/>
                  </a:cubicBezTo>
                  <a:cubicBezTo>
                    <a:pt x="1210625" y="1056599"/>
                    <a:pt x="1115455" y="1136067"/>
                    <a:pt x="1005189" y="1139879"/>
                  </a:cubicBezTo>
                  <a:cubicBezTo>
                    <a:pt x="985832" y="1158387"/>
                    <a:pt x="964362" y="1174470"/>
                    <a:pt x="941139" y="1187807"/>
                  </a:cubicBezTo>
                  <a:cubicBezTo>
                    <a:pt x="1119251" y="1222099"/>
                    <a:pt x="1291346" y="1086235"/>
                    <a:pt x="1291346" y="898655"/>
                  </a:cubicBezTo>
                  <a:cubicBezTo>
                    <a:pt x="1291346" y="738469"/>
                    <a:pt x="1163432" y="610339"/>
                    <a:pt x="1008765" y="604334"/>
                  </a:cubicBezTo>
                  <a:close/>
                  <a:moveTo>
                    <a:pt x="774976" y="604207"/>
                  </a:moveTo>
                  <a:cubicBezTo>
                    <a:pt x="612618" y="604207"/>
                    <a:pt x="480529" y="736296"/>
                    <a:pt x="480529" y="898655"/>
                  </a:cubicBezTo>
                  <a:cubicBezTo>
                    <a:pt x="480529" y="1061232"/>
                    <a:pt x="612838" y="1193100"/>
                    <a:pt x="774976" y="1193100"/>
                  </a:cubicBezTo>
                  <a:cubicBezTo>
                    <a:pt x="939952" y="1193100"/>
                    <a:pt x="1069421" y="1057968"/>
                    <a:pt x="1069421" y="898655"/>
                  </a:cubicBezTo>
                  <a:cubicBezTo>
                    <a:pt x="1069421" y="738549"/>
                    <a:pt x="939032" y="604207"/>
                    <a:pt x="774976" y="604207"/>
                  </a:cubicBezTo>
                  <a:close/>
                  <a:moveTo>
                    <a:pt x="1015679" y="365201"/>
                  </a:moveTo>
                  <a:cubicBezTo>
                    <a:pt x="1032417" y="428716"/>
                    <a:pt x="1043922" y="497386"/>
                    <a:pt x="1049386" y="569325"/>
                  </a:cubicBezTo>
                  <a:cubicBezTo>
                    <a:pt x="1051387" y="569639"/>
                    <a:pt x="1053372" y="570019"/>
                    <a:pt x="1055365" y="570370"/>
                  </a:cubicBezTo>
                  <a:cubicBezTo>
                    <a:pt x="1055721" y="570432"/>
                    <a:pt x="1056077" y="570497"/>
                    <a:pt x="1056433" y="570562"/>
                  </a:cubicBezTo>
                  <a:cubicBezTo>
                    <a:pt x="1114416" y="580965"/>
                    <a:pt x="1168200" y="606364"/>
                    <a:pt x="1214073" y="645673"/>
                  </a:cubicBezTo>
                  <a:lnTo>
                    <a:pt x="1291013" y="645673"/>
                  </a:lnTo>
                  <a:cubicBezTo>
                    <a:pt x="1289098" y="583590"/>
                    <a:pt x="1278292" y="524892"/>
                    <a:pt x="1259938" y="469294"/>
                  </a:cubicBezTo>
                  <a:cubicBezTo>
                    <a:pt x="1194973" y="425598"/>
                    <a:pt x="1111062" y="390288"/>
                    <a:pt x="1015679" y="365201"/>
                  </a:cubicBezTo>
                  <a:close/>
                  <a:moveTo>
                    <a:pt x="314782" y="365168"/>
                  </a:moveTo>
                  <a:cubicBezTo>
                    <a:pt x="219342" y="390257"/>
                    <a:pt x="135378" y="425580"/>
                    <a:pt x="70382" y="469296"/>
                  </a:cubicBezTo>
                  <a:cubicBezTo>
                    <a:pt x="51503" y="526485"/>
                    <a:pt x="41162" y="585299"/>
                    <a:pt x="39307" y="645673"/>
                  </a:cubicBezTo>
                  <a:lnTo>
                    <a:pt x="277504" y="645673"/>
                  </a:lnTo>
                  <a:cubicBezTo>
                    <a:pt x="278993" y="547512"/>
                    <a:pt x="291688" y="452387"/>
                    <a:pt x="314782" y="365168"/>
                  </a:cubicBezTo>
                  <a:close/>
                  <a:moveTo>
                    <a:pt x="684647" y="322202"/>
                  </a:moveTo>
                  <a:lnTo>
                    <a:pt x="684647" y="577673"/>
                  </a:lnTo>
                  <a:cubicBezTo>
                    <a:pt x="713387" y="569574"/>
                    <a:pt x="743683" y="565233"/>
                    <a:pt x="774976" y="565233"/>
                  </a:cubicBezTo>
                  <a:cubicBezTo>
                    <a:pt x="812927" y="565233"/>
                    <a:pt x="850485" y="571656"/>
                    <a:pt x="885939" y="584174"/>
                  </a:cubicBezTo>
                  <a:cubicBezTo>
                    <a:pt x="924149" y="570528"/>
                    <a:pt x="967075" y="563843"/>
                    <a:pt x="1009999" y="565490"/>
                  </a:cubicBezTo>
                  <a:cubicBezTo>
                    <a:pt x="1003945" y="491525"/>
                    <a:pt x="991091" y="420321"/>
                    <a:pt x="972165" y="354668"/>
                  </a:cubicBezTo>
                  <a:cubicBezTo>
                    <a:pt x="882966" y="334789"/>
                    <a:pt x="785315" y="323494"/>
                    <a:pt x="684647" y="322202"/>
                  </a:cubicBezTo>
                  <a:close/>
                  <a:moveTo>
                    <a:pt x="645673" y="322202"/>
                  </a:moveTo>
                  <a:cubicBezTo>
                    <a:pt x="545096" y="323494"/>
                    <a:pt x="447528" y="334768"/>
                    <a:pt x="358394" y="354616"/>
                  </a:cubicBezTo>
                  <a:cubicBezTo>
                    <a:pt x="332954" y="442864"/>
                    <a:pt x="318113" y="542215"/>
                    <a:pt x="316450" y="645676"/>
                  </a:cubicBezTo>
                  <a:lnTo>
                    <a:pt x="558035" y="645676"/>
                  </a:lnTo>
                  <a:cubicBezTo>
                    <a:pt x="584083" y="623307"/>
                    <a:pt x="613602" y="604877"/>
                    <a:pt x="645673" y="591332"/>
                  </a:cubicBezTo>
                  <a:close/>
                  <a:moveTo>
                    <a:pt x="870630" y="73640"/>
                  </a:moveTo>
                  <a:cubicBezTo>
                    <a:pt x="926191" y="135394"/>
                    <a:pt x="971617" y="221041"/>
                    <a:pt x="1003241" y="322010"/>
                  </a:cubicBezTo>
                  <a:cubicBezTo>
                    <a:pt x="1091205" y="343371"/>
                    <a:pt x="1170749" y="373009"/>
                    <a:pt x="1236792" y="409632"/>
                  </a:cubicBezTo>
                  <a:cubicBezTo>
                    <a:pt x="1166553" y="253117"/>
                    <a:pt x="1033864" y="130504"/>
                    <a:pt x="870630" y="73640"/>
                  </a:cubicBezTo>
                  <a:close/>
                  <a:moveTo>
                    <a:pt x="459735" y="73625"/>
                  </a:moveTo>
                  <a:cubicBezTo>
                    <a:pt x="296480" y="130480"/>
                    <a:pt x="163775" y="253104"/>
                    <a:pt x="93528" y="409632"/>
                  </a:cubicBezTo>
                  <a:cubicBezTo>
                    <a:pt x="159628" y="372978"/>
                    <a:pt x="239250" y="343321"/>
                    <a:pt x="327300" y="321956"/>
                  </a:cubicBezTo>
                  <a:cubicBezTo>
                    <a:pt x="355258" y="233079"/>
                    <a:pt x="398000" y="142321"/>
                    <a:pt x="459735" y="73625"/>
                  </a:cubicBezTo>
                  <a:close/>
                  <a:moveTo>
                    <a:pt x="684647" y="39361"/>
                  </a:moveTo>
                  <a:lnTo>
                    <a:pt x="684647" y="283231"/>
                  </a:lnTo>
                  <a:cubicBezTo>
                    <a:pt x="779900" y="284431"/>
                    <a:pt x="872724" y="294411"/>
                    <a:pt x="958763" y="312051"/>
                  </a:cubicBezTo>
                  <a:cubicBezTo>
                    <a:pt x="925978" y="216307"/>
                    <a:pt x="870606" y="110466"/>
                    <a:pt x="788152" y="51134"/>
                  </a:cubicBezTo>
                  <a:cubicBezTo>
                    <a:pt x="756092" y="44722"/>
                    <a:pt x="722405" y="40512"/>
                    <a:pt x="684647" y="39361"/>
                  </a:cubicBezTo>
                  <a:close/>
                  <a:moveTo>
                    <a:pt x="645673" y="39361"/>
                  </a:moveTo>
                  <a:cubicBezTo>
                    <a:pt x="610056" y="40447"/>
                    <a:pt x="575925" y="44384"/>
                    <a:pt x="542165" y="51134"/>
                  </a:cubicBezTo>
                  <a:cubicBezTo>
                    <a:pt x="470616" y="102619"/>
                    <a:pt x="411560" y="195677"/>
                    <a:pt x="371798" y="312002"/>
                  </a:cubicBezTo>
                  <a:cubicBezTo>
                    <a:pt x="457770" y="294393"/>
                    <a:pt x="550511" y="284431"/>
                    <a:pt x="645673" y="283231"/>
                  </a:cubicBezTo>
                  <a:close/>
                  <a:moveTo>
                    <a:pt x="665160" y="0"/>
                  </a:moveTo>
                  <a:cubicBezTo>
                    <a:pt x="1014980" y="0"/>
                    <a:pt x="1293393" y="267072"/>
                    <a:pt x="1326846" y="596781"/>
                  </a:cubicBezTo>
                  <a:cubicBezTo>
                    <a:pt x="1328345" y="606213"/>
                    <a:pt x="1329564" y="616551"/>
                    <a:pt x="1330250" y="627695"/>
                  </a:cubicBezTo>
                  <a:cubicBezTo>
                    <a:pt x="1331131" y="641950"/>
                    <a:pt x="1330993" y="655066"/>
                    <a:pt x="1330299" y="666781"/>
                  </a:cubicBezTo>
                  <a:cubicBezTo>
                    <a:pt x="1330188" y="712314"/>
                    <a:pt x="1325388" y="757838"/>
                    <a:pt x="1316084" y="802227"/>
                  </a:cubicBezTo>
                  <a:cubicBezTo>
                    <a:pt x="1325329" y="832767"/>
                    <a:pt x="1330320" y="865137"/>
                    <a:pt x="1330320" y="898655"/>
                  </a:cubicBezTo>
                  <a:cubicBezTo>
                    <a:pt x="1330320" y="1076832"/>
                    <a:pt x="1189834" y="1222814"/>
                    <a:pt x="1013810" y="1231648"/>
                  </a:cubicBezTo>
                  <a:cubicBezTo>
                    <a:pt x="904514" y="1299050"/>
                    <a:pt x="777944" y="1333334"/>
                    <a:pt x="648198" y="1330104"/>
                  </a:cubicBezTo>
                  <a:cubicBezTo>
                    <a:pt x="648022" y="1330102"/>
                    <a:pt x="647845" y="1330091"/>
                    <a:pt x="647668" y="1330086"/>
                  </a:cubicBezTo>
                  <a:cubicBezTo>
                    <a:pt x="287159" y="1320842"/>
                    <a:pt x="0" y="1025903"/>
                    <a:pt x="0" y="665160"/>
                  </a:cubicBezTo>
                  <a:cubicBezTo>
                    <a:pt x="0" y="300735"/>
                    <a:pt x="294591" y="0"/>
                    <a:pt x="665160" y="0"/>
                  </a:cubicBezTo>
                  <a:close/>
                </a:path>
              </a:pathLst>
            </a:custGeom>
            <a:solidFill>
              <a:srgbClr val="000000"/>
            </a:solidFill>
            <a:ln w="25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254" name="CuadroTexto 253">
              <a:extLst>
                <a:ext uri="{FF2B5EF4-FFF2-40B4-BE49-F238E27FC236}">
                  <a16:creationId xmlns:a16="http://schemas.microsoft.com/office/drawing/2014/main" id="{4D1959D4-E6B0-67C0-5BDF-904FA92BC104}"/>
                </a:ext>
              </a:extLst>
            </p:cNvPr>
            <p:cNvSpPr txBox="1"/>
            <p:nvPr/>
          </p:nvSpPr>
          <p:spPr>
            <a:xfrm>
              <a:off x="9290575" y="4176598"/>
              <a:ext cx="646331"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GLOBAL</a:t>
              </a:r>
              <a:b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SPEND</a:t>
              </a:r>
            </a:p>
          </p:txBody>
        </p:sp>
      </p:grpSp>
      <p:grpSp>
        <p:nvGrpSpPr>
          <p:cNvPr id="811" name="Grupo 810">
            <a:extLst>
              <a:ext uri="{FF2B5EF4-FFF2-40B4-BE49-F238E27FC236}">
                <a16:creationId xmlns:a16="http://schemas.microsoft.com/office/drawing/2014/main" id="{89E40F50-0C94-4B48-FEAC-EE7B34B84AF1}"/>
              </a:ext>
            </a:extLst>
          </p:cNvPr>
          <p:cNvGrpSpPr/>
          <p:nvPr/>
        </p:nvGrpSpPr>
        <p:grpSpPr>
          <a:xfrm>
            <a:off x="8928067" y="3793052"/>
            <a:ext cx="665567" cy="820006"/>
            <a:chOff x="9187486" y="3725924"/>
            <a:chExt cx="665567" cy="820006"/>
          </a:xfrm>
        </p:grpSpPr>
        <p:sp>
          <p:nvSpPr>
            <p:cNvPr id="63" name="Forma libre 62">
              <a:extLst>
                <a:ext uri="{FF2B5EF4-FFF2-40B4-BE49-F238E27FC236}">
                  <a16:creationId xmlns:a16="http://schemas.microsoft.com/office/drawing/2014/main" id="{8B734F30-A604-F8D3-9F60-E3AD375DE413}"/>
                </a:ext>
              </a:extLst>
            </p:cNvPr>
            <p:cNvSpPr/>
            <p:nvPr/>
          </p:nvSpPr>
          <p:spPr>
            <a:xfrm>
              <a:off x="9290093" y="3725924"/>
              <a:ext cx="460353" cy="445104"/>
            </a:xfrm>
            <a:custGeom>
              <a:avLst/>
              <a:gdLst>
                <a:gd name="connsiteX0" fmla="*/ 2364510 w 4729018"/>
                <a:gd name="connsiteY0" fmla="*/ 2863273 h 4572369"/>
                <a:gd name="connsiteX1" fmla="*/ 2271407 w 4729018"/>
                <a:gd name="connsiteY1" fmla="*/ 2956375 h 4572369"/>
                <a:gd name="connsiteX2" fmla="*/ 2271407 w 4729018"/>
                <a:gd name="connsiteY2" fmla="*/ 3880750 h 4572369"/>
                <a:gd name="connsiteX3" fmla="*/ 2364510 w 4729018"/>
                <a:gd name="connsiteY3" fmla="*/ 3973853 h 4572369"/>
                <a:gd name="connsiteX4" fmla="*/ 2457612 w 4729018"/>
                <a:gd name="connsiteY4" fmla="*/ 3880750 h 4572369"/>
                <a:gd name="connsiteX5" fmla="*/ 2457612 w 4729018"/>
                <a:gd name="connsiteY5" fmla="*/ 2956375 h 4572369"/>
                <a:gd name="connsiteX6" fmla="*/ 2364510 w 4729018"/>
                <a:gd name="connsiteY6" fmla="*/ 2863273 h 4572369"/>
                <a:gd name="connsiteX7" fmla="*/ 3368686 w 4729018"/>
                <a:gd name="connsiteY7" fmla="*/ 2859578 h 4572369"/>
                <a:gd name="connsiteX8" fmla="*/ 3277801 w 4729018"/>
                <a:gd name="connsiteY8" fmla="*/ 2933469 h 4572369"/>
                <a:gd name="connsiteX9" fmla="*/ 3081990 w 4729018"/>
                <a:gd name="connsiteY9" fmla="*/ 3865234 h 4572369"/>
                <a:gd name="connsiteX10" fmla="*/ 3095290 w 4729018"/>
                <a:gd name="connsiteY10" fmla="*/ 3935430 h 4572369"/>
                <a:gd name="connsiteX11" fmla="*/ 3154403 w 4729018"/>
                <a:gd name="connsiteY11" fmla="*/ 3975331 h 4572369"/>
                <a:gd name="connsiteX12" fmla="*/ 3264500 w 4729018"/>
                <a:gd name="connsiteY12" fmla="*/ 3903657 h 4572369"/>
                <a:gd name="connsiteX13" fmla="*/ 3460311 w 4729018"/>
                <a:gd name="connsiteY13" fmla="*/ 2971892 h 4572369"/>
                <a:gd name="connsiteX14" fmla="*/ 3447011 w 4729018"/>
                <a:gd name="connsiteY14" fmla="*/ 2901696 h 4572369"/>
                <a:gd name="connsiteX15" fmla="*/ 3387898 w 4729018"/>
                <a:gd name="connsiteY15" fmla="*/ 2861795 h 4572369"/>
                <a:gd name="connsiteX16" fmla="*/ 3368686 w 4729018"/>
                <a:gd name="connsiteY16" fmla="*/ 2859578 h 4572369"/>
                <a:gd name="connsiteX17" fmla="*/ 1359593 w 4729018"/>
                <a:gd name="connsiteY17" fmla="*/ 2859577 h 4572369"/>
                <a:gd name="connsiteX18" fmla="*/ 1340382 w 4729018"/>
                <a:gd name="connsiteY18" fmla="*/ 2861794 h 4572369"/>
                <a:gd name="connsiteX19" fmla="*/ 1281269 w 4729018"/>
                <a:gd name="connsiteY19" fmla="*/ 2901696 h 4572369"/>
                <a:gd name="connsiteX20" fmla="*/ 1268708 w 4729018"/>
                <a:gd name="connsiteY20" fmla="*/ 2971892 h 4572369"/>
                <a:gd name="connsiteX21" fmla="*/ 1464518 w 4729018"/>
                <a:gd name="connsiteY21" fmla="*/ 3903656 h 4572369"/>
                <a:gd name="connsiteX22" fmla="*/ 1574616 w 4729018"/>
                <a:gd name="connsiteY22" fmla="*/ 3975330 h 4572369"/>
                <a:gd name="connsiteX23" fmla="*/ 1646290 w 4729018"/>
                <a:gd name="connsiteY23" fmla="*/ 3865233 h 4572369"/>
                <a:gd name="connsiteX24" fmla="*/ 1450479 w 4729018"/>
                <a:gd name="connsiteY24" fmla="*/ 2933468 h 4572369"/>
                <a:gd name="connsiteX25" fmla="*/ 1359593 w 4729018"/>
                <a:gd name="connsiteY25" fmla="*/ 2859577 h 4572369"/>
                <a:gd name="connsiteX26" fmla="*/ 2364510 w 4729018"/>
                <a:gd name="connsiteY26" fmla="*/ 2719924 h 4572369"/>
                <a:gd name="connsiteX27" fmla="*/ 2600961 w 4729018"/>
                <a:gd name="connsiteY27" fmla="*/ 2956375 h 4572369"/>
                <a:gd name="connsiteX28" fmla="*/ 2600961 w 4729018"/>
                <a:gd name="connsiteY28" fmla="*/ 3880750 h 4572369"/>
                <a:gd name="connsiteX29" fmla="*/ 2364510 w 4729018"/>
                <a:gd name="connsiteY29" fmla="*/ 4117201 h 4572369"/>
                <a:gd name="connsiteX30" fmla="*/ 2128059 w 4729018"/>
                <a:gd name="connsiteY30" fmla="*/ 3880750 h 4572369"/>
                <a:gd name="connsiteX31" fmla="*/ 2128059 w 4729018"/>
                <a:gd name="connsiteY31" fmla="*/ 2956375 h 4572369"/>
                <a:gd name="connsiteX32" fmla="*/ 2364510 w 4729018"/>
                <a:gd name="connsiteY32" fmla="*/ 2719924 h 4572369"/>
                <a:gd name="connsiteX33" fmla="*/ 3370549 w 4729018"/>
                <a:gd name="connsiteY33" fmla="*/ 2716394 h 4572369"/>
                <a:gd name="connsiteX34" fmla="*/ 3418193 w 4729018"/>
                <a:gd name="connsiteY34" fmla="*/ 2721402 h 4572369"/>
                <a:gd name="connsiteX35" fmla="*/ 3567453 w 4729018"/>
                <a:gd name="connsiteY35" fmla="*/ 2823372 h 4572369"/>
                <a:gd name="connsiteX36" fmla="*/ 3600704 w 4729018"/>
                <a:gd name="connsiteY36" fmla="*/ 3001449 h 4572369"/>
                <a:gd name="connsiteX37" fmla="*/ 3404893 w 4729018"/>
                <a:gd name="connsiteY37" fmla="*/ 3933213 h 4572369"/>
                <a:gd name="connsiteX38" fmla="*/ 3173615 w 4729018"/>
                <a:gd name="connsiteY38" fmla="*/ 4120896 h 4572369"/>
                <a:gd name="connsiteX39" fmla="*/ 3124847 w 4729018"/>
                <a:gd name="connsiteY39" fmla="*/ 4115724 h 4572369"/>
                <a:gd name="connsiteX40" fmla="*/ 2975587 w 4729018"/>
                <a:gd name="connsiteY40" fmla="*/ 4013754 h 4572369"/>
                <a:gd name="connsiteX41" fmla="*/ 2942336 w 4729018"/>
                <a:gd name="connsiteY41" fmla="*/ 3835677 h 4572369"/>
                <a:gd name="connsiteX42" fmla="*/ 3138147 w 4729018"/>
                <a:gd name="connsiteY42" fmla="*/ 2903913 h 4572369"/>
                <a:gd name="connsiteX43" fmla="*/ 3370549 w 4729018"/>
                <a:gd name="connsiteY43" fmla="*/ 2716394 h 4572369"/>
                <a:gd name="connsiteX44" fmla="*/ 1358469 w 4729018"/>
                <a:gd name="connsiteY44" fmla="*/ 2715625 h 4572369"/>
                <a:gd name="connsiteX45" fmla="*/ 1404770 w 4729018"/>
                <a:gd name="connsiteY45" fmla="*/ 2719982 h 4572369"/>
                <a:gd name="connsiteX46" fmla="*/ 1590872 w 4729018"/>
                <a:gd name="connsiteY46" fmla="*/ 2903173 h 4572369"/>
                <a:gd name="connsiteX47" fmla="*/ 1786683 w 4729018"/>
                <a:gd name="connsiteY47" fmla="*/ 3834938 h 4572369"/>
                <a:gd name="connsiteX48" fmla="*/ 1753432 w 4729018"/>
                <a:gd name="connsiteY48" fmla="*/ 4013015 h 4572369"/>
                <a:gd name="connsiteX49" fmla="*/ 1604172 w 4729018"/>
                <a:gd name="connsiteY49" fmla="*/ 4114984 h 4572369"/>
                <a:gd name="connsiteX50" fmla="*/ 1555404 w 4729018"/>
                <a:gd name="connsiteY50" fmla="*/ 4120157 h 4572369"/>
                <a:gd name="connsiteX51" fmla="*/ 1324126 w 4729018"/>
                <a:gd name="connsiteY51" fmla="*/ 3932474 h 4572369"/>
                <a:gd name="connsiteX52" fmla="*/ 1128315 w 4729018"/>
                <a:gd name="connsiteY52" fmla="*/ 3000709 h 4572369"/>
                <a:gd name="connsiteX53" fmla="*/ 1161566 w 4729018"/>
                <a:gd name="connsiteY53" fmla="*/ 2822632 h 4572369"/>
                <a:gd name="connsiteX54" fmla="*/ 1310825 w 4729018"/>
                <a:gd name="connsiteY54" fmla="*/ 2720663 h 4572369"/>
                <a:gd name="connsiteX55" fmla="*/ 1358469 w 4729018"/>
                <a:gd name="connsiteY55" fmla="*/ 2715625 h 4572369"/>
                <a:gd name="connsiteX56" fmla="*/ 453690 w 4729018"/>
                <a:gd name="connsiteY56" fmla="*/ 2408104 h 4572369"/>
                <a:gd name="connsiteX57" fmla="*/ 824623 w 4729018"/>
                <a:gd name="connsiteY57" fmla="*/ 4171880 h 4572369"/>
                <a:gd name="connsiteX58" fmla="*/ 1141615 w 4729018"/>
                <a:gd name="connsiteY58" fmla="*/ 4429021 h 4572369"/>
                <a:gd name="connsiteX59" fmla="*/ 3587404 w 4729018"/>
                <a:gd name="connsiteY59" fmla="*/ 4429021 h 4572369"/>
                <a:gd name="connsiteX60" fmla="*/ 3904396 w 4729018"/>
                <a:gd name="connsiteY60" fmla="*/ 4171880 h 4572369"/>
                <a:gd name="connsiteX61" fmla="*/ 4275328 w 4729018"/>
                <a:gd name="connsiteY61" fmla="*/ 2408104 h 4572369"/>
                <a:gd name="connsiteX62" fmla="*/ 300736 w 4729018"/>
                <a:gd name="connsiteY62" fmla="*/ 1949981 h 4572369"/>
                <a:gd name="connsiteX63" fmla="*/ 189161 w 4729018"/>
                <a:gd name="connsiteY63" fmla="*/ 1996532 h 4572369"/>
                <a:gd name="connsiteX64" fmla="*/ 143348 w 4729018"/>
                <a:gd name="connsiteY64" fmla="*/ 2107368 h 4572369"/>
                <a:gd name="connsiteX65" fmla="*/ 300736 w 4729018"/>
                <a:gd name="connsiteY65" fmla="*/ 2264756 h 4572369"/>
                <a:gd name="connsiteX66" fmla="*/ 4427543 w 4729018"/>
                <a:gd name="connsiteY66" fmla="*/ 2264756 h 4572369"/>
                <a:gd name="connsiteX67" fmla="*/ 4585670 w 4729018"/>
                <a:gd name="connsiteY67" fmla="*/ 2107368 h 4572369"/>
                <a:gd name="connsiteX68" fmla="*/ 4427543 w 4729018"/>
                <a:gd name="connsiteY68" fmla="*/ 1949981 h 4572369"/>
                <a:gd name="connsiteX69" fmla="*/ 4192259 w 4729018"/>
                <a:gd name="connsiteY69" fmla="*/ 1007456 h 4572369"/>
                <a:gd name="connsiteX70" fmla="*/ 4052916 w 4729018"/>
                <a:gd name="connsiteY70" fmla="*/ 1081023 h 4572369"/>
                <a:gd name="connsiteX71" fmla="*/ 3656122 w 4729018"/>
                <a:gd name="connsiteY71" fmla="*/ 1805893 h 4572369"/>
                <a:gd name="connsiteX72" fmla="*/ 3981242 w 4729018"/>
                <a:gd name="connsiteY72" fmla="*/ 1805893 h 4572369"/>
                <a:gd name="connsiteX73" fmla="*/ 4303407 w 4729018"/>
                <a:gd name="connsiteY73" fmla="*/ 1217722 h 4572369"/>
                <a:gd name="connsiteX74" fmla="*/ 4315229 w 4729018"/>
                <a:gd name="connsiteY74" fmla="*/ 1109841 h 4572369"/>
                <a:gd name="connsiteX75" fmla="*/ 4246511 w 4729018"/>
                <a:gd name="connsiteY75" fmla="*/ 1024127 h 4572369"/>
                <a:gd name="connsiteX76" fmla="*/ 4192259 w 4729018"/>
                <a:gd name="connsiteY76" fmla="*/ 1007456 h 4572369"/>
                <a:gd name="connsiteX77" fmla="*/ 535432 w 4729018"/>
                <a:gd name="connsiteY77" fmla="*/ 1007410 h 4572369"/>
                <a:gd name="connsiteX78" fmla="*/ 482508 w 4729018"/>
                <a:gd name="connsiteY78" fmla="*/ 1024127 h 4572369"/>
                <a:gd name="connsiteX79" fmla="*/ 425612 w 4729018"/>
                <a:gd name="connsiteY79" fmla="*/ 1218460 h 4572369"/>
                <a:gd name="connsiteX80" fmla="*/ 747776 w 4729018"/>
                <a:gd name="connsiteY80" fmla="*/ 1806632 h 4572369"/>
                <a:gd name="connsiteX81" fmla="*/ 1072896 w 4729018"/>
                <a:gd name="connsiteY81" fmla="*/ 1806632 h 4572369"/>
                <a:gd name="connsiteX82" fmla="*/ 676102 w 4729018"/>
                <a:gd name="connsiteY82" fmla="*/ 1081023 h 4572369"/>
                <a:gd name="connsiteX83" fmla="*/ 591127 w 4729018"/>
                <a:gd name="connsiteY83" fmla="*/ 1012305 h 4572369"/>
                <a:gd name="connsiteX84" fmla="*/ 535432 w 4729018"/>
                <a:gd name="connsiteY84" fmla="*/ 1007410 h 4572369"/>
                <a:gd name="connsiteX85" fmla="*/ 3293687 w 4729018"/>
                <a:gd name="connsiteY85" fmla="*/ 943956 h 4572369"/>
                <a:gd name="connsiteX86" fmla="*/ 3344302 w 4729018"/>
                <a:gd name="connsiteY86" fmla="*/ 965015 h 4572369"/>
                <a:gd name="connsiteX87" fmla="*/ 3523119 w 4729018"/>
                <a:gd name="connsiteY87" fmla="*/ 1143831 h 4572369"/>
                <a:gd name="connsiteX88" fmla="*/ 3523119 w 4729018"/>
                <a:gd name="connsiteY88" fmla="*/ 1245061 h 4572369"/>
                <a:gd name="connsiteX89" fmla="*/ 3472134 w 4729018"/>
                <a:gd name="connsiteY89" fmla="*/ 1265751 h 4572369"/>
                <a:gd name="connsiteX90" fmla="*/ 3421149 w 4729018"/>
                <a:gd name="connsiteY90" fmla="*/ 1245061 h 4572369"/>
                <a:gd name="connsiteX91" fmla="*/ 3243072 w 4729018"/>
                <a:gd name="connsiteY91" fmla="*/ 1066245 h 4572369"/>
                <a:gd name="connsiteX92" fmla="*/ 3243072 w 4729018"/>
                <a:gd name="connsiteY92" fmla="*/ 965015 h 4572369"/>
                <a:gd name="connsiteX93" fmla="*/ 3293687 w 4729018"/>
                <a:gd name="connsiteY93" fmla="*/ 943956 h 4572369"/>
                <a:gd name="connsiteX94" fmla="*/ 1435885 w 4729018"/>
                <a:gd name="connsiteY94" fmla="*/ 943956 h 4572369"/>
                <a:gd name="connsiteX95" fmla="*/ 1487424 w 4729018"/>
                <a:gd name="connsiteY95" fmla="*/ 965015 h 4572369"/>
                <a:gd name="connsiteX96" fmla="*/ 1487424 w 4729018"/>
                <a:gd name="connsiteY96" fmla="*/ 1066245 h 4572369"/>
                <a:gd name="connsiteX97" fmla="*/ 1308608 w 4729018"/>
                <a:gd name="connsiteY97" fmla="*/ 1245061 h 4572369"/>
                <a:gd name="connsiteX98" fmla="*/ 1257624 w 4729018"/>
                <a:gd name="connsiteY98" fmla="*/ 1265751 h 4572369"/>
                <a:gd name="connsiteX99" fmla="*/ 1206639 w 4729018"/>
                <a:gd name="connsiteY99" fmla="*/ 1245061 h 4572369"/>
                <a:gd name="connsiteX100" fmla="*/ 1206639 w 4729018"/>
                <a:gd name="connsiteY100" fmla="*/ 1143831 h 4572369"/>
                <a:gd name="connsiteX101" fmla="*/ 1385455 w 4729018"/>
                <a:gd name="connsiteY101" fmla="*/ 965015 h 4572369"/>
                <a:gd name="connsiteX102" fmla="*/ 1435885 w 4729018"/>
                <a:gd name="connsiteY102" fmla="*/ 943956 h 4572369"/>
                <a:gd name="connsiteX103" fmla="*/ 575263 w 4729018"/>
                <a:gd name="connsiteY103" fmla="*/ 864431 h 4572369"/>
                <a:gd name="connsiteX104" fmla="*/ 631028 w 4729018"/>
                <a:gd name="connsiteY104" fmla="*/ 874868 h 4572369"/>
                <a:gd name="connsiteX105" fmla="*/ 801716 w 4729018"/>
                <a:gd name="connsiteY105" fmla="*/ 1012305 h 4572369"/>
                <a:gd name="connsiteX106" fmla="*/ 1236195 w 4729018"/>
                <a:gd name="connsiteY106" fmla="*/ 1806632 h 4572369"/>
                <a:gd name="connsiteX107" fmla="*/ 3491346 w 4729018"/>
                <a:gd name="connsiteY107" fmla="*/ 1806632 h 4572369"/>
                <a:gd name="connsiteX108" fmla="*/ 3926563 w 4729018"/>
                <a:gd name="connsiteY108" fmla="*/ 1012305 h 4572369"/>
                <a:gd name="connsiteX109" fmla="*/ 4314490 w 4729018"/>
                <a:gd name="connsiteY109" fmla="*/ 898513 h 4572369"/>
                <a:gd name="connsiteX110" fmla="*/ 4451928 w 4729018"/>
                <a:gd name="connsiteY110" fmla="*/ 1069940 h 4572369"/>
                <a:gd name="connsiteX111" fmla="*/ 4428282 w 4729018"/>
                <a:gd name="connsiteY111" fmla="*/ 1287179 h 4572369"/>
                <a:gd name="connsiteX112" fmla="*/ 4143802 w 4729018"/>
                <a:gd name="connsiteY112" fmla="*/ 1806632 h 4572369"/>
                <a:gd name="connsiteX113" fmla="*/ 4427543 w 4729018"/>
                <a:gd name="connsiteY113" fmla="*/ 1806632 h 4572369"/>
                <a:gd name="connsiteX114" fmla="*/ 4729018 w 4729018"/>
                <a:gd name="connsiteY114" fmla="*/ 2107368 h 4572369"/>
                <a:gd name="connsiteX115" fmla="*/ 4427543 w 4729018"/>
                <a:gd name="connsiteY115" fmla="*/ 2408104 h 4572369"/>
                <a:gd name="connsiteX116" fmla="*/ 4421632 w 4729018"/>
                <a:gd name="connsiteY116" fmla="*/ 2408104 h 4572369"/>
                <a:gd name="connsiteX117" fmla="*/ 4044789 w 4729018"/>
                <a:gd name="connsiteY117" fmla="*/ 4201436 h 4572369"/>
                <a:gd name="connsiteX118" fmla="*/ 3587404 w 4729018"/>
                <a:gd name="connsiteY118" fmla="*/ 4572369 h 4572369"/>
                <a:gd name="connsiteX119" fmla="*/ 1141615 w 4729018"/>
                <a:gd name="connsiteY119" fmla="*/ 4572369 h 4572369"/>
                <a:gd name="connsiteX120" fmla="*/ 684230 w 4729018"/>
                <a:gd name="connsiteY120" fmla="*/ 4201436 h 4572369"/>
                <a:gd name="connsiteX121" fmla="*/ 307386 w 4729018"/>
                <a:gd name="connsiteY121" fmla="*/ 2408104 h 4572369"/>
                <a:gd name="connsiteX122" fmla="*/ 300736 w 4729018"/>
                <a:gd name="connsiteY122" fmla="*/ 2408104 h 4572369"/>
                <a:gd name="connsiteX123" fmla="*/ 0 w 4729018"/>
                <a:gd name="connsiteY123" fmla="*/ 2107368 h 4572369"/>
                <a:gd name="connsiteX124" fmla="*/ 87930 w 4729018"/>
                <a:gd name="connsiteY124" fmla="*/ 1895301 h 4572369"/>
                <a:gd name="connsiteX125" fmla="*/ 300736 w 4729018"/>
                <a:gd name="connsiteY125" fmla="*/ 1806632 h 4572369"/>
                <a:gd name="connsiteX126" fmla="*/ 584477 w 4729018"/>
                <a:gd name="connsiteY126" fmla="*/ 1806632 h 4572369"/>
                <a:gd name="connsiteX127" fmla="*/ 299997 w 4729018"/>
                <a:gd name="connsiteY127" fmla="*/ 1287179 h 4572369"/>
                <a:gd name="connsiteX128" fmla="*/ 413789 w 4729018"/>
                <a:gd name="connsiteY128" fmla="*/ 898513 h 4572369"/>
                <a:gd name="connsiteX129" fmla="*/ 575263 w 4729018"/>
                <a:gd name="connsiteY129" fmla="*/ 864431 h 4572369"/>
                <a:gd name="connsiteX130" fmla="*/ 3293318 w 4729018"/>
                <a:gd name="connsiteY130" fmla="*/ 605905 h 4572369"/>
                <a:gd name="connsiteX131" fmla="*/ 3546025 w 4729018"/>
                <a:gd name="connsiteY131" fmla="*/ 605905 h 4572369"/>
                <a:gd name="connsiteX132" fmla="*/ 3617699 w 4729018"/>
                <a:gd name="connsiteY132" fmla="*/ 677579 h 4572369"/>
                <a:gd name="connsiteX133" fmla="*/ 3546025 w 4729018"/>
                <a:gd name="connsiteY133" fmla="*/ 749253 h 4572369"/>
                <a:gd name="connsiteX134" fmla="*/ 3293318 w 4729018"/>
                <a:gd name="connsiteY134" fmla="*/ 749253 h 4572369"/>
                <a:gd name="connsiteX135" fmla="*/ 3221644 w 4729018"/>
                <a:gd name="connsiteY135" fmla="*/ 677579 h 4572369"/>
                <a:gd name="connsiteX136" fmla="*/ 3293318 w 4729018"/>
                <a:gd name="connsiteY136" fmla="*/ 605905 h 4572369"/>
                <a:gd name="connsiteX137" fmla="*/ 1182994 w 4729018"/>
                <a:gd name="connsiteY137" fmla="*/ 605905 h 4572369"/>
                <a:gd name="connsiteX138" fmla="*/ 1435701 w 4729018"/>
                <a:gd name="connsiteY138" fmla="*/ 605905 h 4572369"/>
                <a:gd name="connsiteX139" fmla="*/ 1507375 w 4729018"/>
                <a:gd name="connsiteY139" fmla="*/ 677579 h 4572369"/>
                <a:gd name="connsiteX140" fmla="*/ 1435701 w 4729018"/>
                <a:gd name="connsiteY140" fmla="*/ 749253 h 4572369"/>
                <a:gd name="connsiteX141" fmla="*/ 1182994 w 4729018"/>
                <a:gd name="connsiteY141" fmla="*/ 749253 h 4572369"/>
                <a:gd name="connsiteX142" fmla="*/ 1111320 w 4729018"/>
                <a:gd name="connsiteY142" fmla="*/ 677579 h 4572369"/>
                <a:gd name="connsiteX143" fmla="*/ 1182994 w 4729018"/>
                <a:gd name="connsiteY143" fmla="*/ 605905 h 4572369"/>
                <a:gd name="connsiteX144" fmla="*/ 2627930 w 4729018"/>
                <a:gd name="connsiteY144" fmla="*/ 434109 h 4572369"/>
                <a:gd name="connsiteX145" fmla="*/ 2678546 w 4729018"/>
                <a:gd name="connsiteY145" fmla="*/ 455168 h 4572369"/>
                <a:gd name="connsiteX146" fmla="*/ 2678546 w 4729018"/>
                <a:gd name="connsiteY146" fmla="*/ 556398 h 4572369"/>
                <a:gd name="connsiteX147" fmla="*/ 2334953 w 4729018"/>
                <a:gd name="connsiteY147" fmla="*/ 899991 h 4572369"/>
                <a:gd name="connsiteX148" fmla="*/ 2283968 w 4729018"/>
                <a:gd name="connsiteY148" fmla="*/ 920681 h 4572369"/>
                <a:gd name="connsiteX149" fmla="*/ 2232984 w 4729018"/>
                <a:gd name="connsiteY149" fmla="*/ 899991 h 4572369"/>
                <a:gd name="connsiteX150" fmla="*/ 2051951 w 4729018"/>
                <a:gd name="connsiteY150" fmla="*/ 717481 h 4572369"/>
                <a:gd name="connsiteX151" fmla="*/ 2051951 w 4729018"/>
                <a:gd name="connsiteY151" fmla="*/ 616250 h 4572369"/>
                <a:gd name="connsiteX152" fmla="*/ 2153181 w 4729018"/>
                <a:gd name="connsiteY152" fmla="*/ 616250 h 4572369"/>
                <a:gd name="connsiteX153" fmla="*/ 2284707 w 4729018"/>
                <a:gd name="connsiteY153" fmla="*/ 747776 h 4572369"/>
                <a:gd name="connsiteX154" fmla="*/ 2577315 w 4729018"/>
                <a:gd name="connsiteY154" fmla="*/ 455168 h 4572369"/>
                <a:gd name="connsiteX155" fmla="*/ 2627930 w 4729018"/>
                <a:gd name="connsiteY155" fmla="*/ 434109 h 4572369"/>
                <a:gd name="connsiteX156" fmla="*/ 2364510 w 4729018"/>
                <a:gd name="connsiteY156" fmla="*/ 143348 h 4572369"/>
                <a:gd name="connsiteX157" fmla="*/ 1830278 w 4729018"/>
                <a:gd name="connsiteY157" fmla="*/ 677580 h 4572369"/>
                <a:gd name="connsiteX158" fmla="*/ 2364510 w 4729018"/>
                <a:gd name="connsiteY158" fmla="*/ 1211811 h 4572369"/>
                <a:gd name="connsiteX159" fmla="*/ 2898741 w 4729018"/>
                <a:gd name="connsiteY159" fmla="*/ 677580 h 4572369"/>
                <a:gd name="connsiteX160" fmla="*/ 2364510 w 4729018"/>
                <a:gd name="connsiteY160" fmla="*/ 143348 h 4572369"/>
                <a:gd name="connsiteX161" fmla="*/ 3472503 w 4729018"/>
                <a:gd name="connsiteY161" fmla="*/ 89777 h 4572369"/>
                <a:gd name="connsiteX162" fmla="*/ 3523119 w 4729018"/>
                <a:gd name="connsiteY162" fmla="*/ 110836 h 4572369"/>
                <a:gd name="connsiteX163" fmla="*/ 3523119 w 4729018"/>
                <a:gd name="connsiteY163" fmla="*/ 212066 h 4572369"/>
                <a:gd name="connsiteX164" fmla="*/ 3344302 w 4729018"/>
                <a:gd name="connsiteY164" fmla="*/ 390882 h 4572369"/>
                <a:gd name="connsiteX165" fmla="*/ 3293318 w 4729018"/>
                <a:gd name="connsiteY165" fmla="*/ 411572 h 4572369"/>
                <a:gd name="connsiteX166" fmla="*/ 3243072 w 4729018"/>
                <a:gd name="connsiteY166" fmla="*/ 390882 h 4572369"/>
                <a:gd name="connsiteX167" fmla="*/ 3243072 w 4729018"/>
                <a:gd name="connsiteY167" fmla="*/ 289652 h 4572369"/>
                <a:gd name="connsiteX168" fmla="*/ 3421888 w 4729018"/>
                <a:gd name="connsiteY168" fmla="*/ 110836 h 4572369"/>
                <a:gd name="connsiteX169" fmla="*/ 3472503 w 4729018"/>
                <a:gd name="connsiteY169" fmla="*/ 89777 h 4572369"/>
                <a:gd name="connsiteX170" fmla="*/ 1257254 w 4729018"/>
                <a:gd name="connsiteY170" fmla="*/ 89038 h 4572369"/>
                <a:gd name="connsiteX171" fmla="*/ 1307869 w 4729018"/>
                <a:gd name="connsiteY171" fmla="*/ 110097 h 4572369"/>
                <a:gd name="connsiteX172" fmla="*/ 1487424 w 4729018"/>
                <a:gd name="connsiteY172" fmla="*/ 289652 h 4572369"/>
                <a:gd name="connsiteX173" fmla="*/ 1487424 w 4729018"/>
                <a:gd name="connsiteY173" fmla="*/ 390882 h 4572369"/>
                <a:gd name="connsiteX174" fmla="*/ 1436440 w 4729018"/>
                <a:gd name="connsiteY174" fmla="*/ 411572 h 4572369"/>
                <a:gd name="connsiteX175" fmla="*/ 1385455 w 4729018"/>
                <a:gd name="connsiteY175" fmla="*/ 390882 h 4572369"/>
                <a:gd name="connsiteX176" fmla="*/ 1206639 w 4729018"/>
                <a:gd name="connsiteY176" fmla="*/ 211327 h 4572369"/>
                <a:gd name="connsiteX177" fmla="*/ 1206639 w 4729018"/>
                <a:gd name="connsiteY177" fmla="*/ 110097 h 4572369"/>
                <a:gd name="connsiteX178" fmla="*/ 1257254 w 4729018"/>
                <a:gd name="connsiteY178" fmla="*/ 89038 h 4572369"/>
                <a:gd name="connsiteX179" fmla="*/ 2364510 w 4729018"/>
                <a:gd name="connsiteY179" fmla="*/ 0 h 4572369"/>
                <a:gd name="connsiteX180" fmla="*/ 3042089 w 4729018"/>
                <a:gd name="connsiteY180" fmla="*/ 677580 h 4572369"/>
                <a:gd name="connsiteX181" fmla="*/ 2364510 w 4729018"/>
                <a:gd name="connsiteY181" fmla="*/ 1355159 h 4572369"/>
                <a:gd name="connsiteX182" fmla="*/ 1686930 w 4729018"/>
                <a:gd name="connsiteY182" fmla="*/ 677580 h 4572369"/>
                <a:gd name="connsiteX183" fmla="*/ 2364510 w 4729018"/>
                <a:gd name="connsiteY183" fmla="*/ 0 h 4572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4729018" h="4572369">
                  <a:moveTo>
                    <a:pt x="2364510" y="2863273"/>
                  </a:moveTo>
                  <a:cubicBezTo>
                    <a:pt x="2313525" y="2863273"/>
                    <a:pt x="2271407" y="2905390"/>
                    <a:pt x="2271407" y="2956375"/>
                  </a:cubicBezTo>
                  <a:lnTo>
                    <a:pt x="2271407" y="3880750"/>
                  </a:lnTo>
                  <a:cubicBezTo>
                    <a:pt x="2271407" y="3931735"/>
                    <a:pt x="2312786" y="3973853"/>
                    <a:pt x="2364510" y="3973853"/>
                  </a:cubicBezTo>
                  <a:cubicBezTo>
                    <a:pt x="2415495" y="3973853"/>
                    <a:pt x="2457612" y="3932474"/>
                    <a:pt x="2457612" y="3880750"/>
                  </a:cubicBezTo>
                  <a:lnTo>
                    <a:pt x="2457612" y="2956375"/>
                  </a:lnTo>
                  <a:cubicBezTo>
                    <a:pt x="2457612" y="2905390"/>
                    <a:pt x="2416234" y="2863273"/>
                    <a:pt x="2364510" y="2863273"/>
                  </a:cubicBezTo>
                  <a:close/>
                  <a:moveTo>
                    <a:pt x="3368686" y="2859578"/>
                  </a:moveTo>
                  <a:cubicBezTo>
                    <a:pt x="3325830" y="2859578"/>
                    <a:pt x="3287407" y="2889873"/>
                    <a:pt x="3277801" y="2933469"/>
                  </a:cubicBezTo>
                  <a:lnTo>
                    <a:pt x="3081990" y="3865234"/>
                  </a:lnTo>
                  <a:cubicBezTo>
                    <a:pt x="3076817" y="3889618"/>
                    <a:pt x="3081990" y="3914002"/>
                    <a:pt x="3095290" y="3935430"/>
                  </a:cubicBezTo>
                  <a:cubicBezTo>
                    <a:pt x="3109330" y="3956119"/>
                    <a:pt x="3130019" y="3970159"/>
                    <a:pt x="3154403" y="3975331"/>
                  </a:cubicBezTo>
                  <a:cubicBezTo>
                    <a:pt x="3203910" y="3985676"/>
                    <a:pt x="3254156" y="3953903"/>
                    <a:pt x="3264500" y="3903657"/>
                  </a:cubicBezTo>
                  <a:lnTo>
                    <a:pt x="3460311" y="2971892"/>
                  </a:lnTo>
                  <a:cubicBezTo>
                    <a:pt x="3465484" y="2947509"/>
                    <a:pt x="3460311" y="2922386"/>
                    <a:pt x="3447011" y="2901696"/>
                  </a:cubicBezTo>
                  <a:cubicBezTo>
                    <a:pt x="3432972" y="2881007"/>
                    <a:pt x="3412282" y="2866967"/>
                    <a:pt x="3387898" y="2861795"/>
                  </a:cubicBezTo>
                  <a:cubicBezTo>
                    <a:pt x="3381248" y="2860317"/>
                    <a:pt x="3375337" y="2859578"/>
                    <a:pt x="3368686" y="2859578"/>
                  </a:cubicBezTo>
                  <a:close/>
                  <a:moveTo>
                    <a:pt x="1359593" y="2859577"/>
                  </a:moveTo>
                  <a:cubicBezTo>
                    <a:pt x="1352943" y="2859577"/>
                    <a:pt x="1347032" y="2860317"/>
                    <a:pt x="1340382" y="2861794"/>
                  </a:cubicBezTo>
                  <a:cubicBezTo>
                    <a:pt x="1315998" y="2866228"/>
                    <a:pt x="1294569" y="2881006"/>
                    <a:pt x="1281269" y="2901696"/>
                  </a:cubicBezTo>
                  <a:cubicBezTo>
                    <a:pt x="1267969" y="2922385"/>
                    <a:pt x="1263535" y="2947508"/>
                    <a:pt x="1268708" y="2971892"/>
                  </a:cubicBezTo>
                  <a:lnTo>
                    <a:pt x="1464518" y="3903656"/>
                  </a:lnTo>
                  <a:cubicBezTo>
                    <a:pt x="1474863" y="3953902"/>
                    <a:pt x="1524370" y="3985675"/>
                    <a:pt x="1574616" y="3975330"/>
                  </a:cubicBezTo>
                  <a:cubicBezTo>
                    <a:pt x="1624862" y="3964986"/>
                    <a:pt x="1656635" y="3915479"/>
                    <a:pt x="1646290" y="3865233"/>
                  </a:cubicBezTo>
                  <a:lnTo>
                    <a:pt x="1450479" y="2933468"/>
                  </a:lnTo>
                  <a:cubicBezTo>
                    <a:pt x="1441612" y="2889873"/>
                    <a:pt x="1402450" y="2859577"/>
                    <a:pt x="1359593" y="2859577"/>
                  </a:cubicBezTo>
                  <a:close/>
                  <a:moveTo>
                    <a:pt x="2364510" y="2719924"/>
                  </a:moveTo>
                  <a:cubicBezTo>
                    <a:pt x="2494558" y="2719924"/>
                    <a:pt x="2600961" y="2826327"/>
                    <a:pt x="2600961" y="2956375"/>
                  </a:cubicBezTo>
                  <a:lnTo>
                    <a:pt x="2600961" y="3880750"/>
                  </a:lnTo>
                  <a:cubicBezTo>
                    <a:pt x="2600961" y="4010798"/>
                    <a:pt x="2494558" y="4117201"/>
                    <a:pt x="2364510" y="4117201"/>
                  </a:cubicBezTo>
                  <a:cubicBezTo>
                    <a:pt x="2233723" y="4117201"/>
                    <a:pt x="2128059" y="4010798"/>
                    <a:pt x="2128059" y="3880750"/>
                  </a:cubicBezTo>
                  <a:lnTo>
                    <a:pt x="2128059" y="2956375"/>
                  </a:lnTo>
                  <a:cubicBezTo>
                    <a:pt x="2128059" y="2826327"/>
                    <a:pt x="2234462" y="2719924"/>
                    <a:pt x="2364510" y="2719924"/>
                  </a:cubicBezTo>
                  <a:close/>
                  <a:moveTo>
                    <a:pt x="3370549" y="2716394"/>
                  </a:moveTo>
                  <a:cubicBezTo>
                    <a:pt x="3386270" y="2716449"/>
                    <a:pt x="3402214" y="2718077"/>
                    <a:pt x="3418193" y="2721402"/>
                  </a:cubicBezTo>
                  <a:cubicBezTo>
                    <a:pt x="3480262" y="2733964"/>
                    <a:pt x="3532724" y="2770170"/>
                    <a:pt x="3567453" y="2823372"/>
                  </a:cubicBezTo>
                  <a:cubicBezTo>
                    <a:pt x="3602182" y="2876573"/>
                    <a:pt x="3614004" y="2939381"/>
                    <a:pt x="3600704" y="3001449"/>
                  </a:cubicBezTo>
                  <a:lnTo>
                    <a:pt x="3404893" y="3933213"/>
                  </a:lnTo>
                  <a:cubicBezTo>
                    <a:pt x="3381248" y="4044050"/>
                    <a:pt x="3282973" y="4120896"/>
                    <a:pt x="3173615" y="4120896"/>
                  </a:cubicBezTo>
                  <a:cubicBezTo>
                    <a:pt x="3157358" y="4120896"/>
                    <a:pt x="3141102" y="4119418"/>
                    <a:pt x="3124847" y="4115724"/>
                  </a:cubicBezTo>
                  <a:cubicBezTo>
                    <a:pt x="3062778" y="4102424"/>
                    <a:pt x="3009577" y="4066217"/>
                    <a:pt x="2975587" y="4013754"/>
                  </a:cubicBezTo>
                  <a:cubicBezTo>
                    <a:pt x="2940858" y="3960553"/>
                    <a:pt x="2929036" y="3897746"/>
                    <a:pt x="2942336" y="3835677"/>
                  </a:cubicBezTo>
                  <a:lnTo>
                    <a:pt x="3138147" y="2903913"/>
                  </a:lnTo>
                  <a:cubicBezTo>
                    <a:pt x="3161423" y="2792707"/>
                    <a:pt x="3260506" y="2716011"/>
                    <a:pt x="3370549" y="2716394"/>
                  </a:cubicBezTo>
                  <a:close/>
                  <a:moveTo>
                    <a:pt x="1358469" y="2715625"/>
                  </a:moveTo>
                  <a:cubicBezTo>
                    <a:pt x="1374189" y="2715551"/>
                    <a:pt x="1389686" y="2717044"/>
                    <a:pt x="1404770" y="2719982"/>
                  </a:cubicBezTo>
                  <a:cubicBezTo>
                    <a:pt x="1495275" y="2737611"/>
                    <a:pt x="1570921" y="2807300"/>
                    <a:pt x="1590872" y="2903173"/>
                  </a:cubicBezTo>
                  <a:lnTo>
                    <a:pt x="1786683" y="3834938"/>
                  </a:lnTo>
                  <a:cubicBezTo>
                    <a:pt x="1799983" y="3897006"/>
                    <a:pt x="1788161" y="3959813"/>
                    <a:pt x="1753432" y="4013015"/>
                  </a:cubicBezTo>
                  <a:cubicBezTo>
                    <a:pt x="1718703" y="4065477"/>
                    <a:pt x="1666241" y="4101684"/>
                    <a:pt x="1604172" y="4114984"/>
                  </a:cubicBezTo>
                  <a:cubicBezTo>
                    <a:pt x="1587916" y="4118679"/>
                    <a:pt x="1571660" y="4120157"/>
                    <a:pt x="1555404" y="4120157"/>
                  </a:cubicBezTo>
                  <a:cubicBezTo>
                    <a:pt x="1446046" y="4120157"/>
                    <a:pt x="1347771" y="4044049"/>
                    <a:pt x="1324126" y="3932474"/>
                  </a:cubicBezTo>
                  <a:lnTo>
                    <a:pt x="1128315" y="3000709"/>
                  </a:lnTo>
                  <a:cubicBezTo>
                    <a:pt x="1115015" y="2938641"/>
                    <a:pt x="1126837" y="2875834"/>
                    <a:pt x="1161566" y="2822632"/>
                  </a:cubicBezTo>
                  <a:cubicBezTo>
                    <a:pt x="1196295" y="2770170"/>
                    <a:pt x="1248757" y="2733963"/>
                    <a:pt x="1310825" y="2720663"/>
                  </a:cubicBezTo>
                  <a:cubicBezTo>
                    <a:pt x="1326804" y="2717338"/>
                    <a:pt x="1342748" y="2715698"/>
                    <a:pt x="1358469" y="2715625"/>
                  </a:cubicBezTo>
                  <a:close/>
                  <a:moveTo>
                    <a:pt x="453690" y="2408104"/>
                  </a:moveTo>
                  <a:lnTo>
                    <a:pt x="824623" y="4171880"/>
                  </a:lnTo>
                  <a:cubicBezTo>
                    <a:pt x="856396" y="4321140"/>
                    <a:pt x="989399" y="4429021"/>
                    <a:pt x="1141615" y="4429021"/>
                  </a:cubicBezTo>
                  <a:lnTo>
                    <a:pt x="3587404" y="4429021"/>
                  </a:lnTo>
                  <a:cubicBezTo>
                    <a:pt x="3739619" y="4429021"/>
                    <a:pt x="3872623" y="4320401"/>
                    <a:pt x="3904396" y="4171880"/>
                  </a:cubicBezTo>
                  <a:lnTo>
                    <a:pt x="4275328" y="2408104"/>
                  </a:lnTo>
                  <a:close/>
                  <a:moveTo>
                    <a:pt x="300736" y="1949981"/>
                  </a:moveTo>
                  <a:cubicBezTo>
                    <a:pt x="258618" y="1949981"/>
                    <a:pt x="218717" y="1966975"/>
                    <a:pt x="189161" y="1996532"/>
                  </a:cubicBezTo>
                  <a:cubicBezTo>
                    <a:pt x="159604" y="2026088"/>
                    <a:pt x="143348" y="2065250"/>
                    <a:pt x="143348" y="2107368"/>
                  </a:cubicBezTo>
                  <a:cubicBezTo>
                    <a:pt x="143348" y="2193821"/>
                    <a:pt x="214284" y="2264756"/>
                    <a:pt x="300736" y="2264756"/>
                  </a:cubicBezTo>
                  <a:lnTo>
                    <a:pt x="4427543" y="2264756"/>
                  </a:lnTo>
                  <a:cubicBezTo>
                    <a:pt x="4514735" y="2264756"/>
                    <a:pt x="4585670" y="2193821"/>
                    <a:pt x="4585670" y="2107368"/>
                  </a:cubicBezTo>
                  <a:cubicBezTo>
                    <a:pt x="4585670" y="2020916"/>
                    <a:pt x="4514735" y="1949981"/>
                    <a:pt x="4427543" y="1949981"/>
                  </a:cubicBezTo>
                  <a:close/>
                  <a:moveTo>
                    <a:pt x="4192259" y="1007456"/>
                  </a:moveTo>
                  <a:cubicBezTo>
                    <a:pt x="4136875" y="1002053"/>
                    <a:pt x="4081180" y="1029485"/>
                    <a:pt x="4052916" y="1081023"/>
                  </a:cubicBezTo>
                  <a:lnTo>
                    <a:pt x="3656122" y="1805893"/>
                  </a:lnTo>
                  <a:lnTo>
                    <a:pt x="3981242" y="1805893"/>
                  </a:lnTo>
                  <a:lnTo>
                    <a:pt x="4303407" y="1217722"/>
                  </a:lnTo>
                  <a:cubicBezTo>
                    <a:pt x="4321880" y="1183732"/>
                    <a:pt x="4326313" y="1146047"/>
                    <a:pt x="4315229" y="1109841"/>
                  </a:cubicBezTo>
                  <a:cubicBezTo>
                    <a:pt x="4304146" y="1072156"/>
                    <a:pt x="4279762" y="1041861"/>
                    <a:pt x="4246511" y="1024127"/>
                  </a:cubicBezTo>
                  <a:cubicBezTo>
                    <a:pt x="4229147" y="1014706"/>
                    <a:pt x="4210720" y="1009257"/>
                    <a:pt x="4192259" y="1007456"/>
                  </a:cubicBezTo>
                  <a:close/>
                  <a:moveTo>
                    <a:pt x="535432" y="1007410"/>
                  </a:moveTo>
                  <a:cubicBezTo>
                    <a:pt x="517052" y="1009350"/>
                    <a:pt x="499133" y="1014891"/>
                    <a:pt x="482508" y="1024127"/>
                  </a:cubicBezTo>
                  <a:cubicBezTo>
                    <a:pt x="413789" y="1061812"/>
                    <a:pt x="387927" y="1149003"/>
                    <a:pt x="425612" y="1218460"/>
                  </a:cubicBezTo>
                  <a:lnTo>
                    <a:pt x="747776" y="1806632"/>
                  </a:lnTo>
                  <a:lnTo>
                    <a:pt x="1072896" y="1806632"/>
                  </a:lnTo>
                  <a:lnTo>
                    <a:pt x="676102" y="1081023"/>
                  </a:lnTo>
                  <a:cubicBezTo>
                    <a:pt x="657629" y="1047034"/>
                    <a:pt x="627334" y="1022650"/>
                    <a:pt x="591127" y="1012305"/>
                  </a:cubicBezTo>
                  <a:cubicBezTo>
                    <a:pt x="572654" y="1007133"/>
                    <a:pt x="553812" y="1005470"/>
                    <a:pt x="535432" y="1007410"/>
                  </a:cubicBezTo>
                  <a:close/>
                  <a:moveTo>
                    <a:pt x="3293687" y="943956"/>
                  </a:moveTo>
                  <a:cubicBezTo>
                    <a:pt x="3311975" y="943956"/>
                    <a:pt x="3330263" y="950976"/>
                    <a:pt x="3344302" y="965015"/>
                  </a:cubicBezTo>
                  <a:lnTo>
                    <a:pt x="3523119" y="1143831"/>
                  </a:lnTo>
                  <a:cubicBezTo>
                    <a:pt x="3551197" y="1171909"/>
                    <a:pt x="3551197" y="1216983"/>
                    <a:pt x="3523119" y="1245061"/>
                  </a:cubicBezTo>
                  <a:cubicBezTo>
                    <a:pt x="3509079" y="1259101"/>
                    <a:pt x="3490607" y="1265751"/>
                    <a:pt x="3472134" y="1265751"/>
                  </a:cubicBezTo>
                  <a:cubicBezTo>
                    <a:pt x="3453661" y="1265751"/>
                    <a:pt x="3435189" y="1259101"/>
                    <a:pt x="3421149" y="1245061"/>
                  </a:cubicBezTo>
                  <a:lnTo>
                    <a:pt x="3243072" y="1066245"/>
                  </a:lnTo>
                  <a:cubicBezTo>
                    <a:pt x="3214993" y="1038167"/>
                    <a:pt x="3214993" y="993093"/>
                    <a:pt x="3243072" y="965015"/>
                  </a:cubicBezTo>
                  <a:cubicBezTo>
                    <a:pt x="3257111" y="950976"/>
                    <a:pt x="3275400" y="943956"/>
                    <a:pt x="3293687" y="943956"/>
                  </a:cubicBezTo>
                  <a:close/>
                  <a:moveTo>
                    <a:pt x="1435885" y="943956"/>
                  </a:moveTo>
                  <a:cubicBezTo>
                    <a:pt x="1454358" y="943956"/>
                    <a:pt x="1473015" y="950976"/>
                    <a:pt x="1487424" y="965015"/>
                  </a:cubicBezTo>
                  <a:cubicBezTo>
                    <a:pt x="1515503" y="993093"/>
                    <a:pt x="1515503" y="1038167"/>
                    <a:pt x="1487424" y="1066245"/>
                  </a:cubicBezTo>
                  <a:lnTo>
                    <a:pt x="1308608" y="1245061"/>
                  </a:lnTo>
                  <a:cubicBezTo>
                    <a:pt x="1294569" y="1259101"/>
                    <a:pt x="1276096" y="1265751"/>
                    <a:pt x="1257624" y="1265751"/>
                  </a:cubicBezTo>
                  <a:cubicBezTo>
                    <a:pt x="1239151" y="1265751"/>
                    <a:pt x="1220678" y="1259101"/>
                    <a:pt x="1206639" y="1245061"/>
                  </a:cubicBezTo>
                  <a:cubicBezTo>
                    <a:pt x="1178560" y="1216983"/>
                    <a:pt x="1178560" y="1171909"/>
                    <a:pt x="1206639" y="1143831"/>
                  </a:cubicBezTo>
                  <a:lnTo>
                    <a:pt x="1385455" y="965015"/>
                  </a:lnTo>
                  <a:cubicBezTo>
                    <a:pt x="1399125" y="950976"/>
                    <a:pt x="1417413" y="943956"/>
                    <a:pt x="1435885" y="943956"/>
                  </a:cubicBezTo>
                  <a:close/>
                  <a:moveTo>
                    <a:pt x="575263" y="864431"/>
                  </a:moveTo>
                  <a:cubicBezTo>
                    <a:pt x="593898" y="866047"/>
                    <a:pt x="612555" y="869511"/>
                    <a:pt x="631028" y="874868"/>
                  </a:cubicBezTo>
                  <a:cubicBezTo>
                    <a:pt x="704180" y="896296"/>
                    <a:pt x="764771" y="945064"/>
                    <a:pt x="801716" y="1012305"/>
                  </a:cubicBezTo>
                  <a:lnTo>
                    <a:pt x="1236195" y="1806632"/>
                  </a:lnTo>
                  <a:lnTo>
                    <a:pt x="3491346" y="1806632"/>
                  </a:lnTo>
                  <a:lnTo>
                    <a:pt x="3926563" y="1012305"/>
                  </a:lnTo>
                  <a:cubicBezTo>
                    <a:pt x="4002671" y="874129"/>
                    <a:pt x="4176314" y="823144"/>
                    <a:pt x="4314490" y="898513"/>
                  </a:cubicBezTo>
                  <a:cubicBezTo>
                    <a:pt x="4381731" y="934719"/>
                    <a:pt x="4430499" y="996049"/>
                    <a:pt x="4451928" y="1069940"/>
                  </a:cubicBezTo>
                  <a:cubicBezTo>
                    <a:pt x="4474095" y="1142353"/>
                    <a:pt x="4465228" y="1219938"/>
                    <a:pt x="4428282" y="1287179"/>
                  </a:cubicBezTo>
                  <a:lnTo>
                    <a:pt x="4143802" y="1806632"/>
                  </a:lnTo>
                  <a:lnTo>
                    <a:pt x="4427543" y="1806632"/>
                  </a:lnTo>
                  <a:cubicBezTo>
                    <a:pt x="4593798" y="1806632"/>
                    <a:pt x="4729018" y="1941853"/>
                    <a:pt x="4729018" y="2107368"/>
                  </a:cubicBezTo>
                  <a:cubicBezTo>
                    <a:pt x="4729018" y="2272884"/>
                    <a:pt x="4593798" y="2408104"/>
                    <a:pt x="4427543" y="2408104"/>
                  </a:cubicBezTo>
                  <a:lnTo>
                    <a:pt x="4421632" y="2408104"/>
                  </a:lnTo>
                  <a:lnTo>
                    <a:pt x="4044789" y="4201436"/>
                  </a:lnTo>
                  <a:cubicBezTo>
                    <a:pt x="3998976" y="4416459"/>
                    <a:pt x="3806860" y="4572369"/>
                    <a:pt x="3587404" y="4572369"/>
                  </a:cubicBezTo>
                  <a:lnTo>
                    <a:pt x="1141615" y="4572369"/>
                  </a:lnTo>
                  <a:cubicBezTo>
                    <a:pt x="921420" y="4572369"/>
                    <a:pt x="729303" y="4416459"/>
                    <a:pt x="684230" y="4201436"/>
                  </a:cubicBezTo>
                  <a:lnTo>
                    <a:pt x="307386" y="2408104"/>
                  </a:lnTo>
                  <a:lnTo>
                    <a:pt x="300736" y="2408104"/>
                  </a:lnTo>
                  <a:cubicBezTo>
                    <a:pt x="135220" y="2408104"/>
                    <a:pt x="0" y="2272884"/>
                    <a:pt x="0" y="2107368"/>
                  </a:cubicBezTo>
                  <a:cubicBezTo>
                    <a:pt x="0" y="2026827"/>
                    <a:pt x="31034" y="1951458"/>
                    <a:pt x="87930" y="1895301"/>
                  </a:cubicBezTo>
                  <a:cubicBezTo>
                    <a:pt x="144826" y="1837666"/>
                    <a:pt x="220195" y="1806632"/>
                    <a:pt x="300736" y="1806632"/>
                  </a:cubicBezTo>
                  <a:lnTo>
                    <a:pt x="584477" y="1806632"/>
                  </a:lnTo>
                  <a:lnTo>
                    <a:pt x="299997" y="1287179"/>
                  </a:lnTo>
                  <a:cubicBezTo>
                    <a:pt x="225367" y="1148264"/>
                    <a:pt x="276352" y="973882"/>
                    <a:pt x="413789" y="898513"/>
                  </a:cubicBezTo>
                  <a:cubicBezTo>
                    <a:pt x="463665" y="871358"/>
                    <a:pt x="519360" y="859582"/>
                    <a:pt x="575263" y="864431"/>
                  </a:cubicBezTo>
                  <a:close/>
                  <a:moveTo>
                    <a:pt x="3293318" y="605905"/>
                  </a:moveTo>
                  <a:lnTo>
                    <a:pt x="3546025" y="605905"/>
                  </a:lnTo>
                  <a:cubicBezTo>
                    <a:pt x="3585926" y="605905"/>
                    <a:pt x="3617699" y="637678"/>
                    <a:pt x="3617699" y="677579"/>
                  </a:cubicBezTo>
                  <a:cubicBezTo>
                    <a:pt x="3617699" y="717480"/>
                    <a:pt x="3585926" y="749253"/>
                    <a:pt x="3546025" y="749253"/>
                  </a:cubicBezTo>
                  <a:lnTo>
                    <a:pt x="3293318" y="749253"/>
                  </a:lnTo>
                  <a:cubicBezTo>
                    <a:pt x="3253417" y="749253"/>
                    <a:pt x="3221644" y="717480"/>
                    <a:pt x="3221644" y="677579"/>
                  </a:cubicBezTo>
                  <a:cubicBezTo>
                    <a:pt x="3221644" y="637678"/>
                    <a:pt x="3253417" y="605905"/>
                    <a:pt x="3293318" y="605905"/>
                  </a:cubicBezTo>
                  <a:close/>
                  <a:moveTo>
                    <a:pt x="1182994" y="605905"/>
                  </a:moveTo>
                  <a:lnTo>
                    <a:pt x="1435701" y="605905"/>
                  </a:lnTo>
                  <a:cubicBezTo>
                    <a:pt x="1475602" y="605905"/>
                    <a:pt x="1507375" y="637678"/>
                    <a:pt x="1507375" y="677579"/>
                  </a:cubicBezTo>
                  <a:cubicBezTo>
                    <a:pt x="1507375" y="717480"/>
                    <a:pt x="1475602" y="749253"/>
                    <a:pt x="1435701" y="749253"/>
                  </a:cubicBezTo>
                  <a:lnTo>
                    <a:pt x="1182994" y="749253"/>
                  </a:lnTo>
                  <a:cubicBezTo>
                    <a:pt x="1143093" y="749253"/>
                    <a:pt x="1111320" y="717480"/>
                    <a:pt x="1111320" y="677579"/>
                  </a:cubicBezTo>
                  <a:cubicBezTo>
                    <a:pt x="1111320" y="637678"/>
                    <a:pt x="1143093" y="605905"/>
                    <a:pt x="1182994" y="605905"/>
                  </a:cubicBezTo>
                  <a:close/>
                  <a:moveTo>
                    <a:pt x="2627930" y="434109"/>
                  </a:moveTo>
                  <a:cubicBezTo>
                    <a:pt x="2646218" y="434109"/>
                    <a:pt x="2664506" y="441129"/>
                    <a:pt x="2678546" y="455168"/>
                  </a:cubicBezTo>
                  <a:cubicBezTo>
                    <a:pt x="2706624" y="483246"/>
                    <a:pt x="2706624" y="528320"/>
                    <a:pt x="2678546" y="556398"/>
                  </a:cubicBezTo>
                  <a:lnTo>
                    <a:pt x="2334953" y="899991"/>
                  </a:lnTo>
                  <a:cubicBezTo>
                    <a:pt x="2320914" y="914030"/>
                    <a:pt x="2302441" y="920681"/>
                    <a:pt x="2283968" y="920681"/>
                  </a:cubicBezTo>
                  <a:cubicBezTo>
                    <a:pt x="2265496" y="920681"/>
                    <a:pt x="2247023" y="914030"/>
                    <a:pt x="2232984" y="899991"/>
                  </a:cubicBezTo>
                  <a:lnTo>
                    <a:pt x="2051951" y="717481"/>
                  </a:lnTo>
                  <a:cubicBezTo>
                    <a:pt x="2023872" y="689402"/>
                    <a:pt x="2023872" y="644329"/>
                    <a:pt x="2051951" y="616250"/>
                  </a:cubicBezTo>
                  <a:cubicBezTo>
                    <a:pt x="2080029" y="588172"/>
                    <a:pt x="2125103" y="588172"/>
                    <a:pt x="2153181" y="616250"/>
                  </a:cubicBezTo>
                  <a:lnTo>
                    <a:pt x="2284707" y="747776"/>
                  </a:lnTo>
                  <a:lnTo>
                    <a:pt x="2577315" y="455168"/>
                  </a:lnTo>
                  <a:cubicBezTo>
                    <a:pt x="2591354" y="441129"/>
                    <a:pt x="2609642" y="434109"/>
                    <a:pt x="2627930" y="434109"/>
                  </a:cubicBezTo>
                  <a:close/>
                  <a:moveTo>
                    <a:pt x="2364510" y="143348"/>
                  </a:moveTo>
                  <a:cubicBezTo>
                    <a:pt x="2069685" y="143348"/>
                    <a:pt x="1830278" y="383494"/>
                    <a:pt x="1830278" y="677580"/>
                  </a:cubicBezTo>
                  <a:cubicBezTo>
                    <a:pt x="1830278" y="972404"/>
                    <a:pt x="2069685" y="1211811"/>
                    <a:pt x="2364510" y="1211811"/>
                  </a:cubicBezTo>
                  <a:cubicBezTo>
                    <a:pt x="2659335" y="1211811"/>
                    <a:pt x="2898741" y="971665"/>
                    <a:pt x="2898741" y="677580"/>
                  </a:cubicBezTo>
                  <a:cubicBezTo>
                    <a:pt x="2898741" y="382755"/>
                    <a:pt x="2658595" y="143348"/>
                    <a:pt x="2364510" y="143348"/>
                  </a:cubicBezTo>
                  <a:close/>
                  <a:moveTo>
                    <a:pt x="3472503" y="89777"/>
                  </a:moveTo>
                  <a:cubicBezTo>
                    <a:pt x="3490791" y="89777"/>
                    <a:pt x="3509080" y="96797"/>
                    <a:pt x="3523119" y="110836"/>
                  </a:cubicBezTo>
                  <a:cubicBezTo>
                    <a:pt x="3551197" y="138914"/>
                    <a:pt x="3551197" y="183988"/>
                    <a:pt x="3523119" y="212066"/>
                  </a:cubicBezTo>
                  <a:lnTo>
                    <a:pt x="3344302" y="390882"/>
                  </a:lnTo>
                  <a:cubicBezTo>
                    <a:pt x="3330263" y="404922"/>
                    <a:pt x="3311791" y="411572"/>
                    <a:pt x="3293318" y="411572"/>
                  </a:cubicBezTo>
                  <a:cubicBezTo>
                    <a:pt x="3274845" y="411572"/>
                    <a:pt x="3256372" y="404183"/>
                    <a:pt x="3243072" y="390882"/>
                  </a:cubicBezTo>
                  <a:cubicBezTo>
                    <a:pt x="3214993" y="362804"/>
                    <a:pt x="3214993" y="317730"/>
                    <a:pt x="3243072" y="289652"/>
                  </a:cubicBezTo>
                  <a:lnTo>
                    <a:pt x="3421888" y="110836"/>
                  </a:lnTo>
                  <a:cubicBezTo>
                    <a:pt x="3435927" y="96797"/>
                    <a:pt x="3454215" y="89777"/>
                    <a:pt x="3472503" y="89777"/>
                  </a:cubicBezTo>
                  <a:close/>
                  <a:moveTo>
                    <a:pt x="1257254" y="89038"/>
                  </a:moveTo>
                  <a:cubicBezTo>
                    <a:pt x="1275542" y="89038"/>
                    <a:pt x="1293830" y="96058"/>
                    <a:pt x="1307869" y="110097"/>
                  </a:cubicBezTo>
                  <a:lnTo>
                    <a:pt x="1487424" y="289652"/>
                  </a:lnTo>
                  <a:cubicBezTo>
                    <a:pt x="1515503" y="317730"/>
                    <a:pt x="1515503" y="362804"/>
                    <a:pt x="1487424" y="390882"/>
                  </a:cubicBezTo>
                  <a:cubicBezTo>
                    <a:pt x="1473385" y="404922"/>
                    <a:pt x="1454912" y="411572"/>
                    <a:pt x="1436440" y="411572"/>
                  </a:cubicBezTo>
                  <a:cubicBezTo>
                    <a:pt x="1417967" y="411572"/>
                    <a:pt x="1399494" y="404922"/>
                    <a:pt x="1385455" y="390882"/>
                  </a:cubicBezTo>
                  <a:lnTo>
                    <a:pt x="1206639" y="211327"/>
                  </a:lnTo>
                  <a:cubicBezTo>
                    <a:pt x="1178560" y="183249"/>
                    <a:pt x="1178560" y="138175"/>
                    <a:pt x="1206639" y="110097"/>
                  </a:cubicBezTo>
                  <a:cubicBezTo>
                    <a:pt x="1220678" y="96058"/>
                    <a:pt x="1238966" y="89038"/>
                    <a:pt x="1257254" y="89038"/>
                  </a:cubicBezTo>
                  <a:close/>
                  <a:moveTo>
                    <a:pt x="2364510" y="0"/>
                  </a:moveTo>
                  <a:cubicBezTo>
                    <a:pt x="2738398" y="0"/>
                    <a:pt x="3042089" y="303692"/>
                    <a:pt x="3042089" y="677580"/>
                  </a:cubicBezTo>
                  <a:cubicBezTo>
                    <a:pt x="3042089" y="1051468"/>
                    <a:pt x="2737659" y="1355159"/>
                    <a:pt x="2364510" y="1355159"/>
                  </a:cubicBezTo>
                  <a:cubicBezTo>
                    <a:pt x="1991361" y="1355159"/>
                    <a:pt x="1686930" y="1051468"/>
                    <a:pt x="1686930" y="677580"/>
                  </a:cubicBezTo>
                  <a:cubicBezTo>
                    <a:pt x="1686930" y="303692"/>
                    <a:pt x="1991361" y="0"/>
                    <a:pt x="2364510" y="0"/>
                  </a:cubicBezTo>
                  <a:close/>
                </a:path>
              </a:pathLst>
            </a:custGeom>
            <a:solidFill>
              <a:srgbClr val="000000"/>
            </a:solidFill>
            <a:ln w="738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806" name="CuadroTexto 805">
              <a:extLst>
                <a:ext uri="{FF2B5EF4-FFF2-40B4-BE49-F238E27FC236}">
                  <a16:creationId xmlns:a16="http://schemas.microsoft.com/office/drawing/2014/main" id="{91065C86-9AEC-B87B-378D-B8B09A6F5B6A}"/>
                </a:ext>
              </a:extLst>
            </p:cNvPr>
            <p:cNvSpPr txBox="1"/>
            <p:nvPr/>
          </p:nvSpPr>
          <p:spPr>
            <a:xfrm>
              <a:off x="9187486" y="4176598"/>
              <a:ext cx="665567"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SALES &amp;</a:t>
              </a:r>
              <a:b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RETAIL</a:t>
              </a:r>
            </a:p>
          </p:txBody>
        </p:sp>
      </p:grpSp>
      <p:grpSp>
        <p:nvGrpSpPr>
          <p:cNvPr id="820" name="Grupo 819">
            <a:extLst>
              <a:ext uri="{FF2B5EF4-FFF2-40B4-BE49-F238E27FC236}">
                <a16:creationId xmlns:a16="http://schemas.microsoft.com/office/drawing/2014/main" id="{5DBA0E3E-CBE3-3CEF-D6D4-6A5A7FA220AF}"/>
              </a:ext>
            </a:extLst>
          </p:cNvPr>
          <p:cNvGrpSpPr/>
          <p:nvPr/>
        </p:nvGrpSpPr>
        <p:grpSpPr>
          <a:xfrm>
            <a:off x="9981600" y="3841391"/>
            <a:ext cx="678391" cy="771667"/>
            <a:chOff x="10061130" y="3774263"/>
            <a:chExt cx="678391" cy="771667"/>
          </a:xfrm>
        </p:grpSpPr>
        <p:sp>
          <p:nvSpPr>
            <p:cNvPr id="14" name="Forma libre 13">
              <a:extLst>
                <a:ext uri="{FF2B5EF4-FFF2-40B4-BE49-F238E27FC236}">
                  <a16:creationId xmlns:a16="http://schemas.microsoft.com/office/drawing/2014/main" id="{291BC78A-D2AE-D6DB-8B43-DA1488C609DB}"/>
                </a:ext>
              </a:extLst>
            </p:cNvPr>
            <p:cNvSpPr/>
            <p:nvPr/>
          </p:nvSpPr>
          <p:spPr>
            <a:xfrm>
              <a:off x="10208296" y="3774263"/>
              <a:ext cx="374346" cy="396765"/>
            </a:xfrm>
            <a:custGeom>
              <a:avLst/>
              <a:gdLst>
                <a:gd name="connsiteX0" fmla="*/ 1051940 w 3954544"/>
                <a:gd name="connsiteY0" fmla="*/ 3524300 h 4191368"/>
                <a:gd name="connsiteX1" fmla="*/ 1119218 w 3954544"/>
                <a:gd name="connsiteY1" fmla="*/ 3552157 h 4191368"/>
                <a:gd name="connsiteX2" fmla="*/ 1119218 w 3954544"/>
                <a:gd name="connsiteY2" fmla="*/ 3686841 h 4191368"/>
                <a:gd name="connsiteX3" fmla="*/ 984440 w 3954544"/>
                <a:gd name="connsiteY3" fmla="*/ 3686841 h 4191368"/>
                <a:gd name="connsiteX4" fmla="*/ 984440 w 3954544"/>
                <a:gd name="connsiteY4" fmla="*/ 3552157 h 4191368"/>
                <a:gd name="connsiteX5" fmla="*/ 1051940 w 3954544"/>
                <a:gd name="connsiteY5" fmla="*/ 3524300 h 4191368"/>
                <a:gd name="connsiteX6" fmla="*/ 1761838 w 3954544"/>
                <a:gd name="connsiteY6" fmla="*/ 3397325 h 4191368"/>
                <a:gd name="connsiteX7" fmla="*/ 1829317 w 3954544"/>
                <a:gd name="connsiteY7" fmla="*/ 3425189 h 4191368"/>
                <a:gd name="connsiteX8" fmla="*/ 1829317 w 3954544"/>
                <a:gd name="connsiteY8" fmla="*/ 3559882 h 4191368"/>
                <a:gd name="connsiteX9" fmla="*/ 1694538 w 3954544"/>
                <a:gd name="connsiteY9" fmla="*/ 3559882 h 4191368"/>
                <a:gd name="connsiteX10" fmla="*/ 1694538 w 3954544"/>
                <a:gd name="connsiteY10" fmla="*/ 3425189 h 4191368"/>
                <a:gd name="connsiteX11" fmla="*/ 1761838 w 3954544"/>
                <a:gd name="connsiteY11" fmla="*/ 3397325 h 4191368"/>
                <a:gd name="connsiteX12" fmla="*/ 1346861 w 3954544"/>
                <a:gd name="connsiteY12" fmla="*/ 3116168 h 4191368"/>
                <a:gd name="connsiteX13" fmla="*/ 1003003 w 3954544"/>
                <a:gd name="connsiteY13" fmla="*/ 3161986 h 4191368"/>
                <a:gd name="connsiteX14" fmla="*/ 491063 w 3954544"/>
                <a:gd name="connsiteY14" fmla="*/ 3316929 h 4191368"/>
                <a:gd name="connsiteX15" fmla="*/ 199122 w 3954544"/>
                <a:gd name="connsiteY15" fmla="*/ 3889982 h 4191368"/>
                <a:gd name="connsiteX16" fmla="*/ 266111 w 3954544"/>
                <a:gd name="connsiteY16" fmla="*/ 4000510 h 4191368"/>
                <a:gd name="connsiteX17" fmla="*/ 266111 w 3954544"/>
                <a:gd name="connsiteY17" fmla="*/ 4000500 h 4191368"/>
                <a:gd name="connsiteX18" fmla="*/ 2698168 w 3954544"/>
                <a:gd name="connsiteY18" fmla="*/ 4000500 h 4191368"/>
                <a:gd name="connsiteX19" fmla="*/ 2525784 w 3954544"/>
                <a:gd name="connsiteY19" fmla="*/ 3571875 h 4191368"/>
                <a:gd name="connsiteX20" fmla="*/ 2525784 w 3954544"/>
                <a:gd name="connsiteY20" fmla="*/ 3364049 h 4191368"/>
                <a:gd name="connsiteX21" fmla="*/ 1695099 w 3954544"/>
                <a:gd name="connsiteY21" fmla="*/ 3209249 h 4191368"/>
                <a:gd name="connsiteX22" fmla="*/ 1346861 w 3954544"/>
                <a:gd name="connsiteY22" fmla="*/ 3116168 h 4191368"/>
                <a:gd name="connsiteX23" fmla="*/ 2117082 w 3954544"/>
                <a:gd name="connsiteY23" fmla="*/ 2762293 h 4191368"/>
                <a:gd name="connsiteX24" fmla="*/ 2184313 w 3954544"/>
                <a:gd name="connsiteY24" fmla="*/ 2790157 h 4191368"/>
                <a:gd name="connsiteX25" fmla="*/ 2184313 w 3954544"/>
                <a:gd name="connsiteY25" fmla="*/ 2924841 h 4191368"/>
                <a:gd name="connsiteX26" fmla="*/ 2049630 w 3954544"/>
                <a:gd name="connsiteY26" fmla="*/ 2924841 h 4191368"/>
                <a:gd name="connsiteX27" fmla="*/ 2049630 w 3954544"/>
                <a:gd name="connsiteY27" fmla="*/ 2790157 h 4191368"/>
                <a:gd name="connsiteX28" fmla="*/ 2117082 w 3954544"/>
                <a:gd name="connsiteY28" fmla="*/ 2762293 h 4191368"/>
                <a:gd name="connsiteX29" fmla="*/ 1643576 w 3954544"/>
                <a:gd name="connsiteY29" fmla="*/ 2568943 h 4191368"/>
                <a:gd name="connsiteX30" fmla="*/ 1710921 w 3954544"/>
                <a:gd name="connsiteY30" fmla="*/ 2596800 h 4191368"/>
                <a:gd name="connsiteX31" fmla="*/ 1710921 w 3954544"/>
                <a:gd name="connsiteY31" fmla="*/ 2731483 h 4191368"/>
                <a:gd name="connsiteX32" fmla="*/ 1576237 w 3954544"/>
                <a:gd name="connsiteY32" fmla="*/ 2731483 h 4191368"/>
                <a:gd name="connsiteX33" fmla="*/ 1576237 w 3954544"/>
                <a:gd name="connsiteY33" fmla="*/ 2596800 h 4191368"/>
                <a:gd name="connsiteX34" fmla="*/ 1643576 w 3954544"/>
                <a:gd name="connsiteY34" fmla="*/ 2568943 h 4191368"/>
                <a:gd name="connsiteX35" fmla="*/ 1525269 w 3954544"/>
                <a:gd name="connsiteY35" fmla="*/ 2095508 h 4191368"/>
                <a:gd name="connsiteX36" fmla="*/ 1620424 w 3954544"/>
                <a:gd name="connsiteY36" fmla="*/ 2190758 h 4191368"/>
                <a:gd name="connsiteX37" fmla="*/ 1457832 w 3954544"/>
                <a:gd name="connsiteY37" fmla="*/ 2258090 h 4191368"/>
                <a:gd name="connsiteX38" fmla="*/ 1430019 w 3954544"/>
                <a:gd name="connsiteY38" fmla="*/ 2190758 h 4191368"/>
                <a:gd name="connsiteX39" fmla="*/ 1525269 w 3954544"/>
                <a:gd name="connsiteY39" fmla="*/ 2095508 h 4191368"/>
                <a:gd name="connsiteX40" fmla="*/ 2716284 w 3954544"/>
                <a:gd name="connsiteY40" fmla="*/ 1714510 h 4191368"/>
                <a:gd name="connsiteX41" fmla="*/ 2716284 w 3954544"/>
                <a:gd name="connsiteY41" fmla="*/ 3571885 h 4191368"/>
                <a:gd name="connsiteX42" fmla="*/ 3080377 w 3954544"/>
                <a:gd name="connsiteY42" fmla="*/ 3995671 h 4191368"/>
                <a:gd name="connsiteX43" fmla="*/ 3573534 w 3954544"/>
                <a:gd name="connsiteY43" fmla="*/ 3571885 h 4191368"/>
                <a:gd name="connsiteX44" fmla="*/ 3573534 w 3954544"/>
                <a:gd name="connsiteY44" fmla="*/ 3000385 h 4191368"/>
                <a:gd name="connsiteX45" fmla="*/ 3287784 w 3954544"/>
                <a:gd name="connsiteY45" fmla="*/ 3000385 h 4191368"/>
                <a:gd name="connsiteX46" fmla="*/ 3192534 w 3954544"/>
                <a:gd name="connsiteY46" fmla="*/ 2905135 h 4191368"/>
                <a:gd name="connsiteX47" fmla="*/ 3287784 w 3954544"/>
                <a:gd name="connsiteY47" fmla="*/ 2809885 h 4191368"/>
                <a:gd name="connsiteX48" fmla="*/ 3573534 w 3954544"/>
                <a:gd name="connsiteY48" fmla="*/ 2809885 h 4191368"/>
                <a:gd name="connsiteX49" fmla="*/ 3573534 w 3954544"/>
                <a:gd name="connsiteY49" fmla="*/ 2638435 h 4191368"/>
                <a:gd name="connsiteX50" fmla="*/ 3287784 w 3954544"/>
                <a:gd name="connsiteY50" fmla="*/ 2638435 h 4191368"/>
                <a:gd name="connsiteX51" fmla="*/ 3192534 w 3954544"/>
                <a:gd name="connsiteY51" fmla="*/ 2543185 h 4191368"/>
                <a:gd name="connsiteX52" fmla="*/ 3287784 w 3954544"/>
                <a:gd name="connsiteY52" fmla="*/ 2447935 h 4191368"/>
                <a:gd name="connsiteX53" fmla="*/ 3573534 w 3954544"/>
                <a:gd name="connsiteY53" fmla="*/ 2447935 h 4191368"/>
                <a:gd name="connsiteX54" fmla="*/ 3573534 w 3954544"/>
                <a:gd name="connsiteY54" fmla="*/ 2286010 h 4191368"/>
                <a:gd name="connsiteX55" fmla="*/ 3287784 w 3954544"/>
                <a:gd name="connsiteY55" fmla="*/ 2286010 h 4191368"/>
                <a:gd name="connsiteX56" fmla="*/ 3192534 w 3954544"/>
                <a:gd name="connsiteY56" fmla="*/ 2190760 h 4191368"/>
                <a:gd name="connsiteX57" fmla="*/ 3287784 w 3954544"/>
                <a:gd name="connsiteY57" fmla="*/ 2095510 h 4191368"/>
                <a:gd name="connsiteX58" fmla="*/ 3573534 w 3954544"/>
                <a:gd name="connsiteY58" fmla="*/ 2095510 h 4191368"/>
                <a:gd name="connsiteX59" fmla="*/ 3573534 w 3954544"/>
                <a:gd name="connsiteY59" fmla="*/ 1714510 h 4191368"/>
                <a:gd name="connsiteX60" fmla="*/ 335035 w 3954544"/>
                <a:gd name="connsiteY60" fmla="*/ 1333508 h 4191368"/>
                <a:gd name="connsiteX61" fmla="*/ 239785 w 3954544"/>
                <a:gd name="connsiteY61" fmla="*/ 1428758 h 4191368"/>
                <a:gd name="connsiteX62" fmla="*/ 335035 w 3954544"/>
                <a:gd name="connsiteY62" fmla="*/ 1524008 h 4191368"/>
                <a:gd name="connsiteX63" fmla="*/ 430285 w 3954544"/>
                <a:gd name="connsiteY63" fmla="*/ 1428758 h 4191368"/>
                <a:gd name="connsiteX64" fmla="*/ 335035 w 3954544"/>
                <a:gd name="connsiteY64" fmla="*/ 1333508 h 4191368"/>
                <a:gd name="connsiteX65" fmla="*/ 335035 w 3954544"/>
                <a:gd name="connsiteY65" fmla="*/ 1143008 h 4191368"/>
                <a:gd name="connsiteX66" fmla="*/ 620785 w 3954544"/>
                <a:gd name="connsiteY66" fmla="*/ 1428758 h 4191368"/>
                <a:gd name="connsiteX67" fmla="*/ 335035 w 3954544"/>
                <a:gd name="connsiteY67" fmla="*/ 1714508 h 4191368"/>
                <a:gd name="connsiteX68" fmla="*/ 49285 w 3954544"/>
                <a:gd name="connsiteY68" fmla="*/ 1428758 h 4191368"/>
                <a:gd name="connsiteX69" fmla="*/ 335035 w 3954544"/>
                <a:gd name="connsiteY69" fmla="*/ 1143008 h 4191368"/>
                <a:gd name="connsiteX70" fmla="*/ 2668660 w 3954544"/>
                <a:gd name="connsiteY70" fmla="*/ 952509 h 4191368"/>
                <a:gd name="connsiteX71" fmla="*/ 2621035 w 3954544"/>
                <a:gd name="connsiteY71" fmla="*/ 1000134 h 4191368"/>
                <a:gd name="connsiteX72" fmla="*/ 2668660 w 3954544"/>
                <a:gd name="connsiteY72" fmla="*/ 1047759 h 4191368"/>
                <a:gd name="connsiteX73" fmla="*/ 2716285 w 3954544"/>
                <a:gd name="connsiteY73" fmla="*/ 1000134 h 4191368"/>
                <a:gd name="connsiteX74" fmla="*/ 2668660 w 3954544"/>
                <a:gd name="connsiteY74" fmla="*/ 952509 h 4191368"/>
                <a:gd name="connsiteX75" fmla="*/ 2668660 w 3954544"/>
                <a:gd name="connsiteY75" fmla="*/ 762009 h 4191368"/>
                <a:gd name="connsiteX76" fmla="*/ 2906785 w 3954544"/>
                <a:gd name="connsiteY76" fmla="*/ 1000134 h 4191368"/>
                <a:gd name="connsiteX77" fmla="*/ 2668660 w 3954544"/>
                <a:gd name="connsiteY77" fmla="*/ 1238259 h 4191368"/>
                <a:gd name="connsiteX78" fmla="*/ 2430535 w 3954544"/>
                <a:gd name="connsiteY78" fmla="*/ 1000134 h 4191368"/>
                <a:gd name="connsiteX79" fmla="*/ 2668660 w 3954544"/>
                <a:gd name="connsiteY79" fmla="*/ 762009 h 4191368"/>
                <a:gd name="connsiteX80" fmla="*/ 3573535 w 3954544"/>
                <a:gd name="connsiteY80" fmla="*/ 476259 h 4191368"/>
                <a:gd name="connsiteX81" fmla="*/ 3478285 w 3954544"/>
                <a:gd name="connsiteY81" fmla="*/ 571509 h 4191368"/>
                <a:gd name="connsiteX82" fmla="*/ 3573535 w 3954544"/>
                <a:gd name="connsiteY82" fmla="*/ 666759 h 4191368"/>
                <a:gd name="connsiteX83" fmla="*/ 3668785 w 3954544"/>
                <a:gd name="connsiteY83" fmla="*/ 571509 h 4191368"/>
                <a:gd name="connsiteX84" fmla="*/ 3573535 w 3954544"/>
                <a:gd name="connsiteY84" fmla="*/ 476259 h 4191368"/>
                <a:gd name="connsiteX85" fmla="*/ 3573535 w 3954544"/>
                <a:gd name="connsiteY85" fmla="*/ 285759 h 4191368"/>
                <a:gd name="connsiteX86" fmla="*/ 3859284 w 3954544"/>
                <a:gd name="connsiteY86" fmla="*/ 571509 h 4191368"/>
                <a:gd name="connsiteX87" fmla="*/ 3573535 w 3954544"/>
                <a:gd name="connsiteY87" fmla="*/ 857259 h 4191368"/>
                <a:gd name="connsiteX88" fmla="*/ 3287785 w 3954544"/>
                <a:gd name="connsiteY88" fmla="*/ 571509 h 4191368"/>
                <a:gd name="connsiteX89" fmla="*/ 3573535 w 3954544"/>
                <a:gd name="connsiteY89" fmla="*/ 285759 h 4191368"/>
                <a:gd name="connsiteX90" fmla="*/ 1268484 w 3954544"/>
                <a:gd name="connsiteY90" fmla="*/ 190500 h 4191368"/>
                <a:gd name="connsiteX91" fmla="*/ 1268484 w 3954544"/>
                <a:gd name="connsiteY91" fmla="*/ 1771088 h 4191368"/>
                <a:gd name="connsiteX92" fmla="*/ 1256588 w 3954544"/>
                <a:gd name="connsiteY92" fmla="*/ 1814303 h 4191368"/>
                <a:gd name="connsiteX93" fmla="*/ 616650 w 3954544"/>
                <a:gd name="connsiteY93" fmla="*/ 3070412 h 4191368"/>
                <a:gd name="connsiteX94" fmla="*/ 1832459 w 3954544"/>
                <a:gd name="connsiteY94" fmla="*/ 3077270 h 4191368"/>
                <a:gd name="connsiteX95" fmla="*/ 2525784 w 3954544"/>
                <a:gd name="connsiteY95" fmla="*/ 3167691 h 4191368"/>
                <a:gd name="connsiteX96" fmla="*/ 2525784 w 3954544"/>
                <a:gd name="connsiteY96" fmla="*/ 2784110 h 4191368"/>
                <a:gd name="connsiteX97" fmla="*/ 2031694 w 3954544"/>
                <a:gd name="connsiteY97" fmla="*/ 1814303 h 4191368"/>
                <a:gd name="connsiteX98" fmla="*/ 2020959 w 3954544"/>
                <a:gd name="connsiteY98" fmla="*/ 1771088 h 4191368"/>
                <a:gd name="connsiteX99" fmla="*/ 2020959 w 3954544"/>
                <a:gd name="connsiteY99" fmla="*/ 1228725 h 4191368"/>
                <a:gd name="connsiteX100" fmla="*/ 1761917 w 3954544"/>
                <a:gd name="connsiteY100" fmla="*/ 1228725 h 4191368"/>
                <a:gd name="connsiteX101" fmla="*/ 1666667 w 3954544"/>
                <a:gd name="connsiteY101" fmla="*/ 1133475 h 4191368"/>
                <a:gd name="connsiteX102" fmla="*/ 1761917 w 3954544"/>
                <a:gd name="connsiteY102" fmla="*/ 1038225 h 4191368"/>
                <a:gd name="connsiteX103" fmla="*/ 2020959 w 3954544"/>
                <a:gd name="connsiteY103" fmla="*/ 1038225 h 4191368"/>
                <a:gd name="connsiteX104" fmla="*/ 2020959 w 3954544"/>
                <a:gd name="connsiteY104" fmla="*/ 876300 h 4191368"/>
                <a:gd name="connsiteX105" fmla="*/ 1761917 w 3954544"/>
                <a:gd name="connsiteY105" fmla="*/ 876300 h 4191368"/>
                <a:gd name="connsiteX106" fmla="*/ 1666667 w 3954544"/>
                <a:gd name="connsiteY106" fmla="*/ 781050 h 4191368"/>
                <a:gd name="connsiteX107" fmla="*/ 1761917 w 3954544"/>
                <a:gd name="connsiteY107" fmla="*/ 685800 h 4191368"/>
                <a:gd name="connsiteX108" fmla="*/ 2020959 w 3954544"/>
                <a:gd name="connsiteY108" fmla="*/ 685800 h 4191368"/>
                <a:gd name="connsiteX109" fmla="*/ 2020959 w 3954544"/>
                <a:gd name="connsiteY109" fmla="*/ 523875 h 4191368"/>
                <a:gd name="connsiteX110" fmla="*/ 1761917 w 3954544"/>
                <a:gd name="connsiteY110" fmla="*/ 523875 h 4191368"/>
                <a:gd name="connsiteX111" fmla="*/ 1666667 w 3954544"/>
                <a:gd name="connsiteY111" fmla="*/ 428625 h 4191368"/>
                <a:gd name="connsiteX112" fmla="*/ 1761917 w 3954544"/>
                <a:gd name="connsiteY112" fmla="*/ 333375 h 4191368"/>
                <a:gd name="connsiteX113" fmla="*/ 2020959 w 3954544"/>
                <a:gd name="connsiteY113" fmla="*/ 333375 h 4191368"/>
                <a:gd name="connsiteX114" fmla="*/ 2020959 w 3954544"/>
                <a:gd name="connsiteY114" fmla="*/ 190500 h 4191368"/>
                <a:gd name="connsiteX115" fmla="*/ 906534 w 3954544"/>
                <a:gd name="connsiteY115" fmla="*/ 0 h 4191368"/>
                <a:gd name="connsiteX116" fmla="*/ 2335284 w 3954544"/>
                <a:gd name="connsiteY116" fmla="*/ 0 h 4191368"/>
                <a:gd name="connsiteX117" fmla="*/ 2430534 w 3954544"/>
                <a:gd name="connsiteY117" fmla="*/ 95250 h 4191368"/>
                <a:gd name="connsiteX118" fmla="*/ 2335284 w 3954544"/>
                <a:gd name="connsiteY118" fmla="*/ 190500 h 4191368"/>
                <a:gd name="connsiteX119" fmla="*/ 2211459 w 3954544"/>
                <a:gd name="connsiteY119" fmla="*/ 190500 h 4191368"/>
                <a:gd name="connsiteX120" fmla="*/ 2211459 w 3954544"/>
                <a:gd name="connsiteY120" fmla="*/ 1748238 h 4191368"/>
                <a:gd name="connsiteX121" fmla="*/ 2525784 w 3954544"/>
                <a:gd name="connsiteY121" fmla="*/ 2365191 h 4191368"/>
                <a:gd name="connsiteX122" fmla="*/ 2525784 w 3954544"/>
                <a:gd name="connsiteY122" fmla="*/ 1714500 h 4191368"/>
                <a:gd name="connsiteX123" fmla="*/ 2430534 w 3954544"/>
                <a:gd name="connsiteY123" fmla="*/ 1714500 h 4191368"/>
                <a:gd name="connsiteX124" fmla="*/ 2335284 w 3954544"/>
                <a:gd name="connsiteY124" fmla="*/ 1619250 h 4191368"/>
                <a:gd name="connsiteX125" fmla="*/ 2430534 w 3954544"/>
                <a:gd name="connsiteY125" fmla="*/ 1524000 h 4191368"/>
                <a:gd name="connsiteX126" fmla="*/ 3859284 w 3954544"/>
                <a:gd name="connsiteY126" fmla="*/ 1524000 h 4191368"/>
                <a:gd name="connsiteX127" fmla="*/ 3954544 w 3954544"/>
                <a:gd name="connsiteY127" fmla="*/ 1619260 h 4191368"/>
                <a:gd name="connsiteX128" fmla="*/ 3859294 w 3954544"/>
                <a:gd name="connsiteY128" fmla="*/ 1714510 h 4191368"/>
                <a:gd name="connsiteX129" fmla="*/ 3764044 w 3954544"/>
                <a:gd name="connsiteY129" fmla="*/ 1714510 h 4191368"/>
                <a:gd name="connsiteX130" fmla="*/ 3764044 w 3954544"/>
                <a:gd name="connsiteY130" fmla="*/ 3571885 h 4191368"/>
                <a:gd name="connsiteX131" fmla="*/ 3070157 w 3954544"/>
                <a:gd name="connsiteY131" fmla="*/ 4186447 h 4191368"/>
                <a:gd name="connsiteX132" fmla="*/ 266111 w 3954544"/>
                <a:gd name="connsiteY132" fmla="*/ 4191010 h 4191368"/>
                <a:gd name="connsiteX133" fmla="*/ 30110 w 3954544"/>
                <a:gd name="connsiteY133" fmla="*/ 3803561 h 4191368"/>
                <a:gd name="connsiteX134" fmla="*/ 1077984 w 3954544"/>
                <a:gd name="connsiteY134" fmla="*/ 1748238 h 4191368"/>
                <a:gd name="connsiteX135" fmla="*/ 1077984 w 3954544"/>
                <a:gd name="connsiteY135" fmla="*/ 190500 h 4191368"/>
                <a:gd name="connsiteX136" fmla="*/ 906534 w 3954544"/>
                <a:gd name="connsiteY136" fmla="*/ 190500 h 4191368"/>
                <a:gd name="connsiteX137" fmla="*/ 811284 w 3954544"/>
                <a:gd name="connsiteY137" fmla="*/ 95250 h 4191368"/>
                <a:gd name="connsiteX138" fmla="*/ 906534 w 3954544"/>
                <a:gd name="connsiteY138" fmla="*/ 0 h 4191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3954544" h="4191368">
                  <a:moveTo>
                    <a:pt x="1051940" y="3524300"/>
                  </a:moveTo>
                  <a:cubicBezTo>
                    <a:pt x="1076349" y="3524337"/>
                    <a:pt x="1100721" y="3533660"/>
                    <a:pt x="1119218" y="3552157"/>
                  </a:cubicBezTo>
                  <a:cubicBezTo>
                    <a:pt x="1156423" y="3589372"/>
                    <a:pt x="1156309" y="3649760"/>
                    <a:pt x="1119218" y="3686841"/>
                  </a:cubicBezTo>
                  <a:cubicBezTo>
                    <a:pt x="1082328" y="3723550"/>
                    <a:pt x="1022302" y="3724503"/>
                    <a:pt x="984440" y="3686841"/>
                  </a:cubicBezTo>
                  <a:cubicBezTo>
                    <a:pt x="947225" y="3649627"/>
                    <a:pt x="947359" y="3589248"/>
                    <a:pt x="984440" y="3552157"/>
                  </a:cubicBezTo>
                  <a:cubicBezTo>
                    <a:pt x="1003085" y="3533512"/>
                    <a:pt x="1027531" y="3524263"/>
                    <a:pt x="1051940" y="3524300"/>
                  </a:cubicBezTo>
                  <a:close/>
                  <a:moveTo>
                    <a:pt x="1761838" y="3397325"/>
                  </a:moveTo>
                  <a:cubicBezTo>
                    <a:pt x="1786214" y="3397322"/>
                    <a:pt x="1810620" y="3406606"/>
                    <a:pt x="1829317" y="3425189"/>
                  </a:cubicBezTo>
                  <a:cubicBezTo>
                    <a:pt x="1866369" y="3462251"/>
                    <a:pt x="1866340" y="3522849"/>
                    <a:pt x="1829317" y="3559882"/>
                  </a:cubicBezTo>
                  <a:cubicBezTo>
                    <a:pt x="1791998" y="3597173"/>
                    <a:pt x="1731381" y="3596915"/>
                    <a:pt x="1694538" y="3559882"/>
                  </a:cubicBezTo>
                  <a:cubicBezTo>
                    <a:pt x="1657476" y="3522821"/>
                    <a:pt x="1657533" y="3462194"/>
                    <a:pt x="1694538" y="3425189"/>
                  </a:cubicBezTo>
                  <a:cubicBezTo>
                    <a:pt x="1713117" y="3406620"/>
                    <a:pt x="1737463" y="3397329"/>
                    <a:pt x="1761838" y="3397325"/>
                  </a:cubicBezTo>
                  <a:close/>
                  <a:moveTo>
                    <a:pt x="1346861" y="3116168"/>
                  </a:moveTo>
                  <a:cubicBezTo>
                    <a:pt x="1247781" y="3118640"/>
                    <a:pt x="1132366" y="3133858"/>
                    <a:pt x="1003003" y="3161986"/>
                  </a:cubicBezTo>
                  <a:cubicBezTo>
                    <a:pt x="771108" y="3212402"/>
                    <a:pt x="561043" y="3289907"/>
                    <a:pt x="491063" y="3316929"/>
                  </a:cubicBezTo>
                  <a:lnTo>
                    <a:pt x="199122" y="3889982"/>
                  </a:lnTo>
                  <a:cubicBezTo>
                    <a:pt x="173252" y="3940788"/>
                    <a:pt x="209571" y="4000510"/>
                    <a:pt x="266111" y="4000510"/>
                  </a:cubicBezTo>
                  <a:lnTo>
                    <a:pt x="266111" y="4000500"/>
                  </a:lnTo>
                  <a:lnTo>
                    <a:pt x="2698168" y="4000500"/>
                  </a:lnTo>
                  <a:cubicBezTo>
                    <a:pt x="2592259" y="3891953"/>
                    <a:pt x="2525784" y="3736715"/>
                    <a:pt x="2525784" y="3571875"/>
                  </a:cubicBezTo>
                  <a:lnTo>
                    <a:pt x="2525784" y="3364049"/>
                  </a:lnTo>
                  <a:cubicBezTo>
                    <a:pt x="2236758" y="3430877"/>
                    <a:pt x="1901563" y="3424123"/>
                    <a:pt x="1695099" y="3209249"/>
                  </a:cubicBezTo>
                  <a:cubicBezTo>
                    <a:pt x="1631758" y="3143330"/>
                    <a:pt x="1511996" y="3112047"/>
                    <a:pt x="1346861" y="3116168"/>
                  </a:cubicBezTo>
                  <a:close/>
                  <a:moveTo>
                    <a:pt x="2117082" y="2762293"/>
                  </a:moveTo>
                  <a:cubicBezTo>
                    <a:pt x="2141468" y="2762328"/>
                    <a:pt x="2165816" y="2771650"/>
                    <a:pt x="2184313" y="2790157"/>
                  </a:cubicBezTo>
                  <a:cubicBezTo>
                    <a:pt x="2221604" y="2827448"/>
                    <a:pt x="2221347" y="2887827"/>
                    <a:pt x="2184313" y="2924841"/>
                  </a:cubicBezTo>
                  <a:cubicBezTo>
                    <a:pt x="2147042" y="2962141"/>
                    <a:pt x="2067346" y="2942557"/>
                    <a:pt x="2049630" y="2924841"/>
                  </a:cubicBezTo>
                  <a:cubicBezTo>
                    <a:pt x="2012483" y="2887703"/>
                    <a:pt x="2012492" y="2827295"/>
                    <a:pt x="2049630" y="2790157"/>
                  </a:cubicBezTo>
                  <a:cubicBezTo>
                    <a:pt x="2068275" y="2771512"/>
                    <a:pt x="2092697" y="2762258"/>
                    <a:pt x="2117082" y="2762293"/>
                  </a:cubicBezTo>
                  <a:close/>
                  <a:moveTo>
                    <a:pt x="1643576" y="2568943"/>
                  </a:moveTo>
                  <a:cubicBezTo>
                    <a:pt x="1667963" y="2568942"/>
                    <a:pt x="1692352" y="2578226"/>
                    <a:pt x="1710921" y="2596800"/>
                  </a:cubicBezTo>
                  <a:cubicBezTo>
                    <a:pt x="1748125" y="2634014"/>
                    <a:pt x="1748011" y="2694403"/>
                    <a:pt x="1710921" y="2731483"/>
                  </a:cubicBezTo>
                  <a:cubicBezTo>
                    <a:pt x="1673592" y="2768812"/>
                    <a:pt x="1613223" y="2768479"/>
                    <a:pt x="1576237" y="2731483"/>
                  </a:cubicBezTo>
                  <a:cubicBezTo>
                    <a:pt x="1539166" y="2694431"/>
                    <a:pt x="1558511" y="2614526"/>
                    <a:pt x="1576237" y="2596800"/>
                  </a:cubicBezTo>
                  <a:cubicBezTo>
                    <a:pt x="1594802" y="2578231"/>
                    <a:pt x="1619188" y="2568944"/>
                    <a:pt x="1643576" y="2568943"/>
                  </a:cubicBezTo>
                  <a:close/>
                  <a:moveTo>
                    <a:pt x="1525269" y="2095508"/>
                  </a:moveTo>
                  <a:cubicBezTo>
                    <a:pt x="1576637" y="2095508"/>
                    <a:pt x="1620424" y="2137027"/>
                    <a:pt x="1620424" y="2190758"/>
                  </a:cubicBezTo>
                  <a:cubicBezTo>
                    <a:pt x="1620424" y="2275226"/>
                    <a:pt x="1517782" y="2318050"/>
                    <a:pt x="1457832" y="2258090"/>
                  </a:cubicBezTo>
                  <a:cubicBezTo>
                    <a:pt x="1440115" y="2240383"/>
                    <a:pt x="1430019" y="2215809"/>
                    <a:pt x="1430019" y="2190758"/>
                  </a:cubicBezTo>
                  <a:cubicBezTo>
                    <a:pt x="1430019" y="2137523"/>
                    <a:pt x="1473310" y="2095508"/>
                    <a:pt x="1525269" y="2095508"/>
                  </a:cubicBezTo>
                  <a:close/>
                  <a:moveTo>
                    <a:pt x="2716284" y="1714510"/>
                  </a:moveTo>
                  <a:lnTo>
                    <a:pt x="2716284" y="3571885"/>
                  </a:lnTo>
                  <a:cubicBezTo>
                    <a:pt x="2716284" y="3782187"/>
                    <a:pt x="2872809" y="3964381"/>
                    <a:pt x="3080377" y="3995671"/>
                  </a:cubicBezTo>
                  <a:cubicBezTo>
                    <a:pt x="3341658" y="4035085"/>
                    <a:pt x="3573534" y="3832003"/>
                    <a:pt x="3573534" y="3571885"/>
                  </a:cubicBezTo>
                  <a:lnTo>
                    <a:pt x="3573534" y="3000385"/>
                  </a:lnTo>
                  <a:lnTo>
                    <a:pt x="3287784" y="3000385"/>
                  </a:lnTo>
                  <a:cubicBezTo>
                    <a:pt x="3235187" y="3000385"/>
                    <a:pt x="3192534" y="2957732"/>
                    <a:pt x="3192534" y="2905135"/>
                  </a:cubicBezTo>
                  <a:cubicBezTo>
                    <a:pt x="3192534" y="2852538"/>
                    <a:pt x="3235187" y="2809885"/>
                    <a:pt x="3287784" y="2809885"/>
                  </a:cubicBezTo>
                  <a:lnTo>
                    <a:pt x="3573534" y="2809885"/>
                  </a:lnTo>
                  <a:lnTo>
                    <a:pt x="3573534" y="2638435"/>
                  </a:lnTo>
                  <a:lnTo>
                    <a:pt x="3287784" y="2638435"/>
                  </a:lnTo>
                  <a:cubicBezTo>
                    <a:pt x="3235187" y="2638435"/>
                    <a:pt x="3192534" y="2595782"/>
                    <a:pt x="3192534" y="2543185"/>
                  </a:cubicBezTo>
                  <a:cubicBezTo>
                    <a:pt x="3192534" y="2490588"/>
                    <a:pt x="3235187" y="2447935"/>
                    <a:pt x="3287784" y="2447935"/>
                  </a:cubicBezTo>
                  <a:lnTo>
                    <a:pt x="3573534" y="2447935"/>
                  </a:lnTo>
                  <a:lnTo>
                    <a:pt x="3573534" y="2286010"/>
                  </a:lnTo>
                  <a:lnTo>
                    <a:pt x="3287784" y="2286010"/>
                  </a:lnTo>
                  <a:cubicBezTo>
                    <a:pt x="3235187" y="2286010"/>
                    <a:pt x="3192534" y="2243357"/>
                    <a:pt x="3192534" y="2190760"/>
                  </a:cubicBezTo>
                  <a:cubicBezTo>
                    <a:pt x="3192534" y="2138163"/>
                    <a:pt x="3235187" y="2095510"/>
                    <a:pt x="3287784" y="2095510"/>
                  </a:cubicBezTo>
                  <a:lnTo>
                    <a:pt x="3573534" y="2095510"/>
                  </a:lnTo>
                  <a:lnTo>
                    <a:pt x="3573534" y="1714510"/>
                  </a:lnTo>
                  <a:close/>
                  <a:moveTo>
                    <a:pt x="335035" y="1333508"/>
                  </a:moveTo>
                  <a:cubicBezTo>
                    <a:pt x="282514" y="1333508"/>
                    <a:pt x="239785" y="1376237"/>
                    <a:pt x="239785" y="1428758"/>
                  </a:cubicBezTo>
                  <a:cubicBezTo>
                    <a:pt x="239785" y="1481279"/>
                    <a:pt x="282514" y="1524008"/>
                    <a:pt x="335035" y="1524008"/>
                  </a:cubicBezTo>
                  <a:cubicBezTo>
                    <a:pt x="387556" y="1524008"/>
                    <a:pt x="430285" y="1481279"/>
                    <a:pt x="430285" y="1428758"/>
                  </a:cubicBezTo>
                  <a:cubicBezTo>
                    <a:pt x="430285" y="1376237"/>
                    <a:pt x="387556" y="1333508"/>
                    <a:pt x="335035" y="1333508"/>
                  </a:cubicBezTo>
                  <a:close/>
                  <a:moveTo>
                    <a:pt x="335035" y="1143008"/>
                  </a:moveTo>
                  <a:cubicBezTo>
                    <a:pt x="492598" y="1143008"/>
                    <a:pt x="620785" y="1271196"/>
                    <a:pt x="620785" y="1428758"/>
                  </a:cubicBezTo>
                  <a:cubicBezTo>
                    <a:pt x="620785" y="1586321"/>
                    <a:pt x="492598" y="1714508"/>
                    <a:pt x="335035" y="1714508"/>
                  </a:cubicBezTo>
                  <a:cubicBezTo>
                    <a:pt x="177472" y="1714508"/>
                    <a:pt x="49285" y="1586321"/>
                    <a:pt x="49285" y="1428758"/>
                  </a:cubicBezTo>
                  <a:cubicBezTo>
                    <a:pt x="49285" y="1271196"/>
                    <a:pt x="177472" y="1143008"/>
                    <a:pt x="335035" y="1143008"/>
                  </a:cubicBezTo>
                  <a:close/>
                  <a:moveTo>
                    <a:pt x="2668660" y="952509"/>
                  </a:moveTo>
                  <a:cubicBezTo>
                    <a:pt x="2642400" y="952509"/>
                    <a:pt x="2621035" y="973874"/>
                    <a:pt x="2621035" y="1000134"/>
                  </a:cubicBezTo>
                  <a:cubicBezTo>
                    <a:pt x="2621035" y="1026394"/>
                    <a:pt x="2642400" y="1047759"/>
                    <a:pt x="2668660" y="1047759"/>
                  </a:cubicBezTo>
                  <a:cubicBezTo>
                    <a:pt x="2694921" y="1047759"/>
                    <a:pt x="2716285" y="1026394"/>
                    <a:pt x="2716285" y="1000134"/>
                  </a:cubicBezTo>
                  <a:cubicBezTo>
                    <a:pt x="2716285" y="973874"/>
                    <a:pt x="2694921" y="952509"/>
                    <a:pt x="2668660" y="952509"/>
                  </a:cubicBezTo>
                  <a:close/>
                  <a:moveTo>
                    <a:pt x="2668660" y="762009"/>
                  </a:moveTo>
                  <a:cubicBezTo>
                    <a:pt x="2799962" y="762009"/>
                    <a:pt x="2906785" y="868832"/>
                    <a:pt x="2906785" y="1000134"/>
                  </a:cubicBezTo>
                  <a:cubicBezTo>
                    <a:pt x="2906785" y="1131436"/>
                    <a:pt x="2799962" y="1238259"/>
                    <a:pt x="2668660" y="1238259"/>
                  </a:cubicBezTo>
                  <a:cubicBezTo>
                    <a:pt x="2537358" y="1238259"/>
                    <a:pt x="2430535" y="1131436"/>
                    <a:pt x="2430535" y="1000134"/>
                  </a:cubicBezTo>
                  <a:cubicBezTo>
                    <a:pt x="2430535" y="868832"/>
                    <a:pt x="2537358" y="762009"/>
                    <a:pt x="2668660" y="762009"/>
                  </a:cubicBezTo>
                  <a:close/>
                  <a:moveTo>
                    <a:pt x="3573535" y="476259"/>
                  </a:moveTo>
                  <a:cubicBezTo>
                    <a:pt x="3521024" y="476259"/>
                    <a:pt x="3478285" y="518988"/>
                    <a:pt x="3478285" y="571509"/>
                  </a:cubicBezTo>
                  <a:cubicBezTo>
                    <a:pt x="3478285" y="624030"/>
                    <a:pt x="3521014" y="666759"/>
                    <a:pt x="3573535" y="666759"/>
                  </a:cubicBezTo>
                  <a:cubicBezTo>
                    <a:pt x="3626056" y="666759"/>
                    <a:pt x="3668785" y="624030"/>
                    <a:pt x="3668785" y="571509"/>
                  </a:cubicBezTo>
                  <a:cubicBezTo>
                    <a:pt x="3668785" y="518988"/>
                    <a:pt x="3626056" y="476259"/>
                    <a:pt x="3573535" y="476259"/>
                  </a:cubicBezTo>
                  <a:close/>
                  <a:moveTo>
                    <a:pt x="3573535" y="285759"/>
                  </a:moveTo>
                  <a:cubicBezTo>
                    <a:pt x="3731098" y="285759"/>
                    <a:pt x="3859284" y="413946"/>
                    <a:pt x="3859284" y="571509"/>
                  </a:cubicBezTo>
                  <a:cubicBezTo>
                    <a:pt x="3859284" y="729072"/>
                    <a:pt x="3731098" y="857259"/>
                    <a:pt x="3573535" y="857259"/>
                  </a:cubicBezTo>
                  <a:cubicBezTo>
                    <a:pt x="3415973" y="857259"/>
                    <a:pt x="3287785" y="729072"/>
                    <a:pt x="3287785" y="571509"/>
                  </a:cubicBezTo>
                  <a:cubicBezTo>
                    <a:pt x="3287785" y="413946"/>
                    <a:pt x="3415973" y="285759"/>
                    <a:pt x="3573535" y="285759"/>
                  </a:cubicBezTo>
                  <a:close/>
                  <a:moveTo>
                    <a:pt x="1268484" y="190500"/>
                  </a:moveTo>
                  <a:lnTo>
                    <a:pt x="1268484" y="1771088"/>
                  </a:lnTo>
                  <a:cubicBezTo>
                    <a:pt x="1268484" y="1786109"/>
                    <a:pt x="1263398" y="1800920"/>
                    <a:pt x="1256588" y="1814303"/>
                  </a:cubicBezTo>
                  <a:lnTo>
                    <a:pt x="616650" y="3070412"/>
                  </a:lnTo>
                  <a:cubicBezTo>
                    <a:pt x="973333" y="2954522"/>
                    <a:pt x="1574684" y="2808980"/>
                    <a:pt x="1832459" y="3077270"/>
                  </a:cubicBezTo>
                  <a:cubicBezTo>
                    <a:pt x="2022807" y="3275390"/>
                    <a:pt x="2380833" y="3206429"/>
                    <a:pt x="2525784" y="3167691"/>
                  </a:cubicBezTo>
                  <a:lnTo>
                    <a:pt x="2525784" y="2784110"/>
                  </a:lnTo>
                  <a:lnTo>
                    <a:pt x="2031694" y="1814303"/>
                  </a:lnTo>
                  <a:cubicBezTo>
                    <a:pt x="2024884" y="1800911"/>
                    <a:pt x="2020959" y="1786109"/>
                    <a:pt x="2020959" y="1771088"/>
                  </a:cubicBezTo>
                  <a:lnTo>
                    <a:pt x="2020959" y="1228725"/>
                  </a:lnTo>
                  <a:lnTo>
                    <a:pt x="1761917" y="1228725"/>
                  </a:lnTo>
                  <a:cubicBezTo>
                    <a:pt x="1709311" y="1228725"/>
                    <a:pt x="1666667" y="1186082"/>
                    <a:pt x="1666667" y="1133475"/>
                  </a:cubicBezTo>
                  <a:cubicBezTo>
                    <a:pt x="1666667" y="1080868"/>
                    <a:pt x="1709311" y="1038225"/>
                    <a:pt x="1761917" y="1038225"/>
                  </a:cubicBezTo>
                  <a:lnTo>
                    <a:pt x="2020959" y="1038225"/>
                  </a:lnTo>
                  <a:lnTo>
                    <a:pt x="2020959" y="876300"/>
                  </a:lnTo>
                  <a:lnTo>
                    <a:pt x="1761917" y="876300"/>
                  </a:lnTo>
                  <a:cubicBezTo>
                    <a:pt x="1709311" y="876300"/>
                    <a:pt x="1666667" y="833657"/>
                    <a:pt x="1666667" y="781050"/>
                  </a:cubicBezTo>
                  <a:cubicBezTo>
                    <a:pt x="1666667" y="728443"/>
                    <a:pt x="1709311" y="685800"/>
                    <a:pt x="1761917" y="685800"/>
                  </a:cubicBezTo>
                  <a:lnTo>
                    <a:pt x="2020959" y="685800"/>
                  </a:lnTo>
                  <a:lnTo>
                    <a:pt x="2020959" y="523875"/>
                  </a:lnTo>
                  <a:lnTo>
                    <a:pt x="1761917" y="523875"/>
                  </a:lnTo>
                  <a:cubicBezTo>
                    <a:pt x="1709311" y="523875"/>
                    <a:pt x="1666667" y="481232"/>
                    <a:pt x="1666667" y="428625"/>
                  </a:cubicBezTo>
                  <a:cubicBezTo>
                    <a:pt x="1666667" y="376018"/>
                    <a:pt x="1709311" y="333375"/>
                    <a:pt x="1761917" y="333375"/>
                  </a:cubicBezTo>
                  <a:lnTo>
                    <a:pt x="2020959" y="333375"/>
                  </a:lnTo>
                  <a:lnTo>
                    <a:pt x="2020959" y="190500"/>
                  </a:lnTo>
                  <a:close/>
                  <a:moveTo>
                    <a:pt x="906534" y="0"/>
                  </a:moveTo>
                  <a:lnTo>
                    <a:pt x="2335284" y="0"/>
                  </a:lnTo>
                  <a:cubicBezTo>
                    <a:pt x="2387881" y="0"/>
                    <a:pt x="2430534" y="42643"/>
                    <a:pt x="2430534" y="95250"/>
                  </a:cubicBezTo>
                  <a:cubicBezTo>
                    <a:pt x="2430534" y="147857"/>
                    <a:pt x="2387881" y="190500"/>
                    <a:pt x="2335284" y="190500"/>
                  </a:cubicBezTo>
                  <a:lnTo>
                    <a:pt x="2211459" y="190500"/>
                  </a:lnTo>
                  <a:cubicBezTo>
                    <a:pt x="2211459" y="427463"/>
                    <a:pt x="2211459" y="1509027"/>
                    <a:pt x="2211459" y="1748238"/>
                  </a:cubicBezTo>
                  <a:lnTo>
                    <a:pt x="2525784" y="2365191"/>
                  </a:lnTo>
                  <a:lnTo>
                    <a:pt x="2525784" y="1714500"/>
                  </a:lnTo>
                  <a:lnTo>
                    <a:pt x="2430534" y="1714500"/>
                  </a:lnTo>
                  <a:cubicBezTo>
                    <a:pt x="2377937" y="1714500"/>
                    <a:pt x="2335284" y="1671857"/>
                    <a:pt x="2335284" y="1619250"/>
                  </a:cubicBezTo>
                  <a:cubicBezTo>
                    <a:pt x="2335284" y="1566643"/>
                    <a:pt x="2377937" y="1524000"/>
                    <a:pt x="2430534" y="1524000"/>
                  </a:cubicBezTo>
                  <a:lnTo>
                    <a:pt x="3859284" y="1524000"/>
                  </a:lnTo>
                  <a:cubicBezTo>
                    <a:pt x="3911892" y="1524000"/>
                    <a:pt x="3954544" y="1566653"/>
                    <a:pt x="3954544" y="1619260"/>
                  </a:cubicBezTo>
                  <a:cubicBezTo>
                    <a:pt x="3954544" y="1671866"/>
                    <a:pt x="3911892" y="1714510"/>
                    <a:pt x="3859294" y="1714510"/>
                  </a:cubicBezTo>
                  <a:lnTo>
                    <a:pt x="3764044" y="1714510"/>
                  </a:lnTo>
                  <a:lnTo>
                    <a:pt x="3764044" y="3571885"/>
                  </a:lnTo>
                  <a:cubicBezTo>
                    <a:pt x="3764044" y="3940950"/>
                    <a:pt x="3440965" y="4231110"/>
                    <a:pt x="3070157" y="4186447"/>
                  </a:cubicBezTo>
                  <a:cubicBezTo>
                    <a:pt x="3023104" y="4195115"/>
                    <a:pt x="3187191" y="4189333"/>
                    <a:pt x="266111" y="4191010"/>
                  </a:cubicBezTo>
                  <a:cubicBezTo>
                    <a:pt x="70068" y="4191010"/>
                    <a:pt x="-62387" y="3985298"/>
                    <a:pt x="30110" y="3803561"/>
                  </a:cubicBezTo>
                  <a:lnTo>
                    <a:pt x="1077984" y="1748238"/>
                  </a:lnTo>
                  <a:lnTo>
                    <a:pt x="1077984" y="190500"/>
                  </a:lnTo>
                  <a:lnTo>
                    <a:pt x="906534" y="190500"/>
                  </a:lnTo>
                  <a:cubicBezTo>
                    <a:pt x="853928" y="190500"/>
                    <a:pt x="811284" y="147857"/>
                    <a:pt x="811284" y="95250"/>
                  </a:cubicBezTo>
                  <a:cubicBezTo>
                    <a:pt x="811284" y="42643"/>
                    <a:pt x="853928" y="0"/>
                    <a:pt x="906534" y="0"/>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810" name="CuadroTexto 809">
              <a:extLst>
                <a:ext uri="{FF2B5EF4-FFF2-40B4-BE49-F238E27FC236}">
                  <a16:creationId xmlns:a16="http://schemas.microsoft.com/office/drawing/2014/main" id="{7326512F-1689-1ACE-59D9-51D7EA20D106}"/>
                </a:ext>
              </a:extLst>
            </p:cNvPr>
            <p:cNvSpPr txBox="1"/>
            <p:nvPr/>
          </p:nvSpPr>
          <p:spPr>
            <a:xfrm>
              <a:off x="10061130" y="4176598"/>
              <a:ext cx="678391"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PHARMA</a:t>
              </a:r>
              <a:b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SALES</a:t>
              </a:r>
            </a:p>
          </p:txBody>
        </p:sp>
      </p:grpSp>
      <p:grpSp>
        <p:nvGrpSpPr>
          <p:cNvPr id="813" name="Grupo 812">
            <a:extLst>
              <a:ext uri="{FF2B5EF4-FFF2-40B4-BE49-F238E27FC236}">
                <a16:creationId xmlns:a16="http://schemas.microsoft.com/office/drawing/2014/main" id="{DE5BBEB3-C426-75DA-D267-6A3943094188}"/>
              </a:ext>
            </a:extLst>
          </p:cNvPr>
          <p:cNvGrpSpPr/>
          <p:nvPr/>
        </p:nvGrpSpPr>
        <p:grpSpPr>
          <a:xfrm>
            <a:off x="10994729" y="3787001"/>
            <a:ext cx="806631" cy="826057"/>
            <a:chOff x="10921037" y="3719873"/>
            <a:chExt cx="806631" cy="826057"/>
          </a:xfrm>
        </p:grpSpPr>
        <p:grpSp>
          <p:nvGrpSpPr>
            <p:cNvPr id="235" name="Grupo 234">
              <a:extLst>
                <a:ext uri="{FF2B5EF4-FFF2-40B4-BE49-F238E27FC236}">
                  <a16:creationId xmlns:a16="http://schemas.microsoft.com/office/drawing/2014/main" id="{5DA1CD4D-A89B-76FA-A7DB-71B8623464BA}"/>
                </a:ext>
              </a:extLst>
            </p:cNvPr>
            <p:cNvGrpSpPr/>
            <p:nvPr/>
          </p:nvGrpSpPr>
          <p:grpSpPr>
            <a:xfrm>
              <a:off x="11057964" y="3719873"/>
              <a:ext cx="479113" cy="462149"/>
              <a:chOff x="8258492" y="7016486"/>
              <a:chExt cx="3737252" cy="3604910"/>
            </a:xfrm>
          </p:grpSpPr>
          <p:sp>
            <p:nvSpPr>
              <p:cNvPr id="73" name="Forma libre 72">
                <a:extLst>
                  <a:ext uri="{FF2B5EF4-FFF2-40B4-BE49-F238E27FC236}">
                    <a16:creationId xmlns:a16="http://schemas.microsoft.com/office/drawing/2014/main" id="{D718BB83-7132-D995-7894-B4297CA2AA08}"/>
                  </a:ext>
                </a:extLst>
              </p:cNvPr>
              <p:cNvSpPr/>
              <p:nvPr/>
            </p:nvSpPr>
            <p:spPr>
              <a:xfrm>
                <a:off x="8759212" y="10015466"/>
                <a:ext cx="230971" cy="219790"/>
              </a:xfrm>
              <a:custGeom>
                <a:avLst/>
                <a:gdLst>
                  <a:gd name="connsiteX0" fmla="*/ 212055 w 230971"/>
                  <a:gd name="connsiteY0" fmla="*/ 120165 h 219790"/>
                  <a:gd name="connsiteX1" fmla="*/ 208359 w 230971"/>
                  <a:gd name="connsiteY1" fmla="*/ 117108 h 219790"/>
                  <a:gd name="connsiteX2" fmla="*/ 97107 w 230971"/>
                  <a:gd name="connsiteY2" fmla="*/ 16524 h 219790"/>
                  <a:gd name="connsiteX3" fmla="*/ 16716 w 230971"/>
                  <a:gd name="connsiteY3" fmla="*/ 16524 h 219790"/>
                  <a:gd name="connsiteX4" fmla="*/ 16716 w 230971"/>
                  <a:gd name="connsiteY4" fmla="*/ 97295 h 219790"/>
                  <a:gd name="connsiteX5" fmla="*/ 135588 w 230971"/>
                  <a:gd name="connsiteY5" fmla="*/ 205119 h 219790"/>
                  <a:gd name="connsiteX6" fmla="*/ 216303 w 230971"/>
                  <a:gd name="connsiteY6" fmla="*/ 200871 h 219790"/>
                  <a:gd name="connsiteX7" fmla="*/ 212055 w 230971"/>
                  <a:gd name="connsiteY7" fmla="*/ 120165 h 21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971" h="219790">
                    <a:moveTo>
                      <a:pt x="212055" y="120165"/>
                    </a:moveTo>
                    <a:cubicBezTo>
                      <a:pt x="210864" y="119098"/>
                      <a:pt x="209636" y="118079"/>
                      <a:pt x="208359" y="117108"/>
                    </a:cubicBezTo>
                    <a:cubicBezTo>
                      <a:pt x="170259" y="85485"/>
                      <a:pt x="132159" y="51576"/>
                      <a:pt x="97107" y="16524"/>
                    </a:cubicBezTo>
                    <a:cubicBezTo>
                      <a:pt x="74838" y="-5508"/>
                      <a:pt x="38986" y="-5508"/>
                      <a:pt x="16716" y="16524"/>
                    </a:cubicBezTo>
                    <a:cubicBezTo>
                      <a:pt x="-5572" y="38841"/>
                      <a:pt x="-5572" y="74978"/>
                      <a:pt x="16716" y="97295"/>
                    </a:cubicBezTo>
                    <a:cubicBezTo>
                      <a:pt x="54816" y="135395"/>
                      <a:pt x="92916" y="170828"/>
                      <a:pt x="135588" y="205119"/>
                    </a:cubicBezTo>
                    <a:cubicBezTo>
                      <a:pt x="159048" y="226236"/>
                      <a:pt x="195186" y="224330"/>
                      <a:pt x="216303" y="200871"/>
                    </a:cubicBezTo>
                    <a:cubicBezTo>
                      <a:pt x="237411" y="177410"/>
                      <a:pt x="235515" y="141282"/>
                      <a:pt x="212055" y="120165"/>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74" name="Forma libre 73">
                <a:extLst>
                  <a:ext uri="{FF2B5EF4-FFF2-40B4-BE49-F238E27FC236}">
                    <a16:creationId xmlns:a16="http://schemas.microsoft.com/office/drawing/2014/main" id="{F6078A67-C3FA-08BB-3DF1-72B774F6A5ED}"/>
                  </a:ext>
                </a:extLst>
              </p:cNvPr>
              <p:cNvSpPr/>
              <p:nvPr/>
            </p:nvSpPr>
            <p:spPr>
              <a:xfrm>
                <a:off x="8270228" y="8438083"/>
                <a:ext cx="141248" cy="274122"/>
              </a:xfrm>
              <a:custGeom>
                <a:avLst/>
                <a:gdLst>
                  <a:gd name="connsiteX0" fmla="*/ 102927 w 141248"/>
                  <a:gd name="connsiteY0" fmla="*/ 3213 h 274122"/>
                  <a:gd name="connsiteX1" fmla="*/ 30127 w 141248"/>
                  <a:gd name="connsiteY1" fmla="*/ 38322 h 274122"/>
                  <a:gd name="connsiteX2" fmla="*/ 27165 w 141248"/>
                  <a:gd name="connsiteY2" fmla="*/ 52000 h 274122"/>
                  <a:gd name="connsiteX3" fmla="*/ 495 w 141248"/>
                  <a:gd name="connsiteY3" fmla="*/ 210115 h 274122"/>
                  <a:gd name="connsiteX4" fmla="*/ 48882 w 141248"/>
                  <a:gd name="connsiteY4" fmla="*/ 274123 h 274122"/>
                  <a:gd name="connsiteX5" fmla="*/ 56121 w 141248"/>
                  <a:gd name="connsiteY5" fmla="*/ 274123 h 274122"/>
                  <a:gd name="connsiteX6" fmla="*/ 112890 w 141248"/>
                  <a:gd name="connsiteY6" fmla="*/ 223831 h 274122"/>
                  <a:gd name="connsiteX7" fmla="*/ 138036 w 141248"/>
                  <a:gd name="connsiteY7" fmla="*/ 76003 h 274122"/>
                  <a:gd name="connsiteX8" fmla="*/ 102927 w 141248"/>
                  <a:gd name="connsiteY8" fmla="*/ 3213 h 274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248" h="274122">
                    <a:moveTo>
                      <a:pt x="102927" y="3213"/>
                    </a:moveTo>
                    <a:cubicBezTo>
                      <a:pt x="73133" y="-7198"/>
                      <a:pt x="40538" y="8528"/>
                      <a:pt x="30127" y="38322"/>
                    </a:cubicBezTo>
                    <a:cubicBezTo>
                      <a:pt x="28584" y="42742"/>
                      <a:pt x="27584" y="47342"/>
                      <a:pt x="27165" y="52000"/>
                    </a:cubicBezTo>
                    <a:cubicBezTo>
                      <a:pt x="15735" y="104197"/>
                      <a:pt x="6972" y="157156"/>
                      <a:pt x="495" y="210115"/>
                    </a:cubicBezTo>
                    <a:cubicBezTo>
                      <a:pt x="-3582" y="241090"/>
                      <a:pt x="17964" y="269599"/>
                      <a:pt x="48882" y="274123"/>
                    </a:cubicBezTo>
                    <a:lnTo>
                      <a:pt x="56121" y="274123"/>
                    </a:lnTo>
                    <a:cubicBezTo>
                      <a:pt x="85048" y="274142"/>
                      <a:pt x="109423" y="252549"/>
                      <a:pt x="112890" y="223831"/>
                    </a:cubicBezTo>
                    <a:cubicBezTo>
                      <a:pt x="118986" y="174301"/>
                      <a:pt x="127368" y="124390"/>
                      <a:pt x="138036" y="76003"/>
                    </a:cubicBezTo>
                    <a:cubicBezTo>
                      <a:pt x="148447" y="46209"/>
                      <a:pt x="132721" y="13614"/>
                      <a:pt x="102927" y="3213"/>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75" name="Forma libre 74">
                <a:extLst>
                  <a:ext uri="{FF2B5EF4-FFF2-40B4-BE49-F238E27FC236}">
                    <a16:creationId xmlns:a16="http://schemas.microsoft.com/office/drawing/2014/main" id="{B373360E-FC57-6827-1618-8E8D05A68C8B}"/>
                  </a:ext>
                </a:extLst>
              </p:cNvPr>
              <p:cNvSpPr/>
              <p:nvPr/>
            </p:nvSpPr>
            <p:spPr>
              <a:xfrm>
                <a:off x="8498046" y="9679812"/>
                <a:ext cx="198999" cy="242195"/>
              </a:xfrm>
              <a:custGeom>
                <a:avLst/>
                <a:gdLst>
                  <a:gd name="connsiteX0" fmla="*/ 189110 w 198999"/>
                  <a:gd name="connsiteY0" fmla="*/ 152915 h 242195"/>
                  <a:gd name="connsiteX1" fmla="*/ 106433 w 198999"/>
                  <a:gd name="connsiteY1" fmla="*/ 27947 h 242195"/>
                  <a:gd name="connsiteX2" fmla="*/ 28099 w 198999"/>
                  <a:gd name="connsiteY2" fmla="*/ 8040 h 242195"/>
                  <a:gd name="connsiteX3" fmla="*/ 27947 w 198999"/>
                  <a:gd name="connsiteY3" fmla="*/ 8135 h 242195"/>
                  <a:gd name="connsiteX4" fmla="*/ 8040 w 198999"/>
                  <a:gd name="connsiteY4" fmla="*/ 86469 h 242195"/>
                  <a:gd name="connsiteX5" fmla="*/ 8135 w 198999"/>
                  <a:gd name="connsiteY5" fmla="*/ 86621 h 242195"/>
                  <a:gd name="connsiteX6" fmla="*/ 96908 w 198999"/>
                  <a:gd name="connsiteY6" fmla="*/ 220352 h 242195"/>
                  <a:gd name="connsiteX7" fmla="*/ 177156 w 198999"/>
                  <a:gd name="connsiteY7" fmla="*/ 229982 h 242195"/>
                  <a:gd name="connsiteX8" fmla="*/ 189110 w 198999"/>
                  <a:gd name="connsiteY8" fmla="*/ 152915 h 242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999" h="242195">
                    <a:moveTo>
                      <a:pt x="189110" y="152915"/>
                    </a:moveTo>
                    <a:cubicBezTo>
                      <a:pt x="159773" y="112529"/>
                      <a:pt x="131960" y="70619"/>
                      <a:pt x="106433" y="27947"/>
                    </a:cubicBezTo>
                    <a:cubicBezTo>
                      <a:pt x="90298" y="820"/>
                      <a:pt x="55227" y="-8096"/>
                      <a:pt x="28099" y="8040"/>
                    </a:cubicBezTo>
                    <a:cubicBezTo>
                      <a:pt x="28052" y="8068"/>
                      <a:pt x="27995" y="8097"/>
                      <a:pt x="27947" y="8135"/>
                    </a:cubicBezTo>
                    <a:cubicBezTo>
                      <a:pt x="820" y="24270"/>
                      <a:pt x="-8096" y="59341"/>
                      <a:pt x="8040" y="86469"/>
                    </a:cubicBezTo>
                    <a:cubicBezTo>
                      <a:pt x="8068" y="86516"/>
                      <a:pt x="8097" y="86573"/>
                      <a:pt x="8135" y="86621"/>
                    </a:cubicBezTo>
                    <a:cubicBezTo>
                      <a:pt x="35567" y="132341"/>
                      <a:pt x="65285" y="177299"/>
                      <a:pt x="96908" y="220352"/>
                    </a:cubicBezTo>
                    <a:cubicBezTo>
                      <a:pt x="116406" y="245174"/>
                      <a:pt x="152334" y="249479"/>
                      <a:pt x="177156" y="229982"/>
                    </a:cubicBezTo>
                    <a:cubicBezTo>
                      <a:pt x="200769" y="211427"/>
                      <a:pt x="205998" y="177756"/>
                      <a:pt x="189110" y="152915"/>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196" name="Forma libre 195">
                <a:extLst>
                  <a:ext uri="{FF2B5EF4-FFF2-40B4-BE49-F238E27FC236}">
                    <a16:creationId xmlns:a16="http://schemas.microsoft.com/office/drawing/2014/main" id="{59711F47-7E52-9309-A467-4AD930E2C101}"/>
                  </a:ext>
                </a:extLst>
              </p:cNvPr>
              <p:cNvSpPr/>
              <p:nvPr/>
            </p:nvSpPr>
            <p:spPr>
              <a:xfrm>
                <a:off x="8325892" y="9289326"/>
                <a:ext cx="166181" cy="262213"/>
              </a:xfrm>
              <a:custGeom>
                <a:avLst/>
                <a:gdLst>
                  <a:gd name="connsiteX0" fmla="*/ 162001 w 166181"/>
                  <a:gd name="connsiteY0" fmla="*/ 182975 h 262213"/>
                  <a:gd name="connsiteX1" fmla="*/ 112852 w 166181"/>
                  <a:gd name="connsiteY1" fmla="*/ 41243 h 262213"/>
                  <a:gd name="connsiteX2" fmla="*/ 42043 w 166181"/>
                  <a:gd name="connsiteY2" fmla="*/ 2276 h 262213"/>
                  <a:gd name="connsiteX3" fmla="*/ 40462 w 166181"/>
                  <a:gd name="connsiteY3" fmla="*/ 2762 h 262213"/>
                  <a:gd name="connsiteX4" fmla="*/ 2362 w 166181"/>
                  <a:gd name="connsiteY4" fmla="*/ 73628 h 262213"/>
                  <a:gd name="connsiteX5" fmla="*/ 54940 w 166181"/>
                  <a:gd name="connsiteY5" fmla="*/ 226028 h 262213"/>
                  <a:gd name="connsiteX6" fmla="*/ 129997 w 166181"/>
                  <a:gd name="connsiteY6" fmla="*/ 258032 h 262213"/>
                  <a:gd name="connsiteX7" fmla="*/ 162001 w 166181"/>
                  <a:gd name="connsiteY7" fmla="*/ 182975 h 26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181" h="262213">
                    <a:moveTo>
                      <a:pt x="162001" y="182975"/>
                    </a:moveTo>
                    <a:cubicBezTo>
                      <a:pt x="143713" y="136874"/>
                      <a:pt x="126949" y="89249"/>
                      <a:pt x="112852" y="41243"/>
                    </a:cubicBezTo>
                    <a:cubicBezTo>
                      <a:pt x="104060" y="10935"/>
                      <a:pt x="72352" y="-6515"/>
                      <a:pt x="42043" y="2276"/>
                    </a:cubicBezTo>
                    <a:cubicBezTo>
                      <a:pt x="41510" y="2429"/>
                      <a:pt x="40986" y="2591"/>
                      <a:pt x="40462" y="2762"/>
                    </a:cubicBezTo>
                    <a:cubicBezTo>
                      <a:pt x="10468" y="11925"/>
                      <a:pt x="-6534" y="43558"/>
                      <a:pt x="2362" y="73628"/>
                    </a:cubicBezTo>
                    <a:cubicBezTo>
                      <a:pt x="17602" y="124682"/>
                      <a:pt x="35128" y="175736"/>
                      <a:pt x="54940" y="226028"/>
                    </a:cubicBezTo>
                    <a:cubicBezTo>
                      <a:pt x="66827" y="255594"/>
                      <a:pt x="100431" y="269919"/>
                      <a:pt x="129997" y="258032"/>
                    </a:cubicBezTo>
                    <a:cubicBezTo>
                      <a:pt x="159563" y="246145"/>
                      <a:pt x="173888" y="212541"/>
                      <a:pt x="162001" y="182975"/>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197" name="Forma libre 196">
                <a:extLst>
                  <a:ext uri="{FF2B5EF4-FFF2-40B4-BE49-F238E27FC236}">
                    <a16:creationId xmlns:a16="http://schemas.microsoft.com/office/drawing/2014/main" id="{CA98FB05-1E6D-D487-8BC9-35918B4C89E0}"/>
                  </a:ext>
                </a:extLst>
              </p:cNvPr>
              <p:cNvSpPr/>
              <p:nvPr/>
            </p:nvSpPr>
            <p:spPr>
              <a:xfrm>
                <a:off x="8375736" y="8043334"/>
                <a:ext cx="177715" cy="256088"/>
              </a:xfrm>
              <a:custGeom>
                <a:avLst/>
                <a:gdLst>
                  <a:gd name="connsiteX0" fmla="*/ 146256 w 177715"/>
                  <a:gd name="connsiteY0" fmla="*/ 6123 h 256088"/>
                  <a:gd name="connsiteX1" fmla="*/ 69485 w 177715"/>
                  <a:gd name="connsiteY1" fmla="*/ 31459 h 256088"/>
                  <a:gd name="connsiteX2" fmla="*/ 3953 w 177715"/>
                  <a:gd name="connsiteY2" fmla="*/ 178144 h 256088"/>
                  <a:gd name="connsiteX3" fmla="*/ 35957 w 177715"/>
                  <a:gd name="connsiteY3" fmla="*/ 252058 h 256088"/>
                  <a:gd name="connsiteX4" fmla="*/ 110137 w 177715"/>
                  <a:gd name="connsiteY4" fmla="*/ 219969 h 256088"/>
                  <a:gd name="connsiteX5" fmla="*/ 110252 w 177715"/>
                  <a:gd name="connsiteY5" fmla="*/ 219673 h 256088"/>
                  <a:gd name="connsiteX6" fmla="*/ 171593 w 177715"/>
                  <a:gd name="connsiteY6" fmla="*/ 82894 h 256088"/>
                  <a:gd name="connsiteX7" fmla="*/ 146256 w 177715"/>
                  <a:gd name="connsiteY7" fmla="*/ 6123 h 256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715" h="256088">
                    <a:moveTo>
                      <a:pt x="146256" y="6123"/>
                    </a:moveTo>
                    <a:cubicBezTo>
                      <a:pt x="118062" y="-8079"/>
                      <a:pt x="83686" y="3265"/>
                      <a:pt x="69485" y="31459"/>
                    </a:cubicBezTo>
                    <a:cubicBezTo>
                      <a:pt x="45482" y="79084"/>
                      <a:pt x="23384" y="128233"/>
                      <a:pt x="3953" y="178144"/>
                    </a:cubicBezTo>
                    <a:cubicBezTo>
                      <a:pt x="-7506" y="207386"/>
                      <a:pt x="6791" y="240400"/>
                      <a:pt x="35957" y="252058"/>
                    </a:cubicBezTo>
                    <a:cubicBezTo>
                      <a:pt x="65303" y="263679"/>
                      <a:pt x="98517" y="249315"/>
                      <a:pt x="110137" y="219969"/>
                    </a:cubicBezTo>
                    <a:cubicBezTo>
                      <a:pt x="110175" y="219873"/>
                      <a:pt x="110213" y="219769"/>
                      <a:pt x="110252" y="219673"/>
                    </a:cubicBezTo>
                    <a:cubicBezTo>
                      <a:pt x="128540" y="173191"/>
                      <a:pt x="148352" y="127090"/>
                      <a:pt x="171593" y="82894"/>
                    </a:cubicBezTo>
                    <a:cubicBezTo>
                      <a:pt x="185794" y="54700"/>
                      <a:pt x="174450" y="20334"/>
                      <a:pt x="146256" y="6123"/>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198" name="Forma libre 197">
                <a:extLst>
                  <a:ext uri="{FF2B5EF4-FFF2-40B4-BE49-F238E27FC236}">
                    <a16:creationId xmlns:a16="http://schemas.microsoft.com/office/drawing/2014/main" id="{D5317A78-BA80-0AFE-B1D1-E9A51D6BC4A3}"/>
                  </a:ext>
                </a:extLst>
              </p:cNvPr>
              <p:cNvSpPr/>
              <p:nvPr/>
            </p:nvSpPr>
            <p:spPr>
              <a:xfrm>
                <a:off x="8258492" y="8870101"/>
                <a:ext cx="127005" cy="268453"/>
              </a:xfrm>
              <a:custGeom>
                <a:avLst/>
                <a:gdLst>
                  <a:gd name="connsiteX0" fmla="*/ 126550 w 127005"/>
                  <a:gd name="connsiteY0" fmla="*/ 204598 h 268453"/>
                  <a:gd name="connsiteX1" fmla="*/ 126531 w 127005"/>
                  <a:gd name="connsiteY1" fmla="*/ 204445 h 268453"/>
                  <a:gd name="connsiteX2" fmla="*/ 114339 w 127005"/>
                  <a:gd name="connsiteY2" fmla="*/ 55093 h 268453"/>
                  <a:gd name="connsiteX3" fmla="*/ 55093 w 127005"/>
                  <a:gd name="connsiteY3" fmla="*/ 39 h 268453"/>
                  <a:gd name="connsiteX4" fmla="*/ 39 w 127005"/>
                  <a:gd name="connsiteY4" fmla="*/ 59284 h 268453"/>
                  <a:gd name="connsiteX5" fmla="*/ 12993 w 127005"/>
                  <a:gd name="connsiteY5" fmla="*/ 219304 h 268453"/>
                  <a:gd name="connsiteX6" fmla="*/ 68238 w 127005"/>
                  <a:gd name="connsiteY6" fmla="*/ 268453 h 268453"/>
                  <a:gd name="connsiteX7" fmla="*/ 77001 w 127005"/>
                  <a:gd name="connsiteY7" fmla="*/ 268453 h 268453"/>
                  <a:gd name="connsiteX8" fmla="*/ 126550 w 127005"/>
                  <a:gd name="connsiteY8" fmla="*/ 204598 h 268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005" h="268453">
                    <a:moveTo>
                      <a:pt x="126550" y="204598"/>
                    </a:moveTo>
                    <a:cubicBezTo>
                      <a:pt x="126540" y="204550"/>
                      <a:pt x="126540" y="204493"/>
                      <a:pt x="126531" y="204445"/>
                    </a:cubicBezTo>
                    <a:cubicBezTo>
                      <a:pt x="120435" y="154915"/>
                      <a:pt x="116244" y="104623"/>
                      <a:pt x="114339" y="55093"/>
                    </a:cubicBezTo>
                    <a:cubicBezTo>
                      <a:pt x="113186" y="23527"/>
                      <a:pt x="86659" y="-1114"/>
                      <a:pt x="55093" y="39"/>
                    </a:cubicBezTo>
                    <a:cubicBezTo>
                      <a:pt x="23527" y="1191"/>
                      <a:pt x="-1114" y="27718"/>
                      <a:pt x="39" y="59284"/>
                    </a:cubicBezTo>
                    <a:cubicBezTo>
                      <a:pt x="39" y="112624"/>
                      <a:pt x="6135" y="166345"/>
                      <a:pt x="12993" y="219304"/>
                    </a:cubicBezTo>
                    <a:cubicBezTo>
                      <a:pt x="16898" y="247003"/>
                      <a:pt x="40282" y="267796"/>
                      <a:pt x="68238" y="268453"/>
                    </a:cubicBezTo>
                    <a:lnTo>
                      <a:pt x="77001" y="268453"/>
                    </a:lnTo>
                    <a:cubicBezTo>
                      <a:pt x="108319" y="264500"/>
                      <a:pt x="130503" y="235906"/>
                      <a:pt x="126550" y="204598"/>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217" name="Forma libre 216">
                <a:extLst>
                  <a:ext uri="{FF2B5EF4-FFF2-40B4-BE49-F238E27FC236}">
                    <a16:creationId xmlns:a16="http://schemas.microsoft.com/office/drawing/2014/main" id="{09D9C0DD-EAD2-A1D6-BBCF-7EBFF089739E}"/>
                  </a:ext>
                </a:extLst>
              </p:cNvPr>
              <p:cNvSpPr/>
              <p:nvPr/>
            </p:nvSpPr>
            <p:spPr>
              <a:xfrm>
                <a:off x="9627593" y="7116308"/>
                <a:ext cx="273889" cy="138062"/>
              </a:xfrm>
              <a:custGeom>
                <a:avLst/>
                <a:gdLst>
                  <a:gd name="connsiteX0" fmla="*/ 273619 w 273889"/>
                  <a:gd name="connsiteY0" fmla="*/ 51896 h 138062"/>
                  <a:gd name="connsiteX1" fmla="*/ 210945 w 273889"/>
                  <a:gd name="connsiteY1" fmla="*/ 270 h 138062"/>
                  <a:gd name="connsiteX2" fmla="*/ 52068 w 273889"/>
                  <a:gd name="connsiteY2" fmla="*/ 23511 h 138062"/>
                  <a:gd name="connsiteX3" fmla="*/ 252 w 273889"/>
                  <a:gd name="connsiteY3" fmla="*/ 85995 h 138062"/>
                  <a:gd name="connsiteX4" fmla="*/ 62736 w 273889"/>
                  <a:gd name="connsiteY4" fmla="*/ 137811 h 138062"/>
                  <a:gd name="connsiteX5" fmla="*/ 62355 w 273889"/>
                  <a:gd name="connsiteY5" fmla="*/ 136287 h 138062"/>
                  <a:gd name="connsiteX6" fmla="*/ 73404 w 273889"/>
                  <a:gd name="connsiteY6" fmla="*/ 136287 h 138062"/>
                  <a:gd name="connsiteX7" fmla="*/ 221994 w 273889"/>
                  <a:gd name="connsiteY7" fmla="*/ 114570 h 138062"/>
                  <a:gd name="connsiteX8" fmla="*/ 273619 w 273889"/>
                  <a:gd name="connsiteY8" fmla="*/ 51896 h 13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3889" h="138062">
                    <a:moveTo>
                      <a:pt x="273619" y="51896"/>
                    </a:moveTo>
                    <a:cubicBezTo>
                      <a:pt x="270571" y="20330"/>
                      <a:pt x="242511" y="-2778"/>
                      <a:pt x="210945" y="270"/>
                    </a:cubicBezTo>
                    <a:cubicBezTo>
                      <a:pt x="157986" y="5604"/>
                      <a:pt x="104646" y="13224"/>
                      <a:pt x="52068" y="23511"/>
                    </a:cubicBezTo>
                    <a:cubicBezTo>
                      <a:pt x="20502" y="26454"/>
                      <a:pt x="-2691" y="54429"/>
                      <a:pt x="252" y="85995"/>
                    </a:cubicBezTo>
                    <a:cubicBezTo>
                      <a:pt x="3195" y="117561"/>
                      <a:pt x="31170" y="140754"/>
                      <a:pt x="62736" y="137811"/>
                    </a:cubicBezTo>
                    <a:lnTo>
                      <a:pt x="62355" y="136287"/>
                    </a:lnTo>
                    <a:lnTo>
                      <a:pt x="73404" y="136287"/>
                    </a:lnTo>
                    <a:cubicBezTo>
                      <a:pt x="122553" y="126762"/>
                      <a:pt x="172464" y="119523"/>
                      <a:pt x="221994" y="114570"/>
                    </a:cubicBezTo>
                    <a:cubicBezTo>
                      <a:pt x="253560" y="111522"/>
                      <a:pt x="276667" y="83461"/>
                      <a:pt x="273619" y="51896"/>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218" name="Forma libre 217">
                <a:extLst>
                  <a:ext uri="{FF2B5EF4-FFF2-40B4-BE49-F238E27FC236}">
                    <a16:creationId xmlns:a16="http://schemas.microsoft.com/office/drawing/2014/main" id="{7648FA6E-4562-F9F7-DAC0-A3BC978B79AC}"/>
                  </a:ext>
                </a:extLst>
              </p:cNvPr>
              <p:cNvSpPr/>
              <p:nvPr/>
            </p:nvSpPr>
            <p:spPr>
              <a:xfrm>
                <a:off x="8578365" y="7689262"/>
                <a:ext cx="211238" cy="236560"/>
              </a:xfrm>
              <a:custGeom>
                <a:avLst/>
                <a:gdLst>
                  <a:gd name="connsiteX0" fmla="*/ 191848 w 211238"/>
                  <a:gd name="connsiteY0" fmla="*/ 14437 h 236560"/>
                  <a:gd name="connsiteX1" fmla="*/ 110695 w 211238"/>
                  <a:gd name="connsiteY1" fmla="*/ 19390 h 236560"/>
                  <a:gd name="connsiteX2" fmla="*/ 10873 w 211238"/>
                  <a:gd name="connsiteY2" fmla="*/ 145120 h 236560"/>
                  <a:gd name="connsiteX3" fmla="*/ 23627 w 211238"/>
                  <a:gd name="connsiteY3" fmla="*/ 224930 h 236560"/>
                  <a:gd name="connsiteX4" fmla="*/ 56974 w 211238"/>
                  <a:gd name="connsiteY4" fmla="*/ 235798 h 236560"/>
                  <a:gd name="connsiteX5" fmla="*/ 56974 w 211238"/>
                  <a:gd name="connsiteY5" fmla="*/ 236560 h 236560"/>
                  <a:gd name="connsiteX6" fmla="*/ 103456 w 211238"/>
                  <a:gd name="connsiteY6" fmla="*/ 212938 h 236560"/>
                  <a:gd name="connsiteX7" fmla="*/ 196801 w 211238"/>
                  <a:gd name="connsiteY7" fmla="*/ 95590 h 236560"/>
                  <a:gd name="connsiteX8" fmla="*/ 191848 w 211238"/>
                  <a:gd name="connsiteY8" fmla="*/ 14437 h 236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1238" h="236560">
                    <a:moveTo>
                      <a:pt x="191848" y="14437"/>
                    </a:moveTo>
                    <a:cubicBezTo>
                      <a:pt x="168074" y="-6604"/>
                      <a:pt x="131736" y="-4385"/>
                      <a:pt x="110695" y="19390"/>
                    </a:cubicBezTo>
                    <a:cubicBezTo>
                      <a:pt x="75643" y="59395"/>
                      <a:pt x="42115" y="101686"/>
                      <a:pt x="10873" y="145120"/>
                    </a:cubicBezTo>
                    <a:cubicBezTo>
                      <a:pt x="-7643" y="170675"/>
                      <a:pt x="-1938" y="206413"/>
                      <a:pt x="23627" y="224930"/>
                    </a:cubicBezTo>
                    <a:cubicBezTo>
                      <a:pt x="33333" y="231959"/>
                      <a:pt x="44992" y="235760"/>
                      <a:pt x="56974" y="235798"/>
                    </a:cubicBezTo>
                    <a:lnTo>
                      <a:pt x="56974" y="236560"/>
                    </a:lnTo>
                    <a:cubicBezTo>
                      <a:pt x="75367" y="236626"/>
                      <a:pt x="92665" y="227835"/>
                      <a:pt x="103456" y="212938"/>
                    </a:cubicBezTo>
                    <a:cubicBezTo>
                      <a:pt x="132793" y="172552"/>
                      <a:pt x="164035" y="132928"/>
                      <a:pt x="196801" y="95590"/>
                    </a:cubicBezTo>
                    <a:cubicBezTo>
                      <a:pt x="217842" y="71815"/>
                      <a:pt x="215623" y="35487"/>
                      <a:pt x="191848" y="14437"/>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219" name="Forma libre 218">
                <a:extLst>
                  <a:ext uri="{FF2B5EF4-FFF2-40B4-BE49-F238E27FC236}">
                    <a16:creationId xmlns:a16="http://schemas.microsoft.com/office/drawing/2014/main" id="{7BEED52D-E2A8-C065-3678-BCBCA42090F1}"/>
                  </a:ext>
                </a:extLst>
              </p:cNvPr>
              <p:cNvSpPr/>
              <p:nvPr/>
            </p:nvSpPr>
            <p:spPr>
              <a:xfrm>
                <a:off x="10057508" y="7109234"/>
                <a:ext cx="273437" cy="131324"/>
              </a:xfrm>
              <a:custGeom>
                <a:avLst/>
                <a:gdLst>
                  <a:gd name="connsiteX0" fmla="*/ 220323 w 273437"/>
                  <a:gd name="connsiteY0" fmla="*/ 16869 h 131324"/>
                  <a:gd name="connsiteX1" fmla="*/ 60684 w 273437"/>
                  <a:gd name="connsiteY1" fmla="*/ 105 h 131324"/>
                  <a:gd name="connsiteX2" fmla="*/ 105 w 273437"/>
                  <a:gd name="connsiteY2" fmla="*/ 53826 h 131324"/>
                  <a:gd name="connsiteX3" fmla="*/ 53826 w 273437"/>
                  <a:gd name="connsiteY3" fmla="*/ 114405 h 131324"/>
                  <a:gd name="connsiteX4" fmla="*/ 203178 w 273437"/>
                  <a:gd name="connsiteY4" fmla="*/ 131169 h 131324"/>
                  <a:gd name="connsiteX5" fmla="*/ 211941 w 273437"/>
                  <a:gd name="connsiteY5" fmla="*/ 131169 h 131324"/>
                  <a:gd name="connsiteX6" fmla="*/ 273282 w 273437"/>
                  <a:gd name="connsiteY6" fmla="*/ 78210 h 131324"/>
                  <a:gd name="connsiteX7" fmla="*/ 220323 w 273437"/>
                  <a:gd name="connsiteY7" fmla="*/ 16869 h 131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3437" h="131324">
                    <a:moveTo>
                      <a:pt x="220323" y="16869"/>
                    </a:moveTo>
                    <a:cubicBezTo>
                      <a:pt x="167745" y="8868"/>
                      <a:pt x="114024" y="3153"/>
                      <a:pt x="60684" y="105"/>
                    </a:cubicBezTo>
                    <a:cubicBezTo>
                      <a:pt x="29118" y="-1791"/>
                      <a:pt x="2000" y="22260"/>
                      <a:pt x="105" y="53826"/>
                    </a:cubicBezTo>
                    <a:cubicBezTo>
                      <a:pt x="-1791" y="85392"/>
                      <a:pt x="22260" y="112509"/>
                      <a:pt x="53826" y="114405"/>
                    </a:cubicBezTo>
                    <a:cubicBezTo>
                      <a:pt x="104118" y="118215"/>
                      <a:pt x="154029" y="123549"/>
                      <a:pt x="203178" y="131169"/>
                    </a:cubicBezTo>
                    <a:lnTo>
                      <a:pt x="211941" y="131169"/>
                    </a:lnTo>
                    <a:cubicBezTo>
                      <a:pt x="243507" y="133483"/>
                      <a:pt x="270967" y="109776"/>
                      <a:pt x="273282" y="78210"/>
                    </a:cubicBezTo>
                    <a:cubicBezTo>
                      <a:pt x="275596" y="46653"/>
                      <a:pt x="251889" y="19183"/>
                      <a:pt x="220323" y="16869"/>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220" name="Forma libre 219">
                <a:extLst>
                  <a:ext uri="{FF2B5EF4-FFF2-40B4-BE49-F238E27FC236}">
                    <a16:creationId xmlns:a16="http://schemas.microsoft.com/office/drawing/2014/main" id="{DCED63BA-CF53-0F95-320C-44D9CFB2D2C0}"/>
                  </a:ext>
                </a:extLst>
              </p:cNvPr>
              <p:cNvSpPr/>
              <p:nvPr/>
            </p:nvSpPr>
            <p:spPr>
              <a:xfrm>
                <a:off x="8869198" y="7408117"/>
                <a:ext cx="236707" cy="207074"/>
              </a:xfrm>
              <a:custGeom>
                <a:avLst/>
                <a:gdLst>
                  <a:gd name="connsiteX0" fmla="*/ 225580 w 236707"/>
                  <a:gd name="connsiteY0" fmla="*/ 23272 h 207074"/>
                  <a:gd name="connsiteX1" fmla="*/ 148665 w 236707"/>
                  <a:gd name="connsiteY1" fmla="*/ 9070 h 207074"/>
                  <a:gd name="connsiteX2" fmla="*/ 20649 w 236707"/>
                  <a:gd name="connsiteY2" fmla="*/ 105844 h 207074"/>
                  <a:gd name="connsiteX3" fmla="*/ 13220 w 236707"/>
                  <a:gd name="connsiteY3" fmla="*/ 186426 h 207074"/>
                  <a:gd name="connsiteX4" fmla="*/ 93801 w 236707"/>
                  <a:gd name="connsiteY4" fmla="*/ 193855 h 207074"/>
                  <a:gd name="connsiteX5" fmla="*/ 213435 w 236707"/>
                  <a:gd name="connsiteY5" fmla="*/ 103177 h 207074"/>
                  <a:gd name="connsiteX6" fmla="*/ 225580 w 236707"/>
                  <a:gd name="connsiteY6" fmla="*/ 23272 h 207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707" h="207074">
                    <a:moveTo>
                      <a:pt x="225580" y="23272"/>
                    </a:moveTo>
                    <a:cubicBezTo>
                      <a:pt x="207701" y="-1007"/>
                      <a:pt x="174040" y="-7227"/>
                      <a:pt x="148665" y="9070"/>
                    </a:cubicBezTo>
                    <a:cubicBezTo>
                      <a:pt x="104850" y="39169"/>
                      <a:pt x="61797" y="71935"/>
                      <a:pt x="20649" y="105844"/>
                    </a:cubicBezTo>
                    <a:cubicBezTo>
                      <a:pt x="-3659" y="126047"/>
                      <a:pt x="-6983" y="162118"/>
                      <a:pt x="13220" y="186426"/>
                    </a:cubicBezTo>
                    <a:cubicBezTo>
                      <a:pt x="33422" y="210733"/>
                      <a:pt x="69493" y="214058"/>
                      <a:pt x="93801" y="193855"/>
                    </a:cubicBezTo>
                    <a:cubicBezTo>
                      <a:pt x="131901" y="161851"/>
                      <a:pt x="172287" y="131371"/>
                      <a:pt x="213435" y="103177"/>
                    </a:cubicBezTo>
                    <a:cubicBezTo>
                      <a:pt x="238857" y="84470"/>
                      <a:pt x="244287" y="48694"/>
                      <a:pt x="225580" y="23272"/>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grpSp>
            <p:nvGrpSpPr>
              <p:cNvPr id="221" name="Gráfico 70">
                <a:extLst>
                  <a:ext uri="{FF2B5EF4-FFF2-40B4-BE49-F238E27FC236}">
                    <a16:creationId xmlns:a16="http://schemas.microsoft.com/office/drawing/2014/main" id="{5F6DACFE-B876-8DF2-AB17-272703902DA7}"/>
                  </a:ext>
                </a:extLst>
              </p:cNvPr>
              <p:cNvGrpSpPr/>
              <p:nvPr/>
            </p:nvGrpSpPr>
            <p:grpSpPr>
              <a:xfrm>
                <a:off x="9229018" y="7209286"/>
                <a:ext cx="261027" cy="175897"/>
                <a:chOff x="9229018" y="7209286"/>
                <a:chExt cx="261027" cy="175897"/>
              </a:xfrm>
              <a:solidFill>
                <a:srgbClr val="000000"/>
              </a:solidFill>
            </p:grpSpPr>
            <p:sp>
              <p:nvSpPr>
                <p:cNvPr id="222" name="Forma libre 221">
                  <a:extLst>
                    <a:ext uri="{FF2B5EF4-FFF2-40B4-BE49-F238E27FC236}">
                      <a16:creationId xmlns:a16="http://schemas.microsoft.com/office/drawing/2014/main" id="{62A9E98A-A132-8C4A-3427-E071CA3895D6}"/>
                    </a:ext>
                  </a:extLst>
                </p:cNvPr>
                <p:cNvSpPr/>
                <p:nvPr/>
              </p:nvSpPr>
              <p:spPr>
                <a:xfrm>
                  <a:off x="9285326" y="7385145"/>
                  <a:ext cx="1143" cy="38"/>
                </a:xfrm>
                <a:custGeom>
                  <a:avLst/>
                  <a:gdLst>
                    <a:gd name="connsiteX0" fmla="*/ 1143 w 1143"/>
                    <a:gd name="connsiteY0" fmla="*/ 38 h 38"/>
                    <a:gd name="connsiteX1" fmla="*/ 581 w 1143"/>
                    <a:gd name="connsiteY1" fmla="*/ 0 h 38"/>
                    <a:gd name="connsiteX2" fmla="*/ 0 w 1143"/>
                    <a:gd name="connsiteY2" fmla="*/ 38 h 38"/>
                    <a:gd name="connsiteX3" fmla="*/ 1143 w 1143"/>
                    <a:gd name="connsiteY3" fmla="*/ 38 h 38"/>
                  </a:gdLst>
                  <a:ahLst/>
                  <a:cxnLst>
                    <a:cxn ang="0">
                      <a:pos x="connsiteX0" y="connsiteY0"/>
                    </a:cxn>
                    <a:cxn ang="0">
                      <a:pos x="connsiteX1" y="connsiteY1"/>
                    </a:cxn>
                    <a:cxn ang="0">
                      <a:pos x="connsiteX2" y="connsiteY2"/>
                    </a:cxn>
                    <a:cxn ang="0">
                      <a:pos x="connsiteX3" y="connsiteY3"/>
                    </a:cxn>
                  </a:cxnLst>
                  <a:rect l="l" t="t" r="r" b="b"/>
                  <a:pathLst>
                    <a:path w="1143" h="38">
                      <a:moveTo>
                        <a:pt x="1143" y="38"/>
                      </a:moveTo>
                      <a:cubicBezTo>
                        <a:pt x="952" y="38"/>
                        <a:pt x="772" y="0"/>
                        <a:pt x="581" y="0"/>
                      </a:cubicBezTo>
                      <a:cubicBezTo>
                        <a:pt x="381" y="0"/>
                        <a:pt x="190" y="38"/>
                        <a:pt x="0" y="38"/>
                      </a:cubicBezTo>
                      <a:lnTo>
                        <a:pt x="1143" y="38"/>
                      </a:ln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223" name="Forma libre 222">
                  <a:extLst>
                    <a:ext uri="{FF2B5EF4-FFF2-40B4-BE49-F238E27FC236}">
                      <a16:creationId xmlns:a16="http://schemas.microsoft.com/office/drawing/2014/main" id="{CA8F263D-84E9-36B0-022A-CA4A21F23F15}"/>
                    </a:ext>
                  </a:extLst>
                </p:cNvPr>
                <p:cNvSpPr/>
                <p:nvPr/>
              </p:nvSpPr>
              <p:spPr>
                <a:xfrm>
                  <a:off x="9229018" y="7209286"/>
                  <a:ext cx="261027" cy="175868"/>
                </a:xfrm>
                <a:custGeom>
                  <a:avLst/>
                  <a:gdLst>
                    <a:gd name="connsiteX0" fmla="*/ 258971 w 261027"/>
                    <a:gd name="connsiteY0" fmla="*/ 42032 h 175868"/>
                    <a:gd name="connsiteX1" fmla="*/ 188724 w 261027"/>
                    <a:gd name="connsiteY1" fmla="*/ 2056 h 175868"/>
                    <a:gd name="connsiteX2" fmla="*/ 180885 w 261027"/>
                    <a:gd name="connsiteY2" fmla="*/ 4837 h 175868"/>
                    <a:gd name="connsiteX3" fmla="*/ 33057 w 261027"/>
                    <a:gd name="connsiteY3" fmla="*/ 66940 h 175868"/>
                    <a:gd name="connsiteX4" fmla="*/ 5349 w 261027"/>
                    <a:gd name="connsiteY4" fmla="*/ 142864 h 175868"/>
                    <a:gd name="connsiteX5" fmla="*/ 56879 w 261027"/>
                    <a:gd name="connsiteY5" fmla="*/ 175868 h 175868"/>
                    <a:gd name="connsiteX6" fmla="*/ 80682 w 261027"/>
                    <a:gd name="connsiteY6" fmla="*/ 170191 h 175868"/>
                    <a:gd name="connsiteX7" fmla="*/ 218985 w 261027"/>
                    <a:gd name="connsiteY7" fmla="*/ 112279 h 175868"/>
                    <a:gd name="connsiteX8" fmla="*/ 258971 w 261027"/>
                    <a:gd name="connsiteY8" fmla="*/ 42032 h 175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1027" h="175868">
                      <a:moveTo>
                        <a:pt x="258971" y="42032"/>
                      </a:moveTo>
                      <a:cubicBezTo>
                        <a:pt x="250618" y="11600"/>
                        <a:pt x="219166" y="-6307"/>
                        <a:pt x="188724" y="2056"/>
                      </a:cubicBezTo>
                      <a:cubicBezTo>
                        <a:pt x="186048" y="2789"/>
                        <a:pt x="183428" y="3723"/>
                        <a:pt x="180885" y="4837"/>
                      </a:cubicBezTo>
                      <a:cubicBezTo>
                        <a:pt x="130974" y="23125"/>
                        <a:pt x="81063" y="42937"/>
                        <a:pt x="33057" y="66940"/>
                      </a:cubicBezTo>
                      <a:cubicBezTo>
                        <a:pt x="4434" y="80256"/>
                        <a:pt x="-7967" y="114251"/>
                        <a:pt x="5349" y="142864"/>
                      </a:cubicBezTo>
                      <a:cubicBezTo>
                        <a:pt x="14683" y="162933"/>
                        <a:pt x="34781" y="175754"/>
                        <a:pt x="56879" y="175868"/>
                      </a:cubicBezTo>
                      <a:cubicBezTo>
                        <a:pt x="65128" y="175706"/>
                        <a:pt x="73253" y="173792"/>
                        <a:pt x="80682" y="170191"/>
                      </a:cubicBezTo>
                      <a:cubicBezTo>
                        <a:pt x="125640" y="148855"/>
                        <a:pt x="172122" y="129424"/>
                        <a:pt x="218985" y="112279"/>
                      </a:cubicBezTo>
                      <a:cubicBezTo>
                        <a:pt x="249437" y="103916"/>
                        <a:pt x="267334" y="72465"/>
                        <a:pt x="258971" y="42032"/>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grpSp>
          <p:sp>
            <p:nvSpPr>
              <p:cNvPr id="224" name="Forma libre 223">
                <a:extLst>
                  <a:ext uri="{FF2B5EF4-FFF2-40B4-BE49-F238E27FC236}">
                    <a16:creationId xmlns:a16="http://schemas.microsoft.com/office/drawing/2014/main" id="{EAB360AA-79D1-2827-78AA-03EBD85E5548}"/>
                  </a:ext>
                </a:extLst>
              </p:cNvPr>
              <p:cNvSpPr/>
              <p:nvPr/>
            </p:nvSpPr>
            <p:spPr>
              <a:xfrm>
                <a:off x="9909383" y="10503551"/>
                <a:ext cx="269694" cy="117845"/>
              </a:xfrm>
              <a:custGeom>
                <a:avLst/>
                <a:gdLst>
                  <a:gd name="connsiteX0" fmla="*/ 269578 w 269694"/>
                  <a:gd name="connsiteY0" fmla="*/ 53647 h 117845"/>
                  <a:gd name="connsiteX1" fmla="*/ 208809 w 269694"/>
                  <a:gd name="connsiteY1" fmla="*/ 117 h 117845"/>
                  <a:gd name="connsiteX2" fmla="*/ 58694 w 269694"/>
                  <a:gd name="connsiteY2" fmla="*/ 3545 h 117845"/>
                  <a:gd name="connsiteX3" fmla="*/ 21 w 269694"/>
                  <a:gd name="connsiteY3" fmla="*/ 59172 h 117845"/>
                  <a:gd name="connsiteX4" fmla="*/ 55647 w 269694"/>
                  <a:gd name="connsiteY4" fmla="*/ 117845 h 117845"/>
                  <a:gd name="connsiteX5" fmla="*/ 104034 w 269694"/>
                  <a:gd name="connsiteY5" fmla="*/ 117845 h 117845"/>
                  <a:gd name="connsiteX6" fmla="*/ 216048 w 269694"/>
                  <a:gd name="connsiteY6" fmla="*/ 114417 h 117845"/>
                  <a:gd name="connsiteX7" fmla="*/ 269578 w 269694"/>
                  <a:gd name="connsiteY7" fmla="*/ 53647 h 117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694" h="117845">
                    <a:moveTo>
                      <a:pt x="269578" y="53647"/>
                    </a:moveTo>
                    <a:cubicBezTo>
                      <a:pt x="267578" y="22081"/>
                      <a:pt x="240374" y="-1884"/>
                      <a:pt x="208809" y="117"/>
                    </a:cubicBezTo>
                    <a:cubicBezTo>
                      <a:pt x="158898" y="3927"/>
                      <a:pt x="108606" y="5070"/>
                      <a:pt x="58694" y="3545"/>
                    </a:cubicBezTo>
                    <a:cubicBezTo>
                      <a:pt x="27129" y="2707"/>
                      <a:pt x="859" y="27606"/>
                      <a:pt x="21" y="59172"/>
                    </a:cubicBezTo>
                    <a:cubicBezTo>
                      <a:pt x="-818" y="90738"/>
                      <a:pt x="24081" y="117007"/>
                      <a:pt x="55647" y="117845"/>
                    </a:cubicBezTo>
                    <a:lnTo>
                      <a:pt x="104034" y="117845"/>
                    </a:lnTo>
                    <a:cubicBezTo>
                      <a:pt x="142134" y="117845"/>
                      <a:pt x="180234" y="117845"/>
                      <a:pt x="216048" y="114417"/>
                    </a:cubicBezTo>
                    <a:cubicBezTo>
                      <a:pt x="247613" y="112426"/>
                      <a:pt x="271578" y="85213"/>
                      <a:pt x="269578" y="53647"/>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225" name="Forma libre 224">
                <a:extLst>
                  <a:ext uri="{FF2B5EF4-FFF2-40B4-BE49-F238E27FC236}">
                    <a16:creationId xmlns:a16="http://schemas.microsoft.com/office/drawing/2014/main" id="{C852DD92-BC0E-2D87-FE97-BF73E3F642F7}"/>
                  </a:ext>
                </a:extLst>
              </p:cNvPr>
              <p:cNvSpPr/>
              <p:nvPr/>
            </p:nvSpPr>
            <p:spPr>
              <a:xfrm>
                <a:off x="11558404" y="9231447"/>
                <a:ext cx="159481" cy="261752"/>
              </a:xfrm>
              <a:custGeom>
                <a:avLst/>
                <a:gdLst>
                  <a:gd name="connsiteX0" fmla="*/ 116363 w 159481"/>
                  <a:gd name="connsiteY0" fmla="*/ 1777 h 261752"/>
                  <a:gd name="connsiteX1" fmla="*/ 46831 w 159481"/>
                  <a:gd name="connsiteY1" fmla="*/ 43115 h 261752"/>
                  <a:gd name="connsiteX2" fmla="*/ 3016 w 159481"/>
                  <a:gd name="connsiteY2" fmla="*/ 186371 h 261752"/>
                  <a:gd name="connsiteX3" fmla="*/ 37687 w 159481"/>
                  <a:gd name="connsiteY3" fmla="*/ 258380 h 261752"/>
                  <a:gd name="connsiteX4" fmla="*/ 110782 w 159481"/>
                  <a:gd name="connsiteY4" fmla="*/ 223881 h 261752"/>
                  <a:gd name="connsiteX5" fmla="*/ 110839 w 159481"/>
                  <a:gd name="connsiteY5" fmla="*/ 223709 h 261752"/>
                  <a:gd name="connsiteX6" fmla="*/ 157702 w 159481"/>
                  <a:gd name="connsiteY6" fmla="*/ 71309 h 261752"/>
                  <a:gd name="connsiteX7" fmla="*/ 116363 w 159481"/>
                  <a:gd name="connsiteY7" fmla="*/ 1777 h 261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481" h="261752">
                    <a:moveTo>
                      <a:pt x="116363" y="1777"/>
                    </a:moveTo>
                    <a:cubicBezTo>
                      <a:pt x="85750" y="-6005"/>
                      <a:pt x="54613" y="12502"/>
                      <a:pt x="46831" y="43115"/>
                    </a:cubicBezTo>
                    <a:cubicBezTo>
                      <a:pt x="34639" y="91502"/>
                      <a:pt x="19780" y="139508"/>
                      <a:pt x="3016" y="186371"/>
                    </a:cubicBezTo>
                    <a:cubicBezTo>
                      <a:pt x="-6919" y="215803"/>
                      <a:pt x="8474" y="247788"/>
                      <a:pt x="37687" y="258380"/>
                    </a:cubicBezTo>
                    <a:cubicBezTo>
                      <a:pt x="67395" y="269039"/>
                      <a:pt x="100123" y="253589"/>
                      <a:pt x="110782" y="223881"/>
                    </a:cubicBezTo>
                    <a:cubicBezTo>
                      <a:pt x="110801" y="223824"/>
                      <a:pt x="110820" y="223766"/>
                      <a:pt x="110839" y="223709"/>
                    </a:cubicBezTo>
                    <a:cubicBezTo>
                      <a:pt x="128746" y="173417"/>
                      <a:pt x="144367" y="121982"/>
                      <a:pt x="157702" y="71309"/>
                    </a:cubicBezTo>
                    <a:cubicBezTo>
                      <a:pt x="165493" y="40696"/>
                      <a:pt x="146977" y="9568"/>
                      <a:pt x="116363" y="1777"/>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226" name="Forma libre 225">
                <a:extLst>
                  <a:ext uri="{FF2B5EF4-FFF2-40B4-BE49-F238E27FC236}">
                    <a16:creationId xmlns:a16="http://schemas.microsoft.com/office/drawing/2014/main" id="{A9605A97-13EF-2E47-DD1F-BB84FDC13D63}"/>
                  </a:ext>
                </a:extLst>
              </p:cNvPr>
              <p:cNvSpPr/>
              <p:nvPr/>
            </p:nvSpPr>
            <p:spPr>
              <a:xfrm>
                <a:off x="11602714" y="8381248"/>
                <a:ext cx="145756" cy="263139"/>
              </a:xfrm>
              <a:custGeom>
                <a:avLst/>
                <a:gdLst>
                  <a:gd name="connsiteX0" fmla="*/ 145014 w 145756"/>
                  <a:gd name="connsiteY0" fmla="*/ 197608 h 263139"/>
                  <a:gd name="connsiteX1" fmla="*/ 111867 w 145756"/>
                  <a:gd name="connsiteY1" fmla="*/ 40636 h 263139"/>
                  <a:gd name="connsiteX2" fmla="*/ 40630 w 145756"/>
                  <a:gd name="connsiteY2" fmla="*/ 2460 h 263139"/>
                  <a:gd name="connsiteX3" fmla="*/ 1377 w 145756"/>
                  <a:gd name="connsiteY3" fmla="*/ 69592 h 263139"/>
                  <a:gd name="connsiteX4" fmla="*/ 32619 w 145756"/>
                  <a:gd name="connsiteY4" fmla="*/ 216277 h 263139"/>
                  <a:gd name="connsiteX5" fmla="*/ 88245 w 145756"/>
                  <a:gd name="connsiteY5" fmla="*/ 263140 h 263139"/>
                  <a:gd name="connsiteX6" fmla="*/ 97770 w 145756"/>
                  <a:gd name="connsiteY6" fmla="*/ 263140 h 263139"/>
                  <a:gd name="connsiteX7" fmla="*/ 145014 w 145756"/>
                  <a:gd name="connsiteY7" fmla="*/ 197608 h 263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756" h="263139">
                    <a:moveTo>
                      <a:pt x="145014" y="197608"/>
                    </a:moveTo>
                    <a:cubicBezTo>
                      <a:pt x="136251" y="145030"/>
                      <a:pt x="125202" y="92071"/>
                      <a:pt x="111867" y="40636"/>
                    </a:cubicBezTo>
                    <a:cubicBezTo>
                      <a:pt x="102742" y="10423"/>
                      <a:pt x="70843" y="-6675"/>
                      <a:pt x="40630" y="2460"/>
                    </a:cubicBezTo>
                    <a:cubicBezTo>
                      <a:pt x="11988" y="11108"/>
                      <a:pt x="-5128" y="40388"/>
                      <a:pt x="1377" y="69592"/>
                    </a:cubicBezTo>
                    <a:cubicBezTo>
                      <a:pt x="13950" y="117598"/>
                      <a:pt x="24237" y="167128"/>
                      <a:pt x="32619" y="216277"/>
                    </a:cubicBezTo>
                    <a:cubicBezTo>
                      <a:pt x="37543" y="243204"/>
                      <a:pt x="60870" y="262854"/>
                      <a:pt x="88245" y="263140"/>
                    </a:cubicBezTo>
                    <a:lnTo>
                      <a:pt x="97770" y="263140"/>
                    </a:lnTo>
                    <a:cubicBezTo>
                      <a:pt x="128907" y="258082"/>
                      <a:pt x="150053" y="228755"/>
                      <a:pt x="145014" y="197608"/>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227" name="Forma libre 226">
                <a:extLst>
                  <a:ext uri="{FF2B5EF4-FFF2-40B4-BE49-F238E27FC236}">
                    <a16:creationId xmlns:a16="http://schemas.microsoft.com/office/drawing/2014/main" id="{A6AA0532-2C3B-45F8-6ED7-A0009C845570}"/>
                  </a:ext>
                </a:extLst>
              </p:cNvPr>
              <p:cNvSpPr/>
              <p:nvPr/>
            </p:nvSpPr>
            <p:spPr>
              <a:xfrm>
                <a:off x="8665925" y="7016486"/>
                <a:ext cx="3329819" cy="3195411"/>
              </a:xfrm>
              <a:custGeom>
                <a:avLst/>
                <a:gdLst>
                  <a:gd name="connsiteX0" fmla="*/ 3324700 w 3329819"/>
                  <a:gd name="connsiteY0" fmla="*/ 906412 h 3195411"/>
                  <a:gd name="connsiteX1" fmla="*/ 3313832 w 3329819"/>
                  <a:gd name="connsiteY1" fmla="*/ 890677 h 3195411"/>
                  <a:gd name="connsiteX2" fmla="*/ 3212867 w 3329819"/>
                  <a:gd name="connsiteY2" fmla="*/ 785521 h 3195411"/>
                  <a:gd name="connsiteX3" fmla="*/ 3157622 w 3329819"/>
                  <a:gd name="connsiteY3" fmla="*/ 771805 h 3195411"/>
                  <a:gd name="connsiteX4" fmla="*/ 2975504 w 3329819"/>
                  <a:gd name="connsiteY4" fmla="*/ 827050 h 3195411"/>
                  <a:gd name="connsiteX5" fmla="*/ 2762144 w 3329819"/>
                  <a:gd name="connsiteY5" fmla="*/ 600736 h 3195411"/>
                  <a:gd name="connsiteX6" fmla="*/ 3241061 w 3329819"/>
                  <a:gd name="connsiteY6" fmla="*/ 334036 h 3195411"/>
                  <a:gd name="connsiteX7" fmla="*/ 3268312 w 3329819"/>
                  <a:gd name="connsiteY7" fmla="*/ 260245 h 3195411"/>
                  <a:gd name="connsiteX8" fmla="*/ 3257444 w 3329819"/>
                  <a:gd name="connsiteY8" fmla="*/ 244510 h 3195411"/>
                  <a:gd name="connsiteX9" fmla="*/ 3122951 w 3329819"/>
                  <a:gd name="connsiteY9" fmla="*/ 110017 h 3195411"/>
                  <a:gd name="connsiteX10" fmla="*/ 3067706 w 3329819"/>
                  <a:gd name="connsiteY10" fmla="*/ 97063 h 3195411"/>
                  <a:gd name="connsiteX11" fmla="*/ 2460773 w 3329819"/>
                  <a:gd name="connsiteY11" fmla="*/ 280705 h 3195411"/>
                  <a:gd name="connsiteX12" fmla="*/ 2256557 w 3329819"/>
                  <a:gd name="connsiteY12" fmla="*/ 63916 h 3195411"/>
                  <a:gd name="connsiteX13" fmla="*/ 2046245 w 3329819"/>
                  <a:gd name="connsiteY13" fmla="*/ 14005 h 3195411"/>
                  <a:gd name="connsiteX14" fmla="*/ 2042816 w 3329819"/>
                  <a:gd name="connsiteY14" fmla="*/ 14005 h 3195411"/>
                  <a:gd name="connsiteX15" fmla="*/ 1920515 w 3329819"/>
                  <a:gd name="connsiteY15" fmla="*/ 136306 h 3195411"/>
                  <a:gd name="connsiteX16" fmla="*/ 1908323 w 3329819"/>
                  <a:gd name="connsiteY16" fmla="*/ 181264 h 3195411"/>
                  <a:gd name="connsiteX17" fmla="*/ 1885082 w 3329819"/>
                  <a:gd name="connsiteY17" fmla="*/ 173263 h 3195411"/>
                  <a:gd name="connsiteX18" fmla="*/ 1813073 w 3329819"/>
                  <a:gd name="connsiteY18" fmla="*/ 210220 h 3195411"/>
                  <a:gd name="connsiteX19" fmla="*/ 1850030 w 3329819"/>
                  <a:gd name="connsiteY19" fmla="*/ 282229 h 3195411"/>
                  <a:gd name="connsiteX20" fmla="*/ 1938041 w 3329819"/>
                  <a:gd name="connsiteY20" fmla="*/ 313471 h 3195411"/>
                  <a:gd name="connsiteX21" fmla="*/ 1968902 w 3329819"/>
                  <a:gd name="connsiteY21" fmla="*/ 351571 h 3195411"/>
                  <a:gd name="connsiteX22" fmla="*/ 2184167 w 3329819"/>
                  <a:gd name="connsiteY22" fmla="*/ 555787 h 3195411"/>
                  <a:gd name="connsiteX23" fmla="*/ 2122445 w 3329819"/>
                  <a:gd name="connsiteY23" fmla="*/ 759622 h 3195411"/>
                  <a:gd name="connsiteX24" fmla="*/ 249697 w 3329819"/>
                  <a:gd name="connsiteY24" fmla="*/ 1072976 h 3195411"/>
                  <a:gd name="connsiteX25" fmla="*/ 563050 w 3329819"/>
                  <a:gd name="connsiteY25" fmla="*/ 2945715 h 3195411"/>
                  <a:gd name="connsiteX26" fmla="*/ 2435799 w 3329819"/>
                  <a:gd name="connsiteY26" fmla="*/ 2632361 h 3195411"/>
                  <a:gd name="connsiteX27" fmla="*/ 2406290 w 3329819"/>
                  <a:gd name="connsiteY27" fmla="*/ 1033171 h 3195411"/>
                  <a:gd name="connsiteX28" fmla="*/ 2503826 w 3329819"/>
                  <a:gd name="connsiteY28" fmla="*/ 857149 h 3195411"/>
                  <a:gd name="connsiteX29" fmla="*/ 2730140 w 3329819"/>
                  <a:gd name="connsiteY29" fmla="*/ 1070509 h 3195411"/>
                  <a:gd name="connsiteX30" fmla="*/ 2675657 w 3329819"/>
                  <a:gd name="connsiteY30" fmla="*/ 1250722 h 3195411"/>
                  <a:gd name="connsiteX31" fmla="*/ 2688992 w 3329819"/>
                  <a:gd name="connsiteY31" fmla="*/ 1307110 h 3195411"/>
                  <a:gd name="connsiteX32" fmla="*/ 2803292 w 3329819"/>
                  <a:gd name="connsiteY32" fmla="*/ 1421410 h 3195411"/>
                  <a:gd name="connsiteX33" fmla="*/ 2878797 w 3329819"/>
                  <a:gd name="connsiteY33" fmla="*/ 1401321 h 3195411"/>
                  <a:gd name="connsiteX34" fmla="*/ 2879492 w 3329819"/>
                  <a:gd name="connsiteY34" fmla="*/ 1400074 h 3195411"/>
                  <a:gd name="connsiteX35" fmla="*/ 3028463 w 3329819"/>
                  <a:gd name="connsiteY35" fmla="*/ 1126897 h 3195411"/>
                  <a:gd name="connsiteX36" fmla="*/ 3297449 w 3329819"/>
                  <a:gd name="connsiteY36" fmla="*/ 980212 h 3195411"/>
                  <a:gd name="connsiteX37" fmla="*/ 3324700 w 3329819"/>
                  <a:gd name="connsiteY37" fmla="*/ 906412 h 3195411"/>
                  <a:gd name="connsiteX38" fmla="*/ 479954 w 3329819"/>
                  <a:gd name="connsiteY38" fmla="*/ 981726 h 3195411"/>
                  <a:gd name="connsiteX39" fmla="*/ 1345967 w 3329819"/>
                  <a:gd name="connsiteY39" fmla="*/ 623586 h 3195411"/>
                  <a:gd name="connsiteX40" fmla="*/ 1422167 w 3329819"/>
                  <a:gd name="connsiteY40" fmla="*/ 625872 h 3195411"/>
                  <a:gd name="connsiteX41" fmla="*/ 1429787 w 3329819"/>
                  <a:gd name="connsiteY41" fmla="*/ 1170702 h 3195411"/>
                  <a:gd name="connsiteX42" fmla="*/ 1155467 w 3329819"/>
                  <a:gd name="connsiteY42" fmla="*/ 1423686 h 3195411"/>
                  <a:gd name="connsiteX43" fmla="*/ 834284 w 3329819"/>
                  <a:gd name="connsiteY43" fmla="*/ 1766586 h 3195411"/>
                  <a:gd name="connsiteX44" fmla="*/ 1055645 w 3329819"/>
                  <a:gd name="connsiteY44" fmla="*/ 2123964 h 3195411"/>
                  <a:gd name="connsiteX45" fmla="*/ 1263671 w 3329819"/>
                  <a:gd name="connsiteY45" fmla="*/ 2248170 h 3195411"/>
                  <a:gd name="connsiteX46" fmla="*/ 1264776 w 3329819"/>
                  <a:gd name="connsiteY46" fmla="*/ 2249208 h 3195411"/>
                  <a:gd name="connsiteX47" fmla="*/ 1262147 w 3329819"/>
                  <a:gd name="connsiteY47" fmla="*/ 2250075 h 3195411"/>
                  <a:gd name="connsiteX48" fmla="*/ 1082315 w 3329819"/>
                  <a:gd name="connsiteY48" fmla="*/ 2280936 h 3195411"/>
                  <a:gd name="connsiteX49" fmla="*/ 431567 w 3329819"/>
                  <a:gd name="connsiteY49" fmla="*/ 1967373 h 3195411"/>
                  <a:gd name="connsiteX50" fmla="*/ 123719 w 3329819"/>
                  <a:gd name="connsiteY50" fmla="*/ 1780302 h 3195411"/>
                  <a:gd name="connsiteX51" fmla="*/ 479954 w 3329819"/>
                  <a:gd name="connsiteY51" fmla="*/ 981726 h 3195411"/>
                  <a:gd name="connsiteX52" fmla="*/ 2575073 w 3329819"/>
                  <a:gd name="connsiteY52" fmla="*/ 1849644 h 3195411"/>
                  <a:gd name="connsiteX53" fmla="*/ 2575454 w 3329819"/>
                  <a:gd name="connsiteY53" fmla="*/ 1849644 h 3195411"/>
                  <a:gd name="connsiteX54" fmla="*/ 1729253 w 3329819"/>
                  <a:gd name="connsiteY54" fmla="*/ 3016647 h 3195411"/>
                  <a:gd name="connsiteX55" fmla="*/ 1776116 w 3329819"/>
                  <a:gd name="connsiteY55" fmla="*/ 2757186 h 3195411"/>
                  <a:gd name="connsiteX56" fmla="*/ 2004716 w 3329819"/>
                  <a:gd name="connsiteY56" fmla="*/ 2505726 h 3195411"/>
                  <a:gd name="connsiteX57" fmla="*/ 2391431 w 3329819"/>
                  <a:gd name="connsiteY57" fmla="*/ 1922415 h 3195411"/>
                  <a:gd name="connsiteX58" fmla="*/ 2565548 w 3329819"/>
                  <a:gd name="connsiteY58" fmla="*/ 1696863 h 3195411"/>
                  <a:gd name="connsiteX59" fmla="*/ 2575073 w 3329819"/>
                  <a:gd name="connsiteY59" fmla="*/ 1849644 h 3195411"/>
                  <a:gd name="connsiteX60" fmla="*/ 2504207 w 3329819"/>
                  <a:gd name="connsiteY60" fmla="*/ 1437402 h 3195411"/>
                  <a:gd name="connsiteX61" fmla="*/ 2546117 w 3329819"/>
                  <a:gd name="connsiteY61" fmla="*/ 1584087 h 3195411"/>
                  <a:gd name="connsiteX62" fmla="*/ 2281322 w 3329819"/>
                  <a:gd name="connsiteY62" fmla="*/ 1911366 h 3195411"/>
                  <a:gd name="connsiteX63" fmla="*/ 1933850 w 3329819"/>
                  <a:gd name="connsiteY63" fmla="*/ 2422668 h 3195411"/>
                  <a:gd name="connsiteX64" fmla="*/ 1678580 w 3329819"/>
                  <a:gd name="connsiteY64" fmla="*/ 2705751 h 3195411"/>
                  <a:gd name="connsiteX65" fmla="*/ 1621430 w 3329819"/>
                  <a:gd name="connsiteY65" fmla="*/ 3045984 h 3195411"/>
                  <a:gd name="connsiteX66" fmla="*/ 151151 w 3329819"/>
                  <a:gd name="connsiteY66" fmla="*/ 2122840 h 3195411"/>
                  <a:gd name="connsiteX67" fmla="*/ 121052 w 3329819"/>
                  <a:gd name="connsiteY67" fmla="*/ 1892697 h 3195411"/>
                  <a:gd name="connsiteX68" fmla="*/ 356510 w 3329819"/>
                  <a:gd name="connsiteY68" fmla="*/ 2050431 h 3195411"/>
                  <a:gd name="connsiteX69" fmla="*/ 1086887 w 3329819"/>
                  <a:gd name="connsiteY69" fmla="*/ 2393331 h 3195411"/>
                  <a:gd name="connsiteX70" fmla="*/ 1315487 w 3329819"/>
                  <a:gd name="connsiteY70" fmla="*/ 2349897 h 3195411"/>
                  <a:gd name="connsiteX71" fmla="*/ 1378733 w 3329819"/>
                  <a:gd name="connsiteY71" fmla="*/ 2278269 h 3195411"/>
                  <a:gd name="connsiteX72" fmla="*/ 1351301 w 3329819"/>
                  <a:gd name="connsiteY72" fmla="*/ 2178828 h 3195411"/>
                  <a:gd name="connsiteX73" fmla="*/ 1102127 w 3329819"/>
                  <a:gd name="connsiteY73" fmla="*/ 2022999 h 3195411"/>
                  <a:gd name="connsiteX74" fmla="*/ 937535 w 3329819"/>
                  <a:gd name="connsiteY74" fmla="*/ 1811544 h 3195411"/>
                  <a:gd name="connsiteX75" fmla="*/ 1228619 w 3329819"/>
                  <a:gd name="connsiteY75" fmla="*/ 1506744 h 3195411"/>
                  <a:gd name="connsiteX76" fmla="*/ 1514750 w 3329819"/>
                  <a:gd name="connsiteY76" fmla="*/ 1240044 h 3195411"/>
                  <a:gd name="connsiteX77" fmla="*/ 1593998 w 3329819"/>
                  <a:gd name="connsiteY77" fmla="*/ 644541 h 3195411"/>
                  <a:gd name="connsiteX78" fmla="*/ 2089298 w 3329819"/>
                  <a:gd name="connsiteY78" fmla="*/ 869712 h 3195411"/>
                  <a:gd name="connsiteX79" fmla="*/ 2001668 w 3329819"/>
                  <a:gd name="connsiteY79" fmla="*/ 1158891 h 3195411"/>
                  <a:gd name="connsiteX80" fmla="*/ 2015003 w 3329819"/>
                  <a:gd name="connsiteY80" fmla="*/ 1215279 h 3195411"/>
                  <a:gd name="connsiteX81" fmla="*/ 2161688 w 3329819"/>
                  <a:gd name="connsiteY81" fmla="*/ 1358916 h 3195411"/>
                  <a:gd name="connsiteX82" fmla="*/ 2237193 w 3329819"/>
                  <a:gd name="connsiteY82" fmla="*/ 1338828 h 3195411"/>
                  <a:gd name="connsiteX83" fmla="*/ 2237888 w 3329819"/>
                  <a:gd name="connsiteY83" fmla="*/ 1337580 h 3195411"/>
                  <a:gd name="connsiteX84" fmla="*/ 2348759 w 3329819"/>
                  <a:gd name="connsiteY84" fmla="*/ 1137174 h 3195411"/>
                  <a:gd name="connsiteX85" fmla="*/ 2504207 w 3329819"/>
                  <a:gd name="connsiteY85" fmla="*/ 1437402 h 3195411"/>
                  <a:gd name="connsiteX86" fmla="*/ 3015128 w 3329819"/>
                  <a:gd name="connsiteY86" fmla="*/ 1011825 h 3195411"/>
                  <a:gd name="connsiteX87" fmla="*/ 2965979 w 3329819"/>
                  <a:gd name="connsiteY87" fmla="*/ 1036209 h 3195411"/>
                  <a:gd name="connsiteX88" fmla="*/ 2940833 w 3329819"/>
                  <a:gd name="connsiteY88" fmla="*/ 1061736 h 3195411"/>
                  <a:gd name="connsiteX89" fmla="*/ 2916449 w 3329819"/>
                  <a:gd name="connsiteY89" fmla="*/ 1111266 h 3195411"/>
                  <a:gd name="connsiteX90" fmla="*/ 2821580 w 3329819"/>
                  <a:gd name="connsiteY90" fmla="*/ 1282716 h 3195411"/>
                  <a:gd name="connsiteX91" fmla="*/ 2793767 w 3329819"/>
                  <a:gd name="connsiteY91" fmla="*/ 1252236 h 3195411"/>
                  <a:gd name="connsiteX92" fmla="*/ 2849012 w 3329819"/>
                  <a:gd name="connsiteY92" fmla="*/ 1069737 h 3195411"/>
                  <a:gd name="connsiteX93" fmla="*/ 2831105 w 3329819"/>
                  <a:gd name="connsiteY93" fmla="*/ 1011063 h 3195411"/>
                  <a:gd name="connsiteX94" fmla="*/ 2530496 w 3329819"/>
                  <a:gd name="connsiteY94" fmla="*/ 727980 h 3195411"/>
                  <a:gd name="connsiteX95" fmla="*/ 2452372 w 3329819"/>
                  <a:gd name="connsiteY95" fmla="*/ 728675 h 3195411"/>
                  <a:gd name="connsiteX96" fmla="*/ 2450867 w 3329819"/>
                  <a:gd name="connsiteY96" fmla="*/ 730266 h 3195411"/>
                  <a:gd name="connsiteX97" fmla="*/ 2176547 w 3329819"/>
                  <a:gd name="connsiteY97" fmla="*/ 1221756 h 3195411"/>
                  <a:gd name="connsiteX98" fmla="*/ 2117492 w 3329819"/>
                  <a:gd name="connsiteY98" fmla="*/ 1162701 h 3195411"/>
                  <a:gd name="connsiteX99" fmla="*/ 2301896 w 3329819"/>
                  <a:gd name="connsiteY99" fmla="*/ 555006 h 3195411"/>
                  <a:gd name="connsiteX100" fmla="*/ 2283989 w 3329819"/>
                  <a:gd name="connsiteY100" fmla="*/ 495951 h 3195411"/>
                  <a:gd name="connsiteX101" fmla="*/ 2044721 w 3329819"/>
                  <a:gd name="connsiteY101" fmla="*/ 270780 h 3195411"/>
                  <a:gd name="connsiteX102" fmla="*/ 2023004 w 3329819"/>
                  <a:gd name="connsiteY102" fmla="*/ 179340 h 3195411"/>
                  <a:gd name="connsiteX103" fmla="*/ 2085107 w 3329819"/>
                  <a:gd name="connsiteY103" fmla="*/ 117618 h 3195411"/>
                  <a:gd name="connsiteX104" fmla="*/ 2087012 w 3329819"/>
                  <a:gd name="connsiteY104" fmla="*/ 117618 h 3195411"/>
                  <a:gd name="connsiteX105" fmla="*/ 2176166 w 3329819"/>
                  <a:gd name="connsiteY105" fmla="*/ 140478 h 3195411"/>
                  <a:gd name="connsiteX106" fmla="*/ 2404766 w 3329819"/>
                  <a:gd name="connsiteY106" fmla="*/ 382032 h 3195411"/>
                  <a:gd name="connsiteX107" fmla="*/ 2461154 w 3329819"/>
                  <a:gd name="connsiteY107" fmla="*/ 397272 h 3195411"/>
                  <a:gd name="connsiteX108" fmla="*/ 3070754 w 3329819"/>
                  <a:gd name="connsiteY108" fmla="*/ 213249 h 3195411"/>
                  <a:gd name="connsiteX109" fmla="*/ 3129809 w 3329819"/>
                  <a:gd name="connsiteY109" fmla="*/ 272304 h 3195411"/>
                  <a:gd name="connsiteX110" fmla="*/ 2645939 w 3329819"/>
                  <a:gd name="connsiteY110" fmla="*/ 538242 h 3195411"/>
                  <a:gd name="connsiteX111" fmla="*/ 2623908 w 3329819"/>
                  <a:gd name="connsiteY111" fmla="*/ 613194 h 3195411"/>
                  <a:gd name="connsiteX112" fmla="*/ 2624603 w 3329819"/>
                  <a:gd name="connsiteY112" fmla="*/ 614442 h 3195411"/>
                  <a:gd name="connsiteX113" fmla="*/ 2918354 w 3329819"/>
                  <a:gd name="connsiteY113" fmla="*/ 928767 h 3195411"/>
                  <a:gd name="connsiteX114" fmla="*/ 2974742 w 3329819"/>
                  <a:gd name="connsiteY114" fmla="*/ 943626 h 3195411"/>
                  <a:gd name="connsiteX115" fmla="*/ 3158003 w 3329819"/>
                  <a:gd name="connsiteY115" fmla="*/ 888381 h 3195411"/>
                  <a:gd name="connsiteX116" fmla="*/ 3186578 w 3329819"/>
                  <a:gd name="connsiteY116" fmla="*/ 916956 h 3195411"/>
                  <a:gd name="connsiteX117" fmla="*/ 3015128 w 3329819"/>
                  <a:gd name="connsiteY117" fmla="*/ 1011825 h 3195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3329819" h="3195411">
                    <a:moveTo>
                      <a:pt x="3324700" y="906412"/>
                    </a:moveTo>
                    <a:cubicBezTo>
                      <a:pt x="3322014" y="900573"/>
                      <a:pt x="3318338" y="895249"/>
                      <a:pt x="3313832" y="890677"/>
                    </a:cubicBezTo>
                    <a:lnTo>
                      <a:pt x="3212867" y="785521"/>
                    </a:lnTo>
                    <a:cubicBezTo>
                      <a:pt x="3198408" y="771081"/>
                      <a:pt x="3177158" y="765804"/>
                      <a:pt x="3157622" y="771805"/>
                    </a:cubicBezTo>
                    <a:lnTo>
                      <a:pt x="2975504" y="827050"/>
                    </a:lnTo>
                    <a:lnTo>
                      <a:pt x="2762144" y="600736"/>
                    </a:lnTo>
                    <a:lnTo>
                      <a:pt x="3241061" y="334036"/>
                    </a:lnTo>
                    <a:cubicBezTo>
                      <a:pt x="3268969" y="321186"/>
                      <a:pt x="3281171" y="288144"/>
                      <a:pt x="3268312" y="260245"/>
                    </a:cubicBezTo>
                    <a:cubicBezTo>
                      <a:pt x="3265626" y="254407"/>
                      <a:pt x="3261950" y="249082"/>
                      <a:pt x="3257444" y="244510"/>
                    </a:cubicBezTo>
                    <a:lnTo>
                      <a:pt x="3122951" y="110017"/>
                    </a:lnTo>
                    <a:cubicBezTo>
                      <a:pt x="3108292" y="95930"/>
                      <a:pt x="3087109" y="90958"/>
                      <a:pt x="3067706" y="97063"/>
                    </a:cubicBezTo>
                    <a:lnTo>
                      <a:pt x="2460773" y="280705"/>
                    </a:lnTo>
                    <a:lnTo>
                      <a:pt x="2256557" y="63916"/>
                    </a:lnTo>
                    <a:cubicBezTo>
                      <a:pt x="2204513" y="3737"/>
                      <a:pt x="2119788" y="-16370"/>
                      <a:pt x="2046245" y="14005"/>
                    </a:cubicBezTo>
                    <a:lnTo>
                      <a:pt x="2042816" y="14005"/>
                    </a:lnTo>
                    <a:cubicBezTo>
                      <a:pt x="1987371" y="36827"/>
                      <a:pt x="1943337" y="80861"/>
                      <a:pt x="1920515" y="136306"/>
                    </a:cubicBezTo>
                    <a:cubicBezTo>
                      <a:pt x="1914762" y="150784"/>
                      <a:pt x="1910676" y="165862"/>
                      <a:pt x="1908323" y="181264"/>
                    </a:cubicBezTo>
                    <a:lnTo>
                      <a:pt x="1885082" y="173263"/>
                    </a:lnTo>
                    <a:cubicBezTo>
                      <a:pt x="1854993" y="163586"/>
                      <a:pt x="1822751" y="180131"/>
                      <a:pt x="1813073" y="210220"/>
                    </a:cubicBezTo>
                    <a:cubicBezTo>
                      <a:pt x="1803396" y="240310"/>
                      <a:pt x="1819941" y="272552"/>
                      <a:pt x="1850030" y="282229"/>
                    </a:cubicBezTo>
                    <a:cubicBezTo>
                      <a:pt x="1879367" y="291754"/>
                      <a:pt x="1908704" y="302422"/>
                      <a:pt x="1938041" y="313471"/>
                    </a:cubicBezTo>
                    <a:cubicBezTo>
                      <a:pt x="1946871" y="327282"/>
                      <a:pt x="1957224" y="340065"/>
                      <a:pt x="1968902" y="351571"/>
                    </a:cubicBezTo>
                    <a:lnTo>
                      <a:pt x="2184167" y="555787"/>
                    </a:lnTo>
                    <a:lnTo>
                      <a:pt x="2122445" y="759622"/>
                    </a:lnTo>
                    <a:cubicBezTo>
                      <a:pt x="1518770" y="329006"/>
                      <a:pt x="680313" y="469300"/>
                      <a:pt x="249697" y="1072976"/>
                    </a:cubicBezTo>
                    <a:cubicBezTo>
                      <a:pt x="-180919" y="1676651"/>
                      <a:pt x="-40625" y="2515099"/>
                      <a:pt x="563050" y="2945715"/>
                    </a:cubicBezTo>
                    <a:cubicBezTo>
                      <a:pt x="1166726" y="3376330"/>
                      <a:pt x="2005183" y="3236036"/>
                      <a:pt x="2435799" y="2632361"/>
                    </a:cubicBezTo>
                    <a:cubicBezTo>
                      <a:pt x="2779194" y="2150958"/>
                      <a:pt x="2767211" y="1501572"/>
                      <a:pt x="2406290" y="1033171"/>
                    </a:cubicBezTo>
                    <a:lnTo>
                      <a:pt x="2503826" y="857149"/>
                    </a:lnTo>
                    <a:lnTo>
                      <a:pt x="2730140" y="1070509"/>
                    </a:lnTo>
                    <a:lnTo>
                      <a:pt x="2675657" y="1250722"/>
                    </a:lnTo>
                    <a:cubicBezTo>
                      <a:pt x="2669094" y="1270524"/>
                      <a:pt x="2674257" y="1292336"/>
                      <a:pt x="2688992" y="1307110"/>
                    </a:cubicBezTo>
                    <a:cubicBezTo>
                      <a:pt x="2688992" y="1307110"/>
                      <a:pt x="2800625" y="1417600"/>
                      <a:pt x="2803292" y="1421410"/>
                    </a:cubicBezTo>
                    <a:cubicBezTo>
                      <a:pt x="2829686" y="1436707"/>
                      <a:pt x="2863490" y="1427715"/>
                      <a:pt x="2878797" y="1401321"/>
                    </a:cubicBezTo>
                    <a:cubicBezTo>
                      <a:pt x="2879035" y="1400912"/>
                      <a:pt x="2879273" y="1400493"/>
                      <a:pt x="2879492" y="1400074"/>
                    </a:cubicBezTo>
                    <a:lnTo>
                      <a:pt x="3028463" y="1126897"/>
                    </a:lnTo>
                    <a:lnTo>
                      <a:pt x="3297449" y="980212"/>
                    </a:lnTo>
                    <a:cubicBezTo>
                      <a:pt x="3325358" y="967353"/>
                      <a:pt x="3337559" y="934311"/>
                      <a:pt x="3324700" y="906412"/>
                    </a:cubicBezTo>
                    <a:close/>
                    <a:moveTo>
                      <a:pt x="479954" y="981726"/>
                    </a:moveTo>
                    <a:cubicBezTo>
                      <a:pt x="709650" y="752136"/>
                      <a:pt x="1021203" y="623291"/>
                      <a:pt x="1345967" y="623586"/>
                    </a:cubicBezTo>
                    <a:cubicBezTo>
                      <a:pt x="1371370" y="623586"/>
                      <a:pt x="1396764" y="624348"/>
                      <a:pt x="1422167" y="625872"/>
                    </a:cubicBezTo>
                    <a:cubicBezTo>
                      <a:pt x="1638194" y="825135"/>
                      <a:pt x="1574567" y="1006872"/>
                      <a:pt x="1429787" y="1170702"/>
                    </a:cubicBezTo>
                    <a:cubicBezTo>
                      <a:pt x="1344348" y="1261313"/>
                      <a:pt x="1252689" y="1345848"/>
                      <a:pt x="1155467" y="1423686"/>
                    </a:cubicBezTo>
                    <a:cubicBezTo>
                      <a:pt x="1014878" y="1543320"/>
                      <a:pt x="883814" y="1654953"/>
                      <a:pt x="834284" y="1766586"/>
                    </a:cubicBezTo>
                    <a:cubicBezTo>
                      <a:pt x="775610" y="1899174"/>
                      <a:pt x="818663" y="2019189"/>
                      <a:pt x="1055645" y="2123964"/>
                    </a:cubicBezTo>
                    <a:cubicBezTo>
                      <a:pt x="1174136" y="2176542"/>
                      <a:pt x="1238525" y="2217309"/>
                      <a:pt x="1263671" y="2248170"/>
                    </a:cubicBezTo>
                    <a:cubicBezTo>
                      <a:pt x="1264043" y="2248618"/>
                      <a:pt x="1264405" y="2248932"/>
                      <a:pt x="1264776" y="2249208"/>
                    </a:cubicBezTo>
                    <a:cubicBezTo>
                      <a:pt x="1263995" y="2249447"/>
                      <a:pt x="1263205" y="2249704"/>
                      <a:pt x="1262147" y="2250075"/>
                    </a:cubicBezTo>
                    <a:cubicBezTo>
                      <a:pt x="1204769" y="2271926"/>
                      <a:pt x="1143694" y="2282403"/>
                      <a:pt x="1082315" y="2280936"/>
                    </a:cubicBezTo>
                    <a:cubicBezTo>
                      <a:pt x="795041" y="2293128"/>
                      <a:pt x="590444" y="2109486"/>
                      <a:pt x="431567" y="1967373"/>
                    </a:cubicBezTo>
                    <a:cubicBezTo>
                      <a:pt x="317267" y="1865646"/>
                      <a:pt x="222398" y="1781064"/>
                      <a:pt x="123719" y="1780302"/>
                    </a:cubicBezTo>
                    <a:cubicBezTo>
                      <a:pt x="140026" y="1479322"/>
                      <a:pt x="266889" y="1194943"/>
                      <a:pt x="479954" y="981726"/>
                    </a:cubicBezTo>
                    <a:close/>
                    <a:moveTo>
                      <a:pt x="2575073" y="1849644"/>
                    </a:moveTo>
                    <a:lnTo>
                      <a:pt x="2575454" y="1849644"/>
                    </a:lnTo>
                    <a:cubicBezTo>
                      <a:pt x="2575283" y="2380663"/>
                      <a:pt x="2233916" y="2851446"/>
                      <a:pt x="1729253" y="3016647"/>
                    </a:cubicBezTo>
                    <a:cubicBezTo>
                      <a:pt x="1715080" y="2927350"/>
                      <a:pt x="1731596" y="2835882"/>
                      <a:pt x="1776116" y="2757186"/>
                    </a:cubicBezTo>
                    <a:cubicBezTo>
                      <a:pt x="1836486" y="2660231"/>
                      <a:pt x="1913943" y="2575040"/>
                      <a:pt x="2004716" y="2505726"/>
                    </a:cubicBezTo>
                    <a:cubicBezTo>
                      <a:pt x="2356379" y="2212356"/>
                      <a:pt x="2376191" y="2048526"/>
                      <a:pt x="2391431" y="1922415"/>
                    </a:cubicBezTo>
                    <a:cubicBezTo>
                      <a:pt x="2400956" y="1842786"/>
                      <a:pt x="2408195" y="1783350"/>
                      <a:pt x="2565548" y="1696863"/>
                    </a:cubicBezTo>
                    <a:cubicBezTo>
                      <a:pt x="2571863" y="1747546"/>
                      <a:pt x="2575045" y="1798571"/>
                      <a:pt x="2575073" y="1849644"/>
                    </a:cubicBezTo>
                    <a:close/>
                    <a:moveTo>
                      <a:pt x="2504207" y="1437402"/>
                    </a:moveTo>
                    <a:cubicBezTo>
                      <a:pt x="2521238" y="1485370"/>
                      <a:pt x="2535230" y="1534367"/>
                      <a:pt x="2546117" y="1584087"/>
                    </a:cubicBezTo>
                    <a:cubicBezTo>
                      <a:pt x="2306468" y="1706007"/>
                      <a:pt x="2295800" y="1792875"/>
                      <a:pt x="2281322" y="1911366"/>
                    </a:cubicBezTo>
                    <a:cubicBezTo>
                      <a:pt x="2268368" y="2018046"/>
                      <a:pt x="2251604" y="2157492"/>
                      <a:pt x="1933850" y="2422668"/>
                    </a:cubicBezTo>
                    <a:cubicBezTo>
                      <a:pt x="1832076" y="2500535"/>
                      <a:pt x="1745541" y="2596499"/>
                      <a:pt x="1678580" y="2705751"/>
                    </a:cubicBezTo>
                    <a:cubicBezTo>
                      <a:pt x="1620201" y="2808945"/>
                      <a:pt x="1599970" y="2929379"/>
                      <a:pt x="1621430" y="3045984"/>
                    </a:cubicBezTo>
                    <a:cubicBezTo>
                      <a:pt x="960500" y="3197070"/>
                      <a:pt x="302237" y="2783761"/>
                      <a:pt x="151151" y="2122840"/>
                    </a:cubicBezTo>
                    <a:cubicBezTo>
                      <a:pt x="133873" y="2047250"/>
                      <a:pt x="123795" y="1970193"/>
                      <a:pt x="121052" y="1892697"/>
                    </a:cubicBezTo>
                    <a:cubicBezTo>
                      <a:pt x="181631" y="1892697"/>
                      <a:pt x="260117" y="1964706"/>
                      <a:pt x="356510" y="2050431"/>
                    </a:cubicBezTo>
                    <a:cubicBezTo>
                      <a:pt x="531008" y="2206260"/>
                      <a:pt x="754274" y="2405142"/>
                      <a:pt x="1086887" y="2393331"/>
                    </a:cubicBezTo>
                    <a:cubicBezTo>
                      <a:pt x="1165259" y="2394684"/>
                      <a:pt x="1243069" y="2379901"/>
                      <a:pt x="1315487" y="2349897"/>
                    </a:cubicBezTo>
                    <a:cubicBezTo>
                      <a:pt x="1346015" y="2336400"/>
                      <a:pt x="1369122" y="2310235"/>
                      <a:pt x="1378733" y="2278269"/>
                    </a:cubicBezTo>
                    <a:cubicBezTo>
                      <a:pt x="1386849" y="2242617"/>
                      <a:pt x="1376552" y="2205270"/>
                      <a:pt x="1351301" y="2178828"/>
                    </a:cubicBezTo>
                    <a:cubicBezTo>
                      <a:pt x="1315487" y="2135013"/>
                      <a:pt x="1237001" y="2083197"/>
                      <a:pt x="1102127" y="2022999"/>
                    </a:cubicBezTo>
                    <a:cubicBezTo>
                      <a:pt x="940964" y="1951752"/>
                      <a:pt x="905912" y="1882410"/>
                      <a:pt x="937535" y="1811544"/>
                    </a:cubicBezTo>
                    <a:cubicBezTo>
                      <a:pt x="975635" y="1722390"/>
                      <a:pt x="1098317" y="1621044"/>
                      <a:pt x="1228619" y="1506744"/>
                    </a:cubicBezTo>
                    <a:cubicBezTo>
                      <a:pt x="1330156" y="1424686"/>
                      <a:pt x="1425768" y="1335570"/>
                      <a:pt x="1514750" y="1240044"/>
                    </a:cubicBezTo>
                    <a:cubicBezTo>
                      <a:pt x="1674008" y="1058688"/>
                      <a:pt x="1755923" y="860949"/>
                      <a:pt x="1593998" y="644541"/>
                    </a:cubicBezTo>
                    <a:cubicBezTo>
                      <a:pt x="1773954" y="681327"/>
                      <a:pt x="1943270" y="758308"/>
                      <a:pt x="2089298" y="869712"/>
                    </a:cubicBezTo>
                    <a:lnTo>
                      <a:pt x="2001668" y="1158891"/>
                    </a:lnTo>
                    <a:cubicBezTo>
                      <a:pt x="1995201" y="1178703"/>
                      <a:pt x="2000344" y="1200468"/>
                      <a:pt x="2015003" y="1215279"/>
                    </a:cubicBezTo>
                    <a:cubicBezTo>
                      <a:pt x="2015003" y="1215279"/>
                      <a:pt x="2157116" y="1356249"/>
                      <a:pt x="2161688" y="1358916"/>
                    </a:cubicBezTo>
                    <a:cubicBezTo>
                      <a:pt x="2188082" y="1374213"/>
                      <a:pt x="2221886" y="1365222"/>
                      <a:pt x="2237193" y="1338828"/>
                    </a:cubicBezTo>
                    <a:cubicBezTo>
                      <a:pt x="2237431" y="1338418"/>
                      <a:pt x="2237660" y="1337999"/>
                      <a:pt x="2237888" y="1337580"/>
                    </a:cubicBezTo>
                    <a:lnTo>
                      <a:pt x="2348759" y="1137174"/>
                    </a:lnTo>
                    <a:cubicBezTo>
                      <a:pt x="2414205" y="1229586"/>
                      <a:pt x="2466517" y="1330627"/>
                      <a:pt x="2504207" y="1437402"/>
                    </a:cubicBezTo>
                    <a:close/>
                    <a:moveTo>
                      <a:pt x="3015128" y="1011825"/>
                    </a:moveTo>
                    <a:lnTo>
                      <a:pt x="2965979" y="1036209"/>
                    </a:lnTo>
                    <a:cubicBezTo>
                      <a:pt x="2954978" y="1041667"/>
                      <a:pt x="2946120" y="1050649"/>
                      <a:pt x="2940833" y="1061736"/>
                    </a:cubicBezTo>
                    <a:lnTo>
                      <a:pt x="2916449" y="1111266"/>
                    </a:lnTo>
                    <a:lnTo>
                      <a:pt x="2821580" y="1282716"/>
                    </a:lnTo>
                    <a:lnTo>
                      <a:pt x="2793767" y="1252236"/>
                    </a:lnTo>
                    <a:lnTo>
                      <a:pt x="2849012" y="1069737"/>
                    </a:lnTo>
                    <a:cubicBezTo>
                      <a:pt x="2855451" y="1048353"/>
                      <a:pt x="2848384" y="1025208"/>
                      <a:pt x="2831105" y="1011063"/>
                    </a:cubicBezTo>
                    <a:lnTo>
                      <a:pt x="2530496" y="727980"/>
                    </a:lnTo>
                    <a:cubicBezTo>
                      <a:pt x="2508732" y="706596"/>
                      <a:pt x="2473756" y="706911"/>
                      <a:pt x="2452372" y="728675"/>
                    </a:cubicBezTo>
                    <a:cubicBezTo>
                      <a:pt x="2451858" y="729199"/>
                      <a:pt x="2451362" y="729723"/>
                      <a:pt x="2450867" y="730266"/>
                    </a:cubicBezTo>
                    <a:cubicBezTo>
                      <a:pt x="2447057" y="734457"/>
                      <a:pt x="2176547" y="1221756"/>
                      <a:pt x="2176547" y="1221756"/>
                    </a:cubicBezTo>
                    <a:lnTo>
                      <a:pt x="2117492" y="1162701"/>
                    </a:lnTo>
                    <a:lnTo>
                      <a:pt x="2301896" y="555006"/>
                    </a:lnTo>
                    <a:cubicBezTo>
                      <a:pt x="2308507" y="533508"/>
                      <a:pt x="2301420" y="510153"/>
                      <a:pt x="2283989" y="495951"/>
                    </a:cubicBezTo>
                    <a:lnTo>
                      <a:pt x="2044721" y="270780"/>
                    </a:lnTo>
                    <a:cubicBezTo>
                      <a:pt x="2018242" y="248349"/>
                      <a:pt x="2009441" y="211287"/>
                      <a:pt x="2023004" y="179340"/>
                    </a:cubicBezTo>
                    <a:cubicBezTo>
                      <a:pt x="2035158" y="151660"/>
                      <a:pt x="2057351" y="129610"/>
                      <a:pt x="2085107" y="117618"/>
                    </a:cubicBezTo>
                    <a:lnTo>
                      <a:pt x="2087012" y="117618"/>
                    </a:lnTo>
                    <a:cubicBezTo>
                      <a:pt x="2118568" y="105436"/>
                      <a:pt x="2154373" y="114618"/>
                      <a:pt x="2176166" y="140478"/>
                    </a:cubicBezTo>
                    <a:lnTo>
                      <a:pt x="2404766" y="382032"/>
                    </a:lnTo>
                    <a:cubicBezTo>
                      <a:pt x="2419120" y="397444"/>
                      <a:pt x="2440990" y="403359"/>
                      <a:pt x="2461154" y="397272"/>
                    </a:cubicBezTo>
                    <a:lnTo>
                      <a:pt x="3070754" y="213249"/>
                    </a:lnTo>
                    <a:lnTo>
                      <a:pt x="3129809" y="272304"/>
                    </a:lnTo>
                    <a:lnTo>
                      <a:pt x="2645939" y="538242"/>
                    </a:lnTo>
                    <a:cubicBezTo>
                      <a:pt x="2619155" y="552853"/>
                      <a:pt x="2609287" y="586420"/>
                      <a:pt x="2623908" y="613194"/>
                    </a:cubicBezTo>
                    <a:cubicBezTo>
                      <a:pt x="2624136" y="613613"/>
                      <a:pt x="2624365" y="614023"/>
                      <a:pt x="2624603" y="614442"/>
                    </a:cubicBezTo>
                    <a:cubicBezTo>
                      <a:pt x="2626889" y="618633"/>
                      <a:pt x="2918354" y="928767"/>
                      <a:pt x="2918354" y="928767"/>
                    </a:cubicBezTo>
                    <a:cubicBezTo>
                      <a:pt x="2932794" y="944045"/>
                      <a:pt x="2954654" y="949808"/>
                      <a:pt x="2974742" y="943626"/>
                    </a:cubicBezTo>
                    <a:lnTo>
                      <a:pt x="3158003" y="888381"/>
                    </a:lnTo>
                    <a:lnTo>
                      <a:pt x="3186578" y="916956"/>
                    </a:lnTo>
                    <a:lnTo>
                      <a:pt x="3015128" y="1011825"/>
                    </a:ln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228" name="Forma libre 227">
                <a:extLst>
                  <a:ext uri="{FF2B5EF4-FFF2-40B4-BE49-F238E27FC236}">
                    <a16:creationId xmlns:a16="http://schemas.microsoft.com/office/drawing/2014/main" id="{EA768C64-7AAA-2BE0-909C-CB0FC2285E41}"/>
                  </a:ext>
                </a:extLst>
              </p:cNvPr>
              <p:cNvSpPr/>
              <p:nvPr/>
            </p:nvSpPr>
            <p:spPr>
              <a:xfrm>
                <a:off x="11366202" y="9626959"/>
                <a:ext cx="195864" cy="247261"/>
              </a:xfrm>
              <a:custGeom>
                <a:avLst/>
                <a:gdLst>
                  <a:gd name="connsiteX0" fmla="*/ 167652 w 195864"/>
                  <a:gd name="connsiteY0" fmla="*/ 7915 h 247261"/>
                  <a:gd name="connsiteX1" fmla="*/ 165119 w 195864"/>
                  <a:gd name="connsiteY1" fmla="*/ 6514 h 247261"/>
                  <a:gd name="connsiteX2" fmla="*/ 88919 w 195864"/>
                  <a:gd name="connsiteY2" fmla="*/ 28993 h 247261"/>
                  <a:gd name="connsiteX3" fmla="*/ 10433 w 195864"/>
                  <a:gd name="connsiteY3" fmla="*/ 157010 h 247261"/>
                  <a:gd name="connsiteX4" fmla="*/ 24339 w 195864"/>
                  <a:gd name="connsiteY4" fmla="*/ 236829 h 247261"/>
                  <a:gd name="connsiteX5" fmla="*/ 104159 w 195864"/>
                  <a:gd name="connsiteY5" fmla="*/ 222922 h 247261"/>
                  <a:gd name="connsiteX6" fmla="*/ 187979 w 195864"/>
                  <a:gd name="connsiteY6" fmla="*/ 86143 h 247261"/>
                  <a:gd name="connsiteX7" fmla="*/ 167652 w 195864"/>
                  <a:gd name="connsiteY7" fmla="*/ 7915 h 247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864" h="247261">
                    <a:moveTo>
                      <a:pt x="167652" y="7915"/>
                    </a:moveTo>
                    <a:cubicBezTo>
                      <a:pt x="166824" y="7429"/>
                      <a:pt x="165976" y="6953"/>
                      <a:pt x="165119" y="6514"/>
                    </a:cubicBezTo>
                    <a:cubicBezTo>
                      <a:pt x="137810" y="-7764"/>
                      <a:pt x="104101" y="2181"/>
                      <a:pt x="88919" y="28993"/>
                    </a:cubicBezTo>
                    <a:cubicBezTo>
                      <a:pt x="64916" y="72809"/>
                      <a:pt x="38627" y="115861"/>
                      <a:pt x="10433" y="157010"/>
                    </a:cubicBezTo>
                    <a:cubicBezTo>
                      <a:pt x="-7770" y="182889"/>
                      <a:pt x="-1540" y="218627"/>
                      <a:pt x="24339" y="236829"/>
                    </a:cubicBezTo>
                    <a:cubicBezTo>
                      <a:pt x="50218" y="255031"/>
                      <a:pt x="85956" y="248802"/>
                      <a:pt x="104159" y="222922"/>
                    </a:cubicBezTo>
                    <a:cubicBezTo>
                      <a:pt x="133877" y="178727"/>
                      <a:pt x="162071" y="132626"/>
                      <a:pt x="187979" y="86143"/>
                    </a:cubicBezTo>
                    <a:cubicBezTo>
                      <a:pt x="203971" y="58921"/>
                      <a:pt x="194865" y="23898"/>
                      <a:pt x="167652" y="7915"/>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229" name="Forma libre 228">
                <a:extLst>
                  <a:ext uri="{FF2B5EF4-FFF2-40B4-BE49-F238E27FC236}">
                    <a16:creationId xmlns:a16="http://schemas.microsoft.com/office/drawing/2014/main" id="{D6BE4951-40E6-E058-AD24-5E8D317D920F}"/>
                  </a:ext>
                </a:extLst>
              </p:cNvPr>
              <p:cNvSpPr/>
              <p:nvPr/>
            </p:nvSpPr>
            <p:spPr>
              <a:xfrm>
                <a:off x="11649573" y="8800592"/>
                <a:ext cx="122158" cy="277376"/>
              </a:xfrm>
              <a:custGeom>
                <a:avLst/>
                <a:gdLst>
                  <a:gd name="connsiteX0" fmla="*/ 65008 w 122158"/>
                  <a:gd name="connsiteY0" fmla="*/ 5 h 277376"/>
                  <a:gd name="connsiteX1" fmla="*/ 7077 w 122158"/>
                  <a:gd name="connsiteY1" fmla="*/ 56365 h 277376"/>
                  <a:gd name="connsiteX2" fmla="*/ 7096 w 122158"/>
                  <a:gd name="connsiteY2" fmla="*/ 58679 h 277376"/>
                  <a:gd name="connsiteX3" fmla="*/ 7096 w 122158"/>
                  <a:gd name="connsiteY3" fmla="*/ 65156 h 277376"/>
                  <a:gd name="connsiteX4" fmla="*/ 238 w 122158"/>
                  <a:gd name="connsiteY4" fmla="*/ 215270 h 277376"/>
                  <a:gd name="connsiteX5" fmla="*/ 51969 w 122158"/>
                  <a:gd name="connsiteY5" fmla="*/ 277364 h 277376"/>
                  <a:gd name="connsiteX6" fmla="*/ 52054 w 122158"/>
                  <a:gd name="connsiteY6" fmla="*/ 277373 h 277376"/>
                  <a:gd name="connsiteX7" fmla="*/ 57388 w 122158"/>
                  <a:gd name="connsiteY7" fmla="*/ 277373 h 277376"/>
                  <a:gd name="connsiteX8" fmla="*/ 114920 w 122158"/>
                  <a:gd name="connsiteY8" fmla="*/ 224414 h 277376"/>
                  <a:gd name="connsiteX9" fmla="*/ 122158 w 122158"/>
                  <a:gd name="connsiteY9" fmla="*/ 64394 h 277376"/>
                  <a:gd name="connsiteX10" fmla="*/ 122158 w 122158"/>
                  <a:gd name="connsiteY10" fmla="*/ 56774 h 277376"/>
                  <a:gd name="connsiteX11" fmla="*/ 65008 w 122158"/>
                  <a:gd name="connsiteY11" fmla="*/ 5 h 277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158" h="277376">
                    <a:moveTo>
                      <a:pt x="65008" y="5"/>
                    </a:moveTo>
                    <a:cubicBezTo>
                      <a:pt x="33452" y="-423"/>
                      <a:pt x="7516" y="24809"/>
                      <a:pt x="7077" y="56365"/>
                    </a:cubicBezTo>
                    <a:cubicBezTo>
                      <a:pt x="7068" y="57136"/>
                      <a:pt x="7068" y="57908"/>
                      <a:pt x="7096" y="58679"/>
                    </a:cubicBezTo>
                    <a:lnTo>
                      <a:pt x="7096" y="65156"/>
                    </a:lnTo>
                    <a:cubicBezTo>
                      <a:pt x="7096" y="115067"/>
                      <a:pt x="4810" y="165359"/>
                      <a:pt x="238" y="215270"/>
                    </a:cubicBezTo>
                    <a:cubicBezTo>
                      <a:pt x="-2619" y="246703"/>
                      <a:pt x="20536" y="274506"/>
                      <a:pt x="51969" y="277364"/>
                    </a:cubicBezTo>
                    <a:cubicBezTo>
                      <a:pt x="51997" y="277364"/>
                      <a:pt x="52026" y="277373"/>
                      <a:pt x="52054" y="277373"/>
                    </a:cubicBezTo>
                    <a:lnTo>
                      <a:pt x="57388" y="277373"/>
                    </a:lnTo>
                    <a:cubicBezTo>
                      <a:pt x="87535" y="277659"/>
                      <a:pt x="112710" y="254475"/>
                      <a:pt x="114920" y="224414"/>
                    </a:cubicBezTo>
                    <a:cubicBezTo>
                      <a:pt x="119872" y="171455"/>
                      <a:pt x="122158" y="117734"/>
                      <a:pt x="122158" y="64394"/>
                    </a:cubicBezTo>
                    <a:lnTo>
                      <a:pt x="122158" y="56774"/>
                    </a:lnTo>
                    <a:cubicBezTo>
                      <a:pt x="121949" y="25361"/>
                      <a:pt x="96422" y="5"/>
                      <a:pt x="65008" y="5"/>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230" name="Forma libre 229">
                <a:extLst>
                  <a:ext uri="{FF2B5EF4-FFF2-40B4-BE49-F238E27FC236}">
                    <a16:creationId xmlns:a16="http://schemas.microsoft.com/office/drawing/2014/main" id="{3C74F943-5D08-4127-BD3B-CA669E5FC67A}"/>
                  </a:ext>
                </a:extLst>
              </p:cNvPr>
              <p:cNvSpPr/>
              <p:nvPr/>
            </p:nvSpPr>
            <p:spPr>
              <a:xfrm>
                <a:off x="9485421" y="10441743"/>
                <a:ext cx="274501" cy="151339"/>
              </a:xfrm>
              <a:custGeom>
                <a:avLst/>
                <a:gdLst>
                  <a:gd name="connsiteX0" fmla="*/ 222434 w 274501"/>
                  <a:gd name="connsiteY0" fmla="*/ 36778 h 151339"/>
                  <a:gd name="connsiteX1" fmla="*/ 76130 w 274501"/>
                  <a:gd name="connsiteY1" fmla="*/ 3251 h 151339"/>
                  <a:gd name="connsiteX2" fmla="*/ 3254 w 274501"/>
                  <a:gd name="connsiteY2" fmla="*/ 38207 h 151339"/>
                  <a:gd name="connsiteX3" fmla="*/ 38211 w 274501"/>
                  <a:gd name="connsiteY3" fmla="*/ 111083 h 151339"/>
                  <a:gd name="connsiteX4" fmla="*/ 44888 w 274501"/>
                  <a:gd name="connsiteY4" fmla="*/ 112988 h 151339"/>
                  <a:gd name="connsiteX5" fmla="*/ 201098 w 274501"/>
                  <a:gd name="connsiteY5" fmla="*/ 151088 h 151339"/>
                  <a:gd name="connsiteX6" fmla="*/ 211766 w 274501"/>
                  <a:gd name="connsiteY6" fmla="*/ 151088 h 151339"/>
                  <a:gd name="connsiteX7" fmla="*/ 274250 w 274501"/>
                  <a:gd name="connsiteY7" fmla="*/ 99272 h 151339"/>
                  <a:gd name="connsiteX8" fmla="*/ 222434 w 274501"/>
                  <a:gd name="connsiteY8" fmla="*/ 36778 h 151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501" h="151339">
                    <a:moveTo>
                      <a:pt x="222434" y="36778"/>
                    </a:moveTo>
                    <a:cubicBezTo>
                      <a:pt x="172904" y="28397"/>
                      <a:pt x="123755" y="17728"/>
                      <a:pt x="76130" y="3251"/>
                    </a:cubicBezTo>
                    <a:cubicBezTo>
                      <a:pt x="46355" y="-7217"/>
                      <a:pt x="13732" y="8432"/>
                      <a:pt x="3254" y="38207"/>
                    </a:cubicBezTo>
                    <a:cubicBezTo>
                      <a:pt x="-7223" y="67982"/>
                      <a:pt x="8436" y="100606"/>
                      <a:pt x="38211" y="111083"/>
                    </a:cubicBezTo>
                    <a:cubicBezTo>
                      <a:pt x="40392" y="111855"/>
                      <a:pt x="42631" y="112483"/>
                      <a:pt x="44888" y="112988"/>
                    </a:cubicBezTo>
                    <a:cubicBezTo>
                      <a:pt x="95942" y="127466"/>
                      <a:pt x="148520" y="140039"/>
                      <a:pt x="201098" y="151088"/>
                    </a:cubicBezTo>
                    <a:lnTo>
                      <a:pt x="211766" y="151088"/>
                    </a:lnTo>
                    <a:cubicBezTo>
                      <a:pt x="243332" y="154031"/>
                      <a:pt x="271307" y="130838"/>
                      <a:pt x="274250" y="99272"/>
                    </a:cubicBezTo>
                    <a:cubicBezTo>
                      <a:pt x="277193" y="67706"/>
                      <a:pt x="254000" y="39731"/>
                      <a:pt x="222434" y="36778"/>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231" name="Forma libre 230">
                <a:extLst>
                  <a:ext uri="{FF2B5EF4-FFF2-40B4-BE49-F238E27FC236}">
                    <a16:creationId xmlns:a16="http://schemas.microsoft.com/office/drawing/2014/main" id="{F6EE234F-53BB-396A-802A-C2FB1DF390B0}"/>
                  </a:ext>
                </a:extLst>
              </p:cNvPr>
              <p:cNvSpPr/>
              <p:nvPr/>
            </p:nvSpPr>
            <p:spPr>
              <a:xfrm>
                <a:off x="10333760" y="10423747"/>
                <a:ext cx="261902" cy="154874"/>
              </a:xfrm>
              <a:custGeom>
                <a:avLst/>
                <a:gdLst>
                  <a:gd name="connsiteX0" fmla="*/ 258367 w 261902"/>
                  <a:gd name="connsiteY0" fmla="*/ 37411 h 154874"/>
                  <a:gd name="connsiteX1" fmla="*/ 189053 w 261902"/>
                  <a:gd name="connsiteY1" fmla="*/ 2207 h 154874"/>
                  <a:gd name="connsiteX2" fmla="*/ 189053 w 261902"/>
                  <a:gd name="connsiteY2" fmla="*/ 3731 h 154874"/>
                  <a:gd name="connsiteX3" fmla="*/ 44654 w 261902"/>
                  <a:gd name="connsiteY3" fmla="*/ 41831 h 154874"/>
                  <a:gd name="connsiteX4" fmla="*/ 1411 w 261902"/>
                  <a:gd name="connsiteY4" fmla="*/ 110220 h 154874"/>
                  <a:gd name="connsiteX5" fmla="*/ 69800 w 261902"/>
                  <a:gd name="connsiteY5" fmla="*/ 153464 h 154874"/>
                  <a:gd name="connsiteX6" fmla="*/ 224486 w 261902"/>
                  <a:gd name="connsiteY6" fmla="*/ 110792 h 154874"/>
                  <a:gd name="connsiteX7" fmla="*/ 258367 w 261902"/>
                  <a:gd name="connsiteY7" fmla="*/ 37411 h 154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1902" h="154874">
                    <a:moveTo>
                      <a:pt x="258367" y="37411"/>
                    </a:moveTo>
                    <a:cubicBezTo>
                      <a:pt x="248032" y="9350"/>
                      <a:pt x="217809" y="-6004"/>
                      <a:pt x="189053" y="2207"/>
                    </a:cubicBezTo>
                    <a:lnTo>
                      <a:pt x="189053" y="3731"/>
                    </a:lnTo>
                    <a:cubicBezTo>
                      <a:pt x="141809" y="19352"/>
                      <a:pt x="93041" y="32687"/>
                      <a:pt x="44654" y="41831"/>
                    </a:cubicBezTo>
                    <a:cubicBezTo>
                      <a:pt x="13831" y="48775"/>
                      <a:pt x="-5533" y="79397"/>
                      <a:pt x="1411" y="110220"/>
                    </a:cubicBezTo>
                    <a:cubicBezTo>
                      <a:pt x="8355" y="141043"/>
                      <a:pt x="38977" y="160408"/>
                      <a:pt x="69800" y="153464"/>
                    </a:cubicBezTo>
                    <a:cubicBezTo>
                      <a:pt x="121616" y="141653"/>
                      <a:pt x="173813" y="127175"/>
                      <a:pt x="224486" y="110792"/>
                    </a:cubicBezTo>
                    <a:cubicBezTo>
                      <a:pt x="254109" y="99876"/>
                      <a:pt x="269273" y="67024"/>
                      <a:pt x="258367" y="37411"/>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232" name="Forma libre 231">
                <a:extLst>
                  <a:ext uri="{FF2B5EF4-FFF2-40B4-BE49-F238E27FC236}">
                    <a16:creationId xmlns:a16="http://schemas.microsoft.com/office/drawing/2014/main" id="{234CDEB5-82DB-11AF-1451-0B28214E7AF1}"/>
                  </a:ext>
                </a:extLst>
              </p:cNvPr>
              <p:cNvSpPr/>
              <p:nvPr/>
            </p:nvSpPr>
            <p:spPr>
              <a:xfrm>
                <a:off x="9096662" y="10274809"/>
                <a:ext cx="252041" cy="188222"/>
              </a:xfrm>
              <a:custGeom>
                <a:avLst/>
                <a:gdLst>
                  <a:gd name="connsiteX0" fmla="*/ 219143 w 252041"/>
                  <a:gd name="connsiteY0" fmla="*/ 79126 h 188222"/>
                  <a:gd name="connsiteX1" fmla="*/ 86174 w 252041"/>
                  <a:gd name="connsiteY1" fmla="*/ 7879 h 188222"/>
                  <a:gd name="connsiteX2" fmla="*/ 7879 w 252041"/>
                  <a:gd name="connsiteY2" fmla="*/ 28262 h 188222"/>
                  <a:gd name="connsiteX3" fmla="*/ 28262 w 252041"/>
                  <a:gd name="connsiteY3" fmla="*/ 106558 h 188222"/>
                  <a:gd name="connsiteX4" fmla="*/ 170376 w 252041"/>
                  <a:gd name="connsiteY4" fmla="*/ 182758 h 188222"/>
                  <a:gd name="connsiteX5" fmla="*/ 246576 w 252041"/>
                  <a:gd name="connsiteY5" fmla="*/ 155326 h 188222"/>
                  <a:gd name="connsiteX6" fmla="*/ 219143 w 252041"/>
                  <a:gd name="connsiteY6" fmla="*/ 79126 h 188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041" h="188222">
                    <a:moveTo>
                      <a:pt x="219143" y="79126"/>
                    </a:moveTo>
                    <a:cubicBezTo>
                      <a:pt x="173805" y="56647"/>
                      <a:pt x="129228" y="32263"/>
                      <a:pt x="86174" y="7879"/>
                    </a:cubicBezTo>
                    <a:cubicBezTo>
                      <a:pt x="58923" y="-8113"/>
                      <a:pt x="23871" y="1012"/>
                      <a:pt x="7879" y="28262"/>
                    </a:cubicBezTo>
                    <a:cubicBezTo>
                      <a:pt x="-8114" y="55513"/>
                      <a:pt x="1011" y="90565"/>
                      <a:pt x="28262" y="106558"/>
                    </a:cubicBezTo>
                    <a:cubicBezTo>
                      <a:pt x="74363" y="133609"/>
                      <a:pt x="121988" y="158755"/>
                      <a:pt x="170376" y="182758"/>
                    </a:cubicBezTo>
                    <a:cubicBezTo>
                      <a:pt x="198989" y="196226"/>
                      <a:pt x="233107" y="183939"/>
                      <a:pt x="246576" y="155326"/>
                    </a:cubicBezTo>
                    <a:cubicBezTo>
                      <a:pt x="260044" y="126713"/>
                      <a:pt x="247766" y="92594"/>
                      <a:pt x="219143" y="79126"/>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233" name="Forma libre 232">
                <a:extLst>
                  <a:ext uri="{FF2B5EF4-FFF2-40B4-BE49-F238E27FC236}">
                    <a16:creationId xmlns:a16="http://schemas.microsoft.com/office/drawing/2014/main" id="{2B9BE8EA-47B2-1B4A-EC29-C3CBDB0A1240}"/>
                  </a:ext>
                </a:extLst>
              </p:cNvPr>
              <p:cNvSpPr/>
              <p:nvPr/>
            </p:nvSpPr>
            <p:spPr>
              <a:xfrm>
                <a:off x="11085115" y="9971362"/>
                <a:ext cx="224554" cy="222236"/>
              </a:xfrm>
              <a:custGeom>
                <a:avLst/>
                <a:gdLst>
                  <a:gd name="connsiteX0" fmla="*/ 205938 w 224554"/>
                  <a:gd name="connsiteY0" fmla="*/ 14946 h 222236"/>
                  <a:gd name="connsiteX1" fmla="*/ 126166 w 224554"/>
                  <a:gd name="connsiteY1" fmla="*/ 17585 h 222236"/>
                  <a:gd name="connsiteX2" fmla="*/ 126547 w 224554"/>
                  <a:gd name="connsiteY2" fmla="*/ 17585 h 222236"/>
                  <a:gd name="connsiteX3" fmla="*/ 19105 w 224554"/>
                  <a:gd name="connsiteY3" fmla="*/ 122360 h 222236"/>
                  <a:gd name="connsiteX4" fmla="*/ 14533 w 224554"/>
                  <a:gd name="connsiteY4" fmla="*/ 203132 h 222236"/>
                  <a:gd name="connsiteX5" fmla="*/ 95305 w 224554"/>
                  <a:gd name="connsiteY5" fmla="*/ 207704 h 222236"/>
                  <a:gd name="connsiteX6" fmla="*/ 209605 w 224554"/>
                  <a:gd name="connsiteY6" fmla="*/ 95690 h 222236"/>
                  <a:gd name="connsiteX7" fmla="*/ 205938 w 224554"/>
                  <a:gd name="connsiteY7" fmla="*/ 14946 h 2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4554" h="222236">
                    <a:moveTo>
                      <a:pt x="205938" y="14946"/>
                    </a:moveTo>
                    <a:cubicBezTo>
                      <a:pt x="183040" y="-5961"/>
                      <a:pt x="147635" y="-4799"/>
                      <a:pt x="126166" y="17585"/>
                    </a:cubicBezTo>
                    <a:lnTo>
                      <a:pt x="126547" y="17585"/>
                    </a:lnTo>
                    <a:cubicBezTo>
                      <a:pt x="92257" y="55685"/>
                      <a:pt x="56062" y="89213"/>
                      <a:pt x="19105" y="122360"/>
                    </a:cubicBezTo>
                    <a:cubicBezTo>
                      <a:pt x="-4460" y="143401"/>
                      <a:pt x="-6508" y="179567"/>
                      <a:pt x="14533" y="203132"/>
                    </a:cubicBezTo>
                    <a:cubicBezTo>
                      <a:pt x="35574" y="226697"/>
                      <a:pt x="71740" y="228744"/>
                      <a:pt x="95305" y="207704"/>
                    </a:cubicBezTo>
                    <a:cubicBezTo>
                      <a:pt x="133405" y="172271"/>
                      <a:pt x="173791" y="134552"/>
                      <a:pt x="209605" y="95690"/>
                    </a:cubicBezTo>
                    <a:cubicBezTo>
                      <a:pt x="230893" y="72373"/>
                      <a:pt x="229245" y="36225"/>
                      <a:pt x="205938" y="14946"/>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234" name="Forma libre 233">
                <a:extLst>
                  <a:ext uri="{FF2B5EF4-FFF2-40B4-BE49-F238E27FC236}">
                    <a16:creationId xmlns:a16="http://schemas.microsoft.com/office/drawing/2014/main" id="{C5CD3813-FA27-8CE1-9080-2104DF88A70E}"/>
                  </a:ext>
                </a:extLst>
              </p:cNvPr>
              <p:cNvSpPr/>
              <p:nvPr/>
            </p:nvSpPr>
            <p:spPr>
              <a:xfrm>
                <a:off x="10733668" y="10243541"/>
                <a:ext cx="250177" cy="192537"/>
              </a:xfrm>
              <a:custGeom>
                <a:avLst/>
                <a:gdLst>
                  <a:gd name="connsiteX0" fmla="*/ 242069 w 250177"/>
                  <a:gd name="connsiteY0" fmla="*/ 27831 h 192537"/>
                  <a:gd name="connsiteX1" fmla="*/ 163688 w 250177"/>
                  <a:gd name="connsiteY1" fmla="*/ 8104 h 192537"/>
                  <a:gd name="connsiteX2" fmla="*/ 161002 w 250177"/>
                  <a:gd name="connsiteY2" fmla="*/ 9819 h 192537"/>
                  <a:gd name="connsiteX3" fmla="*/ 161002 w 250177"/>
                  <a:gd name="connsiteY3" fmla="*/ 8295 h 192537"/>
                  <a:gd name="connsiteX4" fmla="*/ 31081 w 250177"/>
                  <a:gd name="connsiteY4" fmla="*/ 84495 h 192537"/>
                  <a:gd name="connsiteX5" fmla="*/ 6316 w 250177"/>
                  <a:gd name="connsiteY5" fmla="*/ 161457 h 192537"/>
                  <a:gd name="connsiteX6" fmla="*/ 83278 w 250177"/>
                  <a:gd name="connsiteY6" fmla="*/ 186222 h 192537"/>
                  <a:gd name="connsiteX7" fmla="*/ 222343 w 250177"/>
                  <a:gd name="connsiteY7" fmla="*/ 106212 h 192537"/>
                  <a:gd name="connsiteX8" fmla="*/ 242069 w 250177"/>
                  <a:gd name="connsiteY8" fmla="*/ 27831 h 192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0177" h="192537">
                    <a:moveTo>
                      <a:pt x="242069" y="27831"/>
                    </a:moveTo>
                    <a:cubicBezTo>
                      <a:pt x="225877" y="742"/>
                      <a:pt x="190786" y="-8088"/>
                      <a:pt x="163688" y="8104"/>
                    </a:cubicBezTo>
                    <a:cubicBezTo>
                      <a:pt x="162773" y="8647"/>
                      <a:pt x="161878" y="9219"/>
                      <a:pt x="161002" y="9819"/>
                    </a:cubicBezTo>
                    <a:lnTo>
                      <a:pt x="161002" y="8295"/>
                    </a:lnTo>
                    <a:cubicBezTo>
                      <a:pt x="119092" y="34965"/>
                      <a:pt x="75277" y="60111"/>
                      <a:pt x="31081" y="84495"/>
                    </a:cubicBezTo>
                    <a:cubicBezTo>
                      <a:pt x="2991" y="98906"/>
                      <a:pt x="-8096" y="133368"/>
                      <a:pt x="6316" y="161457"/>
                    </a:cubicBezTo>
                    <a:cubicBezTo>
                      <a:pt x="20727" y="189546"/>
                      <a:pt x="55188" y="200633"/>
                      <a:pt x="83278" y="186222"/>
                    </a:cubicBezTo>
                    <a:cubicBezTo>
                      <a:pt x="130522" y="161838"/>
                      <a:pt x="177385" y="134787"/>
                      <a:pt x="222343" y="106212"/>
                    </a:cubicBezTo>
                    <a:cubicBezTo>
                      <a:pt x="249432" y="90010"/>
                      <a:pt x="258271" y="54920"/>
                      <a:pt x="242069" y="27831"/>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grpSp>
        <p:sp>
          <p:nvSpPr>
            <p:cNvPr id="812" name="CuadroTexto 811">
              <a:extLst>
                <a:ext uri="{FF2B5EF4-FFF2-40B4-BE49-F238E27FC236}">
                  <a16:creationId xmlns:a16="http://schemas.microsoft.com/office/drawing/2014/main" id="{A556F0BF-85BD-0DE8-F50D-CFBFA13BA926}"/>
                </a:ext>
              </a:extLst>
            </p:cNvPr>
            <p:cNvSpPr txBox="1"/>
            <p:nvPr/>
          </p:nvSpPr>
          <p:spPr>
            <a:xfrm>
              <a:off x="10921037" y="4176598"/>
              <a:ext cx="806631"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TRAVEL</a:t>
              </a:r>
              <a:b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EXPENSES</a:t>
              </a:r>
            </a:p>
          </p:txBody>
        </p:sp>
      </p:grpSp>
      <p:grpSp>
        <p:nvGrpSpPr>
          <p:cNvPr id="817" name="Grupo 816">
            <a:extLst>
              <a:ext uri="{FF2B5EF4-FFF2-40B4-BE49-F238E27FC236}">
                <a16:creationId xmlns:a16="http://schemas.microsoft.com/office/drawing/2014/main" id="{594E2898-EB96-F2CA-C0E8-609F07A4F528}"/>
              </a:ext>
            </a:extLst>
          </p:cNvPr>
          <p:cNvGrpSpPr/>
          <p:nvPr/>
        </p:nvGrpSpPr>
        <p:grpSpPr>
          <a:xfrm>
            <a:off x="10987849" y="2893232"/>
            <a:ext cx="774571" cy="710048"/>
            <a:chOff x="10052206" y="4905915"/>
            <a:chExt cx="774571" cy="710048"/>
          </a:xfrm>
        </p:grpSpPr>
        <p:sp>
          <p:nvSpPr>
            <p:cNvPr id="69" name="Forma libre 68">
              <a:extLst>
                <a:ext uri="{FF2B5EF4-FFF2-40B4-BE49-F238E27FC236}">
                  <a16:creationId xmlns:a16="http://schemas.microsoft.com/office/drawing/2014/main" id="{99DC5975-B5AD-BD90-DFBF-4AEF309703EA}"/>
                </a:ext>
              </a:extLst>
            </p:cNvPr>
            <p:cNvSpPr/>
            <p:nvPr/>
          </p:nvSpPr>
          <p:spPr>
            <a:xfrm>
              <a:off x="10241600" y="4905915"/>
              <a:ext cx="431051" cy="431131"/>
            </a:xfrm>
            <a:custGeom>
              <a:avLst/>
              <a:gdLst>
                <a:gd name="connsiteX0" fmla="*/ 51427 w 1710316"/>
                <a:gd name="connsiteY0" fmla="*/ 1625005 h 1710633"/>
                <a:gd name="connsiteX1" fmla="*/ 51427 w 1710316"/>
                <a:gd name="connsiteY1" fmla="*/ 1658931 h 1710633"/>
                <a:gd name="connsiteX2" fmla="*/ 1658855 w 1710316"/>
                <a:gd name="connsiteY2" fmla="*/ 1658931 h 1710633"/>
                <a:gd name="connsiteX3" fmla="*/ 1658855 w 1710316"/>
                <a:gd name="connsiteY3" fmla="*/ 1625005 h 1710633"/>
                <a:gd name="connsiteX4" fmla="*/ 146313 w 1710316"/>
                <a:gd name="connsiteY4" fmla="*/ 1408487 h 1710633"/>
                <a:gd name="connsiteX5" fmla="*/ 138651 w 1710316"/>
                <a:gd name="connsiteY5" fmla="*/ 1572767 h 1710633"/>
                <a:gd name="connsiteX6" fmla="*/ 316135 w 1710316"/>
                <a:gd name="connsiteY6" fmla="*/ 1572767 h 1710633"/>
                <a:gd name="connsiteX7" fmla="*/ 316135 w 1710316"/>
                <a:gd name="connsiteY7" fmla="*/ 1408487 h 1710633"/>
                <a:gd name="connsiteX8" fmla="*/ 997157 w 1710316"/>
                <a:gd name="connsiteY8" fmla="*/ 1336780 h 1710633"/>
                <a:gd name="connsiteX9" fmla="*/ 997157 w 1710316"/>
                <a:gd name="connsiteY9" fmla="*/ 1572478 h 1710633"/>
                <a:gd name="connsiteX10" fmla="*/ 1117584 w 1710316"/>
                <a:gd name="connsiteY10" fmla="*/ 1572478 h 1710633"/>
                <a:gd name="connsiteX11" fmla="*/ 1117584 w 1710316"/>
                <a:gd name="connsiteY11" fmla="*/ 1336780 h 1710633"/>
                <a:gd name="connsiteX12" fmla="*/ 1259793 w 1710316"/>
                <a:gd name="connsiteY12" fmla="*/ 1336443 h 1710633"/>
                <a:gd name="connsiteX13" fmla="*/ 1259793 w 1710316"/>
                <a:gd name="connsiteY13" fmla="*/ 1572526 h 1710633"/>
                <a:gd name="connsiteX14" fmla="*/ 1380220 w 1710316"/>
                <a:gd name="connsiteY14" fmla="*/ 1572526 h 1710633"/>
                <a:gd name="connsiteX15" fmla="*/ 1380220 w 1710316"/>
                <a:gd name="connsiteY15" fmla="*/ 1336443 h 1710633"/>
                <a:gd name="connsiteX16" fmla="*/ 660308 w 1710316"/>
                <a:gd name="connsiteY16" fmla="*/ 1201029 h 1710633"/>
                <a:gd name="connsiteX17" fmla="*/ 797119 w 1710316"/>
                <a:gd name="connsiteY17" fmla="*/ 1201077 h 1710633"/>
                <a:gd name="connsiteX18" fmla="*/ 829118 w 1710316"/>
                <a:gd name="connsiteY18" fmla="*/ 1224980 h 1710633"/>
                <a:gd name="connsiteX19" fmla="*/ 797457 w 1710316"/>
                <a:gd name="connsiteY19" fmla="*/ 1251436 h 1710633"/>
                <a:gd name="connsiteX20" fmla="*/ 522050 w 1710316"/>
                <a:gd name="connsiteY20" fmla="*/ 1251436 h 1710633"/>
                <a:gd name="connsiteX21" fmla="*/ 490438 w 1710316"/>
                <a:gd name="connsiteY21" fmla="*/ 1225269 h 1710633"/>
                <a:gd name="connsiteX22" fmla="*/ 521713 w 1710316"/>
                <a:gd name="connsiteY22" fmla="*/ 1201077 h 1710633"/>
                <a:gd name="connsiteX23" fmla="*/ 660308 w 1710316"/>
                <a:gd name="connsiteY23" fmla="*/ 1201029 h 1710633"/>
                <a:gd name="connsiteX24" fmla="*/ 1302392 w 1710316"/>
                <a:gd name="connsiteY24" fmla="*/ 1123202 h 1710633"/>
                <a:gd name="connsiteX25" fmla="*/ 1302392 w 1710316"/>
                <a:gd name="connsiteY25" fmla="*/ 1156115 h 1710633"/>
                <a:gd name="connsiteX26" fmla="*/ 1336559 w 1710316"/>
                <a:gd name="connsiteY26" fmla="*/ 1156115 h 1710633"/>
                <a:gd name="connsiteX27" fmla="*/ 1336559 w 1710316"/>
                <a:gd name="connsiteY27" fmla="*/ 1123202 h 1710633"/>
                <a:gd name="connsiteX28" fmla="*/ 1040479 w 1710316"/>
                <a:gd name="connsiteY28" fmla="*/ 1122720 h 1710633"/>
                <a:gd name="connsiteX29" fmla="*/ 1040479 w 1710316"/>
                <a:gd name="connsiteY29" fmla="*/ 1156549 h 1710633"/>
                <a:gd name="connsiteX30" fmla="*/ 1074116 w 1710316"/>
                <a:gd name="connsiteY30" fmla="*/ 1156549 h 1710633"/>
                <a:gd name="connsiteX31" fmla="*/ 1074116 w 1710316"/>
                <a:gd name="connsiteY31" fmla="*/ 1122720 h 1710633"/>
                <a:gd name="connsiteX32" fmla="*/ 660476 w 1710316"/>
                <a:gd name="connsiteY32" fmla="*/ 1114431 h 1710633"/>
                <a:gd name="connsiteX33" fmla="*/ 797264 w 1710316"/>
                <a:gd name="connsiteY33" fmla="*/ 1114479 h 1710633"/>
                <a:gd name="connsiteX34" fmla="*/ 829118 w 1710316"/>
                <a:gd name="connsiteY34" fmla="*/ 1138526 h 1710633"/>
                <a:gd name="connsiteX35" fmla="*/ 797312 w 1710316"/>
                <a:gd name="connsiteY35" fmla="*/ 1164838 h 1710633"/>
                <a:gd name="connsiteX36" fmla="*/ 521906 w 1710316"/>
                <a:gd name="connsiteY36" fmla="*/ 1164838 h 1710633"/>
                <a:gd name="connsiteX37" fmla="*/ 490486 w 1710316"/>
                <a:gd name="connsiteY37" fmla="*/ 1138526 h 1710633"/>
                <a:gd name="connsiteX38" fmla="*/ 521906 w 1710316"/>
                <a:gd name="connsiteY38" fmla="*/ 1114479 h 1710633"/>
                <a:gd name="connsiteX39" fmla="*/ 1014023 w 1710316"/>
                <a:gd name="connsiteY39" fmla="*/ 1071445 h 1710633"/>
                <a:gd name="connsiteX40" fmla="*/ 1100332 w 1710316"/>
                <a:gd name="connsiteY40" fmla="*/ 1071445 h 1710633"/>
                <a:gd name="connsiteX41" fmla="*/ 1125198 w 1710316"/>
                <a:gd name="connsiteY41" fmla="*/ 1096601 h 1710633"/>
                <a:gd name="connsiteX42" fmla="*/ 1125342 w 1710316"/>
                <a:gd name="connsiteY42" fmla="*/ 1181126 h 1710633"/>
                <a:gd name="connsiteX43" fmla="*/ 1099657 w 1710316"/>
                <a:gd name="connsiteY43" fmla="*/ 1207823 h 1710633"/>
                <a:gd name="connsiteX44" fmla="*/ 1013348 w 1710316"/>
                <a:gd name="connsiteY44" fmla="*/ 1207727 h 1710633"/>
                <a:gd name="connsiteX45" fmla="*/ 988434 w 1710316"/>
                <a:gd name="connsiteY45" fmla="*/ 1180500 h 1710633"/>
                <a:gd name="connsiteX46" fmla="*/ 988434 w 1710316"/>
                <a:gd name="connsiteY46" fmla="*/ 1139104 h 1710633"/>
                <a:gd name="connsiteX47" fmla="*/ 988482 w 1710316"/>
                <a:gd name="connsiteY47" fmla="*/ 1139104 h 1710633"/>
                <a:gd name="connsiteX48" fmla="*/ 988579 w 1710316"/>
                <a:gd name="connsiteY48" fmla="*/ 1097757 h 1710633"/>
                <a:gd name="connsiteX49" fmla="*/ 1014023 w 1710316"/>
                <a:gd name="connsiteY49" fmla="*/ 1071445 h 1710633"/>
                <a:gd name="connsiteX50" fmla="*/ 1320319 w 1710316"/>
                <a:gd name="connsiteY50" fmla="*/ 1071204 h 1710633"/>
                <a:gd name="connsiteX51" fmla="*/ 1361666 w 1710316"/>
                <a:gd name="connsiteY51" fmla="*/ 1071253 h 1710633"/>
                <a:gd name="connsiteX52" fmla="*/ 1387978 w 1710316"/>
                <a:gd name="connsiteY52" fmla="*/ 1097034 h 1710633"/>
                <a:gd name="connsiteX53" fmla="*/ 1388026 w 1710316"/>
                <a:gd name="connsiteY53" fmla="*/ 1181512 h 1710633"/>
                <a:gd name="connsiteX54" fmla="*/ 1361907 w 1710316"/>
                <a:gd name="connsiteY54" fmla="*/ 1207871 h 1710633"/>
                <a:gd name="connsiteX55" fmla="*/ 1277430 w 1710316"/>
                <a:gd name="connsiteY55" fmla="*/ 1207871 h 1710633"/>
                <a:gd name="connsiteX56" fmla="*/ 1251407 w 1710316"/>
                <a:gd name="connsiteY56" fmla="*/ 1179969 h 1710633"/>
                <a:gd name="connsiteX57" fmla="*/ 1251407 w 1710316"/>
                <a:gd name="connsiteY57" fmla="*/ 1099058 h 1710633"/>
                <a:gd name="connsiteX58" fmla="*/ 1278972 w 1710316"/>
                <a:gd name="connsiteY58" fmla="*/ 1071253 h 1710633"/>
                <a:gd name="connsiteX59" fmla="*/ 1320319 w 1710316"/>
                <a:gd name="connsiteY59" fmla="*/ 1071204 h 1710633"/>
                <a:gd name="connsiteX60" fmla="*/ 660694 w 1710316"/>
                <a:gd name="connsiteY60" fmla="*/ 1027834 h 1710633"/>
                <a:gd name="connsiteX61" fmla="*/ 797506 w 1710316"/>
                <a:gd name="connsiteY61" fmla="*/ 1027882 h 1710633"/>
                <a:gd name="connsiteX62" fmla="*/ 829166 w 1710316"/>
                <a:gd name="connsiteY62" fmla="*/ 1052122 h 1710633"/>
                <a:gd name="connsiteX63" fmla="*/ 797072 w 1710316"/>
                <a:gd name="connsiteY63" fmla="*/ 1078241 h 1710633"/>
                <a:gd name="connsiteX64" fmla="*/ 521666 w 1710316"/>
                <a:gd name="connsiteY64" fmla="*/ 1078241 h 1710633"/>
                <a:gd name="connsiteX65" fmla="*/ 490487 w 1710316"/>
                <a:gd name="connsiteY65" fmla="*/ 1051688 h 1710633"/>
                <a:gd name="connsiteX66" fmla="*/ 522099 w 1710316"/>
                <a:gd name="connsiteY66" fmla="*/ 1027882 h 1710633"/>
                <a:gd name="connsiteX67" fmla="*/ 660694 w 1710316"/>
                <a:gd name="connsiteY67" fmla="*/ 1027834 h 1710633"/>
                <a:gd name="connsiteX68" fmla="*/ 1511104 w 1710316"/>
                <a:gd name="connsiteY68" fmla="*/ 837676 h 1710633"/>
                <a:gd name="connsiteX69" fmla="*/ 1536837 w 1710316"/>
                <a:gd name="connsiteY69" fmla="*/ 863891 h 1710633"/>
                <a:gd name="connsiteX70" fmla="*/ 1536934 w 1710316"/>
                <a:gd name="connsiteY70" fmla="*/ 906997 h 1710633"/>
                <a:gd name="connsiteX71" fmla="*/ 1536837 w 1710316"/>
                <a:gd name="connsiteY71" fmla="*/ 948320 h 1710633"/>
                <a:gd name="connsiteX72" fmla="*/ 1512357 w 1710316"/>
                <a:gd name="connsiteY72" fmla="*/ 974150 h 1710633"/>
                <a:gd name="connsiteX73" fmla="*/ 1486672 w 1710316"/>
                <a:gd name="connsiteY73" fmla="*/ 947790 h 1710633"/>
                <a:gd name="connsiteX74" fmla="*/ 1486672 w 1710316"/>
                <a:gd name="connsiteY74" fmla="*/ 863361 h 1710633"/>
                <a:gd name="connsiteX75" fmla="*/ 1511104 w 1710316"/>
                <a:gd name="connsiteY75" fmla="*/ 837676 h 1710633"/>
                <a:gd name="connsiteX76" fmla="*/ 1572161 w 1710316"/>
                <a:gd name="connsiteY76" fmla="*/ 684286 h 1710633"/>
                <a:gd name="connsiteX77" fmla="*/ 1561029 w 1710316"/>
                <a:gd name="connsiteY77" fmla="*/ 685057 h 1710633"/>
                <a:gd name="connsiteX78" fmla="*/ 1348125 w 1710316"/>
                <a:gd name="connsiteY78" fmla="*/ 710694 h 1710633"/>
                <a:gd name="connsiteX79" fmla="*/ 881115 w 1710316"/>
                <a:gd name="connsiteY79" fmla="*/ 766306 h 1710633"/>
                <a:gd name="connsiteX80" fmla="*/ 387360 w 1710316"/>
                <a:gd name="connsiteY80" fmla="*/ 825628 h 1710633"/>
                <a:gd name="connsiteX81" fmla="*/ 367313 w 1710316"/>
                <a:gd name="connsiteY81" fmla="*/ 848374 h 1710633"/>
                <a:gd name="connsiteX82" fmla="*/ 367602 w 1710316"/>
                <a:gd name="connsiteY82" fmla="*/ 1553539 h 1710633"/>
                <a:gd name="connsiteX83" fmla="*/ 367602 w 1710316"/>
                <a:gd name="connsiteY83" fmla="*/ 1572044 h 1710633"/>
                <a:gd name="connsiteX84" fmla="*/ 945160 w 1710316"/>
                <a:gd name="connsiteY84" fmla="*/ 1572044 h 1710633"/>
                <a:gd name="connsiteX85" fmla="*/ 945160 w 1710316"/>
                <a:gd name="connsiteY85" fmla="*/ 1318227 h 1710633"/>
                <a:gd name="connsiteX86" fmla="*/ 978700 w 1710316"/>
                <a:gd name="connsiteY86" fmla="*/ 1284879 h 1710633"/>
                <a:gd name="connsiteX87" fmla="*/ 1133776 w 1710316"/>
                <a:gd name="connsiteY87" fmla="*/ 1284879 h 1710633"/>
                <a:gd name="connsiteX88" fmla="*/ 1168810 w 1710316"/>
                <a:gd name="connsiteY88" fmla="*/ 1320588 h 1710633"/>
                <a:gd name="connsiteX89" fmla="*/ 1168810 w 1710316"/>
                <a:gd name="connsiteY89" fmla="*/ 1553250 h 1710633"/>
                <a:gd name="connsiteX90" fmla="*/ 1168810 w 1710316"/>
                <a:gd name="connsiteY90" fmla="*/ 1572381 h 1710633"/>
                <a:gd name="connsiteX91" fmla="*/ 1207940 w 1710316"/>
                <a:gd name="connsiteY91" fmla="*/ 1572381 h 1710633"/>
                <a:gd name="connsiteX92" fmla="*/ 1207940 w 1710316"/>
                <a:gd name="connsiteY92" fmla="*/ 1551852 h 1710633"/>
                <a:gd name="connsiteX93" fmla="*/ 1207989 w 1710316"/>
                <a:gd name="connsiteY93" fmla="*/ 1317408 h 1710633"/>
                <a:gd name="connsiteX94" fmla="*/ 1240372 w 1710316"/>
                <a:gd name="connsiteY94" fmla="*/ 1284879 h 1710633"/>
                <a:gd name="connsiteX95" fmla="*/ 1395448 w 1710316"/>
                <a:gd name="connsiteY95" fmla="*/ 1284879 h 1710633"/>
                <a:gd name="connsiteX96" fmla="*/ 1431542 w 1710316"/>
                <a:gd name="connsiteY96" fmla="*/ 1321504 h 1710633"/>
                <a:gd name="connsiteX97" fmla="*/ 1431542 w 1710316"/>
                <a:gd name="connsiteY97" fmla="*/ 1552383 h 1710633"/>
                <a:gd name="connsiteX98" fmla="*/ 1431542 w 1710316"/>
                <a:gd name="connsiteY98" fmla="*/ 1572622 h 1710633"/>
                <a:gd name="connsiteX99" fmla="*/ 1572065 w 1710316"/>
                <a:gd name="connsiteY99" fmla="*/ 1572622 h 1710633"/>
                <a:gd name="connsiteX100" fmla="*/ 1572065 w 1710316"/>
                <a:gd name="connsiteY100" fmla="*/ 684334 h 1710633"/>
                <a:gd name="connsiteX101" fmla="*/ 238115 w 1710316"/>
                <a:gd name="connsiteY101" fmla="*/ 394568 h 1710633"/>
                <a:gd name="connsiteX102" fmla="*/ 192142 w 1710316"/>
                <a:gd name="connsiteY102" fmla="*/ 1356153 h 1710633"/>
                <a:gd name="connsiteX103" fmla="*/ 316231 w 1710316"/>
                <a:gd name="connsiteY103" fmla="*/ 1356153 h 1710633"/>
                <a:gd name="connsiteX104" fmla="*/ 316231 w 1710316"/>
                <a:gd name="connsiteY104" fmla="*/ 834688 h 1710633"/>
                <a:gd name="connsiteX105" fmla="*/ 260090 w 1710316"/>
                <a:gd name="connsiteY105" fmla="*/ 840904 h 1710633"/>
                <a:gd name="connsiteX106" fmla="*/ 230838 w 1710316"/>
                <a:gd name="connsiteY106" fmla="*/ 818592 h 1710633"/>
                <a:gd name="connsiteX107" fmla="*/ 255367 w 1710316"/>
                <a:gd name="connsiteY107" fmla="*/ 790835 h 1710633"/>
                <a:gd name="connsiteX108" fmla="*/ 380613 w 1710316"/>
                <a:gd name="connsiteY108" fmla="*/ 775944 h 1710633"/>
                <a:gd name="connsiteX109" fmla="*/ 463934 w 1710316"/>
                <a:gd name="connsiteY109" fmla="*/ 765342 h 1710633"/>
                <a:gd name="connsiteX110" fmla="*/ 446392 w 1710316"/>
                <a:gd name="connsiteY110" fmla="*/ 394568 h 1710633"/>
                <a:gd name="connsiteX111" fmla="*/ 895090 w 1710316"/>
                <a:gd name="connsiteY111" fmla="*/ 394182 h 1710633"/>
                <a:gd name="connsiteX112" fmla="*/ 879670 w 1710316"/>
                <a:gd name="connsiteY112" fmla="*/ 715803 h 1710633"/>
                <a:gd name="connsiteX113" fmla="*/ 879670 w 1710316"/>
                <a:gd name="connsiteY113" fmla="*/ 715851 h 1710633"/>
                <a:gd name="connsiteX114" fmla="*/ 1107801 w 1710316"/>
                <a:gd name="connsiteY114" fmla="*/ 688045 h 1710633"/>
                <a:gd name="connsiteX115" fmla="*/ 1116186 w 1710316"/>
                <a:gd name="connsiteY115" fmla="*/ 674359 h 1710633"/>
                <a:gd name="connsiteX116" fmla="*/ 1106452 w 1710316"/>
                <a:gd name="connsiteY116" fmla="*/ 456588 h 1710633"/>
                <a:gd name="connsiteX117" fmla="*/ 1102790 w 1710316"/>
                <a:gd name="connsiteY117" fmla="*/ 394182 h 1710633"/>
                <a:gd name="connsiteX118" fmla="*/ 881260 w 1710316"/>
                <a:gd name="connsiteY118" fmla="*/ 307970 h 1710633"/>
                <a:gd name="connsiteX119" fmla="*/ 881260 w 1710316"/>
                <a:gd name="connsiteY119" fmla="*/ 341366 h 1710633"/>
                <a:gd name="connsiteX120" fmla="*/ 1117825 w 1710316"/>
                <a:gd name="connsiteY120" fmla="*/ 341366 h 1710633"/>
                <a:gd name="connsiteX121" fmla="*/ 1117825 w 1710316"/>
                <a:gd name="connsiteY121" fmla="*/ 307970 h 1710633"/>
                <a:gd name="connsiteX122" fmla="*/ 224188 w 1710316"/>
                <a:gd name="connsiteY122" fmla="*/ 307729 h 1710633"/>
                <a:gd name="connsiteX123" fmla="*/ 224188 w 1710316"/>
                <a:gd name="connsiteY123" fmla="*/ 341607 h 1710633"/>
                <a:gd name="connsiteX124" fmla="*/ 459982 w 1710316"/>
                <a:gd name="connsiteY124" fmla="*/ 341607 h 1710633"/>
                <a:gd name="connsiteX125" fmla="*/ 459982 w 1710316"/>
                <a:gd name="connsiteY125" fmla="*/ 307729 h 1710633"/>
                <a:gd name="connsiteX126" fmla="*/ 201346 w 1710316"/>
                <a:gd name="connsiteY126" fmla="*/ 256166 h 1710633"/>
                <a:gd name="connsiteX127" fmla="*/ 482728 w 1710316"/>
                <a:gd name="connsiteY127" fmla="*/ 256166 h 1710633"/>
                <a:gd name="connsiteX128" fmla="*/ 511690 w 1710316"/>
                <a:gd name="connsiteY128" fmla="*/ 284935 h 1710633"/>
                <a:gd name="connsiteX129" fmla="*/ 511642 w 1710316"/>
                <a:gd name="connsiteY129" fmla="*/ 362521 h 1710633"/>
                <a:gd name="connsiteX130" fmla="*/ 507594 w 1710316"/>
                <a:gd name="connsiteY130" fmla="*/ 379484 h 1710633"/>
                <a:gd name="connsiteX131" fmla="*/ 497956 w 1710316"/>
                <a:gd name="connsiteY131" fmla="*/ 417554 h 1710633"/>
                <a:gd name="connsiteX132" fmla="*/ 513136 w 1710316"/>
                <a:gd name="connsiteY132" fmla="*/ 743705 h 1710633"/>
                <a:gd name="connsiteX133" fmla="*/ 514871 w 1710316"/>
                <a:gd name="connsiteY133" fmla="*/ 759607 h 1710633"/>
                <a:gd name="connsiteX134" fmla="*/ 828299 w 1710316"/>
                <a:gd name="connsiteY134" fmla="*/ 722164 h 1710633"/>
                <a:gd name="connsiteX135" fmla="*/ 832347 w 1710316"/>
                <a:gd name="connsiteY135" fmla="*/ 649156 h 1710633"/>
                <a:gd name="connsiteX136" fmla="*/ 843431 w 1710316"/>
                <a:gd name="connsiteY136" fmla="*/ 407723 h 1710633"/>
                <a:gd name="connsiteX137" fmla="*/ 835913 w 1710316"/>
                <a:gd name="connsiteY137" fmla="*/ 383918 h 1710633"/>
                <a:gd name="connsiteX138" fmla="*/ 829889 w 1710316"/>
                <a:gd name="connsiteY138" fmla="*/ 363822 h 1710633"/>
                <a:gd name="connsiteX139" fmla="*/ 829696 w 1710316"/>
                <a:gd name="connsiteY139" fmla="*/ 284453 h 1710633"/>
                <a:gd name="connsiteX140" fmla="*/ 858803 w 1710316"/>
                <a:gd name="connsiteY140" fmla="*/ 256214 h 1710633"/>
                <a:gd name="connsiteX141" fmla="*/ 1138402 w 1710316"/>
                <a:gd name="connsiteY141" fmla="*/ 256214 h 1710633"/>
                <a:gd name="connsiteX142" fmla="*/ 1168617 w 1710316"/>
                <a:gd name="connsiteY142" fmla="*/ 285562 h 1710633"/>
                <a:gd name="connsiteX143" fmla="*/ 1168521 w 1710316"/>
                <a:gd name="connsiteY143" fmla="*/ 363148 h 1710633"/>
                <a:gd name="connsiteX144" fmla="*/ 1164280 w 1710316"/>
                <a:gd name="connsiteY144" fmla="*/ 380014 h 1710633"/>
                <a:gd name="connsiteX145" fmla="*/ 1154690 w 1710316"/>
                <a:gd name="connsiteY145" fmla="*/ 416253 h 1710633"/>
                <a:gd name="connsiteX146" fmla="*/ 1166401 w 1710316"/>
                <a:gd name="connsiteY146" fmla="*/ 663083 h 1710633"/>
                <a:gd name="connsiteX147" fmla="*/ 1168473 w 1710316"/>
                <a:gd name="connsiteY147" fmla="*/ 680865 h 1710633"/>
                <a:gd name="connsiteX148" fmla="*/ 1292514 w 1710316"/>
                <a:gd name="connsiteY148" fmla="*/ 666215 h 1710633"/>
                <a:gd name="connsiteX149" fmla="*/ 1666517 w 1710316"/>
                <a:gd name="connsiteY149" fmla="*/ 621157 h 1710633"/>
                <a:gd name="connsiteX150" fmla="*/ 1680878 w 1710316"/>
                <a:gd name="connsiteY150" fmla="*/ 619904 h 1710633"/>
                <a:gd name="connsiteX151" fmla="*/ 1708973 w 1710316"/>
                <a:gd name="connsiteY151" fmla="*/ 641638 h 1710633"/>
                <a:gd name="connsiteX152" fmla="*/ 1686854 w 1710316"/>
                <a:gd name="connsiteY152" fmla="*/ 669396 h 1710633"/>
                <a:gd name="connsiteX153" fmla="*/ 1624206 w 1710316"/>
                <a:gd name="connsiteY153" fmla="*/ 677636 h 1710633"/>
                <a:gd name="connsiteX154" fmla="*/ 1624206 w 1710316"/>
                <a:gd name="connsiteY154" fmla="*/ 1573586 h 1710633"/>
                <a:gd name="connsiteX155" fmla="*/ 1624255 w 1710316"/>
                <a:gd name="connsiteY155" fmla="*/ 1573538 h 1710633"/>
                <a:gd name="connsiteX156" fmla="*/ 1680155 w 1710316"/>
                <a:gd name="connsiteY156" fmla="*/ 1573586 h 1710633"/>
                <a:gd name="connsiteX157" fmla="*/ 1710081 w 1710316"/>
                <a:gd name="connsiteY157" fmla="*/ 1603368 h 1710633"/>
                <a:gd name="connsiteX158" fmla="*/ 1710081 w 1710316"/>
                <a:gd name="connsiteY158" fmla="*/ 1680954 h 1710633"/>
                <a:gd name="connsiteX159" fmla="*/ 1679962 w 1710316"/>
                <a:gd name="connsiteY159" fmla="*/ 1710591 h 1710633"/>
                <a:gd name="connsiteX160" fmla="*/ 1667336 w 1710316"/>
                <a:gd name="connsiteY160" fmla="*/ 1710591 h 1710633"/>
                <a:gd name="connsiteX161" fmla="*/ 42078 w 1710316"/>
                <a:gd name="connsiteY161" fmla="*/ 1710591 h 1710633"/>
                <a:gd name="connsiteX162" fmla="*/ 104 w 1710316"/>
                <a:gd name="connsiteY162" fmla="*/ 1669244 h 1710633"/>
                <a:gd name="connsiteX163" fmla="*/ 200 w 1710316"/>
                <a:gd name="connsiteY163" fmla="*/ 1602500 h 1710633"/>
                <a:gd name="connsiteX164" fmla="*/ 29163 w 1710316"/>
                <a:gd name="connsiteY164" fmla="*/ 1573586 h 1710633"/>
                <a:gd name="connsiteX165" fmla="*/ 87714 w 1710316"/>
                <a:gd name="connsiteY165" fmla="*/ 1573490 h 1710633"/>
                <a:gd name="connsiteX166" fmla="*/ 93689 w 1710316"/>
                <a:gd name="connsiteY166" fmla="*/ 1454846 h 1710633"/>
                <a:gd name="connsiteX167" fmla="*/ 96918 w 1710316"/>
                <a:gd name="connsiteY167" fmla="*/ 1389982 h 1710633"/>
                <a:gd name="connsiteX168" fmla="*/ 131085 w 1710316"/>
                <a:gd name="connsiteY168" fmla="*/ 1356924 h 1710633"/>
                <a:gd name="connsiteX169" fmla="*/ 141205 w 1710316"/>
                <a:gd name="connsiteY169" fmla="*/ 1356201 h 1710633"/>
                <a:gd name="connsiteX170" fmla="*/ 146939 w 1710316"/>
                <a:gd name="connsiteY170" fmla="*/ 1247725 h 1710633"/>
                <a:gd name="connsiteX171" fmla="*/ 173588 w 1710316"/>
                <a:gd name="connsiteY171" fmla="*/ 680190 h 1710633"/>
                <a:gd name="connsiteX172" fmla="*/ 186889 w 1710316"/>
                <a:gd name="connsiteY172" fmla="*/ 411771 h 1710633"/>
                <a:gd name="connsiteX173" fmla="*/ 178648 w 1710316"/>
                <a:gd name="connsiteY173" fmla="*/ 382424 h 1710633"/>
                <a:gd name="connsiteX174" fmla="*/ 173058 w 1710316"/>
                <a:gd name="connsiteY174" fmla="*/ 364304 h 1710633"/>
                <a:gd name="connsiteX175" fmla="*/ 172866 w 1710316"/>
                <a:gd name="connsiteY175" fmla="*/ 284935 h 1710633"/>
                <a:gd name="connsiteX176" fmla="*/ 201346 w 1710316"/>
                <a:gd name="connsiteY176" fmla="*/ 256166 h 1710633"/>
                <a:gd name="connsiteX177" fmla="*/ 765314 w 1710316"/>
                <a:gd name="connsiteY177" fmla="*/ 87163 h 1710633"/>
                <a:gd name="connsiteX178" fmla="*/ 788686 w 1710316"/>
                <a:gd name="connsiteY178" fmla="*/ 87308 h 1710633"/>
                <a:gd name="connsiteX179" fmla="*/ 812155 w 1710316"/>
                <a:gd name="connsiteY179" fmla="*/ 111933 h 1710633"/>
                <a:gd name="connsiteX180" fmla="*/ 789361 w 1710316"/>
                <a:gd name="connsiteY180" fmla="*/ 137088 h 1710633"/>
                <a:gd name="connsiteX181" fmla="*/ 740785 w 1710316"/>
                <a:gd name="connsiteY181" fmla="*/ 137088 h 1710633"/>
                <a:gd name="connsiteX182" fmla="*/ 718087 w 1710316"/>
                <a:gd name="connsiteY182" fmla="*/ 111788 h 1710633"/>
                <a:gd name="connsiteX183" fmla="*/ 741845 w 1710316"/>
                <a:gd name="connsiteY183" fmla="*/ 87356 h 1710633"/>
                <a:gd name="connsiteX184" fmla="*/ 765217 w 1710316"/>
                <a:gd name="connsiteY184" fmla="*/ 87211 h 1710633"/>
                <a:gd name="connsiteX185" fmla="*/ 1315645 w 1710316"/>
                <a:gd name="connsiteY185" fmla="*/ 87067 h 1710633"/>
                <a:gd name="connsiteX186" fmla="*/ 1439927 w 1710316"/>
                <a:gd name="connsiteY186" fmla="*/ 87067 h 1710633"/>
                <a:gd name="connsiteX187" fmla="*/ 1469178 w 1710316"/>
                <a:gd name="connsiteY187" fmla="*/ 111596 h 1710633"/>
                <a:gd name="connsiteX188" fmla="*/ 1439397 w 1710316"/>
                <a:gd name="connsiteY188" fmla="*/ 137474 h 1710633"/>
                <a:gd name="connsiteX189" fmla="*/ 1376396 w 1710316"/>
                <a:gd name="connsiteY189" fmla="*/ 137522 h 1710633"/>
                <a:gd name="connsiteX190" fmla="*/ 1315163 w 1710316"/>
                <a:gd name="connsiteY190" fmla="*/ 137426 h 1710633"/>
                <a:gd name="connsiteX191" fmla="*/ 1286682 w 1710316"/>
                <a:gd name="connsiteY191" fmla="*/ 111981 h 1710633"/>
                <a:gd name="connsiteX192" fmla="*/ 1315645 w 1710316"/>
                <a:gd name="connsiteY192" fmla="*/ 87067 h 1710633"/>
                <a:gd name="connsiteX193" fmla="*/ 1162497 w 1710316"/>
                <a:gd name="connsiteY193" fmla="*/ 87067 h 1710633"/>
                <a:gd name="connsiteX194" fmla="*/ 1203892 w 1710316"/>
                <a:gd name="connsiteY194" fmla="*/ 87163 h 1710633"/>
                <a:gd name="connsiteX195" fmla="*/ 1230011 w 1710316"/>
                <a:gd name="connsiteY195" fmla="*/ 111403 h 1710633"/>
                <a:gd name="connsiteX196" fmla="*/ 1203892 w 1710316"/>
                <a:gd name="connsiteY196" fmla="*/ 137329 h 1710633"/>
                <a:gd name="connsiteX197" fmla="*/ 1133679 w 1710316"/>
                <a:gd name="connsiteY197" fmla="*/ 137570 h 1710633"/>
                <a:gd name="connsiteX198" fmla="*/ 1067851 w 1710316"/>
                <a:gd name="connsiteY198" fmla="*/ 196892 h 1710633"/>
                <a:gd name="connsiteX199" fmla="*/ 1040527 w 1710316"/>
                <a:gd name="connsiteY199" fmla="*/ 223927 h 1710633"/>
                <a:gd name="connsiteX200" fmla="*/ 1017444 w 1710316"/>
                <a:gd name="connsiteY200" fmla="*/ 193133 h 1710633"/>
                <a:gd name="connsiteX201" fmla="*/ 1122884 w 1710316"/>
                <a:gd name="connsiteY201" fmla="*/ 87308 h 1710633"/>
                <a:gd name="connsiteX202" fmla="*/ 1162497 w 1710316"/>
                <a:gd name="connsiteY202" fmla="*/ 87212 h 1710633"/>
                <a:gd name="connsiteX203" fmla="*/ 632454 w 1710316"/>
                <a:gd name="connsiteY203" fmla="*/ 87066 h 1710633"/>
                <a:gd name="connsiteX204" fmla="*/ 661031 w 1710316"/>
                <a:gd name="connsiteY204" fmla="*/ 112222 h 1710633"/>
                <a:gd name="connsiteX205" fmla="*/ 632454 w 1710316"/>
                <a:gd name="connsiteY205" fmla="*/ 137377 h 1710633"/>
                <a:gd name="connsiteX206" fmla="*/ 551447 w 1710316"/>
                <a:gd name="connsiteY206" fmla="*/ 137473 h 1710633"/>
                <a:gd name="connsiteX207" fmla="*/ 551399 w 1710316"/>
                <a:gd name="connsiteY207" fmla="*/ 137522 h 1710633"/>
                <a:gd name="connsiteX208" fmla="*/ 475788 w 1710316"/>
                <a:gd name="connsiteY208" fmla="*/ 137522 h 1710633"/>
                <a:gd name="connsiteX209" fmla="*/ 411021 w 1710316"/>
                <a:gd name="connsiteY209" fmla="*/ 195928 h 1710633"/>
                <a:gd name="connsiteX210" fmla="*/ 384468 w 1710316"/>
                <a:gd name="connsiteY210" fmla="*/ 223926 h 1710633"/>
                <a:gd name="connsiteX211" fmla="*/ 360710 w 1710316"/>
                <a:gd name="connsiteY211" fmla="*/ 192169 h 1710633"/>
                <a:gd name="connsiteX212" fmla="*/ 466825 w 1710316"/>
                <a:gd name="connsiteY212" fmla="*/ 87404 h 1710633"/>
                <a:gd name="connsiteX213" fmla="*/ 632454 w 1710316"/>
                <a:gd name="connsiteY213" fmla="*/ 87066 h 1710633"/>
                <a:gd name="connsiteX214" fmla="*/ 1443349 w 1710316"/>
                <a:gd name="connsiteY214" fmla="*/ 518 h 1710633"/>
                <a:gd name="connsiteX215" fmla="*/ 1469179 w 1710316"/>
                <a:gd name="connsiteY215" fmla="*/ 26492 h 1710633"/>
                <a:gd name="connsiteX216" fmla="*/ 1443397 w 1710316"/>
                <a:gd name="connsiteY216" fmla="*/ 50828 h 1710633"/>
                <a:gd name="connsiteX217" fmla="*/ 1427205 w 1710316"/>
                <a:gd name="connsiteY217" fmla="*/ 50876 h 1710633"/>
                <a:gd name="connsiteX218" fmla="*/ 1427205 w 1710316"/>
                <a:gd name="connsiteY218" fmla="*/ 50683 h 1710633"/>
                <a:gd name="connsiteX219" fmla="*/ 1407447 w 1710316"/>
                <a:gd name="connsiteY219" fmla="*/ 50491 h 1710633"/>
                <a:gd name="connsiteX220" fmla="*/ 1385184 w 1710316"/>
                <a:gd name="connsiteY220" fmla="*/ 24757 h 1710633"/>
                <a:gd name="connsiteX221" fmla="*/ 1407399 w 1710316"/>
                <a:gd name="connsiteY221" fmla="*/ 855 h 1710633"/>
                <a:gd name="connsiteX222" fmla="*/ 1443349 w 1710316"/>
                <a:gd name="connsiteY222" fmla="*/ 518 h 1710633"/>
                <a:gd name="connsiteX223" fmla="*/ 652935 w 1710316"/>
                <a:gd name="connsiteY223" fmla="*/ 469 h 1710633"/>
                <a:gd name="connsiteX224" fmla="*/ 784542 w 1710316"/>
                <a:gd name="connsiteY224" fmla="*/ 469 h 1710633"/>
                <a:gd name="connsiteX225" fmla="*/ 812299 w 1710316"/>
                <a:gd name="connsiteY225" fmla="*/ 24708 h 1710633"/>
                <a:gd name="connsiteX226" fmla="*/ 784494 w 1710316"/>
                <a:gd name="connsiteY226" fmla="*/ 50731 h 1710633"/>
                <a:gd name="connsiteX227" fmla="*/ 717799 w 1710316"/>
                <a:gd name="connsiteY227" fmla="*/ 50827 h 1710633"/>
                <a:gd name="connsiteX228" fmla="*/ 717799 w 1710316"/>
                <a:gd name="connsiteY228" fmla="*/ 50924 h 1710633"/>
                <a:gd name="connsiteX229" fmla="*/ 652887 w 1710316"/>
                <a:gd name="connsiteY229" fmla="*/ 50827 h 1710633"/>
                <a:gd name="connsiteX230" fmla="*/ 624117 w 1710316"/>
                <a:gd name="connsiteY230" fmla="*/ 25624 h 1710633"/>
                <a:gd name="connsiteX231" fmla="*/ 652935 w 1710316"/>
                <a:gd name="connsiteY231" fmla="*/ 469 h 1710633"/>
                <a:gd name="connsiteX232" fmla="*/ 1192953 w 1710316"/>
                <a:gd name="connsiteY232" fmla="*/ 421 h 1710633"/>
                <a:gd name="connsiteX233" fmla="*/ 1266828 w 1710316"/>
                <a:gd name="connsiteY233" fmla="*/ 518 h 1710633"/>
                <a:gd name="connsiteX234" fmla="*/ 1295646 w 1710316"/>
                <a:gd name="connsiteY234" fmla="*/ 25528 h 1710633"/>
                <a:gd name="connsiteX235" fmla="*/ 1267165 w 1710316"/>
                <a:gd name="connsiteY235" fmla="*/ 50828 h 1710633"/>
                <a:gd name="connsiteX236" fmla="*/ 1132088 w 1710316"/>
                <a:gd name="connsiteY236" fmla="*/ 50973 h 1710633"/>
                <a:gd name="connsiteX237" fmla="*/ 981398 w 1710316"/>
                <a:gd name="connsiteY237" fmla="*/ 194001 h 1710633"/>
                <a:gd name="connsiteX238" fmla="*/ 955038 w 1710316"/>
                <a:gd name="connsiteY238" fmla="*/ 223975 h 1710633"/>
                <a:gd name="connsiteX239" fmla="*/ 930943 w 1710316"/>
                <a:gd name="connsiteY239" fmla="*/ 192362 h 1710633"/>
                <a:gd name="connsiteX240" fmla="*/ 1119174 w 1710316"/>
                <a:gd name="connsiteY240" fmla="*/ 903 h 1710633"/>
                <a:gd name="connsiteX241" fmla="*/ 1193001 w 1710316"/>
                <a:gd name="connsiteY241" fmla="*/ 759 h 1710633"/>
                <a:gd name="connsiteX242" fmla="*/ 1193001 w 1710316"/>
                <a:gd name="connsiteY242" fmla="*/ 470 h 1710633"/>
                <a:gd name="connsiteX243" fmla="*/ 497378 w 1710316"/>
                <a:gd name="connsiteY243" fmla="*/ 421 h 1710633"/>
                <a:gd name="connsiteX244" fmla="*/ 531641 w 1710316"/>
                <a:gd name="connsiteY244" fmla="*/ 421 h 1710633"/>
                <a:gd name="connsiteX245" fmla="*/ 563350 w 1710316"/>
                <a:gd name="connsiteY245" fmla="*/ 26203 h 1710633"/>
                <a:gd name="connsiteX246" fmla="*/ 532315 w 1710316"/>
                <a:gd name="connsiteY246" fmla="*/ 50924 h 1710633"/>
                <a:gd name="connsiteX247" fmla="*/ 444320 w 1710316"/>
                <a:gd name="connsiteY247" fmla="*/ 54442 h 1710633"/>
                <a:gd name="connsiteX248" fmla="*/ 324664 w 1710316"/>
                <a:gd name="connsiteY248" fmla="*/ 191013 h 1710633"/>
                <a:gd name="connsiteX249" fmla="*/ 295606 w 1710316"/>
                <a:gd name="connsiteY249" fmla="*/ 223589 h 1710633"/>
                <a:gd name="connsiteX250" fmla="*/ 273920 w 1710316"/>
                <a:gd name="connsiteY250" fmla="*/ 193374 h 1710633"/>
                <a:gd name="connsiteX251" fmla="*/ 461332 w 1710316"/>
                <a:gd name="connsiteY251" fmla="*/ 806 h 1710633"/>
                <a:gd name="connsiteX252" fmla="*/ 497378 w 1710316"/>
                <a:gd name="connsiteY252" fmla="*/ 758 h 1710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Lst>
              <a:rect l="l" t="t" r="r" b="b"/>
              <a:pathLst>
                <a:path w="1710316" h="1710633">
                  <a:moveTo>
                    <a:pt x="51427" y="1625005"/>
                  </a:moveTo>
                  <a:lnTo>
                    <a:pt x="51427" y="1658931"/>
                  </a:lnTo>
                  <a:lnTo>
                    <a:pt x="1658855" y="1658931"/>
                  </a:lnTo>
                  <a:lnTo>
                    <a:pt x="1658855" y="1625005"/>
                  </a:lnTo>
                  <a:close/>
                  <a:moveTo>
                    <a:pt x="146313" y="1408487"/>
                  </a:moveTo>
                  <a:lnTo>
                    <a:pt x="138651" y="1572767"/>
                  </a:lnTo>
                  <a:lnTo>
                    <a:pt x="316135" y="1572767"/>
                  </a:lnTo>
                  <a:lnTo>
                    <a:pt x="316135" y="1408487"/>
                  </a:lnTo>
                  <a:close/>
                  <a:moveTo>
                    <a:pt x="997157" y="1336780"/>
                  </a:moveTo>
                  <a:lnTo>
                    <a:pt x="997157" y="1572478"/>
                  </a:lnTo>
                  <a:lnTo>
                    <a:pt x="1117584" y="1572478"/>
                  </a:lnTo>
                  <a:lnTo>
                    <a:pt x="1117584" y="1336780"/>
                  </a:lnTo>
                  <a:close/>
                  <a:moveTo>
                    <a:pt x="1259793" y="1336443"/>
                  </a:moveTo>
                  <a:lnTo>
                    <a:pt x="1259793" y="1572526"/>
                  </a:lnTo>
                  <a:lnTo>
                    <a:pt x="1380220" y="1572526"/>
                  </a:lnTo>
                  <a:lnTo>
                    <a:pt x="1380220" y="1336443"/>
                  </a:lnTo>
                  <a:close/>
                  <a:moveTo>
                    <a:pt x="660308" y="1201029"/>
                  </a:moveTo>
                  <a:cubicBezTo>
                    <a:pt x="705895" y="1201029"/>
                    <a:pt x="751531" y="1200933"/>
                    <a:pt x="797119" y="1201077"/>
                  </a:cubicBezTo>
                  <a:cubicBezTo>
                    <a:pt x="816974" y="1201125"/>
                    <a:pt x="828443" y="1209944"/>
                    <a:pt x="829118" y="1224980"/>
                  </a:cubicBezTo>
                  <a:cubicBezTo>
                    <a:pt x="829840" y="1240690"/>
                    <a:pt x="817696" y="1251436"/>
                    <a:pt x="797457" y="1251436"/>
                  </a:cubicBezTo>
                  <a:cubicBezTo>
                    <a:pt x="705654" y="1251629"/>
                    <a:pt x="613852" y="1251629"/>
                    <a:pt x="522050" y="1251436"/>
                  </a:cubicBezTo>
                  <a:cubicBezTo>
                    <a:pt x="501329" y="1251436"/>
                    <a:pt x="490052" y="1241557"/>
                    <a:pt x="490438" y="1225269"/>
                  </a:cubicBezTo>
                  <a:cubicBezTo>
                    <a:pt x="490823" y="1209414"/>
                    <a:pt x="501088" y="1201174"/>
                    <a:pt x="521713" y="1201077"/>
                  </a:cubicBezTo>
                  <a:cubicBezTo>
                    <a:pt x="567927" y="1200884"/>
                    <a:pt x="614093" y="1201029"/>
                    <a:pt x="660308" y="1201029"/>
                  </a:cubicBezTo>
                  <a:close/>
                  <a:moveTo>
                    <a:pt x="1302392" y="1123202"/>
                  </a:moveTo>
                  <a:lnTo>
                    <a:pt x="1302392" y="1156115"/>
                  </a:lnTo>
                  <a:lnTo>
                    <a:pt x="1336559" y="1156115"/>
                  </a:lnTo>
                  <a:lnTo>
                    <a:pt x="1336559" y="1123202"/>
                  </a:lnTo>
                  <a:close/>
                  <a:moveTo>
                    <a:pt x="1040479" y="1122720"/>
                  </a:moveTo>
                  <a:lnTo>
                    <a:pt x="1040479" y="1156549"/>
                  </a:lnTo>
                  <a:lnTo>
                    <a:pt x="1074116" y="1156549"/>
                  </a:lnTo>
                  <a:lnTo>
                    <a:pt x="1074116" y="1122720"/>
                  </a:lnTo>
                  <a:close/>
                  <a:moveTo>
                    <a:pt x="660476" y="1114431"/>
                  </a:moveTo>
                  <a:lnTo>
                    <a:pt x="797264" y="1114479"/>
                  </a:lnTo>
                  <a:cubicBezTo>
                    <a:pt x="817022" y="1114576"/>
                    <a:pt x="828539" y="1123491"/>
                    <a:pt x="829118" y="1138526"/>
                  </a:cubicBezTo>
                  <a:cubicBezTo>
                    <a:pt x="829744" y="1154236"/>
                    <a:pt x="817600" y="1164838"/>
                    <a:pt x="797312" y="1164838"/>
                  </a:cubicBezTo>
                  <a:cubicBezTo>
                    <a:pt x="705510" y="1165031"/>
                    <a:pt x="613708" y="1165031"/>
                    <a:pt x="521906" y="1164838"/>
                  </a:cubicBezTo>
                  <a:cubicBezTo>
                    <a:pt x="501280" y="1164838"/>
                    <a:pt x="489956" y="1154814"/>
                    <a:pt x="490486" y="1138526"/>
                  </a:cubicBezTo>
                  <a:cubicBezTo>
                    <a:pt x="490968" y="1122672"/>
                    <a:pt x="501184" y="1114576"/>
                    <a:pt x="521906" y="1114479"/>
                  </a:cubicBezTo>
                  <a:close/>
                  <a:moveTo>
                    <a:pt x="1014023" y="1071445"/>
                  </a:moveTo>
                  <a:cubicBezTo>
                    <a:pt x="1042793" y="1070964"/>
                    <a:pt x="1071562" y="1070964"/>
                    <a:pt x="1100332" y="1071445"/>
                  </a:cubicBezTo>
                  <a:cubicBezTo>
                    <a:pt x="1116138" y="1071735"/>
                    <a:pt x="1124812" y="1081373"/>
                    <a:pt x="1125198" y="1096601"/>
                  </a:cubicBezTo>
                  <a:cubicBezTo>
                    <a:pt x="1125920" y="1124744"/>
                    <a:pt x="1125728" y="1152983"/>
                    <a:pt x="1125342" y="1181126"/>
                  </a:cubicBezTo>
                  <a:cubicBezTo>
                    <a:pt x="1125101" y="1197511"/>
                    <a:pt x="1115704" y="1207341"/>
                    <a:pt x="1099657" y="1207823"/>
                  </a:cubicBezTo>
                  <a:cubicBezTo>
                    <a:pt x="1070936" y="1208691"/>
                    <a:pt x="1042070" y="1208787"/>
                    <a:pt x="1013348" y="1207727"/>
                  </a:cubicBezTo>
                  <a:cubicBezTo>
                    <a:pt x="997349" y="1207101"/>
                    <a:pt x="988531" y="1197077"/>
                    <a:pt x="988434" y="1180500"/>
                  </a:cubicBezTo>
                  <a:cubicBezTo>
                    <a:pt x="988386" y="1166717"/>
                    <a:pt x="988434" y="1152935"/>
                    <a:pt x="988434" y="1139104"/>
                  </a:cubicBezTo>
                  <a:lnTo>
                    <a:pt x="988482" y="1139104"/>
                  </a:lnTo>
                  <a:cubicBezTo>
                    <a:pt x="988482" y="1125322"/>
                    <a:pt x="988241" y="1111540"/>
                    <a:pt x="988579" y="1097757"/>
                  </a:cubicBezTo>
                  <a:cubicBezTo>
                    <a:pt x="988964" y="1081373"/>
                    <a:pt x="997446" y="1071686"/>
                    <a:pt x="1014023" y="1071445"/>
                  </a:cubicBezTo>
                  <a:close/>
                  <a:moveTo>
                    <a:pt x="1320319" y="1071204"/>
                  </a:moveTo>
                  <a:cubicBezTo>
                    <a:pt x="1334101" y="1071204"/>
                    <a:pt x="1347884" y="1071060"/>
                    <a:pt x="1361666" y="1071253"/>
                  </a:cubicBezTo>
                  <a:cubicBezTo>
                    <a:pt x="1378436" y="1071494"/>
                    <a:pt x="1387496" y="1081132"/>
                    <a:pt x="1387978" y="1097034"/>
                  </a:cubicBezTo>
                  <a:cubicBezTo>
                    <a:pt x="1388845" y="1125177"/>
                    <a:pt x="1388701" y="1153369"/>
                    <a:pt x="1388026" y="1181512"/>
                  </a:cubicBezTo>
                  <a:cubicBezTo>
                    <a:pt x="1387641" y="1197655"/>
                    <a:pt x="1378051" y="1207438"/>
                    <a:pt x="1361907" y="1207871"/>
                  </a:cubicBezTo>
                  <a:cubicBezTo>
                    <a:pt x="1333764" y="1208643"/>
                    <a:pt x="1305573" y="1208739"/>
                    <a:pt x="1277430" y="1207871"/>
                  </a:cubicBezTo>
                  <a:cubicBezTo>
                    <a:pt x="1260130" y="1207341"/>
                    <a:pt x="1251696" y="1197752"/>
                    <a:pt x="1251407" y="1179969"/>
                  </a:cubicBezTo>
                  <a:cubicBezTo>
                    <a:pt x="1250974" y="1152983"/>
                    <a:pt x="1250974" y="1126045"/>
                    <a:pt x="1251407" y="1099058"/>
                  </a:cubicBezTo>
                  <a:cubicBezTo>
                    <a:pt x="1251696" y="1080023"/>
                    <a:pt x="1259985" y="1071879"/>
                    <a:pt x="1278972" y="1071253"/>
                  </a:cubicBezTo>
                  <a:cubicBezTo>
                    <a:pt x="1292754" y="1070819"/>
                    <a:pt x="1306537" y="1071156"/>
                    <a:pt x="1320319" y="1071204"/>
                  </a:cubicBezTo>
                  <a:close/>
                  <a:moveTo>
                    <a:pt x="660694" y="1027834"/>
                  </a:moveTo>
                  <a:cubicBezTo>
                    <a:pt x="706282" y="1027834"/>
                    <a:pt x="751918" y="1027738"/>
                    <a:pt x="797506" y="1027882"/>
                  </a:cubicBezTo>
                  <a:cubicBezTo>
                    <a:pt x="817119" y="1027979"/>
                    <a:pt x="828733" y="1037135"/>
                    <a:pt x="829166" y="1052122"/>
                  </a:cubicBezTo>
                  <a:cubicBezTo>
                    <a:pt x="829600" y="1067832"/>
                    <a:pt x="817456" y="1078193"/>
                    <a:pt x="797072" y="1078241"/>
                  </a:cubicBezTo>
                  <a:cubicBezTo>
                    <a:pt x="705270" y="1078434"/>
                    <a:pt x="613468" y="1078434"/>
                    <a:pt x="521666" y="1078241"/>
                  </a:cubicBezTo>
                  <a:cubicBezTo>
                    <a:pt x="501137" y="1078241"/>
                    <a:pt x="489812" y="1068025"/>
                    <a:pt x="490487" y="1051688"/>
                  </a:cubicBezTo>
                  <a:cubicBezTo>
                    <a:pt x="491113" y="1035834"/>
                    <a:pt x="501233" y="1027979"/>
                    <a:pt x="522099" y="1027882"/>
                  </a:cubicBezTo>
                  <a:cubicBezTo>
                    <a:pt x="568314" y="1027689"/>
                    <a:pt x="614480" y="1027834"/>
                    <a:pt x="660694" y="1027834"/>
                  </a:cubicBezTo>
                  <a:close/>
                  <a:moveTo>
                    <a:pt x="1511104" y="837676"/>
                  </a:moveTo>
                  <a:cubicBezTo>
                    <a:pt x="1525464" y="836712"/>
                    <a:pt x="1536163" y="847651"/>
                    <a:pt x="1536837" y="863891"/>
                  </a:cubicBezTo>
                  <a:lnTo>
                    <a:pt x="1536934" y="906997"/>
                  </a:lnTo>
                  <a:lnTo>
                    <a:pt x="1536837" y="948320"/>
                  </a:lnTo>
                  <a:cubicBezTo>
                    <a:pt x="1536259" y="963741"/>
                    <a:pt x="1527729" y="972897"/>
                    <a:pt x="1512357" y="974150"/>
                  </a:cubicBezTo>
                  <a:cubicBezTo>
                    <a:pt x="1498334" y="975307"/>
                    <a:pt x="1487009" y="963789"/>
                    <a:pt x="1486672" y="947790"/>
                  </a:cubicBezTo>
                  <a:cubicBezTo>
                    <a:pt x="1486141" y="919647"/>
                    <a:pt x="1486141" y="891504"/>
                    <a:pt x="1486672" y="863361"/>
                  </a:cubicBezTo>
                  <a:cubicBezTo>
                    <a:pt x="1486961" y="848037"/>
                    <a:pt x="1495490" y="838736"/>
                    <a:pt x="1511104" y="837676"/>
                  </a:cubicBezTo>
                  <a:close/>
                  <a:moveTo>
                    <a:pt x="1572161" y="684286"/>
                  </a:moveTo>
                  <a:cubicBezTo>
                    <a:pt x="1567872" y="684575"/>
                    <a:pt x="1564451" y="684672"/>
                    <a:pt x="1561029" y="685057"/>
                  </a:cubicBezTo>
                  <a:cubicBezTo>
                    <a:pt x="1490045" y="693587"/>
                    <a:pt x="1419109" y="702213"/>
                    <a:pt x="1348125" y="710694"/>
                  </a:cubicBezTo>
                  <a:cubicBezTo>
                    <a:pt x="1192471" y="729248"/>
                    <a:pt x="1036769" y="747560"/>
                    <a:pt x="881115" y="766306"/>
                  </a:cubicBezTo>
                  <a:cubicBezTo>
                    <a:pt x="716546" y="786112"/>
                    <a:pt x="552025" y="806593"/>
                    <a:pt x="387360" y="825628"/>
                  </a:cubicBezTo>
                  <a:cubicBezTo>
                    <a:pt x="370541" y="827555"/>
                    <a:pt x="367264" y="832905"/>
                    <a:pt x="367313" y="848374"/>
                  </a:cubicBezTo>
                  <a:cubicBezTo>
                    <a:pt x="367746" y="1083445"/>
                    <a:pt x="367602" y="1318516"/>
                    <a:pt x="367602" y="1553539"/>
                  </a:cubicBezTo>
                  <a:lnTo>
                    <a:pt x="367602" y="1572044"/>
                  </a:lnTo>
                  <a:lnTo>
                    <a:pt x="945160" y="1572044"/>
                  </a:lnTo>
                  <a:cubicBezTo>
                    <a:pt x="945160" y="1486459"/>
                    <a:pt x="945112" y="1402367"/>
                    <a:pt x="945160" y="1318227"/>
                  </a:cubicBezTo>
                  <a:cubicBezTo>
                    <a:pt x="945160" y="1293168"/>
                    <a:pt x="953497" y="1284928"/>
                    <a:pt x="978700" y="1284879"/>
                  </a:cubicBezTo>
                  <a:cubicBezTo>
                    <a:pt x="1030408" y="1284783"/>
                    <a:pt x="1082068" y="1284783"/>
                    <a:pt x="1133776" y="1284879"/>
                  </a:cubicBezTo>
                  <a:cubicBezTo>
                    <a:pt x="1160907" y="1284879"/>
                    <a:pt x="1168762" y="1292927"/>
                    <a:pt x="1168810" y="1320588"/>
                  </a:cubicBezTo>
                  <a:cubicBezTo>
                    <a:pt x="1168858" y="1398126"/>
                    <a:pt x="1168810" y="1475712"/>
                    <a:pt x="1168810" y="1553250"/>
                  </a:cubicBezTo>
                  <a:cubicBezTo>
                    <a:pt x="1168810" y="1559611"/>
                    <a:pt x="1168810" y="1566020"/>
                    <a:pt x="1168810" y="1572381"/>
                  </a:cubicBezTo>
                  <a:lnTo>
                    <a:pt x="1207940" y="1572381"/>
                  </a:lnTo>
                  <a:cubicBezTo>
                    <a:pt x="1207940" y="1564816"/>
                    <a:pt x="1207940" y="1558358"/>
                    <a:pt x="1207940" y="1551852"/>
                  </a:cubicBezTo>
                  <a:cubicBezTo>
                    <a:pt x="1207940" y="1473688"/>
                    <a:pt x="1207844" y="1395524"/>
                    <a:pt x="1207989" y="1317408"/>
                  </a:cubicBezTo>
                  <a:cubicBezTo>
                    <a:pt x="1207989" y="1293216"/>
                    <a:pt x="1216325" y="1284976"/>
                    <a:pt x="1240372" y="1284879"/>
                  </a:cubicBezTo>
                  <a:cubicBezTo>
                    <a:pt x="1292080" y="1284735"/>
                    <a:pt x="1343740" y="1284783"/>
                    <a:pt x="1395448" y="1284879"/>
                  </a:cubicBezTo>
                  <a:cubicBezTo>
                    <a:pt x="1423832" y="1284879"/>
                    <a:pt x="1431542" y="1292638"/>
                    <a:pt x="1431542" y="1321504"/>
                  </a:cubicBezTo>
                  <a:cubicBezTo>
                    <a:pt x="1431591" y="1398463"/>
                    <a:pt x="1431542" y="1475423"/>
                    <a:pt x="1431542" y="1552383"/>
                  </a:cubicBezTo>
                  <a:cubicBezTo>
                    <a:pt x="1431542" y="1558840"/>
                    <a:pt x="1431542" y="1565249"/>
                    <a:pt x="1431542" y="1572622"/>
                  </a:cubicBezTo>
                  <a:lnTo>
                    <a:pt x="1572065" y="1572622"/>
                  </a:lnTo>
                  <a:lnTo>
                    <a:pt x="1572065" y="684334"/>
                  </a:lnTo>
                  <a:close/>
                  <a:moveTo>
                    <a:pt x="238115" y="394568"/>
                  </a:moveTo>
                  <a:cubicBezTo>
                    <a:pt x="222790" y="715706"/>
                    <a:pt x="207466" y="1035447"/>
                    <a:pt x="192142" y="1356153"/>
                  </a:cubicBezTo>
                  <a:lnTo>
                    <a:pt x="316231" y="1356153"/>
                  </a:lnTo>
                  <a:lnTo>
                    <a:pt x="316231" y="834688"/>
                  </a:lnTo>
                  <a:cubicBezTo>
                    <a:pt x="296810" y="836904"/>
                    <a:pt x="278498" y="839555"/>
                    <a:pt x="260090" y="840904"/>
                  </a:cubicBezTo>
                  <a:cubicBezTo>
                    <a:pt x="243127" y="842157"/>
                    <a:pt x="232091" y="833146"/>
                    <a:pt x="230838" y="818592"/>
                  </a:cubicBezTo>
                  <a:cubicBezTo>
                    <a:pt x="229537" y="803942"/>
                    <a:pt x="238934" y="792859"/>
                    <a:pt x="255367" y="790835"/>
                  </a:cubicBezTo>
                  <a:cubicBezTo>
                    <a:pt x="297100" y="785678"/>
                    <a:pt x="338880" y="781004"/>
                    <a:pt x="380613" y="775944"/>
                  </a:cubicBezTo>
                  <a:cubicBezTo>
                    <a:pt x="408322" y="772571"/>
                    <a:pt x="435983" y="768908"/>
                    <a:pt x="463934" y="765342"/>
                  </a:cubicBezTo>
                  <a:cubicBezTo>
                    <a:pt x="458006" y="639951"/>
                    <a:pt x="452223" y="517597"/>
                    <a:pt x="446392" y="394568"/>
                  </a:cubicBezTo>
                  <a:close/>
                  <a:moveTo>
                    <a:pt x="895090" y="394182"/>
                  </a:moveTo>
                  <a:cubicBezTo>
                    <a:pt x="889982" y="501019"/>
                    <a:pt x="884874" y="606893"/>
                    <a:pt x="879670" y="715803"/>
                  </a:cubicBezTo>
                  <a:lnTo>
                    <a:pt x="879670" y="715851"/>
                  </a:lnTo>
                  <a:cubicBezTo>
                    <a:pt x="957834" y="706502"/>
                    <a:pt x="1032866" y="697731"/>
                    <a:pt x="1107801" y="688045"/>
                  </a:cubicBezTo>
                  <a:cubicBezTo>
                    <a:pt x="1111271" y="687611"/>
                    <a:pt x="1116379" y="678985"/>
                    <a:pt x="1116186" y="674359"/>
                  </a:cubicBezTo>
                  <a:cubicBezTo>
                    <a:pt x="1113391" y="601737"/>
                    <a:pt x="1109922" y="529162"/>
                    <a:pt x="1106452" y="456588"/>
                  </a:cubicBezTo>
                  <a:cubicBezTo>
                    <a:pt x="1105440" y="435818"/>
                    <a:pt x="1103994" y="415048"/>
                    <a:pt x="1102790" y="394182"/>
                  </a:cubicBezTo>
                  <a:close/>
                  <a:moveTo>
                    <a:pt x="881260" y="307970"/>
                  </a:moveTo>
                  <a:lnTo>
                    <a:pt x="881260" y="341366"/>
                  </a:lnTo>
                  <a:lnTo>
                    <a:pt x="1117825" y="341366"/>
                  </a:lnTo>
                  <a:lnTo>
                    <a:pt x="1117825" y="307970"/>
                  </a:lnTo>
                  <a:close/>
                  <a:moveTo>
                    <a:pt x="224188" y="307729"/>
                  </a:moveTo>
                  <a:lnTo>
                    <a:pt x="224188" y="341607"/>
                  </a:lnTo>
                  <a:lnTo>
                    <a:pt x="459982" y="341607"/>
                  </a:lnTo>
                  <a:lnTo>
                    <a:pt x="459982" y="307729"/>
                  </a:lnTo>
                  <a:close/>
                  <a:moveTo>
                    <a:pt x="201346" y="256166"/>
                  </a:moveTo>
                  <a:cubicBezTo>
                    <a:pt x="295124" y="255973"/>
                    <a:pt x="388950" y="255973"/>
                    <a:pt x="482728" y="256166"/>
                  </a:cubicBezTo>
                  <a:cubicBezTo>
                    <a:pt x="502293" y="256166"/>
                    <a:pt x="511353" y="265225"/>
                    <a:pt x="511690" y="284935"/>
                  </a:cubicBezTo>
                  <a:cubicBezTo>
                    <a:pt x="512172" y="310765"/>
                    <a:pt x="512027" y="336643"/>
                    <a:pt x="511642" y="362521"/>
                  </a:cubicBezTo>
                  <a:cubicBezTo>
                    <a:pt x="511545" y="368352"/>
                    <a:pt x="511208" y="376544"/>
                    <a:pt x="507594" y="379484"/>
                  </a:cubicBezTo>
                  <a:cubicBezTo>
                    <a:pt x="494342" y="390230"/>
                    <a:pt x="497378" y="404109"/>
                    <a:pt x="497956" y="417554"/>
                  </a:cubicBezTo>
                  <a:cubicBezTo>
                    <a:pt x="502871" y="526271"/>
                    <a:pt x="508028" y="634988"/>
                    <a:pt x="513136" y="743705"/>
                  </a:cubicBezTo>
                  <a:cubicBezTo>
                    <a:pt x="513328" y="747849"/>
                    <a:pt x="514051" y="751945"/>
                    <a:pt x="514871" y="759607"/>
                  </a:cubicBezTo>
                  <a:cubicBezTo>
                    <a:pt x="619539" y="747126"/>
                    <a:pt x="723437" y="734693"/>
                    <a:pt x="828299" y="722164"/>
                  </a:cubicBezTo>
                  <a:cubicBezTo>
                    <a:pt x="829696" y="697008"/>
                    <a:pt x="831190" y="673106"/>
                    <a:pt x="832347" y="649156"/>
                  </a:cubicBezTo>
                  <a:cubicBezTo>
                    <a:pt x="836250" y="568678"/>
                    <a:pt x="840250" y="488201"/>
                    <a:pt x="843431" y="407723"/>
                  </a:cubicBezTo>
                  <a:cubicBezTo>
                    <a:pt x="843720" y="399917"/>
                    <a:pt x="838515" y="391869"/>
                    <a:pt x="835913" y="383918"/>
                  </a:cubicBezTo>
                  <a:cubicBezTo>
                    <a:pt x="833744" y="377267"/>
                    <a:pt x="830034" y="370569"/>
                    <a:pt x="829889" y="363822"/>
                  </a:cubicBezTo>
                  <a:cubicBezTo>
                    <a:pt x="829166" y="337366"/>
                    <a:pt x="829311" y="310910"/>
                    <a:pt x="829696" y="284453"/>
                  </a:cubicBezTo>
                  <a:cubicBezTo>
                    <a:pt x="829986" y="264888"/>
                    <a:pt x="838804" y="256262"/>
                    <a:pt x="858803" y="256214"/>
                  </a:cubicBezTo>
                  <a:cubicBezTo>
                    <a:pt x="952003" y="256069"/>
                    <a:pt x="1045202" y="256069"/>
                    <a:pt x="1138402" y="256214"/>
                  </a:cubicBezTo>
                  <a:cubicBezTo>
                    <a:pt x="1159220" y="256214"/>
                    <a:pt x="1168280" y="265081"/>
                    <a:pt x="1168617" y="285562"/>
                  </a:cubicBezTo>
                  <a:cubicBezTo>
                    <a:pt x="1169003" y="311391"/>
                    <a:pt x="1168955" y="337269"/>
                    <a:pt x="1168521" y="363148"/>
                  </a:cubicBezTo>
                  <a:cubicBezTo>
                    <a:pt x="1168425" y="368930"/>
                    <a:pt x="1167895" y="376834"/>
                    <a:pt x="1164280" y="380014"/>
                  </a:cubicBezTo>
                  <a:cubicBezTo>
                    <a:pt x="1152522" y="390423"/>
                    <a:pt x="1154064" y="403242"/>
                    <a:pt x="1154690" y="416253"/>
                  </a:cubicBezTo>
                  <a:cubicBezTo>
                    <a:pt x="1158594" y="498514"/>
                    <a:pt x="1162449" y="580822"/>
                    <a:pt x="1166401" y="663083"/>
                  </a:cubicBezTo>
                  <a:cubicBezTo>
                    <a:pt x="1166642" y="668384"/>
                    <a:pt x="1167605" y="673636"/>
                    <a:pt x="1168473" y="680865"/>
                  </a:cubicBezTo>
                  <a:cubicBezTo>
                    <a:pt x="1210495" y="675901"/>
                    <a:pt x="1251504" y="671130"/>
                    <a:pt x="1292514" y="666215"/>
                  </a:cubicBezTo>
                  <a:cubicBezTo>
                    <a:pt x="1417182" y="651228"/>
                    <a:pt x="1541850" y="636144"/>
                    <a:pt x="1666517" y="621157"/>
                  </a:cubicBezTo>
                  <a:cubicBezTo>
                    <a:pt x="1671288" y="620579"/>
                    <a:pt x="1676107" y="620145"/>
                    <a:pt x="1680878" y="619904"/>
                  </a:cubicBezTo>
                  <a:cubicBezTo>
                    <a:pt x="1696492" y="618989"/>
                    <a:pt x="1707093" y="626362"/>
                    <a:pt x="1708973" y="641638"/>
                  </a:cubicBezTo>
                  <a:cubicBezTo>
                    <a:pt x="1710900" y="657011"/>
                    <a:pt x="1702082" y="666986"/>
                    <a:pt x="1686854" y="669396"/>
                  </a:cubicBezTo>
                  <a:cubicBezTo>
                    <a:pt x="1666228" y="672672"/>
                    <a:pt x="1645410" y="674889"/>
                    <a:pt x="1624206" y="677636"/>
                  </a:cubicBezTo>
                  <a:lnTo>
                    <a:pt x="1624206" y="1573586"/>
                  </a:lnTo>
                  <a:lnTo>
                    <a:pt x="1624255" y="1573538"/>
                  </a:lnTo>
                  <a:cubicBezTo>
                    <a:pt x="1644157" y="1573538"/>
                    <a:pt x="1662132" y="1573297"/>
                    <a:pt x="1680155" y="1573586"/>
                  </a:cubicBezTo>
                  <a:cubicBezTo>
                    <a:pt x="1700732" y="1573924"/>
                    <a:pt x="1709840" y="1582887"/>
                    <a:pt x="1710081" y="1603368"/>
                  </a:cubicBezTo>
                  <a:cubicBezTo>
                    <a:pt x="1710370" y="1629246"/>
                    <a:pt x="1710418" y="1655076"/>
                    <a:pt x="1710081" y="1680954"/>
                  </a:cubicBezTo>
                  <a:cubicBezTo>
                    <a:pt x="1709840" y="1701290"/>
                    <a:pt x="1700588" y="1710061"/>
                    <a:pt x="1679962" y="1710591"/>
                  </a:cubicBezTo>
                  <a:cubicBezTo>
                    <a:pt x="1675770" y="1710687"/>
                    <a:pt x="1671529" y="1710591"/>
                    <a:pt x="1667336" y="1710591"/>
                  </a:cubicBezTo>
                  <a:cubicBezTo>
                    <a:pt x="1125584" y="1710591"/>
                    <a:pt x="583831" y="1710591"/>
                    <a:pt x="42078" y="1710591"/>
                  </a:cubicBezTo>
                  <a:cubicBezTo>
                    <a:pt x="5694" y="1710591"/>
                    <a:pt x="152" y="1705097"/>
                    <a:pt x="104" y="1669244"/>
                  </a:cubicBezTo>
                  <a:cubicBezTo>
                    <a:pt x="104" y="1646980"/>
                    <a:pt x="-185" y="1624716"/>
                    <a:pt x="200" y="1602500"/>
                  </a:cubicBezTo>
                  <a:cubicBezTo>
                    <a:pt x="538" y="1583128"/>
                    <a:pt x="9742" y="1573972"/>
                    <a:pt x="29163" y="1573586"/>
                  </a:cubicBezTo>
                  <a:cubicBezTo>
                    <a:pt x="48294" y="1573201"/>
                    <a:pt x="67426" y="1573490"/>
                    <a:pt x="87714" y="1573490"/>
                  </a:cubicBezTo>
                  <a:cubicBezTo>
                    <a:pt x="89786" y="1532817"/>
                    <a:pt x="91762" y="1493832"/>
                    <a:pt x="93689" y="1454846"/>
                  </a:cubicBezTo>
                  <a:cubicBezTo>
                    <a:pt x="94798" y="1433208"/>
                    <a:pt x="95858" y="1411619"/>
                    <a:pt x="96918" y="1389982"/>
                  </a:cubicBezTo>
                  <a:cubicBezTo>
                    <a:pt x="98219" y="1364248"/>
                    <a:pt x="104773" y="1357887"/>
                    <a:pt x="131085" y="1356924"/>
                  </a:cubicBezTo>
                  <a:cubicBezTo>
                    <a:pt x="133976" y="1356827"/>
                    <a:pt x="136868" y="1356538"/>
                    <a:pt x="141205" y="1356201"/>
                  </a:cubicBezTo>
                  <a:cubicBezTo>
                    <a:pt x="143132" y="1319480"/>
                    <a:pt x="145253" y="1283626"/>
                    <a:pt x="146939" y="1247725"/>
                  </a:cubicBezTo>
                  <a:cubicBezTo>
                    <a:pt x="155854" y="1058530"/>
                    <a:pt x="164625" y="869336"/>
                    <a:pt x="173588" y="680190"/>
                  </a:cubicBezTo>
                  <a:cubicBezTo>
                    <a:pt x="177829" y="590701"/>
                    <a:pt x="182407" y="501260"/>
                    <a:pt x="186889" y="411771"/>
                  </a:cubicBezTo>
                  <a:cubicBezTo>
                    <a:pt x="187419" y="401121"/>
                    <a:pt x="188961" y="390905"/>
                    <a:pt x="178648" y="382424"/>
                  </a:cubicBezTo>
                  <a:cubicBezTo>
                    <a:pt x="174504" y="379050"/>
                    <a:pt x="173203" y="370521"/>
                    <a:pt x="173058" y="364304"/>
                  </a:cubicBezTo>
                  <a:cubicBezTo>
                    <a:pt x="172480" y="337848"/>
                    <a:pt x="172576" y="311391"/>
                    <a:pt x="172866" y="284935"/>
                  </a:cubicBezTo>
                  <a:cubicBezTo>
                    <a:pt x="173106" y="264936"/>
                    <a:pt x="181588" y="256214"/>
                    <a:pt x="201346" y="256166"/>
                  </a:cubicBezTo>
                  <a:close/>
                  <a:moveTo>
                    <a:pt x="765314" y="87163"/>
                  </a:moveTo>
                  <a:cubicBezTo>
                    <a:pt x="773121" y="87163"/>
                    <a:pt x="780976" y="86489"/>
                    <a:pt x="788686" y="87308"/>
                  </a:cubicBezTo>
                  <a:cubicBezTo>
                    <a:pt x="803047" y="88898"/>
                    <a:pt x="811962" y="96898"/>
                    <a:pt x="812155" y="111933"/>
                  </a:cubicBezTo>
                  <a:cubicBezTo>
                    <a:pt x="812395" y="126968"/>
                    <a:pt x="803721" y="135932"/>
                    <a:pt x="789361" y="137088"/>
                  </a:cubicBezTo>
                  <a:cubicBezTo>
                    <a:pt x="773265" y="138341"/>
                    <a:pt x="756880" y="138389"/>
                    <a:pt x="740785" y="137088"/>
                  </a:cubicBezTo>
                  <a:cubicBezTo>
                    <a:pt x="726473" y="135883"/>
                    <a:pt x="717750" y="126679"/>
                    <a:pt x="718087" y="111788"/>
                  </a:cubicBezTo>
                  <a:cubicBezTo>
                    <a:pt x="718425" y="96994"/>
                    <a:pt x="727436" y="88802"/>
                    <a:pt x="741845" y="87356"/>
                  </a:cubicBezTo>
                  <a:cubicBezTo>
                    <a:pt x="749556" y="86585"/>
                    <a:pt x="757459" y="87211"/>
                    <a:pt x="765217" y="87211"/>
                  </a:cubicBezTo>
                  <a:close/>
                  <a:moveTo>
                    <a:pt x="1315645" y="87067"/>
                  </a:moveTo>
                  <a:cubicBezTo>
                    <a:pt x="1357088" y="86778"/>
                    <a:pt x="1398484" y="86826"/>
                    <a:pt x="1439927" y="87067"/>
                  </a:cubicBezTo>
                  <a:cubicBezTo>
                    <a:pt x="1458480" y="87164"/>
                    <a:pt x="1468841" y="96223"/>
                    <a:pt x="1469178" y="111596"/>
                  </a:cubicBezTo>
                  <a:cubicBezTo>
                    <a:pt x="1469564" y="127691"/>
                    <a:pt x="1458866" y="137233"/>
                    <a:pt x="1439397" y="137474"/>
                  </a:cubicBezTo>
                  <a:lnTo>
                    <a:pt x="1376396" y="137522"/>
                  </a:lnTo>
                  <a:lnTo>
                    <a:pt x="1315163" y="137426"/>
                  </a:lnTo>
                  <a:cubicBezTo>
                    <a:pt x="1296995" y="137089"/>
                    <a:pt x="1286538" y="127450"/>
                    <a:pt x="1286682" y="111981"/>
                  </a:cubicBezTo>
                  <a:cubicBezTo>
                    <a:pt x="1286827" y="96705"/>
                    <a:pt x="1297381" y="87212"/>
                    <a:pt x="1315645" y="87067"/>
                  </a:cubicBezTo>
                  <a:close/>
                  <a:moveTo>
                    <a:pt x="1162497" y="87067"/>
                  </a:moveTo>
                  <a:cubicBezTo>
                    <a:pt x="1176327" y="87067"/>
                    <a:pt x="1190110" y="86730"/>
                    <a:pt x="1203892" y="87163"/>
                  </a:cubicBezTo>
                  <a:cubicBezTo>
                    <a:pt x="1219313" y="87645"/>
                    <a:pt x="1228662" y="95934"/>
                    <a:pt x="1230011" y="111403"/>
                  </a:cubicBezTo>
                  <a:cubicBezTo>
                    <a:pt x="1231216" y="125523"/>
                    <a:pt x="1219939" y="136944"/>
                    <a:pt x="1203892" y="137329"/>
                  </a:cubicBezTo>
                  <a:cubicBezTo>
                    <a:pt x="1180472" y="137908"/>
                    <a:pt x="1157051" y="137377"/>
                    <a:pt x="1133679" y="137570"/>
                  </a:cubicBezTo>
                  <a:cubicBezTo>
                    <a:pt x="1095368" y="137811"/>
                    <a:pt x="1072188" y="158774"/>
                    <a:pt x="1067851" y="196892"/>
                  </a:cubicBezTo>
                  <a:cubicBezTo>
                    <a:pt x="1065827" y="214578"/>
                    <a:pt x="1055177" y="225083"/>
                    <a:pt x="1040527" y="223927"/>
                  </a:cubicBezTo>
                  <a:cubicBezTo>
                    <a:pt x="1025829" y="222770"/>
                    <a:pt x="1017107" y="211156"/>
                    <a:pt x="1017444" y="193133"/>
                  </a:cubicBezTo>
                  <a:cubicBezTo>
                    <a:pt x="1018553" y="138100"/>
                    <a:pt x="1066309" y="90007"/>
                    <a:pt x="1122884" y="87308"/>
                  </a:cubicBezTo>
                  <a:cubicBezTo>
                    <a:pt x="1136040" y="86681"/>
                    <a:pt x="1149293" y="87212"/>
                    <a:pt x="1162497" y="87212"/>
                  </a:cubicBezTo>
                  <a:close/>
                  <a:moveTo>
                    <a:pt x="632454" y="87066"/>
                  </a:moveTo>
                  <a:cubicBezTo>
                    <a:pt x="650815" y="87115"/>
                    <a:pt x="661031" y="96656"/>
                    <a:pt x="661031" y="112222"/>
                  </a:cubicBezTo>
                  <a:cubicBezTo>
                    <a:pt x="661031" y="127739"/>
                    <a:pt x="650766" y="137184"/>
                    <a:pt x="632454" y="137377"/>
                  </a:cubicBezTo>
                  <a:cubicBezTo>
                    <a:pt x="605468" y="137714"/>
                    <a:pt x="578433" y="137473"/>
                    <a:pt x="551447" y="137473"/>
                  </a:cubicBezTo>
                  <a:lnTo>
                    <a:pt x="551399" y="137522"/>
                  </a:lnTo>
                  <a:cubicBezTo>
                    <a:pt x="526195" y="137522"/>
                    <a:pt x="500992" y="137377"/>
                    <a:pt x="475788" y="137522"/>
                  </a:cubicBezTo>
                  <a:cubicBezTo>
                    <a:pt x="438634" y="137811"/>
                    <a:pt x="415310" y="159014"/>
                    <a:pt x="411021" y="195928"/>
                  </a:cubicBezTo>
                  <a:cubicBezTo>
                    <a:pt x="408949" y="214047"/>
                    <a:pt x="398973" y="224505"/>
                    <a:pt x="384468" y="223926"/>
                  </a:cubicBezTo>
                  <a:cubicBezTo>
                    <a:pt x="369095" y="223300"/>
                    <a:pt x="360132" y="211349"/>
                    <a:pt x="360710" y="192169"/>
                  </a:cubicBezTo>
                  <a:cubicBezTo>
                    <a:pt x="362301" y="136991"/>
                    <a:pt x="410105" y="88705"/>
                    <a:pt x="466825" y="87404"/>
                  </a:cubicBezTo>
                  <a:cubicBezTo>
                    <a:pt x="522003" y="86103"/>
                    <a:pt x="577228" y="86874"/>
                    <a:pt x="632454" y="87066"/>
                  </a:cubicBezTo>
                  <a:close/>
                  <a:moveTo>
                    <a:pt x="1443349" y="518"/>
                  </a:moveTo>
                  <a:cubicBezTo>
                    <a:pt x="1459878" y="1240"/>
                    <a:pt x="1470046" y="11553"/>
                    <a:pt x="1469179" y="26492"/>
                  </a:cubicBezTo>
                  <a:cubicBezTo>
                    <a:pt x="1468263" y="42395"/>
                    <a:pt x="1458674" y="49864"/>
                    <a:pt x="1443397" y="50828"/>
                  </a:cubicBezTo>
                  <a:cubicBezTo>
                    <a:pt x="1438000" y="51165"/>
                    <a:pt x="1432603" y="50876"/>
                    <a:pt x="1427205" y="50876"/>
                  </a:cubicBezTo>
                  <a:lnTo>
                    <a:pt x="1427205" y="50683"/>
                  </a:lnTo>
                  <a:cubicBezTo>
                    <a:pt x="1420603" y="50683"/>
                    <a:pt x="1413857" y="51551"/>
                    <a:pt x="1407447" y="50491"/>
                  </a:cubicBezTo>
                  <a:cubicBezTo>
                    <a:pt x="1393231" y="48178"/>
                    <a:pt x="1384798" y="39744"/>
                    <a:pt x="1385184" y="24757"/>
                  </a:cubicBezTo>
                  <a:cubicBezTo>
                    <a:pt x="1385569" y="10637"/>
                    <a:pt x="1393954" y="2349"/>
                    <a:pt x="1407399" y="855"/>
                  </a:cubicBezTo>
                  <a:cubicBezTo>
                    <a:pt x="1419254" y="-446"/>
                    <a:pt x="1431398" y="-13"/>
                    <a:pt x="1443349" y="518"/>
                  </a:cubicBezTo>
                  <a:close/>
                  <a:moveTo>
                    <a:pt x="652935" y="469"/>
                  </a:moveTo>
                  <a:cubicBezTo>
                    <a:pt x="696788" y="180"/>
                    <a:pt x="740689" y="180"/>
                    <a:pt x="784542" y="469"/>
                  </a:cubicBezTo>
                  <a:cubicBezTo>
                    <a:pt x="801746" y="613"/>
                    <a:pt x="811866" y="10010"/>
                    <a:pt x="812299" y="24708"/>
                  </a:cubicBezTo>
                  <a:cubicBezTo>
                    <a:pt x="812781" y="40274"/>
                    <a:pt x="802469" y="50394"/>
                    <a:pt x="784494" y="50731"/>
                  </a:cubicBezTo>
                  <a:cubicBezTo>
                    <a:pt x="762278" y="51165"/>
                    <a:pt x="740014" y="50827"/>
                    <a:pt x="717799" y="50827"/>
                  </a:cubicBezTo>
                  <a:lnTo>
                    <a:pt x="717799" y="50924"/>
                  </a:lnTo>
                  <a:cubicBezTo>
                    <a:pt x="696161" y="50924"/>
                    <a:pt x="674524" y="51213"/>
                    <a:pt x="652887" y="50827"/>
                  </a:cubicBezTo>
                  <a:cubicBezTo>
                    <a:pt x="634719" y="50538"/>
                    <a:pt x="624069" y="40900"/>
                    <a:pt x="624117" y="25624"/>
                  </a:cubicBezTo>
                  <a:cubicBezTo>
                    <a:pt x="624117" y="10348"/>
                    <a:pt x="634719" y="613"/>
                    <a:pt x="652935" y="469"/>
                  </a:cubicBezTo>
                  <a:close/>
                  <a:moveTo>
                    <a:pt x="1192953" y="421"/>
                  </a:moveTo>
                  <a:cubicBezTo>
                    <a:pt x="1217578" y="421"/>
                    <a:pt x="1242203" y="180"/>
                    <a:pt x="1266828" y="518"/>
                  </a:cubicBezTo>
                  <a:cubicBezTo>
                    <a:pt x="1285188" y="759"/>
                    <a:pt x="1295549" y="10108"/>
                    <a:pt x="1295646" y="25528"/>
                  </a:cubicBezTo>
                  <a:cubicBezTo>
                    <a:pt x="1295742" y="40997"/>
                    <a:pt x="1285333" y="50732"/>
                    <a:pt x="1267165" y="50828"/>
                  </a:cubicBezTo>
                  <a:cubicBezTo>
                    <a:pt x="1222156" y="51117"/>
                    <a:pt x="1177098" y="50732"/>
                    <a:pt x="1132088" y="50973"/>
                  </a:cubicBezTo>
                  <a:cubicBezTo>
                    <a:pt x="1048527" y="51503"/>
                    <a:pt x="986410" y="110584"/>
                    <a:pt x="981398" y="194001"/>
                  </a:cubicBezTo>
                  <a:cubicBezTo>
                    <a:pt x="980242" y="213132"/>
                    <a:pt x="970218" y="224457"/>
                    <a:pt x="955038" y="223975"/>
                  </a:cubicBezTo>
                  <a:cubicBezTo>
                    <a:pt x="939762" y="223445"/>
                    <a:pt x="930750" y="211639"/>
                    <a:pt x="930943" y="192362"/>
                  </a:cubicBezTo>
                  <a:cubicBezTo>
                    <a:pt x="931907" y="92031"/>
                    <a:pt x="1017444" y="4807"/>
                    <a:pt x="1119174" y="903"/>
                  </a:cubicBezTo>
                  <a:cubicBezTo>
                    <a:pt x="1143750" y="-61"/>
                    <a:pt x="1168424" y="759"/>
                    <a:pt x="1193001" y="759"/>
                  </a:cubicBezTo>
                  <a:lnTo>
                    <a:pt x="1193001" y="470"/>
                  </a:lnTo>
                  <a:close/>
                  <a:moveTo>
                    <a:pt x="497378" y="421"/>
                  </a:moveTo>
                  <a:cubicBezTo>
                    <a:pt x="508799" y="421"/>
                    <a:pt x="520220" y="324"/>
                    <a:pt x="531641" y="421"/>
                  </a:cubicBezTo>
                  <a:cubicBezTo>
                    <a:pt x="552796" y="662"/>
                    <a:pt x="563687" y="9577"/>
                    <a:pt x="563350" y="26203"/>
                  </a:cubicBezTo>
                  <a:cubicBezTo>
                    <a:pt x="563013" y="42105"/>
                    <a:pt x="552411" y="50346"/>
                    <a:pt x="532315" y="50924"/>
                  </a:cubicBezTo>
                  <a:cubicBezTo>
                    <a:pt x="502968" y="51743"/>
                    <a:pt x="473090" y="49864"/>
                    <a:pt x="444320" y="54442"/>
                  </a:cubicBezTo>
                  <a:cubicBezTo>
                    <a:pt x="377192" y="65188"/>
                    <a:pt x="328327" y="122775"/>
                    <a:pt x="324664" y="191013"/>
                  </a:cubicBezTo>
                  <a:cubicBezTo>
                    <a:pt x="323411" y="213710"/>
                    <a:pt x="312328" y="226673"/>
                    <a:pt x="295606" y="223589"/>
                  </a:cubicBezTo>
                  <a:cubicBezTo>
                    <a:pt x="279318" y="220601"/>
                    <a:pt x="273824" y="209421"/>
                    <a:pt x="273920" y="193374"/>
                  </a:cubicBezTo>
                  <a:cubicBezTo>
                    <a:pt x="274643" y="92849"/>
                    <a:pt x="359602" y="5240"/>
                    <a:pt x="461332" y="806"/>
                  </a:cubicBezTo>
                  <a:cubicBezTo>
                    <a:pt x="473331" y="276"/>
                    <a:pt x="485378" y="758"/>
                    <a:pt x="497378" y="758"/>
                  </a:cubicBezTo>
                  <a:close/>
                </a:path>
              </a:pathLst>
            </a:custGeom>
            <a:solidFill>
              <a:srgbClr val="000000"/>
            </a:solidFill>
            <a:ln w="48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sp>
          <p:nvSpPr>
            <p:cNvPr id="815" name="CuadroTexto 814">
              <a:extLst>
                <a:ext uri="{FF2B5EF4-FFF2-40B4-BE49-F238E27FC236}">
                  <a16:creationId xmlns:a16="http://schemas.microsoft.com/office/drawing/2014/main" id="{7CA6AA22-D279-20B3-FA0A-91462507300E}"/>
                </a:ext>
              </a:extLst>
            </p:cNvPr>
            <p:cNvSpPr txBox="1"/>
            <p:nvPr/>
          </p:nvSpPr>
          <p:spPr>
            <a:xfrm>
              <a:off x="10052206" y="5385131"/>
              <a:ext cx="774571"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INDUSTRY</a:t>
              </a:r>
            </a:p>
          </p:txBody>
        </p:sp>
      </p:grpSp>
      <p:sp>
        <p:nvSpPr>
          <p:cNvPr id="849" name="Forma libre 848">
            <a:extLst>
              <a:ext uri="{FF2B5EF4-FFF2-40B4-BE49-F238E27FC236}">
                <a16:creationId xmlns:a16="http://schemas.microsoft.com/office/drawing/2014/main" id="{6E989A2A-4BFF-D8EF-5530-1AD26A819DE3}"/>
              </a:ext>
            </a:extLst>
          </p:cNvPr>
          <p:cNvSpPr/>
          <p:nvPr/>
        </p:nvSpPr>
        <p:spPr>
          <a:xfrm>
            <a:off x="4538731" y="464626"/>
            <a:ext cx="2462682" cy="568320"/>
          </a:xfrm>
          <a:custGeom>
            <a:avLst/>
            <a:gdLst>
              <a:gd name="connsiteX0" fmla="*/ 1807636 w 4803228"/>
              <a:gd name="connsiteY0" fmla="*/ 511960 h 1108454"/>
              <a:gd name="connsiteX1" fmla="*/ 1705784 w 4803228"/>
              <a:gd name="connsiteY1" fmla="*/ 546154 h 1108454"/>
              <a:gd name="connsiteX2" fmla="*/ 1645815 w 4803228"/>
              <a:gd name="connsiteY2" fmla="*/ 559451 h 1108454"/>
              <a:gd name="connsiteX3" fmla="*/ 1578231 w 4803228"/>
              <a:gd name="connsiteY3" fmla="*/ 593645 h 1108454"/>
              <a:gd name="connsiteX4" fmla="*/ 1560145 w 4803228"/>
              <a:gd name="connsiteY4" fmla="*/ 650635 h 1108454"/>
              <a:gd name="connsiteX5" fmla="*/ 1583942 w 4803228"/>
              <a:gd name="connsiteY5" fmla="*/ 713324 h 1108454"/>
              <a:gd name="connsiteX6" fmla="*/ 1651526 w 4803228"/>
              <a:gd name="connsiteY6" fmla="*/ 734221 h 1108454"/>
              <a:gd name="connsiteX7" fmla="*/ 1765753 w 4803228"/>
              <a:gd name="connsiteY7" fmla="*/ 692428 h 1108454"/>
              <a:gd name="connsiteX8" fmla="*/ 1807636 w 4803228"/>
              <a:gd name="connsiteY8" fmla="*/ 578448 h 1108454"/>
              <a:gd name="connsiteX9" fmla="*/ 2662432 w 4803228"/>
              <a:gd name="connsiteY9" fmla="*/ 304896 h 1108454"/>
              <a:gd name="connsiteX10" fmla="*/ 2569146 w 4803228"/>
              <a:gd name="connsiteY10" fmla="*/ 340990 h 1108454"/>
              <a:gd name="connsiteX11" fmla="*/ 2529167 w 4803228"/>
              <a:gd name="connsiteY11" fmla="*/ 444522 h 1108454"/>
              <a:gd name="connsiteX12" fmla="*/ 2794744 w 4803228"/>
              <a:gd name="connsiteY12" fmla="*/ 444522 h 1108454"/>
              <a:gd name="connsiteX13" fmla="*/ 2758572 w 4803228"/>
              <a:gd name="connsiteY13" fmla="*/ 340990 h 1108454"/>
              <a:gd name="connsiteX14" fmla="*/ 2662432 w 4803228"/>
              <a:gd name="connsiteY14" fmla="*/ 304896 h 1108454"/>
              <a:gd name="connsiteX15" fmla="*/ 3570533 w 4803228"/>
              <a:gd name="connsiteY15" fmla="*/ 169070 h 1108454"/>
              <a:gd name="connsiteX16" fmla="*/ 3770430 w 4803228"/>
              <a:gd name="connsiteY16" fmla="*/ 169070 h 1108454"/>
              <a:gd name="connsiteX17" fmla="*/ 3911309 w 4803228"/>
              <a:gd name="connsiteY17" fmla="*/ 657284 h 1108454"/>
              <a:gd name="connsiteX18" fmla="*/ 4033151 w 4803228"/>
              <a:gd name="connsiteY18" fmla="*/ 231759 h 1108454"/>
              <a:gd name="connsiteX19" fmla="*/ 4115965 w 4803228"/>
              <a:gd name="connsiteY19" fmla="*/ 169070 h 1108454"/>
              <a:gd name="connsiteX20" fmla="*/ 4240662 w 4803228"/>
              <a:gd name="connsiteY20" fmla="*/ 169070 h 1108454"/>
              <a:gd name="connsiteX21" fmla="*/ 3975086 w 4803228"/>
              <a:gd name="connsiteY21" fmla="*/ 955531 h 1108454"/>
              <a:gd name="connsiteX22" fmla="*/ 3897031 w 4803228"/>
              <a:gd name="connsiteY22" fmla="*/ 1077109 h 1108454"/>
              <a:gd name="connsiteX23" fmla="*/ 3743777 w 4803228"/>
              <a:gd name="connsiteY23" fmla="*/ 1108454 h 1108454"/>
              <a:gd name="connsiteX24" fmla="*/ 3725691 w 4803228"/>
              <a:gd name="connsiteY24" fmla="*/ 1108454 h 1108454"/>
              <a:gd name="connsiteX25" fmla="*/ 3669529 w 4803228"/>
              <a:gd name="connsiteY25" fmla="*/ 1108454 h 1108454"/>
              <a:gd name="connsiteX26" fmla="*/ 3669529 w 4803228"/>
              <a:gd name="connsiteY26" fmla="*/ 961230 h 1108454"/>
              <a:gd name="connsiteX27" fmla="*/ 3719028 w 4803228"/>
              <a:gd name="connsiteY27" fmla="*/ 961230 h 1108454"/>
              <a:gd name="connsiteX28" fmla="*/ 3800890 w 4803228"/>
              <a:gd name="connsiteY28" fmla="*/ 936534 h 1108454"/>
              <a:gd name="connsiteX29" fmla="*/ 3812313 w 4803228"/>
              <a:gd name="connsiteY29" fmla="*/ 857698 h 1108454"/>
              <a:gd name="connsiteX30" fmla="*/ 1349777 w 4803228"/>
              <a:gd name="connsiteY30" fmla="*/ 169070 h 1108454"/>
              <a:gd name="connsiteX31" fmla="*/ 1363104 w 4803228"/>
              <a:gd name="connsiteY31" fmla="*/ 169070 h 1108454"/>
              <a:gd name="connsiteX32" fmla="*/ 1376430 w 4803228"/>
              <a:gd name="connsiteY32" fmla="*/ 169070 h 1108454"/>
              <a:gd name="connsiteX33" fmla="*/ 1376430 w 4803228"/>
              <a:gd name="connsiteY33" fmla="*/ 353337 h 1108454"/>
              <a:gd name="connsiteX34" fmla="*/ 1316461 w 4803228"/>
              <a:gd name="connsiteY34" fmla="*/ 353337 h 1108454"/>
              <a:gd name="connsiteX35" fmla="*/ 1204138 w 4803228"/>
              <a:gd name="connsiteY35" fmla="*/ 389431 h 1108454"/>
              <a:gd name="connsiteX36" fmla="*/ 1167967 w 4803228"/>
              <a:gd name="connsiteY36" fmla="*/ 503411 h 1108454"/>
              <a:gd name="connsiteX37" fmla="*/ 1167967 w 4803228"/>
              <a:gd name="connsiteY37" fmla="*/ 858648 h 1108454"/>
              <a:gd name="connsiteX38" fmla="*/ 986156 w 4803228"/>
              <a:gd name="connsiteY38" fmla="*/ 859598 h 1108454"/>
              <a:gd name="connsiteX39" fmla="*/ 986156 w 4803228"/>
              <a:gd name="connsiteY39" fmla="*/ 524307 h 1108454"/>
              <a:gd name="connsiteX40" fmla="*/ 1015665 w 4803228"/>
              <a:gd name="connsiteY40" fmla="*/ 354287 h 1108454"/>
              <a:gd name="connsiteX41" fmla="*/ 1097527 w 4803228"/>
              <a:gd name="connsiteY41" fmla="*/ 244107 h 1108454"/>
              <a:gd name="connsiteX42" fmla="*/ 1213657 w 4803228"/>
              <a:gd name="connsiteY42" fmla="*/ 187117 h 1108454"/>
              <a:gd name="connsiteX43" fmla="*/ 1349777 w 4803228"/>
              <a:gd name="connsiteY43" fmla="*/ 169070 h 1108454"/>
              <a:gd name="connsiteX44" fmla="*/ 2656720 w 4803228"/>
              <a:gd name="connsiteY44" fmla="*/ 154823 h 1108454"/>
              <a:gd name="connsiteX45" fmla="*/ 2898500 w 4803228"/>
              <a:gd name="connsiteY45" fmla="*/ 247907 h 1108454"/>
              <a:gd name="connsiteX46" fmla="*/ 2981314 w 4803228"/>
              <a:gd name="connsiteY46" fmla="*/ 514809 h 1108454"/>
              <a:gd name="connsiteX47" fmla="*/ 2981314 w 4803228"/>
              <a:gd name="connsiteY47" fmla="*/ 532856 h 1108454"/>
              <a:gd name="connsiteX48" fmla="*/ 2981314 w 4803228"/>
              <a:gd name="connsiteY48" fmla="*/ 543304 h 1108454"/>
              <a:gd name="connsiteX49" fmla="*/ 2978458 w 4803228"/>
              <a:gd name="connsiteY49" fmla="*/ 561351 h 1108454"/>
              <a:gd name="connsiteX50" fmla="*/ 2528215 w 4803228"/>
              <a:gd name="connsiteY50" fmla="*/ 561351 h 1108454"/>
              <a:gd name="connsiteX51" fmla="*/ 2567243 w 4803228"/>
              <a:gd name="connsiteY51" fmla="*/ 681030 h 1108454"/>
              <a:gd name="connsiteX52" fmla="*/ 2669095 w 4803228"/>
              <a:gd name="connsiteY52" fmla="*/ 722823 h 1108454"/>
              <a:gd name="connsiteX53" fmla="*/ 2744294 w 4803228"/>
              <a:gd name="connsiteY53" fmla="*/ 704776 h 1108454"/>
              <a:gd name="connsiteX54" fmla="*/ 2758572 w 4803228"/>
              <a:gd name="connsiteY54" fmla="*/ 695277 h 1108454"/>
              <a:gd name="connsiteX55" fmla="*/ 2772851 w 4803228"/>
              <a:gd name="connsiteY55" fmla="*/ 681030 h 1108454"/>
              <a:gd name="connsiteX56" fmla="*/ 2791888 w 4803228"/>
              <a:gd name="connsiteY56" fmla="*/ 660134 h 1108454"/>
              <a:gd name="connsiteX57" fmla="*/ 2841387 w 4803228"/>
              <a:gd name="connsiteY57" fmla="*/ 646836 h 1108454"/>
              <a:gd name="connsiteX58" fmla="*/ 2970843 w 4803228"/>
              <a:gd name="connsiteY58" fmla="*/ 646836 h 1108454"/>
              <a:gd name="connsiteX59" fmla="*/ 2861376 w 4803228"/>
              <a:gd name="connsiteY59" fmla="*/ 813057 h 1108454"/>
              <a:gd name="connsiteX60" fmla="*/ 2658624 w 4803228"/>
              <a:gd name="connsiteY60" fmla="*/ 872896 h 1108454"/>
              <a:gd name="connsiteX61" fmla="*/ 2427315 w 4803228"/>
              <a:gd name="connsiteY61" fmla="*/ 776963 h 1108454"/>
              <a:gd name="connsiteX62" fmla="*/ 2344501 w 4803228"/>
              <a:gd name="connsiteY62" fmla="*/ 510060 h 1108454"/>
              <a:gd name="connsiteX63" fmla="*/ 2425412 w 4803228"/>
              <a:gd name="connsiteY63" fmla="*/ 250756 h 1108454"/>
              <a:gd name="connsiteX64" fmla="*/ 2656720 w 4803228"/>
              <a:gd name="connsiteY64" fmla="*/ 154823 h 1108454"/>
              <a:gd name="connsiteX65" fmla="*/ 1682939 w 4803228"/>
              <a:gd name="connsiteY65" fmla="*/ 154823 h 1108454"/>
              <a:gd name="connsiteX66" fmla="*/ 1901873 w 4803228"/>
              <a:gd name="connsiteY66" fmla="*/ 204214 h 1108454"/>
              <a:gd name="connsiteX67" fmla="*/ 1977072 w 4803228"/>
              <a:gd name="connsiteY67" fmla="*/ 349539 h 1108454"/>
              <a:gd name="connsiteX68" fmla="*/ 1977072 w 4803228"/>
              <a:gd name="connsiteY68" fmla="*/ 586047 h 1108454"/>
              <a:gd name="connsiteX69" fmla="*/ 1938997 w 4803228"/>
              <a:gd name="connsiteY69" fmla="*/ 748468 h 1108454"/>
              <a:gd name="connsiteX70" fmla="*/ 1849519 w 4803228"/>
              <a:gd name="connsiteY70" fmla="*/ 831103 h 1108454"/>
              <a:gd name="connsiteX71" fmla="*/ 1733389 w 4803228"/>
              <a:gd name="connsiteY71" fmla="*/ 866247 h 1108454"/>
              <a:gd name="connsiteX72" fmla="*/ 1625825 w 4803228"/>
              <a:gd name="connsiteY72" fmla="*/ 872896 h 1108454"/>
              <a:gd name="connsiteX73" fmla="*/ 1462101 w 4803228"/>
              <a:gd name="connsiteY73" fmla="*/ 822555 h 1108454"/>
              <a:gd name="connsiteX74" fmla="*/ 1391661 w 4803228"/>
              <a:gd name="connsiteY74" fmla="*/ 655384 h 1108454"/>
              <a:gd name="connsiteX75" fmla="*/ 1455437 w 4803228"/>
              <a:gd name="connsiteY75" fmla="*/ 499612 h 1108454"/>
              <a:gd name="connsiteX76" fmla="*/ 1618210 w 4803228"/>
              <a:gd name="connsiteY76" fmla="*/ 436923 h 1108454"/>
              <a:gd name="connsiteX77" fmla="*/ 1649623 w 4803228"/>
              <a:gd name="connsiteY77" fmla="*/ 433124 h 1108454"/>
              <a:gd name="connsiteX78" fmla="*/ 1691506 w 4803228"/>
              <a:gd name="connsiteY78" fmla="*/ 426475 h 1108454"/>
              <a:gd name="connsiteX79" fmla="*/ 1805732 w 4803228"/>
              <a:gd name="connsiteY79" fmla="*/ 359037 h 1108454"/>
              <a:gd name="connsiteX80" fmla="*/ 1765753 w 4803228"/>
              <a:gd name="connsiteY80" fmla="*/ 308696 h 1108454"/>
              <a:gd name="connsiteX81" fmla="*/ 1691506 w 4803228"/>
              <a:gd name="connsiteY81" fmla="*/ 297298 h 1108454"/>
              <a:gd name="connsiteX82" fmla="*/ 1626777 w 4803228"/>
              <a:gd name="connsiteY82" fmla="*/ 307746 h 1108454"/>
              <a:gd name="connsiteX83" fmla="*/ 1584894 w 4803228"/>
              <a:gd name="connsiteY83" fmla="*/ 346689 h 1108454"/>
              <a:gd name="connsiteX84" fmla="*/ 1409747 w 4803228"/>
              <a:gd name="connsiteY84" fmla="*/ 346689 h 1108454"/>
              <a:gd name="connsiteX85" fmla="*/ 1483042 w 4803228"/>
              <a:gd name="connsiteY85" fmla="*/ 214662 h 1108454"/>
              <a:gd name="connsiteX86" fmla="*/ 1682939 w 4803228"/>
              <a:gd name="connsiteY86" fmla="*/ 154823 h 1108454"/>
              <a:gd name="connsiteX87" fmla="*/ 293182 w 4803228"/>
              <a:gd name="connsiteY87" fmla="*/ 153873 h 1108454"/>
              <a:gd name="connsiteX88" fmla="*/ 509260 w 4803228"/>
              <a:gd name="connsiteY88" fmla="*/ 213712 h 1108454"/>
              <a:gd name="connsiteX89" fmla="*/ 590171 w 4803228"/>
              <a:gd name="connsiteY89" fmla="*/ 382782 h 1108454"/>
              <a:gd name="connsiteX90" fmla="*/ 477848 w 4803228"/>
              <a:gd name="connsiteY90" fmla="*/ 382782 h 1108454"/>
              <a:gd name="connsiteX91" fmla="*/ 402649 w 4803228"/>
              <a:gd name="connsiteY91" fmla="*/ 339090 h 1108454"/>
              <a:gd name="connsiteX92" fmla="*/ 381707 w 4803228"/>
              <a:gd name="connsiteY92" fmla="*/ 318194 h 1108454"/>
              <a:gd name="connsiteX93" fmla="*/ 296037 w 4803228"/>
              <a:gd name="connsiteY93" fmla="*/ 294448 h 1108454"/>
              <a:gd name="connsiteX94" fmla="*/ 217982 w 4803228"/>
              <a:gd name="connsiteY94" fmla="*/ 309645 h 1108454"/>
              <a:gd name="connsiteX95" fmla="*/ 194185 w 4803228"/>
              <a:gd name="connsiteY95" fmla="*/ 356187 h 1108454"/>
              <a:gd name="connsiteX96" fmla="*/ 329353 w 4803228"/>
              <a:gd name="connsiteY96" fmla="*/ 426475 h 1108454"/>
              <a:gd name="connsiteX97" fmla="*/ 356958 w 4803228"/>
              <a:gd name="connsiteY97" fmla="*/ 434073 h 1108454"/>
              <a:gd name="connsiteX98" fmla="*/ 378852 w 4803228"/>
              <a:gd name="connsiteY98" fmla="*/ 436923 h 1108454"/>
              <a:gd name="connsiteX99" fmla="*/ 563518 w 4803228"/>
              <a:gd name="connsiteY99" fmla="*/ 514809 h 1108454"/>
              <a:gd name="connsiteX100" fmla="*/ 613016 w 4803228"/>
              <a:gd name="connsiteY100" fmla="*/ 639237 h 1108454"/>
              <a:gd name="connsiteX101" fmla="*/ 530202 w 4803228"/>
              <a:gd name="connsiteY101" fmla="*/ 815906 h 1108454"/>
              <a:gd name="connsiteX102" fmla="*/ 296037 w 4803228"/>
              <a:gd name="connsiteY102" fmla="*/ 872896 h 1108454"/>
              <a:gd name="connsiteX103" fmla="*/ 75199 w 4803228"/>
              <a:gd name="connsiteY103" fmla="*/ 813056 h 1108454"/>
              <a:gd name="connsiteX104" fmla="*/ 0 w 4803228"/>
              <a:gd name="connsiteY104" fmla="*/ 639237 h 1108454"/>
              <a:gd name="connsiteX105" fmla="*/ 0 w 4803228"/>
              <a:gd name="connsiteY105" fmla="*/ 630689 h 1108454"/>
              <a:gd name="connsiteX106" fmla="*/ 177051 w 4803228"/>
              <a:gd name="connsiteY106" fmla="*/ 630689 h 1108454"/>
              <a:gd name="connsiteX107" fmla="*/ 216079 w 4803228"/>
              <a:gd name="connsiteY107" fmla="*/ 708575 h 1108454"/>
              <a:gd name="connsiteX108" fmla="*/ 319834 w 4803228"/>
              <a:gd name="connsiteY108" fmla="*/ 734220 h 1108454"/>
              <a:gd name="connsiteX109" fmla="*/ 400745 w 4803228"/>
              <a:gd name="connsiteY109" fmla="*/ 716174 h 1108454"/>
              <a:gd name="connsiteX110" fmla="*/ 432157 w 4803228"/>
              <a:gd name="connsiteY110" fmla="*/ 666782 h 1108454"/>
              <a:gd name="connsiteX111" fmla="*/ 322690 w 4803228"/>
              <a:gd name="connsiteY111" fmla="*/ 596495 h 1108454"/>
              <a:gd name="connsiteX112" fmla="*/ 252250 w 4803228"/>
              <a:gd name="connsiteY112" fmla="*/ 581297 h 1108454"/>
              <a:gd name="connsiteX113" fmla="*/ 67584 w 4803228"/>
              <a:gd name="connsiteY113" fmla="*/ 501511 h 1108454"/>
              <a:gd name="connsiteX114" fmla="*/ 15230 w 4803228"/>
              <a:gd name="connsiteY114" fmla="*/ 377084 h 1108454"/>
              <a:gd name="connsiteX115" fmla="*/ 90429 w 4803228"/>
              <a:gd name="connsiteY115" fmla="*/ 213712 h 1108454"/>
              <a:gd name="connsiteX116" fmla="*/ 293182 w 4803228"/>
              <a:gd name="connsiteY116" fmla="*/ 153873 h 1108454"/>
              <a:gd name="connsiteX117" fmla="*/ 4483393 w 4803228"/>
              <a:gd name="connsiteY117" fmla="*/ 152923 h 1108454"/>
              <a:gd name="connsiteX118" fmla="*/ 4699472 w 4803228"/>
              <a:gd name="connsiteY118" fmla="*/ 212762 h 1108454"/>
              <a:gd name="connsiteX119" fmla="*/ 4780382 w 4803228"/>
              <a:gd name="connsiteY119" fmla="*/ 381833 h 1108454"/>
              <a:gd name="connsiteX120" fmla="*/ 4668060 w 4803228"/>
              <a:gd name="connsiteY120" fmla="*/ 381833 h 1108454"/>
              <a:gd name="connsiteX121" fmla="*/ 4592861 w 4803228"/>
              <a:gd name="connsiteY121" fmla="*/ 338140 h 1108454"/>
              <a:gd name="connsiteX122" fmla="*/ 4571919 w 4803228"/>
              <a:gd name="connsiteY122" fmla="*/ 317244 h 1108454"/>
              <a:gd name="connsiteX123" fmla="*/ 4486249 w 4803228"/>
              <a:gd name="connsiteY123" fmla="*/ 293498 h 1108454"/>
              <a:gd name="connsiteX124" fmla="*/ 4408194 w 4803228"/>
              <a:gd name="connsiteY124" fmla="*/ 308695 h 1108454"/>
              <a:gd name="connsiteX125" fmla="*/ 4384397 w 4803228"/>
              <a:gd name="connsiteY125" fmla="*/ 355237 h 1108454"/>
              <a:gd name="connsiteX126" fmla="*/ 4519565 w 4803228"/>
              <a:gd name="connsiteY126" fmla="*/ 425525 h 1108454"/>
              <a:gd name="connsiteX127" fmla="*/ 4547170 w 4803228"/>
              <a:gd name="connsiteY127" fmla="*/ 433123 h 1108454"/>
              <a:gd name="connsiteX128" fmla="*/ 4569063 w 4803228"/>
              <a:gd name="connsiteY128" fmla="*/ 435973 h 1108454"/>
              <a:gd name="connsiteX129" fmla="*/ 4753730 w 4803228"/>
              <a:gd name="connsiteY129" fmla="*/ 513859 h 1108454"/>
              <a:gd name="connsiteX130" fmla="*/ 4803228 w 4803228"/>
              <a:gd name="connsiteY130" fmla="*/ 638287 h 1108454"/>
              <a:gd name="connsiteX131" fmla="*/ 4720414 w 4803228"/>
              <a:gd name="connsiteY131" fmla="*/ 814956 h 1108454"/>
              <a:gd name="connsiteX132" fmla="*/ 4486249 w 4803228"/>
              <a:gd name="connsiteY132" fmla="*/ 871946 h 1108454"/>
              <a:gd name="connsiteX133" fmla="*/ 4265411 w 4803228"/>
              <a:gd name="connsiteY133" fmla="*/ 812106 h 1108454"/>
              <a:gd name="connsiteX134" fmla="*/ 4190212 w 4803228"/>
              <a:gd name="connsiteY134" fmla="*/ 638287 h 1108454"/>
              <a:gd name="connsiteX135" fmla="*/ 4190212 w 4803228"/>
              <a:gd name="connsiteY135" fmla="*/ 630688 h 1108454"/>
              <a:gd name="connsiteX136" fmla="*/ 4367263 w 4803228"/>
              <a:gd name="connsiteY136" fmla="*/ 630688 h 1108454"/>
              <a:gd name="connsiteX137" fmla="*/ 4406290 w 4803228"/>
              <a:gd name="connsiteY137" fmla="*/ 708575 h 1108454"/>
              <a:gd name="connsiteX138" fmla="*/ 4510047 w 4803228"/>
              <a:gd name="connsiteY138" fmla="*/ 734220 h 1108454"/>
              <a:gd name="connsiteX139" fmla="*/ 4590957 w 4803228"/>
              <a:gd name="connsiteY139" fmla="*/ 716173 h 1108454"/>
              <a:gd name="connsiteX140" fmla="*/ 4622369 w 4803228"/>
              <a:gd name="connsiteY140" fmla="*/ 666782 h 1108454"/>
              <a:gd name="connsiteX141" fmla="*/ 4512902 w 4803228"/>
              <a:gd name="connsiteY141" fmla="*/ 596495 h 1108454"/>
              <a:gd name="connsiteX142" fmla="*/ 4442462 w 4803228"/>
              <a:gd name="connsiteY142" fmla="*/ 581297 h 1108454"/>
              <a:gd name="connsiteX143" fmla="*/ 4257796 w 4803228"/>
              <a:gd name="connsiteY143" fmla="*/ 500562 h 1108454"/>
              <a:gd name="connsiteX144" fmla="*/ 4205442 w 4803228"/>
              <a:gd name="connsiteY144" fmla="*/ 376133 h 1108454"/>
              <a:gd name="connsiteX145" fmla="*/ 4280641 w 4803228"/>
              <a:gd name="connsiteY145" fmla="*/ 212762 h 1108454"/>
              <a:gd name="connsiteX146" fmla="*/ 4483393 w 4803228"/>
              <a:gd name="connsiteY146" fmla="*/ 152923 h 1108454"/>
              <a:gd name="connsiteX147" fmla="*/ 3287822 w 4803228"/>
              <a:gd name="connsiteY147" fmla="*/ 152923 h 1108454"/>
              <a:gd name="connsiteX148" fmla="*/ 3503901 w 4803228"/>
              <a:gd name="connsiteY148" fmla="*/ 212762 h 1108454"/>
              <a:gd name="connsiteX149" fmla="*/ 3584812 w 4803228"/>
              <a:gd name="connsiteY149" fmla="*/ 381833 h 1108454"/>
              <a:gd name="connsiteX150" fmla="*/ 3472489 w 4803228"/>
              <a:gd name="connsiteY150" fmla="*/ 381833 h 1108454"/>
              <a:gd name="connsiteX151" fmla="*/ 3397290 w 4803228"/>
              <a:gd name="connsiteY151" fmla="*/ 338140 h 1108454"/>
              <a:gd name="connsiteX152" fmla="*/ 3376348 w 4803228"/>
              <a:gd name="connsiteY152" fmla="*/ 317244 h 1108454"/>
              <a:gd name="connsiteX153" fmla="*/ 3290678 w 4803228"/>
              <a:gd name="connsiteY153" fmla="*/ 293498 h 1108454"/>
              <a:gd name="connsiteX154" fmla="*/ 3212623 w 4803228"/>
              <a:gd name="connsiteY154" fmla="*/ 308695 h 1108454"/>
              <a:gd name="connsiteX155" fmla="*/ 3188826 w 4803228"/>
              <a:gd name="connsiteY155" fmla="*/ 355237 h 1108454"/>
              <a:gd name="connsiteX156" fmla="*/ 3323994 w 4803228"/>
              <a:gd name="connsiteY156" fmla="*/ 425525 h 1108454"/>
              <a:gd name="connsiteX157" fmla="*/ 3351599 w 4803228"/>
              <a:gd name="connsiteY157" fmla="*/ 433123 h 1108454"/>
              <a:gd name="connsiteX158" fmla="*/ 3373492 w 4803228"/>
              <a:gd name="connsiteY158" fmla="*/ 435973 h 1108454"/>
              <a:gd name="connsiteX159" fmla="*/ 3558159 w 4803228"/>
              <a:gd name="connsiteY159" fmla="*/ 513859 h 1108454"/>
              <a:gd name="connsiteX160" fmla="*/ 3607657 w 4803228"/>
              <a:gd name="connsiteY160" fmla="*/ 638287 h 1108454"/>
              <a:gd name="connsiteX161" fmla="*/ 3524843 w 4803228"/>
              <a:gd name="connsiteY161" fmla="*/ 814956 h 1108454"/>
              <a:gd name="connsiteX162" fmla="*/ 3290678 w 4803228"/>
              <a:gd name="connsiteY162" fmla="*/ 871946 h 1108454"/>
              <a:gd name="connsiteX163" fmla="*/ 3069840 w 4803228"/>
              <a:gd name="connsiteY163" fmla="*/ 812106 h 1108454"/>
              <a:gd name="connsiteX164" fmla="*/ 2994641 w 4803228"/>
              <a:gd name="connsiteY164" fmla="*/ 638287 h 1108454"/>
              <a:gd name="connsiteX165" fmla="*/ 2994641 w 4803228"/>
              <a:gd name="connsiteY165" fmla="*/ 630688 h 1108454"/>
              <a:gd name="connsiteX166" fmla="*/ 3171692 w 4803228"/>
              <a:gd name="connsiteY166" fmla="*/ 630688 h 1108454"/>
              <a:gd name="connsiteX167" fmla="*/ 3210720 w 4803228"/>
              <a:gd name="connsiteY167" fmla="*/ 708575 h 1108454"/>
              <a:gd name="connsiteX168" fmla="*/ 3314476 w 4803228"/>
              <a:gd name="connsiteY168" fmla="*/ 734220 h 1108454"/>
              <a:gd name="connsiteX169" fmla="*/ 3395386 w 4803228"/>
              <a:gd name="connsiteY169" fmla="*/ 716173 h 1108454"/>
              <a:gd name="connsiteX170" fmla="*/ 3426798 w 4803228"/>
              <a:gd name="connsiteY170" fmla="*/ 666782 h 1108454"/>
              <a:gd name="connsiteX171" fmla="*/ 3317331 w 4803228"/>
              <a:gd name="connsiteY171" fmla="*/ 596495 h 1108454"/>
              <a:gd name="connsiteX172" fmla="*/ 3246891 w 4803228"/>
              <a:gd name="connsiteY172" fmla="*/ 581297 h 1108454"/>
              <a:gd name="connsiteX173" fmla="*/ 3062225 w 4803228"/>
              <a:gd name="connsiteY173" fmla="*/ 500562 h 1108454"/>
              <a:gd name="connsiteX174" fmla="*/ 3009871 w 4803228"/>
              <a:gd name="connsiteY174" fmla="*/ 376133 h 1108454"/>
              <a:gd name="connsiteX175" fmla="*/ 3085070 w 4803228"/>
              <a:gd name="connsiteY175" fmla="*/ 212762 h 1108454"/>
              <a:gd name="connsiteX176" fmla="*/ 3287822 w 4803228"/>
              <a:gd name="connsiteY176" fmla="*/ 152923 h 1108454"/>
              <a:gd name="connsiteX177" fmla="*/ 2019907 w 4803228"/>
              <a:gd name="connsiteY177" fmla="*/ 0 h 1108454"/>
              <a:gd name="connsiteX178" fmla="*/ 2196006 w 4803228"/>
              <a:gd name="connsiteY178" fmla="*/ 0 h 1108454"/>
              <a:gd name="connsiteX179" fmla="*/ 2196006 w 4803228"/>
              <a:gd name="connsiteY179" fmla="*/ 173819 h 1108454"/>
              <a:gd name="connsiteX180" fmla="*/ 2319752 w 4803228"/>
              <a:gd name="connsiteY180" fmla="*/ 173819 h 1108454"/>
              <a:gd name="connsiteX181" fmla="*/ 2319752 w 4803228"/>
              <a:gd name="connsiteY181" fmla="*/ 329592 h 1108454"/>
              <a:gd name="connsiteX182" fmla="*/ 2196006 w 4803228"/>
              <a:gd name="connsiteY182" fmla="*/ 329592 h 1108454"/>
              <a:gd name="connsiteX183" fmla="*/ 2196006 w 4803228"/>
              <a:gd name="connsiteY183" fmla="*/ 571799 h 1108454"/>
              <a:gd name="connsiteX184" fmla="*/ 2228370 w 4803228"/>
              <a:gd name="connsiteY184" fmla="*/ 672481 h 1108454"/>
              <a:gd name="connsiteX185" fmla="*/ 2327367 w 4803228"/>
              <a:gd name="connsiteY185" fmla="*/ 698127 h 1108454"/>
              <a:gd name="connsiteX186" fmla="*/ 2327367 w 4803228"/>
              <a:gd name="connsiteY186" fmla="*/ 857698 h 1108454"/>
              <a:gd name="connsiteX187" fmla="*/ 2328319 w 4803228"/>
              <a:gd name="connsiteY187" fmla="*/ 857698 h 1108454"/>
              <a:gd name="connsiteX188" fmla="*/ 2195054 w 4803228"/>
              <a:gd name="connsiteY188" fmla="*/ 848200 h 1108454"/>
              <a:gd name="connsiteX189" fmla="*/ 2098914 w 4803228"/>
              <a:gd name="connsiteY189" fmla="*/ 792160 h 1108454"/>
              <a:gd name="connsiteX190" fmla="*/ 2039897 w 4803228"/>
              <a:gd name="connsiteY190" fmla="*/ 697177 h 1108454"/>
              <a:gd name="connsiteX191" fmla="*/ 2019907 w 4803228"/>
              <a:gd name="connsiteY191" fmla="*/ 569899 h 1108454"/>
              <a:gd name="connsiteX192" fmla="*/ 645380 w 4803228"/>
              <a:gd name="connsiteY192" fmla="*/ 0 h 1108454"/>
              <a:gd name="connsiteX193" fmla="*/ 821479 w 4803228"/>
              <a:gd name="connsiteY193" fmla="*/ 0 h 1108454"/>
              <a:gd name="connsiteX194" fmla="*/ 821479 w 4803228"/>
              <a:gd name="connsiteY194" fmla="*/ 173819 h 1108454"/>
              <a:gd name="connsiteX195" fmla="*/ 945225 w 4803228"/>
              <a:gd name="connsiteY195" fmla="*/ 173819 h 1108454"/>
              <a:gd name="connsiteX196" fmla="*/ 945225 w 4803228"/>
              <a:gd name="connsiteY196" fmla="*/ 329592 h 1108454"/>
              <a:gd name="connsiteX197" fmla="*/ 821479 w 4803228"/>
              <a:gd name="connsiteY197" fmla="*/ 329592 h 1108454"/>
              <a:gd name="connsiteX198" fmla="*/ 821479 w 4803228"/>
              <a:gd name="connsiteY198" fmla="*/ 571799 h 1108454"/>
              <a:gd name="connsiteX199" fmla="*/ 853844 w 4803228"/>
              <a:gd name="connsiteY199" fmla="*/ 672481 h 1108454"/>
              <a:gd name="connsiteX200" fmla="*/ 952840 w 4803228"/>
              <a:gd name="connsiteY200" fmla="*/ 698127 h 1108454"/>
              <a:gd name="connsiteX201" fmla="*/ 952840 w 4803228"/>
              <a:gd name="connsiteY201" fmla="*/ 857698 h 1108454"/>
              <a:gd name="connsiteX202" fmla="*/ 953792 w 4803228"/>
              <a:gd name="connsiteY202" fmla="*/ 857698 h 1108454"/>
              <a:gd name="connsiteX203" fmla="*/ 820527 w 4803228"/>
              <a:gd name="connsiteY203" fmla="*/ 848200 h 1108454"/>
              <a:gd name="connsiteX204" fmla="*/ 724387 w 4803228"/>
              <a:gd name="connsiteY204" fmla="*/ 792160 h 1108454"/>
              <a:gd name="connsiteX205" fmla="*/ 665370 w 4803228"/>
              <a:gd name="connsiteY205" fmla="*/ 697177 h 1108454"/>
              <a:gd name="connsiteX206" fmla="*/ 645380 w 4803228"/>
              <a:gd name="connsiteY206" fmla="*/ 569899 h 1108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Lst>
            <a:rect l="l" t="t" r="r" b="b"/>
            <a:pathLst>
              <a:path w="4803228" h="1108454">
                <a:moveTo>
                  <a:pt x="1807636" y="511960"/>
                </a:moveTo>
                <a:cubicBezTo>
                  <a:pt x="1782887" y="524308"/>
                  <a:pt x="1749571" y="535706"/>
                  <a:pt x="1705784" y="546154"/>
                </a:cubicBezTo>
                <a:lnTo>
                  <a:pt x="1645815" y="559451"/>
                </a:lnTo>
                <a:cubicBezTo>
                  <a:pt x="1614403" y="568000"/>
                  <a:pt x="1592509" y="579398"/>
                  <a:pt x="1578231" y="593645"/>
                </a:cubicBezTo>
                <a:cubicBezTo>
                  <a:pt x="1565856" y="612642"/>
                  <a:pt x="1560145" y="631639"/>
                  <a:pt x="1560145" y="650635"/>
                </a:cubicBezTo>
                <a:cubicBezTo>
                  <a:pt x="1560145" y="676281"/>
                  <a:pt x="1567760" y="697177"/>
                  <a:pt x="1583942" y="713324"/>
                </a:cubicBezTo>
                <a:cubicBezTo>
                  <a:pt x="1599173" y="727572"/>
                  <a:pt x="1622018" y="734221"/>
                  <a:pt x="1651526" y="734221"/>
                </a:cubicBezTo>
                <a:cubicBezTo>
                  <a:pt x="1700073" y="734221"/>
                  <a:pt x="1738148" y="719973"/>
                  <a:pt x="1765753" y="692428"/>
                </a:cubicBezTo>
                <a:cubicBezTo>
                  <a:pt x="1793358" y="664883"/>
                  <a:pt x="1807636" y="626889"/>
                  <a:pt x="1807636" y="578448"/>
                </a:cubicBezTo>
                <a:close/>
                <a:moveTo>
                  <a:pt x="2662432" y="304896"/>
                </a:moveTo>
                <a:cubicBezTo>
                  <a:pt x="2624356" y="304896"/>
                  <a:pt x="2592944" y="317244"/>
                  <a:pt x="2569146" y="340990"/>
                </a:cubicBezTo>
                <a:cubicBezTo>
                  <a:pt x="2543446" y="364736"/>
                  <a:pt x="2531071" y="398930"/>
                  <a:pt x="2529167" y="444522"/>
                </a:cubicBezTo>
                <a:lnTo>
                  <a:pt x="2794744" y="444522"/>
                </a:lnTo>
                <a:cubicBezTo>
                  <a:pt x="2790937" y="397980"/>
                  <a:pt x="2779514" y="362836"/>
                  <a:pt x="2758572" y="340990"/>
                </a:cubicBezTo>
                <a:cubicBezTo>
                  <a:pt x="2735727" y="317244"/>
                  <a:pt x="2704315" y="304896"/>
                  <a:pt x="2662432" y="304896"/>
                </a:cubicBezTo>
                <a:close/>
                <a:moveTo>
                  <a:pt x="3570533" y="169070"/>
                </a:moveTo>
                <a:lnTo>
                  <a:pt x="3770430" y="169070"/>
                </a:lnTo>
                <a:lnTo>
                  <a:pt x="3911309" y="657284"/>
                </a:lnTo>
                <a:lnTo>
                  <a:pt x="4033151" y="231759"/>
                </a:lnTo>
                <a:cubicBezTo>
                  <a:pt x="4043622" y="189966"/>
                  <a:pt x="4071226" y="169070"/>
                  <a:pt x="4115965" y="169070"/>
                </a:cubicBezTo>
                <a:lnTo>
                  <a:pt x="4240662" y="169070"/>
                </a:lnTo>
                <a:lnTo>
                  <a:pt x="3975086" y="955531"/>
                </a:lnTo>
                <a:cubicBezTo>
                  <a:pt x="3954144" y="1012521"/>
                  <a:pt x="3928443" y="1053364"/>
                  <a:pt x="3897031" y="1077109"/>
                </a:cubicBezTo>
                <a:cubicBezTo>
                  <a:pt x="3865618" y="1098006"/>
                  <a:pt x="3814216" y="1108454"/>
                  <a:pt x="3743777" y="1108454"/>
                </a:cubicBezTo>
                <a:cubicBezTo>
                  <a:pt x="3739017" y="1108454"/>
                  <a:pt x="3732354" y="1108454"/>
                  <a:pt x="3725691" y="1108454"/>
                </a:cubicBezTo>
                <a:cubicBezTo>
                  <a:pt x="3719980" y="1108454"/>
                  <a:pt x="3674289" y="1108454"/>
                  <a:pt x="3669529" y="1108454"/>
                </a:cubicBezTo>
                <a:lnTo>
                  <a:pt x="3669529" y="961230"/>
                </a:lnTo>
                <a:lnTo>
                  <a:pt x="3719028" y="961230"/>
                </a:lnTo>
                <a:cubicBezTo>
                  <a:pt x="3753296" y="961230"/>
                  <a:pt x="3780900" y="952681"/>
                  <a:pt x="3800890" y="936534"/>
                </a:cubicBezTo>
                <a:cubicBezTo>
                  <a:pt x="3820880" y="920387"/>
                  <a:pt x="3824687" y="893792"/>
                  <a:pt x="3812313" y="857698"/>
                </a:cubicBezTo>
                <a:close/>
                <a:moveTo>
                  <a:pt x="1349777" y="169070"/>
                </a:moveTo>
                <a:cubicBezTo>
                  <a:pt x="1353585" y="169070"/>
                  <a:pt x="1357392" y="169070"/>
                  <a:pt x="1363104" y="169070"/>
                </a:cubicBezTo>
                <a:cubicBezTo>
                  <a:pt x="1367863" y="169070"/>
                  <a:pt x="1372623" y="169070"/>
                  <a:pt x="1376430" y="169070"/>
                </a:cubicBezTo>
                <a:lnTo>
                  <a:pt x="1376430" y="353337"/>
                </a:lnTo>
                <a:lnTo>
                  <a:pt x="1316461" y="353337"/>
                </a:lnTo>
                <a:cubicBezTo>
                  <a:pt x="1266011" y="353337"/>
                  <a:pt x="1228888" y="365685"/>
                  <a:pt x="1204138" y="389431"/>
                </a:cubicBezTo>
                <a:cubicBezTo>
                  <a:pt x="1179389" y="414127"/>
                  <a:pt x="1167967" y="452120"/>
                  <a:pt x="1167967" y="503411"/>
                </a:cubicBezTo>
                <a:lnTo>
                  <a:pt x="1167967" y="858648"/>
                </a:lnTo>
                <a:lnTo>
                  <a:pt x="986156" y="859598"/>
                </a:lnTo>
                <a:lnTo>
                  <a:pt x="986156" y="524307"/>
                </a:lnTo>
                <a:cubicBezTo>
                  <a:pt x="986156" y="456869"/>
                  <a:pt x="995675" y="399879"/>
                  <a:pt x="1015665" y="354287"/>
                </a:cubicBezTo>
                <a:cubicBezTo>
                  <a:pt x="1035654" y="308695"/>
                  <a:pt x="1063259" y="271652"/>
                  <a:pt x="1097527" y="244107"/>
                </a:cubicBezTo>
                <a:cubicBezTo>
                  <a:pt x="1130843" y="218461"/>
                  <a:pt x="1168919" y="199465"/>
                  <a:pt x="1213657" y="187117"/>
                </a:cubicBezTo>
                <a:cubicBezTo>
                  <a:pt x="1257444" y="174769"/>
                  <a:pt x="1303135" y="169070"/>
                  <a:pt x="1349777" y="169070"/>
                </a:cubicBezTo>
                <a:close/>
                <a:moveTo>
                  <a:pt x="2656720" y="154823"/>
                </a:moveTo>
                <a:cubicBezTo>
                  <a:pt x="2760476" y="154823"/>
                  <a:pt x="2841387" y="186167"/>
                  <a:pt x="2898500" y="247907"/>
                </a:cubicBezTo>
                <a:cubicBezTo>
                  <a:pt x="2953710" y="311545"/>
                  <a:pt x="2981314" y="400829"/>
                  <a:pt x="2981314" y="514809"/>
                </a:cubicBezTo>
                <a:cubicBezTo>
                  <a:pt x="2981314" y="521458"/>
                  <a:pt x="2981314" y="528107"/>
                  <a:pt x="2981314" y="532856"/>
                </a:cubicBezTo>
                <a:cubicBezTo>
                  <a:pt x="2981314" y="537605"/>
                  <a:pt x="2981314" y="541405"/>
                  <a:pt x="2981314" y="543304"/>
                </a:cubicBezTo>
                <a:cubicBezTo>
                  <a:pt x="2981314" y="551853"/>
                  <a:pt x="2980362" y="558502"/>
                  <a:pt x="2978458" y="561351"/>
                </a:cubicBezTo>
                <a:lnTo>
                  <a:pt x="2528215" y="561351"/>
                </a:lnTo>
                <a:cubicBezTo>
                  <a:pt x="2530119" y="614542"/>
                  <a:pt x="2542494" y="654435"/>
                  <a:pt x="2567243" y="681030"/>
                </a:cubicBezTo>
                <a:cubicBezTo>
                  <a:pt x="2590088" y="708575"/>
                  <a:pt x="2623404" y="722823"/>
                  <a:pt x="2669095" y="722823"/>
                </a:cubicBezTo>
                <a:cubicBezTo>
                  <a:pt x="2698603" y="722823"/>
                  <a:pt x="2723352" y="717124"/>
                  <a:pt x="2744294" y="704776"/>
                </a:cubicBezTo>
                <a:cubicBezTo>
                  <a:pt x="2749054" y="702876"/>
                  <a:pt x="2753813" y="700027"/>
                  <a:pt x="2758572" y="695277"/>
                </a:cubicBezTo>
                <a:cubicBezTo>
                  <a:pt x="2763332" y="690528"/>
                  <a:pt x="2768091" y="685779"/>
                  <a:pt x="2772851" y="681030"/>
                </a:cubicBezTo>
                <a:cubicBezTo>
                  <a:pt x="2774754" y="676281"/>
                  <a:pt x="2781418" y="668682"/>
                  <a:pt x="2791888" y="660134"/>
                </a:cubicBezTo>
                <a:cubicBezTo>
                  <a:pt x="2804263" y="650635"/>
                  <a:pt x="2820445" y="646836"/>
                  <a:pt x="2841387" y="646836"/>
                </a:cubicBezTo>
                <a:lnTo>
                  <a:pt x="2970843" y="646836"/>
                </a:lnTo>
                <a:cubicBezTo>
                  <a:pt x="2951806" y="719973"/>
                  <a:pt x="2915634" y="775063"/>
                  <a:pt x="2861376" y="813057"/>
                </a:cubicBezTo>
                <a:cubicBezTo>
                  <a:pt x="2808070" y="852950"/>
                  <a:pt x="2739535" y="872896"/>
                  <a:pt x="2658624" y="872896"/>
                </a:cubicBezTo>
                <a:cubicBezTo>
                  <a:pt x="2559628" y="872896"/>
                  <a:pt x="2482525" y="840602"/>
                  <a:pt x="2427315" y="776963"/>
                </a:cubicBezTo>
                <a:cubicBezTo>
                  <a:pt x="2372106" y="714274"/>
                  <a:pt x="2344501" y="625940"/>
                  <a:pt x="2344501" y="510060"/>
                </a:cubicBezTo>
                <a:cubicBezTo>
                  <a:pt x="2344501" y="398930"/>
                  <a:pt x="2371154" y="312495"/>
                  <a:pt x="2425412" y="250756"/>
                </a:cubicBezTo>
                <a:cubicBezTo>
                  <a:pt x="2480621" y="187117"/>
                  <a:pt x="2557724" y="154823"/>
                  <a:pt x="2656720" y="154823"/>
                </a:cubicBezTo>
                <a:close/>
                <a:moveTo>
                  <a:pt x="1682939" y="154823"/>
                </a:moveTo>
                <a:cubicBezTo>
                  <a:pt x="1780031" y="154823"/>
                  <a:pt x="1853327" y="170970"/>
                  <a:pt x="1901873" y="204214"/>
                </a:cubicBezTo>
                <a:cubicBezTo>
                  <a:pt x="1952323" y="238408"/>
                  <a:pt x="1977072" y="286850"/>
                  <a:pt x="1977072" y="349539"/>
                </a:cubicBezTo>
                <a:lnTo>
                  <a:pt x="1977072" y="586047"/>
                </a:lnTo>
                <a:cubicBezTo>
                  <a:pt x="1977072" y="655384"/>
                  <a:pt x="1964698" y="709525"/>
                  <a:pt x="1938997" y="748468"/>
                </a:cubicBezTo>
                <a:cubicBezTo>
                  <a:pt x="1914248" y="785511"/>
                  <a:pt x="1884739" y="814006"/>
                  <a:pt x="1849519" y="831103"/>
                </a:cubicBezTo>
                <a:cubicBezTo>
                  <a:pt x="1813347" y="850100"/>
                  <a:pt x="1774320" y="861498"/>
                  <a:pt x="1733389" y="866247"/>
                </a:cubicBezTo>
                <a:cubicBezTo>
                  <a:pt x="1692458" y="870996"/>
                  <a:pt x="1656286" y="872896"/>
                  <a:pt x="1625825" y="872896"/>
                </a:cubicBezTo>
                <a:cubicBezTo>
                  <a:pt x="1563001" y="872896"/>
                  <a:pt x="1508743" y="855799"/>
                  <a:pt x="1462101" y="822555"/>
                </a:cubicBezTo>
                <a:cubicBezTo>
                  <a:pt x="1415458" y="788361"/>
                  <a:pt x="1391661" y="733271"/>
                  <a:pt x="1391661" y="655384"/>
                </a:cubicBezTo>
                <a:cubicBezTo>
                  <a:pt x="1391661" y="583197"/>
                  <a:pt x="1412603" y="530956"/>
                  <a:pt x="1455437" y="499612"/>
                </a:cubicBezTo>
                <a:cubicBezTo>
                  <a:pt x="1498272" y="468268"/>
                  <a:pt x="1552530" y="447371"/>
                  <a:pt x="1618210" y="436923"/>
                </a:cubicBezTo>
                <a:cubicBezTo>
                  <a:pt x="1626777" y="436923"/>
                  <a:pt x="1637248" y="435973"/>
                  <a:pt x="1649623" y="433124"/>
                </a:cubicBezTo>
                <a:cubicBezTo>
                  <a:pt x="1661997" y="430274"/>
                  <a:pt x="1675324" y="428375"/>
                  <a:pt x="1691506" y="426475"/>
                </a:cubicBezTo>
                <a:cubicBezTo>
                  <a:pt x="1767657" y="416027"/>
                  <a:pt x="1805732" y="393231"/>
                  <a:pt x="1805732" y="359037"/>
                </a:cubicBezTo>
                <a:cubicBezTo>
                  <a:pt x="1805732" y="333391"/>
                  <a:pt x="1792406" y="316294"/>
                  <a:pt x="1765753" y="308696"/>
                </a:cubicBezTo>
                <a:cubicBezTo>
                  <a:pt x="1739100" y="301097"/>
                  <a:pt x="1714351" y="297298"/>
                  <a:pt x="1691506" y="297298"/>
                </a:cubicBezTo>
                <a:cubicBezTo>
                  <a:pt x="1666757" y="297298"/>
                  <a:pt x="1645815" y="301097"/>
                  <a:pt x="1626777" y="307746"/>
                </a:cubicBezTo>
                <a:cubicBezTo>
                  <a:pt x="1607740" y="314395"/>
                  <a:pt x="1593461" y="327692"/>
                  <a:pt x="1584894" y="346689"/>
                </a:cubicBezTo>
                <a:lnTo>
                  <a:pt x="1409747" y="346689"/>
                </a:lnTo>
                <a:cubicBezTo>
                  <a:pt x="1416410" y="293498"/>
                  <a:pt x="1441159" y="248856"/>
                  <a:pt x="1483042" y="214662"/>
                </a:cubicBezTo>
                <a:cubicBezTo>
                  <a:pt x="1529685" y="174769"/>
                  <a:pt x="1596317" y="154823"/>
                  <a:pt x="1682939" y="154823"/>
                </a:cubicBezTo>
                <a:close/>
                <a:moveTo>
                  <a:pt x="293182" y="153873"/>
                </a:moveTo>
                <a:cubicBezTo>
                  <a:pt x="383611" y="153873"/>
                  <a:pt x="455003" y="173819"/>
                  <a:pt x="509260" y="213712"/>
                </a:cubicBezTo>
                <a:cubicBezTo>
                  <a:pt x="559710" y="257405"/>
                  <a:pt x="586363" y="313445"/>
                  <a:pt x="590171" y="382782"/>
                </a:cubicBezTo>
                <a:lnTo>
                  <a:pt x="477848" y="382782"/>
                </a:lnTo>
                <a:cubicBezTo>
                  <a:pt x="444532" y="382782"/>
                  <a:pt x="419783" y="368535"/>
                  <a:pt x="402649" y="339090"/>
                </a:cubicBezTo>
                <a:cubicBezTo>
                  <a:pt x="395986" y="332441"/>
                  <a:pt x="388370" y="324843"/>
                  <a:pt x="381707" y="318194"/>
                </a:cubicBezTo>
                <a:cubicBezTo>
                  <a:pt x="360766" y="302997"/>
                  <a:pt x="332209" y="294448"/>
                  <a:pt x="296037" y="294448"/>
                </a:cubicBezTo>
                <a:cubicBezTo>
                  <a:pt x="261769" y="294448"/>
                  <a:pt x="235116" y="299197"/>
                  <a:pt x="217982" y="309645"/>
                </a:cubicBezTo>
                <a:cubicBezTo>
                  <a:pt x="202752" y="320094"/>
                  <a:pt x="194185" y="335291"/>
                  <a:pt x="194185" y="356187"/>
                </a:cubicBezTo>
                <a:cubicBezTo>
                  <a:pt x="194185" y="383732"/>
                  <a:pt x="238924" y="407478"/>
                  <a:pt x="329353" y="426475"/>
                </a:cubicBezTo>
                <a:cubicBezTo>
                  <a:pt x="339824" y="430274"/>
                  <a:pt x="349343" y="432174"/>
                  <a:pt x="356958" y="434073"/>
                </a:cubicBezTo>
                <a:cubicBezTo>
                  <a:pt x="364573" y="435973"/>
                  <a:pt x="372188" y="436923"/>
                  <a:pt x="378852" y="436923"/>
                </a:cubicBezTo>
                <a:cubicBezTo>
                  <a:pt x="467377" y="459719"/>
                  <a:pt x="529250" y="485364"/>
                  <a:pt x="563518" y="514809"/>
                </a:cubicBezTo>
                <a:cubicBezTo>
                  <a:pt x="596834" y="546154"/>
                  <a:pt x="613016" y="587946"/>
                  <a:pt x="613016" y="639237"/>
                </a:cubicBezTo>
                <a:cubicBezTo>
                  <a:pt x="613016" y="715224"/>
                  <a:pt x="585411" y="774113"/>
                  <a:pt x="530202" y="815906"/>
                </a:cubicBezTo>
                <a:cubicBezTo>
                  <a:pt x="477848" y="853899"/>
                  <a:pt x="399793" y="872896"/>
                  <a:pt x="296037" y="872896"/>
                </a:cubicBezTo>
                <a:cubicBezTo>
                  <a:pt x="197041" y="872896"/>
                  <a:pt x="123745" y="852949"/>
                  <a:pt x="75199" y="813056"/>
                </a:cubicBezTo>
                <a:cubicBezTo>
                  <a:pt x="24749" y="773163"/>
                  <a:pt x="0" y="715224"/>
                  <a:pt x="0" y="639237"/>
                </a:cubicBezTo>
                <a:lnTo>
                  <a:pt x="0" y="630689"/>
                </a:lnTo>
                <a:lnTo>
                  <a:pt x="177051" y="630689"/>
                </a:lnTo>
                <a:cubicBezTo>
                  <a:pt x="178955" y="664883"/>
                  <a:pt x="191330" y="691478"/>
                  <a:pt x="216079" y="708575"/>
                </a:cubicBezTo>
                <a:cubicBezTo>
                  <a:pt x="241780" y="725672"/>
                  <a:pt x="276999" y="734220"/>
                  <a:pt x="319834" y="734220"/>
                </a:cubicBezTo>
                <a:cubicBezTo>
                  <a:pt x="351247" y="734220"/>
                  <a:pt x="377900" y="728521"/>
                  <a:pt x="400745" y="716174"/>
                </a:cubicBezTo>
                <a:cubicBezTo>
                  <a:pt x="421687" y="703826"/>
                  <a:pt x="432157" y="687679"/>
                  <a:pt x="432157" y="666782"/>
                </a:cubicBezTo>
                <a:cubicBezTo>
                  <a:pt x="432157" y="635438"/>
                  <a:pt x="395986" y="612642"/>
                  <a:pt x="322690" y="596495"/>
                </a:cubicBezTo>
                <a:cubicBezTo>
                  <a:pt x="291278" y="591746"/>
                  <a:pt x="268432" y="586047"/>
                  <a:pt x="252250" y="581297"/>
                </a:cubicBezTo>
                <a:cubicBezTo>
                  <a:pt x="159917" y="559451"/>
                  <a:pt x="98045" y="531906"/>
                  <a:pt x="67584" y="501511"/>
                </a:cubicBezTo>
                <a:cubicBezTo>
                  <a:pt x="33316" y="470167"/>
                  <a:pt x="15230" y="428374"/>
                  <a:pt x="15230" y="377084"/>
                </a:cubicBezTo>
                <a:cubicBezTo>
                  <a:pt x="15230" y="311545"/>
                  <a:pt x="39979" y="256455"/>
                  <a:pt x="90429" y="213712"/>
                </a:cubicBezTo>
                <a:cubicBezTo>
                  <a:pt x="142783" y="173819"/>
                  <a:pt x="210367" y="153873"/>
                  <a:pt x="293182" y="153873"/>
                </a:cubicBezTo>
                <a:close/>
                <a:moveTo>
                  <a:pt x="4483393" y="152923"/>
                </a:moveTo>
                <a:cubicBezTo>
                  <a:pt x="4573823" y="152923"/>
                  <a:pt x="4645214" y="172869"/>
                  <a:pt x="4699472" y="212762"/>
                </a:cubicBezTo>
                <a:cubicBezTo>
                  <a:pt x="4749922" y="256455"/>
                  <a:pt x="4776575" y="312495"/>
                  <a:pt x="4780382" y="381833"/>
                </a:cubicBezTo>
                <a:lnTo>
                  <a:pt x="4668060" y="381833"/>
                </a:lnTo>
                <a:cubicBezTo>
                  <a:pt x="4634744" y="381833"/>
                  <a:pt x="4609995" y="367585"/>
                  <a:pt x="4592861" y="338140"/>
                </a:cubicBezTo>
                <a:cubicBezTo>
                  <a:pt x="4586198" y="331491"/>
                  <a:pt x="4578582" y="323893"/>
                  <a:pt x="4571919" y="317244"/>
                </a:cubicBezTo>
                <a:cubicBezTo>
                  <a:pt x="4550978" y="302047"/>
                  <a:pt x="4522421" y="293498"/>
                  <a:pt x="4486249" y="293498"/>
                </a:cubicBezTo>
                <a:cubicBezTo>
                  <a:pt x="4451981" y="293498"/>
                  <a:pt x="4425328" y="298247"/>
                  <a:pt x="4408194" y="308695"/>
                </a:cubicBezTo>
                <a:cubicBezTo>
                  <a:pt x="4392964" y="319144"/>
                  <a:pt x="4384397" y="334341"/>
                  <a:pt x="4384397" y="355237"/>
                </a:cubicBezTo>
                <a:cubicBezTo>
                  <a:pt x="4384397" y="382782"/>
                  <a:pt x="4429136" y="406528"/>
                  <a:pt x="4519565" y="425525"/>
                </a:cubicBezTo>
                <a:cubicBezTo>
                  <a:pt x="4530036" y="429324"/>
                  <a:pt x="4538603" y="431224"/>
                  <a:pt x="4547170" y="433123"/>
                </a:cubicBezTo>
                <a:cubicBezTo>
                  <a:pt x="4554785" y="435023"/>
                  <a:pt x="4562400" y="435973"/>
                  <a:pt x="4569063" y="435973"/>
                </a:cubicBezTo>
                <a:cubicBezTo>
                  <a:pt x="4657589" y="458769"/>
                  <a:pt x="4719462" y="484414"/>
                  <a:pt x="4753730" y="513859"/>
                </a:cubicBezTo>
                <a:cubicBezTo>
                  <a:pt x="4787046" y="545204"/>
                  <a:pt x="4803228" y="586996"/>
                  <a:pt x="4803228" y="638287"/>
                </a:cubicBezTo>
                <a:cubicBezTo>
                  <a:pt x="4803228" y="714274"/>
                  <a:pt x="4775623" y="773163"/>
                  <a:pt x="4720414" y="814956"/>
                </a:cubicBezTo>
                <a:cubicBezTo>
                  <a:pt x="4668060" y="852949"/>
                  <a:pt x="4590005" y="871946"/>
                  <a:pt x="4486249" y="871946"/>
                </a:cubicBezTo>
                <a:cubicBezTo>
                  <a:pt x="4387253" y="871946"/>
                  <a:pt x="4313957" y="851999"/>
                  <a:pt x="4265411" y="812106"/>
                </a:cubicBezTo>
                <a:cubicBezTo>
                  <a:pt x="4214961" y="772213"/>
                  <a:pt x="4190212" y="714274"/>
                  <a:pt x="4190212" y="638287"/>
                </a:cubicBezTo>
                <a:lnTo>
                  <a:pt x="4190212" y="630688"/>
                </a:lnTo>
                <a:lnTo>
                  <a:pt x="4367263" y="630688"/>
                </a:lnTo>
                <a:cubicBezTo>
                  <a:pt x="4369167" y="664882"/>
                  <a:pt x="4381542" y="691478"/>
                  <a:pt x="4406290" y="708575"/>
                </a:cubicBezTo>
                <a:cubicBezTo>
                  <a:pt x="4431992" y="725672"/>
                  <a:pt x="4467212" y="734220"/>
                  <a:pt x="4510047" y="734220"/>
                </a:cubicBezTo>
                <a:cubicBezTo>
                  <a:pt x="4541459" y="734220"/>
                  <a:pt x="4568111" y="728521"/>
                  <a:pt x="4590957" y="716173"/>
                </a:cubicBezTo>
                <a:cubicBezTo>
                  <a:pt x="4611898" y="703826"/>
                  <a:pt x="4622369" y="687678"/>
                  <a:pt x="4622369" y="666782"/>
                </a:cubicBezTo>
                <a:cubicBezTo>
                  <a:pt x="4622369" y="635438"/>
                  <a:pt x="4586198" y="612642"/>
                  <a:pt x="4512902" y="596495"/>
                </a:cubicBezTo>
                <a:cubicBezTo>
                  <a:pt x="4481490" y="591745"/>
                  <a:pt x="4458644" y="586046"/>
                  <a:pt x="4442462" y="581297"/>
                </a:cubicBezTo>
                <a:cubicBezTo>
                  <a:pt x="4350129" y="558501"/>
                  <a:pt x="4289208" y="531906"/>
                  <a:pt x="4257796" y="500562"/>
                </a:cubicBezTo>
                <a:cubicBezTo>
                  <a:pt x="4223528" y="469217"/>
                  <a:pt x="4205442" y="427424"/>
                  <a:pt x="4205442" y="376133"/>
                </a:cubicBezTo>
                <a:cubicBezTo>
                  <a:pt x="4205442" y="310595"/>
                  <a:pt x="4230191" y="255505"/>
                  <a:pt x="4280641" y="212762"/>
                </a:cubicBezTo>
                <a:cubicBezTo>
                  <a:pt x="4332995" y="172869"/>
                  <a:pt x="4400579" y="152923"/>
                  <a:pt x="4483393" y="152923"/>
                </a:cubicBezTo>
                <a:close/>
                <a:moveTo>
                  <a:pt x="3287822" y="152923"/>
                </a:moveTo>
                <a:cubicBezTo>
                  <a:pt x="3378252" y="152923"/>
                  <a:pt x="3449643" y="172869"/>
                  <a:pt x="3503901" y="212762"/>
                </a:cubicBezTo>
                <a:cubicBezTo>
                  <a:pt x="3554351" y="256455"/>
                  <a:pt x="3581004" y="312495"/>
                  <a:pt x="3584812" y="381833"/>
                </a:cubicBezTo>
                <a:lnTo>
                  <a:pt x="3472489" y="381833"/>
                </a:lnTo>
                <a:cubicBezTo>
                  <a:pt x="3439173" y="381833"/>
                  <a:pt x="3414424" y="367585"/>
                  <a:pt x="3397290" y="338140"/>
                </a:cubicBezTo>
                <a:cubicBezTo>
                  <a:pt x="3390627" y="331491"/>
                  <a:pt x="3383011" y="323893"/>
                  <a:pt x="3376348" y="317244"/>
                </a:cubicBezTo>
                <a:cubicBezTo>
                  <a:pt x="3355407" y="302047"/>
                  <a:pt x="3326850" y="293498"/>
                  <a:pt x="3290678" y="293498"/>
                </a:cubicBezTo>
                <a:cubicBezTo>
                  <a:pt x="3256410" y="293498"/>
                  <a:pt x="3229758" y="298247"/>
                  <a:pt x="3212623" y="308695"/>
                </a:cubicBezTo>
                <a:cubicBezTo>
                  <a:pt x="3197393" y="319144"/>
                  <a:pt x="3188826" y="334341"/>
                  <a:pt x="3188826" y="355237"/>
                </a:cubicBezTo>
                <a:cubicBezTo>
                  <a:pt x="3188826" y="382782"/>
                  <a:pt x="3233565" y="406528"/>
                  <a:pt x="3323994" y="425525"/>
                </a:cubicBezTo>
                <a:cubicBezTo>
                  <a:pt x="3334465" y="429324"/>
                  <a:pt x="3343032" y="431224"/>
                  <a:pt x="3351599" y="433123"/>
                </a:cubicBezTo>
                <a:cubicBezTo>
                  <a:pt x="3359214" y="435023"/>
                  <a:pt x="3366829" y="435973"/>
                  <a:pt x="3373492" y="435973"/>
                </a:cubicBezTo>
                <a:cubicBezTo>
                  <a:pt x="3462018" y="458769"/>
                  <a:pt x="3523891" y="484414"/>
                  <a:pt x="3558159" y="513859"/>
                </a:cubicBezTo>
                <a:cubicBezTo>
                  <a:pt x="3591475" y="545204"/>
                  <a:pt x="3607657" y="586996"/>
                  <a:pt x="3607657" y="638287"/>
                </a:cubicBezTo>
                <a:cubicBezTo>
                  <a:pt x="3607657" y="714274"/>
                  <a:pt x="3580052" y="773163"/>
                  <a:pt x="3524843" y="814956"/>
                </a:cubicBezTo>
                <a:cubicBezTo>
                  <a:pt x="3472489" y="852949"/>
                  <a:pt x="3394434" y="871946"/>
                  <a:pt x="3290678" y="871946"/>
                </a:cubicBezTo>
                <a:cubicBezTo>
                  <a:pt x="3191682" y="871946"/>
                  <a:pt x="3118386" y="851999"/>
                  <a:pt x="3069840" y="812106"/>
                </a:cubicBezTo>
                <a:cubicBezTo>
                  <a:pt x="3019390" y="772213"/>
                  <a:pt x="2994641" y="714274"/>
                  <a:pt x="2994641" y="638287"/>
                </a:cubicBezTo>
                <a:lnTo>
                  <a:pt x="2994641" y="630688"/>
                </a:lnTo>
                <a:lnTo>
                  <a:pt x="3171692" y="630688"/>
                </a:lnTo>
                <a:cubicBezTo>
                  <a:pt x="3173596" y="664882"/>
                  <a:pt x="3185971" y="691478"/>
                  <a:pt x="3210720" y="708575"/>
                </a:cubicBezTo>
                <a:cubicBezTo>
                  <a:pt x="3236421" y="725672"/>
                  <a:pt x="3271641" y="734220"/>
                  <a:pt x="3314476" y="734220"/>
                </a:cubicBezTo>
                <a:cubicBezTo>
                  <a:pt x="3345888" y="734220"/>
                  <a:pt x="3372541" y="728521"/>
                  <a:pt x="3395386" y="716173"/>
                </a:cubicBezTo>
                <a:cubicBezTo>
                  <a:pt x="3416327" y="703826"/>
                  <a:pt x="3426798" y="687678"/>
                  <a:pt x="3426798" y="666782"/>
                </a:cubicBezTo>
                <a:cubicBezTo>
                  <a:pt x="3426798" y="635438"/>
                  <a:pt x="3390627" y="612642"/>
                  <a:pt x="3317331" y="596495"/>
                </a:cubicBezTo>
                <a:cubicBezTo>
                  <a:pt x="3285919" y="591745"/>
                  <a:pt x="3263074" y="586046"/>
                  <a:pt x="3246891" y="581297"/>
                </a:cubicBezTo>
                <a:cubicBezTo>
                  <a:pt x="3154558" y="558501"/>
                  <a:pt x="3093637" y="531906"/>
                  <a:pt x="3062225" y="500562"/>
                </a:cubicBezTo>
                <a:cubicBezTo>
                  <a:pt x="3027957" y="469217"/>
                  <a:pt x="3009871" y="427424"/>
                  <a:pt x="3009871" y="376133"/>
                </a:cubicBezTo>
                <a:cubicBezTo>
                  <a:pt x="3009871" y="310595"/>
                  <a:pt x="3034620" y="255505"/>
                  <a:pt x="3085070" y="212762"/>
                </a:cubicBezTo>
                <a:cubicBezTo>
                  <a:pt x="3137424" y="172869"/>
                  <a:pt x="3205008" y="152923"/>
                  <a:pt x="3287822" y="152923"/>
                </a:cubicBezTo>
                <a:close/>
                <a:moveTo>
                  <a:pt x="2019907" y="0"/>
                </a:moveTo>
                <a:lnTo>
                  <a:pt x="2196006" y="0"/>
                </a:lnTo>
                <a:lnTo>
                  <a:pt x="2196006" y="173819"/>
                </a:lnTo>
                <a:lnTo>
                  <a:pt x="2319752" y="173819"/>
                </a:lnTo>
                <a:lnTo>
                  <a:pt x="2319752" y="329592"/>
                </a:lnTo>
                <a:lnTo>
                  <a:pt x="2196006" y="329592"/>
                </a:lnTo>
                <a:lnTo>
                  <a:pt x="2196006" y="571799"/>
                </a:lnTo>
                <a:cubicBezTo>
                  <a:pt x="2196006" y="619290"/>
                  <a:pt x="2206477" y="653484"/>
                  <a:pt x="2228370" y="672481"/>
                </a:cubicBezTo>
                <a:cubicBezTo>
                  <a:pt x="2250264" y="692428"/>
                  <a:pt x="2283580" y="700026"/>
                  <a:pt x="2327367" y="698127"/>
                </a:cubicBezTo>
                <a:lnTo>
                  <a:pt x="2327367" y="857698"/>
                </a:lnTo>
                <a:lnTo>
                  <a:pt x="2328319" y="857698"/>
                </a:lnTo>
                <a:cubicBezTo>
                  <a:pt x="2277869" y="863397"/>
                  <a:pt x="2233130" y="859598"/>
                  <a:pt x="2195054" y="848200"/>
                </a:cubicBezTo>
                <a:cubicBezTo>
                  <a:pt x="2156979" y="836802"/>
                  <a:pt x="2124615" y="817805"/>
                  <a:pt x="2098914" y="792160"/>
                </a:cubicBezTo>
                <a:cubicBezTo>
                  <a:pt x="2073213" y="766514"/>
                  <a:pt x="2053223" y="735170"/>
                  <a:pt x="2039897" y="697177"/>
                </a:cubicBezTo>
                <a:cubicBezTo>
                  <a:pt x="2026570" y="659183"/>
                  <a:pt x="2019907" y="617391"/>
                  <a:pt x="2019907" y="569899"/>
                </a:cubicBezTo>
                <a:close/>
                <a:moveTo>
                  <a:pt x="645380" y="0"/>
                </a:moveTo>
                <a:lnTo>
                  <a:pt x="821479" y="0"/>
                </a:lnTo>
                <a:lnTo>
                  <a:pt x="821479" y="173819"/>
                </a:lnTo>
                <a:lnTo>
                  <a:pt x="945225" y="173819"/>
                </a:lnTo>
                <a:lnTo>
                  <a:pt x="945225" y="329592"/>
                </a:lnTo>
                <a:lnTo>
                  <a:pt x="821479" y="329592"/>
                </a:lnTo>
                <a:lnTo>
                  <a:pt x="821479" y="571799"/>
                </a:lnTo>
                <a:cubicBezTo>
                  <a:pt x="821479" y="619290"/>
                  <a:pt x="831950" y="653484"/>
                  <a:pt x="853844" y="672481"/>
                </a:cubicBezTo>
                <a:cubicBezTo>
                  <a:pt x="875737" y="692428"/>
                  <a:pt x="909053" y="700026"/>
                  <a:pt x="952840" y="698127"/>
                </a:cubicBezTo>
                <a:lnTo>
                  <a:pt x="952840" y="857698"/>
                </a:lnTo>
                <a:lnTo>
                  <a:pt x="953792" y="857698"/>
                </a:lnTo>
                <a:cubicBezTo>
                  <a:pt x="903342" y="863397"/>
                  <a:pt x="858603" y="859598"/>
                  <a:pt x="820527" y="848200"/>
                </a:cubicBezTo>
                <a:cubicBezTo>
                  <a:pt x="782452" y="836802"/>
                  <a:pt x="750088" y="817805"/>
                  <a:pt x="724387" y="792160"/>
                </a:cubicBezTo>
                <a:cubicBezTo>
                  <a:pt x="698686" y="766514"/>
                  <a:pt x="678696" y="735170"/>
                  <a:pt x="665370" y="697177"/>
                </a:cubicBezTo>
                <a:cubicBezTo>
                  <a:pt x="652043" y="659183"/>
                  <a:pt x="645380" y="617391"/>
                  <a:pt x="645380" y="569899"/>
                </a:cubicBezTo>
                <a:close/>
              </a:path>
            </a:pathLst>
          </a:custGeom>
          <a:solidFill>
            <a:srgbClr val="003C76"/>
          </a:solidFill>
          <a:ln w="95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94949"/>
              </a:solidFill>
              <a:effectLst/>
              <a:uLnTx/>
              <a:uFillTx/>
              <a:latin typeface="Arial" panose="020B0604020202020204"/>
              <a:ea typeface="+mn-ea"/>
              <a:cs typeface="+mn-cs"/>
            </a:endParaRPr>
          </a:p>
        </p:txBody>
      </p:sp>
      <p:grpSp>
        <p:nvGrpSpPr>
          <p:cNvPr id="18" name="Grupo 17">
            <a:extLst>
              <a:ext uri="{FF2B5EF4-FFF2-40B4-BE49-F238E27FC236}">
                <a16:creationId xmlns:a16="http://schemas.microsoft.com/office/drawing/2014/main" id="{33342359-9019-C07E-0D2F-FFB9C1FE1572}"/>
              </a:ext>
            </a:extLst>
          </p:cNvPr>
          <p:cNvGrpSpPr>
            <a:grpSpLocks noChangeAspect="1"/>
          </p:cNvGrpSpPr>
          <p:nvPr/>
        </p:nvGrpSpPr>
        <p:grpSpPr>
          <a:xfrm>
            <a:off x="8034095" y="5014041"/>
            <a:ext cx="1354086" cy="1190324"/>
            <a:chOff x="12358980" y="2157673"/>
            <a:chExt cx="4079579" cy="3586198"/>
          </a:xfrm>
        </p:grpSpPr>
        <p:sp>
          <p:nvSpPr>
            <p:cNvPr id="11" name="Forma libre: forma 10">
              <a:extLst>
                <a:ext uri="{FF2B5EF4-FFF2-40B4-BE49-F238E27FC236}">
                  <a16:creationId xmlns:a16="http://schemas.microsoft.com/office/drawing/2014/main" id="{91DE5B7E-3464-1268-920F-721BFDC9A39F}"/>
                </a:ext>
              </a:extLst>
            </p:cNvPr>
            <p:cNvSpPr/>
            <p:nvPr/>
          </p:nvSpPr>
          <p:spPr>
            <a:xfrm>
              <a:off x="13244967" y="2157673"/>
              <a:ext cx="2225989" cy="2232565"/>
            </a:xfrm>
            <a:custGeom>
              <a:avLst/>
              <a:gdLst>
                <a:gd name="connsiteX0" fmla="*/ 0 w 2674463"/>
                <a:gd name="connsiteY0" fmla="*/ 1337232 h 2674463"/>
                <a:gd name="connsiteX1" fmla="*/ 1337232 w 2674463"/>
                <a:gd name="connsiteY1" fmla="*/ 0 h 2674463"/>
                <a:gd name="connsiteX2" fmla="*/ 2674464 w 2674463"/>
                <a:gd name="connsiteY2" fmla="*/ 1337232 h 2674463"/>
                <a:gd name="connsiteX3" fmla="*/ 1337232 w 2674463"/>
                <a:gd name="connsiteY3" fmla="*/ 2674464 h 2674463"/>
                <a:gd name="connsiteX4" fmla="*/ 0 w 2674463"/>
                <a:gd name="connsiteY4" fmla="*/ 1337232 h 2674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463" h="2674463">
                  <a:moveTo>
                    <a:pt x="0" y="1337232"/>
                  </a:moveTo>
                  <a:cubicBezTo>
                    <a:pt x="0" y="598699"/>
                    <a:pt x="598699" y="0"/>
                    <a:pt x="1337232" y="0"/>
                  </a:cubicBezTo>
                  <a:cubicBezTo>
                    <a:pt x="2075765" y="0"/>
                    <a:pt x="2674464" y="598699"/>
                    <a:pt x="2674464" y="1337232"/>
                  </a:cubicBezTo>
                  <a:cubicBezTo>
                    <a:pt x="2674464" y="2075765"/>
                    <a:pt x="2075765" y="2674464"/>
                    <a:pt x="1337232" y="2674464"/>
                  </a:cubicBezTo>
                  <a:cubicBezTo>
                    <a:pt x="598699" y="2674464"/>
                    <a:pt x="0" y="2075765"/>
                    <a:pt x="0" y="1337232"/>
                  </a:cubicBezTo>
                  <a:close/>
                </a:path>
              </a:pathLst>
            </a:custGeom>
            <a:solidFill>
              <a:srgbClr val="EDAF00"/>
            </a:solidFill>
            <a:ln>
              <a:noFill/>
            </a:ln>
            <a:effectLst/>
          </p:spPr>
          <p:txBody>
            <a:bodyPr spcFirstLastPara="0" vert="horz" wrap="square" lIns="150439" tIns="197451" rIns="150439" bIns="423108" numCol="1" spcCol="1270" anchor="ctr" anchorCtr="0">
              <a:noAutofit/>
            </a:bodyPr>
            <a:lstStyle/>
            <a:p>
              <a:pPr algn="ctr" defTabSz="375069">
                <a:lnSpc>
                  <a:spcPct val="90000"/>
                </a:lnSpc>
                <a:spcBef>
                  <a:spcPct val="0"/>
                </a:spcBef>
                <a:spcAft>
                  <a:spcPct val="35000"/>
                </a:spcAft>
                <a:defRPr/>
              </a:pPr>
              <a:endParaRPr lang="en-GB" sz="200" kern="0" noProof="0">
                <a:solidFill>
                  <a:srgbClr val="FFFFFF"/>
                </a:solidFill>
                <a:cs typeface="Arial"/>
                <a:sym typeface="Arial"/>
              </a:endParaRPr>
            </a:p>
            <a:p>
              <a:pPr algn="ctr" defTabSz="375069">
                <a:lnSpc>
                  <a:spcPct val="90000"/>
                </a:lnSpc>
                <a:spcBef>
                  <a:spcPct val="0"/>
                </a:spcBef>
                <a:spcAft>
                  <a:spcPct val="35000"/>
                </a:spcAft>
                <a:defRPr/>
              </a:pPr>
              <a:endParaRPr lang="en-GB" sz="300" b="1" kern="0" noProof="0">
                <a:solidFill>
                  <a:srgbClr val="FFFFFF"/>
                </a:solidFill>
                <a:latin typeface="Montserrat" panose="00000500000000000000" pitchFamily="2" charset="0"/>
                <a:cs typeface="Arial"/>
                <a:sym typeface="Arial"/>
              </a:endParaRPr>
            </a:p>
            <a:p>
              <a:pPr algn="ctr" defTabSz="375069">
                <a:lnSpc>
                  <a:spcPct val="90000"/>
                </a:lnSpc>
                <a:spcBef>
                  <a:spcPct val="0"/>
                </a:spcBef>
                <a:spcAft>
                  <a:spcPct val="35000"/>
                </a:spcAft>
                <a:defRPr/>
              </a:pPr>
              <a:endParaRPr lang="en-GB" sz="400" b="1" kern="0" noProof="0">
                <a:solidFill>
                  <a:srgbClr val="FFFFFF"/>
                </a:solidFill>
                <a:latin typeface="Montserrat" panose="00000500000000000000" pitchFamily="2" charset="0"/>
                <a:cs typeface="Arial"/>
                <a:sym typeface="Arial"/>
              </a:endParaRPr>
            </a:p>
          </p:txBody>
        </p:sp>
        <p:sp>
          <p:nvSpPr>
            <p:cNvPr id="12" name="Forma libre: forma 11">
              <a:extLst>
                <a:ext uri="{FF2B5EF4-FFF2-40B4-BE49-F238E27FC236}">
                  <a16:creationId xmlns:a16="http://schemas.microsoft.com/office/drawing/2014/main" id="{A5BA9786-369D-AD0B-41E8-7A45E2F4FC17}"/>
                </a:ext>
              </a:extLst>
            </p:cNvPr>
            <p:cNvSpPr/>
            <p:nvPr/>
          </p:nvSpPr>
          <p:spPr>
            <a:xfrm>
              <a:off x="12358980" y="3511306"/>
              <a:ext cx="2225989" cy="2232565"/>
            </a:xfrm>
            <a:custGeom>
              <a:avLst/>
              <a:gdLst>
                <a:gd name="connsiteX0" fmla="*/ 0 w 2674463"/>
                <a:gd name="connsiteY0" fmla="*/ 1337232 h 2674463"/>
                <a:gd name="connsiteX1" fmla="*/ 1337232 w 2674463"/>
                <a:gd name="connsiteY1" fmla="*/ 0 h 2674463"/>
                <a:gd name="connsiteX2" fmla="*/ 2674464 w 2674463"/>
                <a:gd name="connsiteY2" fmla="*/ 1337232 h 2674463"/>
                <a:gd name="connsiteX3" fmla="*/ 1337232 w 2674463"/>
                <a:gd name="connsiteY3" fmla="*/ 2674464 h 2674463"/>
                <a:gd name="connsiteX4" fmla="*/ 0 w 2674463"/>
                <a:gd name="connsiteY4" fmla="*/ 1337232 h 2674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463" h="2674463">
                  <a:moveTo>
                    <a:pt x="0" y="1337232"/>
                  </a:moveTo>
                  <a:cubicBezTo>
                    <a:pt x="0" y="598699"/>
                    <a:pt x="598699" y="0"/>
                    <a:pt x="1337232" y="0"/>
                  </a:cubicBezTo>
                  <a:cubicBezTo>
                    <a:pt x="2075765" y="0"/>
                    <a:pt x="2674464" y="598699"/>
                    <a:pt x="2674464" y="1337232"/>
                  </a:cubicBezTo>
                  <a:cubicBezTo>
                    <a:pt x="2674464" y="2075765"/>
                    <a:pt x="2075765" y="2674464"/>
                    <a:pt x="1337232" y="2674464"/>
                  </a:cubicBezTo>
                  <a:cubicBezTo>
                    <a:pt x="598699" y="2674464"/>
                    <a:pt x="0" y="2075765"/>
                    <a:pt x="0" y="1337232"/>
                  </a:cubicBezTo>
                  <a:close/>
                </a:path>
              </a:pathLst>
            </a:custGeom>
            <a:solidFill>
              <a:srgbClr val="7DCCD1"/>
            </a:solidFill>
            <a:ln>
              <a:noFill/>
            </a:ln>
            <a:effectLst/>
          </p:spPr>
          <p:txBody>
            <a:bodyPr spcFirstLastPara="0" vert="horz" wrap="square" lIns="150439" tIns="197451" rIns="150439" bIns="423108" numCol="1" spcCol="1270" anchor="ctr" anchorCtr="0">
              <a:noAutofit/>
            </a:bodyPr>
            <a:lstStyle/>
            <a:p>
              <a:pPr algn="ctr" defTabSz="375069">
                <a:lnSpc>
                  <a:spcPct val="90000"/>
                </a:lnSpc>
                <a:spcBef>
                  <a:spcPct val="0"/>
                </a:spcBef>
                <a:spcAft>
                  <a:spcPct val="35000"/>
                </a:spcAft>
                <a:defRPr/>
              </a:pPr>
              <a:endParaRPr lang="en-GB" sz="500" b="1" kern="0" noProof="0">
                <a:solidFill>
                  <a:srgbClr val="FFFFFF"/>
                </a:solidFill>
                <a:latin typeface="Montserrat" panose="00000500000000000000" pitchFamily="2" charset="0"/>
                <a:cs typeface="Arial"/>
                <a:sym typeface="Arial"/>
              </a:endParaRPr>
            </a:p>
          </p:txBody>
        </p:sp>
        <p:sp>
          <p:nvSpPr>
            <p:cNvPr id="13" name="Forma libre: forma 12">
              <a:extLst>
                <a:ext uri="{FF2B5EF4-FFF2-40B4-BE49-F238E27FC236}">
                  <a16:creationId xmlns:a16="http://schemas.microsoft.com/office/drawing/2014/main" id="{56E40BBC-28DB-6B05-9357-1C9673B254C0}"/>
                </a:ext>
              </a:extLst>
            </p:cNvPr>
            <p:cNvSpPr/>
            <p:nvPr/>
          </p:nvSpPr>
          <p:spPr>
            <a:xfrm>
              <a:off x="14212570" y="3498331"/>
              <a:ext cx="2225989" cy="2232565"/>
            </a:xfrm>
            <a:custGeom>
              <a:avLst/>
              <a:gdLst>
                <a:gd name="connsiteX0" fmla="*/ 0 w 2674463"/>
                <a:gd name="connsiteY0" fmla="*/ 1337232 h 2674463"/>
                <a:gd name="connsiteX1" fmla="*/ 1337232 w 2674463"/>
                <a:gd name="connsiteY1" fmla="*/ 0 h 2674463"/>
                <a:gd name="connsiteX2" fmla="*/ 2674464 w 2674463"/>
                <a:gd name="connsiteY2" fmla="*/ 1337232 h 2674463"/>
                <a:gd name="connsiteX3" fmla="*/ 1337232 w 2674463"/>
                <a:gd name="connsiteY3" fmla="*/ 2674464 h 2674463"/>
                <a:gd name="connsiteX4" fmla="*/ 0 w 2674463"/>
                <a:gd name="connsiteY4" fmla="*/ 1337232 h 2674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463" h="2674463">
                  <a:moveTo>
                    <a:pt x="0" y="1337232"/>
                  </a:moveTo>
                  <a:cubicBezTo>
                    <a:pt x="0" y="598699"/>
                    <a:pt x="598699" y="0"/>
                    <a:pt x="1337232" y="0"/>
                  </a:cubicBezTo>
                  <a:cubicBezTo>
                    <a:pt x="2075765" y="0"/>
                    <a:pt x="2674464" y="598699"/>
                    <a:pt x="2674464" y="1337232"/>
                  </a:cubicBezTo>
                  <a:cubicBezTo>
                    <a:pt x="2674464" y="2075765"/>
                    <a:pt x="2075765" y="2674464"/>
                    <a:pt x="1337232" y="2674464"/>
                  </a:cubicBezTo>
                  <a:cubicBezTo>
                    <a:pt x="598699" y="2674464"/>
                    <a:pt x="0" y="2075765"/>
                    <a:pt x="0" y="1337232"/>
                  </a:cubicBezTo>
                  <a:close/>
                </a:path>
              </a:pathLst>
            </a:custGeom>
            <a:solidFill>
              <a:srgbClr val="9874A0"/>
            </a:solidFill>
            <a:ln>
              <a:noFill/>
            </a:ln>
            <a:effectLst/>
          </p:spPr>
          <p:txBody>
            <a:bodyPr spcFirstLastPara="0" vert="horz" wrap="square" lIns="150439" tIns="197451" rIns="150439" bIns="423108" numCol="1" spcCol="1270" anchor="ctr" anchorCtr="0">
              <a:noAutofit/>
            </a:bodyPr>
            <a:lstStyle/>
            <a:p>
              <a:pPr algn="ctr" defTabSz="375069">
                <a:lnSpc>
                  <a:spcPct val="90000"/>
                </a:lnSpc>
                <a:spcBef>
                  <a:spcPct val="0"/>
                </a:spcBef>
                <a:spcAft>
                  <a:spcPct val="35000"/>
                </a:spcAft>
                <a:buFont typeface="Arial"/>
                <a:buNone/>
                <a:defRPr/>
              </a:pPr>
              <a:endParaRPr lang="en-GB" sz="400" b="1" kern="0" noProof="0">
                <a:solidFill>
                  <a:srgbClr val="FFFFFF"/>
                </a:solidFill>
                <a:latin typeface="Montserrat" panose="00000500000000000000" pitchFamily="2" charset="0"/>
                <a:cs typeface="Arial"/>
                <a:sym typeface="Arial"/>
              </a:endParaRPr>
            </a:p>
          </p:txBody>
        </p:sp>
        <p:pic>
          <p:nvPicPr>
            <p:cNvPr id="15" name="Gráfico 14" descr="Cinta con relleno sólido">
              <a:extLst>
                <a:ext uri="{FF2B5EF4-FFF2-40B4-BE49-F238E27FC236}">
                  <a16:creationId xmlns:a16="http://schemas.microsoft.com/office/drawing/2014/main" id="{5A2BCFF8-CAE4-C004-5901-AD9B0F62229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4057499" y="2229564"/>
              <a:ext cx="584864" cy="584864"/>
            </a:xfrm>
            <a:prstGeom prst="rect">
              <a:avLst/>
            </a:prstGeom>
          </p:spPr>
        </p:pic>
        <p:pic>
          <p:nvPicPr>
            <p:cNvPr id="16" name="Picture 2" descr="Newsletter 2021|01 • IBCS - International Business Communication Standards">
              <a:extLst>
                <a:ext uri="{FF2B5EF4-FFF2-40B4-BE49-F238E27FC236}">
                  <a16:creationId xmlns:a16="http://schemas.microsoft.com/office/drawing/2014/main" id="{F656423A-14A2-316B-4E16-559754C8D197}"/>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r="52110"/>
            <a:stretch/>
          </p:blipFill>
          <p:spPr bwMode="auto">
            <a:xfrm>
              <a:off x="14811652" y="4746462"/>
              <a:ext cx="1027824" cy="623739"/>
            </a:xfrm>
            <a:prstGeom prst="rect">
              <a:avLst/>
            </a:prstGeom>
            <a:noFill/>
            <a:extLst>
              <a:ext uri="{909E8E84-426E-40DD-AFC4-6F175D3DCCD1}">
                <a14:hiddenFill xmlns:a14="http://schemas.microsoft.com/office/drawing/2010/main">
                  <a:solidFill>
                    <a:srgbClr val="FFFFFF"/>
                  </a:solidFill>
                </a14:hiddenFill>
              </a:ext>
            </a:extLst>
          </p:spPr>
        </p:pic>
        <p:pic>
          <p:nvPicPr>
            <p:cNvPr id="17" name="Gráfico 16" descr="Gesto de aguantar con relleno sólido">
              <a:extLst>
                <a:ext uri="{FF2B5EF4-FFF2-40B4-BE49-F238E27FC236}">
                  <a16:creationId xmlns:a16="http://schemas.microsoft.com/office/drawing/2014/main" id="{A0433F47-01B2-1CAD-D479-B01F36FBAF8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3116300" y="4837221"/>
              <a:ext cx="698485" cy="698485"/>
            </a:xfrm>
            <a:prstGeom prst="rect">
              <a:avLst/>
            </a:prstGeom>
          </p:spPr>
        </p:pic>
      </p:grpSp>
      <p:grpSp>
        <p:nvGrpSpPr>
          <p:cNvPr id="244" name="Grupo 243">
            <a:extLst>
              <a:ext uri="{FF2B5EF4-FFF2-40B4-BE49-F238E27FC236}">
                <a16:creationId xmlns:a16="http://schemas.microsoft.com/office/drawing/2014/main" id="{54EE5994-E016-4341-3EA1-3A1C2A5A64BC}"/>
              </a:ext>
            </a:extLst>
          </p:cNvPr>
          <p:cNvGrpSpPr/>
          <p:nvPr/>
        </p:nvGrpSpPr>
        <p:grpSpPr>
          <a:xfrm>
            <a:off x="303987" y="2647699"/>
            <a:ext cx="7179843" cy="2166829"/>
            <a:chOff x="419597" y="2647699"/>
            <a:chExt cx="7179843" cy="2166829"/>
          </a:xfrm>
        </p:grpSpPr>
        <p:sp>
          <p:nvSpPr>
            <p:cNvPr id="448" name="Rectángulo 11">
              <a:extLst>
                <a:ext uri="{FF2B5EF4-FFF2-40B4-BE49-F238E27FC236}">
                  <a16:creationId xmlns:a16="http://schemas.microsoft.com/office/drawing/2014/main" id="{C52F44BD-2A56-442A-B05B-C0422228AAC8}"/>
                </a:ext>
              </a:extLst>
            </p:cNvPr>
            <p:cNvSpPr/>
            <p:nvPr/>
          </p:nvSpPr>
          <p:spPr>
            <a:xfrm>
              <a:off x="419597" y="2647699"/>
              <a:ext cx="7179843" cy="2166829"/>
            </a:xfrm>
            <a:prstGeom prst="rect">
              <a:avLst/>
            </a:prstGeom>
            <a:solidFill>
              <a:srgbClr val="FFFFFF"/>
            </a:solidFill>
            <a:ln w="38100" cap="flat">
              <a:solidFill>
                <a:schemeClr val="accent2"/>
              </a:solidFill>
              <a:prstDash val="solid"/>
              <a:miter/>
            </a:ln>
          </p:spPr>
          <p:txBody>
            <a:bodyPr vert="horz" wrap="square" lIns="143999" tIns="324000" rIns="0" bIns="107999"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2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49" name="Google Shape;2998;p18">
              <a:extLst>
                <a:ext uri="{FF2B5EF4-FFF2-40B4-BE49-F238E27FC236}">
                  <a16:creationId xmlns:a16="http://schemas.microsoft.com/office/drawing/2014/main" id="{5D024962-FBBD-3083-07A8-3F9375628756}"/>
                </a:ext>
              </a:extLst>
            </p:cNvPr>
            <p:cNvSpPr txBox="1"/>
            <p:nvPr/>
          </p:nvSpPr>
          <p:spPr>
            <a:xfrm>
              <a:off x="6881272" y="3878917"/>
              <a:ext cx="662790" cy="461624"/>
            </a:xfrm>
            <a:prstGeom prst="rect">
              <a:avLst/>
            </a:prstGeom>
            <a:noFill/>
            <a:ln>
              <a:noFill/>
            </a:ln>
          </p:spPr>
          <p:txBody>
            <a:bodyPr spcFirstLastPara="1" wrap="square" lIns="0" tIns="45700" rIns="0" bIns="45700" anchor="t" anchorCtr="0">
              <a:spAutoFit/>
            </a:bodyPr>
            <a:lstStyle/>
            <a:p>
              <a:pPr>
                <a:defRPr/>
              </a:pPr>
              <a:r>
                <a:rPr lang="en-GB" sz="800" kern="0" noProof="0">
                  <a:latin typeface="Quattrocento Sans"/>
                  <a:sym typeface="Quattrocento Sans"/>
                </a:rPr>
                <a:t>Development of financial planning tools</a:t>
              </a:r>
              <a:endParaRPr lang="en-GB" noProof="0"/>
            </a:p>
          </p:txBody>
        </p:sp>
        <p:sp>
          <p:nvSpPr>
            <p:cNvPr id="450" name="Google Shape;2999;p18">
              <a:extLst>
                <a:ext uri="{FF2B5EF4-FFF2-40B4-BE49-F238E27FC236}">
                  <a16:creationId xmlns:a16="http://schemas.microsoft.com/office/drawing/2014/main" id="{07B78ACD-F7DE-DAF2-AC29-A25023EE9DCC}"/>
                </a:ext>
              </a:extLst>
            </p:cNvPr>
            <p:cNvSpPr/>
            <p:nvPr/>
          </p:nvSpPr>
          <p:spPr>
            <a:xfrm>
              <a:off x="6957444" y="3070313"/>
              <a:ext cx="480872" cy="480872"/>
            </a:xfrm>
            <a:custGeom>
              <a:avLst/>
              <a:gdLst/>
              <a:ahLst/>
              <a:cxnLst/>
              <a:rect l="l" t="t" r="r" b="b"/>
              <a:pathLst>
                <a:path w="1648833" h="1648833" extrusionOk="0">
                  <a:moveTo>
                    <a:pt x="97680" y="996029"/>
                  </a:moveTo>
                  <a:cubicBezTo>
                    <a:pt x="103956" y="1064960"/>
                    <a:pt x="160868" y="1116952"/>
                    <a:pt x="230119" y="1116952"/>
                  </a:cubicBezTo>
                  <a:lnTo>
                    <a:pt x="372317" y="1116952"/>
                  </a:lnTo>
                  <a:lnTo>
                    <a:pt x="372317" y="1223328"/>
                  </a:lnTo>
                  <a:lnTo>
                    <a:pt x="319129" y="1223328"/>
                  </a:lnTo>
                  <a:cubicBezTo>
                    <a:pt x="275143" y="1223328"/>
                    <a:pt x="239347" y="1259124"/>
                    <a:pt x="239347" y="1303111"/>
                  </a:cubicBezTo>
                  <a:cubicBezTo>
                    <a:pt x="239347" y="1322923"/>
                    <a:pt x="246873" y="1340821"/>
                    <a:pt x="258840" y="1354783"/>
                  </a:cubicBezTo>
                  <a:cubicBezTo>
                    <a:pt x="165468" y="1405684"/>
                    <a:pt x="106376" y="1503577"/>
                    <a:pt x="106376" y="1611443"/>
                  </a:cubicBezTo>
                  <a:lnTo>
                    <a:pt x="106376" y="1648834"/>
                  </a:lnTo>
                  <a:lnTo>
                    <a:pt x="1063764" y="1648834"/>
                  </a:lnTo>
                  <a:lnTo>
                    <a:pt x="1063764" y="1622240"/>
                  </a:lnTo>
                  <a:cubicBezTo>
                    <a:pt x="1063764" y="1508869"/>
                    <a:pt x="998821" y="1410604"/>
                    <a:pt x="904306" y="1362043"/>
                  </a:cubicBezTo>
                  <a:cubicBezTo>
                    <a:pt x="920448" y="1347443"/>
                    <a:pt x="930793" y="1326540"/>
                    <a:pt x="930793" y="1303111"/>
                  </a:cubicBezTo>
                  <a:cubicBezTo>
                    <a:pt x="930793" y="1259124"/>
                    <a:pt x="894998" y="1223328"/>
                    <a:pt x="851011" y="1223328"/>
                  </a:cubicBezTo>
                  <a:lnTo>
                    <a:pt x="797823" y="1223328"/>
                  </a:lnTo>
                  <a:lnTo>
                    <a:pt x="797823" y="1023341"/>
                  </a:lnTo>
                  <a:lnTo>
                    <a:pt x="864148" y="970286"/>
                  </a:lnTo>
                  <a:cubicBezTo>
                    <a:pt x="991002" y="868802"/>
                    <a:pt x="1063764" y="717456"/>
                    <a:pt x="1063764" y="554966"/>
                  </a:cubicBezTo>
                  <a:lnTo>
                    <a:pt x="1063764" y="531882"/>
                  </a:lnTo>
                  <a:cubicBezTo>
                    <a:pt x="1063764" y="523026"/>
                    <a:pt x="1063551" y="514144"/>
                    <a:pt x="1063099" y="505288"/>
                  </a:cubicBezTo>
                  <a:lnTo>
                    <a:pt x="1185724" y="505288"/>
                  </a:lnTo>
                  <a:lnTo>
                    <a:pt x="1238912" y="558476"/>
                  </a:lnTo>
                  <a:lnTo>
                    <a:pt x="1334598" y="558476"/>
                  </a:lnTo>
                  <a:cubicBezTo>
                    <a:pt x="1345608" y="589352"/>
                    <a:pt x="1374862" y="611664"/>
                    <a:pt x="1409487" y="611664"/>
                  </a:cubicBezTo>
                  <a:cubicBezTo>
                    <a:pt x="1453474" y="611664"/>
                    <a:pt x="1489269" y="575869"/>
                    <a:pt x="1489269" y="531882"/>
                  </a:cubicBezTo>
                  <a:cubicBezTo>
                    <a:pt x="1489269" y="487895"/>
                    <a:pt x="1453474" y="452100"/>
                    <a:pt x="1409487" y="452100"/>
                  </a:cubicBezTo>
                  <a:cubicBezTo>
                    <a:pt x="1374862" y="452100"/>
                    <a:pt x="1345608" y="474412"/>
                    <a:pt x="1334598" y="505288"/>
                  </a:cubicBezTo>
                  <a:lnTo>
                    <a:pt x="1260932" y="505288"/>
                  </a:lnTo>
                  <a:lnTo>
                    <a:pt x="1207744" y="452100"/>
                  </a:lnTo>
                  <a:lnTo>
                    <a:pt x="1004884" y="452100"/>
                  </a:lnTo>
                  <a:lnTo>
                    <a:pt x="1007969" y="481459"/>
                  </a:lnTo>
                  <a:cubicBezTo>
                    <a:pt x="1009698" y="498081"/>
                    <a:pt x="1010576" y="515021"/>
                    <a:pt x="1010576" y="531882"/>
                  </a:cubicBezTo>
                  <a:lnTo>
                    <a:pt x="1010576" y="554966"/>
                  </a:lnTo>
                  <a:cubicBezTo>
                    <a:pt x="1010576" y="701180"/>
                    <a:pt x="945101" y="837421"/>
                    <a:pt x="830932" y="928772"/>
                  </a:cubicBezTo>
                  <a:lnTo>
                    <a:pt x="744635" y="997810"/>
                  </a:lnTo>
                  <a:lnTo>
                    <a:pt x="744635" y="1223328"/>
                  </a:lnTo>
                  <a:lnTo>
                    <a:pt x="425506" y="1223328"/>
                  </a:lnTo>
                  <a:lnTo>
                    <a:pt x="425506" y="1115383"/>
                  </a:lnTo>
                  <a:cubicBezTo>
                    <a:pt x="544993" y="1102086"/>
                    <a:pt x="638258" y="1000576"/>
                    <a:pt x="638258" y="877605"/>
                  </a:cubicBezTo>
                  <a:lnTo>
                    <a:pt x="638258" y="851011"/>
                  </a:lnTo>
                  <a:lnTo>
                    <a:pt x="585070" y="851011"/>
                  </a:lnTo>
                  <a:lnTo>
                    <a:pt x="585070" y="877605"/>
                  </a:lnTo>
                  <a:cubicBezTo>
                    <a:pt x="585070" y="980258"/>
                    <a:pt x="501565" y="1063764"/>
                    <a:pt x="398911" y="1063764"/>
                  </a:cubicBezTo>
                  <a:lnTo>
                    <a:pt x="230119" y="1063764"/>
                  </a:lnTo>
                  <a:cubicBezTo>
                    <a:pt x="188579" y="1063764"/>
                    <a:pt x="154432" y="1032569"/>
                    <a:pt x="150682" y="991215"/>
                  </a:cubicBezTo>
                  <a:lnTo>
                    <a:pt x="131295" y="778090"/>
                  </a:lnTo>
                  <a:lnTo>
                    <a:pt x="53188" y="752054"/>
                  </a:lnTo>
                  <a:lnTo>
                    <a:pt x="53188" y="531882"/>
                  </a:lnTo>
                  <a:cubicBezTo>
                    <a:pt x="53188" y="267936"/>
                    <a:pt x="267936" y="53188"/>
                    <a:pt x="531882" y="53188"/>
                  </a:cubicBezTo>
                  <a:cubicBezTo>
                    <a:pt x="698733" y="53188"/>
                    <a:pt x="850958" y="137970"/>
                    <a:pt x="939011" y="279956"/>
                  </a:cubicBezTo>
                  <a:lnTo>
                    <a:pt x="946803" y="292535"/>
                  </a:lnTo>
                  <a:lnTo>
                    <a:pt x="1207744" y="292535"/>
                  </a:lnTo>
                  <a:lnTo>
                    <a:pt x="1260932" y="239347"/>
                  </a:lnTo>
                  <a:lnTo>
                    <a:pt x="1334598" y="239347"/>
                  </a:lnTo>
                  <a:cubicBezTo>
                    <a:pt x="1345608" y="270223"/>
                    <a:pt x="1374862" y="292535"/>
                    <a:pt x="1409487" y="292535"/>
                  </a:cubicBezTo>
                  <a:cubicBezTo>
                    <a:pt x="1453474" y="292535"/>
                    <a:pt x="1489269" y="256739"/>
                    <a:pt x="1489269" y="212753"/>
                  </a:cubicBezTo>
                  <a:cubicBezTo>
                    <a:pt x="1489269" y="168766"/>
                    <a:pt x="1453474" y="132970"/>
                    <a:pt x="1409487" y="132970"/>
                  </a:cubicBezTo>
                  <a:cubicBezTo>
                    <a:pt x="1374862" y="132970"/>
                    <a:pt x="1345608" y="155283"/>
                    <a:pt x="1334598" y="186159"/>
                  </a:cubicBezTo>
                  <a:lnTo>
                    <a:pt x="1238912" y="186159"/>
                  </a:lnTo>
                  <a:lnTo>
                    <a:pt x="1185724" y="239347"/>
                  </a:lnTo>
                  <a:lnTo>
                    <a:pt x="976163" y="239347"/>
                  </a:lnTo>
                  <a:cubicBezTo>
                    <a:pt x="877259" y="89197"/>
                    <a:pt x="712296" y="0"/>
                    <a:pt x="531882" y="0"/>
                  </a:cubicBezTo>
                  <a:cubicBezTo>
                    <a:pt x="238602" y="0"/>
                    <a:pt x="0" y="238602"/>
                    <a:pt x="0" y="531882"/>
                  </a:cubicBezTo>
                  <a:lnTo>
                    <a:pt x="0" y="790403"/>
                  </a:lnTo>
                  <a:lnTo>
                    <a:pt x="81458" y="817556"/>
                  </a:lnTo>
                  <a:close/>
                  <a:moveTo>
                    <a:pt x="1409487" y="505288"/>
                  </a:moveTo>
                  <a:cubicBezTo>
                    <a:pt x="1424140" y="505288"/>
                    <a:pt x="1436081" y="517229"/>
                    <a:pt x="1436081" y="531882"/>
                  </a:cubicBezTo>
                  <a:cubicBezTo>
                    <a:pt x="1436081" y="546535"/>
                    <a:pt x="1424140" y="558476"/>
                    <a:pt x="1409487" y="558476"/>
                  </a:cubicBezTo>
                  <a:cubicBezTo>
                    <a:pt x="1394834" y="558476"/>
                    <a:pt x="1382893" y="546535"/>
                    <a:pt x="1382893" y="531882"/>
                  </a:cubicBezTo>
                  <a:cubicBezTo>
                    <a:pt x="1382893" y="517229"/>
                    <a:pt x="1394834" y="505288"/>
                    <a:pt x="1409487" y="505288"/>
                  </a:cubicBezTo>
                  <a:close/>
                  <a:moveTo>
                    <a:pt x="160096" y="1595646"/>
                  </a:moveTo>
                  <a:cubicBezTo>
                    <a:pt x="165974" y="1506183"/>
                    <a:pt x="221396" y="1427146"/>
                    <a:pt x="304662" y="1391430"/>
                  </a:cubicBezTo>
                  <a:lnTo>
                    <a:pt x="324581" y="1382893"/>
                  </a:lnTo>
                  <a:lnTo>
                    <a:pt x="603713" y="1382893"/>
                  </a:lnTo>
                  <a:cubicBezTo>
                    <a:pt x="535100" y="1431055"/>
                    <a:pt x="487842" y="1507672"/>
                    <a:pt x="479890" y="1595646"/>
                  </a:cubicBezTo>
                  <a:close/>
                  <a:moveTo>
                    <a:pt x="640944" y="1595646"/>
                  </a:moveTo>
                  <a:cubicBezTo>
                    <a:pt x="653311" y="1535038"/>
                    <a:pt x="707004" y="1489269"/>
                    <a:pt x="771229" y="1489269"/>
                  </a:cubicBezTo>
                  <a:cubicBezTo>
                    <a:pt x="835454" y="1489269"/>
                    <a:pt x="889147" y="1535038"/>
                    <a:pt x="901513" y="1595646"/>
                  </a:cubicBezTo>
                  <a:close/>
                  <a:moveTo>
                    <a:pt x="1009113" y="1595646"/>
                  </a:moveTo>
                  <a:lnTo>
                    <a:pt x="955260" y="1595646"/>
                  </a:lnTo>
                  <a:cubicBezTo>
                    <a:pt x="942282" y="1505571"/>
                    <a:pt x="864813" y="1436081"/>
                    <a:pt x="771229" y="1436081"/>
                  </a:cubicBezTo>
                  <a:cubicBezTo>
                    <a:pt x="677644" y="1436081"/>
                    <a:pt x="600176" y="1505571"/>
                    <a:pt x="587198" y="1595646"/>
                  </a:cubicBezTo>
                  <a:lnTo>
                    <a:pt x="533345" y="1595646"/>
                  </a:lnTo>
                  <a:cubicBezTo>
                    <a:pt x="546615" y="1476132"/>
                    <a:pt x="648231" y="1382893"/>
                    <a:pt x="771229" y="1382893"/>
                  </a:cubicBezTo>
                  <a:cubicBezTo>
                    <a:pt x="894226" y="1382893"/>
                    <a:pt x="995842" y="1476132"/>
                    <a:pt x="1009113" y="1595646"/>
                  </a:cubicBezTo>
                  <a:close/>
                  <a:moveTo>
                    <a:pt x="877605" y="1303111"/>
                  </a:moveTo>
                  <a:cubicBezTo>
                    <a:pt x="877605" y="1317764"/>
                    <a:pt x="865664" y="1329705"/>
                    <a:pt x="851011" y="1329705"/>
                  </a:cubicBezTo>
                  <a:lnTo>
                    <a:pt x="319129" y="1329705"/>
                  </a:lnTo>
                  <a:cubicBezTo>
                    <a:pt x="304476" y="1329705"/>
                    <a:pt x="292535" y="1317764"/>
                    <a:pt x="292535" y="1303111"/>
                  </a:cubicBezTo>
                  <a:cubicBezTo>
                    <a:pt x="292535" y="1288457"/>
                    <a:pt x="304476" y="1276517"/>
                    <a:pt x="319129" y="1276517"/>
                  </a:cubicBezTo>
                  <a:lnTo>
                    <a:pt x="851011" y="1276517"/>
                  </a:lnTo>
                  <a:cubicBezTo>
                    <a:pt x="865664" y="1276517"/>
                    <a:pt x="877605" y="1288457"/>
                    <a:pt x="877605" y="1303111"/>
                  </a:cubicBezTo>
                  <a:close/>
                  <a:moveTo>
                    <a:pt x="1409487" y="186159"/>
                  </a:moveTo>
                  <a:cubicBezTo>
                    <a:pt x="1424140" y="186159"/>
                    <a:pt x="1436081" y="198099"/>
                    <a:pt x="1436081" y="212753"/>
                  </a:cubicBezTo>
                  <a:cubicBezTo>
                    <a:pt x="1436081" y="227406"/>
                    <a:pt x="1424140" y="239347"/>
                    <a:pt x="1409487" y="239347"/>
                  </a:cubicBezTo>
                  <a:cubicBezTo>
                    <a:pt x="1394834" y="239347"/>
                    <a:pt x="1382893" y="227406"/>
                    <a:pt x="1382893" y="212753"/>
                  </a:cubicBezTo>
                  <a:cubicBezTo>
                    <a:pt x="1382893" y="198099"/>
                    <a:pt x="1394834" y="186159"/>
                    <a:pt x="1409487" y="186159"/>
                  </a:cubicBezTo>
                  <a:close/>
                  <a:moveTo>
                    <a:pt x="1329705" y="398911"/>
                  </a:moveTo>
                  <a:lnTo>
                    <a:pt x="1329705" y="345723"/>
                  </a:lnTo>
                  <a:lnTo>
                    <a:pt x="835214" y="345723"/>
                  </a:lnTo>
                  <a:lnTo>
                    <a:pt x="724822" y="238230"/>
                  </a:lnTo>
                  <a:cubicBezTo>
                    <a:pt x="737002" y="224215"/>
                    <a:pt x="744635" y="206131"/>
                    <a:pt x="744635" y="186159"/>
                  </a:cubicBezTo>
                  <a:cubicBezTo>
                    <a:pt x="744635" y="142172"/>
                    <a:pt x="708839" y="106376"/>
                    <a:pt x="664852" y="106376"/>
                  </a:cubicBezTo>
                  <a:cubicBezTo>
                    <a:pt x="622568" y="106376"/>
                    <a:pt x="588208" y="139539"/>
                    <a:pt x="585575" y="181159"/>
                  </a:cubicBezTo>
                  <a:lnTo>
                    <a:pt x="357345" y="246368"/>
                  </a:lnTo>
                  <a:cubicBezTo>
                    <a:pt x="342878" y="226103"/>
                    <a:pt x="319289" y="212753"/>
                    <a:pt x="292535" y="212753"/>
                  </a:cubicBezTo>
                  <a:cubicBezTo>
                    <a:pt x="248548" y="212753"/>
                    <a:pt x="212753" y="248548"/>
                    <a:pt x="212753" y="292535"/>
                  </a:cubicBezTo>
                  <a:cubicBezTo>
                    <a:pt x="212753" y="336522"/>
                    <a:pt x="248548" y="372317"/>
                    <a:pt x="292535" y="372317"/>
                  </a:cubicBezTo>
                  <a:cubicBezTo>
                    <a:pt x="296471" y="372317"/>
                    <a:pt x="300274" y="371706"/>
                    <a:pt x="304050" y="371147"/>
                  </a:cubicBezTo>
                  <a:lnTo>
                    <a:pt x="473322" y="690861"/>
                  </a:lnTo>
                  <a:cubicBezTo>
                    <a:pt x="460264" y="705089"/>
                    <a:pt x="452100" y="723865"/>
                    <a:pt x="452100" y="744635"/>
                  </a:cubicBezTo>
                  <a:cubicBezTo>
                    <a:pt x="452100" y="788621"/>
                    <a:pt x="487895" y="824417"/>
                    <a:pt x="531882" y="824417"/>
                  </a:cubicBezTo>
                  <a:cubicBezTo>
                    <a:pt x="573262" y="824417"/>
                    <a:pt x="606957" y="792664"/>
                    <a:pt x="610893" y="752294"/>
                  </a:cubicBezTo>
                  <a:lnTo>
                    <a:pt x="784579" y="708892"/>
                  </a:lnTo>
                  <a:cubicBezTo>
                    <a:pt x="798887" y="730407"/>
                    <a:pt x="823300" y="744635"/>
                    <a:pt x="851011" y="744635"/>
                  </a:cubicBezTo>
                  <a:cubicBezTo>
                    <a:pt x="894998" y="744635"/>
                    <a:pt x="930793" y="708839"/>
                    <a:pt x="930793" y="664852"/>
                  </a:cubicBezTo>
                  <a:cubicBezTo>
                    <a:pt x="930793" y="629376"/>
                    <a:pt x="907364" y="599590"/>
                    <a:pt x="875265" y="589245"/>
                  </a:cubicBezTo>
                  <a:lnTo>
                    <a:pt x="854123" y="398911"/>
                  </a:lnTo>
                  <a:close/>
                  <a:moveTo>
                    <a:pt x="572651" y="676421"/>
                  </a:moveTo>
                  <a:lnTo>
                    <a:pt x="596452" y="557332"/>
                  </a:lnTo>
                  <a:cubicBezTo>
                    <a:pt x="609297" y="555471"/>
                    <a:pt x="621158" y="550737"/>
                    <a:pt x="631264" y="543504"/>
                  </a:cubicBezTo>
                  <a:lnTo>
                    <a:pt x="774420" y="643710"/>
                  </a:lnTo>
                  <a:cubicBezTo>
                    <a:pt x="773223" y="648071"/>
                    <a:pt x="772425" y="652566"/>
                    <a:pt x="772000" y="657193"/>
                  </a:cubicBezTo>
                  <a:lnTo>
                    <a:pt x="598314" y="700595"/>
                  </a:lnTo>
                  <a:cubicBezTo>
                    <a:pt x="591719" y="690702"/>
                    <a:pt x="582863" y="682564"/>
                    <a:pt x="572651" y="676421"/>
                  </a:cubicBezTo>
                  <a:close/>
                  <a:moveTo>
                    <a:pt x="619430" y="251607"/>
                  </a:moveTo>
                  <a:lnTo>
                    <a:pt x="579086" y="399523"/>
                  </a:lnTo>
                  <a:cubicBezTo>
                    <a:pt x="562944" y="400746"/>
                    <a:pt x="548264" y="406677"/>
                    <a:pt x="536217" y="416091"/>
                  </a:cubicBezTo>
                  <a:lnTo>
                    <a:pt x="370137" y="310406"/>
                  </a:lnTo>
                  <a:cubicBezTo>
                    <a:pt x="371094" y="306258"/>
                    <a:pt x="371546" y="301923"/>
                    <a:pt x="371812" y="297561"/>
                  </a:cubicBezTo>
                  <a:lnTo>
                    <a:pt x="600043" y="232353"/>
                  </a:lnTo>
                  <a:cubicBezTo>
                    <a:pt x="605361" y="239799"/>
                    <a:pt x="611904" y="246341"/>
                    <a:pt x="619430" y="251607"/>
                  </a:cubicBezTo>
                  <a:close/>
                  <a:moveTo>
                    <a:pt x="585070" y="505288"/>
                  </a:moveTo>
                  <a:cubicBezTo>
                    <a:pt x="570417" y="505288"/>
                    <a:pt x="558476" y="493347"/>
                    <a:pt x="558476" y="478694"/>
                  </a:cubicBezTo>
                  <a:cubicBezTo>
                    <a:pt x="558476" y="464040"/>
                    <a:pt x="570417" y="452100"/>
                    <a:pt x="585070" y="452100"/>
                  </a:cubicBezTo>
                  <a:cubicBezTo>
                    <a:pt x="599723" y="452100"/>
                    <a:pt x="611664" y="464040"/>
                    <a:pt x="611664" y="478694"/>
                  </a:cubicBezTo>
                  <a:cubicBezTo>
                    <a:pt x="611664" y="493347"/>
                    <a:pt x="599723" y="505288"/>
                    <a:pt x="585070" y="505288"/>
                  </a:cubicBezTo>
                  <a:close/>
                  <a:moveTo>
                    <a:pt x="507469" y="460822"/>
                  </a:moveTo>
                  <a:cubicBezTo>
                    <a:pt x="506139" y="466593"/>
                    <a:pt x="505288" y="472524"/>
                    <a:pt x="505288" y="478694"/>
                  </a:cubicBezTo>
                  <a:cubicBezTo>
                    <a:pt x="505288" y="507734"/>
                    <a:pt x="521058" y="532946"/>
                    <a:pt x="544301" y="546908"/>
                  </a:cubicBezTo>
                  <a:lnTo>
                    <a:pt x="520500" y="665996"/>
                  </a:lnTo>
                  <a:cubicBezTo>
                    <a:pt x="520446" y="665996"/>
                    <a:pt x="520393" y="665996"/>
                    <a:pt x="520367" y="666023"/>
                  </a:cubicBezTo>
                  <a:lnTo>
                    <a:pt x="363089" y="368940"/>
                  </a:lnTo>
                  <a:close/>
                  <a:moveTo>
                    <a:pt x="661661" y="499836"/>
                  </a:moveTo>
                  <a:cubicBezTo>
                    <a:pt x="663523" y="493055"/>
                    <a:pt x="664852" y="486060"/>
                    <a:pt x="664852" y="478694"/>
                  </a:cubicBezTo>
                  <a:cubicBezTo>
                    <a:pt x="664852" y="451594"/>
                    <a:pt x="651210" y="427660"/>
                    <a:pt x="630493" y="413246"/>
                  </a:cubicBezTo>
                  <a:lnTo>
                    <a:pt x="670836" y="265329"/>
                  </a:lnTo>
                  <a:cubicBezTo>
                    <a:pt x="672538" y="265196"/>
                    <a:pt x="674240" y="265063"/>
                    <a:pt x="675916" y="264824"/>
                  </a:cubicBezTo>
                  <a:lnTo>
                    <a:pt x="799046" y="384710"/>
                  </a:lnTo>
                  <a:lnTo>
                    <a:pt x="821944" y="590735"/>
                  </a:lnTo>
                  <a:cubicBezTo>
                    <a:pt x="815827" y="593155"/>
                    <a:pt x="810109" y="596266"/>
                    <a:pt x="804817" y="600043"/>
                  </a:cubicBezTo>
                  <a:close/>
                  <a:moveTo>
                    <a:pt x="664852" y="159565"/>
                  </a:moveTo>
                  <a:cubicBezTo>
                    <a:pt x="679506" y="159565"/>
                    <a:pt x="691446" y="171505"/>
                    <a:pt x="691446" y="186159"/>
                  </a:cubicBezTo>
                  <a:cubicBezTo>
                    <a:pt x="691446" y="200812"/>
                    <a:pt x="679506" y="212753"/>
                    <a:pt x="664852" y="212753"/>
                  </a:cubicBezTo>
                  <a:cubicBezTo>
                    <a:pt x="650199" y="212753"/>
                    <a:pt x="638258" y="200812"/>
                    <a:pt x="638258" y="186159"/>
                  </a:cubicBezTo>
                  <a:cubicBezTo>
                    <a:pt x="638258" y="171505"/>
                    <a:pt x="650199" y="159565"/>
                    <a:pt x="664852" y="159565"/>
                  </a:cubicBezTo>
                  <a:close/>
                  <a:moveTo>
                    <a:pt x="265941" y="292535"/>
                  </a:moveTo>
                  <a:cubicBezTo>
                    <a:pt x="265941" y="277882"/>
                    <a:pt x="277882" y="265941"/>
                    <a:pt x="292535" y="265941"/>
                  </a:cubicBezTo>
                  <a:cubicBezTo>
                    <a:pt x="307188" y="265941"/>
                    <a:pt x="319129" y="277882"/>
                    <a:pt x="319129" y="292535"/>
                  </a:cubicBezTo>
                  <a:cubicBezTo>
                    <a:pt x="319129" y="307188"/>
                    <a:pt x="307188" y="319129"/>
                    <a:pt x="292535" y="319129"/>
                  </a:cubicBezTo>
                  <a:cubicBezTo>
                    <a:pt x="277882" y="319129"/>
                    <a:pt x="265941" y="307188"/>
                    <a:pt x="265941" y="292535"/>
                  </a:cubicBezTo>
                  <a:close/>
                  <a:moveTo>
                    <a:pt x="531882" y="771229"/>
                  </a:moveTo>
                  <a:cubicBezTo>
                    <a:pt x="517229" y="771229"/>
                    <a:pt x="505288" y="759288"/>
                    <a:pt x="505288" y="744635"/>
                  </a:cubicBezTo>
                  <a:cubicBezTo>
                    <a:pt x="505288" y="729981"/>
                    <a:pt x="517229" y="718041"/>
                    <a:pt x="531882" y="718041"/>
                  </a:cubicBezTo>
                  <a:cubicBezTo>
                    <a:pt x="546535" y="718041"/>
                    <a:pt x="558476" y="729981"/>
                    <a:pt x="558476" y="744635"/>
                  </a:cubicBezTo>
                  <a:cubicBezTo>
                    <a:pt x="558476" y="759288"/>
                    <a:pt x="546535" y="771229"/>
                    <a:pt x="531882" y="771229"/>
                  </a:cubicBezTo>
                  <a:close/>
                  <a:moveTo>
                    <a:pt x="851011" y="691446"/>
                  </a:moveTo>
                  <a:cubicBezTo>
                    <a:pt x="836358" y="691446"/>
                    <a:pt x="824417" y="679506"/>
                    <a:pt x="824417" y="664852"/>
                  </a:cubicBezTo>
                  <a:cubicBezTo>
                    <a:pt x="824417" y="650199"/>
                    <a:pt x="836358" y="638258"/>
                    <a:pt x="851011" y="638258"/>
                  </a:cubicBezTo>
                  <a:cubicBezTo>
                    <a:pt x="865664" y="638258"/>
                    <a:pt x="877605" y="650199"/>
                    <a:pt x="877605" y="664852"/>
                  </a:cubicBezTo>
                  <a:cubicBezTo>
                    <a:pt x="877605" y="679506"/>
                    <a:pt x="865664" y="691446"/>
                    <a:pt x="851011" y="691446"/>
                  </a:cubicBezTo>
                  <a:close/>
                  <a:moveTo>
                    <a:pt x="1569052" y="292535"/>
                  </a:moveTo>
                  <a:cubicBezTo>
                    <a:pt x="1534426" y="292535"/>
                    <a:pt x="1505173" y="314847"/>
                    <a:pt x="1494163" y="345723"/>
                  </a:cubicBezTo>
                  <a:lnTo>
                    <a:pt x="1382893" y="345723"/>
                  </a:lnTo>
                  <a:lnTo>
                    <a:pt x="1382893" y="398911"/>
                  </a:lnTo>
                  <a:lnTo>
                    <a:pt x="1494163" y="398911"/>
                  </a:lnTo>
                  <a:cubicBezTo>
                    <a:pt x="1505173" y="429787"/>
                    <a:pt x="1534426" y="452100"/>
                    <a:pt x="1569052" y="452100"/>
                  </a:cubicBezTo>
                  <a:cubicBezTo>
                    <a:pt x="1613038" y="452100"/>
                    <a:pt x="1648834" y="416304"/>
                    <a:pt x="1648834" y="372317"/>
                  </a:cubicBezTo>
                  <a:cubicBezTo>
                    <a:pt x="1648834" y="328331"/>
                    <a:pt x="1613038" y="292535"/>
                    <a:pt x="1569052" y="292535"/>
                  </a:cubicBezTo>
                  <a:close/>
                  <a:moveTo>
                    <a:pt x="1569052" y="398911"/>
                  </a:moveTo>
                  <a:cubicBezTo>
                    <a:pt x="1554398" y="398911"/>
                    <a:pt x="1542458" y="386971"/>
                    <a:pt x="1542458" y="372317"/>
                  </a:cubicBezTo>
                  <a:cubicBezTo>
                    <a:pt x="1542458" y="357664"/>
                    <a:pt x="1554398" y="345723"/>
                    <a:pt x="1569052" y="345723"/>
                  </a:cubicBezTo>
                  <a:cubicBezTo>
                    <a:pt x="1583705" y="345723"/>
                    <a:pt x="1595646" y="357664"/>
                    <a:pt x="1595646" y="372317"/>
                  </a:cubicBezTo>
                  <a:cubicBezTo>
                    <a:pt x="1595646" y="386971"/>
                    <a:pt x="1583705" y="398911"/>
                    <a:pt x="1569052" y="398911"/>
                  </a:cubicBezTo>
                  <a:close/>
                  <a:moveTo>
                    <a:pt x="1462675" y="851011"/>
                  </a:moveTo>
                  <a:lnTo>
                    <a:pt x="1090358" y="851011"/>
                  </a:lnTo>
                  <a:lnTo>
                    <a:pt x="1090358" y="797823"/>
                  </a:lnTo>
                  <a:lnTo>
                    <a:pt x="1462675" y="797823"/>
                  </a:lnTo>
                  <a:close/>
                  <a:moveTo>
                    <a:pt x="1462675" y="957387"/>
                  </a:moveTo>
                  <a:lnTo>
                    <a:pt x="1090358" y="957387"/>
                  </a:lnTo>
                  <a:lnTo>
                    <a:pt x="1090358" y="904199"/>
                  </a:lnTo>
                  <a:lnTo>
                    <a:pt x="1462675" y="904199"/>
                  </a:lnTo>
                  <a:close/>
                  <a:moveTo>
                    <a:pt x="1462675" y="1063764"/>
                  </a:moveTo>
                  <a:lnTo>
                    <a:pt x="1090358" y="1063764"/>
                  </a:lnTo>
                  <a:lnTo>
                    <a:pt x="1090358" y="1010576"/>
                  </a:lnTo>
                  <a:lnTo>
                    <a:pt x="1462675" y="1010576"/>
                  </a:lnTo>
                  <a:close/>
                  <a:moveTo>
                    <a:pt x="1409487" y="1170140"/>
                  </a:moveTo>
                  <a:lnTo>
                    <a:pt x="1409487" y="1116952"/>
                  </a:lnTo>
                  <a:lnTo>
                    <a:pt x="1462675" y="1116952"/>
                  </a:lnTo>
                  <a:lnTo>
                    <a:pt x="1462675" y="1170140"/>
                  </a:lnTo>
                  <a:close/>
                  <a:moveTo>
                    <a:pt x="1303111" y="1170140"/>
                  </a:moveTo>
                  <a:lnTo>
                    <a:pt x="1303111" y="1116952"/>
                  </a:lnTo>
                  <a:lnTo>
                    <a:pt x="1356299" y="1116952"/>
                  </a:lnTo>
                  <a:lnTo>
                    <a:pt x="1356299" y="1170140"/>
                  </a:lnTo>
                  <a:close/>
                  <a:moveTo>
                    <a:pt x="1196734" y="1170140"/>
                  </a:moveTo>
                  <a:lnTo>
                    <a:pt x="1196734" y="1116952"/>
                  </a:lnTo>
                  <a:lnTo>
                    <a:pt x="1249922" y="1116952"/>
                  </a:lnTo>
                  <a:lnTo>
                    <a:pt x="1249922" y="1170140"/>
                  </a:lnTo>
                  <a:close/>
                  <a:moveTo>
                    <a:pt x="1090358" y="1116952"/>
                  </a:moveTo>
                  <a:lnTo>
                    <a:pt x="1143546" y="1116952"/>
                  </a:lnTo>
                  <a:lnTo>
                    <a:pt x="1143546" y="1170140"/>
                  </a:lnTo>
                  <a:lnTo>
                    <a:pt x="1090358" y="1170140"/>
                  </a:lnTo>
                  <a:close/>
                </a:path>
              </a:pathLst>
            </a:custGeom>
            <a:solidFill>
              <a:schemeClr val="tx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lang="en-GB" sz="800" b="0" i="0" u="none" strike="noStrike" kern="0" cap="none" spc="0" normalizeH="0" baseline="0" noProof="0">
                <a:ln>
                  <a:noFill/>
                </a:ln>
                <a:solidFill>
                  <a:srgbClr val="00D8BF"/>
                </a:solidFill>
                <a:effectLst/>
                <a:uLnTx/>
                <a:uFillTx/>
                <a:latin typeface="Quattrocento Sans"/>
                <a:ea typeface="Quattrocento Sans"/>
                <a:cs typeface="Quattrocento Sans"/>
                <a:sym typeface="Quattrocento Sans"/>
              </a:endParaRPr>
            </a:p>
          </p:txBody>
        </p:sp>
        <p:sp>
          <p:nvSpPr>
            <p:cNvPr id="451" name="Google Shape;2984;p18">
              <a:extLst>
                <a:ext uri="{FF2B5EF4-FFF2-40B4-BE49-F238E27FC236}">
                  <a16:creationId xmlns:a16="http://schemas.microsoft.com/office/drawing/2014/main" id="{00576F31-E0D6-5212-706F-4F4CA692A75F}"/>
                </a:ext>
              </a:extLst>
            </p:cNvPr>
            <p:cNvSpPr/>
            <p:nvPr/>
          </p:nvSpPr>
          <p:spPr>
            <a:xfrm>
              <a:off x="1458102" y="3394710"/>
              <a:ext cx="1487949" cy="597401"/>
            </a:xfrm>
            <a:prstGeom prst="rect">
              <a:avLst/>
            </a:prstGeom>
            <a:noFill/>
            <a:ln>
              <a:noFill/>
            </a:ln>
          </p:spPr>
          <p:txBody>
            <a:bodyPr spcFirstLastPara="1" wrap="square" lIns="108000" tIns="0" rIns="0" bIns="108000" anchor="b" anchorCtr="0">
              <a:noAutofit/>
            </a:bodyPr>
            <a:lstStyle/>
            <a:p>
              <a:pPr lvl="0">
                <a:buClr>
                  <a:srgbClr val="000000"/>
                </a:buClr>
                <a:defRPr/>
              </a:pPr>
              <a:r>
                <a:rPr lang="en-GB" sz="1050" b="1" kern="0" noProof="0">
                  <a:latin typeface="Quattrocento Sans"/>
                  <a:ea typeface="Quattrocento Sans"/>
                  <a:cs typeface="Quattrocento Sans"/>
                  <a:sym typeface="Quattrocento Sans"/>
                </a:rPr>
                <a:t>Platforms</a:t>
              </a:r>
              <a:endParaRPr kumimoji="0" lang="en-GB" sz="1000" b="0" i="0" u="none" strike="noStrike" kern="0" cap="none" spc="0" normalizeH="0" baseline="0" noProof="0">
                <a:ln>
                  <a:noFill/>
                </a:ln>
                <a:effectLst/>
                <a:uLnTx/>
                <a:uFillTx/>
                <a:latin typeface="Arial"/>
                <a:cs typeface="Arial"/>
                <a:sym typeface="Arial"/>
              </a:endParaRPr>
            </a:p>
          </p:txBody>
        </p:sp>
        <p:sp>
          <p:nvSpPr>
            <p:cNvPr id="452" name="Google Shape;2994;p18">
              <a:extLst>
                <a:ext uri="{FF2B5EF4-FFF2-40B4-BE49-F238E27FC236}">
                  <a16:creationId xmlns:a16="http://schemas.microsoft.com/office/drawing/2014/main" id="{9533C20D-0742-5B59-C78C-C41AE0D054E9}"/>
                </a:ext>
              </a:extLst>
            </p:cNvPr>
            <p:cNvSpPr txBox="1"/>
            <p:nvPr/>
          </p:nvSpPr>
          <p:spPr>
            <a:xfrm>
              <a:off x="1573335" y="3898778"/>
              <a:ext cx="893124" cy="707846"/>
            </a:xfrm>
            <a:prstGeom prst="rect">
              <a:avLst/>
            </a:prstGeom>
            <a:noFill/>
            <a:ln>
              <a:noFill/>
            </a:ln>
          </p:spPr>
          <p:txBody>
            <a:bodyPr spcFirstLastPara="1" wrap="square" lIns="0" tIns="45700" rIns="0" bIns="45700" anchor="t" anchorCtr="0">
              <a:spAutoFit/>
            </a:bodyPr>
            <a:lstStyle/>
            <a:p>
              <a:pPr lvl="0">
                <a:buClr>
                  <a:srgbClr val="FFFFFF"/>
                </a:buClr>
                <a:buSzPts val="1100"/>
                <a:defRPr/>
              </a:pPr>
              <a:r>
                <a:rPr lang="en-GB" sz="800" kern="0" noProof="0">
                  <a:latin typeface="Quattrocento Sans"/>
                  <a:ea typeface="Quattrocento Sans"/>
                  <a:cs typeface="Quattrocento Sans"/>
                  <a:sym typeface="Quattrocento Sans"/>
                </a:rPr>
                <a:t>We identify, implement and adapt the data platform to your needs</a:t>
              </a:r>
              <a:endParaRPr kumimoji="0" lang="en-GB" sz="1000" b="0" i="0" u="none" strike="noStrike" kern="0" cap="none" spc="0" normalizeH="0" baseline="0" noProof="0">
                <a:ln>
                  <a:noFill/>
                </a:ln>
                <a:effectLst/>
                <a:uLnTx/>
                <a:uFillTx/>
                <a:latin typeface="Arial"/>
                <a:cs typeface="Arial"/>
                <a:sym typeface="Arial"/>
              </a:endParaRPr>
            </a:p>
          </p:txBody>
        </p:sp>
        <p:sp>
          <p:nvSpPr>
            <p:cNvPr id="453" name="Google Shape;3001;p18">
              <a:extLst>
                <a:ext uri="{FF2B5EF4-FFF2-40B4-BE49-F238E27FC236}">
                  <a16:creationId xmlns:a16="http://schemas.microsoft.com/office/drawing/2014/main" id="{B8125B41-E40F-064F-6211-F909A8674B85}"/>
                </a:ext>
              </a:extLst>
            </p:cNvPr>
            <p:cNvSpPr/>
            <p:nvPr/>
          </p:nvSpPr>
          <p:spPr>
            <a:xfrm>
              <a:off x="1720444" y="3090387"/>
              <a:ext cx="503376" cy="453446"/>
            </a:xfrm>
            <a:custGeom>
              <a:avLst/>
              <a:gdLst/>
              <a:ahLst/>
              <a:cxnLst/>
              <a:rect l="l" t="t" r="r" b="b"/>
              <a:pathLst>
                <a:path w="4880268" h="4396200" extrusionOk="0">
                  <a:moveTo>
                    <a:pt x="2867176" y="4013697"/>
                  </a:moveTo>
                  <a:cubicBezTo>
                    <a:pt x="2801263" y="4013697"/>
                    <a:pt x="2747647" y="4067313"/>
                    <a:pt x="2747647" y="4133226"/>
                  </a:cubicBezTo>
                  <a:cubicBezTo>
                    <a:pt x="2747647" y="4199139"/>
                    <a:pt x="2801263" y="4252756"/>
                    <a:pt x="2867176" y="4252756"/>
                  </a:cubicBezTo>
                  <a:cubicBezTo>
                    <a:pt x="2933089" y="4252756"/>
                    <a:pt x="2986705" y="4199139"/>
                    <a:pt x="2986705" y="4133226"/>
                  </a:cubicBezTo>
                  <a:cubicBezTo>
                    <a:pt x="2986705" y="4067322"/>
                    <a:pt x="2933089" y="4013697"/>
                    <a:pt x="2867176" y="4013697"/>
                  </a:cubicBezTo>
                  <a:close/>
                  <a:moveTo>
                    <a:pt x="2028749" y="4013697"/>
                  </a:moveTo>
                  <a:cubicBezTo>
                    <a:pt x="1962836" y="4013697"/>
                    <a:pt x="1909219" y="4067313"/>
                    <a:pt x="1909219" y="4133226"/>
                  </a:cubicBezTo>
                  <a:cubicBezTo>
                    <a:pt x="1909219" y="4199139"/>
                    <a:pt x="1962836" y="4252756"/>
                    <a:pt x="2028749" y="4252756"/>
                  </a:cubicBezTo>
                  <a:cubicBezTo>
                    <a:pt x="2094662" y="4252756"/>
                    <a:pt x="2148278" y="4199139"/>
                    <a:pt x="2148278" y="4133226"/>
                  </a:cubicBezTo>
                  <a:cubicBezTo>
                    <a:pt x="2148278" y="4067322"/>
                    <a:pt x="2094662" y="4013697"/>
                    <a:pt x="2028749" y="4013697"/>
                  </a:cubicBezTo>
                  <a:close/>
                  <a:moveTo>
                    <a:pt x="3992474" y="3535579"/>
                  </a:moveTo>
                  <a:cubicBezTo>
                    <a:pt x="3926561" y="3535579"/>
                    <a:pt x="3872944" y="3589195"/>
                    <a:pt x="3872944" y="3655108"/>
                  </a:cubicBezTo>
                  <a:cubicBezTo>
                    <a:pt x="3872944" y="3721022"/>
                    <a:pt x="3926561" y="3774638"/>
                    <a:pt x="3992474" y="3774638"/>
                  </a:cubicBezTo>
                  <a:cubicBezTo>
                    <a:pt x="4058387" y="3774638"/>
                    <a:pt x="4112003" y="3721022"/>
                    <a:pt x="4112003" y="3655108"/>
                  </a:cubicBezTo>
                  <a:cubicBezTo>
                    <a:pt x="4112003" y="3589195"/>
                    <a:pt x="4058387" y="3535579"/>
                    <a:pt x="3992474" y="3535579"/>
                  </a:cubicBezTo>
                  <a:close/>
                  <a:moveTo>
                    <a:pt x="903451" y="3535579"/>
                  </a:moveTo>
                  <a:cubicBezTo>
                    <a:pt x="837538" y="3535579"/>
                    <a:pt x="783922" y="3589195"/>
                    <a:pt x="783922" y="3655108"/>
                  </a:cubicBezTo>
                  <a:cubicBezTo>
                    <a:pt x="783922" y="3721022"/>
                    <a:pt x="837538" y="3774638"/>
                    <a:pt x="903451" y="3774638"/>
                  </a:cubicBezTo>
                  <a:cubicBezTo>
                    <a:pt x="969364" y="3774638"/>
                    <a:pt x="1022981" y="3721022"/>
                    <a:pt x="1022981" y="3655108"/>
                  </a:cubicBezTo>
                  <a:cubicBezTo>
                    <a:pt x="1022981" y="3589195"/>
                    <a:pt x="969364" y="3535579"/>
                    <a:pt x="903451" y="3535579"/>
                  </a:cubicBezTo>
                  <a:close/>
                  <a:moveTo>
                    <a:pt x="2189855" y="1343495"/>
                  </a:moveTo>
                  <a:lnTo>
                    <a:pt x="2189855" y="1859700"/>
                  </a:lnTo>
                  <a:lnTo>
                    <a:pt x="2706069" y="1859700"/>
                  </a:lnTo>
                  <a:lnTo>
                    <a:pt x="2706069" y="1343495"/>
                  </a:lnTo>
                  <a:close/>
                  <a:moveTo>
                    <a:pt x="2118138" y="1200060"/>
                  </a:moveTo>
                  <a:lnTo>
                    <a:pt x="2777787" y="1200060"/>
                  </a:lnTo>
                  <a:cubicBezTo>
                    <a:pt x="2817404" y="1200060"/>
                    <a:pt x="2849505" y="1232161"/>
                    <a:pt x="2849505" y="1271778"/>
                  </a:cubicBezTo>
                  <a:lnTo>
                    <a:pt x="2849505" y="1931417"/>
                  </a:lnTo>
                  <a:cubicBezTo>
                    <a:pt x="2849505" y="1971025"/>
                    <a:pt x="2817404" y="2003135"/>
                    <a:pt x="2777787" y="2003135"/>
                  </a:cubicBezTo>
                  <a:lnTo>
                    <a:pt x="2118138" y="2003135"/>
                  </a:lnTo>
                  <a:cubicBezTo>
                    <a:pt x="2078521" y="2003135"/>
                    <a:pt x="2046420" y="1971034"/>
                    <a:pt x="2046420" y="1931417"/>
                  </a:cubicBezTo>
                  <a:lnTo>
                    <a:pt x="2046420" y="1271778"/>
                  </a:lnTo>
                  <a:cubicBezTo>
                    <a:pt x="2046420" y="1232161"/>
                    <a:pt x="2078521" y="1200060"/>
                    <a:pt x="2118138" y="1200060"/>
                  </a:cubicBezTo>
                  <a:close/>
                  <a:moveTo>
                    <a:pt x="1879098" y="961030"/>
                  </a:moveTo>
                  <a:cubicBezTo>
                    <a:pt x="1839548" y="961030"/>
                    <a:pt x="1807380" y="993198"/>
                    <a:pt x="1807380" y="1032748"/>
                  </a:cubicBezTo>
                  <a:lnTo>
                    <a:pt x="1807380" y="2170477"/>
                  </a:lnTo>
                  <a:cubicBezTo>
                    <a:pt x="1807380" y="2210026"/>
                    <a:pt x="1839548" y="2242194"/>
                    <a:pt x="1879098" y="2242194"/>
                  </a:cubicBezTo>
                  <a:lnTo>
                    <a:pt x="2283872" y="2242194"/>
                  </a:lnTo>
                  <a:cubicBezTo>
                    <a:pt x="2323489" y="2242194"/>
                    <a:pt x="2355590" y="2274295"/>
                    <a:pt x="2355590" y="2313912"/>
                  </a:cubicBezTo>
                  <a:cubicBezTo>
                    <a:pt x="2355590" y="2353529"/>
                    <a:pt x="2323489" y="2385630"/>
                    <a:pt x="2283872" y="2385630"/>
                  </a:cubicBezTo>
                  <a:lnTo>
                    <a:pt x="2100467" y="2385630"/>
                  </a:lnTo>
                  <a:lnTo>
                    <a:pt x="2100467" y="2695928"/>
                  </a:lnTo>
                  <a:lnTo>
                    <a:pt x="2795458" y="2695928"/>
                  </a:lnTo>
                  <a:lnTo>
                    <a:pt x="2795458" y="2385630"/>
                  </a:lnTo>
                  <a:lnTo>
                    <a:pt x="2596370" y="2385630"/>
                  </a:lnTo>
                  <a:cubicBezTo>
                    <a:pt x="2556754" y="2385630"/>
                    <a:pt x="2524652" y="2353529"/>
                    <a:pt x="2524652" y="2313912"/>
                  </a:cubicBezTo>
                  <a:cubicBezTo>
                    <a:pt x="2524652" y="2274295"/>
                    <a:pt x="2556754" y="2242194"/>
                    <a:pt x="2596370" y="2242194"/>
                  </a:cubicBezTo>
                  <a:lnTo>
                    <a:pt x="3016827" y="2242194"/>
                  </a:lnTo>
                  <a:cubicBezTo>
                    <a:pt x="3056377" y="2242194"/>
                    <a:pt x="3088544" y="2210026"/>
                    <a:pt x="3088544" y="2170477"/>
                  </a:cubicBezTo>
                  <a:lnTo>
                    <a:pt x="3088544" y="1032748"/>
                  </a:lnTo>
                  <a:cubicBezTo>
                    <a:pt x="3088544" y="993198"/>
                    <a:pt x="3056377" y="961030"/>
                    <a:pt x="3016827" y="961030"/>
                  </a:cubicBezTo>
                  <a:close/>
                  <a:moveTo>
                    <a:pt x="2605330" y="3829"/>
                  </a:moveTo>
                  <a:cubicBezTo>
                    <a:pt x="3253706" y="85529"/>
                    <a:pt x="3762739" y="603206"/>
                    <a:pt x="3839094" y="1247040"/>
                  </a:cubicBezTo>
                  <a:lnTo>
                    <a:pt x="4099764" y="1247040"/>
                  </a:lnTo>
                  <a:cubicBezTo>
                    <a:pt x="4464166" y="1247040"/>
                    <a:pt x="4795119" y="1511247"/>
                    <a:pt x="4875864" y="1865074"/>
                  </a:cubicBezTo>
                  <a:cubicBezTo>
                    <a:pt x="4884661" y="1903696"/>
                    <a:pt x="4860506" y="1942137"/>
                    <a:pt x="4821894" y="1950953"/>
                  </a:cubicBezTo>
                  <a:cubicBezTo>
                    <a:pt x="4785805" y="1958861"/>
                    <a:pt x="4757175" y="1940865"/>
                    <a:pt x="4736014" y="1896983"/>
                  </a:cubicBezTo>
                  <a:cubicBezTo>
                    <a:pt x="4669967" y="1607493"/>
                    <a:pt x="4396024" y="1390465"/>
                    <a:pt x="4099764" y="1390465"/>
                  </a:cubicBezTo>
                  <a:lnTo>
                    <a:pt x="3773879" y="1390465"/>
                  </a:lnTo>
                  <a:cubicBezTo>
                    <a:pt x="3736251" y="1390465"/>
                    <a:pt x="3705011" y="1361377"/>
                    <a:pt x="3702343" y="1323835"/>
                  </a:cubicBezTo>
                  <a:cubicBezTo>
                    <a:pt x="3659236" y="717400"/>
                    <a:pt x="3190336" y="222099"/>
                    <a:pt x="2587401" y="146136"/>
                  </a:cubicBezTo>
                  <a:cubicBezTo>
                    <a:pt x="2548109" y="141182"/>
                    <a:pt x="2520264" y="105314"/>
                    <a:pt x="2525208" y="66022"/>
                  </a:cubicBezTo>
                  <a:cubicBezTo>
                    <a:pt x="2530161" y="26721"/>
                    <a:pt x="2566096" y="-1125"/>
                    <a:pt x="2605330" y="3829"/>
                  </a:cubicBezTo>
                  <a:close/>
                  <a:moveTo>
                    <a:pt x="2276452" y="396"/>
                  </a:moveTo>
                  <a:cubicBezTo>
                    <a:pt x="2315897" y="-3735"/>
                    <a:pt x="2351115" y="24914"/>
                    <a:pt x="2355208" y="64311"/>
                  </a:cubicBezTo>
                  <a:cubicBezTo>
                    <a:pt x="2359300" y="103708"/>
                    <a:pt x="2330690" y="138964"/>
                    <a:pt x="2291293" y="143066"/>
                  </a:cubicBezTo>
                  <a:cubicBezTo>
                    <a:pt x="1830808" y="190993"/>
                    <a:pt x="1431236" y="485915"/>
                    <a:pt x="1248499" y="912759"/>
                  </a:cubicBezTo>
                  <a:cubicBezTo>
                    <a:pt x="1235447" y="943273"/>
                    <a:pt x="1203107" y="960810"/>
                    <a:pt x="1170413" y="955207"/>
                  </a:cubicBezTo>
                  <a:cubicBezTo>
                    <a:pt x="1120947" y="946696"/>
                    <a:pt x="1070410" y="942384"/>
                    <a:pt x="1020207" y="942384"/>
                  </a:cubicBezTo>
                  <a:cubicBezTo>
                    <a:pt x="536754" y="942384"/>
                    <a:pt x="143435" y="1335693"/>
                    <a:pt x="143435" y="1819146"/>
                  </a:cubicBezTo>
                  <a:cubicBezTo>
                    <a:pt x="143435" y="2302600"/>
                    <a:pt x="536744" y="2695918"/>
                    <a:pt x="1020207" y="2695918"/>
                  </a:cubicBezTo>
                  <a:lnTo>
                    <a:pt x="1957031" y="2695918"/>
                  </a:lnTo>
                  <a:lnTo>
                    <a:pt x="1957031" y="2385620"/>
                  </a:lnTo>
                  <a:lnTo>
                    <a:pt x="1879098" y="2385620"/>
                  </a:lnTo>
                  <a:cubicBezTo>
                    <a:pt x="1760468" y="2385620"/>
                    <a:pt x="1663945" y="2289098"/>
                    <a:pt x="1663945" y="2170467"/>
                  </a:cubicBezTo>
                  <a:lnTo>
                    <a:pt x="1663945" y="2003135"/>
                  </a:lnTo>
                  <a:lnTo>
                    <a:pt x="1491727" y="2003135"/>
                  </a:lnTo>
                  <a:cubicBezTo>
                    <a:pt x="1452110" y="2003135"/>
                    <a:pt x="1420009" y="1971035"/>
                    <a:pt x="1420009" y="1931418"/>
                  </a:cubicBezTo>
                  <a:cubicBezTo>
                    <a:pt x="1420009" y="1891801"/>
                    <a:pt x="1452110" y="1859700"/>
                    <a:pt x="1491727" y="1859700"/>
                  </a:cubicBezTo>
                  <a:lnTo>
                    <a:pt x="1663945" y="1859700"/>
                  </a:lnTo>
                  <a:lnTo>
                    <a:pt x="1663945" y="1673311"/>
                  </a:lnTo>
                  <a:lnTo>
                    <a:pt x="1391198" y="1673311"/>
                  </a:lnTo>
                  <a:cubicBezTo>
                    <a:pt x="1351581" y="1673311"/>
                    <a:pt x="1319480" y="1641210"/>
                    <a:pt x="1319480" y="1601593"/>
                  </a:cubicBezTo>
                  <a:cubicBezTo>
                    <a:pt x="1319480" y="1561976"/>
                    <a:pt x="1351581" y="1529875"/>
                    <a:pt x="1391198" y="1529875"/>
                  </a:cubicBezTo>
                  <a:lnTo>
                    <a:pt x="1663945" y="1529875"/>
                  </a:lnTo>
                  <a:lnTo>
                    <a:pt x="1663945" y="1343486"/>
                  </a:lnTo>
                  <a:lnTo>
                    <a:pt x="1491727" y="1343486"/>
                  </a:lnTo>
                  <a:cubicBezTo>
                    <a:pt x="1452110" y="1343486"/>
                    <a:pt x="1420009" y="1311385"/>
                    <a:pt x="1420009" y="1271768"/>
                  </a:cubicBezTo>
                  <a:cubicBezTo>
                    <a:pt x="1420009" y="1232152"/>
                    <a:pt x="1452110" y="1200051"/>
                    <a:pt x="1491727" y="1200051"/>
                  </a:cubicBezTo>
                  <a:lnTo>
                    <a:pt x="1663945" y="1200051"/>
                  </a:lnTo>
                  <a:lnTo>
                    <a:pt x="1663945" y="1032738"/>
                  </a:lnTo>
                  <a:cubicBezTo>
                    <a:pt x="1663945" y="914108"/>
                    <a:pt x="1760468" y="817585"/>
                    <a:pt x="1879098" y="817585"/>
                  </a:cubicBezTo>
                  <a:lnTo>
                    <a:pt x="2046420" y="817585"/>
                  </a:lnTo>
                  <a:lnTo>
                    <a:pt x="2046420" y="678740"/>
                  </a:lnTo>
                  <a:cubicBezTo>
                    <a:pt x="2046420" y="639123"/>
                    <a:pt x="2078521" y="607022"/>
                    <a:pt x="2118138" y="607022"/>
                  </a:cubicBezTo>
                  <a:cubicBezTo>
                    <a:pt x="2157755" y="607022"/>
                    <a:pt x="2189855" y="639123"/>
                    <a:pt x="2189855" y="678740"/>
                  </a:cubicBezTo>
                  <a:lnTo>
                    <a:pt x="2189855" y="817585"/>
                  </a:lnTo>
                  <a:lnTo>
                    <a:pt x="2376245" y="817585"/>
                  </a:lnTo>
                  <a:lnTo>
                    <a:pt x="2376245" y="544829"/>
                  </a:lnTo>
                  <a:cubicBezTo>
                    <a:pt x="2376245" y="505212"/>
                    <a:pt x="2408346" y="473111"/>
                    <a:pt x="2447962" y="473111"/>
                  </a:cubicBezTo>
                  <a:cubicBezTo>
                    <a:pt x="2487579" y="473111"/>
                    <a:pt x="2519680" y="505212"/>
                    <a:pt x="2519680" y="544829"/>
                  </a:cubicBezTo>
                  <a:lnTo>
                    <a:pt x="2519680" y="817595"/>
                  </a:lnTo>
                  <a:lnTo>
                    <a:pt x="2706070" y="817595"/>
                  </a:lnTo>
                  <a:lnTo>
                    <a:pt x="2706070" y="678749"/>
                  </a:lnTo>
                  <a:cubicBezTo>
                    <a:pt x="2706070" y="639133"/>
                    <a:pt x="2738170" y="607032"/>
                    <a:pt x="2777787" y="607032"/>
                  </a:cubicBezTo>
                  <a:cubicBezTo>
                    <a:pt x="2817404" y="607032"/>
                    <a:pt x="2849505" y="639133"/>
                    <a:pt x="2849505" y="678749"/>
                  </a:cubicBezTo>
                  <a:lnTo>
                    <a:pt x="2849505" y="817595"/>
                  </a:lnTo>
                  <a:lnTo>
                    <a:pt x="3016827" y="817595"/>
                  </a:lnTo>
                  <a:cubicBezTo>
                    <a:pt x="3135457" y="817595"/>
                    <a:pt x="3231980" y="914117"/>
                    <a:pt x="3231980" y="1032748"/>
                  </a:cubicBezTo>
                  <a:lnTo>
                    <a:pt x="3231980" y="1200060"/>
                  </a:lnTo>
                  <a:lnTo>
                    <a:pt x="3390686" y="1200060"/>
                  </a:lnTo>
                  <a:cubicBezTo>
                    <a:pt x="3430303" y="1200060"/>
                    <a:pt x="3462404" y="1232161"/>
                    <a:pt x="3462404" y="1271778"/>
                  </a:cubicBezTo>
                  <a:cubicBezTo>
                    <a:pt x="3462404" y="1311395"/>
                    <a:pt x="3430303" y="1343496"/>
                    <a:pt x="3390686" y="1343496"/>
                  </a:cubicBezTo>
                  <a:lnTo>
                    <a:pt x="3231980" y="1343496"/>
                  </a:lnTo>
                  <a:lnTo>
                    <a:pt x="3231980" y="1529885"/>
                  </a:lnTo>
                  <a:lnTo>
                    <a:pt x="3504727" y="1529885"/>
                  </a:lnTo>
                  <a:cubicBezTo>
                    <a:pt x="3544344" y="1529885"/>
                    <a:pt x="3576444" y="1561986"/>
                    <a:pt x="3576444" y="1601603"/>
                  </a:cubicBezTo>
                  <a:cubicBezTo>
                    <a:pt x="3576444" y="1641220"/>
                    <a:pt x="3544344" y="1673320"/>
                    <a:pt x="3504727" y="1673320"/>
                  </a:cubicBezTo>
                  <a:lnTo>
                    <a:pt x="3231980" y="1673320"/>
                  </a:lnTo>
                  <a:lnTo>
                    <a:pt x="3231980" y="1859710"/>
                  </a:lnTo>
                  <a:lnTo>
                    <a:pt x="3390686" y="1859710"/>
                  </a:lnTo>
                  <a:cubicBezTo>
                    <a:pt x="3430303" y="1859710"/>
                    <a:pt x="3462404" y="1891810"/>
                    <a:pt x="3462404" y="1931427"/>
                  </a:cubicBezTo>
                  <a:cubicBezTo>
                    <a:pt x="3462404" y="1971044"/>
                    <a:pt x="3430303" y="2003145"/>
                    <a:pt x="3390686" y="2003145"/>
                  </a:cubicBezTo>
                  <a:lnTo>
                    <a:pt x="3231980" y="2003145"/>
                  </a:lnTo>
                  <a:lnTo>
                    <a:pt x="3231980" y="2170477"/>
                  </a:lnTo>
                  <a:cubicBezTo>
                    <a:pt x="3231980" y="2289107"/>
                    <a:pt x="3135457" y="2385630"/>
                    <a:pt x="3016827" y="2385630"/>
                  </a:cubicBezTo>
                  <a:lnTo>
                    <a:pt x="2938894" y="2385630"/>
                  </a:lnTo>
                  <a:lnTo>
                    <a:pt x="2938894" y="2695928"/>
                  </a:lnTo>
                  <a:lnTo>
                    <a:pt x="4099763" y="2695928"/>
                  </a:lnTo>
                  <a:cubicBezTo>
                    <a:pt x="4406610" y="2695928"/>
                    <a:pt x="4675178" y="2478413"/>
                    <a:pt x="4738347" y="2178729"/>
                  </a:cubicBezTo>
                  <a:cubicBezTo>
                    <a:pt x="4746513" y="2139973"/>
                    <a:pt x="4784571" y="2115206"/>
                    <a:pt x="4823318" y="2123344"/>
                  </a:cubicBezTo>
                  <a:cubicBezTo>
                    <a:pt x="4862074" y="2131510"/>
                    <a:pt x="4886879" y="2169559"/>
                    <a:pt x="4878713" y="2208315"/>
                  </a:cubicBezTo>
                  <a:cubicBezTo>
                    <a:pt x="4801631" y="2573970"/>
                    <a:pt x="4474044" y="2839363"/>
                    <a:pt x="4099773" y="2839363"/>
                  </a:cubicBezTo>
                  <a:lnTo>
                    <a:pt x="3490450" y="2839363"/>
                  </a:lnTo>
                  <a:lnTo>
                    <a:pt x="3490450" y="3583372"/>
                  </a:lnTo>
                  <a:lnTo>
                    <a:pt x="3739540" y="3583372"/>
                  </a:lnTo>
                  <a:cubicBezTo>
                    <a:pt x="3770857" y="3473146"/>
                    <a:pt x="3872352" y="3392153"/>
                    <a:pt x="3992474" y="3392153"/>
                  </a:cubicBezTo>
                  <a:cubicBezTo>
                    <a:pt x="4137468" y="3392153"/>
                    <a:pt x="4255438" y="3510124"/>
                    <a:pt x="4255438" y="3655118"/>
                  </a:cubicBezTo>
                  <a:cubicBezTo>
                    <a:pt x="4255438" y="3800112"/>
                    <a:pt x="4137468" y="3918083"/>
                    <a:pt x="3992474" y="3918083"/>
                  </a:cubicBezTo>
                  <a:cubicBezTo>
                    <a:pt x="3872332" y="3918083"/>
                    <a:pt x="3770818" y="3837061"/>
                    <a:pt x="3739521" y="3726807"/>
                  </a:cubicBezTo>
                  <a:lnTo>
                    <a:pt x="3418732" y="3726807"/>
                  </a:lnTo>
                  <a:cubicBezTo>
                    <a:pt x="3379116" y="3726807"/>
                    <a:pt x="3347015" y="3694706"/>
                    <a:pt x="3347015" y="3655089"/>
                  </a:cubicBezTo>
                  <a:lnTo>
                    <a:pt x="3347015" y="2839363"/>
                  </a:lnTo>
                  <a:lnTo>
                    <a:pt x="2938894" y="2839363"/>
                  </a:lnTo>
                  <a:lnTo>
                    <a:pt x="2938894" y="3880292"/>
                  </a:lnTo>
                  <a:cubicBezTo>
                    <a:pt x="3049129" y="3911599"/>
                    <a:pt x="3130141" y="4013104"/>
                    <a:pt x="3130141" y="4133236"/>
                  </a:cubicBezTo>
                  <a:cubicBezTo>
                    <a:pt x="3130141" y="4278230"/>
                    <a:pt x="3012170" y="4396200"/>
                    <a:pt x="2867176" y="4396200"/>
                  </a:cubicBezTo>
                  <a:cubicBezTo>
                    <a:pt x="2722182" y="4396200"/>
                    <a:pt x="2604211" y="4278230"/>
                    <a:pt x="2604211" y="4133236"/>
                  </a:cubicBezTo>
                  <a:cubicBezTo>
                    <a:pt x="2604211" y="4013104"/>
                    <a:pt x="2685224" y="3911599"/>
                    <a:pt x="2795458" y="3880292"/>
                  </a:cubicBezTo>
                  <a:lnTo>
                    <a:pt x="2795458" y="2839363"/>
                  </a:lnTo>
                  <a:lnTo>
                    <a:pt x="2100467" y="2839363"/>
                  </a:lnTo>
                  <a:lnTo>
                    <a:pt x="2100467" y="3880292"/>
                  </a:lnTo>
                  <a:cubicBezTo>
                    <a:pt x="2210701" y="3911599"/>
                    <a:pt x="2291714" y="4013104"/>
                    <a:pt x="2291714" y="4133236"/>
                  </a:cubicBezTo>
                  <a:cubicBezTo>
                    <a:pt x="2291714" y="4278230"/>
                    <a:pt x="2173743" y="4396200"/>
                    <a:pt x="2028749" y="4396200"/>
                  </a:cubicBezTo>
                  <a:cubicBezTo>
                    <a:pt x="1883755" y="4396200"/>
                    <a:pt x="1765784" y="4278230"/>
                    <a:pt x="1765784" y="4133236"/>
                  </a:cubicBezTo>
                  <a:cubicBezTo>
                    <a:pt x="1765784" y="4013104"/>
                    <a:pt x="1846796" y="3911599"/>
                    <a:pt x="1957031" y="3880292"/>
                  </a:cubicBezTo>
                  <a:lnTo>
                    <a:pt x="1957031" y="2839354"/>
                  </a:lnTo>
                  <a:lnTo>
                    <a:pt x="1548910" y="2839354"/>
                  </a:lnTo>
                  <a:lnTo>
                    <a:pt x="1548910" y="3655080"/>
                  </a:lnTo>
                  <a:cubicBezTo>
                    <a:pt x="1548910" y="3694697"/>
                    <a:pt x="1516809" y="3726797"/>
                    <a:pt x="1477192" y="3726797"/>
                  </a:cubicBezTo>
                  <a:lnTo>
                    <a:pt x="1156404" y="3726797"/>
                  </a:lnTo>
                  <a:cubicBezTo>
                    <a:pt x="1125107" y="3837051"/>
                    <a:pt x="1023593" y="3918073"/>
                    <a:pt x="903451" y="3918073"/>
                  </a:cubicBezTo>
                  <a:cubicBezTo>
                    <a:pt x="758457" y="3918073"/>
                    <a:pt x="640486" y="3800102"/>
                    <a:pt x="640486" y="3655108"/>
                  </a:cubicBezTo>
                  <a:cubicBezTo>
                    <a:pt x="640486" y="3510114"/>
                    <a:pt x="758457" y="3392144"/>
                    <a:pt x="903451" y="3392144"/>
                  </a:cubicBezTo>
                  <a:cubicBezTo>
                    <a:pt x="1023573" y="3392144"/>
                    <a:pt x="1125068" y="3473137"/>
                    <a:pt x="1156385" y="3583362"/>
                  </a:cubicBezTo>
                  <a:lnTo>
                    <a:pt x="1405475" y="3583362"/>
                  </a:lnTo>
                  <a:lnTo>
                    <a:pt x="1405475" y="2839354"/>
                  </a:lnTo>
                  <a:lnTo>
                    <a:pt x="1020207" y="2839354"/>
                  </a:lnTo>
                  <a:cubicBezTo>
                    <a:pt x="457664" y="2839354"/>
                    <a:pt x="0" y="2381690"/>
                    <a:pt x="0" y="1819146"/>
                  </a:cubicBezTo>
                  <a:cubicBezTo>
                    <a:pt x="0" y="1256603"/>
                    <a:pt x="457664" y="798948"/>
                    <a:pt x="1020217" y="798948"/>
                  </a:cubicBezTo>
                  <a:cubicBezTo>
                    <a:pt x="1059930" y="798948"/>
                    <a:pt x="1099833" y="801281"/>
                    <a:pt x="1139402" y="805881"/>
                  </a:cubicBezTo>
                  <a:cubicBezTo>
                    <a:pt x="1351773" y="358545"/>
                    <a:pt x="1782604" y="51794"/>
                    <a:pt x="2276452" y="396"/>
                  </a:cubicBezTo>
                  <a:close/>
                </a:path>
              </a:pathLst>
            </a:custGeom>
            <a:solidFill>
              <a:schemeClr val="tx1"/>
            </a:solidFill>
            <a:ln>
              <a:noFill/>
            </a:ln>
          </p:spPr>
          <p:txBody>
            <a:bodyPr spcFirstLastPara="1" wrap="square" lIns="91425" tIns="45700" rIns="91425" bIns="45700" anchor="ctr" anchorCtr="0">
              <a:noAutofit/>
            </a:bodyPr>
            <a:lstStyle/>
            <a:p>
              <a:pPr>
                <a:buClr>
                  <a:srgbClr val="000000"/>
                </a:buClr>
                <a:buSzPts val="1800"/>
              </a:pPr>
              <a:endParaRPr lang="en-GB" kern="0" noProof="0">
                <a:solidFill>
                  <a:srgbClr val="FFFFFF"/>
                </a:solidFill>
                <a:latin typeface="Quattrocento Sans"/>
                <a:sym typeface="Quattrocento Sans"/>
              </a:endParaRPr>
            </a:p>
          </p:txBody>
        </p:sp>
        <p:sp>
          <p:nvSpPr>
            <p:cNvPr id="454" name="Google Shape;2952;p18">
              <a:extLst>
                <a:ext uri="{FF2B5EF4-FFF2-40B4-BE49-F238E27FC236}">
                  <a16:creationId xmlns:a16="http://schemas.microsoft.com/office/drawing/2014/main" id="{D613A640-1667-6CFD-FD5C-740A06818CC5}"/>
                </a:ext>
              </a:extLst>
            </p:cNvPr>
            <p:cNvSpPr/>
            <p:nvPr/>
          </p:nvSpPr>
          <p:spPr>
            <a:xfrm>
              <a:off x="2484755" y="3406874"/>
              <a:ext cx="1395447" cy="597401"/>
            </a:xfrm>
            <a:prstGeom prst="rect">
              <a:avLst/>
            </a:prstGeom>
            <a:noFill/>
            <a:ln>
              <a:noFill/>
            </a:ln>
          </p:spPr>
          <p:txBody>
            <a:bodyPr spcFirstLastPara="1" wrap="square" lIns="108000" tIns="0" rIns="0" bIns="1080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050" b="1" i="0" u="none" strike="noStrike" kern="0" cap="none" spc="0" normalizeH="0" baseline="0" noProof="0">
                  <a:ln>
                    <a:noFill/>
                  </a:ln>
                  <a:effectLst/>
                  <a:uLnTx/>
                  <a:uFillTx/>
                  <a:latin typeface="Quattrocento Sans"/>
                  <a:ea typeface="Quattrocento Sans"/>
                  <a:cs typeface="Quattrocento Sans"/>
                  <a:sym typeface="Quattrocento Sans"/>
                </a:rPr>
                <a:t>Governance</a:t>
              </a:r>
              <a:endParaRPr kumimoji="0" lang="en-GB" sz="1000" b="0" i="0" u="none" strike="noStrike" kern="0" cap="none" spc="0" normalizeH="0" baseline="0" noProof="0">
                <a:ln>
                  <a:noFill/>
                </a:ln>
                <a:effectLst/>
                <a:uLnTx/>
                <a:uFillTx/>
                <a:latin typeface="Arial"/>
                <a:cs typeface="Arial"/>
                <a:sym typeface="Arial"/>
              </a:endParaRPr>
            </a:p>
          </p:txBody>
        </p:sp>
        <p:sp>
          <p:nvSpPr>
            <p:cNvPr id="455" name="Google Shape;2995;p18">
              <a:extLst>
                <a:ext uri="{FF2B5EF4-FFF2-40B4-BE49-F238E27FC236}">
                  <a16:creationId xmlns:a16="http://schemas.microsoft.com/office/drawing/2014/main" id="{D8D7D1F6-EE24-EEB8-7C1C-E837996CE6A9}"/>
                </a:ext>
              </a:extLst>
            </p:cNvPr>
            <p:cNvSpPr txBox="1"/>
            <p:nvPr/>
          </p:nvSpPr>
          <p:spPr>
            <a:xfrm>
              <a:off x="2598748" y="3898779"/>
              <a:ext cx="773313" cy="707846"/>
            </a:xfrm>
            <a:prstGeom prst="rect">
              <a:avLst/>
            </a:prstGeom>
            <a:noFill/>
            <a:ln>
              <a:noFill/>
            </a:ln>
          </p:spPr>
          <p:txBody>
            <a:bodyPr spcFirstLastPara="1" wrap="square" lIns="0" tIns="45700" rIns="0" bIns="45700" anchor="t" anchorCtr="0">
              <a:spAutoFit/>
            </a:bodyPr>
            <a:lstStyle/>
            <a:p>
              <a:pPr lvl="0">
                <a:buClr>
                  <a:srgbClr val="FFFFFF"/>
                </a:buClr>
                <a:buSzPts val="1100"/>
                <a:defRPr/>
              </a:pPr>
              <a:r>
                <a:rPr lang="en-GB" sz="800" kern="0" noProof="0">
                  <a:latin typeface="Quattrocento Sans"/>
                  <a:ea typeface="Quattrocento Sans"/>
                  <a:cs typeface="Quattrocento Sans"/>
                  <a:sym typeface="Quattrocento Sans"/>
                </a:rPr>
                <a:t>We implement an efficient and value-based governance model</a:t>
              </a:r>
              <a:endParaRPr kumimoji="0" lang="en-GB" sz="1000" b="0" i="0" u="none" strike="noStrike" kern="0" cap="none" spc="0" normalizeH="0" baseline="0" noProof="0">
                <a:ln>
                  <a:noFill/>
                </a:ln>
                <a:effectLst/>
                <a:uLnTx/>
                <a:uFillTx/>
                <a:latin typeface="Arial"/>
                <a:cs typeface="Arial"/>
                <a:sym typeface="Arial"/>
              </a:endParaRPr>
            </a:p>
          </p:txBody>
        </p:sp>
        <p:sp>
          <p:nvSpPr>
            <p:cNvPr id="456" name="Google Shape;3002;p18">
              <a:extLst>
                <a:ext uri="{FF2B5EF4-FFF2-40B4-BE49-F238E27FC236}">
                  <a16:creationId xmlns:a16="http://schemas.microsoft.com/office/drawing/2014/main" id="{D2928D18-6240-9B02-403E-A1E390C9E1D5}"/>
                </a:ext>
              </a:extLst>
            </p:cNvPr>
            <p:cNvSpPr/>
            <p:nvPr/>
          </p:nvSpPr>
          <p:spPr>
            <a:xfrm>
              <a:off x="2660927" y="3182929"/>
              <a:ext cx="441210" cy="280144"/>
            </a:xfrm>
            <a:custGeom>
              <a:avLst/>
              <a:gdLst/>
              <a:ahLst/>
              <a:cxnLst/>
              <a:rect l="l" t="t" r="r" b="b"/>
              <a:pathLst>
                <a:path w="4804402" h="3050519" extrusionOk="0">
                  <a:moveTo>
                    <a:pt x="4155133" y="1342267"/>
                  </a:moveTo>
                  <a:cubicBezTo>
                    <a:pt x="4295824" y="1243403"/>
                    <a:pt x="4388985" y="1078947"/>
                    <a:pt x="4388985" y="893577"/>
                  </a:cubicBezTo>
                  <a:cubicBezTo>
                    <a:pt x="4388985" y="590331"/>
                    <a:pt x="4143726" y="345073"/>
                    <a:pt x="3840480" y="345073"/>
                  </a:cubicBezTo>
                  <a:cubicBezTo>
                    <a:pt x="3537234" y="345073"/>
                    <a:pt x="3291976" y="590331"/>
                    <a:pt x="3291976" y="893577"/>
                  </a:cubicBezTo>
                  <a:cubicBezTo>
                    <a:pt x="3291976" y="1078947"/>
                    <a:pt x="3384185" y="1243403"/>
                    <a:pt x="3525827" y="1342267"/>
                  </a:cubicBezTo>
                  <a:cubicBezTo>
                    <a:pt x="3405099" y="1384094"/>
                    <a:pt x="3294828" y="1448736"/>
                    <a:pt x="3201667" y="1532390"/>
                  </a:cubicBezTo>
                  <a:cubicBezTo>
                    <a:pt x="3073335" y="1423069"/>
                    <a:pt x="2922187" y="1339415"/>
                    <a:pt x="2756780" y="1289983"/>
                  </a:cubicBezTo>
                  <a:cubicBezTo>
                    <a:pt x="2957360" y="1168304"/>
                    <a:pt x="3092347" y="946811"/>
                    <a:pt x="3092347" y="694899"/>
                  </a:cubicBezTo>
                  <a:cubicBezTo>
                    <a:pt x="3092347" y="310851"/>
                    <a:pt x="2781496" y="0"/>
                    <a:pt x="2397448" y="0"/>
                  </a:cubicBezTo>
                  <a:cubicBezTo>
                    <a:pt x="2013400" y="0"/>
                    <a:pt x="1702550" y="311801"/>
                    <a:pt x="1702550" y="694899"/>
                  </a:cubicBezTo>
                  <a:cubicBezTo>
                    <a:pt x="1702550" y="946811"/>
                    <a:pt x="1836586" y="1168304"/>
                    <a:pt x="2038116" y="1289983"/>
                  </a:cubicBezTo>
                  <a:cubicBezTo>
                    <a:pt x="1874611" y="1339415"/>
                    <a:pt x="1725364" y="1422118"/>
                    <a:pt x="1597982" y="1529538"/>
                  </a:cubicBezTo>
                  <a:cubicBezTo>
                    <a:pt x="1504822" y="1447785"/>
                    <a:pt x="1396452" y="1384094"/>
                    <a:pt x="1277625" y="1343217"/>
                  </a:cubicBezTo>
                  <a:cubicBezTo>
                    <a:pt x="1418316" y="1244354"/>
                    <a:pt x="1511476" y="1079897"/>
                    <a:pt x="1511476" y="894528"/>
                  </a:cubicBezTo>
                  <a:cubicBezTo>
                    <a:pt x="1511476" y="591282"/>
                    <a:pt x="1266218" y="346023"/>
                    <a:pt x="962972" y="346023"/>
                  </a:cubicBezTo>
                  <a:cubicBezTo>
                    <a:pt x="659726" y="346023"/>
                    <a:pt x="414468" y="591282"/>
                    <a:pt x="414468" y="894528"/>
                  </a:cubicBezTo>
                  <a:cubicBezTo>
                    <a:pt x="414468" y="1079897"/>
                    <a:pt x="506677" y="1244354"/>
                    <a:pt x="648319" y="1343217"/>
                  </a:cubicBezTo>
                  <a:cubicBezTo>
                    <a:pt x="270925" y="1473452"/>
                    <a:pt x="0" y="1831833"/>
                    <a:pt x="0" y="2252955"/>
                  </a:cubicBezTo>
                  <a:lnTo>
                    <a:pt x="0" y="2315696"/>
                  </a:lnTo>
                  <a:cubicBezTo>
                    <a:pt x="0" y="2317597"/>
                    <a:pt x="1901" y="2319498"/>
                    <a:pt x="3802" y="2319498"/>
                  </a:cubicBezTo>
                  <a:lnTo>
                    <a:pt x="1166403" y="2319498"/>
                  </a:lnTo>
                  <a:cubicBezTo>
                    <a:pt x="1159749" y="2371782"/>
                    <a:pt x="1155947" y="2425967"/>
                    <a:pt x="1155947" y="2480152"/>
                  </a:cubicBezTo>
                  <a:lnTo>
                    <a:pt x="1155947" y="2544794"/>
                  </a:lnTo>
                  <a:cubicBezTo>
                    <a:pt x="1155947" y="2824274"/>
                    <a:pt x="1382193" y="3050520"/>
                    <a:pt x="1661673" y="3050520"/>
                  </a:cubicBezTo>
                  <a:lnTo>
                    <a:pt x="3135125" y="3050520"/>
                  </a:lnTo>
                  <a:cubicBezTo>
                    <a:pt x="3414605" y="3050520"/>
                    <a:pt x="3640851" y="2824274"/>
                    <a:pt x="3640851" y="2544794"/>
                  </a:cubicBezTo>
                  <a:lnTo>
                    <a:pt x="3640851" y="2480152"/>
                  </a:lnTo>
                  <a:cubicBezTo>
                    <a:pt x="3640851" y="2425967"/>
                    <a:pt x="3637049" y="2371782"/>
                    <a:pt x="3630394" y="2319498"/>
                  </a:cubicBezTo>
                  <a:lnTo>
                    <a:pt x="4800600" y="2319498"/>
                  </a:lnTo>
                  <a:cubicBezTo>
                    <a:pt x="4802502" y="2319498"/>
                    <a:pt x="4804403" y="2317597"/>
                    <a:pt x="4804403" y="2315696"/>
                  </a:cubicBezTo>
                  <a:lnTo>
                    <a:pt x="4804403" y="2252955"/>
                  </a:lnTo>
                  <a:cubicBezTo>
                    <a:pt x="4802502" y="1830882"/>
                    <a:pt x="4532527" y="1472501"/>
                    <a:pt x="4155133" y="1342267"/>
                  </a:cubicBezTo>
                  <a:close/>
                  <a:moveTo>
                    <a:pt x="3444074" y="892626"/>
                  </a:moveTo>
                  <a:cubicBezTo>
                    <a:pt x="3444074" y="673985"/>
                    <a:pt x="3621839" y="496220"/>
                    <a:pt x="3840480" y="496220"/>
                  </a:cubicBezTo>
                  <a:cubicBezTo>
                    <a:pt x="4059121" y="496220"/>
                    <a:pt x="4236886" y="673985"/>
                    <a:pt x="4236886" y="892626"/>
                  </a:cubicBezTo>
                  <a:cubicBezTo>
                    <a:pt x="4236886" y="1108416"/>
                    <a:pt x="4062924" y="1284279"/>
                    <a:pt x="3848085" y="1289033"/>
                  </a:cubicBezTo>
                  <a:cubicBezTo>
                    <a:pt x="3845233" y="1289033"/>
                    <a:pt x="3843332" y="1289033"/>
                    <a:pt x="3840480" y="1289033"/>
                  </a:cubicBezTo>
                  <a:cubicBezTo>
                    <a:pt x="3837628" y="1289033"/>
                    <a:pt x="3835727" y="1289033"/>
                    <a:pt x="3832875" y="1289033"/>
                  </a:cubicBezTo>
                  <a:cubicBezTo>
                    <a:pt x="3617086" y="1285230"/>
                    <a:pt x="3444074" y="1109366"/>
                    <a:pt x="3444074" y="892626"/>
                  </a:cubicBezTo>
                  <a:close/>
                  <a:moveTo>
                    <a:pt x="1852746" y="694899"/>
                  </a:moveTo>
                  <a:cubicBezTo>
                    <a:pt x="1852746" y="395455"/>
                    <a:pt x="2096104" y="152098"/>
                    <a:pt x="2395547" y="152098"/>
                  </a:cubicBezTo>
                  <a:cubicBezTo>
                    <a:pt x="2694990" y="152098"/>
                    <a:pt x="2938348" y="395455"/>
                    <a:pt x="2938348" y="694899"/>
                  </a:cubicBezTo>
                  <a:cubicBezTo>
                    <a:pt x="2938348" y="983885"/>
                    <a:pt x="2711151" y="1220588"/>
                    <a:pt x="2426917" y="1236749"/>
                  </a:cubicBezTo>
                  <a:cubicBezTo>
                    <a:pt x="2416461" y="1236749"/>
                    <a:pt x="2406004" y="1236749"/>
                    <a:pt x="2395547" y="1236749"/>
                  </a:cubicBezTo>
                  <a:cubicBezTo>
                    <a:pt x="2385090" y="1236749"/>
                    <a:pt x="2374634" y="1236749"/>
                    <a:pt x="2364177" y="1236749"/>
                  </a:cubicBezTo>
                  <a:cubicBezTo>
                    <a:pt x="2079943" y="1220588"/>
                    <a:pt x="1852746" y="983885"/>
                    <a:pt x="1852746" y="694899"/>
                  </a:cubicBezTo>
                  <a:close/>
                  <a:moveTo>
                    <a:pt x="563714" y="892626"/>
                  </a:moveTo>
                  <a:cubicBezTo>
                    <a:pt x="563714" y="673985"/>
                    <a:pt x="741479" y="496220"/>
                    <a:pt x="960120" y="496220"/>
                  </a:cubicBezTo>
                  <a:cubicBezTo>
                    <a:pt x="1178761" y="496220"/>
                    <a:pt x="1356526" y="673985"/>
                    <a:pt x="1356526" y="892626"/>
                  </a:cubicBezTo>
                  <a:cubicBezTo>
                    <a:pt x="1356526" y="1108416"/>
                    <a:pt x="1182564" y="1284279"/>
                    <a:pt x="967725" y="1289033"/>
                  </a:cubicBezTo>
                  <a:cubicBezTo>
                    <a:pt x="964873" y="1289033"/>
                    <a:pt x="962972" y="1289033"/>
                    <a:pt x="960120" y="1289033"/>
                  </a:cubicBezTo>
                  <a:cubicBezTo>
                    <a:pt x="957268" y="1289033"/>
                    <a:pt x="955367" y="1289033"/>
                    <a:pt x="952515" y="1289033"/>
                  </a:cubicBezTo>
                  <a:cubicBezTo>
                    <a:pt x="737676" y="1285230"/>
                    <a:pt x="563714" y="1109366"/>
                    <a:pt x="563714" y="892626"/>
                  </a:cubicBezTo>
                  <a:close/>
                  <a:moveTo>
                    <a:pt x="1193020" y="2166449"/>
                  </a:moveTo>
                  <a:lnTo>
                    <a:pt x="153999" y="2166449"/>
                  </a:lnTo>
                  <a:cubicBezTo>
                    <a:pt x="196777" y="1761487"/>
                    <a:pt x="538998" y="1443982"/>
                    <a:pt x="954416" y="1441131"/>
                  </a:cubicBezTo>
                  <a:cubicBezTo>
                    <a:pt x="956318" y="1441131"/>
                    <a:pt x="958219" y="1441131"/>
                    <a:pt x="960120" y="1441131"/>
                  </a:cubicBezTo>
                  <a:cubicBezTo>
                    <a:pt x="962021" y="1441131"/>
                    <a:pt x="963923" y="1441131"/>
                    <a:pt x="965824" y="1441131"/>
                  </a:cubicBezTo>
                  <a:cubicBezTo>
                    <a:pt x="1163551" y="1442081"/>
                    <a:pt x="1344168" y="1515278"/>
                    <a:pt x="1483908" y="1634105"/>
                  </a:cubicBezTo>
                  <a:cubicBezTo>
                    <a:pt x="1347020" y="1782401"/>
                    <a:pt x="1245304" y="1964919"/>
                    <a:pt x="1193020" y="2166449"/>
                  </a:cubicBezTo>
                  <a:close/>
                  <a:moveTo>
                    <a:pt x="3486852" y="2544794"/>
                  </a:moveTo>
                  <a:cubicBezTo>
                    <a:pt x="3486852" y="2739669"/>
                    <a:pt x="3328099" y="2898422"/>
                    <a:pt x="3133223" y="2898422"/>
                  </a:cubicBezTo>
                  <a:lnTo>
                    <a:pt x="1659772" y="2898422"/>
                  </a:lnTo>
                  <a:cubicBezTo>
                    <a:pt x="1464896" y="2898422"/>
                    <a:pt x="1306143" y="2739669"/>
                    <a:pt x="1306143" y="2544794"/>
                  </a:cubicBezTo>
                  <a:lnTo>
                    <a:pt x="1306143" y="2480152"/>
                  </a:lnTo>
                  <a:cubicBezTo>
                    <a:pt x="1306143" y="1889820"/>
                    <a:pt x="1777648" y="1406909"/>
                    <a:pt x="2364177" y="1389797"/>
                  </a:cubicBezTo>
                  <a:cubicBezTo>
                    <a:pt x="2374634" y="1390748"/>
                    <a:pt x="2386041" y="1390748"/>
                    <a:pt x="2396498" y="1390748"/>
                  </a:cubicBezTo>
                  <a:cubicBezTo>
                    <a:pt x="2406954" y="1390748"/>
                    <a:pt x="2418362" y="1390748"/>
                    <a:pt x="2428819" y="1389797"/>
                  </a:cubicBezTo>
                  <a:cubicBezTo>
                    <a:pt x="3015347" y="1406909"/>
                    <a:pt x="3486852" y="1889820"/>
                    <a:pt x="3486852" y="2480152"/>
                  </a:cubicBezTo>
                  <a:lnTo>
                    <a:pt x="3486852" y="2544794"/>
                  </a:lnTo>
                  <a:close/>
                  <a:moveTo>
                    <a:pt x="3599975" y="2166449"/>
                  </a:moveTo>
                  <a:cubicBezTo>
                    <a:pt x="3547691" y="1965869"/>
                    <a:pt x="3447877" y="1786203"/>
                    <a:pt x="3311939" y="1637908"/>
                  </a:cubicBezTo>
                  <a:cubicBezTo>
                    <a:pt x="3452630" y="1516229"/>
                    <a:pt x="3635147" y="1443032"/>
                    <a:pt x="3834776" y="1441131"/>
                  </a:cubicBezTo>
                  <a:cubicBezTo>
                    <a:pt x="3836678" y="1441131"/>
                    <a:pt x="3838579" y="1441131"/>
                    <a:pt x="3840480" y="1441131"/>
                  </a:cubicBezTo>
                  <a:cubicBezTo>
                    <a:pt x="3842381" y="1441131"/>
                    <a:pt x="3844283" y="1441131"/>
                    <a:pt x="3846184" y="1441131"/>
                  </a:cubicBezTo>
                  <a:cubicBezTo>
                    <a:pt x="4261602" y="1443982"/>
                    <a:pt x="4603823" y="1761487"/>
                    <a:pt x="4646601" y="2166449"/>
                  </a:cubicBezTo>
                  <a:lnTo>
                    <a:pt x="3599975" y="2166449"/>
                  </a:lnTo>
                  <a:close/>
                </a:path>
              </a:pathLst>
            </a:custGeom>
            <a:solidFill>
              <a:schemeClr val="tx1"/>
            </a:solidFill>
            <a:ln>
              <a:noFill/>
            </a:ln>
          </p:spPr>
          <p:txBody>
            <a:bodyPr spcFirstLastPara="1" wrap="square" lIns="91425" tIns="45700" rIns="91425" bIns="45700" anchor="ctr" anchorCtr="0">
              <a:noAutofit/>
            </a:bodyPr>
            <a:lstStyle/>
            <a:p>
              <a:pPr>
                <a:buClr>
                  <a:srgbClr val="000000"/>
                </a:buClr>
                <a:buSzPts val="1800"/>
              </a:pPr>
              <a:endParaRPr lang="en-GB" kern="0" noProof="0">
                <a:solidFill>
                  <a:srgbClr val="FFFFFF"/>
                </a:solidFill>
                <a:latin typeface="Quattrocento Sans"/>
                <a:sym typeface="Quattrocento Sans"/>
              </a:endParaRPr>
            </a:p>
          </p:txBody>
        </p:sp>
        <p:sp>
          <p:nvSpPr>
            <p:cNvPr id="457" name="Google Shape;2986;p18">
              <a:extLst>
                <a:ext uri="{FF2B5EF4-FFF2-40B4-BE49-F238E27FC236}">
                  <a16:creationId xmlns:a16="http://schemas.microsoft.com/office/drawing/2014/main" id="{BD327656-0E4D-4D23-BA79-1444022838AC}"/>
                </a:ext>
              </a:extLst>
            </p:cNvPr>
            <p:cNvSpPr/>
            <p:nvPr/>
          </p:nvSpPr>
          <p:spPr>
            <a:xfrm>
              <a:off x="3335425" y="3502702"/>
              <a:ext cx="1487949" cy="488751"/>
            </a:xfrm>
            <a:prstGeom prst="rect">
              <a:avLst/>
            </a:prstGeom>
            <a:noFill/>
            <a:ln>
              <a:noFill/>
            </a:ln>
          </p:spPr>
          <p:txBody>
            <a:bodyPr spcFirstLastPara="1" wrap="square" lIns="108000" tIns="0" rIns="0" bIns="108000" anchor="b" anchorCtr="0">
              <a:noAutofit/>
            </a:bodyPr>
            <a:lstStyle/>
            <a:p>
              <a:pPr lvl="0">
                <a:buClr>
                  <a:srgbClr val="000000"/>
                </a:buClr>
                <a:defRPr/>
              </a:pPr>
              <a:r>
                <a:rPr lang="en-GB" sz="1050" b="1" kern="0" noProof="0">
                  <a:latin typeface="Quattrocento Sans"/>
                  <a:ea typeface="Quattrocento Sans"/>
                  <a:cs typeface="Quattrocento Sans"/>
                  <a:sym typeface="Quattrocento Sans"/>
                </a:rPr>
                <a:t>Engineering</a:t>
              </a:r>
              <a:endParaRPr kumimoji="0" lang="en-GB" sz="1000" b="0" i="0" u="none" strike="noStrike" kern="0" cap="none" spc="0" normalizeH="0" baseline="0" noProof="0">
                <a:ln>
                  <a:noFill/>
                </a:ln>
                <a:effectLst/>
                <a:uLnTx/>
                <a:uFillTx/>
                <a:latin typeface="Arial"/>
                <a:cs typeface="Arial"/>
                <a:sym typeface="Arial"/>
              </a:endParaRPr>
            </a:p>
          </p:txBody>
        </p:sp>
        <p:sp>
          <p:nvSpPr>
            <p:cNvPr id="458" name="Google Shape;2996;p18">
              <a:extLst>
                <a:ext uri="{FF2B5EF4-FFF2-40B4-BE49-F238E27FC236}">
                  <a16:creationId xmlns:a16="http://schemas.microsoft.com/office/drawing/2014/main" id="{3C616205-5686-FB36-DC4D-78F7DFB789B6}"/>
                </a:ext>
              </a:extLst>
            </p:cNvPr>
            <p:cNvSpPr txBox="1"/>
            <p:nvPr/>
          </p:nvSpPr>
          <p:spPr>
            <a:xfrm>
              <a:off x="3433536" y="3883488"/>
              <a:ext cx="767675" cy="461624"/>
            </a:xfrm>
            <a:prstGeom prst="rect">
              <a:avLst/>
            </a:prstGeom>
            <a:noFill/>
            <a:ln>
              <a:noFill/>
            </a:ln>
          </p:spPr>
          <p:txBody>
            <a:bodyPr spcFirstLastPara="1" wrap="square" lIns="0" tIns="45700" rIns="0" bIns="45700" anchor="t" anchorCtr="0">
              <a:spAutoFit/>
            </a:bodyPr>
            <a:lstStyle/>
            <a:p>
              <a:pPr lvl="0">
                <a:buClr>
                  <a:srgbClr val="FFFFFF"/>
                </a:buClr>
                <a:buSzPts val="1100"/>
                <a:defRPr/>
              </a:pPr>
              <a:r>
                <a:rPr lang="en-GB" sz="800" kern="0" noProof="0">
                  <a:latin typeface="Quattrocento Sans"/>
                  <a:ea typeface="Quattrocento Sans"/>
                  <a:cs typeface="Quattrocento Sans"/>
                  <a:sym typeface="Quattrocento Sans"/>
                </a:rPr>
                <a:t>Data integration, quality, and lineage</a:t>
              </a:r>
              <a:endParaRPr kumimoji="0" lang="en-GB" sz="1000" b="0" i="0" u="none" strike="noStrike" kern="0" cap="none" spc="0" normalizeH="0" baseline="0" noProof="0">
                <a:ln>
                  <a:noFill/>
                </a:ln>
                <a:effectLst/>
                <a:uLnTx/>
                <a:uFillTx/>
                <a:latin typeface="Arial"/>
                <a:cs typeface="Arial"/>
                <a:sym typeface="Arial"/>
              </a:endParaRPr>
            </a:p>
          </p:txBody>
        </p:sp>
        <p:sp>
          <p:nvSpPr>
            <p:cNvPr id="459" name="Google Shape;3003;p18">
              <a:extLst>
                <a:ext uri="{FF2B5EF4-FFF2-40B4-BE49-F238E27FC236}">
                  <a16:creationId xmlns:a16="http://schemas.microsoft.com/office/drawing/2014/main" id="{0D497E8F-A45E-EB4E-A411-5A0BCB73C85A}"/>
                </a:ext>
              </a:extLst>
            </p:cNvPr>
            <p:cNvSpPr/>
            <p:nvPr/>
          </p:nvSpPr>
          <p:spPr>
            <a:xfrm>
              <a:off x="3544451" y="3075337"/>
              <a:ext cx="345680" cy="457693"/>
            </a:xfrm>
            <a:custGeom>
              <a:avLst/>
              <a:gdLst/>
              <a:ahLst/>
              <a:cxnLst/>
              <a:rect l="l" t="t" r="r" b="b"/>
              <a:pathLst>
                <a:path w="428394" h="567209" extrusionOk="0">
                  <a:moveTo>
                    <a:pt x="124840" y="498900"/>
                  </a:moveTo>
                  <a:cubicBezTo>
                    <a:pt x="144255" y="529523"/>
                    <a:pt x="177992" y="548079"/>
                    <a:pt x="214252" y="548080"/>
                  </a:cubicBezTo>
                  <a:cubicBezTo>
                    <a:pt x="250510" y="548079"/>
                    <a:pt x="284247" y="529522"/>
                    <a:pt x="303662" y="498900"/>
                  </a:cubicBezTo>
                  <a:close/>
                  <a:moveTo>
                    <a:pt x="247193" y="340593"/>
                  </a:moveTo>
                  <a:cubicBezTo>
                    <a:pt x="251275" y="343999"/>
                    <a:pt x="251823" y="350067"/>
                    <a:pt x="248418" y="354149"/>
                  </a:cubicBezTo>
                  <a:lnTo>
                    <a:pt x="213000" y="390530"/>
                  </a:lnTo>
                  <a:lnTo>
                    <a:pt x="241873" y="390530"/>
                  </a:lnTo>
                  <a:cubicBezTo>
                    <a:pt x="244248" y="390536"/>
                    <a:pt x="246536" y="391419"/>
                    <a:pt x="248299" y="393009"/>
                  </a:cubicBezTo>
                  <a:cubicBezTo>
                    <a:pt x="252245" y="396570"/>
                    <a:pt x="252556" y="402657"/>
                    <a:pt x="248995" y="406603"/>
                  </a:cubicBezTo>
                  <a:lnTo>
                    <a:pt x="197697" y="463386"/>
                  </a:lnTo>
                  <a:cubicBezTo>
                    <a:pt x="194131" y="467311"/>
                    <a:pt x="188063" y="467611"/>
                    <a:pt x="184126" y="464060"/>
                  </a:cubicBezTo>
                  <a:cubicBezTo>
                    <a:pt x="180202" y="460494"/>
                    <a:pt x="179901" y="454426"/>
                    <a:pt x="183452" y="450490"/>
                  </a:cubicBezTo>
                  <a:lnTo>
                    <a:pt x="219930" y="409875"/>
                  </a:lnTo>
                  <a:lnTo>
                    <a:pt x="190286" y="409875"/>
                  </a:lnTo>
                  <a:cubicBezTo>
                    <a:pt x="187747" y="409889"/>
                    <a:pt x="185305" y="408900"/>
                    <a:pt x="183492" y="407124"/>
                  </a:cubicBezTo>
                  <a:cubicBezTo>
                    <a:pt x="179697" y="403403"/>
                    <a:pt x="179635" y="397309"/>
                    <a:pt x="183356" y="393513"/>
                  </a:cubicBezTo>
                  <a:lnTo>
                    <a:pt x="234655" y="340771"/>
                  </a:lnTo>
                  <a:cubicBezTo>
                    <a:pt x="238217" y="337624"/>
                    <a:pt x="243543" y="337548"/>
                    <a:pt x="247193" y="340593"/>
                  </a:cubicBezTo>
                  <a:close/>
                  <a:moveTo>
                    <a:pt x="108190" y="325083"/>
                  </a:moveTo>
                  <a:lnTo>
                    <a:pt x="108190" y="442212"/>
                  </a:lnTo>
                  <a:cubicBezTo>
                    <a:pt x="108237" y="455046"/>
                    <a:pt x="110618" y="467765"/>
                    <a:pt x="115216" y="479747"/>
                  </a:cubicBezTo>
                  <a:lnTo>
                    <a:pt x="313094" y="479747"/>
                  </a:lnTo>
                  <a:cubicBezTo>
                    <a:pt x="317692" y="467765"/>
                    <a:pt x="320073" y="455046"/>
                    <a:pt x="320120" y="442212"/>
                  </a:cubicBezTo>
                  <a:lnTo>
                    <a:pt x="320120" y="325083"/>
                  </a:lnTo>
                  <a:close/>
                  <a:moveTo>
                    <a:pt x="37451" y="290820"/>
                  </a:moveTo>
                  <a:cubicBezTo>
                    <a:pt x="27459" y="290820"/>
                    <a:pt x="19357" y="298922"/>
                    <a:pt x="19357" y="308914"/>
                  </a:cubicBezTo>
                  <a:cubicBezTo>
                    <a:pt x="19357" y="318907"/>
                    <a:pt x="27459" y="327008"/>
                    <a:pt x="37451" y="327008"/>
                  </a:cubicBezTo>
                  <a:cubicBezTo>
                    <a:pt x="47444" y="327008"/>
                    <a:pt x="55545" y="318907"/>
                    <a:pt x="55545" y="308914"/>
                  </a:cubicBezTo>
                  <a:cubicBezTo>
                    <a:pt x="55545" y="298922"/>
                    <a:pt x="47444" y="290820"/>
                    <a:pt x="37451" y="290820"/>
                  </a:cubicBezTo>
                  <a:close/>
                  <a:moveTo>
                    <a:pt x="390859" y="290530"/>
                  </a:moveTo>
                  <a:cubicBezTo>
                    <a:pt x="380866" y="290530"/>
                    <a:pt x="372765" y="298632"/>
                    <a:pt x="372765" y="308624"/>
                  </a:cubicBezTo>
                  <a:cubicBezTo>
                    <a:pt x="372765" y="318617"/>
                    <a:pt x="380866" y="326718"/>
                    <a:pt x="390859" y="326718"/>
                  </a:cubicBezTo>
                  <a:lnTo>
                    <a:pt x="391051" y="327007"/>
                  </a:lnTo>
                  <a:cubicBezTo>
                    <a:pt x="391085" y="327007"/>
                    <a:pt x="391117" y="327005"/>
                    <a:pt x="391151" y="327005"/>
                  </a:cubicBezTo>
                  <a:cubicBezTo>
                    <a:pt x="401142" y="326845"/>
                    <a:pt x="409112" y="318617"/>
                    <a:pt x="408952" y="308624"/>
                  </a:cubicBezTo>
                  <a:cubicBezTo>
                    <a:pt x="408952" y="298632"/>
                    <a:pt x="400851" y="290530"/>
                    <a:pt x="390859" y="290530"/>
                  </a:cubicBezTo>
                  <a:close/>
                  <a:moveTo>
                    <a:pt x="390720" y="271906"/>
                  </a:moveTo>
                  <a:cubicBezTo>
                    <a:pt x="411343" y="271722"/>
                    <a:pt x="428210" y="288291"/>
                    <a:pt x="428394" y="308914"/>
                  </a:cubicBezTo>
                  <a:cubicBezTo>
                    <a:pt x="428288" y="325818"/>
                    <a:pt x="416840" y="340543"/>
                    <a:pt x="400483" y="344814"/>
                  </a:cubicBezTo>
                  <a:lnTo>
                    <a:pt x="400483" y="416709"/>
                  </a:lnTo>
                  <a:cubicBezTo>
                    <a:pt x="416764" y="421052"/>
                    <a:pt x="428119" y="435758"/>
                    <a:pt x="428201" y="452608"/>
                  </a:cubicBezTo>
                  <a:lnTo>
                    <a:pt x="428201" y="469739"/>
                  </a:lnTo>
                  <a:cubicBezTo>
                    <a:pt x="428201" y="475054"/>
                    <a:pt x="423892" y="479364"/>
                    <a:pt x="418577" y="479364"/>
                  </a:cubicBezTo>
                  <a:cubicBezTo>
                    <a:pt x="413262" y="479364"/>
                    <a:pt x="408952" y="475054"/>
                    <a:pt x="408952" y="469739"/>
                  </a:cubicBezTo>
                  <a:lnTo>
                    <a:pt x="408952" y="452608"/>
                  </a:lnTo>
                  <a:cubicBezTo>
                    <a:pt x="408943" y="442629"/>
                    <a:pt x="400855" y="434541"/>
                    <a:pt x="390875" y="434531"/>
                  </a:cubicBezTo>
                  <a:cubicBezTo>
                    <a:pt x="380883" y="434521"/>
                    <a:pt x="372774" y="442615"/>
                    <a:pt x="372765" y="452608"/>
                  </a:cubicBezTo>
                  <a:lnTo>
                    <a:pt x="372765" y="469739"/>
                  </a:lnTo>
                  <a:cubicBezTo>
                    <a:pt x="372765" y="475054"/>
                    <a:pt x="368456" y="479364"/>
                    <a:pt x="363140" y="479364"/>
                  </a:cubicBezTo>
                  <a:cubicBezTo>
                    <a:pt x="357825" y="479364"/>
                    <a:pt x="353516" y="475054"/>
                    <a:pt x="353516" y="469739"/>
                  </a:cubicBezTo>
                  <a:lnTo>
                    <a:pt x="353516" y="452608"/>
                  </a:lnTo>
                  <a:cubicBezTo>
                    <a:pt x="353598" y="435758"/>
                    <a:pt x="364953" y="421052"/>
                    <a:pt x="381234" y="416709"/>
                  </a:cubicBezTo>
                  <a:lnTo>
                    <a:pt x="381234" y="344814"/>
                  </a:lnTo>
                  <a:cubicBezTo>
                    <a:pt x="369008" y="341520"/>
                    <a:pt x="359292" y="332239"/>
                    <a:pt x="355441" y="320176"/>
                  </a:cubicBezTo>
                  <a:lnTo>
                    <a:pt x="339368" y="323352"/>
                  </a:lnTo>
                  <a:lnTo>
                    <a:pt x="339368" y="442117"/>
                  </a:lnTo>
                  <a:cubicBezTo>
                    <a:pt x="339235" y="459485"/>
                    <a:pt x="335464" y="476632"/>
                    <a:pt x="328300" y="492453"/>
                  </a:cubicBezTo>
                  <a:lnTo>
                    <a:pt x="327819" y="493511"/>
                  </a:lnTo>
                  <a:cubicBezTo>
                    <a:pt x="315279" y="521310"/>
                    <a:pt x="293017" y="543570"/>
                    <a:pt x="265220" y="556111"/>
                  </a:cubicBezTo>
                  <a:cubicBezTo>
                    <a:pt x="202233" y="584525"/>
                    <a:pt x="128136" y="556499"/>
                    <a:pt x="99721" y="493511"/>
                  </a:cubicBezTo>
                  <a:lnTo>
                    <a:pt x="99721" y="492645"/>
                  </a:lnTo>
                  <a:cubicBezTo>
                    <a:pt x="92632" y="476742"/>
                    <a:pt x="88961" y="459529"/>
                    <a:pt x="88942" y="442117"/>
                  </a:cubicBezTo>
                  <a:lnTo>
                    <a:pt x="88942" y="323352"/>
                  </a:lnTo>
                  <a:lnTo>
                    <a:pt x="72869" y="320176"/>
                  </a:lnTo>
                  <a:cubicBezTo>
                    <a:pt x="69018" y="332239"/>
                    <a:pt x="59302" y="341520"/>
                    <a:pt x="47076" y="344814"/>
                  </a:cubicBezTo>
                  <a:lnTo>
                    <a:pt x="47076" y="416709"/>
                  </a:lnTo>
                  <a:cubicBezTo>
                    <a:pt x="63356" y="421052"/>
                    <a:pt x="74712" y="435758"/>
                    <a:pt x="74794" y="452608"/>
                  </a:cubicBezTo>
                  <a:lnTo>
                    <a:pt x="74794" y="469739"/>
                  </a:lnTo>
                  <a:cubicBezTo>
                    <a:pt x="74794" y="475054"/>
                    <a:pt x="70484" y="479364"/>
                    <a:pt x="65169" y="479364"/>
                  </a:cubicBezTo>
                  <a:cubicBezTo>
                    <a:pt x="59854" y="479364"/>
                    <a:pt x="55545" y="475054"/>
                    <a:pt x="55545" y="469739"/>
                  </a:cubicBezTo>
                  <a:lnTo>
                    <a:pt x="55545" y="452608"/>
                  </a:lnTo>
                  <a:cubicBezTo>
                    <a:pt x="55545" y="442615"/>
                    <a:pt x="47444" y="434514"/>
                    <a:pt x="37451" y="434514"/>
                  </a:cubicBezTo>
                  <a:cubicBezTo>
                    <a:pt x="27459" y="434514"/>
                    <a:pt x="19357" y="442615"/>
                    <a:pt x="19357" y="452608"/>
                  </a:cubicBezTo>
                  <a:lnTo>
                    <a:pt x="19357" y="469739"/>
                  </a:lnTo>
                  <a:cubicBezTo>
                    <a:pt x="19357" y="475054"/>
                    <a:pt x="15048" y="479364"/>
                    <a:pt x="9733" y="479364"/>
                  </a:cubicBezTo>
                  <a:cubicBezTo>
                    <a:pt x="4418" y="479364"/>
                    <a:pt x="109" y="475054"/>
                    <a:pt x="109" y="469739"/>
                  </a:cubicBezTo>
                  <a:lnTo>
                    <a:pt x="109" y="452704"/>
                  </a:lnTo>
                  <a:cubicBezTo>
                    <a:pt x="191" y="435854"/>
                    <a:pt x="11546" y="421148"/>
                    <a:pt x="27827" y="416805"/>
                  </a:cubicBezTo>
                  <a:lnTo>
                    <a:pt x="27827" y="344910"/>
                  </a:lnTo>
                  <a:cubicBezTo>
                    <a:pt x="14271" y="341335"/>
                    <a:pt x="3861" y="330469"/>
                    <a:pt x="868" y="316774"/>
                  </a:cubicBezTo>
                  <a:cubicBezTo>
                    <a:pt x="-3535" y="296625"/>
                    <a:pt x="9229" y="276723"/>
                    <a:pt x="29378" y="272320"/>
                  </a:cubicBezTo>
                  <a:cubicBezTo>
                    <a:pt x="49526" y="267917"/>
                    <a:pt x="69428" y="280681"/>
                    <a:pt x="73831" y="300830"/>
                  </a:cubicBezTo>
                  <a:lnTo>
                    <a:pt x="99528" y="305834"/>
                  </a:lnTo>
                  <a:lnTo>
                    <a:pt x="328974" y="305834"/>
                  </a:lnTo>
                  <a:lnTo>
                    <a:pt x="354671" y="300830"/>
                  </a:lnTo>
                  <a:cubicBezTo>
                    <a:pt x="358560" y="284017"/>
                    <a:pt x="373464" y="272060"/>
                    <a:pt x="390720" y="271906"/>
                  </a:cubicBezTo>
                  <a:close/>
                  <a:moveTo>
                    <a:pt x="159199" y="229706"/>
                  </a:moveTo>
                  <a:lnTo>
                    <a:pt x="269303" y="229706"/>
                  </a:lnTo>
                  <a:cubicBezTo>
                    <a:pt x="274618" y="229706"/>
                    <a:pt x="278927" y="234015"/>
                    <a:pt x="278927" y="239330"/>
                  </a:cubicBezTo>
                  <a:cubicBezTo>
                    <a:pt x="278927" y="244646"/>
                    <a:pt x="274618" y="248956"/>
                    <a:pt x="269303" y="248956"/>
                  </a:cubicBezTo>
                  <a:lnTo>
                    <a:pt x="159199" y="248956"/>
                  </a:lnTo>
                  <a:cubicBezTo>
                    <a:pt x="153884" y="248956"/>
                    <a:pt x="149575" y="244646"/>
                    <a:pt x="149575" y="239330"/>
                  </a:cubicBezTo>
                  <a:cubicBezTo>
                    <a:pt x="149575" y="234015"/>
                    <a:pt x="153884" y="229706"/>
                    <a:pt x="159199" y="229706"/>
                  </a:cubicBezTo>
                  <a:close/>
                  <a:moveTo>
                    <a:pt x="84707" y="148091"/>
                  </a:moveTo>
                  <a:cubicBezTo>
                    <a:pt x="73407" y="151358"/>
                    <a:pt x="64572" y="160193"/>
                    <a:pt x="61305" y="171493"/>
                  </a:cubicBezTo>
                  <a:cubicBezTo>
                    <a:pt x="56052" y="189672"/>
                    <a:pt x="66529" y="208668"/>
                    <a:pt x="84707" y="213923"/>
                  </a:cubicBezTo>
                  <a:close/>
                  <a:moveTo>
                    <a:pt x="343411" y="147418"/>
                  </a:moveTo>
                  <a:lnTo>
                    <a:pt x="343411" y="213249"/>
                  </a:lnTo>
                  <a:cubicBezTo>
                    <a:pt x="358083" y="209014"/>
                    <a:pt x="368198" y="195604"/>
                    <a:pt x="368241" y="180333"/>
                  </a:cubicBezTo>
                  <a:cubicBezTo>
                    <a:pt x="368198" y="165063"/>
                    <a:pt x="358083" y="151652"/>
                    <a:pt x="343411" y="147418"/>
                  </a:cubicBezTo>
                  <a:close/>
                  <a:moveTo>
                    <a:pt x="269303" y="145782"/>
                  </a:moveTo>
                  <a:lnTo>
                    <a:pt x="269303" y="145878"/>
                  </a:lnTo>
                  <a:cubicBezTo>
                    <a:pt x="258711" y="145878"/>
                    <a:pt x="250107" y="154438"/>
                    <a:pt x="250054" y="165030"/>
                  </a:cubicBezTo>
                  <a:cubicBezTo>
                    <a:pt x="250054" y="175663"/>
                    <a:pt x="258672" y="184280"/>
                    <a:pt x="269303" y="184280"/>
                  </a:cubicBezTo>
                  <a:cubicBezTo>
                    <a:pt x="279935" y="184280"/>
                    <a:pt x="288552" y="175663"/>
                    <a:pt x="288552" y="165030"/>
                  </a:cubicBezTo>
                  <a:cubicBezTo>
                    <a:pt x="288552" y="154399"/>
                    <a:pt x="279935" y="145782"/>
                    <a:pt x="269303" y="145782"/>
                  </a:cubicBezTo>
                  <a:close/>
                  <a:moveTo>
                    <a:pt x="159199" y="145782"/>
                  </a:moveTo>
                  <a:lnTo>
                    <a:pt x="159199" y="145878"/>
                  </a:lnTo>
                  <a:cubicBezTo>
                    <a:pt x="148607" y="145878"/>
                    <a:pt x="140004" y="154438"/>
                    <a:pt x="139951" y="165030"/>
                  </a:cubicBezTo>
                  <a:cubicBezTo>
                    <a:pt x="139951" y="175663"/>
                    <a:pt x="148568" y="184280"/>
                    <a:pt x="159199" y="184280"/>
                  </a:cubicBezTo>
                  <a:cubicBezTo>
                    <a:pt x="169831" y="184280"/>
                    <a:pt x="178449" y="175663"/>
                    <a:pt x="178449" y="165030"/>
                  </a:cubicBezTo>
                  <a:cubicBezTo>
                    <a:pt x="178449" y="154399"/>
                    <a:pt x="169831" y="145782"/>
                    <a:pt x="159199" y="145782"/>
                  </a:cubicBezTo>
                  <a:close/>
                  <a:moveTo>
                    <a:pt x="269303" y="126533"/>
                  </a:moveTo>
                  <a:cubicBezTo>
                    <a:pt x="290565" y="126533"/>
                    <a:pt x="307801" y="143769"/>
                    <a:pt x="307801" y="165030"/>
                  </a:cubicBezTo>
                  <a:cubicBezTo>
                    <a:pt x="307801" y="186293"/>
                    <a:pt x="290565" y="203529"/>
                    <a:pt x="269303" y="203529"/>
                  </a:cubicBezTo>
                  <a:cubicBezTo>
                    <a:pt x="248041" y="203529"/>
                    <a:pt x="230805" y="186293"/>
                    <a:pt x="230805" y="165030"/>
                  </a:cubicBezTo>
                  <a:cubicBezTo>
                    <a:pt x="230805" y="143769"/>
                    <a:pt x="248041" y="126533"/>
                    <a:pt x="269303" y="126533"/>
                  </a:cubicBezTo>
                  <a:close/>
                  <a:moveTo>
                    <a:pt x="159199" y="126533"/>
                  </a:moveTo>
                  <a:cubicBezTo>
                    <a:pt x="180462" y="126533"/>
                    <a:pt x="197698" y="143769"/>
                    <a:pt x="197698" y="165030"/>
                  </a:cubicBezTo>
                  <a:cubicBezTo>
                    <a:pt x="197698" y="186293"/>
                    <a:pt x="180462" y="203529"/>
                    <a:pt x="159199" y="203529"/>
                  </a:cubicBezTo>
                  <a:cubicBezTo>
                    <a:pt x="137938" y="203529"/>
                    <a:pt x="120702" y="186293"/>
                    <a:pt x="120702" y="165030"/>
                  </a:cubicBezTo>
                  <a:cubicBezTo>
                    <a:pt x="120702" y="143769"/>
                    <a:pt x="137938" y="126533"/>
                    <a:pt x="159199" y="126533"/>
                  </a:cubicBezTo>
                  <a:close/>
                  <a:moveTo>
                    <a:pt x="148805" y="103242"/>
                  </a:moveTo>
                  <a:cubicBezTo>
                    <a:pt x="132059" y="103242"/>
                    <a:pt x="103956" y="109016"/>
                    <a:pt x="103956" y="148091"/>
                  </a:cubicBezTo>
                  <a:lnTo>
                    <a:pt x="104052" y="226242"/>
                  </a:lnTo>
                  <a:cubicBezTo>
                    <a:pt x="104052" y="265221"/>
                    <a:pt x="132155" y="271092"/>
                    <a:pt x="148901" y="271092"/>
                  </a:cubicBezTo>
                  <a:lnTo>
                    <a:pt x="279697" y="271092"/>
                  </a:lnTo>
                  <a:cubicBezTo>
                    <a:pt x="318676" y="271092"/>
                    <a:pt x="324547" y="242988"/>
                    <a:pt x="324547" y="226242"/>
                  </a:cubicBezTo>
                  <a:lnTo>
                    <a:pt x="324547" y="148091"/>
                  </a:lnTo>
                  <a:cubicBezTo>
                    <a:pt x="324547" y="131345"/>
                    <a:pt x="318772" y="103242"/>
                    <a:pt x="279697" y="103242"/>
                  </a:cubicBezTo>
                  <a:close/>
                  <a:moveTo>
                    <a:pt x="214252" y="19799"/>
                  </a:moveTo>
                  <a:cubicBezTo>
                    <a:pt x="207183" y="19799"/>
                    <a:pt x="201451" y="25530"/>
                    <a:pt x="201451" y="32599"/>
                  </a:cubicBezTo>
                  <a:cubicBezTo>
                    <a:pt x="201451" y="39668"/>
                    <a:pt x="207183" y="45399"/>
                    <a:pt x="214252" y="45399"/>
                  </a:cubicBezTo>
                  <a:cubicBezTo>
                    <a:pt x="221321" y="45399"/>
                    <a:pt x="227052" y="39668"/>
                    <a:pt x="227052" y="32599"/>
                  </a:cubicBezTo>
                  <a:cubicBezTo>
                    <a:pt x="227052" y="25530"/>
                    <a:pt x="221321" y="19799"/>
                    <a:pt x="214252" y="19799"/>
                  </a:cubicBezTo>
                  <a:close/>
                  <a:moveTo>
                    <a:pt x="204629" y="1488"/>
                  </a:moveTo>
                  <a:cubicBezTo>
                    <a:pt x="221511" y="-3828"/>
                    <a:pt x="239507" y="5550"/>
                    <a:pt x="244822" y="22433"/>
                  </a:cubicBezTo>
                  <a:cubicBezTo>
                    <a:pt x="250139" y="39316"/>
                    <a:pt x="240761" y="57312"/>
                    <a:pt x="223877" y="62627"/>
                  </a:cubicBezTo>
                  <a:lnTo>
                    <a:pt x="223877" y="83801"/>
                  </a:lnTo>
                  <a:lnTo>
                    <a:pt x="279699" y="83801"/>
                  </a:lnTo>
                  <a:cubicBezTo>
                    <a:pt x="316464" y="83801"/>
                    <a:pt x="334750" y="103819"/>
                    <a:pt x="341102" y="127303"/>
                  </a:cubicBezTo>
                  <a:cubicBezTo>
                    <a:pt x="364116" y="130414"/>
                    <a:pt x="382511" y="147990"/>
                    <a:pt x="386664" y="170840"/>
                  </a:cubicBezTo>
                  <a:cubicBezTo>
                    <a:pt x="391958" y="199970"/>
                    <a:pt x="372636" y="227876"/>
                    <a:pt x="343508" y="233172"/>
                  </a:cubicBezTo>
                  <a:cubicBezTo>
                    <a:pt x="341295" y="262045"/>
                    <a:pt x="323682" y="290918"/>
                    <a:pt x="279699" y="290918"/>
                  </a:cubicBezTo>
                  <a:lnTo>
                    <a:pt x="148806" y="290918"/>
                  </a:lnTo>
                  <a:cubicBezTo>
                    <a:pt x="119260" y="290918"/>
                    <a:pt x="87884" y="275422"/>
                    <a:pt x="84997" y="233172"/>
                  </a:cubicBezTo>
                  <a:lnTo>
                    <a:pt x="85093" y="232690"/>
                  </a:lnTo>
                  <a:cubicBezTo>
                    <a:pt x="62246" y="228574"/>
                    <a:pt x="44644" y="210221"/>
                    <a:pt x="41488" y="187222"/>
                  </a:cubicBezTo>
                  <a:cubicBezTo>
                    <a:pt x="37461" y="157890"/>
                    <a:pt x="57975" y="130848"/>
                    <a:pt x="87307" y="126821"/>
                  </a:cubicBezTo>
                  <a:cubicBezTo>
                    <a:pt x="95584" y="95254"/>
                    <a:pt x="122917" y="83319"/>
                    <a:pt x="148903" y="83319"/>
                  </a:cubicBezTo>
                  <a:lnTo>
                    <a:pt x="204629" y="83319"/>
                  </a:lnTo>
                  <a:lnTo>
                    <a:pt x="204629" y="62627"/>
                  </a:lnTo>
                  <a:cubicBezTo>
                    <a:pt x="194646" y="59485"/>
                    <a:pt x="186827" y="51665"/>
                    <a:pt x="183684" y="41682"/>
                  </a:cubicBezTo>
                  <a:cubicBezTo>
                    <a:pt x="178366" y="24800"/>
                    <a:pt x="187745" y="6803"/>
                    <a:pt x="204629" y="1488"/>
                  </a:cubicBezTo>
                  <a:close/>
                </a:path>
              </a:pathLst>
            </a:custGeom>
            <a:solidFill>
              <a:schemeClr val="tx1"/>
            </a:solidFill>
            <a:ln>
              <a:noFill/>
            </a:ln>
          </p:spPr>
          <p:txBody>
            <a:bodyPr spcFirstLastPara="1" wrap="square" lIns="91425" tIns="45700" rIns="91425" bIns="45700" anchor="ctr" anchorCtr="0">
              <a:noAutofit/>
            </a:bodyPr>
            <a:lstStyle/>
            <a:p>
              <a:pPr>
                <a:buClr>
                  <a:srgbClr val="000000"/>
                </a:buClr>
                <a:buSzPts val="1800"/>
              </a:pPr>
              <a:endParaRPr lang="en-GB" kern="0" noProof="0">
                <a:solidFill>
                  <a:srgbClr val="FFFFFF"/>
                </a:solidFill>
                <a:latin typeface="Quattrocento Sans"/>
                <a:sym typeface="Quattrocento Sans"/>
              </a:endParaRPr>
            </a:p>
          </p:txBody>
        </p:sp>
        <p:sp>
          <p:nvSpPr>
            <p:cNvPr id="460" name="Google Shape;2985;p18">
              <a:extLst>
                <a:ext uri="{FF2B5EF4-FFF2-40B4-BE49-F238E27FC236}">
                  <a16:creationId xmlns:a16="http://schemas.microsoft.com/office/drawing/2014/main" id="{1977E87C-7E58-7503-7AF7-F3A8EE147B52}"/>
                </a:ext>
              </a:extLst>
            </p:cNvPr>
            <p:cNvSpPr/>
            <p:nvPr/>
          </p:nvSpPr>
          <p:spPr>
            <a:xfrm>
              <a:off x="5137677" y="3512956"/>
              <a:ext cx="1487949" cy="488751"/>
            </a:xfrm>
            <a:prstGeom prst="rect">
              <a:avLst/>
            </a:prstGeom>
            <a:noFill/>
            <a:ln>
              <a:noFill/>
            </a:ln>
          </p:spPr>
          <p:txBody>
            <a:bodyPr spcFirstLastPara="1" wrap="square" lIns="108000" tIns="0" rIns="0" bIns="108000" anchor="b" anchorCtr="0">
              <a:noAutofit/>
            </a:bodyPr>
            <a:lstStyle/>
            <a:p>
              <a:pPr lvl="0">
                <a:buClr>
                  <a:srgbClr val="000000"/>
                </a:buClr>
                <a:defRPr/>
              </a:pPr>
              <a:r>
                <a:rPr lang="en-GB" sz="1050" b="1" kern="0" noProof="0">
                  <a:latin typeface="Quattrocento Sans"/>
                  <a:ea typeface="Quattrocento Sans"/>
                  <a:cs typeface="Quattrocento Sans"/>
                  <a:sym typeface="Quattrocento Sans"/>
                </a:rPr>
                <a:t>Analysis</a:t>
              </a:r>
              <a:endParaRPr kumimoji="0" lang="en-GB" sz="1000" b="0" i="0" u="none" strike="noStrike" kern="0" cap="none" spc="0" normalizeH="0" baseline="0" noProof="0">
                <a:ln>
                  <a:noFill/>
                </a:ln>
                <a:effectLst/>
                <a:uLnTx/>
                <a:uFillTx/>
                <a:latin typeface="Arial"/>
                <a:cs typeface="Arial"/>
                <a:sym typeface="Arial"/>
              </a:endParaRPr>
            </a:p>
          </p:txBody>
        </p:sp>
        <p:sp>
          <p:nvSpPr>
            <p:cNvPr id="64" name="Google Shape;2997;p18">
              <a:extLst>
                <a:ext uri="{FF2B5EF4-FFF2-40B4-BE49-F238E27FC236}">
                  <a16:creationId xmlns:a16="http://schemas.microsoft.com/office/drawing/2014/main" id="{9860C2B4-764A-6626-DECD-D26A81A16D74}"/>
                </a:ext>
              </a:extLst>
            </p:cNvPr>
            <p:cNvSpPr txBox="1"/>
            <p:nvPr/>
          </p:nvSpPr>
          <p:spPr>
            <a:xfrm>
              <a:off x="5243585" y="3889483"/>
              <a:ext cx="810310" cy="584735"/>
            </a:xfrm>
            <a:prstGeom prst="rect">
              <a:avLst/>
            </a:prstGeom>
            <a:noFill/>
            <a:ln>
              <a:noFill/>
            </a:ln>
          </p:spPr>
          <p:txBody>
            <a:bodyPr spcFirstLastPara="1" wrap="square" lIns="0" tIns="45700" rIns="0" bIns="45700" anchor="t" anchorCtr="0">
              <a:spAutoFit/>
            </a:bodyPr>
            <a:lstStyle/>
            <a:p>
              <a:pPr lvl="0">
                <a:buClr>
                  <a:srgbClr val="FFFFFF"/>
                </a:buClr>
                <a:buSzPts val="1100"/>
                <a:defRPr/>
              </a:pPr>
              <a:r>
                <a:rPr lang="en-GB" sz="800" kern="0" noProof="0">
                  <a:latin typeface="Quattrocento Sans"/>
                  <a:ea typeface="Quattrocento Sans"/>
                  <a:cs typeface="Quattrocento Sans"/>
                  <a:sym typeface="Quattrocento Sans"/>
                </a:rPr>
                <a:t>Collaborative access and understanding of data</a:t>
              </a:r>
              <a:endParaRPr kumimoji="0" lang="en-GB" sz="1000" b="0" i="0" u="none" strike="noStrike" kern="0" cap="none" spc="0" normalizeH="0" baseline="0" noProof="0">
                <a:ln>
                  <a:noFill/>
                </a:ln>
                <a:effectLst/>
                <a:uLnTx/>
                <a:uFillTx/>
                <a:latin typeface="Arial"/>
                <a:cs typeface="Arial"/>
                <a:sym typeface="Arial"/>
              </a:endParaRPr>
            </a:p>
          </p:txBody>
        </p:sp>
        <p:sp>
          <p:nvSpPr>
            <p:cNvPr id="65" name="Google Shape;3005;p18">
              <a:extLst>
                <a:ext uri="{FF2B5EF4-FFF2-40B4-BE49-F238E27FC236}">
                  <a16:creationId xmlns:a16="http://schemas.microsoft.com/office/drawing/2014/main" id="{6988F2CB-741B-B83A-97E5-DB8C8F47DD17}"/>
                </a:ext>
              </a:extLst>
            </p:cNvPr>
            <p:cNvSpPr/>
            <p:nvPr/>
          </p:nvSpPr>
          <p:spPr>
            <a:xfrm>
              <a:off x="5317298" y="3146177"/>
              <a:ext cx="408657" cy="391630"/>
            </a:xfrm>
            <a:custGeom>
              <a:avLst/>
              <a:gdLst/>
              <a:ahLst/>
              <a:cxnLst/>
              <a:rect l="l" t="t" r="r" b="b"/>
              <a:pathLst>
                <a:path w="4876800" h="4673600" extrusionOk="0">
                  <a:moveTo>
                    <a:pt x="3556000" y="3048000"/>
                  </a:moveTo>
                  <a:cubicBezTo>
                    <a:pt x="3239211" y="3048000"/>
                    <a:pt x="2967330" y="3289808"/>
                    <a:pt x="2923032" y="3610661"/>
                  </a:cubicBezTo>
                  <a:cubicBezTo>
                    <a:pt x="2916123" y="3660851"/>
                    <a:pt x="2873248" y="3698240"/>
                    <a:pt x="2822448" y="3698240"/>
                  </a:cubicBezTo>
                  <a:cubicBezTo>
                    <a:pt x="2606853" y="3698240"/>
                    <a:pt x="2438400" y="3871570"/>
                    <a:pt x="2438400" y="4084320"/>
                  </a:cubicBezTo>
                  <a:cubicBezTo>
                    <a:pt x="2438400" y="4297274"/>
                    <a:pt x="2606853" y="4470400"/>
                    <a:pt x="2813914" y="4470400"/>
                  </a:cubicBezTo>
                  <a:lnTo>
                    <a:pt x="4192219" y="4470400"/>
                  </a:lnTo>
                  <a:cubicBezTo>
                    <a:pt x="4457802" y="4470400"/>
                    <a:pt x="4673600" y="4248506"/>
                    <a:pt x="4673600" y="3975811"/>
                  </a:cubicBezTo>
                  <a:cubicBezTo>
                    <a:pt x="4673600" y="3714090"/>
                    <a:pt x="4474870" y="3497681"/>
                    <a:pt x="4221277" y="3483254"/>
                  </a:cubicBezTo>
                  <a:cubicBezTo>
                    <a:pt x="4183482" y="3481019"/>
                    <a:pt x="4150157" y="3458261"/>
                    <a:pt x="4134510" y="3424123"/>
                  </a:cubicBezTo>
                  <a:cubicBezTo>
                    <a:pt x="4030472" y="3195726"/>
                    <a:pt x="3803294" y="3048000"/>
                    <a:pt x="3556000" y="3048000"/>
                  </a:cubicBezTo>
                  <a:close/>
                  <a:moveTo>
                    <a:pt x="3556000" y="2844800"/>
                  </a:moveTo>
                  <a:cubicBezTo>
                    <a:pt x="3863035" y="2844800"/>
                    <a:pt x="4146093" y="3016504"/>
                    <a:pt x="4293007" y="3286760"/>
                  </a:cubicBezTo>
                  <a:cubicBezTo>
                    <a:pt x="4624832" y="3335731"/>
                    <a:pt x="4876800" y="3627323"/>
                    <a:pt x="4876800" y="3975811"/>
                  </a:cubicBezTo>
                  <a:cubicBezTo>
                    <a:pt x="4876800" y="4360672"/>
                    <a:pt x="4569562" y="4673600"/>
                    <a:pt x="4192219" y="4673600"/>
                  </a:cubicBezTo>
                  <a:lnTo>
                    <a:pt x="2813914" y="4673600"/>
                  </a:lnTo>
                  <a:cubicBezTo>
                    <a:pt x="2494686" y="4673600"/>
                    <a:pt x="2235200" y="4409237"/>
                    <a:pt x="2235200" y="4084320"/>
                  </a:cubicBezTo>
                  <a:cubicBezTo>
                    <a:pt x="2235200" y="3785819"/>
                    <a:pt x="2454250" y="3538525"/>
                    <a:pt x="2737307" y="3500323"/>
                  </a:cubicBezTo>
                  <a:cubicBezTo>
                    <a:pt x="2827731" y="3121152"/>
                    <a:pt x="3166262" y="2844800"/>
                    <a:pt x="3556000" y="2844800"/>
                  </a:cubicBezTo>
                  <a:close/>
                  <a:moveTo>
                    <a:pt x="812800" y="2032000"/>
                  </a:moveTo>
                  <a:lnTo>
                    <a:pt x="812800" y="2844800"/>
                  </a:lnTo>
                  <a:lnTo>
                    <a:pt x="1219200" y="2844800"/>
                  </a:lnTo>
                  <a:lnTo>
                    <a:pt x="1219200" y="2032000"/>
                  </a:lnTo>
                  <a:close/>
                  <a:moveTo>
                    <a:pt x="2032000" y="1219200"/>
                  </a:moveTo>
                  <a:lnTo>
                    <a:pt x="2032000" y="2844800"/>
                  </a:lnTo>
                  <a:lnTo>
                    <a:pt x="2438400" y="2844800"/>
                  </a:lnTo>
                  <a:lnTo>
                    <a:pt x="2438400" y="1219200"/>
                  </a:lnTo>
                  <a:close/>
                  <a:moveTo>
                    <a:pt x="1930400" y="1016000"/>
                  </a:moveTo>
                  <a:lnTo>
                    <a:pt x="2540000" y="1016000"/>
                  </a:lnTo>
                  <a:cubicBezTo>
                    <a:pt x="2596083" y="1016000"/>
                    <a:pt x="2641600" y="1061517"/>
                    <a:pt x="2641600" y="1117600"/>
                  </a:cubicBezTo>
                  <a:lnTo>
                    <a:pt x="2641600" y="2946400"/>
                  </a:lnTo>
                  <a:cubicBezTo>
                    <a:pt x="2641600" y="3002483"/>
                    <a:pt x="2596083" y="3048000"/>
                    <a:pt x="2540000" y="3048000"/>
                  </a:cubicBezTo>
                  <a:lnTo>
                    <a:pt x="1930400" y="3048000"/>
                  </a:lnTo>
                  <a:lnTo>
                    <a:pt x="1320800" y="3048000"/>
                  </a:lnTo>
                  <a:lnTo>
                    <a:pt x="711200" y="3048000"/>
                  </a:lnTo>
                  <a:lnTo>
                    <a:pt x="508000" y="3048000"/>
                  </a:lnTo>
                  <a:cubicBezTo>
                    <a:pt x="451917" y="3048000"/>
                    <a:pt x="406400" y="3002483"/>
                    <a:pt x="406400" y="2946400"/>
                  </a:cubicBezTo>
                  <a:cubicBezTo>
                    <a:pt x="406400" y="2890317"/>
                    <a:pt x="451917" y="2844800"/>
                    <a:pt x="508000" y="2844800"/>
                  </a:cubicBezTo>
                  <a:lnTo>
                    <a:pt x="609600" y="2844800"/>
                  </a:lnTo>
                  <a:lnTo>
                    <a:pt x="609600" y="1930400"/>
                  </a:lnTo>
                  <a:cubicBezTo>
                    <a:pt x="609600" y="1874317"/>
                    <a:pt x="655117" y="1828800"/>
                    <a:pt x="711200" y="1828800"/>
                  </a:cubicBezTo>
                  <a:lnTo>
                    <a:pt x="1320800" y="1828800"/>
                  </a:lnTo>
                  <a:cubicBezTo>
                    <a:pt x="1376883" y="1828800"/>
                    <a:pt x="1422400" y="1874317"/>
                    <a:pt x="1422400" y="1930400"/>
                  </a:cubicBezTo>
                  <a:lnTo>
                    <a:pt x="1422400" y="2844800"/>
                  </a:lnTo>
                  <a:lnTo>
                    <a:pt x="1828800" y="2844800"/>
                  </a:lnTo>
                  <a:lnTo>
                    <a:pt x="1828800" y="1117600"/>
                  </a:lnTo>
                  <a:cubicBezTo>
                    <a:pt x="1828800" y="1061517"/>
                    <a:pt x="1874317" y="1016000"/>
                    <a:pt x="1930400" y="1016000"/>
                  </a:cubicBezTo>
                  <a:close/>
                  <a:moveTo>
                    <a:pt x="508000" y="0"/>
                  </a:moveTo>
                  <a:lnTo>
                    <a:pt x="2743200" y="0"/>
                  </a:lnTo>
                  <a:cubicBezTo>
                    <a:pt x="3023413" y="0"/>
                    <a:pt x="3251200" y="227787"/>
                    <a:pt x="3251200" y="508000"/>
                  </a:cubicBezTo>
                  <a:lnTo>
                    <a:pt x="3251200" y="2336800"/>
                  </a:lnTo>
                  <a:cubicBezTo>
                    <a:pt x="3251200" y="2392883"/>
                    <a:pt x="3205683" y="2438400"/>
                    <a:pt x="3149600" y="2438400"/>
                  </a:cubicBezTo>
                  <a:cubicBezTo>
                    <a:pt x="3093517" y="2438400"/>
                    <a:pt x="3048000" y="2392883"/>
                    <a:pt x="3048000" y="2336800"/>
                  </a:cubicBezTo>
                  <a:lnTo>
                    <a:pt x="3048000" y="508000"/>
                  </a:lnTo>
                  <a:cubicBezTo>
                    <a:pt x="3048000" y="339954"/>
                    <a:pt x="2911246" y="203200"/>
                    <a:pt x="2743200" y="203200"/>
                  </a:cubicBezTo>
                  <a:lnTo>
                    <a:pt x="508000" y="203200"/>
                  </a:lnTo>
                  <a:cubicBezTo>
                    <a:pt x="339954" y="203200"/>
                    <a:pt x="203200" y="339954"/>
                    <a:pt x="203200" y="508000"/>
                  </a:cubicBezTo>
                  <a:lnTo>
                    <a:pt x="203200" y="3759200"/>
                  </a:lnTo>
                  <a:cubicBezTo>
                    <a:pt x="203200" y="3927246"/>
                    <a:pt x="339954" y="4064000"/>
                    <a:pt x="508000" y="4064000"/>
                  </a:cubicBezTo>
                  <a:lnTo>
                    <a:pt x="1727200" y="4064000"/>
                  </a:lnTo>
                  <a:cubicBezTo>
                    <a:pt x="1783283" y="4064000"/>
                    <a:pt x="1828800" y="4109517"/>
                    <a:pt x="1828800" y="4165600"/>
                  </a:cubicBezTo>
                  <a:cubicBezTo>
                    <a:pt x="1828800" y="4221683"/>
                    <a:pt x="1783283" y="4267200"/>
                    <a:pt x="1727200" y="4267200"/>
                  </a:cubicBezTo>
                  <a:lnTo>
                    <a:pt x="508000" y="4267200"/>
                  </a:lnTo>
                  <a:cubicBezTo>
                    <a:pt x="227787" y="4267200"/>
                    <a:pt x="0" y="4039413"/>
                    <a:pt x="0" y="3759200"/>
                  </a:cubicBezTo>
                  <a:lnTo>
                    <a:pt x="0" y="508000"/>
                  </a:lnTo>
                  <a:cubicBezTo>
                    <a:pt x="0" y="227787"/>
                    <a:pt x="227787" y="0"/>
                    <a:pt x="508000" y="0"/>
                  </a:cubicBezTo>
                  <a:close/>
                </a:path>
              </a:pathLst>
            </a:custGeom>
            <a:solidFill>
              <a:schemeClr val="tx1"/>
            </a:solidFill>
            <a:ln>
              <a:noFill/>
            </a:ln>
          </p:spPr>
          <p:txBody>
            <a:bodyPr spcFirstLastPara="1" wrap="square" lIns="91425" tIns="45700" rIns="91425" bIns="45700" anchor="ctr" anchorCtr="0">
              <a:noAutofit/>
            </a:bodyPr>
            <a:lstStyle/>
            <a:p>
              <a:pPr>
                <a:buClr>
                  <a:srgbClr val="000000"/>
                </a:buClr>
                <a:buSzPts val="1800"/>
              </a:pPr>
              <a:endParaRPr lang="en-GB" kern="0" noProof="0">
                <a:solidFill>
                  <a:srgbClr val="FFFFFF"/>
                </a:solidFill>
                <a:latin typeface="Quattrocento Sans"/>
                <a:sym typeface="Quattrocento Sans"/>
              </a:endParaRPr>
            </a:p>
          </p:txBody>
        </p:sp>
        <p:cxnSp>
          <p:nvCxnSpPr>
            <p:cNvPr id="66" name="Google Shape;3008;p18">
              <a:extLst>
                <a:ext uri="{FF2B5EF4-FFF2-40B4-BE49-F238E27FC236}">
                  <a16:creationId xmlns:a16="http://schemas.microsoft.com/office/drawing/2014/main" id="{CF8D1F1C-2609-D325-5DD7-B1A8047C1298}"/>
                </a:ext>
              </a:extLst>
            </p:cNvPr>
            <p:cNvCxnSpPr>
              <a:cxnSpLocks/>
            </p:cNvCxnSpPr>
            <p:nvPr/>
          </p:nvCxnSpPr>
          <p:spPr>
            <a:xfrm>
              <a:off x="503456" y="3663874"/>
              <a:ext cx="6919761" cy="0"/>
            </a:xfrm>
            <a:prstGeom prst="straightConnector1">
              <a:avLst/>
            </a:prstGeom>
            <a:noFill/>
            <a:ln w="28575" cap="flat" cmpd="sng">
              <a:gradFill flip="none" rotWithShape="1">
                <a:gsLst>
                  <a:gs pos="25000">
                    <a:srgbClr val="0070C0"/>
                  </a:gs>
                  <a:gs pos="100000">
                    <a:srgbClr val="7DCCD1"/>
                  </a:gs>
                </a:gsLst>
                <a:lin ang="0" scaled="1"/>
                <a:tileRect/>
              </a:gradFill>
              <a:prstDash val="solid"/>
              <a:round/>
              <a:headEnd type="none" w="med" len="med"/>
              <a:tailEnd type="none" w="med" len="med"/>
            </a:ln>
          </p:spPr>
        </p:cxnSp>
        <p:sp>
          <p:nvSpPr>
            <p:cNvPr id="67" name="Google Shape;3000;p18">
              <a:extLst>
                <a:ext uri="{FF2B5EF4-FFF2-40B4-BE49-F238E27FC236}">
                  <a16:creationId xmlns:a16="http://schemas.microsoft.com/office/drawing/2014/main" id="{FE8718AA-B436-FAF0-FF4F-A6570B9CE4C0}"/>
                </a:ext>
              </a:extLst>
            </p:cNvPr>
            <p:cNvSpPr/>
            <p:nvPr/>
          </p:nvSpPr>
          <p:spPr>
            <a:xfrm>
              <a:off x="750104" y="3148119"/>
              <a:ext cx="402972" cy="403066"/>
            </a:xfrm>
            <a:custGeom>
              <a:avLst/>
              <a:gdLst/>
              <a:ahLst/>
              <a:cxnLst/>
              <a:rect l="l" t="t" r="r" b="b"/>
              <a:pathLst>
                <a:path w="4875640" h="4876800" extrusionOk="0">
                  <a:moveTo>
                    <a:pt x="660960" y="3795836"/>
                  </a:moveTo>
                  <a:lnTo>
                    <a:pt x="277179" y="4179675"/>
                  </a:lnTo>
                  <a:cubicBezTo>
                    <a:pt x="161479" y="4295394"/>
                    <a:pt x="161479" y="4483666"/>
                    <a:pt x="277179" y="4599385"/>
                  </a:cubicBezTo>
                  <a:cubicBezTo>
                    <a:pt x="333214" y="4655430"/>
                    <a:pt x="407729" y="4686300"/>
                    <a:pt x="486986" y="4686300"/>
                  </a:cubicBezTo>
                  <a:cubicBezTo>
                    <a:pt x="566234" y="4686300"/>
                    <a:pt x="640748" y="4655430"/>
                    <a:pt x="696784" y="4599385"/>
                  </a:cubicBezTo>
                  <a:lnTo>
                    <a:pt x="1080594" y="4215518"/>
                  </a:lnTo>
                  <a:lnTo>
                    <a:pt x="870558" y="4005453"/>
                  </a:lnTo>
                  <a:close/>
                  <a:moveTo>
                    <a:pt x="937938" y="3518830"/>
                  </a:moveTo>
                  <a:lnTo>
                    <a:pt x="795653" y="3661134"/>
                  </a:lnTo>
                  <a:lnTo>
                    <a:pt x="1005689" y="3871198"/>
                  </a:lnTo>
                  <a:lnTo>
                    <a:pt x="1215287" y="4080815"/>
                  </a:lnTo>
                  <a:lnTo>
                    <a:pt x="1357571" y="3938511"/>
                  </a:lnTo>
                  <a:close/>
                  <a:moveTo>
                    <a:pt x="1352580" y="3329778"/>
                  </a:moveTo>
                  <a:lnTo>
                    <a:pt x="1185435" y="3496942"/>
                  </a:lnTo>
                  <a:lnTo>
                    <a:pt x="1282485" y="3594002"/>
                  </a:lnTo>
                  <a:lnTo>
                    <a:pt x="1379450" y="3690976"/>
                  </a:lnTo>
                  <a:lnTo>
                    <a:pt x="1546614" y="3523793"/>
                  </a:lnTo>
                  <a:cubicBezTo>
                    <a:pt x="1477634" y="3463586"/>
                    <a:pt x="1412797" y="3398749"/>
                    <a:pt x="1352580" y="3329778"/>
                  </a:cubicBezTo>
                  <a:close/>
                  <a:moveTo>
                    <a:pt x="2355362" y="2585170"/>
                  </a:moveTo>
                  <a:cubicBezTo>
                    <a:pt x="2301861" y="2585170"/>
                    <a:pt x="2258341" y="2628709"/>
                    <a:pt x="2258341" y="2682220"/>
                  </a:cubicBezTo>
                  <a:lnTo>
                    <a:pt x="2258341" y="3227050"/>
                  </a:lnTo>
                  <a:cubicBezTo>
                    <a:pt x="2638274" y="3416284"/>
                    <a:pt x="3094655" y="3415798"/>
                    <a:pt x="3474531" y="3225755"/>
                  </a:cubicBezTo>
                  <a:lnTo>
                    <a:pt x="3474531" y="2682220"/>
                  </a:lnTo>
                  <a:cubicBezTo>
                    <a:pt x="3474531" y="2628709"/>
                    <a:pt x="3431011" y="2585170"/>
                    <a:pt x="3377509" y="2585170"/>
                  </a:cubicBezTo>
                  <a:close/>
                  <a:moveTo>
                    <a:pt x="4313078" y="1949259"/>
                  </a:moveTo>
                  <a:cubicBezTo>
                    <a:pt x="4333057" y="1947606"/>
                    <a:pt x="4353545" y="1952105"/>
                    <a:pt x="4371138" y="1963044"/>
                  </a:cubicBezTo>
                  <a:cubicBezTo>
                    <a:pt x="4403999" y="1983475"/>
                    <a:pt x="4421458" y="2022985"/>
                    <a:pt x="4414505" y="2061009"/>
                  </a:cubicBezTo>
                  <a:cubicBezTo>
                    <a:pt x="4406352" y="2105653"/>
                    <a:pt x="4366356" y="2139219"/>
                    <a:pt x="4320884" y="2139219"/>
                  </a:cubicBezTo>
                  <a:cubicBezTo>
                    <a:pt x="4280412" y="2139219"/>
                    <a:pt x="4243874" y="2112673"/>
                    <a:pt x="4230758" y="2074554"/>
                  </a:cubicBezTo>
                  <a:cubicBezTo>
                    <a:pt x="4218376" y="2038568"/>
                    <a:pt x="4229539" y="1997449"/>
                    <a:pt x="4258076" y="1972379"/>
                  </a:cubicBezTo>
                  <a:cubicBezTo>
                    <a:pt x="4273631" y="1958716"/>
                    <a:pt x="4293100" y="1950912"/>
                    <a:pt x="4313078" y="1949259"/>
                  </a:cubicBezTo>
                  <a:close/>
                  <a:moveTo>
                    <a:pt x="2866435" y="1123388"/>
                  </a:moveTo>
                  <a:cubicBezTo>
                    <a:pt x="2600945" y="1123388"/>
                    <a:pt x="2384956" y="1339415"/>
                    <a:pt x="2384956" y="1604943"/>
                  </a:cubicBezTo>
                  <a:cubicBezTo>
                    <a:pt x="2384956" y="1870472"/>
                    <a:pt x="2600945" y="2086499"/>
                    <a:pt x="2866435" y="2086499"/>
                  </a:cubicBezTo>
                  <a:cubicBezTo>
                    <a:pt x="3131925" y="2086499"/>
                    <a:pt x="3347915" y="1870472"/>
                    <a:pt x="3347915" y="1604943"/>
                  </a:cubicBezTo>
                  <a:cubicBezTo>
                    <a:pt x="3347924" y="1339415"/>
                    <a:pt x="3131925" y="1123388"/>
                    <a:pt x="2866435" y="1123388"/>
                  </a:cubicBezTo>
                  <a:close/>
                  <a:moveTo>
                    <a:pt x="2866435" y="932888"/>
                  </a:moveTo>
                  <a:cubicBezTo>
                    <a:pt x="3236967" y="932888"/>
                    <a:pt x="3538415" y="1234373"/>
                    <a:pt x="3538415" y="1604943"/>
                  </a:cubicBezTo>
                  <a:cubicBezTo>
                    <a:pt x="3538424" y="1975523"/>
                    <a:pt x="3236967" y="2276999"/>
                    <a:pt x="2866435" y="2276999"/>
                  </a:cubicBezTo>
                  <a:cubicBezTo>
                    <a:pt x="2495903" y="2276999"/>
                    <a:pt x="2194456" y="1975523"/>
                    <a:pt x="2194456" y="1604943"/>
                  </a:cubicBezTo>
                  <a:cubicBezTo>
                    <a:pt x="2194456" y="1234373"/>
                    <a:pt x="2495903" y="932888"/>
                    <a:pt x="2866435" y="932888"/>
                  </a:cubicBezTo>
                  <a:close/>
                  <a:moveTo>
                    <a:pt x="2867103" y="459409"/>
                  </a:moveTo>
                  <a:lnTo>
                    <a:pt x="2867855" y="459409"/>
                  </a:lnTo>
                  <a:cubicBezTo>
                    <a:pt x="3281688" y="459409"/>
                    <a:pt x="3670565" y="620467"/>
                    <a:pt x="3963059" y="912999"/>
                  </a:cubicBezTo>
                  <a:cubicBezTo>
                    <a:pt x="4131061" y="1081020"/>
                    <a:pt x="4255229" y="1279407"/>
                    <a:pt x="4332115" y="1502635"/>
                  </a:cubicBezTo>
                  <a:cubicBezTo>
                    <a:pt x="4349240" y="1552365"/>
                    <a:pt x="4322808" y="1606572"/>
                    <a:pt x="4273069" y="1623707"/>
                  </a:cubicBezTo>
                  <a:cubicBezTo>
                    <a:pt x="4223339" y="1640833"/>
                    <a:pt x="4169132" y="1614401"/>
                    <a:pt x="4151997" y="1564661"/>
                  </a:cubicBezTo>
                  <a:cubicBezTo>
                    <a:pt x="4084607" y="1369018"/>
                    <a:pt x="3975717" y="1195082"/>
                    <a:pt x="3828347" y="1047692"/>
                  </a:cubicBezTo>
                  <a:cubicBezTo>
                    <a:pt x="3571848" y="791165"/>
                    <a:pt x="3230758" y="649909"/>
                    <a:pt x="2867855" y="649909"/>
                  </a:cubicBezTo>
                  <a:lnTo>
                    <a:pt x="2867198" y="649909"/>
                  </a:lnTo>
                  <a:cubicBezTo>
                    <a:pt x="2504000" y="650080"/>
                    <a:pt x="2162472" y="791708"/>
                    <a:pt x="1905525" y="1048692"/>
                  </a:cubicBezTo>
                  <a:cubicBezTo>
                    <a:pt x="1375107" y="1579168"/>
                    <a:pt x="1374659" y="2441867"/>
                    <a:pt x="1904525" y="2971799"/>
                  </a:cubicBezTo>
                  <a:cubicBezTo>
                    <a:pt x="1955455" y="3022739"/>
                    <a:pt x="2010072" y="3069383"/>
                    <a:pt x="2067841" y="3111369"/>
                  </a:cubicBezTo>
                  <a:lnTo>
                    <a:pt x="2067841" y="2682211"/>
                  </a:lnTo>
                  <a:cubicBezTo>
                    <a:pt x="2067841" y="2523657"/>
                    <a:pt x="2196819" y="2394661"/>
                    <a:pt x="2355362" y="2394661"/>
                  </a:cubicBezTo>
                  <a:lnTo>
                    <a:pt x="3377519" y="2394661"/>
                  </a:lnTo>
                  <a:cubicBezTo>
                    <a:pt x="3536053" y="2394661"/>
                    <a:pt x="3665040" y="2523657"/>
                    <a:pt x="3665040" y="2682211"/>
                  </a:cubicBezTo>
                  <a:lnTo>
                    <a:pt x="3665040" y="3109721"/>
                  </a:lnTo>
                  <a:cubicBezTo>
                    <a:pt x="3722400" y="3067926"/>
                    <a:pt x="3776674" y="3021501"/>
                    <a:pt x="3827366" y="2970809"/>
                  </a:cubicBezTo>
                  <a:cubicBezTo>
                    <a:pt x="3973832" y="2824257"/>
                    <a:pt x="4082426" y="2651607"/>
                    <a:pt x="4150101" y="2457678"/>
                  </a:cubicBezTo>
                  <a:cubicBezTo>
                    <a:pt x="4167427" y="2408015"/>
                    <a:pt x="4221739" y="2381783"/>
                    <a:pt x="4271412" y="2399137"/>
                  </a:cubicBezTo>
                  <a:cubicBezTo>
                    <a:pt x="4321075" y="2416473"/>
                    <a:pt x="4347288" y="2470784"/>
                    <a:pt x="4329943" y="2520429"/>
                  </a:cubicBezTo>
                  <a:cubicBezTo>
                    <a:pt x="4252752" y="2741637"/>
                    <a:pt x="4128975" y="2938471"/>
                    <a:pt x="3962078" y="3105473"/>
                  </a:cubicBezTo>
                  <a:cubicBezTo>
                    <a:pt x="3858750" y="3208819"/>
                    <a:pt x="3742279" y="3296650"/>
                    <a:pt x="3615873" y="3366553"/>
                  </a:cubicBezTo>
                  <a:cubicBezTo>
                    <a:pt x="3615844" y="3366573"/>
                    <a:pt x="3615815" y="3366582"/>
                    <a:pt x="3615787" y="3366601"/>
                  </a:cubicBezTo>
                  <a:cubicBezTo>
                    <a:pt x="3387654" y="3492903"/>
                    <a:pt x="3128564" y="3559797"/>
                    <a:pt x="2866522" y="3560054"/>
                  </a:cubicBezTo>
                  <a:lnTo>
                    <a:pt x="2865007" y="3560054"/>
                  </a:lnTo>
                  <a:cubicBezTo>
                    <a:pt x="2603451" y="3560054"/>
                    <a:pt x="2344904" y="3493674"/>
                    <a:pt x="2117152" y="3368049"/>
                  </a:cubicBezTo>
                  <a:cubicBezTo>
                    <a:pt x="2117123" y="3368039"/>
                    <a:pt x="2117095" y="3368030"/>
                    <a:pt x="2117066" y="3368011"/>
                  </a:cubicBezTo>
                  <a:cubicBezTo>
                    <a:pt x="1990107" y="3297954"/>
                    <a:pt x="1873264" y="3209972"/>
                    <a:pt x="1769804" y="3106492"/>
                  </a:cubicBezTo>
                  <a:cubicBezTo>
                    <a:pt x="1165680" y="2502293"/>
                    <a:pt x="1166128" y="1518741"/>
                    <a:pt x="1770804" y="913990"/>
                  </a:cubicBezTo>
                  <a:cubicBezTo>
                    <a:pt x="2063707" y="621048"/>
                    <a:pt x="2453051" y="459609"/>
                    <a:pt x="2867103" y="459409"/>
                  </a:cubicBezTo>
                  <a:close/>
                  <a:moveTo>
                    <a:pt x="2866284" y="190500"/>
                  </a:moveTo>
                  <a:cubicBezTo>
                    <a:pt x="1863377" y="190500"/>
                    <a:pt x="1047447" y="1006545"/>
                    <a:pt x="1047437" y="2009594"/>
                  </a:cubicBezTo>
                  <a:cubicBezTo>
                    <a:pt x="1047437" y="3012643"/>
                    <a:pt x="1863368" y="3828688"/>
                    <a:pt x="2866284" y="3828688"/>
                  </a:cubicBezTo>
                  <a:cubicBezTo>
                    <a:pt x="3869199" y="3828688"/>
                    <a:pt x="4685130" y="3012643"/>
                    <a:pt x="4685130" y="2009594"/>
                  </a:cubicBezTo>
                  <a:cubicBezTo>
                    <a:pt x="4685130" y="1006545"/>
                    <a:pt x="3869190" y="190500"/>
                    <a:pt x="2866284" y="190500"/>
                  </a:cubicBezTo>
                  <a:close/>
                  <a:moveTo>
                    <a:pt x="2866284" y="0"/>
                  </a:moveTo>
                  <a:cubicBezTo>
                    <a:pt x="3974241" y="0"/>
                    <a:pt x="4875640" y="901513"/>
                    <a:pt x="4875640" y="2009604"/>
                  </a:cubicBezTo>
                  <a:cubicBezTo>
                    <a:pt x="4875640" y="3117694"/>
                    <a:pt x="3974251" y="4019198"/>
                    <a:pt x="2866293" y="4019198"/>
                  </a:cubicBezTo>
                  <a:cubicBezTo>
                    <a:pt x="2430420" y="4019198"/>
                    <a:pt x="2026541" y="3879656"/>
                    <a:pt x="1696909" y="3642922"/>
                  </a:cubicBezTo>
                  <a:lnTo>
                    <a:pt x="1514153" y="3825697"/>
                  </a:lnTo>
                  <a:lnTo>
                    <a:pt x="1559625" y="3871170"/>
                  </a:lnTo>
                  <a:cubicBezTo>
                    <a:pt x="1596810" y="3908365"/>
                    <a:pt x="1596810" y="3968667"/>
                    <a:pt x="1559625" y="4005863"/>
                  </a:cubicBezTo>
                  <a:lnTo>
                    <a:pt x="1282648" y="4282878"/>
                  </a:lnTo>
                  <a:lnTo>
                    <a:pt x="1282638" y="4282878"/>
                  </a:lnTo>
                  <a:lnTo>
                    <a:pt x="831496" y="4734078"/>
                  </a:lnTo>
                  <a:cubicBezTo>
                    <a:pt x="739484" y="4826108"/>
                    <a:pt x="617126" y="4876800"/>
                    <a:pt x="486986" y="4876800"/>
                  </a:cubicBezTo>
                  <a:cubicBezTo>
                    <a:pt x="356846" y="4876800"/>
                    <a:pt x="234488" y="4826118"/>
                    <a:pt x="142467" y="4734078"/>
                  </a:cubicBezTo>
                  <a:cubicBezTo>
                    <a:pt x="-47490" y="4544092"/>
                    <a:pt x="-47490" y="4234968"/>
                    <a:pt x="142467" y="4044982"/>
                  </a:cubicBezTo>
                  <a:lnTo>
                    <a:pt x="593514" y="3593878"/>
                  </a:lnTo>
                  <a:cubicBezTo>
                    <a:pt x="593542" y="3593849"/>
                    <a:pt x="593571" y="3593811"/>
                    <a:pt x="593599" y="3593783"/>
                  </a:cubicBezTo>
                  <a:lnTo>
                    <a:pt x="870577" y="3316758"/>
                  </a:lnTo>
                  <a:cubicBezTo>
                    <a:pt x="888446" y="3298898"/>
                    <a:pt x="912677" y="3288859"/>
                    <a:pt x="937938" y="3288859"/>
                  </a:cubicBezTo>
                  <a:cubicBezTo>
                    <a:pt x="963207" y="3288859"/>
                    <a:pt x="987430" y="3298898"/>
                    <a:pt x="1005299" y="3316758"/>
                  </a:cubicBezTo>
                  <a:lnTo>
                    <a:pt x="1050752" y="3362220"/>
                  </a:lnTo>
                  <a:lnTo>
                    <a:pt x="1233451" y="3179502"/>
                  </a:lnTo>
                  <a:cubicBezTo>
                    <a:pt x="996583" y="2849766"/>
                    <a:pt x="856947" y="2445687"/>
                    <a:pt x="856947" y="2009594"/>
                  </a:cubicBezTo>
                  <a:cubicBezTo>
                    <a:pt x="856947" y="901503"/>
                    <a:pt x="1758326" y="0"/>
                    <a:pt x="2866284" y="0"/>
                  </a:cubicBezTo>
                  <a:close/>
                </a:path>
              </a:pathLst>
            </a:custGeom>
            <a:solidFill>
              <a:schemeClr val="tx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lang="en-GB" sz="1800" b="0" i="0" u="none" strike="noStrike" kern="0" cap="none" spc="0" normalizeH="0" baseline="0" noProof="0">
                <a:ln>
                  <a:noFill/>
                </a:ln>
                <a:solidFill>
                  <a:srgbClr val="FFFFFF"/>
                </a:solidFill>
                <a:effectLst/>
                <a:uLnTx/>
                <a:uFillTx/>
                <a:latin typeface="Quattrocento Sans"/>
                <a:ea typeface="Quattrocento Sans"/>
                <a:cs typeface="Quattrocento Sans"/>
                <a:sym typeface="Quattrocento Sans"/>
              </a:endParaRPr>
            </a:p>
          </p:txBody>
        </p:sp>
        <p:sp>
          <p:nvSpPr>
            <p:cNvPr id="68" name="Google Shape;3007;p18">
              <a:extLst>
                <a:ext uri="{FF2B5EF4-FFF2-40B4-BE49-F238E27FC236}">
                  <a16:creationId xmlns:a16="http://schemas.microsoft.com/office/drawing/2014/main" id="{37E6D148-8938-CAAF-10BA-15BBBA4FDCB6}"/>
                </a:ext>
              </a:extLst>
            </p:cNvPr>
            <p:cNvSpPr/>
            <p:nvPr/>
          </p:nvSpPr>
          <p:spPr>
            <a:xfrm>
              <a:off x="461783" y="3398275"/>
              <a:ext cx="1487949" cy="597401"/>
            </a:xfrm>
            <a:prstGeom prst="rect">
              <a:avLst/>
            </a:prstGeom>
            <a:noFill/>
            <a:ln>
              <a:noFill/>
            </a:ln>
          </p:spPr>
          <p:txBody>
            <a:bodyPr spcFirstLastPara="1" wrap="square" lIns="108000" tIns="0" rIns="0" bIns="108000" anchor="b" anchorCtr="0">
              <a:noAutofit/>
            </a:bodyPr>
            <a:lstStyle/>
            <a:p>
              <a:pPr lvl="0">
                <a:buClr>
                  <a:srgbClr val="000000"/>
                </a:buClr>
                <a:defRPr/>
              </a:pPr>
              <a:r>
                <a:rPr lang="en-GB" sz="1050" b="1" kern="0" noProof="0">
                  <a:latin typeface="Quattrocento Sans"/>
                  <a:ea typeface="Quattrocento Sans"/>
                  <a:cs typeface="Quattrocento Sans"/>
                  <a:sym typeface="Quattrocento Sans"/>
                </a:rPr>
                <a:t>Evaluation</a:t>
              </a:r>
              <a:endParaRPr kumimoji="0" lang="en-GB" sz="1000" b="0" i="0" u="none" strike="noStrike" kern="0" cap="none" spc="0" normalizeH="0" baseline="0" noProof="0">
                <a:ln>
                  <a:noFill/>
                </a:ln>
                <a:effectLst/>
                <a:uLnTx/>
                <a:uFillTx/>
                <a:latin typeface="Arial"/>
                <a:cs typeface="Arial"/>
                <a:sym typeface="Arial"/>
              </a:endParaRPr>
            </a:p>
          </p:txBody>
        </p:sp>
        <p:sp>
          <p:nvSpPr>
            <p:cNvPr id="70" name="Google Shape;3009;p18">
              <a:extLst>
                <a:ext uri="{FF2B5EF4-FFF2-40B4-BE49-F238E27FC236}">
                  <a16:creationId xmlns:a16="http://schemas.microsoft.com/office/drawing/2014/main" id="{4528725E-460A-BFF2-829E-28731B992927}"/>
                </a:ext>
              </a:extLst>
            </p:cNvPr>
            <p:cNvSpPr txBox="1"/>
            <p:nvPr/>
          </p:nvSpPr>
          <p:spPr>
            <a:xfrm>
              <a:off x="577026" y="3902344"/>
              <a:ext cx="850119" cy="584735"/>
            </a:xfrm>
            <a:prstGeom prst="rect">
              <a:avLst/>
            </a:prstGeom>
            <a:noFill/>
            <a:ln>
              <a:noFill/>
            </a:ln>
          </p:spPr>
          <p:txBody>
            <a:bodyPr spcFirstLastPara="1" wrap="square" lIns="0" tIns="45700" rIns="0" bIns="45700" anchor="t" anchorCtr="0">
              <a:spAutoFit/>
            </a:bodyPr>
            <a:lstStyle/>
            <a:p>
              <a:pPr lvl="0">
                <a:buClr>
                  <a:srgbClr val="FFFFFF"/>
                </a:buClr>
                <a:buSzPts val="1100"/>
                <a:defRPr/>
              </a:pPr>
              <a:r>
                <a:rPr lang="en-GB" sz="800" kern="0" noProof="0">
                  <a:latin typeface="Quattrocento Sans"/>
                  <a:ea typeface="Quattrocento Sans"/>
                  <a:cs typeface="Quattrocento Sans"/>
                  <a:sym typeface="Quattrocento Sans"/>
                </a:rPr>
                <a:t>We evaluate and define a roadmap just for your company</a:t>
              </a:r>
              <a:endParaRPr kumimoji="0" lang="en-GB" sz="1000" b="0" i="0" u="none" strike="noStrike" kern="0" cap="none" spc="0" normalizeH="0" baseline="0" noProof="0">
                <a:ln>
                  <a:noFill/>
                </a:ln>
                <a:effectLst/>
                <a:uLnTx/>
                <a:uFillTx/>
                <a:latin typeface="Arial"/>
                <a:cs typeface="Arial"/>
                <a:sym typeface="Arial"/>
              </a:endParaRPr>
            </a:p>
          </p:txBody>
        </p:sp>
        <p:sp>
          <p:nvSpPr>
            <p:cNvPr id="71" name="Google Shape;3004;p18">
              <a:extLst>
                <a:ext uri="{FF2B5EF4-FFF2-40B4-BE49-F238E27FC236}">
                  <a16:creationId xmlns:a16="http://schemas.microsoft.com/office/drawing/2014/main" id="{F9AFCC67-2E9D-64CA-EEF6-FD824643167D}"/>
                </a:ext>
              </a:extLst>
            </p:cNvPr>
            <p:cNvSpPr/>
            <p:nvPr/>
          </p:nvSpPr>
          <p:spPr>
            <a:xfrm>
              <a:off x="4441515" y="3107650"/>
              <a:ext cx="360906" cy="400774"/>
            </a:xfrm>
            <a:custGeom>
              <a:avLst/>
              <a:gdLst/>
              <a:ahLst/>
              <a:cxnLst/>
              <a:rect l="l" t="t" r="r" b="b"/>
              <a:pathLst>
                <a:path w="4876448" h="4876790" extrusionOk="0">
                  <a:moveTo>
                    <a:pt x="552402" y="3962466"/>
                  </a:moveTo>
                  <a:cubicBezTo>
                    <a:pt x="352844" y="3962466"/>
                    <a:pt x="190481" y="4124829"/>
                    <a:pt x="190481" y="4324388"/>
                  </a:cubicBezTo>
                  <a:cubicBezTo>
                    <a:pt x="190481" y="4523946"/>
                    <a:pt x="352844" y="4686309"/>
                    <a:pt x="552402" y="4686309"/>
                  </a:cubicBezTo>
                  <a:cubicBezTo>
                    <a:pt x="751961" y="4686309"/>
                    <a:pt x="914324" y="4523946"/>
                    <a:pt x="914324" y="4324388"/>
                  </a:cubicBezTo>
                  <a:cubicBezTo>
                    <a:pt x="914324" y="4124829"/>
                    <a:pt x="751961" y="3962466"/>
                    <a:pt x="552402" y="3962466"/>
                  </a:cubicBezTo>
                  <a:close/>
                  <a:moveTo>
                    <a:pt x="4171645" y="3657686"/>
                  </a:moveTo>
                  <a:cubicBezTo>
                    <a:pt x="3888048" y="3657686"/>
                    <a:pt x="3657334" y="3888401"/>
                    <a:pt x="3657334" y="4171998"/>
                  </a:cubicBezTo>
                  <a:cubicBezTo>
                    <a:pt x="3657334" y="4455596"/>
                    <a:pt x="3888048" y="4686310"/>
                    <a:pt x="4171645" y="4686310"/>
                  </a:cubicBezTo>
                  <a:cubicBezTo>
                    <a:pt x="4455234" y="4686310"/>
                    <a:pt x="4685948" y="4455596"/>
                    <a:pt x="4685958" y="4171998"/>
                  </a:cubicBezTo>
                  <a:cubicBezTo>
                    <a:pt x="4685958" y="3888401"/>
                    <a:pt x="4455243" y="3657686"/>
                    <a:pt x="4171645" y="3657686"/>
                  </a:cubicBezTo>
                  <a:close/>
                  <a:moveTo>
                    <a:pt x="1511975" y="3269525"/>
                  </a:moveTo>
                  <a:cubicBezTo>
                    <a:pt x="1536349" y="3269525"/>
                    <a:pt x="1560724" y="3278824"/>
                    <a:pt x="1579321" y="3297421"/>
                  </a:cubicBezTo>
                  <a:cubicBezTo>
                    <a:pt x="1616516" y="3334616"/>
                    <a:pt x="1616516" y="3394929"/>
                    <a:pt x="1579321" y="3432124"/>
                  </a:cubicBezTo>
                  <a:lnTo>
                    <a:pt x="1004249" y="4007196"/>
                  </a:lnTo>
                  <a:cubicBezTo>
                    <a:pt x="1067505" y="4097035"/>
                    <a:pt x="1104805" y="4206402"/>
                    <a:pt x="1104805" y="4324388"/>
                  </a:cubicBezTo>
                  <a:cubicBezTo>
                    <a:pt x="1104805" y="4628978"/>
                    <a:pt x="856993" y="4876790"/>
                    <a:pt x="552402" y="4876790"/>
                  </a:cubicBezTo>
                  <a:cubicBezTo>
                    <a:pt x="247812" y="4876790"/>
                    <a:pt x="0" y="4628978"/>
                    <a:pt x="0" y="4324388"/>
                  </a:cubicBezTo>
                  <a:cubicBezTo>
                    <a:pt x="0" y="4019797"/>
                    <a:pt x="247812" y="3771985"/>
                    <a:pt x="552402" y="3771985"/>
                  </a:cubicBezTo>
                  <a:cubicBezTo>
                    <a:pt x="670370" y="3771985"/>
                    <a:pt x="779717" y="3809276"/>
                    <a:pt x="869547" y="3872503"/>
                  </a:cubicBezTo>
                  <a:lnTo>
                    <a:pt x="1444628" y="3297421"/>
                  </a:lnTo>
                  <a:cubicBezTo>
                    <a:pt x="1463226" y="3278824"/>
                    <a:pt x="1487600" y="3269525"/>
                    <a:pt x="1511975" y="3269525"/>
                  </a:cubicBezTo>
                  <a:close/>
                  <a:moveTo>
                    <a:pt x="1738189" y="3043323"/>
                  </a:moveTo>
                  <a:cubicBezTo>
                    <a:pt x="1763231" y="3043323"/>
                    <a:pt x="1787805" y="3053515"/>
                    <a:pt x="1805522" y="3071231"/>
                  </a:cubicBezTo>
                  <a:cubicBezTo>
                    <a:pt x="1823229" y="3088938"/>
                    <a:pt x="1833430" y="3113522"/>
                    <a:pt x="1833430" y="3138563"/>
                  </a:cubicBezTo>
                  <a:cubicBezTo>
                    <a:pt x="1833430" y="3163605"/>
                    <a:pt x="1823238" y="3188179"/>
                    <a:pt x="1805522" y="3205896"/>
                  </a:cubicBezTo>
                  <a:cubicBezTo>
                    <a:pt x="1787815" y="3223612"/>
                    <a:pt x="1763240" y="3233804"/>
                    <a:pt x="1738189" y="3233804"/>
                  </a:cubicBezTo>
                  <a:cubicBezTo>
                    <a:pt x="1713148" y="3233804"/>
                    <a:pt x="1688574" y="3223612"/>
                    <a:pt x="1670857" y="3205896"/>
                  </a:cubicBezTo>
                  <a:cubicBezTo>
                    <a:pt x="1653141" y="3188189"/>
                    <a:pt x="1642949" y="3163605"/>
                    <a:pt x="1642949" y="3138563"/>
                  </a:cubicBezTo>
                  <a:cubicBezTo>
                    <a:pt x="1642949" y="3113522"/>
                    <a:pt x="1653141" y="3088948"/>
                    <a:pt x="1670857" y="3071231"/>
                  </a:cubicBezTo>
                  <a:cubicBezTo>
                    <a:pt x="1688564" y="3053515"/>
                    <a:pt x="1713148" y="3043323"/>
                    <a:pt x="1738189" y="3043323"/>
                  </a:cubicBezTo>
                  <a:close/>
                  <a:moveTo>
                    <a:pt x="2438210" y="1924222"/>
                  </a:moveTo>
                  <a:cubicBezTo>
                    <a:pt x="2154612" y="1924222"/>
                    <a:pt x="1923898" y="2154937"/>
                    <a:pt x="1923898" y="2438534"/>
                  </a:cubicBezTo>
                  <a:cubicBezTo>
                    <a:pt x="1923898" y="2722131"/>
                    <a:pt x="2154612" y="2952846"/>
                    <a:pt x="2438210" y="2952846"/>
                  </a:cubicBezTo>
                  <a:cubicBezTo>
                    <a:pt x="2721807" y="2952846"/>
                    <a:pt x="2952522" y="2722122"/>
                    <a:pt x="2952522" y="2438534"/>
                  </a:cubicBezTo>
                  <a:cubicBezTo>
                    <a:pt x="2952522" y="2154937"/>
                    <a:pt x="2721807" y="1924222"/>
                    <a:pt x="2438210" y="1924222"/>
                  </a:cubicBezTo>
                  <a:close/>
                  <a:moveTo>
                    <a:pt x="4324026" y="1162289"/>
                  </a:moveTo>
                  <a:cubicBezTo>
                    <a:pt x="4124468" y="1162289"/>
                    <a:pt x="3962105" y="1324642"/>
                    <a:pt x="3962105" y="1524210"/>
                  </a:cubicBezTo>
                  <a:cubicBezTo>
                    <a:pt x="3962105" y="1723768"/>
                    <a:pt x="4124468" y="1886132"/>
                    <a:pt x="4324026" y="1886132"/>
                  </a:cubicBezTo>
                  <a:cubicBezTo>
                    <a:pt x="4523585" y="1886132"/>
                    <a:pt x="4685948" y="1723768"/>
                    <a:pt x="4685948" y="1524210"/>
                  </a:cubicBezTo>
                  <a:cubicBezTo>
                    <a:pt x="4685948" y="1324652"/>
                    <a:pt x="4523585" y="1162289"/>
                    <a:pt x="4324026" y="1162289"/>
                  </a:cubicBezTo>
                  <a:close/>
                  <a:moveTo>
                    <a:pt x="2438210" y="1044293"/>
                  </a:moveTo>
                  <a:cubicBezTo>
                    <a:pt x="2364677" y="1044293"/>
                    <a:pt x="2304869" y="1104110"/>
                    <a:pt x="2304869" y="1177633"/>
                  </a:cubicBezTo>
                  <a:cubicBezTo>
                    <a:pt x="2304869" y="1251166"/>
                    <a:pt x="2364686" y="1310974"/>
                    <a:pt x="2438210" y="1310974"/>
                  </a:cubicBezTo>
                  <a:cubicBezTo>
                    <a:pt x="2511743" y="1310974"/>
                    <a:pt x="2571550" y="1251157"/>
                    <a:pt x="2571550" y="1177633"/>
                  </a:cubicBezTo>
                  <a:cubicBezTo>
                    <a:pt x="2571550" y="1104100"/>
                    <a:pt x="2511733" y="1044293"/>
                    <a:pt x="2438210" y="1044293"/>
                  </a:cubicBezTo>
                  <a:close/>
                  <a:moveTo>
                    <a:pt x="1265665" y="201171"/>
                  </a:moveTo>
                  <a:cubicBezTo>
                    <a:pt x="1290038" y="201114"/>
                    <a:pt x="1314432" y="210355"/>
                    <a:pt x="1333072" y="228905"/>
                  </a:cubicBezTo>
                  <a:lnTo>
                    <a:pt x="1336492" y="232343"/>
                  </a:lnTo>
                  <a:cubicBezTo>
                    <a:pt x="1373515" y="269719"/>
                    <a:pt x="1373230" y="330022"/>
                    <a:pt x="1335844" y="367036"/>
                  </a:cubicBezTo>
                  <a:cubicBezTo>
                    <a:pt x="1317280" y="385439"/>
                    <a:pt x="1293048" y="394621"/>
                    <a:pt x="1268826" y="394621"/>
                  </a:cubicBezTo>
                  <a:cubicBezTo>
                    <a:pt x="1244309" y="394621"/>
                    <a:pt x="1219791" y="385210"/>
                    <a:pt x="1201161" y="366408"/>
                  </a:cubicBezTo>
                  <a:lnTo>
                    <a:pt x="1198703" y="363922"/>
                  </a:lnTo>
                  <a:cubicBezTo>
                    <a:pt x="1161413" y="326812"/>
                    <a:pt x="1161270" y="266519"/>
                    <a:pt x="1198379" y="229229"/>
                  </a:cubicBezTo>
                  <a:cubicBezTo>
                    <a:pt x="1216939" y="210584"/>
                    <a:pt x="1241292" y="201228"/>
                    <a:pt x="1265665" y="201171"/>
                  </a:cubicBezTo>
                  <a:close/>
                  <a:moveTo>
                    <a:pt x="760997" y="211"/>
                  </a:moveTo>
                  <a:cubicBezTo>
                    <a:pt x="826967" y="-1323"/>
                    <a:pt x="893827" y="5501"/>
                    <a:pt x="960187" y="21079"/>
                  </a:cubicBezTo>
                  <a:cubicBezTo>
                    <a:pt x="1011393" y="33109"/>
                    <a:pt x="1043159" y="84363"/>
                    <a:pt x="1031139" y="135570"/>
                  </a:cubicBezTo>
                  <a:cubicBezTo>
                    <a:pt x="1019109" y="186786"/>
                    <a:pt x="967826" y="218523"/>
                    <a:pt x="916648" y="206522"/>
                  </a:cubicBezTo>
                  <a:cubicBezTo>
                    <a:pt x="715871" y="159392"/>
                    <a:pt x="509083" y="218171"/>
                    <a:pt x="363474" y="363789"/>
                  </a:cubicBezTo>
                  <a:cubicBezTo>
                    <a:pt x="133236" y="594027"/>
                    <a:pt x="133236" y="968655"/>
                    <a:pt x="363474" y="1198884"/>
                  </a:cubicBezTo>
                  <a:cubicBezTo>
                    <a:pt x="593160" y="1428579"/>
                    <a:pt x="966559" y="1429074"/>
                    <a:pt x="1196921" y="1200446"/>
                  </a:cubicBezTo>
                  <a:cubicBezTo>
                    <a:pt x="1197436" y="1199903"/>
                    <a:pt x="1197893" y="1199312"/>
                    <a:pt x="1198426" y="1198779"/>
                  </a:cubicBezTo>
                  <a:cubicBezTo>
                    <a:pt x="1199036" y="1198169"/>
                    <a:pt x="1199693" y="1197665"/>
                    <a:pt x="1200312" y="1197074"/>
                  </a:cubicBezTo>
                  <a:cubicBezTo>
                    <a:pt x="1348426" y="1047684"/>
                    <a:pt x="1406090" y="828990"/>
                    <a:pt x="1350750" y="625641"/>
                  </a:cubicBezTo>
                  <a:cubicBezTo>
                    <a:pt x="1336939" y="574882"/>
                    <a:pt x="1366876" y="522542"/>
                    <a:pt x="1417635" y="508731"/>
                  </a:cubicBezTo>
                  <a:cubicBezTo>
                    <a:pt x="1468374" y="494891"/>
                    <a:pt x="1520724" y="524847"/>
                    <a:pt x="1534544" y="575615"/>
                  </a:cubicBezTo>
                  <a:cubicBezTo>
                    <a:pt x="1599572" y="814569"/>
                    <a:pt x="1546508" y="1069563"/>
                    <a:pt x="1396384" y="1262034"/>
                  </a:cubicBezTo>
                  <a:lnTo>
                    <a:pt x="2012061" y="1877711"/>
                  </a:lnTo>
                  <a:cubicBezTo>
                    <a:pt x="2106587" y="1805702"/>
                    <a:pt x="2219773" y="1757106"/>
                    <a:pt x="2342998" y="1740380"/>
                  </a:cubicBezTo>
                  <a:lnTo>
                    <a:pt x="2342998" y="1487177"/>
                  </a:lnTo>
                  <a:cubicBezTo>
                    <a:pt x="2210781" y="1446419"/>
                    <a:pt x="2114417" y="1323099"/>
                    <a:pt x="2114417" y="1177672"/>
                  </a:cubicBezTo>
                  <a:cubicBezTo>
                    <a:pt x="2114417" y="999116"/>
                    <a:pt x="2259683" y="853850"/>
                    <a:pt x="2438238" y="853850"/>
                  </a:cubicBezTo>
                  <a:cubicBezTo>
                    <a:pt x="2616794" y="853850"/>
                    <a:pt x="2762060" y="999106"/>
                    <a:pt x="2762060" y="1177672"/>
                  </a:cubicBezTo>
                  <a:cubicBezTo>
                    <a:pt x="2762060" y="1323080"/>
                    <a:pt x="2665695" y="1446400"/>
                    <a:pt x="2533479" y="1487177"/>
                  </a:cubicBezTo>
                  <a:lnTo>
                    <a:pt x="2533479" y="1740380"/>
                  </a:lnTo>
                  <a:cubicBezTo>
                    <a:pt x="2738066" y="1768155"/>
                    <a:pt x="2915031" y="1883912"/>
                    <a:pt x="3024778" y="2048333"/>
                  </a:cubicBezTo>
                  <a:lnTo>
                    <a:pt x="3792979" y="1675877"/>
                  </a:lnTo>
                  <a:cubicBezTo>
                    <a:pt x="3779187" y="1627652"/>
                    <a:pt x="3771643" y="1576826"/>
                    <a:pt x="3771643" y="1524229"/>
                  </a:cubicBezTo>
                  <a:cubicBezTo>
                    <a:pt x="3771643" y="1219639"/>
                    <a:pt x="4019455" y="971827"/>
                    <a:pt x="4324046" y="971827"/>
                  </a:cubicBezTo>
                  <a:cubicBezTo>
                    <a:pt x="4628636" y="971827"/>
                    <a:pt x="4876448" y="1219639"/>
                    <a:pt x="4876448" y="1524229"/>
                  </a:cubicBezTo>
                  <a:cubicBezTo>
                    <a:pt x="4876448" y="1828820"/>
                    <a:pt x="4628636" y="2076632"/>
                    <a:pt x="4324046" y="2076632"/>
                  </a:cubicBezTo>
                  <a:cubicBezTo>
                    <a:pt x="4139956" y="2076632"/>
                    <a:pt x="3976716" y="1986030"/>
                    <a:pt x="3876285" y="1847165"/>
                  </a:cubicBezTo>
                  <a:lnTo>
                    <a:pt x="3108036" y="2219640"/>
                  </a:lnTo>
                  <a:cubicBezTo>
                    <a:pt x="3130639" y="2288591"/>
                    <a:pt x="3143022" y="2362134"/>
                    <a:pt x="3143022" y="2438543"/>
                  </a:cubicBezTo>
                  <a:cubicBezTo>
                    <a:pt x="3143022" y="2598582"/>
                    <a:pt x="3089291" y="2746277"/>
                    <a:pt x="2999070" y="2864721"/>
                  </a:cubicBezTo>
                  <a:lnTo>
                    <a:pt x="3745487" y="3611138"/>
                  </a:lnTo>
                  <a:cubicBezTo>
                    <a:pt x="3863931" y="3520917"/>
                    <a:pt x="4011597" y="3467205"/>
                    <a:pt x="4171645" y="3467205"/>
                  </a:cubicBezTo>
                  <a:cubicBezTo>
                    <a:pt x="4560265" y="3467205"/>
                    <a:pt x="4876438" y="3783359"/>
                    <a:pt x="4876429" y="4171970"/>
                  </a:cubicBezTo>
                  <a:cubicBezTo>
                    <a:pt x="4876429" y="4560599"/>
                    <a:pt x="4560265" y="4876763"/>
                    <a:pt x="4171636" y="4876763"/>
                  </a:cubicBezTo>
                  <a:cubicBezTo>
                    <a:pt x="3783006" y="4876763"/>
                    <a:pt x="3466843" y="4560599"/>
                    <a:pt x="3466843" y="4171970"/>
                  </a:cubicBezTo>
                  <a:cubicBezTo>
                    <a:pt x="3466843" y="4011940"/>
                    <a:pt x="3520555" y="3864255"/>
                    <a:pt x="3610775" y="3745812"/>
                  </a:cubicBezTo>
                  <a:lnTo>
                    <a:pt x="2864349" y="2999395"/>
                  </a:lnTo>
                  <a:cubicBezTo>
                    <a:pt x="2745915" y="3089606"/>
                    <a:pt x="2598249" y="3143317"/>
                    <a:pt x="2438210" y="3143317"/>
                  </a:cubicBezTo>
                  <a:cubicBezTo>
                    <a:pt x="2049580" y="3143317"/>
                    <a:pt x="1733417" y="2827154"/>
                    <a:pt x="1733417" y="2438525"/>
                  </a:cubicBezTo>
                  <a:cubicBezTo>
                    <a:pt x="1733417" y="2278504"/>
                    <a:pt x="1787128" y="2130829"/>
                    <a:pt x="1877340" y="2012385"/>
                  </a:cubicBezTo>
                  <a:lnTo>
                    <a:pt x="1261615" y="1396661"/>
                  </a:lnTo>
                  <a:cubicBezTo>
                    <a:pt x="1120921" y="1506703"/>
                    <a:pt x="951024" y="1561939"/>
                    <a:pt x="780993" y="1561939"/>
                  </a:cubicBezTo>
                  <a:cubicBezTo>
                    <a:pt x="580997" y="1561939"/>
                    <a:pt x="381010" y="1485815"/>
                    <a:pt x="228753" y="1333558"/>
                  </a:cubicBezTo>
                  <a:cubicBezTo>
                    <a:pt x="-75752" y="1029043"/>
                    <a:pt x="-75752" y="533572"/>
                    <a:pt x="228753" y="229067"/>
                  </a:cubicBezTo>
                  <a:cubicBezTo>
                    <a:pt x="373178" y="84650"/>
                    <a:pt x="563086" y="4815"/>
                    <a:pt x="760997" y="211"/>
                  </a:cubicBezTo>
                  <a:close/>
                </a:path>
              </a:pathLst>
            </a:custGeom>
            <a:solidFill>
              <a:schemeClr val="tx1"/>
            </a:solidFill>
            <a:ln>
              <a:noFill/>
            </a:ln>
          </p:spPr>
          <p:txBody>
            <a:bodyPr spcFirstLastPara="1" wrap="square" lIns="91425" tIns="45700" rIns="91425" bIns="45700" anchor="ctr" anchorCtr="0">
              <a:noAutofit/>
            </a:bodyPr>
            <a:lstStyle/>
            <a:p>
              <a:pPr>
                <a:buClr>
                  <a:srgbClr val="000000"/>
                </a:buClr>
                <a:buSzPts val="1800"/>
              </a:pPr>
              <a:endParaRPr lang="en-GB" kern="0" noProof="0">
                <a:solidFill>
                  <a:srgbClr val="FFFFFF"/>
                </a:solidFill>
                <a:latin typeface="Quattrocento Sans"/>
                <a:sym typeface="Quattrocento Sans"/>
              </a:endParaRPr>
            </a:p>
          </p:txBody>
        </p:sp>
        <p:sp>
          <p:nvSpPr>
            <p:cNvPr id="72" name="Google Shape;3006;p18">
              <a:extLst>
                <a:ext uri="{FF2B5EF4-FFF2-40B4-BE49-F238E27FC236}">
                  <a16:creationId xmlns:a16="http://schemas.microsoft.com/office/drawing/2014/main" id="{2B663FF2-FDC3-FBB9-2F5D-EAF54ED92049}"/>
                </a:ext>
              </a:extLst>
            </p:cNvPr>
            <p:cNvSpPr txBox="1"/>
            <p:nvPr/>
          </p:nvSpPr>
          <p:spPr>
            <a:xfrm>
              <a:off x="4286759" y="3867037"/>
              <a:ext cx="837439" cy="461624"/>
            </a:xfrm>
            <a:prstGeom prst="rect">
              <a:avLst/>
            </a:prstGeom>
            <a:noFill/>
            <a:ln>
              <a:noFill/>
            </a:ln>
          </p:spPr>
          <p:txBody>
            <a:bodyPr spcFirstLastPara="1" wrap="square" lIns="0" tIns="45700" rIns="0" bIns="45700" anchor="t" anchorCtr="0">
              <a:spAutoFit/>
            </a:bodyPr>
            <a:lstStyle/>
            <a:p>
              <a:pPr lvl="0">
                <a:buClr>
                  <a:srgbClr val="FFFFFF"/>
                </a:buClr>
                <a:buSzPts val="1100"/>
                <a:defRPr/>
              </a:pPr>
              <a:r>
                <a:rPr lang="en-GB" sz="800" kern="0" noProof="0">
                  <a:latin typeface="Quattrocento Sans"/>
                  <a:ea typeface="Quattrocento Sans"/>
                  <a:cs typeface="Quattrocento Sans"/>
                  <a:sym typeface="Quattrocento Sans"/>
                </a:rPr>
                <a:t>Democratizing Data Securely and Efficiently</a:t>
              </a:r>
              <a:endParaRPr kumimoji="0" lang="en-GB" sz="1000" b="0" i="0" u="none" strike="noStrike" kern="0" cap="none" spc="0" normalizeH="0" baseline="0" noProof="0">
                <a:ln>
                  <a:noFill/>
                </a:ln>
                <a:effectLst/>
                <a:uLnTx/>
                <a:uFillTx/>
                <a:latin typeface="Arial"/>
                <a:cs typeface="Arial"/>
                <a:sym typeface="Arial"/>
              </a:endParaRPr>
            </a:p>
          </p:txBody>
        </p:sp>
        <p:sp>
          <p:nvSpPr>
            <p:cNvPr id="199" name="Google Shape;3010;p18">
              <a:extLst>
                <a:ext uri="{FF2B5EF4-FFF2-40B4-BE49-F238E27FC236}">
                  <a16:creationId xmlns:a16="http://schemas.microsoft.com/office/drawing/2014/main" id="{1164E664-A172-3358-1B56-868AB702DA71}"/>
                </a:ext>
              </a:extLst>
            </p:cNvPr>
            <p:cNvSpPr/>
            <p:nvPr/>
          </p:nvSpPr>
          <p:spPr>
            <a:xfrm>
              <a:off x="4183161" y="3502702"/>
              <a:ext cx="1487949" cy="488751"/>
            </a:xfrm>
            <a:prstGeom prst="rect">
              <a:avLst/>
            </a:prstGeom>
            <a:noFill/>
            <a:ln>
              <a:noFill/>
            </a:ln>
          </p:spPr>
          <p:txBody>
            <a:bodyPr spcFirstLastPara="1" wrap="square" lIns="108000" tIns="0" rIns="0" bIns="108000" anchor="b" anchorCtr="0">
              <a:noAutofit/>
            </a:bodyPr>
            <a:lstStyle/>
            <a:p>
              <a:pPr lvl="0">
                <a:buClr>
                  <a:srgbClr val="000000"/>
                </a:buClr>
                <a:defRPr/>
              </a:pPr>
              <a:r>
                <a:rPr lang="en-GB" sz="1050" b="1" kern="0" noProof="0">
                  <a:latin typeface="Quattrocento Sans"/>
                  <a:ea typeface="Quattrocento Sans"/>
                  <a:cs typeface="Quattrocento Sans"/>
                  <a:sym typeface="Quattrocento Sans"/>
                </a:rPr>
                <a:t>Modelling</a:t>
              </a:r>
              <a:endParaRPr kumimoji="0" lang="en-GB" sz="1000" b="0" i="0" u="none" strike="noStrike" kern="0" cap="none" spc="0" normalizeH="0" baseline="0" noProof="0">
                <a:ln>
                  <a:noFill/>
                </a:ln>
                <a:effectLst/>
                <a:uLnTx/>
                <a:uFillTx/>
                <a:latin typeface="Arial"/>
                <a:cs typeface="Arial"/>
                <a:sym typeface="Arial"/>
              </a:endParaRPr>
            </a:p>
          </p:txBody>
        </p:sp>
        <p:sp>
          <p:nvSpPr>
            <p:cNvPr id="201" name="Google Shape;3012;p18">
              <a:extLst>
                <a:ext uri="{FF2B5EF4-FFF2-40B4-BE49-F238E27FC236}">
                  <a16:creationId xmlns:a16="http://schemas.microsoft.com/office/drawing/2014/main" id="{081BF08B-DC5C-0F83-D3FE-2DD931D8D809}"/>
                </a:ext>
              </a:extLst>
            </p:cNvPr>
            <p:cNvSpPr/>
            <p:nvPr/>
          </p:nvSpPr>
          <p:spPr>
            <a:xfrm rot="19602860">
              <a:off x="1000329" y="2731881"/>
              <a:ext cx="1003167" cy="1014653"/>
            </a:xfrm>
            <a:prstGeom prst="arc">
              <a:avLst>
                <a:gd name="adj1" fmla="val 14215230"/>
                <a:gd name="adj2" fmla="val 206080"/>
              </a:avLst>
            </a:prstGeom>
            <a:noFill/>
            <a:ln w="9525" cap="flat" cmpd="sng">
              <a:solidFill>
                <a:schemeClr val="accent1"/>
              </a:solidFill>
              <a:prstDash val="dot"/>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a:cs typeface="Arial"/>
                <a:sym typeface="Arial"/>
              </a:endParaRPr>
            </a:p>
          </p:txBody>
        </p:sp>
        <p:sp>
          <p:nvSpPr>
            <p:cNvPr id="202" name="Google Shape;3013;p18">
              <a:extLst>
                <a:ext uri="{FF2B5EF4-FFF2-40B4-BE49-F238E27FC236}">
                  <a16:creationId xmlns:a16="http://schemas.microsoft.com/office/drawing/2014/main" id="{20D83308-CA02-348D-F6CA-89B2A51F6E28}"/>
                </a:ext>
              </a:extLst>
            </p:cNvPr>
            <p:cNvSpPr/>
            <p:nvPr/>
          </p:nvSpPr>
          <p:spPr>
            <a:xfrm rot="7460234">
              <a:off x="1963155" y="3769524"/>
              <a:ext cx="810181" cy="1075493"/>
            </a:xfrm>
            <a:prstGeom prst="arc">
              <a:avLst>
                <a:gd name="adj1" fmla="val 16200000"/>
                <a:gd name="adj2" fmla="val 385141"/>
              </a:avLst>
            </a:prstGeom>
            <a:noFill/>
            <a:ln w="9525" cap="flat" cmpd="sng">
              <a:solidFill>
                <a:schemeClr val="accent1"/>
              </a:solidFill>
              <a:prstDash val="dot"/>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a:cs typeface="Arial"/>
                <a:sym typeface="Arial"/>
              </a:endParaRPr>
            </a:p>
          </p:txBody>
        </p:sp>
        <p:sp>
          <p:nvSpPr>
            <p:cNvPr id="203" name="Google Shape;3007;p18">
              <a:extLst>
                <a:ext uri="{FF2B5EF4-FFF2-40B4-BE49-F238E27FC236}">
                  <a16:creationId xmlns:a16="http://schemas.microsoft.com/office/drawing/2014/main" id="{C613F060-F1AB-37E0-128A-8E57AE613F3C}"/>
                </a:ext>
              </a:extLst>
            </p:cNvPr>
            <p:cNvSpPr/>
            <p:nvPr/>
          </p:nvSpPr>
          <p:spPr>
            <a:xfrm>
              <a:off x="6774242" y="3487366"/>
              <a:ext cx="714600" cy="508310"/>
            </a:xfrm>
            <a:prstGeom prst="rect">
              <a:avLst/>
            </a:prstGeom>
            <a:noFill/>
            <a:ln>
              <a:noFill/>
            </a:ln>
          </p:spPr>
          <p:txBody>
            <a:bodyPr spcFirstLastPara="1" wrap="square" lIns="108000" tIns="0" rIns="0" bIns="1080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050" b="1" i="0" u="none" strike="noStrike" kern="0" cap="none" spc="0" normalizeH="0" baseline="0" noProof="0">
                  <a:ln>
                    <a:noFill/>
                  </a:ln>
                  <a:effectLst/>
                  <a:uLnTx/>
                  <a:uFillTx/>
                  <a:latin typeface="Quattrocento Sans"/>
                  <a:cs typeface="Arial"/>
                  <a:sym typeface="Quattrocento Sans"/>
                </a:rPr>
                <a:t>EPM</a:t>
              </a:r>
              <a:endParaRPr kumimoji="0" lang="en-GB" sz="1000" b="0" i="0" u="none" strike="noStrike" kern="0" cap="none" spc="0" normalizeH="0" baseline="0" noProof="0">
                <a:ln>
                  <a:noFill/>
                </a:ln>
                <a:effectLst/>
                <a:uLnTx/>
                <a:uFillTx/>
                <a:latin typeface="Arial"/>
                <a:cs typeface="Arial"/>
                <a:sym typeface="Arial"/>
              </a:endParaRPr>
            </a:p>
          </p:txBody>
        </p:sp>
        <p:sp>
          <p:nvSpPr>
            <p:cNvPr id="204" name="Google Shape;3009;p18">
              <a:extLst>
                <a:ext uri="{FF2B5EF4-FFF2-40B4-BE49-F238E27FC236}">
                  <a16:creationId xmlns:a16="http://schemas.microsoft.com/office/drawing/2014/main" id="{9C4BD2CB-0DCB-166B-2909-D140034CC35B}"/>
                </a:ext>
              </a:extLst>
            </p:cNvPr>
            <p:cNvSpPr txBox="1"/>
            <p:nvPr/>
          </p:nvSpPr>
          <p:spPr>
            <a:xfrm>
              <a:off x="6081278" y="3883371"/>
              <a:ext cx="750719" cy="584735"/>
            </a:xfrm>
            <a:prstGeom prst="rect">
              <a:avLst/>
            </a:prstGeom>
            <a:noFill/>
            <a:ln>
              <a:noFill/>
            </a:ln>
          </p:spPr>
          <p:txBody>
            <a:bodyPr spcFirstLastPara="1" wrap="square" lIns="0" tIns="45700" rIns="0" bIns="45700" anchor="t" anchorCtr="0">
              <a:spAutoFit/>
            </a:bodyPr>
            <a:lstStyle/>
            <a:p>
              <a:pPr lvl="0">
                <a:buClr>
                  <a:srgbClr val="FFFFFF"/>
                </a:buClr>
                <a:buSzPts val="1100"/>
                <a:defRPr/>
              </a:pPr>
              <a:r>
                <a:rPr lang="en-GB" sz="800" kern="0" noProof="0">
                  <a:latin typeface="Quattrocento Sans"/>
                  <a:ea typeface="Quattrocento Sans"/>
                  <a:cs typeface="Quattrocento Sans"/>
                  <a:sym typeface="Quattrocento Sans"/>
                </a:rPr>
                <a:t>Evaluating and Implementing AI Solutions for Business</a:t>
              </a:r>
              <a:endParaRPr kumimoji="0" lang="en-GB" sz="1000" b="0" i="0" u="none" strike="noStrike" kern="0" cap="none" spc="0" normalizeH="0" baseline="0" noProof="0">
                <a:ln>
                  <a:noFill/>
                </a:ln>
                <a:effectLst/>
                <a:uLnTx/>
                <a:uFillTx/>
                <a:latin typeface="Arial"/>
                <a:cs typeface="Arial"/>
                <a:sym typeface="Arial"/>
              </a:endParaRPr>
            </a:p>
          </p:txBody>
        </p:sp>
        <p:pic>
          <p:nvPicPr>
            <p:cNvPr id="205" name="Gráfico 204" descr="Diagrama de Gantt contorno">
              <a:extLst>
                <a:ext uri="{FF2B5EF4-FFF2-40B4-BE49-F238E27FC236}">
                  <a16:creationId xmlns:a16="http://schemas.microsoft.com/office/drawing/2014/main" id="{4F1DC8F5-298C-E37B-4829-C8488707BD2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034400" y="3030218"/>
              <a:ext cx="592877" cy="600124"/>
            </a:xfrm>
            <a:prstGeom prst="rect">
              <a:avLst/>
            </a:prstGeom>
          </p:spPr>
        </p:pic>
        <p:sp>
          <p:nvSpPr>
            <p:cNvPr id="206" name="Google Shape;3012;p18">
              <a:extLst>
                <a:ext uri="{FF2B5EF4-FFF2-40B4-BE49-F238E27FC236}">
                  <a16:creationId xmlns:a16="http://schemas.microsoft.com/office/drawing/2014/main" id="{C77C5DA7-DFD6-34D4-7BDD-A884A8EC6E7A}"/>
                </a:ext>
              </a:extLst>
            </p:cNvPr>
            <p:cNvSpPr/>
            <p:nvPr/>
          </p:nvSpPr>
          <p:spPr>
            <a:xfrm rot="19602860">
              <a:off x="2707022" y="2714198"/>
              <a:ext cx="1003167" cy="1014653"/>
            </a:xfrm>
            <a:prstGeom prst="arc">
              <a:avLst>
                <a:gd name="adj1" fmla="val 14215230"/>
                <a:gd name="adj2" fmla="val 206080"/>
              </a:avLst>
            </a:prstGeom>
            <a:noFill/>
            <a:ln w="9525" cap="flat" cmpd="sng">
              <a:solidFill>
                <a:schemeClr val="accent1"/>
              </a:solidFill>
              <a:prstDash val="dot"/>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a:cs typeface="Arial"/>
                <a:sym typeface="Arial"/>
              </a:endParaRPr>
            </a:p>
          </p:txBody>
        </p:sp>
        <p:sp>
          <p:nvSpPr>
            <p:cNvPr id="207" name="Google Shape;3012;p18">
              <a:extLst>
                <a:ext uri="{FF2B5EF4-FFF2-40B4-BE49-F238E27FC236}">
                  <a16:creationId xmlns:a16="http://schemas.microsoft.com/office/drawing/2014/main" id="{A08BA79E-6640-E03E-0F9B-789A10FDCE45}"/>
                </a:ext>
              </a:extLst>
            </p:cNvPr>
            <p:cNvSpPr/>
            <p:nvPr/>
          </p:nvSpPr>
          <p:spPr>
            <a:xfrm rot="19602860">
              <a:off x="4484837" y="2703390"/>
              <a:ext cx="1003167" cy="1014653"/>
            </a:xfrm>
            <a:prstGeom prst="arc">
              <a:avLst>
                <a:gd name="adj1" fmla="val 14215230"/>
                <a:gd name="adj2" fmla="val 206080"/>
              </a:avLst>
            </a:prstGeom>
            <a:noFill/>
            <a:ln w="9525" cap="flat" cmpd="sng">
              <a:solidFill>
                <a:schemeClr val="accent1"/>
              </a:solidFill>
              <a:prstDash val="dot"/>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a:cs typeface="Arial"/>
                <a:sym typeface="Arial"/>
              </a:endParaRPr>
            </a:p>
          </p:txBody>
        </p:sp>
        <p:sp>
          <p:nvSpPr>
            <p:cNvPr id="208" name="Google Shape;3012;p18">
              <a:extLst>
                <a:ext uri="{FF2B5EF4-FFF2-40B4-BE49-F238E27FC236}">
                  <a16:creationId xmlns:a16="http://schemas.microsoft.com/office/drawing/2014/main" id="{4454BD4E-053B-C2B1-5305-3902C25F4CA5}"/>
                </a:ext>
              </a:extLst>
            </p:cNvPr>
            <p:cNvSpPr/>
            <p:nvPr/>
          </p:nvSpPr>
          <p:spPr>
            <a:xfrm rot="19602860">
              <a:off x="6191932" y="2695351"/>
              <a:ext cx="1003167" cy="1014653"/>
            </a:xfrm>
            <a:prstGeom prst="arc">
              <a:avLst>
                <a:gd name="adj1" fmla="val 14215230"/>
                <a:gd name="adj2" fmla="val 206080"/>
              </a:avLst>
            </a:prstGeom>
            <a:noFill/>
            <a:ln w="9525" cap="flat" cmpd="sng">
              <a:solidFill>
                <a:schemeClr val="accent1"/>
              </a:solidFill>
              <a:prstDash val="dot"/>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a:cs typeface="Arial"/>
                <a:sym typeface="Arial"/>
              </a:endParaRPr>
            </a:p>
          </p:txBody>
        </p:sp>
        <p:sp>
          <p:nvSpPr>
            <p:cNvPr id="211" name="Google Shape;3013;p18">
              <a:extLst>
                <a:ext uri="{FF2B5EF4-FFF2-40B4-BE49-F238E27FC236}">
                  <a16:creationId xmlns:a16="http://schemas.microsoft.com/office/drawing/2014/main" id="{D4DDA555-01C6-9989-E09B-A10302214535}"/>
                </a:ext>
              </a:extLst>
            </p:cNvPr>
            <p:cNvSpPr/>
            <p:nvPr/>
          </p:nvSpPr>
          <p:spPr>
            <a:xfrm rot="7460234">
              <a:off x="3619451" y="3735411"/>
              <a:ext cx="810181" cy="1075493"/>
            </a:xfrm>
            <a:prstGeom prst="arc">
              <a:avLst>
                <a:gd name="adj1" fmla="val 16200000"/>
                <a:gd name="adj2" fmla="val 385141"/>
              </a:avLst>
            </a:prstGeom>
            <a:noFill/>
            <a:ln w="9525" cap="flat" cmpd="sng">
              <a:solidFill>
                <a:schemeClr val="accent1"/>
              </a:solidFill>
              <a:prstDash val="dot"/>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a:cs typeface="Arial"/>
                <a:sym typeface="Arial"/>
              </a:endParaRPr>
            </a:p>
          </p:txBody>
        </p:sp>
        <p:sp>
          <p:nvSpPr>
            <p:cNvPr id="236" name="Google Shape;3013;p18">
              <a:extLst>
                <a:ext uri="{FF2B5EF4-FFF2-40B4-BE49-F238E27FC236}">
                  <a16:creationId xmlns:a16="http://schemas.microsoft.com/office/drawing/2014/main" id="{F893D417-D90A-A391-DE8B-335806450B5B}"/>
                </a:ext>
              </a:extLst>
            </p:cNvPr>
            <p:cNvSpPr/>
            <p:nvPr/>
          </p:nvSpPr>
          <p:spPr>
            <a:xfrm rot="7460234">
              <a:off x="5429094" y="3774810"/>
              <a:ext cx="810181" cy="1075493"/>
            </a:xfrm>
            <a:prstGeom prst="arc">
              <a:avLst>
                <a:gd name="adj1" fmla="val 16200000"/>
                <a:gd name="adj2" fmla="val 385141"/>
              </a:avLst>
            </a:prstGeom>
            <a:noFill/>
            <a:ln w="9525" cap="flat" cmpd="sng">
              <a:solidFill>
                <a:schemeClr val="accent1"/>
              </a:solidFill>
              <a:prstDash val="dot"/>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a:cs typeface="Arial"/>
                <a:sym typeface="Arial"/>
              </a:endParaRPr>
            </a:p>
          </p:txBody>
        </p:sp>
        <p:sp>
          <p:nvSpPr>
            <p:cNvPr id="237" name="Rectángulo 236">
              <a:extLst>
                <a:ext uri="{FF2B5EF4-FFF2-40B4-BE49-F238E27FC236}">
                  <a16:creationId xmlns:a16="http://schemas.microsoft.com/office/drawing/2014/main" id="{B20D87BC-CD3B-67CA-9EFF-AD4084A3D24C}"/>
                </a:ext>
              </a:extLst>
            </p:cNvPr>
            <p:cNvSpPr/>
            <p:nvPr/>
          </p:nvSpPr>
          <p:spPr>
            <a:xfrm>
              <a:off x="1358641" y="3551185"/>
              <a:ext cx="166208" cy="2138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38" name="Rectángulo 237">
              <a:extLst>
                <a:ext uri="{FF2B5EF4-FFF2-40B4-BE49-F238E27FC236}">
                  <a16:creationId xmlns:a16="http://schemas.microsoft.com/office/drawing/2014/main" id="{EEA657B8-A11D-40F0-61B5-ACC5A03A5E63}"/>
                </a:ext>
              </a:extLst>
            </p:cNvPr>
            <p:cNvSpPr/>
            <p:nvPr/>
          </p:nvSpPr>
          <p:spPr>
            <a:xfrm>
              <a:off x="2373284" y="3515802"/>
              <a:ext cx="166208" cy="2138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39" name="Rectángulo 238">
              <a:extLst>
                <a:ext uri="{FF2B5EF4-FFF2-40B4-BE49-F238E27FC236}">
                  <a16:creationId xmlns:a16="http://schemas.microsoft.com/office/drawing/2014/main" id="{294E5187-C497-A573-CE06-89F59F850773}"/>
                </a:ext>
              </a:extLst>
            </p:cNvPr>
            <p:cNvSpPr/>
            <p:nvPr/>
          </p:nvSpPr>
          <p:spPr>
            <a:xfrm>
              <a:off x="3225215" y="3483302"/>
              <a:ext cx="166208" cy="2138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40" name="Rectángulo 239">
              <a:extLst>
                <a:ext uri="{FF2B5EF4-FFF2-40B4-BE49-F238E27FC236}">
                  <a16:creationId xmlns:a16="http://schemas.microsoft.com/office/drawing/2014/main" id="{4D2C50BB-7D6B-58F2-DD52-E1FAF496A407}"/>
                </a:ext>
              </a:extLst>
            </p:cNvPr>
            <p:cNvSpPr/>
            <p:nvPr/>
          </p:nvSpPr>
          <p:spPr>
            <a:xfrm>
              <a:off x="4085367" y="3502702"/>
              <a:ext cx="166208" cy="2138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41" name="Rectángulo 240">
              <a:extLst>
                <a:ext uri="{FF2B5EF4-FFF2-40B4-BE49-F238E27FC236}">
                  <a16:creationId xmlns:a16="http://schemas.microsoft.com/office/drawing/2014/main" id="{414F889D-553C-5BCD-C4E6-57CFDC63A9C5}"/>
                </a:ext>
              </a:extLst>
            </p:cNvPr>
            <p:cNvSpPr/>
            <p:nvPr/>
          </p:nvSpPr>
          <p:spPr>
            <a:xfrm>
              <a:off x="5039147" y="3534140"/>
              <a:ext cx="166208" cy="2138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42" name="Rectángulo 241">
              <a:extLst>
                <a:ext uri="{FF2B5EF4-FFF2-40B4-BE49-F238E27FC236}">
                  <a16:creationId xmlns:a16="http://schemas.microsoft.com/office/drawing/2014/main" id="{9C78A619-B2F9-18DD-FEA4-BC872289FFC1}"/>
                </a:ext>
              </a:extLst>
            </p:cNvPr>
            <p:cNvSpPr/>
            <p:nvPr/>
          </p:nvSpPr>
          <p:spPr>
            <a:xfrm>
              <a:off x="5881987" y="3514547"/>
              <a:ext cx="166208" cy="2138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43" name="Rectángulo 242">
              <a:extLst>
                <a:ext uri="{FF2B5EF4-FFF2-40B4-BE49-F238E27FC236}">
                  <a16:creationId xmlns:a16="http://schemas.microsoft.com/office/drawing/2014/main" id="{FB27B738-F8C5-1787-B682-D195D465925A}"/>
                </a:ext>
              </a:extLst>
            </p:cNvPr>
            <p:cNvSpPr/>
            <p:nvPr/>
          </p:nvSpPr>
          <p:spPr>
            <a:xfrm>
              <a:off x="6680436" y="3567933"/>
              <a:ext cx="166208" cy="2138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
        <p:nvSpPr>
          <p:cNvPr id="245" name="Google Shape;3007;p18">
            <a:extLst>
              <a:ext uri="{FF2B5EF4-FFF2-40B4-BE49-F238E27FC236}">
                <a16:creationId xmlns:a16="http://schemas.microsoft.com/office/drawing/2014/main" id="{52BBA5EC-99AF-580E-8DEE-A2B734670088}"/>
              </a:ext>
            </a:extLst>
          </p:cNvPr>
          <p:cNvSpPr/>
          <p:nvPr/>
        </p:nvSpPr>
        <p:spPr>
          <a:xfrm>
            <a:off x="5854622" y="3503136"/>
            <a:ext cx="714600" cy="508310"/>
          </a:xfrm>
          <a:prstGeom prst="rect">
            <a:avLst/>
          </a:prstGeom>
          <a:noFill/>
          <a:ln>
            <a:noFill/>
          </a:ln>
        </p:spPr>
        <p:txBody>
          <a:bodyPr spcFirstLastPara="1" wrap="square" lIns="108000" tIns="0" rIns="0" bIns="1080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sz="1050" b="1" kern="0" noProof="0">
                <a:latin typeface="Quattrocento Sans"/>
                <a:cs typeface="Arial"/>
                <a:sym typeface="Quattrocento Sans"/>
              </a:rPr>
              <a:t>AI &amp; ML</a:t>
            </a:r>
            <a:endParaRPr kumimoji="0" lang="en-GB" sz="1000" b="0" i="0" u="none" strike="noStrike" kern="0" cap="none" spc="0" normalizeH="0" baseline="0" noProof="0">
              <a:ln>
                <a:noFill/>
              </a:ln>
              <a:effectLst/>
              <a:uLnTx/>
              <a:uFillTx/>
              <a:latin typeface="Arial"/>
              <a:cs typeface="Arial"/>
              <a:sym typeface="Arial"/>
            </a:endParaRPr>
          </a:p>
        </p:txBody>
      </p:sp>
      <p:sp>
        <p:nvSpPr>
          <p:cNvPr id="248" name="CuadroTexto 247">
            <a:extLst>
              <a:ext uri="{FF2B5EF4-FFF2-40B4-BE49-F238E27FC236}">
                <a16:creationId xmlns:a16="http://schemas.microsoft.com/office/drawing/2014/main" id="{5D94CCE8-83D1-FEEB-190F-C7833854C8EA}"/>
              </a:ext>
            </a:extLst>
          </p:cNvPr>
          <p:cNvSpPr txBox="1"/>
          <p:nvPr/>
        </p:nvSpPr>
        <p:spPr>
          <a:xfrm>
            <a:off x="8061409" y="5613587"/>
            <a:ext cx="638316" cy="307777"/>
          </a:xfrm>
          <a:prstGeom prst="rect">
            <a:avLst/>
          </a:prstGeom>
          <a:noFill/>
        </p:spPr>
        <p:txBody>
          <a:bodyPr wrap="none" rtlCol="0">
            <a:spAutoFit/>
          </a:bodyPr>
          <a:lstStyle/>
          <a:p>
            <a:pPr algn="ctr"/>
            <a:r>
              <a:rPr lang="en-GB" sz="700" b="1" noProof="0"/>
              <a:t>USER</a:t>
            </a:r>
          </a:p>
          <a:p>
            <a:r>
              <a:rPr lang="en-GB" sz="700" b="1" noProof="0"/>
              <a:t>EXPERIENCE</a:t>
            </a:r>
          </a:p>
        </p:txBody>
      </p:sp>
      <p:sp>
        <p:nvSpPr>
          <p:cNvPr id="249" name="CuadroTexto 248">
            <a:extLst>
              <a:ext uri="{FF2B5EF4-FFF2-40B4-BE49-F238E27FC236}">
                <a16:creationId xmlns:a16="http://schemas.microsoft.com/office/drawing/2014/main" id="{42FF88AF-CB28-C977-C6D1-B5DFCA690833}"/>
              </a:ext>
            </a:extLst>
          </p:cNvPr>
          <p:cNvSpPr txBox="1"/>
          <p:nvPr/>
        </p:nvSpPr>
        <p:spPr>
          <a:xfrm>
            <a:off x="8626359" y="5607208"/>
            <a:ext cx="816250" cy="307777"/>
          </a:xfrm>
          <a:prstGeom prst="rect">
            <a:avLst/>
          </a:prstGeom>
          <a:noFill/>
        </p:spPr>
        <p:txBody>
          <a:bodyPr wrap="none" rtlCol="0">
            <a:spAutoFit/>
          </a:bodyPr>
          <a:lstStyle/>
          <a:p>
            <a:pPr algn="ctr"/>
            <a:r>
              <a:rPr lang="en-GB" sz="700" b="1" noProof="0"/>
              <a:t>STANDARDS OF 
VISUALIZATION</a:t>
            </a:r>
          </a:p>
        </p:txBody>
      </p:sp>
      <p:sp>
        <p:nvSpPr>
          <p:cNvPr id="251" name="CuadroTexto 250">
            <a:extLst>
              <a:ext uri="{FF2B5EF4-FFF2-40B4-BE49-F238E27FC236}">
                <a16:creationId xmlns:a16="http://schemas.microsoft.com/office/drawing/2014/main" id="{E0970733-FCB0-8CBF-3E4A-B26ADF179B10}"/>
              </a:ext>
            </a:extLst>
          </p:cNvPr>
          <p:cNvSpPr txBox="1"/>
          <p:nvPr/>
        </p:nvSpPr>
        <p:spPr>
          <a:xfrm>
            <a:off x="8352174" y="5189398"/>
            <a:ext cx="696024" cy="307777"/>
          </a:xfrm>
          <a:prstGeom prst="rect">
            <a:avLst/>
          </a:prstGeom>
          <a:noFill/>
        </p:spPr>
        <p:txBody>
          <a:bodyPr wrap="none" rtlCol="0">
            <a:spAutoFit/>
          </a:bodyPr>
          <a:lstStyle/>
          <a:p>
            <a:pPr algn="ctr"/>
            <a:r>
              <a:rPr lang="en-GB" sz="700" b="1" noProof="0"/>
              <a:t>FUNCTIONAL </a:t>
            </a:r>
          </a:p>
          <a:p>
            <a:pPr algn="ctr"/>
            <a:r>
              <a:rPr lang="en-GB" sz="700" b="1" noProof="0"/>
              <a:t>KNOWLEDGE</a:t>
            </a:r>
          </a:p>
        </p:txBody>
      </p:sp>
      <p:sp>
        <p:nvSpPr>
          <p:cNvPr id="252" name="CuadroTexto 251">
            <a:extLst>
              <a:ext uri="{FF2B5EF4-FFF2-40B4-BE49-F238E27FC236}">
                <a16:creationId xmlns:a16="http://schemas.microsoft.com/office/drawing/2014/main" id="{81B6E835-3FEE-D2F6-26C2-C2D348A5DF65}"/>
              </a:ext>
            </a:extLst>
          </p:cNvPr>
          <p:cNvSpPr txBox="1"/>
          <p:nvPr/>
        </p:nvSpPr>
        <p:spPr>
          <a:xfrm>
            <a:off x="5492308" y="5251096"/>
            <a:ext cx="1270412" cy="1171731"/>
          </a:xfrm>
          <a:prstGeom prst="rect">
            <a:avLst/>
          </a:prstGeom>
          <a:noFill/>
        </p:spPr>
        <p:txBody>
          <a:bodyPr wrap="none" rtlCol="0">
            <a:spAutoFit/>
          </a:bodyPr>
          <a:lstStyle/>
          <a:p>
            <a:pPr marL="171450" indent="-171450">
              <a:lnSpc>
                <a:spcPct val="150000"/>
              </a:lnSpc>
              <a:buFont typeface="Wingdings" panose="05000000000000000000" pitchFamily="2" charset="2"/>
              <a:buChar char="ü"/>
            </a:pPr>
            <a:r>
              <a:rPr lang="en-GB" sz="1200" noProof="0"/>
              <a:t>E2E</a:t>
            </a:r>
          </a:p>
          <a:p>
            <a:pPr marL="171450" indent="-171450">
              <a:lnSpc>
                <a:spcPct val="150000"/>
              </a:lnSpc>
              <a:buFont typeface="Wingdings" panose="05000000000000000000" pitchFamily="2" charset="2"/>
              <a:buChar char="ü"/>
            </a:pPr>
            <a:r>
              <a:rPr lang="en-GB" sz="1200" noProof="0"/>
              <a:t>Responsible AI</a:t>
            </a:r>
          </a:p>
          <a:p>
            <a:pPr marL="171450" indent="-171450">
              <a:lnSpc>
                <a:spcPct val="150000"/>
              </a:lnSpc>
              <a:buFont typeface="Wingdings" panose="05000000000000000000" pitchFamily="2" charset="2"/>
              <a:buChar char="ü"/>
            </a:pPr>
            <a:r>
              <a:rPr lang="en-GB" sz="1200" noProof="0" err="1"/>
              <a:t>CoE</a:t>
            </a:r>
            <a:endParaRPr lang="en-GB" sz="1200" noProof="0"/>
          </a:p>
          <a:p>
            <a:pPr marL="171450" indent="-171450">
              <a:lnSpc>
                <a:spcPct val="150000"/>
              </a:lnSpc>
              <a:buFont typeface="Wingdings" panose="05000000000000000000" pitchFamily="2" charset="2"/>
              <a:buChar char="ü"/>
            </a:pPr>
            <a:r>
              <a:rPr lang="en-GB" sz="1200" noProof="0"/>
              <a:t>Services</a:t>
            </a:r>
          </a:p>
        </p:txBody>
      </p:sp>
      <p:pic>
        <p:nvPicPr>
          <p:cNvPr id="255" name="Gráfico 254" descr="Robot con relleno sólido">
            <a:extLst>
              <a:ext uri="{FF2B5EF4-FFF2-40B4-BE49-F238E27FC236}">
                <a16:creationId xmlns:a16="http://schemas.microsoft.com/office/drawing/2014/main" id="{99D0CA85-E71A-A5C7-64D1-2E9B9DE8961D}"/>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893113" y="5815185"/>
            <a:ext cx="603244" cy="603244"/>
          </a:xfrm>
          <a:prstGeom prst="rect">
            <a:avLst/>
          </a:prstGeom>
        </p:spPr>
      </p:pic>
    </p:spTree>
    <p:extLst>
      <p:ext uri="{BB962C8B-B14F-4D97-AF65-F5344CB8AC3E}">
        <p14:creationId xmlns:p14="http://schemas.microsoft.com/office/powerpoint/2010/main" val="690403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DE22F3F4-4B5E-9B65-1A73-0A9E335B48DB}"/>
            </a:ext>
          </a:extLst>
        </p:cNvPr>
        <p:cNvGrpSpPr/>
        <p:nvPr/>
      </p:nvGrpSpPr>
      <p:grpSpPr>
        <a:xfrm>
          <a:off x="0" y="0"/>
          <a:ext cx="0" cy="0"/>
          <a:chOff x="0" y="0"/>
          <a:chExt cx="0" cy="0"/>
        </a:xfrm>
      </p:grpSpPr>
      <p:sp>
        <p:nvSpPr>
          <p:cNvPr id="2" name="Rectangle 57">
            <a:extLst>
              <a:ext uri="{FF2B5EF4-FFF2-40B4-BE49-F238E27FC236}">
                <a16:creationId xmlns:a16="http://schemas.microsoft.com/office/drawing/2014/main" id="{F944504B-96D4-BE56-0BF2-D45D7149F130}"/>
              </a:ext>
            </a:extLst>
          </p:cNvPr>
          <p:cNvSpPr>
            <a:spLocks noChangeArrowheads="1"/>
          </p:cNvSpPr>
          <p:nvPr/>
        </p:nvSpPr>
        <p:spPr bwMode="gray">
          <a:xfrm>
            <a:off x="226220" y="198916"/>
            <a:ext cx="7407741" cy="984830"/>
          </a:xfrm>
          <a:prstGeom prst="rect">
            <a:avLst/>
          </a:prstGeom>
          <a:noFill/>
          <a:ln w="9525">
            <a:noFill/>
            <a:miter lim="800000"/>
            <a:headEnd/>
            <a:tailEnd/>
          </a:ln>
          <a:effectLst/>
        </p:spPr>
        <p:txBody>
          <a:bodyPr wrap="square" lIns="91386" tIns="45693" rIns="91386" bIns="45693">
            <a:spAutoFit/>
          </a:bodyPr>
          <a:lstStyle/>
          <a:p>
            <a:pPr defTabSz="609630"/>
            <a:r>
              <a:rPr lang="en-GB" sz="4000" b="1" kern="0" noProof="0">
                <a:solidFill>
                  <a:srgbClr val="000000">
                    <a:lumMod val="95000"/>
                    <a:lumOff val="5000"/>
                  </a:srgbClr>
                </a:solidFill>
                <a:latin typeface="Quattrocento Sans" panose="020B0502050000020003" pitchFamily="34" charset="0"/>
                <a:ea typeface="Lato"/>
                <a:cs typeface="Lato"/>
                <a:sym typeface="Calibri"/>
              </a:rPr>
              <a:t>Index</a:t>
            </a:r>
          </a:p>
          <a:p>
            <a:pPr defTabSz="609630" hangingPunct="0"/>
            <a:r>
              <a:rPr lang="en-GB" kern="0" noProof="0">
                <a:solidFill>
                  <a:srgbClr val="91ACB9"/>
                </a:solidFill>
                <a:latin typeface="Quattrocento Sans" panose="020B0502050000020003" pitchFamily="34" charset="0"/>
                <a:cs typeface="Calibri"/>
                <a:sym typeface="Calibri"/>
              </a:rPr>
              <a:t>Index</a:t>
            </a:r>
          </a:p>
        </p:txBody>
      </p:sp>
      <p:pic>
        <p:nvPicPr>
          <p:cNvPr id="11" name="Imagen 10" descr="Logotipo&#10;&#10;Descripción generada automáticamente">
            <a:extLst>
              <a:ext uri="{FF2B5EF4-FFF2-40B4-BE49-F238E27FC236}">
                <a16:creationId xmlns:a16="http://schemas.microsoft.com/office/drawing/2014/main" id="{438A5DB6-8297-055C-E685-3E848843263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75643" y="422965"/>
            <a:ext cx="1935381" cy="446626"/>
          </a:xfrm>
          <a:prstGeom prst="rect">
            <a:avLst/>
          </a:prstGeom>
        </p:spPr>
      </p:pic>
      <p:sp>
        <p:nvSpPr>
          <p:cNvPr id="5" name="CuadroTexto 4">
            <a:extLst>
              <a:ext uri="{FF2B5EF4-FFF2-40B4-BE49-F238E27FC236}">
                <a16:creationId xmlns:a16="http://schemas.microsoft.com/office/drawing/2014/main" id="{6F3C717B-563E-80DB-7BC9-08DD5575347D}"/>
              </a:ext>
            </a:extLst>
          </p:cNvPr>
          <p:cNvSpPr txBox="1"/>
          <p:nvPr/>
        </p:nvSpPr>
        <p:spPr>
          <a:xfrm>
            <a:off x="226219" y="1303772"/>
            <a:ext cx="9104593" cy="5355312"/>
          </a:xfrm>
          <a:prstGeom prst="rect">
            <a:avLst/>
          </a:prstGeom>
          <a:noFill/>
        </p:spPr>
        <p:txBody>
          <a:bodyPr wrap="square">
            <a:spAutoFit/>
          </a:bodyPr>
          <a:lstStyle/>
          <a:p>
            <a:pPr>
              <a:buFont typeface="Arial" panose="020B0604020202020204" pitchFamily="34" charset="0"/>
              <a:buChar char="•"/>
            </a:pPr>
            <a:r>
              <a:rPr lang="en-GB" b="1" noProof="0"/>
              <a:t>Advisory</a:t>
            </a:r>
            <a:endParaRPr lang="en-GB" noProof="0"/>
          </a:p>
          <a:p>
            <a:pPr marL="742950" lvl="1" indent="-285750">
              <a:buFont typeface="Arial" panose="020B0604020202020204" pitchFamily="34" charset="0"/>
              <a:buChar char="•"/>
            </a:pPr>
            <a:r>
              <a:rPr lang="en-GB" noProof="0"/>
              <a:t>Audit and Recommendations</a:t>
            </a:r>
          </a:p>
          <a:p>
            <a:pPr marL="1200150" lvl="2" indent="-285750">
              <a:buFont typeface="Arial" panose="020B0604020202020204" pitchFamily="34" charset="0"/>
              <a:buChar char="•"/>
            </a:pPr>
            <a:r>
              <a:rPr lang="en-GB" noProof="0"/>
              <a:t>Architecture</a:t>
            </a:r>
          </a:p>
          <a:p>
            <a:pPr marL="1200150" lvl="2" indent="-285750">
              <a:buFont typeface="Arial" panose="020B0604020202020204" pitchFamily="34" charset="0"/>
              <a:buChar char="•"/>
            </a:pPr>
            <a:r>
              <a:rPr lang="en-GB" noProof="0"/>
              <a:t>Best Practices Datasphere</a:t>
            </a:r>
          </a:p>
          <a:p>
            <a:pPr marL="742950" lvl="1" indent="-285750">
              <a:buFont typeface="Arial" panose="020B0604020202020204" pitchFamily="34" charset="0"/>
              <a:buChar char="•"/>
            </a:pPr>
            <a:r>
              <a:rPr lang="en-GB" noProof="0"/>
              <a:t>On-going </a:t>
            </a:r>
            <a:r>
              <a:rPr lang="en-GB" noProof="0">
                <a:solidFill>
                  <a:srgbClr val="FF0000"/>
                </a:solidFill>
              </a:rPr>
              <a:t>(</a:t>
            </a:r>
            <a:r>
              <a:rPr lang="en-GB" noProof="0" err="1">
                <a:solidFill>
                  <a:srgbClr val="FF0000"/>
                </a:solidFill>
              </a:rPr>
              <a:t>nombre</a:t>
            </a:r>
            <a:r>
              <a:rPr lang="en-GB" noProof="0">
                <a:solidFill>
                  <a:srgbClr val="FF0000"/>
                </a:solidFill>
              </a:rPr>
              <a:t> que mole </a:t>
            </a:r>
            <a:r>
              <a:rPr lang="en-GB" noProof="0" err="1">
                <a:solidFill>
                  <a:srgbClr val="FF0000"/>
                </a:solidFill>
              </a:rPr>
              <a:t>más</a:t>
            </a:r>
            <a:r>
              <a:rPr lang="en-GB" noProof="0">
                <a:solidFill>
                  <a:srgbClr val="FF0000"/>
                </a:solidFill>
              </a:rPr>
              <a:t>) auditoria y </a:t>
            </a:r>
            <a:r>
              <a:rPr lang="en-GB" noProof="0" err="1">
                <a:solidFill>
                  <a:srgbClr val="FF0000"/>
                </a:solidFill>
              </a:rPr>
              <a:t>mejora</a:t>
            </a:r>
            <a:r>
              <a:rPr lang="en-GB" noProof="0">
                <a:solidFill>
                  <a:srgbClr val="FF0000"/>
                </a:solidFill>
              </a:rPr>
              <a:t> continua y </a:t>
            </a:r>
            <a:r>
              <a:rPr lang="en-GB" noProof="0" err="1">
                <a:solidFill>
                  <a:srgbClr val="FF0000"/>
                </a:solidFill>
              </a:rPr>
              <a:t>asegurar</a:t>
            </a:r>
            <a:r>
              <a:rPr lang="en-GB" noProof="0">
                <a:solidFill>
                  <a:srgbClr val="FF0000"/>
                </a:solidFill>
              </a:rPr>
              <a:t> la Calidad…</a:t>
            </a:r>
          </a:p>
          <a:p>
            <a:pPr marL="742950" lvl="1" indent="-285750">
              <a:buFont typeface="Arial" panose="020B0604020202020204" pitchFamily="34" charset="0"/>
              <a:buChar char="•"/>
            </a:pPr>
            <a:endParaRPr lang="en-GB" noProof="0"/>
          </a:p>
          <a:p>
            <a:pPr>
              <a:buFont typeface="Arial" panose="020B0604020202020204" pitchFamily="34" charset="0"/>
              <a:buChar char="•"/>
            </a:pPr>
            <a:r>
              <a:rPr lang="en-GB" b="1" noProof="0"/>
              <a:t>Data Governance by Stratesys</a:t>
            </a:r>
            <a:endParaRPr lang="en-GB" noProof="0"/>
          </a:p>
          <a:p>
            <a:pPr marL="742950" lvl="1" indent="-285750">
              <a:buFont typeface="Arial" panose="020B0604020202020204" pitchFamily="34" charset="0"/>
              <a:buChar char="•"/>
            </a:pPr>
            <a:r>
              <a:rPr lang="en-GB" noProof="0"/>
              <a:t>Theory</a:t>
            </a:r>
          </a:p>
          <a:p>
            <a:pPr marL="742950" lvl="1" indent="-285750">
              <a:buFont typeface="Arial" panose="020B0604020202020204" pitchFamily="34" charset="0"/>
              <a:buChar char="•"/>
            </a:pPr>
            <a:r>
              <a:rPr lang="en-GB" noProof="0"/>
              <a:t>Practice</a:t>
            </a:r>
          </a:p>
          <a:p>
            <a:pPr marL="742950" lvl="1" indent="-285750">
              <a:buFont typeface="Arial" panose="020B0604020202020204" pitchFamily="34" charset="0"/>
              <a:buChar char="•"/>
            </a:pPr>
            <a:r>
              <a:rPr lang="en-GB" noProof="0"/>
              <a:t>Addressing AZ’s needs</a:t>
            </a:r>
          </a:p>
          <a:p>
            <a:pPr marL="1200150" lvl="2" indent="-285750">
              <a:buFont typeface="Arial" panose="020B0604020202020204" pitchFamily="34" charset="0"/>
              <a:buChar char="•"/>
            </a:pPr>
            <a:r>
              <a:rPr lang="en-GB" noProof="0"/>
              <a:t>Catalogue &amp; Lineage</a:t>
            </a:r>
          </a:p>
          <a:p>
            <a:pPr marL="1200150" lvl="2" indent="-285750">
              <a:buFont typeface="Arial" panose="020B0604020202020204" pitchFamily="34" charset="0"/>
              <a:buChar char="•"/>
            </a:pPr>
            <a:r>
              <a:rPr lang="en-GB" noProof="0"/>
              <a:t>Quality</a:t>
            </a:r>
          </a:p>
          <a:p>
            <a:pPr marL="1200150" lvl="2" indent="-285750">
              <a:buFont typeface="Arial" panose="020B0604020202020204" pitchFamily="34" charset="0"/>
              <a:buChar char="•"/>
            </a:pPr>
            <a:r>
              <a:rPr lang="en-GB" noProof="0"/>
              <a:t>Security</a:t>
            </a:r>
          </a:p>
          <a:p>
            <a:pPr marL="1200150" lvl="2" indent="-285750">
              <a:buFont typeface="Arial" panose="020B0604020202020204" pitchFamily="34" charset="0"/>
              <a:buChar char="•"/>
            </a:pPr>
            <a:endParaRPr lang="en-GB" noProof="0"/>
          </a:p>
          <a:p>
            <a:pPr>
              <a:buFont typeface="Arial" panose="020B0604020202020204" pitchFamily="34" charset="0"/>
              <a:buChar char="•"/>
            </a:pPr>
            <a:r>
              <a:rPr lang="en-GB" b="1" noProof="0"/>
              <a:t>Automatic Access Control</a:t>
            </a:r>
            <a:endParaRPr lang="en-GB" noProof="0"/>
          </a:p>
          <a:p>
            <a:pPr marL="742950" lvl="1" indent="-285750">
              <a:buFont typeface="Arial" panose="020B0604020202020204" pitchFamily="34" charset="0"/>
              <a:buChar char="•"/>
            </a:pPr>
            <a:r>
              <a:rPr lang="en-GB" noProof="0"/>
              <a:t>BTP</a:t>
            </a:r>
          </a:p>
          <a:p>
            <a:pPr marL="742950" lvl="1" indent="-285750">
              <a:buFont typeface="Arial" panose="020B0604020202020204" pitchFamily="34" charset="0"/>
              <a:buChar char="•"/>
            </a:pPr>
            <a:r>
              <a:rPr lang="en-GB" noProof="0"/>
              <a:t>Proposed Flow</a:t>
            </a:r>
          </a:p>
          <a:p>
            <a:pPr marL="742950" lvl="1" indent="-285750">
              <a:buFont typeface="Arial" panose="020B0604020202020204" pitchFamily="34" charset="0"/>
              <a:buChar char="•"/>
            </a:pPr>
            <a:endParaRPr lang="en-GB" noProof="0"/>
          </a:p>
          <a:p>
            <a:endParaRPr lang="en-GB" noProof="0"/>
          </a:p>
        </p:txBody>
      </p:sp>
    </p:spTree>
    <p:extLst>
      <p:ext uri="{BB962C8B-B14F-4D97-AF65-F5344CB8AC3E}">
        <p14:creationId xmlns:p14="http://schemas.microsoft.com/office/powerpoint/2010/main" val="1631264625"/>
      </p:ext>
    </p:extLst>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8E389BB-0476-943C-4C43-1FC6DDB63DF8}"/>
            </a:ext>
          </a:extLst>
        </p:cNvPr>
        <p:cNvGrpSpPr/>
        <p:nvPr/>
      </p:nvGrpSpPr>
      <p:grpSpPr>
        <a:xfrm>
          <a:off x="0" y="0"/>
          <a:ext cx="0" cy="0"/>
          <a:chOff x="0" y="0"/>
          <a:chExt cx="0" cy="0"/>
        </a:xfrm>
      </p:grpSpPr>
      <p:sp>
        <p:nvSpPr>
          <p:cNvPr id="2" name="Rectangle 57">
            <a:extLst>
              <a:ext uri="{FF2B5EF4-FFF2-40B4-BE49-F238E27FC236}">
                <a16:creationId xmlns:a16="http://schemas.microsoft.com/office/drawing/2014/main" id="{8253B2AD-CEDB-51B2-9FBE-FB1DB4542A06}"/>
              </a:ext>
            </a:extLst>
          </p:cNvPr>
          <p:cNvSpPr>
            <a:spLocks noChangeArrowheads="1"/>
          </p:cNvSpPr>
          <p:nvPr/>
        </p:nvSpPr>
        <p:spPr bwMode="gray">
          <a:xfrm>
            <a:off x="226220" y="198916"/>
            <a:ext cx="7407741" cy="984830"/>
          </a:xfrm>
          <a:prstGeom prst="rect">
            <a:avLst/>
          </a:prstGeom>
          <a:noFill/>
          <a:ln w="9525">
            <a:noFill/>
            <a:miter lim="800000"/>
            <a:headEnd/>
            <a:tailEnd/>
          </a:ln>
          <a:effectLst/>
        </p:spPr>
        <p:txBody>
          <a:bodyPr wrap="square" lIns="91386" tIns="45693" rIns="91386" bIns="45693">
            <a:spAutoFit/>
          </a:bodyPr>
          <a:lstStyle/>
          <a:p>
            <a:pPr defTabSz="609630"/>
            <a:r>
              <a:rPr lang="en-GB" sz="4000" b="1" kern="0" noProof="0">
                <a:solidFill>
                  <a:srgbClr val="000000">
                    <a:lumMod val="95000"/>
                    <a:lumOff val="5000"/>
                  </a:srgbClr>
                </a:solidFill>
                <a:latin typeface="Quattrocento Sans" panose="020B0502050000020003" pitchFamily="34" charset="0"/>
                <a:ea typeface="Lato"/>
                <a:cs typeface="Lato"/>
                <a:sym typeface="Calibri"/>
              </a:rPr>
              <a:t>Advisory Process</a:t>
            </a:r>
          </a:p>
          <a:p>
            <a:pPr defTabSz="609630" hangingPunct="0"/>
            <a:r>
              <a:rPr lang="en-GB" kern="0" noProof="0">
                <a:solidFill>
                  <a:srgbClr val="8A0051"/>
                </a:solidFill>
                <a:latin typeface="Quattrocento Sans" panose="020B0502050000020003" pitchFamily="34" charset="0"/>
                <a:cs typeface="Calibri"/>
                <a:sym typeface="Calibri"/>
              </a:rPr>
              <a:t>Best Practices Datasphere</a:t>
            </a:r>
          </a:p>
        </p:txBody>
      </p:sp>
      <p:pic>
        <p:nvPicPr>
          <p:cNvPr id="11" name="Imagen 10" descr="Logotipo&#10;&#10;Descripción generada automáticamente">
            <a:extLst>
              <a:ext uri="{FF2B5EF4-FFF2-40B4-BE49-F238E27FC236}">
                <a16:creationId xmlns:a16="http://schemas.microsoft.com/office/drawing/2014/main" id="{64CC33DC-41BD-4448-6544-7A7511041D8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675643" y="422965"/>
            <a:ext cx="1935381" cy="446626"/>
          </a:xfrm>
          <a:prstGeom prst="rect">
            <a:avLst/>
          </a:prstGeom>
        </p:spPr>
      </p:pic>
      <p:sp>
        <p:nvSpPr>
          <p:cNvPr id="20" name="Rectángulo 19">
            <a:extLst>
              <a:ext uri="{FF2B5EF4-FFF2-40B4-BE49-F238E27FC236}">
                <a16:creationId xmlns:a16="http://schemas.microsoft.com/office/drawing/2014/main" id="{D3935072-A1F0-757C-DF80-9F684390C137}"/>
              </a:ext>
            </a:extLst>
          </p:cNvPr>
          <p:cNvSpPr/>
          <p:nvPr/>
        </p:nvSpPr>
        <p:spPr bwMode="auto">
          <a:xfrm>
            <a:off x="8549686" y="2109678"/>
            <a:ext cx="2880000" cy="282272"/>
          </a:xfrm>
          <a:prstGeom prst="rect">
            <a:avLst/>
          </a:prstGeom>
          <a:solidFill>
            <a:schemeClr val="bg1">
              <a:lumMod val="50000"/>
            </a:schemeClr>
          </a:solidFill>
          <a:ln>
            <a:noFill/>
          </a:ln>
        </p:spPr>
        <p:txBody>
          <a:bodyPr lIns="0" tIns="0" rIns="0" bIns="0" rtlCol="0" anchor="ctr"/>
          <a:lstStyle/>
          <a:p>
            <a:pPr algn="ctr"/>
            <a:endParaRPr lang="en-GB" noProof="0">
              <a:latin typeface="Quattrocento Sans" panose="020B0502050000020003" pitchFamily="34" charset="0"/>
            </a:endParaRPr>
          </a:p>
        </p:txBody>
      </p:sp>
      <p:sp>
        <p:nvSpPr>
          <p:cNvPr id="21" name="Rectángulo 20">
            <a:extLst>
              <a:ext uri="{FF2B5EF4-FFF2-40B4-BE49-F238E27FC236}">
                <a16:creationId xmlns:a16="http://schemas.microsoft.com/office/drawing/2014/main" id="{DCE8DB6C-18D0-19F7-EF31-F6E46EDB3876}"/>
              </a:ext>
            </a:extLst>
          </p:cNvPr>
          <p:cNvSpPr/>
          <p:nvPr/>
        </p:nvSpPr>
        <p:spPr bwMode="auto">
          <a:xfrm>
            <a:off x="571324" y="4455907"/>
            <a:ext cx="2916000" cy="282272"/>
          </a:xfrm>
          <a:prstGeom prst="rect">
            <a:avLst/>
          </a:prstGeom>
          <a:solidFill>
            <a:schemeClr val="bg1">
              <a:lumMod val="50000"/>
            </a:schemeClr>
          </a:solidFill>
          <a:ln>
            <a:noFill/>
          </a:ln>
        </p:spPr>
        <p:txBody>
          <a:bodyPr lIns="0" tIns="0" rIns="0" bIns="0" rtlCol="0" anchor="ctr"/>
          <a:lstStyle/>
          <a:p>
            <a:pPr algn="ctr"/>
            <a:endParaRPr lang="en-GB" noProof="0">
              <a:latin typeface="Quattrocento Sans" panose="020B0502050000020003" pitchFamily="34" charset="0"/>
            </a:endParaRPr>
          </a:p>
        </p:txBody>
      </p:sp>
      <p:sp>
        <p:nvSpPr>
          <p:cNvPr id="22" name="Rectangle 33">
            <a:extLst>
              <a:ext uri="{FF2B5EF4-FFF2-40B4-BE49-F238E27FC236}">
                <a16:creationId xmlns:a16="http://schemas.microsoft.com/office/drawing/2014/main" id="{EBF6F2CA-C8B8-85BD-E5A3-50433F2305F7}"/>
              </a:ext>
            </a:extLst>
          </p:cNvPr>
          <p:cNvSpPr/>
          <p:nvPr>
            <p:custDataLst>
              <p:tags r:id="rId1"/>
            </p:custDataLst>
          </p:nvPr>
        </p:nvSpPr>
        <p:spPr>
          <a:xfrm>
            <a:off x="567034" y="4427904"/>
            <a:ext cx="2916000" cy="1541440"/>
          </a:xfrm>
          <a:prstGeom prst="rect">
            <a:avLst/>
          </a:prstGeom>
        </p:spPr>
        <p:txBody>
          <a:bodyPr wrap="square" lIns="91432" tIns="45716" rIns="91432" bIns="45716">
            <a:spAutoFit/>
          </a:bodyPr>
          <a:lstStyle/>
          <a:p>
            <a:pPr defTabSz="914422">
              <a:lnSpc>
                <a:spcPts val="2000"/>
              </a:lnSpc>
            </a:pPr>
            <a:r>
              <a:rPr lang="en-GB" sz="1600" b="1" noProof="0">
                <a:solidFill>
                  <a:schemeClr val="bg1"/>
                </a:solidFill>
                <a:latin typeface="Quattrocento Sans" panose="020B0502050000020003" pitchFamily="34" charset="0"/>
              </a:rPr>
              <a:t>Developments Review</a:t>
            </a:r>
          </a:p>
          <a:p>
            <a:pPr>
              <a:spcBef>
                <a:spcPts val="600"/>
              </a:spcBef>
            </a:pPr>
            <a:r>
              <a:rPr lang="en-GB" sz="1100" b="1" noProof="0">
                <a:latin typeface="Quattrocento Sans" panose="020B0502050000020003" pitchFamily="34" charset="0"/>
              </a:rPr>
              <a:t>Why and What: </a:t>
            </a:r>
          </a:p>
          <a:p>
            <a:pPr marL="171450" indent="-171450">
              <a:spcBef>
                <a:spcPts val="300"/>
              </a:spcBef>
              <a:spcAft>
                <a:spcPts val="600"/>
              </a:spcAft>
              <a:buFont typeface="Arial" panose="020B0604020202020204" pitchFamily="34" charset="0"/>
              <a:buChar char="•"/>
            </a:pPr>
            <a:r>
              <a:rPr lang="en-GB" sz="1100" noProof="0">
                <a:latin typeface="Quattrocento Sans" panose="020B0502050000020003" pitchFamily="34" charset="0"/>
              </a:rPr>
              <a:t>Ensures correct use of spaces and object structures.</a:t>
            </a:r>
          </a:p>
          <a:p>
            <a:pPr marL="171450" indent="-171450">
              <a:spcBef>
                <a:spcPts val="300"/>
              </a:spcBef>
              <a:spcAft>
                <a:spcPts val="600"/>
              </a:spcAft>
              <a:buFont typeface="Arial" panose="020B0604020202020204" pitchFamily="34" charset="0"/>
              <a:buChar char="•"/>
            </a:pPr>
            <a:r>
              <a:rPr lang="en-GB" sz="1100" noProof="0">
                <a:latin typeface="Quattrocento Sans" panose="020B0502050000020003" pitchFamily="34" charset="0"/>
              </a:rPr>
              <a:t>Queries, models, dataflows.</a:t>
            </a:r>
          </a:p>
          <a:p>
            <a:pPr marL="171450" indent="-171450">
              <a:spcBef>
                <a:spcPts val="300"/>
              </a:spcBef>
              <a:spcAft>
                <a:spcPts val="600"/>
              </a:spcAft>
              <a:buFont typeface="Arial" panose="020B0604020202020204" pitchFamily="34" charset="0"/>
              <a:buChar char="•"/>
            </a:pPr>
            <a:r>
              <a:rPr lang="en-GB" sz="1100" noProof="0">
                <a:latin typeface="Quattrocento Sans" panose="020B0502050000020003" pitchFamily="34" charset="0"/>
              </a:rPr>
              <a:t>Use of spaces and consistency checks.</a:t>
            </a:r>
          </a:p>
        </p:txBody>
      </p:sp>
      <p:sp>
        <p:nvSpPr>
          <p:cNvPr id="23" name="Rectangle 33">
            <a:extLst>
              <a:ext uri="{FF2B5EF4-FFF2-40B4-BE49-F238E27FC236}">
                <a16:creationId xmlns:a16="http://schemas.microsoft.com/office/drawing/2014/main" id="{9C8E1FCD-3848-4B9C-8AE4-40BBB6F6332E}"/>
              </a:ext>
            </a:extLst>
          </p:cNvPr>
          <p:cNvSpPr/>
          <p:nvPr>
            <p:custDataLst>
              <p:tags r:id="rId2"/>
            </p:custDataLst>
          </p:nvPr>
        </p:nvSpPr>
        <p:spPr>
          <a:xfrm>
            <a:off x="8549686" y="2098480"/>
            <a:ext cx="2879998" cy="1995410"/>
          </a:xfrm>
          <a:prstGeom prst="rect">
            <a:avLst/>
          </a:prstGeom>
        </p:spPr>
        <p:txBody>
          <a:bodyPr wrap="square" lIns="91432" tIns="45716" rIns="91432" bIns="45716">
            <a:spAutoFit/>
          </a:bodyPr>
          <a:lstStyle/>
          <a:p>
            <a:pPr defTabSz="914422">
              <a:lnSpc>
                <a:spcPts val="2000"/>
              </a:lnSpc>
            </a:pPr>
            <a:r>
              <a:rPr lang="en-GB" sz="1600" b="1" noProof="0">
                <a:solidFill>
                  <a:schemeClr val="bg1"/>
                </a:solidFill>
                <a:latin typeface="Quattrocento Sans" panose="020B0502050000020003" pitchFamily="34" charset="0"/>
              </a:rPr>
              <a:t>Best Practices &amp; Compliance</a:t>
            </a:r>
          </a:p>
          <a:p>
            <a:pPr>
              <a:spcBef>
                <a:spcPts val="600"/>
              </a:spcBef>
            </a:pPr>
            <a:r>
              <a:rPr lang="en-GB" sz="1100" b="1" noProof="0">
                <a:latin typeface="Quattrocento Sans" panose="020B0502050000020003" pitchFamily="34" charset="0"/>
              </a:rPr>
              <a:t>Why and What: </a:t>
            </a:r>
          </a:p>
          <a:p>
            <a:pPr marL="171450" indent="-171450">
              <a:spcBef>
                <a:spcPts val="300"/>
              </a:spcBef>
              <a:spcAft>
                <a:spcPts val="600"/>
              </a:spcAft>
              <a:buFont typeface="Arial" panose="020B0604020202020204" pitchFamily="34" charset="0"/>
              <a:buChar char="•"/>
            </a:pPr>
            <a:r>
              <a:rPr lang="en-GB" sz="1100" noProof="0">
                <a:latin typeface="Quattrocento Sans" panose="020B0502050000020003" pitchFamily="34" charset="0"/>
              </a:rPr>
              <a:t>Ensures developments meet standards and security.</a:t>
            </a:r>
          </a:p>
          <a:p>
            <a:pPr marL="171450" indent="-171450">
              <a:spcBef>
                <a:spcPts val="300"/>
              </a:spcBef>
              <a:spcAft>
                <a:spcPts val="600"/>
              </a:spcAft>
              <a:buFont typeface="Arial" panose="020B0604020202020204" pitchFamily="34" charset="0"/>
              <a:buChar char="•"/>
            </a:pPr>
            <a:r>
              <a:rPr lang="en-GB" sz="1100" noProof="0">
                <a:latin typeface="Quattrocento Sans" panose="020B0502050000020003" pitchFamily="34" charset="0"/>
              </a:rPr>
              <a:t>Roles &amp; authorizations.</a:t>
            </a:r>
          </a:p>
          <a:p>
            <a:pPr marL="171450" indent="-171450">
              <a:spcBef>
                <a:spcPts val="300"/>
              </a:spcBef>
              <a:spcAft>
                <a:spcPts val="600"/>
              </a:spcAft>
              <a:buFont typeface="Arial" panose="020B0604020202020204" pitchFamily="34" charset="0"/>
              <a:buChar char="•"/>
            </a:pPr>
            <a:r>
              <a:rPr lang="en-GB" sz="1100" noProof="0">
                <a:latin typeface="Quattrocento Sans" panose="020B0502050000020003" pitchFamily="34" charset="0"/>
              </a:rPr>
              <a:t>Technical names validation across the system.</a:t>
            </a:r>
          </a:p>
          <a:p>
            <a:pPr marL="171450" indent="-171450">
              <a:spcBef>
                <a:spcPts val="300"/>
              </a:spcBef>
              <a:spcAft>
                <a:spcPts val="600"/>
              </a:spcAft>
              <a:buFont typeface="Arial" panose="020B0604020202020204" pitchFamily="34" charset="0"/>
              <a:buChar char="•"/>
            </a:pPr>
            <a:r>
              <a:rPr lang="en-GB" sz="1100" noProof="0">
                <a:latin typeface="Quattrocento Sans" panose="020B0502050000020003" pitchFamily="34" charset="0"/>
              </a:rPr>
              <a:t>Versioning, security, governance.</a:t>
            </a:r>
          </a:p>
        </p:txBody>
      </p:sp>
      <p:sp>
        <p:nvSpPr>
          <p:cNvPr id="24" name="Rectángulo 23">
            <a:extLst>
              <a:ext uri="{FF2B5EF4-FFF2-40B4-BE49-F238E27FC236}">
                <a16:creationId xmlns:a16="http://schemas.microsoft.com/office/drawing/2014/main" id="{9C9EDEF4-7ADC-1B8C-0275-0B8FF866A87C}"/>
              </a:ext>
            </a:extLst>
          </p:cNvPr>
          <p:cNvSpPr/>
          <p:nvPr/>
        </p:nvSpPr>
        <p:spPr bwMode="auto">
          <a:xfrm>
            <a:off x="4591091" y="3382716"/>
            <a:ext cx="2879993" cy="282272"/>
          </a:xfrm>
          <a:prstGeom prst="rect">
            <a:avLst/>
          </a:prstGeom>
          <a:solidFill>
            <a:schemeClr val="tx1"/>
          </a:solidFill>
          <a:ln>
            <a:noFill/>
          </a:ln>
        </p:spPr>
        <p:txBody>
          <a:bodyPr lIns="0" tIns="0" rIns="0" bIns="0" rtlCol="0" anchor="ctr"/>
          <a:lstStyle/>
          <a:p>
            <a:pPr algn="ctr"/>
            <a:endParaRPr lang="en-GB" noProof="0">
              <a:solidFill>
                <a:schemeClr val="bg1"/>
              </a:solidFill>
              <a:latin typeface="Quattrocento Sans" panose="020B0502050000020003" pitchFamily="34" charset="0"/>
            </a:endParaRPr>
          </a:p>
        </p:txBody>
      </p:sp>
      <p:sp>
        <p:nvSpPr>
          <p:cNvPr id="25" name="Rectangle 33">
            <a:extLst>
              <a:ext uri="{FF2B5EF4-FFF2-40B4-BE49-F238E27FC236}">
                <a16:creationId xmlns:a16="http://schemas.microsoft.com/office/drawing/2014/main" id="{7D56119B-6529-2B8A-4687-0E7BD798F30D}"/>
              </a:ext>
            </a:extLst>
          </p:cNvPr>
          <p:cNvSpPr/>
          <p:nvPr>
            <p:custDataLst>
              <p:tags r:id="rId3"/>
            </p:custDataLst>
          </p:nvPr>
        </p:nvSpPr>
        <p:spPr>
          <a:xfrm>
            <a:off x="4591091" y="3382716"/>
            <a:ext cx="2879993" cy="1614473"/>
          </a:xfrm>
          <a:prstGeom prst="rect">
            <a:avLst/>
          </a:prstGeom>
        </p:spPr>
        <p:txBody>
          <a:bodyPr wrap="square" lIns="91432" tIns="45716" rIns="91432" bIns="45716">
            <a:spAutoFit/>
          </a:bodyPr>
          <a:lstStyle/>
          <a:p>
            <a:pPr algn="ctr" defTabSz="914422">
              <a:lnSpc>
                <a:spcPts val="2000"/>
              </a:lnSpc>
            </a:pPr>
            <a:r>
              <a:rPr lang="en-GB" sz="1600" b="1" noProof="0">
                <a:solidFill>
                  <a:schemeClr val="bg1"/>
                </a:solidFill>
                <a:latin typeface="Quattrocento Sans" panose="020B0502050000020003" pitchFamily="34" charset="0"/>
              </a:rPr>
              <a:t>SAP Datasphere Advisory</a:t>
            </a:r>
          </a:p>
          <a:p>
            <a:pPr algn="ctr" defTabSz="914422">
              <a:lnSpc>
                <a:spcPts val="2000"/>
              </a:lnSpc>
            </a:pPr>
            <a:endParaRPr lang="en-GB" sz="1600" b="1" noProof="0">
              <a:solidFill>
                <a:schemeClr val="bg1"/>
              </a:solidFill>
              <a:latin typeface="Quattrocento Sans" panose="020B0502050000020003" pitchFamily="34" charset="0"/>
            </a:endParaRPr>
          </a:p>
          <a:p>
            <a:pPr algn="ctr" defTabSz="914422">
              <a:lnSpc>
                <a:spcPts val="2000"/>
              </a:lnSpc>
            </a:pPr>
            <a:r>
              <a:rPr lang="en-GB" sz="1400" b="1" noProof="0">
                <a:latin typeface="Quattrocento Sans" panose="020B0502050000020003" pitchFamily="34" charset="0"/>
              </a:rPr>
              <a:t>Ensuring quality, compliance, risks and best practices in all developments (completed and ongoing).</a:t>
            </a:r>
          </a:p>
        </p:txBody>
      </p:sp>
      <p:sp>
        <p:nvSpPr>
          <p:cNvPr id="26" name="Rectángulo 25">
            <a:extLst>
              <a:ext uri="{FF2B5EF4-FFF2-40B4-BE49-F238E27FC236}">
                <a16:creationId xmlns:a16="http://schemas.microsoft.com/office/drawing/2014/main" id="{F227021B-C30B-8405-7D79-661A6459F705}"/>
              </a:ext>
            </a:extLst>
          </p:cNvPr>
          <p:cNvSpPr/>
          <p:nvPr/>
        </p:nvSpPr>
        <p:spPr bwMode="auto">
          <a:xfrm>
            <a:off x="8549686" y="4463535"/>
            <a:ext cx="2880000" cy="282272"/>
          </a:xfrm>
          <a:prstGeom prst="rect">
            <a:avLst/>
          </a:prstGeom>
          <a:solidFill>
            <a:schemeClr val="bg1">
              <a:lumMod val="50000"/>
            </a:schemeClr>
          </a:solidFill>
          <a:ln>
            <a:noFill/>
          </a:ln>
        </p:spPr>
        <p:txBody>
          <a:bodyPr lIns="0" tIns="0" rIns="0" bIns="0" rtlCol="0" anchor="ctr"/>
          <a:lstStyle/>
          <a:p>
            <a:pPr algn="ctr"/>
            <a:endParaRPr lang="en-GB" noProof="0">
              <a:latin typeface="Quattrocento Sans" panose="020B0502050000020003" pitchFamily="34" charset="0"/>
            </a:endParaRPr>
          </a:p>
        </p:txBody>
      </p:sp>
      <p:sp>
        <p:nvSpPr>
          <p:cNvPr id="27" name="Rectangle 33">
            <a:extLst>
              <a:ext uri="{FF2B5EF4-FFF2-40B4-BE49-F238E27FC236}">
                <a16:creationId xmlns:a16="http://schemas.microsoft.com/office/drawing/2014/main" id="{3610F818-39CC-68AB-1E04-C5C3E63C3DD8}"/>
              </a:ext>
            </a:extLst>
          </p:cNvPr>
          <p:cNvSpPr/>
          <p:nvPr>
            <p:custDataLst>
              <p:tags r:id="rId4"/>
            </p:custDataLst>
          </p:nvPr>
        </p:nvSpPr>
        <p:spPr>
          <a:xfrm>
            <a:off x="8513681" y="4429366"/>
            <a:ext cx="2814457" cy="2005669"/>
          </a:xfrm>
          <a:prstGeom prst="rect">
            <a:avLst/>
          </a:prstGeom>
        </p:spPr>
        <p:txBody>
          <a:bodyPr wrap="square" lIns="91432" tIns="45716" rIns="91432" bIns="45716">
            <a:spAutoFit/>
          </a:bodyPr>
          <a:lstStyle/>
          <a:p>
            <a:pPr defTabSz="914422">
              <a:lnSpc>
                <a:spcPts val="2000"/>
              </a:lnSpc>
            </a:pPr>
            <a:r>
              <a:rPr lang="en-GB" sz="1600" b="1" noProof="0">
                <a:solidFill>
                  <a:schemeClr val="bg1"/>
                </a:solidFill>
                <a:latin typeface="Quattrocento Sans" panose="020B0502050000020003" pitchFamily="34" charset="0"/>
              </a:rPr>
              <a:t>Architecture Review</a:t>
            </a:r>
          </a:p>
          <a:p>
            <a:pPr defTabSz="914422">
              <a:lnSpc>
                <a:spcPts val="2000"/>
              </a:lnSpc>
            </a:pPr>
            <a:r>
              <a:rPr lang="en-GB" sz="1100" b="1" noProof="0">
                <a:latin typeface="Quattrocento Sans" panose="020B0502050000020003" pitchFamily="34" charset="0"/>
              </a:rPr>
              <a:t>Why and What: </a:t>
            </a:r>
          </a:p>
          <a:p>
            <a:pPr marL="171450" indent="-171450">
              <a:spcBef>
                <a:spcPts val="300"/>
              </a:spcBef>
              <a:spcAft>
                <a:spcPts val="600"/>
              </a:spcAft>
              <a:buFont typeface="Arial" panose="020B0604020202020204" pitchFamily="34" charset="0"/>
              <a:buChar char="•"/>
            </a:pPr>
            <a:r>
              <a:rPr lang="en-GB" sz="1100" noProof="0">
                <a:latin typeface="Quattrocento Sans" panose="020B0502050000020003" pitchFamily="34" charset="0"/>
              </a:rPr>
              <a:t>Ensures a clear definition of architecture and responsibilities.</a:t>
            </a:r>
          </a:p>
          <a:p>
            <a:pPr marL="171450" indent="-171450">
              <a:spcBef>
                <a:spcPts val="300"/>
              </a:spcBef>
              <a:spcAft>
                <a:spcPts val="600"/>
              </a:spcAft>
              <a:buFont typeface="Arial" panose="020B0604020202020204" pitchFamily="34" charset="0"/>
              <a:buChar char="•"/>
            </a:pPr>
            <a:r>
              <a:rPr lang="en-GB" sz="1100" noProof="0">
                <a:latin typeface="Quattrocento Sans" panose="020B0502050000020003" pitchFamily="34" charset="0"/>
              </a:rPr>
              <a:t>Guarantees that developments are done in the right place (where they belong).</a:t>
            </a:r>
          </a:p>
          <a:p>
            <a:pPr marL="171450" indent="-171450">
              <a:spcBef>
                <a:spcPts val="300"/>
              </a:spcBef>
              <a:spcAft>
                <a:spcPts val="600"/>
              </a:spcAft>
              <a:buFont typeface="Arial" panose="020B0604020202020204" pitchFamily="34" charset="0"/>
              <a:buChar char="•"/>
            </a:pPr>
            <a:r>
              <a:rPr lang="en-GB" sz="1100" noProof="0">
                <a:latin typeface="Quattrocento Sans" panose="020B0502050000020003" pitchFamily="34" charset="0"/>
              </a:rPr>
              <a:t>Clear guidelines on “where to do what”</a:t>
            </a:r>
          </a:p>
          <a:p>
            <a:pPr marL="171450" indent="-171450">
              <a:spcBef>
                <a:spcPts val="300"/>
              </a:spcBef>
              <a:spcAft>
                <a:spcPts val="600"/>
              </a:spcAft>
              <a:buFont typeface="Arial" panose="020B0604020202020204" pitchFamily="34" charset="0"/>
              <a:buChar char="•"/>
            </a:pPr>
            <a:r>
              <a:rPr lang="en-GB" sz="1100" noProof="0">
                <a:latin typeface="Quattrocento Sans" panose="020B0502050000020003" pitchFamily="34" charset="0"/>
              </a:rPr>
              <a:t>Compliance with best practices</a:t>
            </a:r>
          </a:p>
        </p:txBody>
      </p:sp>
      <p:sp>
        <p:nvSpPr>
          <p:cNvPr id="30" name="Rectángulo 29">
            <a:extLst>
              <a:ext uri="{FF2B5EF4-FFF2-40B4-BE49-F238E27FC236}">
                <a16:creationId xmlns:a16="http://schemas.microsoft.com/office/drawing/2014/main" id="{D1D86D9C-9231-00DA-328B-E57677CFFE5F}"/>
              </a:ext>
            </a:extLst>
          </p:cNvPr>
          <p:cNvSpPr/>
          <p:nvPr/>
        </p:nvSpPr>
        <p:spPr bwMode="auto">
          <a:xfrm>
            <a:off x="571324" y="2109678"/>
            <a:ext cx="2880000" cy="282272"/>
          </a:xfrm>
          <a:prstGeom prst="rect">
            <a:avLst/>
          </a:prstGeom>
          <a:solidFill>
            <a:schemeClr val="bg1">
              <a:lumMod val="50000"/>
            </a:schemeClr>
          </a:solidFill>
          <a:ln>
            <a:noFill/>
          </a:ln>
        </p:spPr>
        <p:txBody>
          <a:bodyPr lIns="0" tIns="0" rIns="0" bIns="0" rtlCol="0" anchor="ctr"/>
          <a:lstStyle/>
          <a:p>
            <a:pPr algn="ctr"/>
            <a:endParaRPr lang="en-GB" noProof="0">
              <a:latin typeface="Quattrocento Sans" panose="020B0502050000020003" pitchFamily="34" charset="0"/>
            </a:endParaRPr>
          </a:p>
        </p:txBody>
      </p:sp>
      <p:sp>
        <p:nvSpPr>
          <p:cNvPr id="31" name="Rectangle 33">
            <a:extLst>
              <a:ext uri="{FF2B5EF4-FFF2-40B4-BE49-F238E27FC236}">
                <a16:creationId xmlns:a16="http://schemas.microsoft.com/office/drawing/2014/main" id="{30C57F1E-9AE2-8A37-9C3D-8D40DD46B184}"/>
              </a:ext>
            </a:extLst>
          </p:cNvPr>
          <p:cNvSpPr/>
          <p:nvPr>
            <p:custDataLst>
              <p:tags r:id="rId5"/>
            </p:custDataLst>
          </p:nvPr>
        </p:nvSpPr>
        <p:spPr>
          <a:xfrm>
            <a:off x="542749" y="2081675"/>
            <a:ext cx="2904283" cy="1995410"/>
          </a:xfrm>
          <a:prstGeom prst="rect">
            <a:avLst/>
          </a:prstGeom>
        </p:spPr>
        <p:txBody>
          <a:bodyPr wrap="square" lIns="91432" tIns="45716" rIns="91432" bIns="45716">
            <a:spAutoFit/>
          </a:bodyPr>
          <a:lstStyle/>
          <a:p>
            <a:pPr defTabSz="914422">
              <a:lnSpc>
                <a:spcPts val="2000"/>
              </a:lnSpc>
            </a:pPr>
            <a:r>
              <a:rPr lang="en-GB" sz="1600" b="1" noProof="0">
                <a:solidFill>
                  <a:schemeClr val="bg1"/>
                </a:solidFill>
                <a:latin typeface="Quattrocento Sans" panose="020B0502050000020003" pitchFamily="34" charset="0"/>
              </a:rPr>
              <a:t>Documentation Review</a:t>
            </a:r>
          </a:p>
          <a:p>
            <a:pPr>
              <a:spcBef>
                <a:spcPts val="600"/>
              </a:spcBef>
            </a:pPr>
            <a:r>
              <a:rPr lang="en-GB" sz="1100" b="1" noProof="0">
                <a:latin typeface="Quattrocento Sans" panose="020B0502050000020003" pitchFamily="34" charset="0"/>
              </a:rPr>
              <a:t>Why and What: </a:t>
            </a:r>
          </a:p>
          <a:p>
            <a:pPr marL="171450" indent="-171450">
              <a:spcBef>
                <a:spcPts val="300"/>
              </a:spcBef>
              <a:spcAft>
                <a:spcPts val="600"/>
              </a:spcAft>
              <a:buFont typeface="Arial" panose="020B0604020202020204" pitchFamily="34" charset="0"/>
              <a:buChar char="•"/>
            </a:pPr>
            <a:r>
              <a:rPr lang="en-GB" sz="1100" noProof="0">
                <a:latin typeface="Quattrocento Sans" panose="020B0502050000020003" pitchFamily="34" charset="0"/>
              </a:rPr>
              <a:t>Guarantees quality and alignment with actual developments.</a:t>
            </a:r>
          </a:p>
          <a:p>
            <a:pPr marL="171450" indent="-171450">
              <a:spcBef>
                <a:spcPts val="300"/>
              </a:spcBef>
              <a:spcAft>
                <a:spcPts val="600"/>
              </a:spcAft>
              <a:buFont typeface="Arial" panose="020B0604020202020204" pitchFamily="34" charset="0"/>
              <a:buChar char="•"/>
            </a:pPr>
            <a:r>
              <a:rPr lang="en-GB" sz="1100" noProof="0">
                <a:latin typeface="Quattrocento Sans" panose="020B0502050000020003" pitchFamily="34" charset="0"/>
              </a:rPr>
              <a:t>Functional &amp; technical designs.</a:t>
            </a:r>
          </a:p>
          <a:p>
            <a:pPr marL="171450" indent="-171450">
              <a:spcBef>
                <a:spcPts val="300"/>
              </a:spcBef>
              <a:spcAft>
                <a:spcPts val="600"/>
              </a:spcAft>
              <a:buFont typeface="Arial" panose="020B0604020202020204" pitchFamily="34" charset="0"/>
              <a:buChar char="•"/>
            </a:pPr>
            <a:r>
              <a:rPr lang="en-GB" sz="1100" noProof="0">
                <a:latin typeface="Quattrocento Sans" panose="020B0502050000020003" pitchFamily="34" charset="0"/>
              </a:rPr>
              <a:t>Test documents and KPIs.</a:t>
            </a:r>
          </a:p>
          <a:p>
            <a:pPr marL="171450" indent="-171450">
              <a:spcBef>
                <a:spcPts val="300"/>
              </a:spcBef>
              <a:spcAft>
                <a:spcPts val="600"/>
              </a:spcAft>
              <a:buFont typeface="Arial" panose="020B0604020202020204" pitchFamily="34" charset="0"/>
              <a:buChar char="•"/>
            </a:pPr>
            <a:r>
              <a:rPr lang="en-GB" sz="1100" noProof="0">
                <a:latin typeface="Quattrocento Sans" panose="020B0502050000020003" pitchFamily="34" charset="0"/>
              </a:rPr>
              <a:t>Reconciliation guides, GAPS, lessons learned.</a:t>
            </a:r>
          </a:p>
        </p:txBody>
      </p:sp>
      <p:sp>
        <p:nvSpPr>
          <p:cNvPr id="32" name="Rectángulo 31">
            <a:extLst>
              <a:ext uri="{FF2B5EF4-FFF2-40B4-BE49-F238E27FC236}">
                <a16:creationId xmlns:a16="http://schemas.microsoft.com/office/drawing/2014/main" id="{FE514CA0-DCB1-ACA4-0193-7E56B63BFE5F}"/>
              </a:ext>
            </a:extLst>
          </p:cNvPr>
          <p:cNvSpPr/>
          <p:nvPr/>
        </p:nvSpPr>
        <p:spPr>
          <a:xfrm>
            <a:off x="4413665" y="2817746"/>
            <a:ext cx="3305175" cy="2518677"/>
          </a:xfrm>
          <a:prstGeom prst="rect">
            <a:avLst/>
          </a:prstGeom>
          <a:noFill/>
          <a:ln w="38100" cap="flat" cmpd="sng" algn="ctr">
            <a:solidFill>
              <a:srgbClr val="8A005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noProof="0">
              <a:latin typeface="Quattrocento Sans" panose="020B0502050000020003" pitchFamily="34" charset="0"/>
            </a:endParaRPr>
          </a:p>
        </p:txBody>
      </p:sp>
      <p:cxnSp>
        <p:nvCxnSpPr>
          <p:cNvPr id="33" name="Conector recto de flecha 32">
            <a:extLst>
              <a:ext uri="{FF2B5EF4-FFF2-40B4-BE49-F238E27FC236}">
                <a16:creationId xmlns:a16="http://schemas.microsoft.com/office/drawing/2014/main" id="{042CD1E9-7AFE-31D5-4A0B-25E0E4DF82F0}"/>
              </a:ext>
            </a:extLst>
          </p:cNvPr>
          <p:cNvCxnSpPr>
            <a:cxnSpLocks/>
          </p:cNvCxnSpPr>
          <p:nvPr/>
        </p:nvCxnSpPr>
        <p:spPr>
          <a:xfrm>
            <a:off x="3543961" y="2251344"/>
            <a:ext cx="762000" cy="566402"/>
          </a:xfrm>
          <a:prstGeom prst="straightConnector1">
            <a:avLst/>
          </a:prstGeom>
          <a:ln>
            <a:solidFill>
              <a:srgbClr val="8A0051"/>
            </a:solidFill>
            <a:headEnd type="triangle"/>
            <a:tailEnd type="triangle"/>
          </a:ln>
        </p:spPr>
        <p:style>
          <a:lnRef idx="1">
            <a:schemeClr val="accent2"/>
          </a:lnRef>
          <a:fillRef idx="0">
            <a:schemeClr val="accent2"/>
          </a:fillRef>
          <a:effectRef idx="0">
            <a:schemeClr val="accent2"/>
          </a:effectRef>
          <a:fontRef idx="minor">
            <a:schemeClr val="tx1"/>
          </a:fontRef>
        </p:style>
      </p:cxnSp>
      <p:cxnSp>
        <p:nvCxnSpPr>
          <p:cNvPr id="34" name="Conector recto de flecha 33">
            <a:extLst>
              <a:ext uri="{FF2B5EF4-FFF2-40B4-BE49-F238E27FC236}">
                <a16:creationId xmlns:a16="http://schemas.microsoft.com/office/drawing/2014/main" id="{BC0686C9-D122-0A8F-1592-CF74B4717AAC}"/>
              </a:ext>
            </a:extLst>
          </p:cNvPr>
          <p:cNvCxnSpPr>
            <a:cxnSpLocks/>
          </p:cNvCxnSpPr>
          <p:nvPr/>
        </p:nvCxnSpPr>
        <p:spPr>
          <a:xfrm flipV="1">
            <a:off x="7718840" y="2232294"/>
            <a:ext cx="778121" cy="585452"/>
          </a:xfrm>
          <a:prstGeom prst="straightConnector1">
            <a:avLst/>
          </a:prstGeom>
          <a:ln>
            <a:solidFill>
              <a:srgbClr val="8A0051"/>
            </a:solidFill>
            <a:headEnd type="triangle"/>
            <a:tailEnd type="triangle"/>
          </a:ln>
        </p:spPr>
        <p:style>
          <a:lnRef idx="1">
            <a:schemeClr val="accent2"/>
          </a:lnRef>
          <a:fillRef idx="0">
            <a:schemeClr val="accent2"/>
          </a:fillRef>
          <a:effectRef idx="0">
            <a:schemeClr val="accent2"/>
          </a:effectRef>
          <a:fontRef idx="minor">
            <a:schemeClr val="tx1"/>
          </a:fontRef>
        </p:style>
      </p:cxnSp>
      <p:cxnSp>
        <p:nvCxnSpPr>
          <p:cNvPr id="36" name="Conector recto de flecha 35">
            <a:extLst>
              <a:ext uri="{FF2B5EF4-FFF2-40B4-BE49-F238E27FC236}">
                <a16:creationId xmlns:a16="http://schemas.microsoft.com/office/drawing/2014/main" id="{D9BD6E4C-6CC9-0E6D-4C68-2172002000BE}"/>
              </a:ext>
            </a:extLst>
          </p:cNvPr>
          <p:cNvCxnSpPr>
            <a:cxnSpLocks/>
          </p:cNvCxnSpPr>
          <p:nvPr/>
        </p:nvCxnSpPr>
        <p:spPr>
          <a:xfrm flipH="1">
            <a:off x="3669392" y="4610656"/>
            <a:ext cx="636569" cy="0"/>
          </a:xfrm>
          <a:prstGeom prst="straightConnector1">
            <a:avLst/>
          </a:prstGeom>
          <a:ln>
            <a:solidFill>
              <a:srgbClr val="8A0051"/>
            </a:solidFill>
            <a:headEnd type="triangle"/>
            <a:tailEnd type="triangle"/>
          </a:ln>
        </p:spPr>
        <p:style>
          <a:lnRef idx="1">
            <a:schemeClr val="accent2"/>
          </a:lnRef>
          <a:fillRef idx="0">
            <a:schemeClr val="accent2"/>
          </a:fillRef>
          <a:effectRef idx="0">
            <a:schemeClr val="accent2"/>
          </a:effectRef>
          <a:fontRef idx="minor">
            <a:schemeClr val="tx1"/>
          </a:fontRef>
        </p:style>
      </p:cxnSp>
      <p:cxnSp>
        <p:nvCxnSpPr>
          <p:cNvPr id="37" name="Conector recto de flecha 36">
            <a:extLst>
              <a:ext uri="{FF2B5EF4-FFF2-40B4-BE49-F238E27FC236}">
                <a16:creationId xmlns:a16="http://schemas.microsoft.com/office/drawing/2014/main" id="{D7B7AFA4-1471-CFAD-E8BD-A70089D14194}"/>
              </a:ext>
            </a:extLst>
          </p:cNvPr>
          <p:cNvCxnSpPr>
            <a:cxnSpLocks/>
          </p:cNvCxnSpPr>
          <p:nvPr/>
        </p:nvCxnSpPr>
        <p:spPr>
          <a:xfrm>
            <a:off x="7844955" y="4610656"/>
            <a:ext cx="546592" cy="0"/>
          </a:xfrm>
          <a:prstGeom prst="straightConnector1">
            <a:avLst/>
          </a:prstGeom>
          <a:ln>
            <a:solidFill>
              <a:srgbClr val="8A0051"/>
            </a:solidFill>
            <a:headEnd type="triangle"/>
            <a:tailEnd type="triangle"/>
          </a:ln>
        </p:spPr>
        <p:style>
          <a:lnRef idx="1">
            <a:schemeClr val="accent2"/>
          </a:lnRef>
          <a:fillRef idx="0">
            <a:schemeClr val="accent2"/>
          </a:fillRef>
          <a:effectRef idx="0">
            <a:schemeClr val="accent2"/>
          </a:effectRef>
          <a:fontRef idx="minor">
            <a:schemeClr val="tx1"/>
          </a:fontRef>
        </p:style>
      </p:cxnSp>
      <p:sp>
        <p:nvSpPr>
          <p:cNvPr id="38" name="CuadroTexto 37">
            <a:extLst>
              <a:ext uri="{FF2B5EF4-FFF2-40B4-BE49-F238E27FC236}">
                <a16:creationId xmlns:a16="http://schemas.microsoft.com/office/drawing/2014/main" id="{7FD8D414-BBD2-ED28-E92D-857A16EC5B81}"/>
              </a:ext>
            </a:extLst>
          </p:cNvPr>
          <p:cNvSpPr txBox="1"/>
          <p:nvPr/>
        </p:nvSpPr>
        <p:spPr>
          <a:xfrm>
            <a:off x="179184" y="1184753"/>
            <a:ext cx="10946766" cy="646331"/>
          </a:xfrm>
          <a:prstGeom prst="rect">
            <a:avLst/>
          </a:prstGeom>
          <a:noFill/>
        </p:spPr>
        <p:txBody>
          <a:bodyPr wrap="square">
            <a:spAutoFit/>
          </a:bodyPr>
          <a:lstStyle/>
          <a:p>
            <a:r>
              <a:rPr lang="en-GB" noProof="0">
                <a:latin typeface="Quattrocento Sans" panose="020B0502050000020003" pitchFamily="34" charset="0"/>
              </a:rPr>
              <a:t>A comprehensive review of SAP Datasphere developments and documentation to ensure alignment with best practices, standards, and project goals, covering both completed and ongoing workstreams:</a:t>
            </a:r>
          </a:p>
        </p:txBody>
      </p:sp>
      <p:pic>
        <p:nvPicPr>
          <p:cNvPr id="1026" name="Picture 2" descr="AstraZeneca Logo, symbol, meaning, history, PNG, brand">
            <a:extLst>
              <a:ext uri="{FF2B5EF4-FFF2-40B4-BE49-F238E27FC236}">
                <a16:creationId xmlns:a16="http://schemas.microsoft.com/office/drawing/2014/main" id="{0E629BEA-0B01-FD1B-1CD0-1A73E900FD8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075018" y="213658"/>
            <a:ext cx="1267373" cy="71289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239CD125-4442-52BA-B47E-A734A5C139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42749" y="-1321411"/>
            <a:ext cx="5657850" cy="8096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7532808"/>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59A0E2FE-86B1-4B31-5C80-7FBD827B0F05}"/>
            </a:ext>
          </a:extLst>
        </p:cNvPr>
        <p:cNvGrpSpPr/>
        <p:nvPr/>
      </p:nvGrpSpPr>
      <p:grpSpPr>
        <a:xfrm>
          <a:off x="0" y="0"/>
          <a:ext cx="0" cy="0"/>
          <a:chOff x="0" y="0"/>
          <a:chExt cx="0" cy="0"/>
        </a:xfrm>
      </p:grpSpPr>
      <p:sp>
        <p:nvSpPr>
          <p:cNvPr id="2" name="Rectangle 57">
            <a:extLst>
              <a:ext uri="{FF2B5EF4-FFF2-40B4-BE49-F238E27FC236}">
                <a16:creationId xmlns:a16="http://schemas.microsoft.com/office/drawing/2014/main" id="{6805FC21-8024-0111-E92B-51E9B314610D}"/>
              </a:ext>
            </a:extLst>
          </p:cNvPr>
          <p:cNvSpPr>
            <a:spLocks noChangeArrowheads="1"/>
          </p:cNvSpPr>
          <p:nvPr/>
        </p:nvSpPr>
        <p:spPr bwMode="gray">
          <a:xfrm>
            <a:off x="226220" y="198916"/>
            <a:ext cx="7407741" cy="984830"/>
          </a:xfrm>
          <a:prstGeom prst="rect">
            <a:avLst/>
          </a:prstGeom>
          <a:noFill/>
          <a:ln w="9525">
            <a:noFill/>
            <a:miter lim="800000"/>
            <a:headEnd/>
            <a:tailEnd/>
          </a:ln>
          <a:effectLst/>
        </p:spPr>
        <p:txBody>
          <a:bodyPr wrap="square" lIns="91386" tIns="45693" rIns="91386" bIns="45693">
            <a:spAutoFit/>
          </a:bodyPr>
          <a:lstStyle/>
          <a:p>
            <a:pPr defTabSz="609630"/>
            <a:r>
              <a:rPr lang="en-GB" sz="4000" b="1" kern="0" noProof="0">
                <a:solidFill>
                  <a:srgbClr val="000000">
                    <a:lumMod val="95000"/>
                    <a:lumOff val="5000"/>
                  </a:srgbClr>
                </a:solidFill>
                <a:latin typeface="Quattrocento Sans" panose="020B0502050000020003" pitchFamily="34" charset="0"/>
                <a:ea typeface="Lato"/>
                <a:cs typeface="Lato"/>
                <a:sym typeface="Calibri"/>
              </a:rPr>
              <a:t>Advisory Process</a:t>
            </a:r>
          </a:p>
          <a:p>
            <a:pPr defTabSz="609630" hangingPunct="0"/>
            <a:r>
              <a:rPr lang="en-GB" kern="0" noProof="0">
                <a:solidFill>
                  <a:srgbClr val="8A0051"/>
                </a:solidFill>
                <a:latin typeface="Quattrocento Sans" panose="020B0502050000020003" pitchFamily="34" charset="0"/>
                <a:cs typeface="Calibri"/>
                <a:sym typeface="Calibri"/>
              </a:rPr>
              <a:t>Best Practices Datasphere</a:t>
            </a:r>
          </a:p>
        </p:txBody>
      </p:sp>
      <p:grpSp>
        <p:nvGrpSpPr>
          <p:cNvPr id="29" name="Group 15">
            <a:extLst>
              <a:ext uri="{FF2B5EF4-FFF2-40B4-BE49-F238E27FC236}">
                <a16:creationId xmlns:a16="http://schemas.microsoft.com/office/drawing/2014/main" id="{B4C3781C-472D-B885-63D2-076ADE850FC8}"/>
              </a:ext>
            </a:extLst>
          </p:cNvPr>
          <p:cNvGrpSpPr/>
          <p:nvPr/>
        </p:nvGrpSpPr>
        <p:grpSpPr>
          <a:xfrm rot="13851310">
            <a:off x="3874617" y="3698779"/>
            <a:ext cx="2160000" cy="360040"/>
            <a:chOff x="3779912" y="1815666"/>
            <a:chExt cx="1772081" cy="360040"/>
          </a:xfrm>
        </p:grpSpPr>
        <p:sp>
          <p:nvSpPr>
            <p:cNvPr id="30" name="Pentagon 16">
              <a:extLst>
                <a:ext uri="{FF2B5EF4-FFF2-40B4-BE49-F238E27FC236}">
                  <a16:creationId xmlns:a16="http://schemas.microsoft.com/office/drawing/2014/main" id="{01496CE8-A19A-8C85-D0EB-5E6F70311DCA}"/>
                </a:ext>
              </a:extLst>
            </p:cNvPr>
            <p:cNvSpPr/>
            <p:nvPr/>
          </p:nvSpPr>
          <p:spPr>
            <a:xfrm flipV="1">
              <a:off x="3779912" y="1815666"/>
              <a:ext cx="907986" cy="360040"/>
            </a:xfrm>
            <a:prstGeom prst="homePlate">
              <a:avLst/>
            </a:prstGeom>
            <a:solidFill>
              <a:sysClr val="windowText" lastClr="000000">
                <a:lumMod val="75000"/>
                <a:lumOff val="2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a:cs typeface="+mn-cs"/>
              </a:endParaRPr>
            </a:p>
          </p:txBody>
        </p:sp>
        <p:sp>
          <p:nvSpPr>
            <p:cNvPr id="31" name="Chevron 17">
              <a:extLst>
                <a:ext uri="{FF2B5EF4-FFF2-40B4-BE49-F238E27FC236}">
                  <a16:creationId xmlns:a16="http://schemas.microsoft.com/office/drawing/2014/main" id="{8931B255-7EAA-3A1F-C6E8-D31A26E430C2}"/>
                </a:ext>
              </a:extLst>
            </p:cNvPr>
            <p:cNvSpPr/>
            <p:nvPr/>
          </p:nvSpPr>
          <p:spPr>
            <a:xfrm>
              <a:off x="4560654" y="1815666"/>
              <a:ext cx="991339" cy="360040"/>
            </a:xfrm>
            <a:prstGeom prst="chevron">
              <a:avLst/>
            </a:prstGeom>
            <a:solidFill>
              <a:sysClr val="windowText" lastClr="000000">
                <a:lumMod val="75000"/>
                <a:lumOff val="2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a:cs typeface="+mn-cs"/>
              </a:endParaRPr>
            </a:p>
          </p:txBody>
        </p:sp>
      </p:grpSp>
      <p:grpSp>
        <p:nvGrpSpPr>
          <p:cNvPr id="32" name="Group 12">
            <a:extLst>
              <a:ext uri="{FF2B5EF4-FFF2-40B4-BE49-F238E27FC236}">
                <a16:creationId xmlns:a16="http://schemas.microsoft.com/office/drawing/2014/main" id="{540376DB-9347-44CB-80C8-08008DDE0BEA}"/>
              </a:ext>
            </a:extLst>
          </p:cNvPr>
          <p:cNvGrpSpPr/>
          <p:nvPr/>
        </p:nvGrpSpPr>
        <p:grpSpPr>
          <a:xfrm rot="7384107">
            <a:off x="5646493" y="3913073"/>
            <a:ext cx="2160000" cy="360040"/>
            <a:chOff x="3779912" y="1815666"/>
            <a:chExt cx="1772081" cy="360040"/>
          </a:xfrm>
        </p:grpSpPr>
        <p:sp>
          <p:nvSpPr>
            <p:cNvPr id="33" name="Pentagon 13">
              <a:extLst>
                <a:ext uri="{FF2B5EF4-FFF2-40B4-BE49-F238E27FC236}">
                  <a16:creationId xmlns:a16="http://schemas.microsoft.com/office/drawing/2014/main" id="{82DB251A-22D9-B3CD-6F3A-AD8DDB3DCB9C}"/>
                </a:ext>
              </a:extLst>
            </p:cNvPr>
            <p:cNvSpPr/>
            <p:nvPr/>
          </p:nvSpPr>
          <p:spPr>
            <a:xfrm flipV="1">
              <a:off x="3779912" y="1815666"/>
              <a:ext cx="907986" cy="360040"/>
            </a:xfrm>
            <a:prstGeom prst="homePlate">
              <a:avLst/>
            </a:prstGeom>
            <a:solidFill>
              <a:sysClr val="windowText" lastClr="000000">
                <a:lumMod val="75000"/>
                <a:lumOff val="2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a:cs typeface="+mn-cs"/>
              </a:endParaRPr>
            </a:p>
          </p:txBody>
        </p:sp>
        <p:sp>
          <p:nvSpPr>
            <p:cNvPr id="34" name="Chevron 14">
              <a:extLst>
                <a:ext uri="{FF2B5EF4-FFF2-40B4-BE49-F238E27FC236}">
                  <a16:creationId xmlns:a16="http://schemas.microsoft.com/office/drawing/2014/main" id="{DC9A5E63-E0B3-41B4-8982-5AE3832C6CA6}"/>
                </a:ext>
              </a:extLst>
            </p:cNvPr>
            <p:cNvSpPr/>
            <p:nvPr/>
          </p:nvSpPr>
          <p:spPr>
            <a:xfrm>
              <a:off x="4560654" y="1815666"/>
              <a:ext cx="991339" cy="360040"/>
            </a:xfrm>
            <a:prstGeom prst="chevron">
              <a:avLst/>
            </a:prstGeom>
            <a:solidFill>
              <a:sysClr val="windowText" lastClr="000000">
                <a:lumMod val="75000"/>
                <a:lumOff val="2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a:cs typeface="+mn-cs"/>
              </a:endParaRPr>
            </a:p>
          </p:txBody>
        </p:sp>
      </p:grpSp>
      <p:grpSp>
        <p:nvGrpSpPr>
          <p:cNvPr id="35" name="Group 10">
            <a:extLst>
              <a:ext uri="{FF2B5EF4-FFF2-40B4-BE49-F238E27FC236}">
                <a16:creationId xmlns:a16="http://schemas.microsoft.com/office/drawing/2014/main" id="{16629B73-DF1D-2A04-83A5-303D4622E49E}"/>
              </a:ext>
            </a:extLst>
          </p:cNvPr>
          <p:cNvGrpSpPr/>
          <p:nvPr/>
        </p:nvGrpSpPr>
        <p:grpSpPr>
          <a:xfrm>
            <a:off x="4962126" y="2614485"/>
            <a:ext cx="2159999" cy="360040"/>
            <a:chOff x="3779912" y="1815666"/>
            <a:chExt cx="1772081" cy="360040"/>
          </a:xfrm>
        </p:grpSpPr>
        <p:sp>
          <p:nvSpPr>
            <p:cNvPr id="36" name="Pentagon 8">
              <a:extLst>
                <a:ext uri="{FF2B5EF4-FFF2-40B4-BE49-F238E27FC236}">
                  <a16:creationId xmlns:a16="http://schemas.microsoft.com/office/drawing/2014/main" id="{49AF4032-BEB3-B0DE-5FBB-0822095FEEE1}"/>
                </a:ext>
              </a:extLst>
            </p:cNvPr>
            <p:cNvSpPr/>
            <p:nvPr/>
          </p:nvSpPr>
          <p:spPr>
            <a:xfrm flipV="1">
              <a:off x="3779912" y="1815666"/>
              <a:ext cx="907986" cy="360040"/>
            </a:xfrm>
            <a:prstGeom prst="homePlate">
              <a:avLst/>
            </a:prstGeom>
            <a:solidFill>
              <a:sysClr val="windowText" lastClr="000000">
                <a:lumMod val="75000"/>
                <a:lumOff val="2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a:cs typeface="+mn-cs"/>
              </a:endParaRPr>
            </a:p>
          </p:txBody>
        </p:sp>
        <p:sp>
          <p:nvSpPr>
            <p:cNvPr id="37" name="Chevron 9">
              <a:extLst>
                <a:ext uri="{FF2B5EF4-FFF2-40B4-BE49-F238E27FC236}">
                  <a16:creationId xmlns:a16="http://schemas.microsoft.com/office/drawing/2014/main" id="{DCDED9F9-AD88-E9D8-CBEE-294CD8663D4D}"/>
                </a:ext>
              </a:extLst>
            </p:cNvPr>
            <p:cNvSpPr/>
            <p:nvPr/>
          </p:nvSpPr>
          <p:spPr>
            <a:xfrm>
              <a:off x="4560654" y="1815666"/>
              <a:ext cx="991339" cy="360040"/>
            </a:xfrm>
            <a:prstGeom prst="chevron">
              <a:avLst/>
            </a:prstGeom>
            <a:solidFill>
              <a:sysClr val="windowText" lastClr="000000">
                <a:lumMod val="75000"/>
                <a:lumOff val="2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a:cs typeface="+mn-cs"/>
              </a:endParaRPr>
            </a:p>
          </p:txBody>
        </p:sp>
      </p:grpSp>
      <p:sp>
        <p:nvSpPr>
          <p:cNvPr id="39" name="Oval 3">
            <a:extLst>
              <a:ext uri="{FF2B5EF4-FFF2-40B4-BE49-F238E27FC236}">
                <a16:creationId xmlns:a16="http://schemas.microsoft.com/office/drawing/2014/main" id="{92E098AF-A895-B97D-7CFD-13FC2897D285}"/>
              </a:ext>
            </a:extLst>
          </p:cNvPr>
          <p:cNvSpPr/>
          <p:nvPr/>
        </p:nvSpPr>
        <p:spPr>
          <a:xfrm>
            <a:off x="3650377" y="2106119"/>
            <a:ext cx="1440000" cy="1440000"/>
          </a:xfrm>
          <a:prstGeom prst="ellipse">
            <a:avLst/>
          </a:prstGeom>
          <a:solidFill>
            <a:srgbClr val="FFE699"/>
          </a:solidFill>
          <a:ln w="88900" cap="flat" cmpd="sng" algn="ctr">
            <a:solidFill>
              <a:sysClr val="windowText" lastClr="000000">
                <a:lumMod val="75000"/>
                <a:lumOff val="25000"/>
              </a:sys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a:cs typeface="+mn-cs"/>
            </a:endParaRPr>
          </a:p>
        </p:txBody>
      </p:sp>
      <p:sp>
        <p:nvSpPr>
          <p:cNvPr id="40" name="Oval 5">
            <a:extLst>
              <a:ext uri="{FF2B5EF4-FFF2-40B4-BE49-F238E27FC236}">
                <a16:creationId xmlns:a16="http://schemas.microsoft.com/office/drawing/2014/main" id="{7108D339-A5FA-F53D-E2FB-D527D7F69F2A}"/>
              </a:ext>
            </a:extLst>
          </p:cNvPr>
          <p:cNvSpPr/>
          <p:nvPr/>
        </p:nvSpPr>
        <p:spPr>
          <a:xfrm>
            <a:off x="5248755" y="4281469"/>
            <a:ext cx="1440000" cy="1440000"/>
          </a:xfrm>
          <a:prstGeom prst="ellipse">
            <a:avLst/>
          </a:prstGeom>
          <a:solidFill>
            <a:schemeClr val="accent4">
              <a:lumMod val="40000"/>
              <a:lumOff val="60000"/>
            </a:schemeClr>
          </a:solidFill>
          <a:ln w="88900" cap="flat" cmpd="sng" algn="ctr">
            <a:solidFill>
              <a:sysClr val="windowText" lastClr="000000">
                <a:lumMod val="75000"/>
                <a:lumOff val="25000"/>
              </a:sys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a:cs typeface="+mn-cs"/>
            </a:endParaRPr>
          </a:p>
        </p:txBody>
      </p:sp>
      <p:sp>
        <p:nvSpPr>
          <p:cNvPr id="41" name="Oval 6">
            <a:extLst>
              <a:ext uri="{FF2B5EF4-FFF2-40B4-BE49-F238E27FC236}">
                <a16:creationId xmlns:a16="http://schemas.microsoft.com/office/drawing/2014/main" id="{AA050EBB-A6CB-A98D-C7B2-4E462E42F3BE}"/>
              </a:ext>
            </a:extLst>
          </p:cNvPr>
          <p:cNvSpPr/>
          <p:nvPr/>
        </p:nvSpPr>
        <p:spPr>
          <a:xfrm>
            <a:off x="6830419" y="2131451"/>
            <a:ext cx="1440000" cy="1440000"/>
          </a:xfrm>
          <a:prstGeom prst="ellipse">
            <a:avLst/>
          </a:prstGeom>
          <a:solidFill>
            <a:schemeClr val="accent4">
              <a:lumMod val="40000"/>
              <a:lumOff val="60000"/>
            </a:schemeClr>
          </a:solidFill>
          <a:ln w="88900" cap="flat" cmpd="sng" algn="ctr">
            <a:solidFill>
              <a:sysClr val="windowText" lastClr="000000">
                <a:lumMod val="75000"/>
                <a:lumOff val="25000"/>
              </a:sys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a:cs typeface="+mn-cs"/>
            </a:endParaRPr>
          </a:p>
        </p:txBody>
      </p:sp>
      <p:sp>
        <p:nvSpPr>
          <p:cNvPr id="43" name="Rectangle 16">
            <a:extLst>
              <a:ext uri="{FF2B5EF4-FFF2-40B4-BE49-F238E27FC236}">
                <a16:creationId xmlns:a16="http://schemas.microsoft.com/office/drawing/2014/main" id="{D0E1A5A2-AA70-4412-BE3C-294A8519FDE0}"/>
              </a:ext>
            </a:extLst>
          </p:cNvPr>
          <p:cNvSpPr/>
          <p:nvPr/>
        </p:nvSpPr>
        <p:spPr>
          <a:xfrm rot="2700000">
            <a:off x="5720790" y="4632885"/>
            <a:ext cx="468000" cy="792000"/>
          </a:xfrm>
          <a:custGeom>
            <a:avLst/>
            <a:gdLst/>
            <a:ahLst/>
            <a:cxnLst/>
            <a:rect l="l" t="t" r="r" b="b"/>
            <a:pathLst>
              <a:path w="2232248" h="4001999">
                <a:moveTo>
                  <a:pt x="1116887" y="0"/>
                </a:moveTo>
                <a:cubicBezTo>
                  <a:pt x="1270748" y="4762"/>
                  <a:pt x="1433283" y="120651"/>
                  <a:pt x="1447291" y="308459"/>
                </a:cubicBezTo>
                <a:cubicBezTo>
                  <a:pt x="1483174" y="544979"/>
                  <a:pt x="1283237" y="603082"/>
                  <a:pt x="1339988" y="887363"/>
                </a:cubicBezTo>
                <a:lnTo>
                  <a:pt x="2232248" y="887363"/>
                </a:lnTo>
                <a:lnTo>
                  <a:pt x="2232248" y="1778237"/>
                </a:lnTo>
                <a:cubicBezTo>
                  <a:pt x="1956566" y="1829261"/>
                  <a:pt x="1897086" y="1634366"/>
                  <a:pt x="1663321" y="1669832"/>
                </a:cubicBezTo>
                <a:cubicBezTo>
                  <a:pt x="1475513" y="1683840"/>
                  <a:pt x="1359624" y="1846375"/>
                  <a:pt x="1354862" y="2000236"/>
                </a:cubicBezTo>
                <a:cubicBezTo>
                  <a:pt x="1358037" y="2135389"/>
                  <a:pt x="1477787" y="2334920"/>
                  <a:pt x="1701420" y="2336507"/>
                </a:cubicBezTo>
                <a:cubicBezTo>
                  <a:pt x="1972077" y="2308709"/>
                  <a:pt x="1932339" y="2176007"/>
                  <a:pt x="2232248" y="2187989"/>
                </a:cubicBezTo>
                <a:lnTo>
                  <a:pt x="2232248" y="3119611"/>
                </a:lnTo>
                <a:lnTo>
                  <a:pt x="1303259" y="3119611"/>
                </a:lnTo>
                <a:cubicBezTo>
                  <a:pt x="1289664" y="3424971"/>
                  <a:pt x="1423682" y="3383289"/>
                  <a:pt x="1451633" y="3655441"/>
                </a:cubicBezTo>
                <a:cubicBezTo>
                  <a:pt x="1450046" y="3879074"/>
                  <a:pt x="1250515" y="3998824"/>
                  <a:pt x="1115362" y="4001999"/>
                </a:cubicBezTo>
                <a:cubicBezTo>
                  <a:pt x="961501" y="3997237"/>
                  <a:pt x="798966" y="3881348"/>
                  <a:pt x="784958" y="3693540"/>
                </a:cubicBezTo>
                <a:cubicBezTo>
                  <a:pt x="749282" y="3458385"/>
                  <a:pt x="946712" y="3399594"/>
                  <a:pt x="892811" y="3119611"/>
                </a:cubicBezTo>
                <a:lnTo>
                  <a:pt x="0" y="3119611"/>
                </a:lnTo>
                <a:lnTo>
                  <a:pt x="0" y="2203607"/>
                </a:lnTo>
                <a:cubicBezTo>
                  <a:pt x="285884" y="2145799"/>
                  <a:pt x="343730" y="2346665"/>
                  <a:pt x="580754" y="2310706"/>
                </a:cubicBezTo>
                <a:cubicBezTo>
                  <a:pt x="768562" y="2296698"/>
                  <a:pt x="884451" y="2134163"/>
                  <a:pt x="889213" y="1980302"/>
                </a:cubicBezTo>
                <a:cubicBezTo>
                  <a:pt x="886038" y="1845149"/>
                  <a:pt x="766288" y="1645618"/>
                  <a:pt x="542655" y="1644031"/>
                </a:cubicBezTo>
                <a:cubicBezTo>
                  <a:pt x="268493" y="1672188"/>
                  <a:pt x="312817" y="1807984"/>
                  <a:pt x="0" y="1792208"/>
                </a:cubicBezTo>
                <a:lnTo>
                  <a:pt x="0" y="887363"/>
                </a:lnTo>
                <a:lnTo>
                  <a:pt x="928847" y="887363"/>
                </a:lnTo>
                <a:cubicBezTo>
                  <a:pt x="944034" y="576570"/>
                  <a:pt x="808718" y="620178"/>
                  <a:pt x="780616" y="346558"/>
                </a:cubicBezTo>
                <a:cubicBezTo>
                  <a:pt x="782203" y="122925"/>
                  <a:pt x="981734" y="3175"/>
                  <a:pt x="1116887" y="0"/>
                </a:cubicBezTo>
                <a:close/>
              </a:path>
            </a:pathLst>
          </a:custGeom>
          <a:solidFill>
            <a:sysClr val="windowText" lastClr="000000">
              <a:lumMod val="75000"/>
              <a:lumOff val="25000"/>
            </a:sysClr>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cs typeface="+mn-cs"/>
            </a:endParaRPr>
          </a:p>
        </p:txBody>
      </p:sp>
      <p:grpSp>
        <p:nvGrpSpPr>
          <p:cNvPr id="45" name="Group 21">
            <a:extLst>
              <a:ext uri="{FF2B5EF4-FFF2-40B4-BE49-F238E27FC236}">
                <a16:creationId xmlns:a16="http://schemas.microsoft.com/office/drawing/2014/main" id="{3878CE20-B221-CA95-9081-AC3D2EFDF0DE}"/>
              </a:ext>
            </a:extLst>
          </p:cNvPr>
          <p:cNvGrpSpPr/>
          <p:nvPr/>
        </p:nvGrpSpPr>
        <p:grpSpPr>
          <a:xfrm>
            <a:off x="3572711" y="5789202"/>
            <a:ext cx="4764158" cy="771025"/>
            <a:chOff x="803640" y="3362835"/>
            <a:chExt cx="2059657" cy="771025"/>
          </a:xfrm>
        </p:grpSpPr>
        <p:sp>
          <p:nvSpPr>
            <p:cNvPr id="46" name="TextBox 22">
              <a:extLst>
                <a:ext uri="{FF2B5EF4-FFF2-40B4-BE49-F238E27FC236}">
                  <a16:creationId xmlns:a16="http://schemas.microsoft.com/office/drawing/2014/main" id="{FA81B8F2-15A2-23FE-9D18-87A6EB17EC7D}"/>
                </a:ext>
              </a:extLst>
            </p:cNvPr>
            <p:cNvSpPr txBox="1"/>
            <p:nvPr/>
          </p:nvSpPr>
          <p:spPr>
            <a:xfrm>
              <a:off x="803640" y="3579862"/>
              <a:ext cx="2059657" cy="553998"/>
            </a:xfrm>
            <a:prstGeom prst="rect">
              <a:avLst/>
            </a:prstGeom>
            <a:noFill/>
          </p:spPr>
          <p:txBody>
            <a:bodyPr wrap="square" rtlCol="0">
              <a:spAutoFit/>
            </a:bodyPr>
            <a:lstStyle/>
            <a:p>
              <a:pPr algn="ctr" latinLnBrk="1"/>
              <a:r>
                <a:rPr lang="en-GB" sz="1200" noProof="0">
                  <a:latin typeface="Quattrocento Sans" panose="020B0502050000020003" pitchFamily="34" charset="0"/>
                  <a:cs typeface="Arial" pitchFamily="34" charset="0"/>
                </a:rPr>
                <a:t>Implementation of recommended actions by the third-party teams.</a:t>
              </a:r>
            </a:p>
            <a:p>
              <a:pPr algn="ctr" latinLnBrk="1"/>
              <a:endParaRPr lang="en-GB" sz="600" noProof="0">
                <a:latin typeface="Quattrocento Sans" panose="020B0502050000020003" pitchFamily="34" charset="0"/>
                <a:cs typeface="Arial" pitchFamily="34" charset="0"/>
              </a:endParaRPr>
            </a:p>
            <a:p>
              <a:pPr algn="ctr" latinLnBrk="1"/>
              <a:r>
                <a:rPr lang="en-GB" sz="1200" noProof="0">
                  <a:latin typeface="Quattrocento Sans" panose="020B0502050000020003" pitchFamily="34" charset="0"/>
                  <a:cs typeface="Arial" pitchFamily="34" charset="0"/>
                </a:rPr>
                <a:t>Support and follow-up to ensure proper execution.     </a:t>
              </a:r>
            </a:p>
          </p:txBody>
        </p:sp>
        <p:sp>
          <p:nvSpPr>
            <p:cNvPr id="47" name="TextBox 23">
              <a:extLst>
                <a:ext uri="{FF2B5EF4-FFF2-40B4-BE49-F238E27FC236}">
                  <a16:creationId xmlns:a16="http://schemas.microsoft.com/office/drawing/2014/main" id="{9BED727E-39E4-C7D7-E8AF-B29D5FD320D0}"/>
                </a:ext>
              </a:extLst>
            </p:cNvPr>
            <p:cNvSpPr txBox="1"/>
            <p:nvPr/>
          </p:nvSpPr>
          <p:spPr>
            <a:xfrm>
              <a:off x="803640" y="3362835"/>
              <a:ext cx="2059657" cy="338554"/>
            </a:xfrm>
            <a:prstGeom prst="rect">
              <a:avLst/>
            </a:prstGeom>
            <a:noFill/>
          </p:spPr>
          <p:txBody>
            <a:bodyPr wrap="square" rtlCol="0">
              <a:spAutoFit/>
            </a:bodyPr>
            <a:lstStyle/>
            <a:p>
              <a:pPr algn="ctr" latinLnBrk="1"/>
              <a:r>
                <a:rPr lang="en-GB" sz="1600" b="1" noProof="0">
                  <a:latin typeface="Quattrocento Sans" panose="020B0502050000020003" pitchFamily="34" charset="0"/>
                  <a:cs typeface="Arial" pitchFamily="34" charset="0"/>
                </a:rPr>
                <a:t>3. Implementation</a:t>
              </a:r>
            </a:p>
          </p:txBody>
        </p:sp>
      </p:grpSp>
      <p:grpSp>
        <p:nvGrpSpPr>
          <p:cNvPr id="48" name="Group 24">
            <a:extLst>
              <a:ext uri="{FF2B5EF4-FFF2-40B4-BE49-F238E27FC236}">
                <a16:creationId xmlns:a16="http://schemas.microsoft.com/office/drawing/2014/main" id="{9BF4F9EC-E225-0292-4257-98A1DE456EAB}"/>
              </a:ext>
            </a:extLst>
          </p:cNvPr>
          <p:cNvGrpSpPr/>
          <p:nvPr/>
        </p:nvGrpSpPr>
        <p:grpSpPr>
          <a:xfrm>
            <a:off x="8580698" y="2235106"/>
            <a:ext cx="3030326" cy="1232690"/>
            <a:chOff x="803640" y="3362835"/>
            <a:chExt cx="2059657" cy="1232690"/>
          </a:xfrm>
        </p:grpSpPr>
        <p:sp>
          <p:nvSpPr>
            <p:cNvPr id="49" name="TextBox 25">
              <a:extLst>
                <a:ext uri="{FF2B5EF4-FFF2-40B4-BE49-F238E27FC236}">
                  <a16:creationId xmlns:a16="http://schemas.microsoft.com/office/drawing/2014/main" id="{40D86D5B-F9D4-03CD-2CCA-B89374BCBE7C}"/>
                </a:ext>
              </a:extLst>
            </p:cNvPr>
            <p:cNvSpPr txBox="1"/>
            <p:nvPr/>
          </p:nvSpPr>
          <p:spPr>
            <a:xfrm>
              <a:off x="803640" y="3579862"/>
              <a:ext cx="2059657" cy="1015663"/>
            </a:xfrm>
            <a:prstGeom prst="rect">
              <a:avLst/>
            </a:prstGeom>
            <a:noFill/>
          </p:spPr>
          <p:txBody>
            <a:bodyPr wrap="square" rtlCol="0">
              <a:spAutoFit/>
            </a:bodyPr>
            <a:lstStyle/>
            <a:p>
              <a:pPr latinLnBrk="1"/>
              <a:r>
                <a:rPr lang="en-GB" sz="1200" noProof="0">
                  <a:latin typeface="Quattrocento Sans" panose="020B0502050000020003" pitchFamily="34" charset="0"/>
                  <a:cs typeface="Arial" pitchFamily="34" charset="0"/>
                </a:rPr>
                <a:t>Actionable improvement proposals based on findings.</a:t>
              </a:r>
            </a:p>
            <a:p>
              <a:pPr latinLnBrk="1"/>
              <a:endParaRPr lang="en-GB" sz="1200" noProof="0">
                <a:latin typeface="Quattrocento Sans" panose="020B0502050000020003" pitchFamily="34" charset="0"/>
                <a:cs typeface="Arial" pitchFamily="34" charset="0"/>
              </a:endParaRPr>
            </a:p>
            <a:p>
              <a:pPr latinLnBrk="1"/>
              <a:r>
                <a:rPr lang="en-GB" sz="1200" noProof="0">
                  <a:latin typeface="Quattrocento Sans" panose="020B0502050000020003" pitchFamily="34" charset="0"/>
                  <a:cs typeface="Arial" pitchFamily="34" charset="0"/>
                </a:rPr>
                <a:t>Prioritisation of improvements according to impact and feasibility.</a:t>
              </a:r>
            </a:p>
          </p:txBody>
        </p:sp>
        <p:sp>
          <p:nvSpPr>
            <p:cNvPr id="50" name="TextBox 26">
              <a:extLst>
                <a:ext uri="{FF2B5EF4-FFF2-40B4-BE49-F238E27FC236}">
                  <a16:creationId xmlns:a16="http://schemas.microsoft.com/office/drawing/2014/main" id="{63B8A5F4-BC95-6A4F-9C0C-7E6FA81196D9}"/>
                </a:ext>
              </a:extLst>
            </p:cNvPr>
            <p:cNvSpPr txBox="1"/>
            <p:nvPr/>
          </p:nvSpPr>
          <p:spPr>
            <a:xfrm>
              <a:off x="803640" y="3362835"/>
              <a:ext cx="2059657" cy="338554"/>
            </a:xfrm>
            <a:prstGeom prst="rect">
              <a:avLst/>
            </a:prstGeom>
            <a:noFill/>
          </p:spPr>
          <p:txBody>
            <a:bodyPr wrap="square" rtlCol="0">
              <a:spAutoFit/>
            </a:bodyPr>
            <a:lstStyle/>
            <a:p>
              <a:pPr latinLnBrk="1"/>
              <a:r>
                <a:rPr lang="en-GB" sz="1600" b="1" noProof="0">
                  <a:latin typeface="Quattrocento Sans" panose="020B0502050000020003" pitchFamily="34" charset="0"/>
                  <a:cs typeface="Arial" pitchFamily="34" charset="0"/>
                </a:rPr>
                <a:t>2. Recommendations</a:t>
              </a:r>
            </a:p>
          </p:txBody>
        </p:sp>
      </p:grpSp>
      <p:grpSp>
        <p:nvGrpSpPr>
          <p:cNvPr id="51" name="Group 27">
            <a:extLst>
              <a:ext uri="{FF2B5EF4-FFF2-40B4-BE49-F238E27FC236}">
                <a16:creationId xmlns:a16="http://schemas.microsoft.com/office/drawing/2014/main" id="{1593AF38-7109-A39C-546E-9722DE345063}"/>
              </a:ext>
            </a:extLst>
          </p:cNvPr>
          <p:cNvGrpSpPr/>
          <p:nvPr/>
        </p:nvGrpSpPr>
        <p:grpSpPr>
          <a:xfrm>
            <a:off x="316778" y="2271656"/>
            <a:ext cx="3054896" cy="1232690"/>
            <a:chOff x="803640" y="3362835"/>
            <a:chExt cx="2059657" cy="1232690"/>
          </a:xfrm>
        </p:grpSpPr>
        <p:sp>
          <p:nvSpPr>
            <p:cNvPr id="52" name="TextBox 28">
              <a:extLst>
                <a:ext uri="{FF2B5EF4-FFF2-40B4-BE49-F238E27FC236}">
                  <a16:creationId xmlns:a16="http://schemas.microsoft.com/office/drawing/2014/main" id="{4960B784-1B2A-1209-B581-DC536837F927}"/>
                </a:ext>
              </a:extLst>
            </p:cNvPr>
            <p:cNvSpPr txBox="1"/>
            <p:nvPr/>
          </p:nvSpPr>
          <p:spPr>
            <a:xfrm>
              <a:off x="803640" y="3579862"/>
              <a:ext cx="2059657" cy="1015663"/>
            </a:xfrm>
            <a:prstGeom prst="rect">
              <a:avLst/>
            </a:prstGeom>
            <a:noFill/>
          </p:spPr>
          <p:txBody>
            <a:bodyPr wrap="square" rtlCol="0">
              <a:spAutoFit/>
            </a:bodyPr>
            <a:lstStyle/>
            <a:p>
              <a:pPr algn="r" latinLnBrk="1"/>
              <a:r>
                <a:rPr lang="en-GB" sz="1200" noProof="0">
                  <a:latin typeface="Quattrocento Sans" panose="020B0502050000020003" pitchFamily="34" charset="0"/>
                  <a:cs typeface="Arial" pitchFamily="34" charset="0"/>
                </a:rPr>
                <a:t>In-depth review of existing developments  and documentation.</a:t>
              </a:r>
            </a:p>
            <a:p>
              <a:pPr algn="r" latinLnBrk="1"/>
              <a:endParaRPr lang="en-GB" sz="1200" noProof="0">
                <a:latin typeface="Quattrocento Sans" panose="020B0502050000020003" pitchFamily="34" charset="0"/>
                <a:cs typeface="Arial" pitchFamily="34" charset="0"/>
              </a:endParaRPr>
            </a:p>
            <a:p>
              <a:pPr algn="r" latinLnBrk="1"/>
              <a:r>
                <a:rPr lang="en-GB" sz="1200" noProof="0">
                  <a:latin typeface="Quattrocento Sans" panose="020B0502050000020003" pitchFamily="34" charset="0"/>
                  <a:cs typeface="Arial" pitchFamily="34" charset="0"/>
                </a:rPr>
                <a:t>Validation of architecture, technical standards, and best practices.     </a:t>
              </a:r>
            </a:p>
          </p:txBody>
        </p:sp>
        <p:sp>
          <p:nvSpPr>
            <p:cNvPr id="53" name="TextBox 29">
              <a:extLst>
                <a:ext uri="{FF2B5EF4-FFF2-40B4-BE49-F238E27FC236}">
                  <a16:creationId xmlns:a16="http://schemas.microsoft.com/office/drawing/2014/main" id="{9BB0C4F3-9812-29A1-D970-9022D0EB00F1}"/>
                </a:ext>
              </a:extLst>
            </p:cNvPr>
            <p:cNvSpPr txBox="1"/>
            <p:nvPr/>
          </p:nvSpPr>
          <p:spPr>
            <a:xfrm>
              <a:off x="803640" y="3362835"/>
              <a:ext cx="2059657" cy="338554"/>
            </a:xfrm>
            <a:prstGeom prst="rect">
              <a:avLst/>
            </a:prstGeom>
            <a:noFill/>
          </p:spPr>
          <p:txBody>
            <a:bodyPr wrap="square" rtlCol="0">
              <a:spAutoFit/>
            </a:bodyPr>
            <a:lstStyle/>
            <a:p>
              <a:pPr algn="r" latinLnBrk="1"/>
              <a:r>
                <a:rPr lang="en-GB" sz="1600" b="1" noProof="0">
                  <a:latin typeface="Quattrocento Sans" panose="020B0502050000020003" pitchFamily="34" charset="0"/>
                  <a:cs typeface="Arial" pitchFamily="34" charset="0"/>
                </a:rPr>
                <a:t>1. Review</a:t>
              </a:r>
            </a:p>
          </p:txBody>
        </p:sp>
      </p:grpSp>
      <p:sp>
        <p:nvSpPr>
          <p:cNvPr id="55" name="Right Triangle 17">
            <a:extLst>
              <a:ext uri="{FF2B5EF4-FFF2-40B4-BE49-F238E27FC236}">
                <a16:creationId xmlns:a16="http://schemas.microsoft.com/office/drawing/2014/main" id="{4D597038-6218-65A2-9B2E-26E60CB58527}"/>
              </a:ext>
            </a:extLst>
          </p:cNvPr>
          <p:cNvSpPr>
            <a:spLocks noChangeAspect="1"/>
          </p:cNvSpPr>
          <p:nvPr/>
        </p:nvSpPr>
        <p:spPr>
          <a:xfrm>
            <a:off x="7337946" y="2491621"/>
            <a:ext cx="544226" cy="648000"/>
          </a:xfrm>
          <a:custGeom>
            <a:avLst/>
            <a:gdLst/>
            <a:ahLst/>
            <a:cxnLst/>
            <a:rect l="l" t="t" r="r" b="b"/>
            <a:pathLst>
              <a:path w="2721114" h="3240000">
                <a:moveTo>
                  <a:pt x="2179233" y="2431577"/>
                </a:moveTo>
                <a:lnTo>
                  <a:pt x="2179233" y="2611489"/>
                </a:lnTo>
                <a:lnTo>
                  <a:pt x="1999321" y="2611489"/>
                </a:lnTo>
                <a:lnTo>
                  <a:pt x="1999321" y="2780851"/>
                </a:lnTo>
                <a:lnTo>
                  <a:pt x="2179233" y="2780851"/>
                </a:lnTo>
                <a:lnTo>
                  <a:pt x="2179233" y="2960763"/>
                </a:lnTo>
                <a:lnTo>
                  <a:pt x="2348595" y="2960763"/>
                </a:lnTo>
                <a:lnTo>
                  <a:pt x="2348595" y="2780851"/>
                </a:lnTo>
                <a:lnTo>
                  <a:pt x="2528507" y="2780851"/>
                </a:lnTo>
                <a:lnTo>
                  <a:pt x="2528507" y="2611489"/>
                </a:lnTo>
                <a:lnTo>
                  <a:pt x="2348595" y="2611489"/>
                </a:lnTo>
                <a:lnTo>
                  <a:pt x="2348595" y="2431577"/>
                </a:lnTo>
                <a:close/>
                <a:moveTo>
                  <a:pt x="2263914" y="2238970"/>
                </a:moveTo>
                <a:cubicBezTo>
                  <a:pt x="2516419" y="2238970"/>
                  <a:pt x="2721114" y="2443665"/>
                  <a:pt x="2721114" y="2696170"/>
                </a:cubicBezTo>
                <a:cubicBezTo>
                  <a:pt x="2721114" y="2948675"/>
                  <a:pt x="2516419" y="3153370"/>
                  <a:pt x="2263914" y="3153370"/>
                </a:cubicBezTo>
                <a:cubicBezTo>
                  <a:pt x="2011409" y="3153370"/>
                  <a:pt x="1806714" y="2948675"/>
                  <a:pt x="1806714" y="2696170"/>
                </a:cubicBezTo>
                <a:cubicBezTo>
                  <a:pt x="1806714" y="2443665"/>
                  <a:pt x="2011409" y="2238970"/>
                  <a:pt x="2263914" y="2238970"/>
                </a:cubicBezTo>
                <a:close/>
                <a:moveTo>
                  <a:pt x="1576134" y="17032"/>
                </a:moveTo>
                <a:lnTo>
                  <a:pt x="2276728" y="17032"/>
                </a:lnTo>
                <a:lnTo>
                  <a:pt x="2276728" y="17033"/>
                </a:lnTo>
                <a:lnTo>
                  <a:pt x="1576135" y="17033"/>
                </a:lnTo>
                <a:close/>
                <a:moveTo>
                  <a:pt x="0" y="17032"/>
                </a:moveTo>
                <a:lnTo>
                  <a:pt x="1321887" y="17032"/>
                </a:lnTo>
                <a:lnTo>
                  <a:pt x="1321887" y="996125"/>
                </a:lnTo>
                <a:lnTo>
                  <a:pt x="2276728" y="996125"/>
                </a:lnTo>
                <a:lnTo>
                  <a:pt x="2276728" y="2160187"/>
                </a:lnTo>
                <a:cubicBezTo>
                  <a:pt x="1979345" y="2161001"/>
                  <a:pt x="1738579" y="2402384"/>
                  <a:pt x="1738579" y="2700000"/>
                </a:cubicBezTo>
                <a:cubicBezTo>
                  <a:pt x="1738579" y="2997617"/>
                  <a:pt x="1979345" y="3238999"/>
                  <a:pt x="2276728" y="3239814"/>
                </a:cubicBezTo>
                <a:lnTo>
                  <a:pt x="2276728" y="3240000"/>
                </a:lnTo>
                <a:lnTo>
                  <a:pt x="0" y="3240000"/>
                </a:lnTo>
                <a:close/>
                <a:moveTo>
                  <a:pt x="1436085" y="0"/>
                </a:moveTo>
                <a:lnTo>
                  <a:pt x="2287664" y="888809"/>
                </a:lnTo>
                <a:lnTo>
                  <a:pt x="1436085" y="888809"/>
                </a:lnTo>
                <a:close/>
              </a:path>
            </a:pathLst>
          </a:cu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noProof="0"/>
          </a:p>
        </p:txBody>
      </p:sp>
      <p:sp>
        <p:nvSpPr>
          <p:cNvPr id="56" name="Rectangle 7">
            <a:extLst>
              <a:ext uri="{FF2B5EF4-FFF2-40B4-BE49-F238E27FC236}">
                <a16:creationId xmlns:a16="http://schemas.microsoft.com/office/drawing/2014/main" id="{CD36B4AF-095B-5332-7B7D-66194DDA13C3}"/>
              </a:ext>
            </a:extLst>
          </p:cNvPr>
          <p:cNvSpPr/>
          <p:nvPr/>
        </p:nvSpPr>
        <p:spPr>
          <a:xfrm rot="18900000">
            <a:off x="4223549" y="2514538"/>
            <a:ext cx="360000" cy="756000"/>
          </a:xfrm>
          <a:custGeom>
            <a:avLst/>
            <a:gdLst/>
            <a:ahLst/>
            <a:cxnLst/>
            <a:rect l="l" t="t" r="r" b="b"/>
            <a:pathLst>
              <a:path w="154109" h="343323">
                <a:moveTo>
                  <a:pt x="102909" y="313772"/>
                </a:moveTo>
                <a:lnTo>
                  <a:pt x="102909" y="328547"/>
                </a:lnTo>
                <a:cubicBezTo>
                  <a:pt x="102909" y="336708"/>
                  <a:pt x="96294" y="343322"/>
                  <a:pt x="88133" y="343323"/>
                </a:cubicBezTo>
                <a:lnTo>
                  <a:pt x="65975" y="343322"/>
                </a:lnTo>
                <a:cubicBezTo>
                  <a:pt x="57814" y="343322"/>
                  <a:pt x="51199" y="336708"/>
                  <a:pt x="51199" y="328547"/>
                </a:cubicBezTo>
                <a:cubicBezTo>
                  <a:pt x="51199" y="323622"/>
                  <a:pt x="51200" y="318696"/>
                  <a:pt x="51200" y="313771"/>
                </a:cubicBezTo>
                <a:close/>
                <a:moveTo>
                  <a:pt x="123327" y="15459"/>
                </a:moveTo>
                <a:cubicBezTo>
                  <a:pt x="141678" y="29245"/>
                  <a:pt x="152926" y="50497"/>
                  <a:pt x="154008" y="73425"/>
                </a:cubicBezTo>
                <a:cubicBezTo>
                  <a:pt x="155089" y="96353"/>
                  <a:pt x="145890" y="118568"/>
                  <a:pt x="128916" y="134021"/>
                </a:cubicBezTo>
                <a:lnTo>
                  <a:pt x="119294" y="123450"/>
                </a:lnTo>
                <a:cubicBezTo>
                  <a:pt x="133118" y="110865"/>
                  <a:pt x="140611" y="92772"/>
                  <a:pt x="139730" y="74098"/>
                </a:cubicBezTo>
                <a:cubicBezTo>
                  <a:pt x="138850" y="55424"/>
                  <a:pt x="129689" y="38115"/>
                  <a:pt x="114743" y="26887"/>
                </a:cubicBezTo>
                <a:close/>
                <a:moveTo>
                  <a:pt x="136698" y="17411"/>
                </a:moveTo>
                <a:cubicBezTo>
                  <a:pt x="103758" y="-15529"/>
                  <a:pt x="50351" y="-15529"/>
                  <a:pt x="17412" y="17411"/>
                </a:cubicBezTo>
                <a:cubicBezTo>
                  <a:pt x="-15528" y="50351"/>
                  <a:pt x="-15528" y="103757"/>
                  <a:pt x="17412" y="136697"/>
                </a:cubicBezTo>
                <a:cubicBezTo>
                  <a:pt x="50351" y="169637"/>
                  <a:pt x="103758" y="169637"/>
                  <a:pt x="136698" y="136697"/>
                </a:cubicBezTo>
                <a:cubicBezTo>
                  <a:pt x="169637" y="103757"/>
                  <a:pt x="169637" y="50351"/>
                  <a:pt x="136698" y="17411"/>
                </a:cubicBezTo>
                <a:close/>
                <a:moveTo>
                  <a:pt x="154109" y="0"/>
                </a:moveTo>
                <a:cubicBezTo>
                  <a:pt x="196665" y="42556"/>
                  <a:pt x="196665" y="111552"/>
                  <a:pt x="154109" y="154108"/>
                </a:cubicBezTo>
                <a:cubicBezTo>
                  <a:pt x="139576" y="168641"/>
                  <a:pt x="121959" y="178211"/>
                  <a:pt x="102912" y="180994"/>
                </a:cubicBezTo>
                <a:lnTo>
                  <a:pt x="102912" y="308310"/>
                </a:lnTo>
                <a:lnTo>
                  <a:pt x="51197" y="308310"/>
                </a:lnTo>
                <a:lnTo>
                  <a:pt x="51197" y="180994"/>
                </a:lnTo>
                <a:cubicBezTo>
                  <a:pt x="32150" y="178211"/>
                  <a:pt x="14534" y="168641"/>
                  <a:pt x="0" y="154108"/>
                </a:cubicBezTo>
                <a:cubicBezTo>
                  <a:pt x="-42555" y="111552"/>
                  <a:pt x="-42555" y="42556"/>
                  <a:pt x="0" y="0"/>
                </a:cubicBezTo>
                <a:cubicBezTo>
                  <a:pt x="42556" y="-42556"/>
                  <a:pt x="111553" y="-42556"/>
                  <a:pt x="15410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noProof="0"/>
          </a:p>
        </p:txBody>
      </p:sp>
      <p:sp>
        <p:nvSpPr>
          <p:cNvPr id="57" name="CuadroTexto 56">
            <a:extLst>
              <a:ext uri="{FF2B5EF4-FFF2-40B4-BE49-F238E27FC236}">
                <a16:creationId xmlns:a16="http://schemas.microsoft.com/office/drawing/2014/main" id="{584F4766-703D-193E-5D7B-B20CBC222BDF}"/>
              </a:ext>
            </a:extLst>
          </p:cNvPr>
          <p:cNvSpPr txBox="1"/>
          <p:nvPr/>
        </p:nvSpPr>
        <p:spPr>
          <a:xfrm>
            <a:off x="226220" y="1352092"/>
            <a:ext cx="10946766" cy="369332"/>
          </a:xfrm>
          <a:prstGeom prst="rect">
            <a:avLst/>
          </a:prstGeom>
          <a:noFill/>
        </p:spPr>
        <p:txBody>
          <a:bodyPr wrap="square">
            <a:spAutoFit/>
          </a:bodyPr>
          <a:lstStyle/>
          <a:p>
            <a:r>
              <a:rPr lang="en-GB" noProof="0">
                <a:latin typeface="Quattrocento Sans" panose="020B0502050000020003" pitchFamily="34" charset="0"/>
              </a:rPr>
              <a:t>This advisory process will be applied to developments already completed, using an iterative approach:</a:t>
            </a:r>
          </a:p>
        </p:txBody>
      </p:sp>
      <p:pic>
        <p:nvPicPr>
          <p:cNvPr id="3" name="Imagen 2">
            <a:extLst>
              <a:ext uri="{FF2B5EF4-FFF2-40B4-BE49-F238E27FC236}">
                <a16:creationId xmlns:a16="http://schemas.microsoft.com/office/drawing/2014/main" id="{89000F4D-0DB1-336A-4229-4354F8884392}"/>
              </a:ext>
            </a:extLst>
          </p:cNvPr>
          <p:cNvPicPr>
            <a:picLocks noChangeAspect="1"/>
          </p:cNvPicPr>
          <p:nvPr/>
        </p:nvPicPr>
        <p:blipFill>
          <a:blip r:embed="rId3"/>
          <a:stretch>
            <a:fillRect/>
          </a:stretch>
        </p:blipFill>
        <p:spPr>
          <a:xfrm>
            <a:off x="9580701" y="3684823"/>
            <a:ext cx="2030323" cy="1411558"/>
          </a:xfrm>
          <a:prstGeom prst="rect">
            <a:avLst/>
          </a:prstGeom>
        </p:spPr>
      </p:pic>
      <p:pic>
        <p:nvPicPr>
          <p:cNvPr id="4" name="Imagen 3" descr="Logotipo&#10;&#10;Descripción generada automáticamente">
            <a:extLst>
              <a:ext uri="{FF2B5EF4-FFF2-40B4-BE49-F238E27FC236}">
                <a16:creationId xmlns:a16="http://schemas.microsoft.com/office/drawing/2014/main" id="{AA87326C-E119-915C-4AC4-DC634AD837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75643" y="422965"/>
            <a:ext cx="1935381" cy="446626"/>
          </a:xfrm>
          <a:prstGeom prst="rect">
            <a:avLst/>
          </a:prstGeom>
        </p:spPr>
      </p:pic>
      <p:pic>
        <p:nvPicPr>
          <p:cNvPr id="5" name="Picture 2" descr="AstraZeneca Logo, symbol, meaning, history, PNG, brand">
            <a:extLst>
              <a:ext uri="{FF2B5EF4-FFF2-40B4-BE49-F238E27FC236}">
                <a16:creationId xmlns:a16="http://schemas.microsoft.com/office/drawing/2014/main" id="{AE1D4AD4-1DBB-6158-1CF0-09DF3F35961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75018" y="213658"/>
            <a:ext cx="1267373" cy="712897"/>
          </a:xfrm>
          <a:prstGeom prst="rect">
            <a:avLst/>
          </a:prstGeom>
          <a:noFill/>
          <a:extLst>
            <a:ext uri="{909E8E84-426E-40DD-AFC4-6F175D3DCCD1}">
              <a14:hiddenFill xmlns:a14="http://schemas.microsoft.com/office/drawing/2010/main">
                <a:solidFill>
                  <a:srgbClr val="FFFFFF"/>
                </a:solidFill>
              </a14:hiddenFill>
            </a:ext>
          </a:extLst>
        </p:spPr>
      </p:pic>
      <p:pic>
        <p:nvPicPr>
          <p:cNvPr id="7" name="Imagen 6">
            <a:extLst>
              <a:ext uri="{FF2B5EF4-FFF2-40B4-BE49-F238E27FC236}">
                <a16:creationId xmlns:a16="http://schemas.microsoft.com/office/drawing/2014/main" id="{5DAC28CD-B68B-DB96-8EAC-7C9CFE38176E}"/>
              </a:ext>
            </a:extLst>
          </p:cNvPr>
          <p:cNvPicPr>
            <a:picLocks noChangeAspect="1"/>
          </p:cNvPicPr>
          <p:nvPr/>
        </p:nvPicPr>
        <p:blipFill>
          <a:blip r:embed="rId6"/>
          <a:stretch>
            <a:fillRect/>
          </a:stretch>
        </p:blipFill>
        <p:spPr>
          <a:xfrm>
            <a:off x="287648" y="3763146"/>
            <a:ext cx="3715289" cy="2060660"/>
          </a:xfrm>
          <a:prstGeom prst="rect">
            <a:avLst/>
          </a:prstGeom>
        </p:spPr>
      </p:pic>
    </p:spTree>
    <p:extLst>
      <p:ext uri="{BB962C8B-B14F-4D97-AF65-F5344CB8AC3E}">
        <p14:creationId xmlns:p14="http://schemas.microsoft.com/office/powerpoint/2010/main" val="4191510517"/>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B5E99F-6625-D35C-DA0F-C5B564958B00}"/>
            </a:ext>
          </a:extLst>
        </p:cNvPr>
        <p:cNvGrpSpPr/>
        <p:nvPr/>
      </p:nvGrpSpPr>
      <p:grpSpPr>
        <a:xfrm>
          <a:off x="0" y="0"/>
          <a:ext cx="0" cy="0"/>
          <a:chOff x="0" y="0"/>
          <a:chExt cx="0" cy="0"/>
        </a:xfrm>
      </p:grpSpPr>
      <p:sp>
        <p:nvSpPr>
          <p:cNvPr id="5" name="Object8">
            <a:extLst>
              <a:ext uri="{FF2B5EF4-FFF2-40B4-BE49-F238E27FC236}">
                <a16:creationId xmlns:a16="http://schemas.microsoft.com/office/drawing/2014/main" id="{450C9078-1351-12BC-E1DA-8EAFD8A7AD9F}"/>
              </a:ext>
            </a:extLst>
          </p:cNvPr>
          <p:cNvSpPr txBox="1"/>
          <p:nvPr/>
        </p:nvSpPr>
        <p:spPr>
          <a:xfrm>
            <a:off x="7619146" y="313112"/>
            <a:ext cx="234951" cy="28212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ts val="2400"/>
              </a:lnSpc>
              <a:defRPr sz="2100">
                <a:solidFill>
                  <a:srgbClr val="91ACB9"/>
                </a:solidFill>
                <a:latin typeface="DM Sans Regular"/>
                <a:ea typeface="DM Sans Regular"/>
                <a:cs typeface="DM Sans Regular"/>
                <a:sym typeface="DM Sans Regular"/>
              </a:defRPr>
            </a:lvl1pPr>
          </a:lstStyle>
          <a:p>
            <a:pPr defTabSz="914446">
              <a:buClr>
                <a:srgbClr val="000000"/>
              </a:buClr>
              <a:defRPr/>
            </a:pPr>
            <a:endParaRPr lang="en-GB" sz="1400" kern="0" noProof="0">
              <a:solidFill>
                <a:srgbClr val="000000">
                  <a:lumMod val="95000"/>
                  <a:lumOff val="5000"/>
                </a:srgbClr>
              </a:solidFill>
            </a:endParaRPr>
          </a:p>
        </p:txBody>
      </p:sp>
      <p:sp>
        <p:nvSpPr>
          <p:cNvPr id="6" name="Rectangle 57">
            <a:extLst>
              <a:ext uri="{FF2B5EF4-FFF2-40B4-BE49-F238E27FC236}">
                <a16:creationId xmlns:a16="http://schemas.microsoft.com/office/drawing/2014/main" id="{7F2DE23C-3FBA-90C8-FC92-2931C55D43C6}"/>
              </a:ext>
            </a:extLst>
          </p:cNvPr>
          <p:cNvSpPr>
            <a:spLocks noChangeArrowheads="1"/>
          </p:cNvSpPr>
          <p:nvPr/>
        </p:nvSpPr>
        <p:spPr bwMode="gray">
          <a:xfrm>
            <a:off x="476687" y="774578"/>
            <a:ext cx="3484919" cy="1041193"/>
          </a:xfrm>
          <a:prstGeom prst="rect">
            <a:avLst/>
          </a:prstGeom>
          <a:noFill/>
          <a:ln w="9525">
            <a:noFill/>
            <a:miter lim="800000"/>
            <a:headEnd/>
            <a:tailEnd/>
          </a:ln>
          <a:effectLst/>
        </p:spPr>
        <p:txBody>
          <a:bodyPr wrap="square" lIns="91386" tIns="45693" rIns="91386" bIns="45693">
            <a:spAutoFit/>
          </a:bodyPr>
          <a:lstStyle/>
          <a:p>
            <a:pPr defTabSz="914446">
              <a:lnSpc>
                <a:spcPct val="60000"/>
              </a:lnSpc>
              <a:buClr>
                <a:srgbClr val="000000"/>
              </a:buClr>
            </a:pPr>
            <a:r>
              <a:rPr lang="en-GB" sz="4800" b="1" noProof="0">
                <a:solidFill>
                  <a:schemeClr val="tx1">
                    <a:lumMod val="95000"/>
                    <a:lumOff val="5000"/>
                  </a:schemeClr>
                </a:solidFill>
                <a:latin typeface="Quattrocento Sans" panose="020B0502050000020003" pitchFamily="34" charset="0"/>
                <a:ea typeface="Lato"/>
                <a:cs typeface="Lato"/>
                <a:sym typeface="Arial"/>
              </a:rPr>
              <a:t>Data Governance</a:t>
            </a:r>
          </a:p>
        </p:txBody>
      </p:sp>
      <p:sp>
        <p:nvSpPr>
          <p:cNvPr id="7" name="Google Shape;3348;g30e148d11da_7_119">
            <a:extLst>
              <a:ext uri="{FF2B5EF4-FFF2-40B4-BE49-F238E27FC236}">
                <a16:creationId xmlns:a16="http://schemas.microsoft.com/office/drawing/2014/main" id="{79E4BDA4-7FF1-899A-6939-016603215466}"/>
              </a:ext>
            </a:extLst>
          </p:cNvPr>
          <p:cNvSpPr txBox="1"/>
          <p:nvPr/>
        </p:nvSpPr>
        <p:spPr>
          <a:xfrm>
            <a:off x="715034" y="156141"/>
            <a:ext cx="3258300" cy="615000"/>
          </a:xfrm>
          <a:prstGeom prst="rect">
            <a:avLst/>
          </a:prstGeom>
          <a:noFill/>
          <a:ln>
            <a:noFill/>
          </a:ln>
        </p:spPr>
        <p:txBody>
          <a:bodyPr spcFirstLastPara="1" wrap="square" lIns="0" tIns="45700" rIns="91425" bIns="45700" anchor="t" anchorCtr="0">
            <a:noAutofit/>
          </a:bodyPr>
          <a:lstStyle/>
          <a:p>
            <a:pPr defTabSz="914446">
              <a:buClr>
                <a:srgbClr val="FFFFFF"/>
              </a:buClr>
              <a:buSzPts val="1200"/>
              <a:defRPr/>
            </a:pPr>
            <a:r>
              <a:rPr lang="en-GB" sz="1200" b="1" kern="0" noProof="0">
                <a:solidFill>
                  <a:srgbClr val="000000">
                    <a:lumMod val="95000"/>
                    <a:lumOff val="5000"/>
                  </a:srgbClr>
                </a:solidFill>
                <a:latin typeface="Montserrat"/>
                <a:ea typeface="Montserrat"/>
                <a:cs typeface="Montserrat"/>
                <a:sym typeface="Montserrat"/>
              </a:rPr>
              <a:t>Data Driven </a:t>
            </a:r>
            <a:r>
              <a:rPr lang="en-GB" sz="1200" kern="0" noProof="0">
                <a:solidFill>
                  <a:srgbClr val="000000">
                    <a:lumMod val="95000"/>
                    <a:lumOff val="5000"/>
                  </a:srgbClr>
                </a:solidFill>
                <a:latin typeface="Montserrat"/>
                <a:ea typeface="Montserrat"/>
                <a:cs typeface="Montserrat"/>
                <a:sym typeface="Montserrat"/>
              </a:rPr>
              <a:t>Business</a:t>
            </a:r>
            <a:endParaRPr lang="en-GB" sz="1200" kern="0" baseline="30000" noProof="0">
              <a:solidFill>
                <a:srgbClr val="000000">
                  <a:lumMod val="95000"/>
                  <a:lumOff val="5000"/>
                </a:srgbClr>
              </a:solidFill>
              <a:latin typeface="Montserrat"/>
              <a:ea typeface="Montserrat"/>
              <a:cs typeface="Montserrat"/>
              <a:sym typeface="Montserrat"/>
            </a:endParaRPr>
          </a:p>
        </p:txBody>
      </p:sp>
      <p:sp>
        <p:nvSpPr>
          <p:cNvPr id="9" name="Object13">
            <a:extLst>
              <a:ext uri="{FF2B5EF4-FFF2-40B4-BE49-F238E27FC236}">
                <a16:creationId xmlns:a16="http://schemas.microsoft.com/office/drawing/2014/main" id="{035045D8-57C9-E9D3-F21E-3F92090C92F5}"/>
              </a:ext>
            </a:extLst>
          </p:cNvPr>
          <p:cNvSpPr txBox="1"/>
          <p:nvPr/>
        </p:nvSpPr>
        <p:spPr>
          <a:xfrm>
            <a:off x="4146132" y="495936"/>
            <a:ext cx="7105119" cy="86177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t">
            <a:spAutoFit/>
          </a:bodyPr>
          <a:lstStyle>
            <a:lvl1pPr>
              <a:lnSpc>
                <a:spcPts val="1900"/>
              </a:lnSpc>
              <a:defRPr sz="1300">
                <a:solidFill>
                  <a:srgbClr val="2D2D2D"/>
                </a:solidFill>
                <a:latin typeface="DM Sans Regular"/>
                <a:ea typeface="DM Sans Regular"/>
                <a:cs typeface="DM Sans Regular"/>
                <a:sym typeface="DM Sans Regular"/>
              </a:defRPr>
            </a:lvl1pPr>
          </a:lstStyle>
          <a:p>
            <a:pPr defTabSz="914446">
              <a:lnSpc>
                <a:spcPct val="100000"/>
              </a:lnSpc>
              <a:buClr>
                <a:srgbClr val="000000"/>
              </a:buClr>
              <a:defRPr/>
            </a:pPr>
            <a:r>
              <a:rPr lang="en-GB" sz="1400" kern="0" noProof="0">
                <a:solidFill>
                  <a:srgbClr val="000000">
                    <a:lumMod val="95000"/>
                    <a:lumOff val="5000"/>
                  </a:srgbClr>
                </a:solidFill>
                <a:latin typeface="Quattrocento Sans"/>
                <a:cs typeface="Arial"/>
                <a:sym typeface="Arial"/>
              </a:rPr>
              <a:t>Data Governance seeks alignment with a </a:t>
            </a:r>
            <a:r>
              <a:rPr lang="en-GB" sz="1400" b="1" kern="0" noProof="0">
                <a:solidFill>
                  <a:srgbClr val="000000">
                    <a:lumMod val="95000"/>
                    <a:lumOff val="5000"/>
                  </a:srgbClr>
                </a:solidFill>
                <a:latin typeface="Quattrocento Sans"/>
                <a:cs typeface="Arial"/>
                <a:sym typeface="Arial"/>
              </a:rPr>
              <a:t>Data Driven AI Organization </a:t>
            </a:r>
            <a:r>
              <a:rPr lang="en-GB" sz="1400" kern="0" noProof="0">
                <a:solidFill>
                  <a:srgbClr val="000000">
                    <a:lumMod val="95000"/>
                    <a:lumOff val="5000"/>
                  </a:srgbClr>
                </a:solidFill>
                <a:latin typeface="Quattrocento Sans"/>
                <a:cs typeface="Arial"/>
                <a:sym typeface="Arial"/>
              </a:rPr>
              <a:t>(Data culture + Technology) strategy, where </a:t>
            </a:r>
            <a:r>
              <a:rPr lang="en-GB" sz="1400" b="1" kern="0" noProof="0">
                <a:solidFill>
                  <a:srgbClr val="000000">
                    <a:lumMod val="95000"/>
                    <a:lumOff val="5000"/>
                  </a:srgbClr>
                </a:solidFill>
                <a:latin typeface="Quattrocento Sans"/>
                <a:cs typeface="Arial"/>
                <a:sym typeface="Arial"/>
              </a:rPr>
              <a:t>data is a strategic asset</a:t>
            </a:r>
            <a:r>
              <a:rPr lang="en-GB" sz="1400" kern="0" noProof="0">
                <a:solidFill>
                  <a:srgbClr val="000000">
                    <a:lumMod val="95000"/>
                    <a:lumOff val="5000"/>
                  </a:srgbClr>
                </a:solidFill>
                <a:latin typeface="Quattrocento Sans"/>
                <a:cs typeface="Arial"/>
                <a:sym typeface="Arial"/>
              </a:rPr>
              <a:t>.</a:t>
            </a:r>
          </a:p>
          <a:p>
            <a:pPr defTabSz="914446">
              <a:lnSpc>
                <a:spcPct val="100000"/>
              </a:lnSpc>
              <a:buClr>
                <a:srgbClr val="000000"/>
              </a:buClr>
              <a:defRPr/>
            </a:pPr>
            <a:endParaRPr lang="en-GB" sz="1400" b="1" kern="0" noProof="0">
              <a:solidFill>
                <a:srgbClr val="000000">
                  <a:lumMod val="95000"/>
                  <a:lumOff val="5000"/>
                </a:srgbClr>
              </a:solidFill>
              <a:latin typeface="Quattrocento Sans"/>
              <a:cs typeface="Arial"/>
              <a:sym typeface="Arial"/>
            </a:endParaRPr>
          </a:p>
          <a:p>
            <a:pPr defTabSz="914446">
              <a:lnSpc>
                <a:spcPct val="100000"/>
              </a:lnSpc>
              <a:buClr>
                <a:srgbClr val="000000"/>
              </a:buClr>
              <a:defRPr/>
            </a:pPr>
            <a:r>
              <a:rPr lang="en-GB" sz="1400" kern="0" noProof="0">
                <a:solidFill>
                  <a:srgbClr val="000000">
                    <a:lumMod val="95000"/>
                    <a:lumOff val="5000"/>
                  </a:srgbClr>
                </a:solidFill>
                <a:latin typeface="Quattrocento Sans"/>
                <a:cs typeface="Arial"/>
                <a:sym typeface="Arial"/>
              </a:rPr>
              <a:t>It is based on the following </a:t>
            </a:r>
            <a:r>
              <a:rPr lang="en-GB" sz="1400" b="1" kern="0" noProof="0">
                <a:solidFill>
                  <a:srgbClr val="000000">
                    <a:lumMod val="95000"/>
                    <a:lumOff val="5000"/>
                  </a:srgbClr>
                </a:solidFill>
                <a:latin typeface="Quattrocento Sans"/>
                <a:cs typeface="Arial"/>
                <a:sym typeface="Arial"/>
              </a:rPr>
              <a:t>pillars</a:t>
            </a:r>
            <a:r>
              <a:rPr lang="en-GB" sz="1400" kern="0" noProof="0">
                <a:solidFill>
                  <a:srgbClr val="000000">
                    <a:lumMod val="95000"/>
                    <a:lumOff val="5000"/>
                  </a:srgbClr>
                </a:solidFill>
                <a:latin typeface="Quattrocento Sans"/>
                <a:cs typeface="Arial"/>
                <a:sym typeface="Arial"/>
              </a:rPr>
              <a:t>: </a:t>
            </a:r>
          </a:p>
        </p:txBody>
      </p:sp>
      <p:sp>
        <p:nvSpPr>
          <p:cNvPr id="10" name="Triángulo isósceles 9">
            <a:extLst>
              <a:ext uri="{FF2B5EF4-FFF2-40B4-BE49-F238E27FC236}">
                <a16:creationId xmlns:a16="http://schemas.microsoft.com/office/drawing/2014/main" id="{7B079F24-4B31-1232-C1DD-288FFA6D4392}"/>
              </a:ext>
            </a:extLst>
          </p:cNvPr>
          <p:cNvSpPr>
            <a:spLocks/>
          </p:cNvSpPr>
          <p:nvPr/>
        </p:nvSpPr>
        <p:spPr>
          <a:xfrm>
            <a:off x="4376954" y="2806774"/>
            <a:ext cx="3321738" cy="511673"/>
          </a:xfrm>
          <a:prstGeom prst="triangle">
            <a:avLst>
              <a:gd name="adj" fmla="val 51721"/>
            </a:avLst>
          </a:prstGeom>
          <a:no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17" name="Rectángulo 16">
            <a:extLst>
              <a:ext uri="{FF2B5EF4-FFF2-40B4-BE49-F238E27FC236}">
                <a16:creationId xmlns:a16="http://schemas.microsoft.com/office/drawing/2014/main" id="{FB49AB39-B1BA-FFD8-35E3-CF0041553EC1}"/>
              </a:ext>
            </a:extLst>
          </p:cNvPr>
          <p:cNvSpPr/>
          <p:nvPr/>
        </p:nvSpPr>
        <p:spPr>
          <a:xfrm>
            <a:off x="4364545" y="5170676"/>
            <a:ext cx="3365225" cy="148912"/>
          </a:xfrm>
          <a:prstGeom prst="rect">
            <a:avLst/>
          </a:prstGeom>
          <a:solidFill>
            <a:schemeClr val="bg1"/>
          </a:solid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18" name="Rectángulo 17">
            <a:extLst>
              <a:ext uri="{FF2B5EF4-FFF2-40B4-BE49-F238E27FC236}">
                <a16:creationId xmlns:a16="http://schemas.microsoft.com/office/drawing/2014/main" id="{B3BDB9A7-BADD-A8F5-040A-0560194A5607}"/>
              </a:ext>
            </a:extLst>
          </p:cNvPr>
          <p:cNvSpPr/>
          <p:nvPr/>
        </p:nvSpPr>
        <p:spPr>
          <a:xfrm>
            <a:off x="4206671" y="5319075"/>
            <a:ext cx="3642373" cy="363164"/>
          </a:xfrm>
          <a:prstGeom prst="rect">
            <a:avLst/>
          </a:prstGeom>
          <a:solidFill>
            <a:schemeClr val="bg1"/>
          </a:solid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19" name="Rectángulo 18">
            <a:extLst>
              <a:ext uri="{FF2B5EF4-FFF2-40B4-BE49-F238E27FC236}">
                <a16:creationId xmlns:a16="http://schemas.microsoft.com/office/drawing/2014/main" id="{938C0115-20B3-0839-D7C9-1C469B3BBA3C}"/>
              </a:ext>
            </a:extLst>
          </p:cNvPr>
          <p:cNvSpPr/>
          <p:nvPr/>
        </p:nvSpPr>
        <p:spPr>
          <a:xfrm>
            <a:off x="4379564" y="5252523"/>
            <a:ext cx="3337200" cy="248799"/>
          </a:xfrm>
          <a:prstGeom prst="rect">
            <a:avLst/>
          </a:prstGeom>
          <a:solidFill>
            <a:schemeClr val="bg1"/>
          </a:solidFill>
          <a:ln w="1079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20" name="Text Box 3">
            <a:extLst>
              <a:ext uri="{FF2B5EF4-FFF2-40B4-BE49-F238E27FC236}">
                <a16:creationId xmlns:a16="http://schemas.microsoft.com/office/drawing/2014/main" id="{4BCB6737-78A8-6728-7929-0779695B32DD}"/>
              </a:ext>
            </a:extLst>
          </p:cNvPr>
          <p:cNvSpPr txBox="1">
            <a:spLocks noChangeArrowheads="1"/>
          </p:cNvSpPr>
          <p:nvPr/>
        </p:nvSpPr>
        <p:spPr bwMode="auto">
          <a:xfrm>
            <a:off x="4974532" y="5239742"/>
            <a:ext cx="2106650" cy="369332"/>
          </a:xfrm>
          <a:prstGeom prst="rect">
            <a:avLst/>
          </a:prstGeom>
          <a:solidFill>
            <a:schemeClr val="bg1"/>
          </a:solidFill>
          <a:ln w="9525">
            <a:noFill/>
            <a:miter lim="800000"/>
            <a:headEnd/>
            <a:tailEnd/>
          </a:ln>
        </p:spPr>
        <p:txBody>
          <a:bodyPr wrap="square">
            <a:spAutoFit/>
          </a:bodyPr>
          <a:lstStyle>
            <a:defPPr marR="0" lvl="0" algn="l" rtl="0">
              <a:lnSpc>
                <a:spcPct val="100000"/>
              </a:lnSpc>
              <a:spcBef>
                <a:spcPts val="0"/>
              </a:spcBef>
              <a:spcAft>
                <a:spcPts val="0"/>
              </a:spcAft>
              <a:defRPr/>
            </a:defPPr>
            <a:lvl1pPr algn="ctr" fontAlgn="base">
              <a:spcBef>
                <a:spcPct val="50000"/>
              </a:spcBef>
              <a:spcAft>
                <a:spcPct val="0"/>
              </a:spcAft>
              <a:defRPr sz="1800" b="1">
                <a:solidFill>
                  <a:schemeClr val="bg1"/>
                </a:solidFill>
                <a:latin typeface="Quattrocento Sans" panose="020B0502050000020003" pitchFamily="34" charset="0"/>
              </a:defRPr>
            </a:lvl1pPr>
          </a:lstStyle>
          <a:p>
            <a:pPr defTabSz="914446">
              <a:buClr>
                <a:srgbClr val="000000"/>
              </a:buClr>
              <a:defRPr/>
            </a:pPr>
            <a:r>
              <a:rPr lang="en-GB" kern="0" noProof="0">
                <a:solidFill>
                  <a:srgbClr val="000000">
                    <a:lumMod val="95000"/>
                    <a:lumOff val="5000"/>
                  </a:srgbClr>
                </a:solidFill>
                <a:cs typeface="Arial"/>
                <a:sym typeface="Arial"/>
              </a:rPr>
              <a:t>Architecture</a:t>
            </a:r>
          </a:p>
        </p:txBody>
      </p:sp>
      <p:grpSp>
        <p:nvGrpSpPr>
          <p:cNvPr id="8" name="Grupo 7">
            <a:extLst>
              <a:ext uri="{FF2B5EF4-FFF2-40B4-BE49-F238E27FC236}">
                <a16:creationId xmlns:a16="http://schemas.microsoft.com/office/drawing/2014/main" id="{F7ADE344-13DA-179D-07AB-0DA14EE1471D}"/>
              </a:ext>
            </a:extLst>
          </p:cNvPr>
          <p:cNvGrpSpPr/>
          <p:nvPr/>
        </p:nvGrpSpPr>
        <p:grpSpPr>
          <a:xfrm>
            <a:off x="4671207" y="3508153"/>
            <a:ext cx="646331" cy="1656000"/>
            <a:chOff x="4621921" y="3316992"/>
            <a:chExt cx="719703" cy="1680294"/>
          </a:xfrm>
        </p:grpSpPr>
        <p:sp>
          <p:nvSpPr>
            <p:cNvPr id="4" name="Trapecio 3">
              <a:extLst>
                <a:ext uri="{FF2B5EF4-FFF2-40B4-BE49-F238E27FC236}">
                  <a16:creationId xmlns:a16="http://schemas.microsoft.com/office/drawing/2014/main" id="{1022AB6B-FE4B-D69A-879C-91AFBB5B1BCF}"/>
                </a:ext>
              </a:extLst>
            </p:cNvPr>
            <p:cNvSpPr/>
            <p:nvPr/>
          </p:nvSpPr>
          <p:spPr>
            <a:xfrm>
              <a:off x="4678746" y="3316992"/>
              <a:ext cx="646330" cy="1680294"/>
            </a:xfrm>
            <a:prstGeom prst="trapezoid">
              <a:avLst>
                <a:gd name="adj" fmla="val 0"/>
              </a:avLst>
            </a:prstGeom>
            <a:no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21" name="Text Box 3">
              <a:extLst>
                <a:ext uri="{FF2B5EF4-FFF2-40B4-BE49-F238E27FC236}">
                  <a16:creationId xmlns:a16="http://schemas.microsoft.com/office/drawing/2014/main" id="{8A98CE83-5FBD-4FBA-8F37-30497906BE9F}"/>
                </a:ext>
              </a:extLst>
            </p:cNvPr>
            <p:cNvSpPr txBox="1">
              <a:spLocks noChangeArrowheads="1"/>
            </p:cNvSpPr>
            <p:nvPr/>
          </p:nvSpPr>
          <p:spPr bwMode="auto">
            <a:xfrm rot="16200000">
              <a:off x="4276766" y="3793397"/>
              <a:ext cx="1410014" cy="719703"/>
            </a:xfrm>
            <a:prstGeom prst="rect">
              <a:avLst/>
            </a:prstGeom>
            <a:noFill/>
            <a:ln w="9525">
              <a:noFill/>
              <a:miter lim="800000"/>
              <a:headEnd/>
              <a:tailEnd/>
            </a:ln>
          </p:spPr>
          <p:txBody>
            <a:bodyPr wrap="square" anchor="ctr">
              <a:spAutoFit/>
            </a:bodyPr>
            <a:lstStyle>
              <a:defPPr marR="0" lvl="0" algn="l" rtl="0">
                <a:lnSpc>
                  <a:spcPct val="100000"/>
                </a:lnSpc>
                <a:spcBef>
                  <a:spcPts val="0"/>
                </a:spcBef>
                <a:spcAft>
                  <a:spcPts val="0"/>
                </a:spcAft>
                <a:defRPr/>
              </a:defPPr>
              <a:lvl1pPr algn="ctr" fontAlgn="base">
                <a:spcBef>
                  <a:spcPct val="50000"/>
                </a:spcBef>
                <a:spcAft>
                  <a:spcPct val="0"/>
                </a:spcAft>
                <a:defRPr sz="2000" b="1">
                  <a:solidFill>
                    <a:srgbClr val="000A23"/>
                  </a:solidFill>
                  <a:latin typeface="Quattrocento Sans" panose="020B0502050000020003" pitchFamily="34" charset="0"/>
                </a:defRPr>
              </a:lvl1pPr>
            </a:lstStyle>
            <a:p>
              <a:pPr defTabSz="914446">
                <a:buClr>
                  <a:srgbClr val="000000"/>
                </a:buClr>
                <a:defRPr/>
              </a:pPr>
              <a:r>
                <a:rPr lang="en-GB" sz="1800" kern="0" noProof="0">
                  <a:solidFill>
                    <a:srgbClr val="000000">
                      <a:lumMod val="95000"/>
                      <a:lumOff val="5000"/>
                    </a:srgbClr>
                  </a:solidFill>
                  <a:cs typeface="Arial"/>
                  <a:sym typeface="Arial"/>
                </a:rPr>
                <a:t>Lineage and Catalogue</a:t>
              </a:r>
            </a:p>
          </p:txBody>
        </p:sp>
      </p:grpSp>
      <p:grpSp>
        <p:nvGrpSpPr>
          <p:cNvPr id="25" name="Grupo 24">
            <a:extLst>
              <a:ext uri="{FF2B5EF4-FFF2-40B4-BE49-F238E27FC236}">
                <a16:creationId xmlns:a16="http://schemas.microsoft.com/office/drawing/2014/main" id="{7873FB39-9792-CCC1-F7BD-8C1F4FDE7F5E}"/>
              </a:ext>
            </a:extLst>
          </p:cNvPr>
          <p:cNvGrpSpPr/>
          <p:nvPr/>
        </p:nvGrpSpPr>
        <p:grpSpPr>
          <a:xfrm>
            <a:off x="5462266" y="3508153"/>
            <a:ext cx="580439" cy="1656000"/>
            <a:chOff x="5408193" y="3297985"/>
            <a:chExt cx="426385" cy="1680293"/>
          </a:xfrm>
        </p:grpSpPr>
        <p:sp>
          <p:nvSpPr>
            <p:cNvPr id="12" name="Trapecio 11">
              <a:extLst>
                <a:ext uri="{FF2B5EF4-FFF2-40B4-BE49-F238E27FC236}">
                  <a16:creationId xmlns:a16="http://schemas.microsoft.com/office/drawing/2014/main" id="{E9E0E69D-39AF-A705-AC70-ED4C1E1F89AC}"/>
                </a:ext>
              </a:extLst>
            </p:cNvPr>
            <p:cNvSpPr/>
            <p:nvPr/>
          </p:nvSpPr>
          <p:spPr>
            <a:xfrm>
              <a:off x="5408193" y="3297985"/>
              <a:ext cx="426385" cy="1680293"/>
            </a:xfrm>
            <a:prstGeom prst="trapezoid">
              <a:avLst>
                <a:gd name="adj" fmla="val 0"/>
              </a:avLst>
            </a:prstGeom>
            <a:no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22" name="Text Box 3">
              <a:extLst>
                <a:ext uri="{FF2B5EF4-FFF2-40B4-BE49-F238E27FC236}">
                  <a16:creationId xmlns:a16="http://schemas.microsoft.com/office/drawing/2014/main" id="{53FA2227-D0CE-A6EC-8DC5-93404A84163F}"/>
                </a:ext>
              </a:extLst>
            </p:cNvPr>
            <p:cNvSpPr txBox="1">
              <a:spLocks noChangeArrowheads="1"/>
            </p:cNvSpPr>
            <p:nvPr/>
          </p:nvSpPr>
          <p:spPr bwMode="auto">
            <a:xfrm rot="16200000">
              <a:off x="5047290" y="4002477"/>
              <a:ext cx="1148191" cy="271308"/>
            </a:xfrm>
            <a:prstGeom prst="rect">
              <a:avLst/>
            </a:prstGeom>
            <a:noFill/>
            <a:ln w="9525">
              <a:noFill/>
              <a:miter lim="800000"/>
              <a:headEnd/>
              <a:tailEnd/>
            </a:ln>
          </p:spPr>
          <p:txBody>
            <a:bodyPr wrap="square" anchor="ctr">
              <a:spAutoFit/>
            </a:bodyPr>
            <a:lstStyle>
              <a:defPPr marR="0" lvl="0" algn="l" rtl="0">
                <a:lnSpc>
                  <a:spcPct val="100000"/>
                </a:lnSpc>
                <a:spcBef>
                  <a:spcPts val="0"/>
                </a:spcBef>
                <a:spcAft>
                  <a:spcPts val="0"/>
                </a:spcAft>
                <a:defRPr/>
              </a:defPPr>
              <a:lvl1pPr algn="ctr" fontAlgn="base">
                <a:spcBef>
                  <a:spcPct val="50000"/>
                </a:spcBef>
                <a:spcAft>
                  <a:spcPct val="0"/>
                </a:spcAft>
                <a:defRPr sz="1800" b="1">
                  <a:solidFill>
                    <a:schemeClr val="bg1"/>
                  </a:solidFill>
                  <a:latin typeface="Quattrocento Sans" panose="020B0502050000020003" pitchFamily="34" charset="0"/>
                </a:defRPr>
              </a:lvl1pPr>
            </a:lstStyle>
            <a:p>
              <a:pPr defTabSz="914446">
                <a:buClr>
                  <a:srgbClr val="000000"/>
                </a:buClr>
                <a:defRPr/>
              </a:pPr>
              <a:r>
                <a:rPr lang="en-GB" kern="0" noProof="0">
                  <a:solidFill>
                    <a:srgbClr val="000000">
                      <a:lumMod val="95000"/>
                      <a:lumOff val="5000"/>
                    </a:srgbClr>
                  </a:solidFill>
                  <a:cs typeface="Arial"/>
                  <a:sym typeface="Arial"/>
                </a:rPr>
                <a:t>Quality</a:t>
              </a:r>
            </a:p>
          </p:txBody>
        </p:sp>
      </p:grpSp>
      <p:grpSp>
        <p:nvGrpSpPr>
          <p:cNvPr id="31" name="Grupo 30">
            <a:extLst>
              <a:ext uri="{FF2B5EF4-FFF2-40B4-BE49-F238E27FC236}">
                <a16:creationId xmlns:a16="http://schemas.microsoft.com/office/drawing/2014/main" id="{2FF9837E-52C4-4BD5-5693-73F9DBE594C9}"/>
              </a:ext>
            </a:extLst>
          </p:cNvPr>
          <p:cNvGrpSpPr/>
          <p:nvPr/>
        </p:nvGrpSpPr>
        <p:grpSpPr>
          <a:xfrm>
            <a:off x="6799689" y="3508153"/>
            <a:ext cx="646331" cy="1656000"/>
            <a:chOff x="6708405" y="3318803"/>
            <a:chExt cx="472833" cy="1680293"/>
          </a:xfrm>
        </p:grpSpPr>
        <p:sp>
          <p:nvSpPr>
            <p:cNvPr id="11" name="Trapecio 10">
              <a:extLst>
                <a:ext uri="{FF2B5EF4-FFF2-40B4-BE49-F238E27FC236}">
                  <a16:creationId xmlns:a16="http://schemas.microsoft.com/office/drawing/2014/main" id="{84CD884F-2F22-41E5-B91F-91F21B2FC158}"/>
                </a:ext>
              </a:extLst>
            </p:cNvPr>
            <p:cNvSpPr/>
            <p:nvPr/>
          </p:nvSpPr>
          <p:spPr>
            <a:xfrm>
              <a:off x="6729081" y="3318803"/>
              <a:ext cx="426385" cy="1680293"/>
            </a:xfrm>
            <a:prstGeom prst="trapezoid">
              <a:avLst>
                <a:gd name="adj" fmla="val 0"/>
              </a:avLst>
            </a:prstGeom>
            <a:no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23" name="Text Box 3">
              <a:extLst>
                <a:ext uri="{FF2B5EF4-FFF2-40B4-BE49-F238E27FC236}">
                  <a16:creationId xmlns:a16="http://schemas.microsoft.com/office/drawing/2014/main" id="{0C7784A4-AAF1-6F37-948E-72672A276CB6}"/>
                </a:ext>
              </a:extLst>
            </p:cNvPr>
            <p:cNvSpPr txBox="1">
              <a:spLocks noChangeArrowheads="1"/>
            </p:cNvSpPr>
            <p:nvPr/>
          </p:nvSpPr>
          <p:spPr bwMode="auto">
            <a:xfrm rot="16200000">
              <a:off x="6303773" y="3979570"/>
              <a:ext cx="1282097" cy="472833"/>
            </a:xfrm>
            <a:prstGeom prst="rect">
              <a:avLst/>
            </a:prstGeom>
            <a:noFill/>
            <a:ln w="9525">
              <a:noFill/>
              <a:miter lim="800000"/>
              <a:headEnd/>
              <a:tailEnd/>
            </a:ln>
          </p:spPr>
          <p:txBody>
            <a:bodyPr wrap="square">
              <a:spAutoFit/>
            </a:bodyPr>
            <a:lstStyle>
              <a:defPPr marR="0" lvl="0" algn="l" rtl="0">
                <a:lnSpc>
                  <a:spcPct val="100000"/>
                </a:lnSpc>
                <a:spcBef>
                  <a:spcPts val="0"/>
                </a:spcBef>
                <a:spcAft>
                  <a:spcPts val="0"/>
                </a:spcAft>
                <a:defRPr/>
              </a:defPPr>
              <a:lvl1pPr algn="ctr" fontAlgn="base">
                <a:spcBef>
                  <a:spcPct val="50000"/>
                </a:spcBef>
                <a:spcAft>
                  <a:spcPct val="0"/>
                </a:spcAft>
                <a:defRPr sz="1800" b="1">
                  <a:solidFill>
                    <a:schemeClr val="bg1"/>
                  </a:solidFill>
                  <a:latin typeface="Quattrocento Sans" panose="020B0502050000020003" pitchFamily="34" charset="0"/>
                </a:defRPr>
              </a:lvl1pPr>
            </a:lstStyle>
            <a:p>
              <a:pPr defTabSz="914446">
                <a:buClr>
                  <a:srgbClr val="000000"/>
                </a:buClr>
                <a:defRPr/>
              </a:pPr>
              <a:r>
                <a:rPr lang="en-GB" kern="0" noProof="0">
                  <a:solidFill>
                    <a:srgbClr val="000000">
                      <a:lumMod val="95000"/>
                      <a:lumOff val="5000"/>
                    </a:srgbClr>
                  </a:solidFill>
                  <a:cs typeface="Arial"/>
                  <a:sym typeface="Arial"/>
                </a:rPr>
                <a:t>Master Data</a:t>
              </a:r>
            </a:p>
          </p:txBody>
        </p:sp>
      </p:grpSp>
      <p:cxnSp>
        <p:nvCxnSpPr>
          <p:cNvPr id="24" name="Straight Arrow Connector 70">
            <a:extLst>
              <a:ext uri="{FF2B5EF4-FFF2-40B4-BE49-F238E27FC236}">
                <a16:creationId xmlns:a16="http://schemas.microsoft.com/office/drawing/2014/main" id="{42664F23-BB02-ED98-9993-6949893FE5C1}"/>
              </a:ext>
            </a:extLst>
          </p:cNvPr>
          <p:cNvCxnSpPr>
            <a:cxnSpLocks/>
          </p:cNvCxnSpPr>
          <p:nvPr/>
        </p:nvCxnSpPr>
        <p:spPr>
          <a:xfrm flipV="1">
            <a:off x="1588322" y="3869527"/>
            <a:ext cx="3873944" cy="1"/>
          </a:xfrm>
          <a:prstGeom prst="straightConnector1">
            <a:avLst/>
          </a:prstGeom>
          <a:noFill/>
          <a:ln w="28575">
            <a:solidFill>
              <a:srgbClr val="A6A6A6"/>
            </a:solidFill>
          </a:ln>
        </p:spPr>
      </p:cxnSp>
      <p:cxnSp>
        <p:nvCxnSpPr>
          <p:cNvPr id="26" name="Straight Arrow Connector 69">
            <a:extLst>
              <a:ext uri="{FF2B5EF4-FFF2-40B4-BE49-F238E27FC236}">
                <a16:creationId xmlns:a16="http://schemas.microsoft.com/office/drawing/2014/main" id="{A6128F07-941C-C9B0-6864-A83E0DFB1F5E}"/>
              </a:ext>
            </a:extLst>
          </p:cNvPr>
          <p:cNvCxnSpPr>
            <a:cxnSpLocks/>
          </p:cNvCxnSpPr>
          <p:nvPr/>
        </p:nvCxnSpPr>
        <p:spPr>
          <a:xfrm flipH="1">
            <a:off x="7410793" y="3676527"/>
            <a:ext cx="3381382" cy="0"/>
          </a:xfrm>
          <a:prstGeom prst="straightConnector1">
            <a:avLst/>
          </a:prstGeom>
          <a:noFill/>
          <a:ln w="28575">
            <a:solidFill>
              <a:srgbClr val="A6A6A6"/>
            </a:solidFill>
          </a:ln>
        </p:spPr>
      </p:cxnSp>
      <p:sp>
        <p:nvSpPr>
          <p:cNvPr id="27" name="Text Box 3">
            <a:extLst>
              <a:ext uri="{FF2B5EF4-FFF2-40B4-BE49-F238E27FC236}">
                <a16:creationId xmlns:a16="http://schemas.microsoft.com/office/drawing/2014/main" id="{C6B12FDA-C3AD-94B0-4049-48433541C6E5}"/>
              </a:ext>
            </a:extLst>
          </p:cNvPr>
          <p:cNvSpPr txBox="1">
            <a:spLocks noChangeArrowheads="1"/>
          </p:cNvSpPr>
          <p:nvPr/>
        </p:nvSpPr>
        <p:spPr bwMode="auto">
          <a:xfrm>
            <a:off x="4376954" y="3002237"/>
            <a:ext cx="3321738" cy="369332"/>
          </a:xfrm>
          <a:prstGeom prst="rect">
            <a:avLst/>
          </a:prstGeom>
          <a:noFill/>
          <a:ln w="9525">
            <a:noFill/>
            <a:miter lim="800000"/>
            <a:headEnd/>
            <a:tailEnd/>
          </a:ln>
        </p:spPr>
        <p:txBody>
          <a:bodyPr wrap="square" anchor="ctr">
            <a:spAutoFit/>
          </a:bodyPr>
          <a:lstStyle>
            <a:defPPr marR="0" lvl="0" algn="l" rtl="0">
              <a:lnSpc>
                <a:spcPct val="100000"/>
              </a:lnSpc>
              <a:spcBef>
                <a:spcPts val="0"/>
              </a:spcBef>
              <a:spcAft>
                <a:spcPts val="0"/>
              </a:spcAft>
              <a:defRPr lang="en-US"/>
            </a:defPPr>
            <a:lvl1pPr algn="ctr" defTabSz="914446" fontAlgn="base">
              <a:spcBef>
                <a:spcPct val="50000"/>
              </a:spcBef>
              <a:spcAft>
                <a:spcPct val="0"/>
              </a:spcAft>
              <a:buClr>
                <a:srgbClr val="000000"/>
              </a:buClr>
              <a:defRPr b="1" kern="0">
                <a:solidFill>
                  <a:srgbClr val="000000">
                    <a:lumMod val="95000"/>
                    <a:lumOff val="5000"/>
                  </a:srgbClr>
                </a:solidFill>
                <a:latin typeface="Quattrocento Sans" panose="020B0502050000020003" pitchFamily="34" charset="0"/>
                <a:cs typeface="Arial"/>
              </a:defRPr>
            </a:lvl1pPr>
          </a:lstStyle>
          <a:p>
            <a:r>
              <a:rPr lang="en-GB" noProof="0">
                <a:sym typeface="Arial"/>
              </a:rPr>
              <a:t>Organisation</a:t>
            </a:r>
          </a:p>
        </p:txBody>
      </p:sp>
      <p:cxnSp>
        <p:nvCxnSpPr>
          <p:cNvPr id="28" name="Straight Arrow Connector 69">
            <a:extLst>
              <a:ext uri="{FF2B5EF4-FFF2-40B4-BE49-F238E27FC236}">
                <a16:creationId xmlns:a16="http://schemas.microsoft.com/office/drawing/2014/main" id="{00D93161-B060-58C3-2394-6A8BE65E594B}"/>
              </a:ext>
            </a:extLst>
          </p:cNvPr>
          <p:cNvCxnSpPr>
            <a:cxnSpLocks/>
          </p:cNvCxnSpPr>
          <p:nvPr/>
        </p:nvCxnSpPr>
        <p:spPr>
          <a:xfrm flipH="1">
            <a:off x="6705134" y="4901948"/>
            <a:ext cx="4067483" cy="0"/>
          </a:xfrm>
          <a:prstGeom prst="straightConnector1">
            <a:avLst/>
          </a:prstGeom>
          <a:noFill/>
          <a:ln w="28575">
            <a:solidFill>
              <a:srgbClr val="A6A6A6"/>
            </a:solidFill>
          </a:ln>
        </p:spPr>
      </p:cxnSp>
      <p:sp>
        <p:nvSpPr>
          <p:cNvPr id="29" name="Rectángulo 28">
            <a:extLst>
              <a:ext uri="{FF2B5EF4-FFF2-40B4-BE49-F238E27FC236}">
                <a16:creationId xmlns:a16="http://schemas.microsoft.com/office/drawing/2014/main" id="{ADA004C2-E932-9EF9-264B-AF54485C829F}"/>
              </a:ext>
            </a:extLst>
          </p:cNvPr>
          <p:cNvSpPr/>
          <p:nvPr/>
        </p:nvSpPr>
        <p:spPr>
          <a:xfrm>
            <a:off x="4475098" y="3371221"/>
            <a:ext cx="3125450" cy="128583"/>
          </a:xfrm>
          <a:prstGeom prst="rect">
            <a:avLst/>
          </a:prstGeom>
          <a:solidFill>
            <a:schemeClr val="bg1"/>
          </a:solid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pic>
        <p:nvPicPr>
          <p:cNvPr id="1026" name="Picture 2" descr="Home">
            <a:extLst>
              <a:ext uri="{FF2B5EF4-FFF2-40B4-BE49-F238E27FC236}">
                <a16:creationId xmlns:a16="http://schemas.microsoft.com/office/drawing/2014/main" id="{A829E7D5-C47D-2D9F-D6F6-01A1925CB81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670253" y="5583282"/>
            <a:ext cx="1286486" cy="953868"/>
          </a:xfrm>
          <a:prstGeom prst="rect">
            <a:avLst/>
          </a:prstGeom>
          <a:noFill/>
          <a:extLst>
            <a:ext uri="{909E8E84-426E-40DD-AFC4-6F175D3DCCD1}">
              <a14:hiddenFill xmlns:a14="http://schemas.microsoft.com/office/drawing/2010/main">
                <a:solidFill>
                  <a:srgbClr val="FFFFFF"/>
                </a:solidFill>
              </a14:hiddenFill>
            </a:ext>
          </a:extLst>
        </p:spPr>
      </p:pic>
      <p:cxnSp>
        <p:nvCxnSpPr>
          <p:cNvPr id="34" name="Straight Arrow Connector 69">
            <a:extLst>
              <a:ext uri="{FF2B5EF4-FFF2-40B4-BE49-F238E27FC236}">
                <a16:creationId xmlns:a16="http://schemas.microsoft.com/office/drawing/2014/main" id="{D7B04AA9-7616-5C6D-FCCD-2AC0B0B19441}"/>
              </a:ext>
            </a:extLst>
          </p:cNvPr>
          <p:cNvCxnSpPr>
            <a:cxnSpLocks/>
          </p:cNvCxnSpPr>
          <p:nvPr/>
        </p:nvCxnSpPr>
        <p:spPr>
          <a:xfrm flipH="1">
            <a:off x="1539218" y="5027133"/>
            <a:ext cx="3194038" cy="0"/>
          </a:xfrm>
          <a:prstGeom prst="straightConnector1">
            <a:avLst/>
          </a:prstGeom>
          <a:noFill/>
          <a:ln w="28575">
            <a:solidFill>
              <a:srgbClr val="A6A6A6"/>
            </a:solidFill>
          </a:ln>
        </p:spPr>
      </p:cxnSp>
      <p:grpSp>
        <p:nvGrpSpPr>
          <p:cNvPr id="30" name="Grupo 29">
            <a:extLst>
              <a:ext uri="{FF2B5EF4-FFF2-40B4-BE49-F238E27FC236}">
                <a16:creationId xmlns:a16="http://schemas.microsoft.com/office/drawing/2014/main" id="{8DAA8FEB-216F-794A-25F4-50DBF025314E}"/>
              </a:ext>
            </a:extLst>
          </p:cNvPr>
          <p:cNvGrpSpPr/>
          <p:nvPr/>
        </p:nvGrpSpPr>
        <p:grpSpPr>
          <a:xfrm>
            <a:off x="6124695" y="3508153"/>
            <a:ext cx="580439" cy="1656000"/>
            <a:chOff x="6070186" y="3317523"/>
            <a:chExt cx="426385" cy="1680293"/>
          </a:xfrm>
        </p:grpSpPr>
        <p:sp>
          <p:nvSpPr>
            <p:cNvPr id="2" name="Trapecio 1">
              <a:extLst>
                <a:ext uri="{FF2B5EF4-FFF2-40B4-BE49-F238E27FC236}">
                  <a16:creationId xmlns:a16="http://schemas.microsoft.com/office/drawing/2014/main" id="{74067FDF-14C3-B3E0-3F84-F4A16135FAB4}"/>
                </a:ext>
              </a:extLst>
            </p:cNvPr>
            <p:cNvSpPr/>
            <p:nvPr/>
          </p:nvSpPr>
          <p:spPr>
            <a:xfrm>
              <a:off x="6070186" y="3317523"/>
              <a:ext cx="426385" cy="1680293"/>
            </a:xfrm>
            <a:prstGeom prst="trapezoid">
              <a:avLst>
                <a:gd name="adj" fmla="val 0"/>
              </a:avLst>
            </a:prstGeom>
            <a:no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3" name="Text Box 3">
              <a:extLst>
                <a:ext uri="{FF2B5EF4-FFF2-40B4-BE49-F238E27FC236}">
                  <a16:creationId xmlns:a16="http://schemas.microsoft.com/office/drawing/2014/main" id="{499C7340-8BEE-7DAB-F41A-E9B484591204}"/>
                </a:ext>
              </a:extLst>
            </p:cNvPr>
            <p:cNvSpPr txBox="1">
              <a:spLocks noChangeArrowheads="1"/>
            </p:cNvSpPr>
            <p:nvPr/>
          </p:nvSpPr>
          <p:spPr bwMode="auto">
            <a:xfrm rot="16200000">
              <a:off x="5570083" y="4049466"/>
              <a:ext cx="1424131" cy="271308"/>
            </a:xfrm>
            <a:prstGeom prst="rect">
              <a:avLst/>
            </a:prstGeom>
            <a:noFill/>
            <a:ln w="9525">
              <a:noFill/>
              <a:miter lim="800000"/>
              <a:headEnd/>
              <a:tailEnd/>
            </a:ln>
          </p:spPr>
          <p:txBody>
            <a:bodyPr wrap="square" anchor="ctr">
              <a:spAutoFit/>
            </a:bodyPr>
            <a:lstStyle>
              <a:defPPr marR="0" lvl="0" algn="l" rtl="0">
                <a:lnSpc>
                  <a:spcPct val="100000"/>
                </a:lnSpc>
                <a:spcBef>
                  <a:spcPts val="0"/>
                </a:spcBef>
                <a:spcAft>
                  <a:spcPts val="0"/>
                </a:spcAft>
                <a:defRPr/>
              </a:defPPr>
              <a:lvl1pPr algn="ctr" fontAlgn="base">
                <a:spcBef>
                  <a:spcPct val="50000"/>
                </a:spcBef>
                <a:spcAft>
                  <a:spcPct val="0"/>
                </a:spcAft>
                <a:defRPr sz="1800" b="1">
                  <a:solidFill>
                    <a:schemeClr val="bg1"/>
                  </a:solidFill>
                  <a:latin typeface="Quattrocento Sans" panose="020B0502050000020003" pitchFamily="34" charset="0"/>
                </a:defRPr>
              </a:lvl1pPr>
            </a:lstStyle>
            <a:p>
              <a:pPr defTabSz="914446">
                <a:buClr>
                  <a:srgbClr val="000000"/>
                </a:buClr>
                <a:defRPr/>
              </a:pPr>
              <a:r>
                <a:rPr lang="en-GB" kern="0" noProof="0">
                  <a:solidFill>
                    <a:srgbClr val="000000">
                      <a:lumMod val="95000"/>
                      <a:lumOff val="5000"/>
                    </a:srgbClr>
                  </a:solidFill>
                  <a:cs typeface="Arial"/>
                  <a:sym typeface="Arial"/>
                </a:rPr>
                <a:t>Security</a:t>
              </a:r>
            </a:p>
          </p:txBody>
        </p:sp>
      </p:grpSp>
      <p:cxnSp>
        <p:nvCxnSpPr>
          <p:cNvPr id="45" name="Straight Arrow Connector 69">
            <a:extLst>
              <a:ext uri="{FF2B5EF4-FFF2-40B4-BE49-F238E27FC236}">
                <a16:creationId xmlns:a16="http://schemas.microsoft.com/office/drawing/2014/main" id="{CE500241-FAB6-51B9-E857-7A369841A0BE}"/>
              </a:ext>
            </a:extLst>
          </p:cNvPr>
          <p:cNvCxnSpPr>
            <a:cxnSpLocks/>
          </p:cNvCxnSpPr>
          <p:nvPr/>
        </p:nvCxnSpPr>
        <p:spPr>
          <a:xfrm flipV="1">
            <a:off x="6117344" y="5682239"/>
            <a:ext cx="0" cy="291941"/>
          </a:xfrm>
          <a:prstGeom prst="straightConnector1">
            <a:avLst/>
          </a:prstGeom>
          <a:noFill/>
          <a:ln w="28575">
            <a:solidFill>
              <a:srgbClr val="A6A6A6"/>
            </a:solidFill>
          </a:ln>
        </p:spPr>
      </p:cxnSp>
      <p:cxnSp>
        <p:nvCxnSpPr>
          <p:cNvPr id="49" name="Straight Arrow Connector 69">
            <a:extLst>
              <a:ext uri="{FF2B5EF4-FFF2-40B4-BE49-F238E27FC236}">
                <a16:creationId xmlns:a16="http://schemas.microsoft.com/office/drawing/2014/main" id="{265B870D-C5F6-DF5A-C7D3-0EE46CCF0372}"/>
              </a:ext>
            </a:extLst>
          </p:cNvPr>
          <p:cNvCxnSpPr>
            <a:cxnSpLocks/>
          </p:cNvCxnSpPr>
          <p:nvPr/>
        </p:nvCxnSpPr>
        <p:spPr>
          <a:xfrm flipV="1">
            <a:off x="6107037" y="2516146"/>
            <a:ext cx="0" cy="291941"/>
          </a:xfrm>
          <a:prstGeom prst="straightConnector1">
            <a:avLst/>
          </a:prstGeom>
          <a:noFill/>
          <a:ln w="28575">
            <a:solidFill>
              <a:srgbClr val="A6A6A6"/>
            </a:solidFill>
          </a:ln>
        </p:spPr>
      </p:cxnSp>
      <p:pic>
        <p:nvPicPr>
          <p:cNvPr id="14" name="Imagen 13" descr="Logotipo&#10;&#10;Descripción generada automáticamente">
            <a:extLst>
              <a:ext uri="{FF2B5EF4-FFF2-40B4-BE49-F238E27FC236}">
                <a16:creationId xmlns:a16="http://schemas.microsoft.com/office/drawing/2014/main" id="{D397498B-F704-7E59-026E-B6C51B95F0E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59715" y="6016747"/>
            <a:ext cx="2085823" cy="481343"/>
          </a:xfrm>
          <a:prstGeom prst="rect">
            <a:avLst/>
          </a:prstGeom>
        </p:spPr>
      </p:pic>
      <p:pic>
        <p:nvPicPr>
          <p:cNvPr id="15" name="Picture 4" descr="Local Authority Support | Liberty Charge">
            <a:extLst>
              <a:ext uri="{FF2B5EF4-FFF2-40B4-BE49-F238E27FC236}">
                <a16:creationId xmlns:a16="http://schemas.microsoft.com/office/drawing/2014/main" id="{493B75CD-34CE-D570-2D9E-6D4B8EA185A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19954" y="5827179"/>
            <a:ext cx="1033341" cy="655216"/>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D5A42698-0646-EC13-B0D5-459388AC7E7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57084" y="5961399"/>
            <a:ext cx="1377492" cy="40066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 descr="Local Authority Support | Liberty Charge">
            <a:extLst>
              <a:ext uri="{FF2B5EF4-FFF2-40B4-BE49-F238E27FC236}">
                <a16:creationId xmlns:a16="http://schemas.microsoft.com/office/drawing/2014/main" id="{9788F57D-6E28-3C87-9336-0BDE6B65554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23972" y="3259874"/>
            <a:ext cx="985762" cy="62504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4" descr="Local Authority Support | Liberty Charge">
            <a:extLst>
              <a:ext uri="{FF2B5EF4-FFF2-40B4-BE49-F238E27FC236}">
                <a16:creationId xmlns:a16="http://schemas.microsoft.com/office/drawing/2014/main" id="{0CE378BE-6A88-A686-E9D0-A947FD6E14B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2705" y="4269695"/>
            <a:ext cx="1189844" cy="754451"/>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4" descr="Local Authority Support | Liberty Charge">
            <a:extLst>
              <a:ext uri="{FF2B5EF4-FFF2-40B4-BE49-F238E27FC236}">
                <a16:creationId xmlns:a16="http://schemas.microsoft.com/office/drawing/2014/main" id="{AE12D6A0-BB72-F6F9-1152-F2318B0B056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67819" y="1845205"/>
            <a:ext cx="1097475" cy="695882"/>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a:extLst>
              <a:ext uri="{FF2B5EF4-FFF2-40B4-BE49-F238E27FC236}">
                <a16:creationId xmlns:a16="http://schemas.microsoft.com/office/drawing/2014/main" id="{35B9EE16-8359-04CF-EC9B-6F1A65F6829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849044" y="4332318"/>
            <a:ext cx="1842427" cy="452454"/>
          </a:xfrm>
          <a:prstGeom prst="rect">
            <a:avLst/>
          </a:prstGeom>
          <a:noFill/>
          <a:extLst>
            <a:ext uri="{909E8E84-426E-40DD-AFC4-6F175D3DCCD1}">
              <a14:hiddenFill xmlns:a14="http://schemas.microsoft.com/office/drawing/2010/main">
                <a:solidFill>
                  <a:srgbClr val="FFFFFF"/>
                </a:solidFill>
              </a14:hiddenFill>
            </a:ext>
          </a:extLst>
        </p:spPr>
      </p:pic>
      <p:pic>
        <p:nvPicPr>
          <p:cNvPr id="3086" name="Picture 14" descr="Inicio - CHC Energía">
            <a:extLst>
              <a:ext uri="{FF2B5EF4-FFF2-40B4-BE49-F238E27FC236}">
                <a16:creationId xmlns:a16="http://schemas.microsoft.com/office/drawing/2014/main" id="{BABE55B4-573C-F26E-3C66-751DA9FDC76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398573" y="5901015"/>
            <a:ext cx="1005961" cy="56333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a:extLst>
              <a:ext uri="{FF2B5EF4-FFF2-40B4-BE49-F238E27FC236}">
                <a16:creationId xmlns:a16="http://schemas.microsoft.com/office/drawing/2014/main" id="{CEAA0295-1BF1-9C7F-1506-5144B838C52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823122" y="2728238"/>
            <a:ext cx="1320222" cy="49613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90BEAABF-E376-48DD-C2FC-02833009401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32867" y="3352017"/>
            <a:ext cx="1539218" cy="384805"/>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a:extLst>
              <a:ext uri="{FF2B5EF4-FFF2-40B4-BE49-F238E27FC236}">
                <a16:creationId xmlns:a16="http://schemas.microsoft.com/office/drawing/2014/main" id="{4E4EF7B8-3CE0-EA0C-768F-4802F9D9F74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598896" y="2684799"/>
            <a:ext cx="1320222" cy="496134"/>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a:extLst>
              <a:ext uri="{FF2B5EF4-FFF2-40B4-BE49-F238E27FC236}">
                <a16:creationId xmlns:a16="http://schemas.microsoft.com/office/drawing/2014/main" id="{1AD2F2C6-CBB0-3DD3-037F-77E45CF4796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569944" y="3230423"/>
            <a:ext cx="1539218" cy="38480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ALTER - ALTER-es">
            <a:extLst>
              <a:ext uri="{FF2B5EF4-FFF2-40B4-BE49-F238E27FC236}">
                <a16:creationId xmlns:a16="http://schemas.microsoft.com/office/drawing/2014/main" id="{CEAFF0EC-BB12-67FE-154D-5A4F198B9D2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837121" y="2727532"/>
            <a:ext cx="1341633" cy="357951"/>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6" descr="ALTER - ALTER-es">
            <a:extLst>
              <a:ext uri="{FF2B5EF4-FFF2-40B4-BE49-F238E27FC236}">
                <a16:creationId xmlns:a16="http://schemas.microsoft.com/office/drawing/2014/main" id="{AF3FEDCF-0855-7EED-82C3-D822CED2286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85096" y="2726262"/>
            <a:ext cx="1691047" cy="451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41330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EAAB13F0-7DBA-02D1-A391-60DA44F470FE}"/>
            </a:ext>
          </a:extLst>
        </p:cNvPr>
        <p:cNvGrpSpPr/>
        <p:nvPr/>
      </p:nvGrpSpPr>
      <p:grpSpPr>
        <a:xfrm>
          <a:off x="0" y="0"/>
          <a:ext cx="0" cy="0"/>
          <a:chOff x="0" y="0"/>
          <a:chExt cx="0" cy="0"/>
        </a:xfrm>
      </p:grpSpPr>
      <p:sp>
        <p:nvSpPr>
          <p:cNvPr id="2" name="Rectangle 57">
            <a:extLst>
              <a:ext uri="{FF2B5EF4-FFF2-40B4-BE49-F238E27FC236}">
                <a16:creationId xmlns:a16="http://schemas.microsoft.com/office/drawing/2014/main" id="{F46F011D-A1F6-7421-7D87-C8354179A3DF}"/>
              </a:ext>
            </a:extLst>
          </p:cNvPr>
          <p:cNvSpPr>
            <a:spLocks noChangeArrowheads="1"/>
          </p:cNvSpPr>
          <p:nvPr/>
        </p:nvSpPr>
        <p:spPr bwMode="gray">
          <a:xfrm>
            <a:off x="226220" y="198916"/>
            <a:ext cx="7407741" cy="984830"/>
          </a:xfrm>
          <a:prstGeom prst="rect">
            <a:avLst/>
          </a:prstGeom>
          <a:noFill/>
          <a:ln w="9525">
            <a:noFill/>
            <a:miter lim="800000"/>
            <a:headEnd/>
            <a:tailEnd/>
          </a:ln>
          <a:effectLst/>
        </p:spPr>
        <p:txBody>
          <a:bodyPr wrap="square" lIns="91386" tIns="45693" rIns="91386" bIns="45693">
            <a:spAutoFit/>
          </a:bodyPr>
          <a:lstStyle/>
          <a:p>
            <a:pPr defTabSz="609630"/>
            <a:r>
              <a:rPr lang="en-GB" sz="4000" b="1" kern="0" noProof="0">
                <a:solidFill>
                  <a:srgbClr val="000000">
                    <a:lumMod val="95000"/>
                    <a:lumOff val="5000"/>
                  </a:srgbClr>
                </a:solidFill>
                <a:latin typeface="Quattrocento Sans" panose="020B0502050000020003" pitchFamily="34" charset="0"/>
                <a:ea typeface="Lato"/>
                <a:cs typeface="Lato"/>
                <a:sym typeface="Calibri"/>
              </a:rPr>
              <a:t>Advisory Process</a:t>
            </a:r>
          </a:p>
          <a:p>
            <a:pPr defTabSz="609630" hangingPunct="0"/>
            <a:r>
              <a:rPr lang="en-GB" kern="0" noProof="0">
                <a:solidFill>
                  <a:srgbClr val="8A0051"/>
                </a:solidFill>
                <a:latin typeface="Quattrocento Sans" panose="020B0502050000020003" pitchFamily="34" charset="0"/>
                <a:cs typeface="Calibri"/>
                <a:sym typeface="Calibri"/>
              </a:rPr>
              <a:t>Example of a review document</a:t>
            </a:r>
          </a:p>
        </p:txBody>
      </p:sp>
      <p:pic>
        <p:nvPicPr>
          <p:cNvPr id="11" name="Imagen 10" descr="Logotipo&#10;&#10;Descripción generada automáticamente">
            <a:extLst>
              <a:ext uri="{FF2B5EF4-FFF2-40B4-BE49-F238E27FC236}">
                <a16:creationId xmlns:a16="http://schemas.microsoft.com/office/drawing/2014/main" id="{4D71BA70-7D9B-79E8-D150-2FA8732E285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75643" y="422965"/>
            <a:ext cx="1935381" cy="446626"/>
          </a:xfrm>
          <a:prstGeom prst="rect">
            <a:avLst/>
          </a:prstGeom>
        </p:spPr>
      </p:pic>
      <p:graphicFrame>
        <p:nvGraphicFramePr>
          <p:cNvPr id="4" name="Tabla 3">
            <a:extLst>
              <a:ext uri="{FF2B5EF4-FFF2-40B4-BE49-F238E27FC236}">
                <a16:creationId xmlns:a16="http://schemas.microsoft.com/office/drawing/2014/main" id="{6E24F98E-06C1-891E-3307-1BA577C179DC}"/>
              </a:ext>
            </a:extLst>
          </p:cNvPr>
          <p:cNvGraphicFramePr>
            <a:graphicFrameLocks noGrp="1"/>
          </p:cNvGraphicFramePr>
          <p:nvPr>
            <p:extLst>
              <p:ext uri="{D42A27DB-BD31-4B8C-83A1-F6EECF244321}">
                <p14:modId xmlns:p14="http://schemas.microsoft.com/office/powerpoint/2010/main" val="4074187885"/>
              </p:ext>
            </p:extLst>
          </p:nvPr>
        </p:nvGraphicFramePr>
        <p:xfrm>
          <a:off x="550333" y="1240534"/>
          <a:ext cx="11164506" cy="1453303"/>
        </p:xfrm>
        <a:graphic>
          <a:graphicData uri="http://schemas.openxmlformats.org/drawingml/2006/table">
            <a:tbl>
              <a:tblPr firstRow="1" bandRow="1">
                <a:tableStyleId>{073A0DAA-6AF3-43AB-8588-CEC1D06C72B9}</a:tableStyleId>
              </a:tblPr>
              <a:tblGrid>
                <a:gridCol w="2185411">
                  <a:extLst>
                    <a:ext uri="{9D8B030D-6E8A-4147-A177-3AD203B41FA5}">
                      <a16:colId xmlns:a16="http://schemas.microsoft.com/office/drawing/2014/main" val="3426615063"/>
                    </a:ext>
                  </a:extLst>
                </a:gridCol>
                <a:gridCol w="1407583">
                  <a:extLst>
                    <a:ext uri="{9D8B030D-6E8A-4147-A177-3AD203B41FA5}">
                      <a16:colId xmlns:a16="http://schemas.microsoft.com/office/drawing/2014/main" val="2135080106"/>
                    </a:ext>
                  </a:extLst>
                </a:gridCol>
                <a:gridCol w="2030283">
                  <a:extLst>
                    <a:ext uri="{9D8B030D-6E8A-4147-A177-3AD203B41FA5}">
                      <a16:colId xmlns:a16="http://schemas.microsoft.com/office/drawing/2014/main" val="1630796189"/>
                    </a:ext>
                  </a:extLst>
                </a:gridCol>
                <a:gridCol w="2688164">
                  <a:extLst>
                    <a:ext uri="{9D8B030D-6E8A-4147-A177-3AD203B41FA5}">
                      <a16:colId xmlns:a16="http://schemas.microsoft.com/office/drawing/2014/main" val="3370759097"/>
                    </a:ext>
                  </a:extLst>
                </a:gridCol>
                <a:gridCol w="1289089">
                  <a:extLst>
                    <a:ext uri="{9D8B030D-6E8A-4147-A177-3AD203B41FA5}">
                      <a16:colId xmlns:a16="http://schemas.microsoft.com/office/drawing/2014/main" val="397830662"/>
                    </a:ext>
                  </a:extLst>
                </a:gridCol>
                <a:gridCol w="1563976">
                  <a:extLst>
                    <a:ext uri="{9D8B030D-6E8A-4147-A177-3AD203B41FA5}">
                      <a16:colId xmlns:a16="http://schemas.microsoft.com/office/drawing/2014/main" val="3856269483"/>
                    </a:ext>
                  </a:extLst>
                </a:gridCol>
              </a:tblGrid>
              <a:tr h="264583">
                <a:tc gridSpan="6">
                  <a:txBody>
                    <a:bodyPr/>
                    <a:lstStyle/>
                    <a:p>
                      <a:pPr lvl="0" algn="l">
                        <a:buNone/>
                      </a:pPr>
                      <a:r>
                        <a:rPr lang="en-GB" sz="1000" noProof="0">
                          <a:solidFill>
                            <a:schemeClr val="bg1"/>
                          </a:solidFill>
                        </a:rPr>
                        <a:t>BW System Overview</a:t>
                      </a:r>
                    </a:p>
                  </a:txBody>
                  <a:tcPr anchor="ctr">
                    <a:solidFill>
                      <a:schemeClr val="bg2">
                        <a:lumMod val="50000"/>
                      </a:schemeClr>
                    </a:solidFill>
                  </a:tcPr>
                </a:tc>
                <a:tc hMerge="1">
                  <a:txBody>
                    <a:bodyPr/>
                    <a:lstStyle/>
                    <a:p>
                      <a:endParaRPr lang="es-ES"/>
                    </a:p>
                  </a:txBody>
                  <a:tcPr anchor="ctr">
                    <a:solidFill>
                      <a:schemeClr val="bg2"/>
                    </a:solidFill>
                  </a:tcPr>
                </a:tc>
                <a:tc hMerge="1">
                  <a:txBody>
                    <a:bodyPr/>
                    <a:lstStyle/>
                    <a:p>
                      <a:endParaRPr lang="es-ES"/>
                    </a:p>
                  </a:txBody>
                  <a:tcPr/>
                </a:tc>
                <a:tc hMerge="1">
                  <a:txBody>
                    <a:bodyPr/>
                    <a:lstStyle/>
                    <a:p>
                      <a:endParaRPr lang="es-ES"/>
                    </a:p>
                  </a:txBody>
                  <a:tcPr/>
                </a:tc>
                <a:tc hMerge="1">
                  <a:txBody>
                    <a:bodyPr/>
                    <a:lstStyle/>
                    <a:p>
                      <a:endParaRPr lang="es-ES"/>
                    </a:p>
                  </a:txBody>
                  <a:tcPr>
                    <a:solidFill>
                      <a:schemeClr val="bg1">
                        <a:lumMod val="95000"/>
                      </a:schemeClr>
                    </a:solidFill>
                  </a:tcPr>
                </a:tc>
                <a:tc hMerge="1">
                  <a:txBody>
                    <a:bodyPr/>
                    <a:lstStyle/>
                    <a:p>
                      <a:endParaRPr lang="es-ES"/>
                    </a:p>
                  </a:txBody>
                  <a:tcPr>
                    <a:solidFill>
                      <a:schemeClr val="bg1">
                        <a:lumMod val="95000"/>
                      </a:schemeClr>
                    </a:solidFill>
                  </a:tcPr>
                </a:tc>
                <a:extLst>
                  <a:ext uri="{0D108BD9-81ED-4DB2-BD59-A6C34878D82A}">
                    <a16:rowId xmlns:a16="http://schemas.microsoft.com/office/drawing/2014/main" val="3820593783"/>
                  </a:ext>
                </a:extLst>
              </a:tr>
              <a:tr h="370840">
                <a:tc>
                  <a:txBody>
                    <a:bodyPr/>
                    <a:lstStyle/>
                    <a:p>
                      <a:pPr algn="ctr"/>
                      <a:r>
                        <a:rPr lang="en-GB" sz="1000" b="0" noProof="0">
                          <a:solidFill>
                            <a:schemeClr val="tx1"/>
                          </a:solidFill>
                        </a:rPr>
                        <a:t>Client</a:t>
                      </a:r>
                    </a:p>
                  </a:txBody>
                  <a:tcPr anchor="ctr">
                    <a:solidFill>
                      <a:schemeClr val="bg2">
                        <a:lumMod val="90000"/>
                      </a:schemeClr>
                    </a:solidFill>
                  </a:tcPr>
                </a:tc>
                <a:tc>
                  <a:txBody>
                    <a:bodyPr/>
                    <a:lstStyle/>
                    <a:p>
                      <a:pPr marL="0" lvl="0" algn="ctr">
                        <a:buNone/>
                      </a:pPr>
                      <a:r>
                        <a:rPr lang="en-GB" sz="1000" b="1" noProof="0">
                          <a:solidFill>
                            <a:schemeClr val="tx1"/>
                          </a:solidFill>
                          <a:latin typeface="+mn-lt"/>
                          <a:ea typeface="+mn-ea"/>
                          <a:cs typeface="+mn-cs"/>
                        </a:rPr>
                        <a:t>Viva Aerobus</a:t>
                      </a:r>
                    </a:p>
                  </a:txBody>
                  <a:tcPr anchor="ctr">
                    <a:solidFill>
                      <a:schemeClr val="bg2"/>
                    </a:solidFill>
                  </a:tcPr>
                </a:tc>
                <a:tc>
                  <a:txBody>
                    <a:bodyPr/>
                    <a:lstStyle/>
                    <a:p>
                      <a:pPr lvl="0" algn="ctr">
                        <a:buNone/>
                      </a:pPr>
                      <a:r>
                        <a:rPr lang="en-GB" sz="1000" noProof="0">
                          <a:solidFill>
                            <a:schemeClr val="tx1"/>
                          </a:solidFill>
                          <a:latin typeface="+mn-lt"/>
                          <a:ea typeface="+mn-ea"/>
                          <a:cs typeface="+mn-cs"/>
                        </a:rPr>
                        <a:t>Environment</a:t>
                      </a:r>
                    </a:p>
                  </a:txBody>
                  <a:tcPr anchor="ctr">
                    <a:solidFill>
                      <a:schemeClr val="bg2">
                        <a:lumMod val="90000"/>
                      </a:schemeClr>
                    </a:solidFill>
                  </a:tcPr>
                </a:tc>
                <a:tc>
                  <a:txBody>
                    <a:bodyPr/>
                    <a:lstStyle/>
                    <a:p>
                      <a:pPr lvl="0" algn="ctr">
                        <a:buNone/>
                      </a:pPr>
                      <a:r>
                        <a:rPr lang="en-GB" sz="1000" b="1" noProof="0">
                          <a:solidFill>
                            <a:schemeClr val="tx1"/>
                          </a:solidFill>
                          <a:latin typeface="+mn-lt"/>
                          <a:ea typeface="+mn-ea"/>
                          <a:cs typeface="+mn-cs"/>
                        </a:rPr>
                        <a:t>Datasphere Development</a:t>
                      </a:r>
                    </a:p>
                  </a:txBody>
                  <a:tcPr anchor="ctr">
                    <a:solidFill>
                      <a:schemeClr val="bg2"/>
                    </a:solidFill>
                  </a:tcPr>
                </a:tc>
                <a:tc>
                  <a:txBody>
                    <a:bodyPr/>
                    <a:lstStyle/>
                    <a:p>
                      <a:pPr lvl="0" algn="ctr">
                        <a:buNone/>
                      </a:pPr>
                      <a:r>
                        <a:rPr lang="en-GB" sz="1000" noProof="0">
                          <a:solidFill>
                            <a:schemeClr val="tx1"/>
                          </a:solidFill>
                          <a:latin typeface="+mn-lt"/>
                          <a:ea typeface="+mn-ea"/>
                          <a:cs typeface="+mn-cs"/>
                        </a:rPr>
                        <a:t>Stratesys</a:t>
                      </a:r>
                    </a:p>
                    <a:p>
                      <a:pPr lvl="0" algn="ctr">
                        <a:buNone/>
                      </a:pPr>
                      <a:r>
                        <a:rPr lang="en-GB" sz="1000" noProof="0">
                          <a:solidFill>
                            <a:schemeClr val="tx1"/>
                          </a:solidFill>
                          <a:latin typeface="+mn-lt"/>
                          <a:ea typeface="+mn-ea"/>
                          <a:cs typeface="+mn-cs"/>
                        </a:rPr>
                        <a:t>Responsible</a:t>
                      </a:r>
                    </a:p>
                  </a:txBody>
                  <a:tcPr anchor="ctr">
                    <a:solidFill>
                      <a:schemeClr val="bg2">
                        <a:lumMod val="90000"/>
                      </a:schemeClr>
                    </a:solidFill>
                  </a:tcPr>
                </a:tc>
                <a:tc>
                  <a:txBody>
                    <a:bodyPr/>
                    <a:lstStyle/>
                    <a:p>
                      <a:pPr lvl="0" algn="ctr">
                        <a:buNone/>
                      </a:pPr>
                      <a:r>
                        <a:rPr lang="en-GB" sz="1000" b="1" noProof="0">
                          <a:solidFill>
                            <a:schemeClr val="tx1"/>
                          </a:solidFill>
                          <a:latin typeface="+mn-lt"/>
                          <a:ea typeface="+mn-ea"/>
                          <a:cs typeface="+mn-cs"/>
                        </a:rPr>
                        <a:t>Marc Martinez</a:t>
                      </a:r>
                    </a:p>
                  </a:txBody>
                  <a:tcPr anchor="ctr">
                    <a:solidFill>
                      <a:schemeClr val="bg2"/>
                    </a:solidFill>
                  </a:tcPr>
                </a:tc>
                <a:extLst>
                  <a:ext uri="{0D108BD9-81ED-4DB2-BD59-A6C34878D82A}">
                    <a16:rowId xmlns:a16="http://schemas.microsoft.com/office/drawing/2014/main" val="198911189"/>
                  </a:ext>
                </a:extLst>
              </a:tr>
              <a:tr h="370840">
                <a:tc>
                  <a:txBody>
                    <a:bodyPr/>
                    <a:lstStyle/>
                    <a:p>
                      <a:pPr algn="ctr"/>
                      <a:r>
                        <a:rPr lang="en-GB" sz="1000" b="0" noProof="0">
                          <a:solidFill>
                            <a:schemeClr val="tx1"/>
                          </a:solidFill>
                          <a:latin typeface="+mn-lt"/>
                          <a:ea typeface="+mn-ea"/>
                          <a:cs typeface="+mn-cs"/>
                        </a:rPr>
                        <a:t>Development</a:t>
                      </a:r>
                    </a:p>
                  </a:txBody>
                  <a:tcPr anchor="ctr">
                    <a:solidFill>
                      <a:schemeClr val="bg2">
                        <a:lumMod val="90000"/>
                      </a:schemeClr>
                    </a:solidFill>
                  </a:tcPr>
                </a:tc>
                <a:tc>
                  <a:txBody>
                    <a:bodyPr/>
                    <a:lstStyle/>
                    <a:p>
                      <a:pPr lvl="0" algn="ctr">
                        <a:buNone/>
                      </a:pPr>
                      <a:r>
                        <a:rPr lang="en-GB" sz="1000" b="1" noProof="0">
                          <a:solidFill>
                            <a:schemeClr val="tx1"/>
                          </a:solidFill>
                          <a:latin typeface="+mn-lt"/>
                          <a:ea typeface="+mn-ea"/>
                          <a:cs typeface="+mn-cs"/>
                        </a:rPr>
                        <a:t>VA_DSP_000178</a:t>
                      </a:r>
                    </a:p>
                  </a:txBody>
                  <a:tcPr anchor="ctr">
                    <a:solidFill>
                      <a:schemeClr val="bg2"/>
                    </a:solidFill>
                  </a:tcPr>
                </a:tc>
                <a:tc>
                  <a:txBody>
                    <a:bodyPr/>
                    <a:lstStyle/>
                    <a:p>
                      <a:pPr lvl="0" algn="ctr">
                        <a:buNone/>
                      </a:pPr>
                      <a:r>
                        <a:rPr lang="en-GB" sz="1000" noProof="0">
                          <a:solidFill>
                            <a:schemeClr val="tx1"/>
                          </a:solidFill>
                          <a:latin typeface="+mn-lt"/>
                          <a:ea typeface="+mn-ea"/>
                          <a:cs typeface="+mn-cs"/>
                        </a:rPr>
                        <a:t>Document Date</a:t>
                      </a:r>
                    </a:p>
                  </a:txBody>
                  <a:tcPr anchor="ctr">
                    <a:solidFill>
                      <a:schemeClr val="bg2">
                        <a:lumMod val="90000"/>
                      </a:schemeClr>
                    </a:solidFill>
                  </a:tcPr>
                </a:tc>
                <a:tc>
                  <a:txBody>
                    <a:bodyPr/>
                    <a:lstStyle/>
                    <a:p>
                      <a:pPr lvl="0" algn="ctr">
                        <a:buNone/>
                      </a:pPr>
                      <a:r>
                        <a:rPr lang="en-GB" sz="1000" b="1" i="0" u="none" strike="noStrike" noProof="0">
                          <a:solidFill>
                            <a:schemeClr val="tx1"/>
                          </a:solidFill>
                        </a:rPr>
                        <a:t>15.05.2025</a:t>
                      </a:r>
                      <a:endParaRPr lang="en-GB" b="1" noProof="0"/>
                    </a:p>
                  </a:txBody>
                  <a:tcPr anchor="ctr">
                    <a:solidFill>
                      <a:schemeClr val="bg2"/>
                    </a:solidFill>
                  </a:tcPr>
                </a:tc>
                <a:tc>
                  <a:txBody>
                    <a:bodyPr/>
                    <a:lstStyle/>
                    <a:p>
                      <a:pPr algn="ctr"/>
                      <a:r>
                        <a:rPr lang="en-GB" sz="1000" noProof="0">
                          <a:solidFill>
                            <a:schemeClr val="tx1"/>
                          </a:solidFill>
                          <a:latin typeface="+mn-lt"/>
                          <a:ea typeface="+mn-ea"/>
                          <a:cs typeface="+mn-cs"/>
                        </a:rPr>
                        <a:t>AstraZeneca</a:t>
                      </a:r>
                    </a:p>
                    <a:p>
                      <a:pPr algn="ctr"/>
                      <a:r>
                        <a:rPr lang="en-GB" sz="1000" noProof="0">
                          <a:solidFill>
                            <a:schemeClr val="tx1"/>
                          </a:solidFill>
                          <a:latin typeface="+mn-lt"/>
                          <a:ea typeface="+mn-ea"/>
                          <a:cs typeface="+mn-cs"/>
                        </a:rPr>
                        <a:t>Responsible</a:t>
                      </a:r>
                      <a:endParaRPr lang="en-GB" noProof="0"/>
                    </a:p>
                  </a:txBody>
                  <a:tcPr anchor="ctr">
                    <a:solidFill>
                      <a:schemeClr val="bg2">
                        <a:lumMod val="90000"/>
                      </a:schemeClr>
                    </a:solidFill>
                  </a:tcPr>
                </a:tc>
                <a:tc>
                  <a:txBody>
                    <a:bodyPr/>
                    <a:lstStyle/>
                    <a:p>
                      <a:pPr lvl="0" algn="ctr">
                        <a:buNone/>
                      </a:pPr>
                      <a:r>
                        <a:rPr lang="en-GB" sz="1000" b="1" noProof="0"/>
                        <a:t>John Smith</a:t>
                      </a:r>
                      <a:endParaRPr lang="en-GB" sz="1000" b="1" noProof="0">
                        <a:solidFill>
                          <a:schemeClr val="tx1"/>
                        </a:solidFill>
                        <a:latin typeface="+mn-lt"/>
                        <a:ea typeface="+mn-ea"/>
                        <a:cs typeface="+mn-cs"/>
                      </a:endParaRPr>
                    </a:p>
                  </a:txBody>
                  <a:tcPr anchor="ctr">
                    <a:solidFill>
                      <a:schemeClr val="bg2"/>
                    </a:solidFill>
                  </a:tcPr>
                </a:tc>
                <a:extLst>
                  <a:ext uri="{0D108BD9-81ED-4DB2-BD59-A6C34878D82A}">
                    <a16:rowId xmlns:a16="http://schemas.microsoft.com/office/drawing/2014/main" val="1251207225"/>
                  </a:ext>
                </a:extLst>
              </a:tr>
              <a:tr h="370840">
                <a:tc>
                  <a:txBody>
                    <a:bodyPr/>
                    <a:lstStyle/>
                    <a:p>
                      <a:pPr algn="ctr"/>
                      <a:r>
                        <a:rPr lang="en-GB" sz="1000" b="0" noProof="0">
                          <a:solidFill>
                            <a:schemeClr val="tx1"/>
                          </a:solidFill>
                          <a:latin typeface="+mn-lt"/>
                          <a:ea typeface="+mn-ea"/>
                          <a:cs typeface="+mn-cs"/>
                        </a:rPr>
                        <a:t>Version</a:t>
                      </a:r>
                    </a:p>
                  </a:txBody>
                  <a:tcPr anchor="ctr">
                    <a:solidFill>
                      <a:schemeClr val="bg2">
                        <a:lumMod val="90000"/>
                      </a:schemeClr>
                    </a:solidFill>
                  </a:tcPr>
                </a:tc>
                <a:tc>
                  <a:txBody>
                    <a:bodyPr/>
                    <a:lstStyle/>
                    <a:p>
                      <a:pPr lvl="0" algn="ctr">
                        <a:buNone/>
                      </a:pPr>
                      <a:r>
                        <a:rPr lang="en-GB" sz="1000" b="1" noProof="0">
                          <a:solidFill>
                            <a:schemeClr val="tx1"/>
                          </a:solidFill>
                          <a:latin typeface="+mn-lt"/>
                          <a:ea typeface="+mn-ea"/>
                          <a:cs typeface="+mn-cs"/>
                        </a:rPr>
                        <a:t>3.00</a:t>
                      </a:r>
                    </a:p>
                  </a:txBody>
                  <a:tcPr anchor="ctr">
                    <a:solidFill>
                      <a:schemeClr val="bg2"/>
                    </a:solidFill>
                  </a:tcPr>
                </a:tc>
                <a:tc>
                  <a:txBody>
                    <a:bodyPr/>
                    <a:lstStyle/>
                    <a:p>
                      <a:pPr lvl="0" algn="ctr">
                        <a:buNone/>
                      </a:pPr>
                      <a:r>
                        <a:rPr lang="en-GB" sz="1000" noProof="0">
                          <a:solidFill>
                            <a:schemeClr val="tx1"/>
                          </a:solidFill>
                          <a:latin typeface="+mn-lt"/>
                          <a:ea typeface="+mn-ea"/>
                          <a:cs typeface="+mn-cs"/>
                        </a:rPr>
                        <a:t>Validation Date</a:t>
                      </a:r>
                    </a:p>
                  </a:txBody>
                  <a:tcPr anchor="ctr">
                    <a:solidFill>
                      <a:schemeClr val="bg2">
                        <a:lumMod val="90000"/>
                      </a:schemeClr>
                    </a:solidFill>
                  </a:tcPr>
                </a:tc>
                <a:tc>
                  <a:txBody>
                    <a:bodyPr/>
                    <a:lstStyle/>
                    <a:p>
                      <a:pPr lvl="0" algn="ctr">
                        <a:buNone/>
                      </a:pPr>
                      <a:r>
                        <a:rPr lang="en-GB" sz="1000" b="1" i="0" u="none" strike="noStrike" noProof="0">
                          <a:solidFill>
                            <a:schemeClr val="tx1"/>
                          </a:solidFill>
                        </a:rPr>
                        <a:t>03.06.2025</a:t>
                      </a:r>
                      <a:endParaRPr lang="en-GB" b="1" noProof="0"/>
                    </a:p>
                  </a:txBody>
                  <a:tcPr anchor="ctr">
                    <a:solidFill>
                      <a:schemeClr val="bg2"/>
                    </a:solidFill>
                  </a:tcPr>
                </a:tc>
                <a:tc>
                  <a:txBody>
                    <a:bodyPr/>
                    <a:lstStyle/>
                    <a:p>
                      <a:pPr algn="ctr"/>
                      <a:r>
                        <a:rPr lang="en-GB" sz="1000" noProof="0">
                          <a:solidFill>
                            <a:schemeClr val="tx1"/>
                          </a:solidFill>
                          <a:latin typeface="+mn-lt"/>
                          <a:ea typeface="+mn-ea"/>
                          <a:cs typeface="+mn-cs"/>
                        </a:rPr>
                        <a:t>AstraZeneca</a:t>
                      </a:r>
                    </a:p>
                    <a:p>
                      <a:pPr algn="ctr"/>
                      <a:r>
                        <a:rPr lang="en-GB" sz="1000" noProof="0">
                          <a:solidFill>
                            <a:schemeClr val="tx1"/>
                          </a:solidFill>
                          <a:latin typeface="+mn-lt"/>
                          <a:ea typeface="+mn-ea"/>
                          <a:cs typeface="+mn-cs"/>
                        </a:rPr>
                        <a:t>Approver</a:t>
                      </a:r>
                      <a:endParaRPr lang="en-GB" noProof="0"/>
                    </a:p>
                  </a:txBody>
                  <a:tcPr anchor="ctr">
                    <a:solidFill>
                      <a:schemeClr val="bg2">
                        <a:lumMod val="90000"/>
                      </a:schemeClr>
                    </a:solidFill>
                  </a:tcPr>
                </a:tc>
                <a:tc>
                  <a:txBody>
                    <a:bodyPr/>
                    <a:lstStyle/>
                    <a:p>
                      <a:pPr lvl="0" algn="ctr">
                        <a:buNone/>
                      </a:pPr>
                      <a:r>
                        <a:rPr lang="en-GB" sz="1000" b="1" noProof="0"/>
                        <a:t>Michael Thompson</a:t>
                      </a:r>
                      <a:endParaRPr lang="en-GB" sz="1000" b="1" noProof="0">
                        <a:solidFill>
                          <a:schemeClr val="tx1"/>
                        </a:solidFill>
                        <a:latin typeface="+mn-lt"/>
                        <a:ea typeface="+mn-ea"/>
                        <a:cs typeface="+mn-cs"/>
                      </a:endParaRPr>
                    </a:p>
                  </a:txBody>
                  <a:tcPr anchor="ctr">
                    <a:solidFill>
                      <a:schemeClr val="bg2"/>
                    </a:solidFill>
                  </a:tcPr>
                </a:tc>
                <a:extLst>
                  <a:ext uri="{0D108BD9-81ED-4DB2-BD59-A6C34878D82A}">
                    <a16:rowId xmlns:a16="http://schemas.microsoft.com/office/drawing/2014/main" val="3847236513"/>
                  </a:ext>
                </a:extLst>
              </a:tr>
            </a:tbl>
          </a:graphicData>
        </a:graphic>
      </p:graphicFrame>
      <p:graphicFrame>
        <p:nvGraphicFramePr>
          <p:cNvPr id="5" name="Tabla 4">
            <a:extLst>
              <a:ext uri="{FF2B5EF4-FFF2-40B4-BE49-F238E27FC236}">
                <a16:creationId xmlns:a16="http://schemas.microsoft.com/office/drawing/2014/main" id="{EB9D5944-0F0D-C0E6-C7A8-A217CF3E0DD3}"/>
              </a:ext>
            </a:extLst>
          </p:cNvPr>
          <p:cNvGraphicFramePr>
            <a:graphicFrameLocks noGrp="1"/>
          </p:cNvGraphicFramePr>
          <p:nvPr>
            <p:extLst>
              <p:ext uri="{D42A27DB-BD31-4B8C-83A1-F6EECF244321}">
                <p14:modId xmlns:p14="http://schemas.microsoft.com/office/powerpoint/2010/main" val="187827048"/>
              </p:ext>
            </p:extLst>
          </p:nvPr>
        </p:nvGraphicFramePr>
        <p:xfrm>
          <a:off x="550332" y="2803046"/>
          <a:ext cx="9004128" cy="3591510"/>
        </p:xfrm>
        <a:graphic>
          <a:graphicData uri="http://schemas.openxmlformats.org/drawingml/2006/table">
            <a:tbl>
              <a:tblPr firstRow="1" bandRow="1">
                <a:tableStyleId>{5C22544A-7EE6-4342-B048-85BDC9FD1C3A}</a:tableStyleId>
              </a:tblPr>
              <a:tblGrid>
                <a:gridCol w="2043811">
                  <a:extLst>
                    <a:ext uri="{9D8B030D-6E8A-4147-A177-3AD203B41FA5}">
                      <a16:colId xmlns:a16="http://schemas.microsoft.com/office/drawing/2014/main" val="1095774895"/>
                    </a:ext>
                  </a:extLst>
                </a:gridCol>
                <a:gridCol w="539922">
                  <a:extLst>
                    <a:ext uri="{9D8B030D-6E8A-4147-A177-3AD203B41FA5}">
                      <a16:colId xmlns:a16="http://schemas.microsoft.com/office/drawing/2014/main" val="1604730680"/>
                    </a:ext>
                  </a:extLst>
                </a:gridCol>
                <a:gridCol w="743533">
                  <a:extLst>
                    <a:ext uri="{9D8B030D-6E8A-4147-A177-3AD203B41FA5}">
                      <a16:colId xmlns:a16="http://schemas.microsoft.com/office/drawing/2014/main" val="3667463304"/>
                    </a:ext>
                  </a:extLst>
                </a:gridCol>
                <a:gridCol w="5676862">
                  <a:extLst>
                    <a:ext uri="{9D8B030D-6E8A-4147-A177-3AD203B41FA5}">
                      <a16:colId xmlns:a16="http://schemas.microsoft.com/office/drawing/2014/main" val="2090157125"/>
                    </a:ext>
                  </a:extLst>
                </a:gridCol>
              </a:tblGrid>
              <a:tr h="276270">
                <a:tc gridSpan="4">
                  <a:txBody>
                    <a:bodyPr/>
                    <a:lstStyle/>
                    <a:p>
                      <a:pPr lvl="0" algn="l">
                        <a:buNone/>
                      </a:pPr>
                      <a:r>
                        <a:rPr lang="en-GB" sz="1000" b="1" noProof="0">
                          <a:solidFill>
                            <a:schemeClr val="bg1"/>
                          </a:solidFill>
                          <a:latin typeface="+mn-lt"/>
                          <a:ea typeface="+mn-ea"/>
                          <a:cs typeface="+mn-cs"/>
                        </a:rPr>
                        <a:t>Installed Components</a:t>
                      </a:r>
                    </a:p>
                  </a:txBody>
                  <a:tcPr anchor="ctr">
                    <a:solidFill>
                      <a:schemeClr val="bg2">
                        <a:lumMod val="50000"/>
                      </a:schemeClr>
                    </a:solidFill>
                  </a:tcPr>
                </a:tc>
                <a:tc hMerge="1">
                  <a:txBody>
                    <a:bodyPr/>
                    <a:lstStyle/>
                    <a:p>
                      <a:pPr lvl="0" algn="l">
                        <a:buNone/>
                      </a:pPr>
                      <a:endParaRPr lang="es-ES" sz="1000" b="1">
                        <a:solidFill>
                          <a:schemeClr val="bg1"/>
                        </a:solidFill>
                        <a:latin typeface="+mn-lt"/>
                        <a:ea typeface="+mn-ea"/>
                        <a:cs typeface="+mn-cs"/>
                      </a:endParaRPr>
                    </a:p>
                  </a:txBody>
                  <a:tcPr anchor="ctr">
                    <a:solidFill>
                      <a:schemeClr val="bg2">
                        <a:lumMod val="50000"/>
                      </a:schemeClr>
                    </a:solidFill>
                  </a:tcPr>
                </a:tc>
                <a:tc hMerge="1">
                  <a:txBody>
                    <a:bodyPr/>
                    <a:lstStyle/>
                    <a:p>
                      <a:pPr lvl="0" algn="l">
                        <a:buNone/>
                      </a:pPr>
                      <a:endParaRPr lang="es-ES" sz="1000" b="1">
                        <a:solidFill>
                          <a:schemeClr val="bg1"/>
                        </a:solidFill>
                        <a:latin typeface="+mn-lt"/>
                        <a:ea typeface="+mn-ea"/>
                        <a:cs typeface="+mn-cs"/>
                      </a:endParaRPr>
                    </a:p>
                  </a:txBody>
                  <a:tcPr anchor="ctr">
                    <a:solidFill>
                      <a:schemeClr val="bg2">
                        <a:lumMod val="50000"/>
                      </a:schemeClr>
                    </a:solidFill>
                  </a:tcPr>
                </a:tc>
                <a:tc hMerge="1">
                  <a:txBody>
                    <a:bodyPr/>
                    <a:lstStyle/>
                    <a:p>
                      <a:pPr lvl="0" algn="l">
                        <a:buNone/>
                      </a:pPr>
                      <a:endParaRPr lang="es-ES" sz="1000" b="1">
                        <a:solidFill>
                          <a:schemeClr val="bg1"/>
                        </a:solidFill>
                        <a:latin typeface="+mn-lt"/>
                        <a:ea typeface="+mn-ea"/>
                        <a:cs typeface="+mn-cs"/>
                      </a:endParaRPr>
                    </a:p>
                  </a:txBody>
                  <a:tcPr anchor="ctr">
                    <a:solidFill>
                      <a:schemeClr val="bg2">
                        <a:lumMod val="50000"/>
                      </a:schemeClr>
                    </a:solidFill>
                  </a:tcPr>
                </a:tc>
                <a:extLst>
                  <a:ext uri="{0D108BD9-81ED-4DB2-BD59-A6C34878D82A}">
                    <a16:rowId xmlns:a16="http://schemas.microsoft.com/office/drawing/2014/main" val="1568804210"/>
                  </a:ext>
                </a:extLst>
              </a:tr>
              <a:tr h="276270">
                <a:tc>
                  <a:txBody>
                    <a:bodyPr/>
                    <a:lstStyle/>
                    <a:p>
                      <a:pPr algn="l"/>
                      <a:r>
                        <a:rPr lang="en-GB" sz="900" b="1" noProof="0">
                          <a:solidFill>
                            <a:schemeClr val="tx1"/>
                          </a:solidFill>
                        </a:rPr>
                        <a:t>Item</a:t>
                      </a:r>
                    </a:p>
                  </a:txBody>
                  <a:tcPr anchor="ctr">
                    <a:solidFill>
                      <a:schemeClr val="bg2">
                        <a:lumMod val="90000"/>
                      </a:schemeClr>
                    </a:solidFill>
                  </a:tcPr>
                </a:tc>
                <a:tc>
                  <a:txBody>
                    <a:bodyPr/>
                    <a:lstStyle/>
                    <a:p>
                      <a:pPr algn="l"/>
                      <a:r>
                        <a:rPr lang="en-GB" sz="900" b="1" noProof="0">
                          <a:solidFill>
                            <a:schemeClr val="tx1"/>
                          </a:solidFill>
                        </a:rPr>
                        <a:t>Status</a:t>
                      </a:r>
                    </a:p>
                  </a:txBody>
                  <a:tcPr anchor="ctr">
                    <a:solidFill>
                      <a:schemeClr val="bg2">
                        <a:lumMod val="90000"/>
                      </a:schemeClr>
                    </a:solidFill>
                  </a:tcPr>
                </a:tc>
                <a:tc>
                  <a:txBody>
                    <a:bodyPr/>
                    <a:lstStyle/>
                    <a:p>
                      <a:pPr algn="ctr"/>
                      <a:r>
                        <a:rPr lang="en-GB" sz="900" b="1" noProof="0">
                          <a:solidFill>
                            <a:schemeClr val="tx1"/>
                          </a:solidFill>
                        </a:rPr>
                        <a:t>Iteration</a:t>
                      </a:r>
                    </a:p>
                  </a:txBody>
                  <a:tcPr anchor="ctr">
                    <a:solidFill>
                      <a:schemeClr val="bg2">
                        <a:lumMod val="90000"/>
                      </a:schemeClr>
                    </a:solidFill>
                  </a:tcPr>
                </a:tc>
                <a:tc>
                  <a:txBody>
                    <a:bodyPr/>
                    <a:lstStyle/>
                    <a:p>
                      <a:pPr algn="l"/>
                      <a:r>
                        <a:rPr lang="en-GB" sz="900" b="1" noProof="0">
                          <a:solidFill>
                            <a:schemeClr val="tx1"/>
                          </a:solidFill>
                        </a:rPr>
                        <a:t>Comment</a:t>
                      </a:r>
                    </a:p>
                  </a:txBody>
                  <a:tcPr anchor="ctr">
                    <a:solidFill>
                      <a:schemeClr val="bg2">
                        <a:lumMod val="90000"/>
                      </a:schemeClr>
                    </a:solidFill>
                  </a:tcPr>
                </a:tc>
                <a:extLst>
                  <a:ext uri="{0D108BD9-81ED-4DB2-BD59-A6C34878D82A}">
                    <a16:rowId xmlns:a16="http://schemas.microsoft.com/office/drawing/2014/main" val="3880860677"/>
                  </a:ext>
                </a:extLst>
              </a:tr>
              <a:tr h="276270">
                <a:tc>
                  <a:txBody>
                    <a:bodyPr/>
                    <a:lstStyle/>
                    <a:p>
                      <a:pPr lvl="0" algn="l">
                        <a:buNone/>
                      </a:pPr>
                      <a:r>
                        <a:rPr lang="en-GB" sz="900" noProof="0"/>
                        <a:t>Correct use of </a:t>
                      </a:r>
                      <a:r>
                        <a:rPr lang="en-GB" sz="900" i="1" noProof="0"/>
                        <a:t>Spaces</a:t>
                      </a:r>
                      <a:r>
                        <a:rPr lang="en-GB" sz="900" noProof="0"/>
                        <a:t>.</a:t>
                      </a:r>
                      <a:endParaRPr lang="en-GB" sz="900" b="0" i="0" u="none" strike="noStrike" baseline="0" noProof="0">
                        <a:solidFill>
                          <a:srgbClr val="000000"/>
                        </a:solidFill>
                        <a:latin typeface="Calibri"/>
                      </a:endParaRPr>
                    </a:p>
                  </a:txBody>
                  <a:tcPr anchor="ctr">
                    <a:solidFill>
                      <a:schemeClr val="bg2"/>
                    </a:solidFill>
                  </a:tcPr>
                </a:tc>
                <a:tc>
                  <a:txBody>
                    <a:bodyPr/>
                    <a:lstStyle/>
                    <a:p>
                      <a:pPr lvl="0" algn="l">
                        <a:buNone/>
                      </a:pPr>
                      <a:endParaRPr lang="en-GB" sz="900" noProof="0"/>
                    </a:p>
                  </a:txBody>
                  <a:tcPr anchor="ctr">
                    <a:solidFill>
                      <a:schemeClr val="bg2"/>
                    </a:solidFill>
                  </a:tcPr>
                </a:tc>
                <a:tc>
                  <a:txBody>
                    <a:bodyPr/>
                    <a:lstStyle/>
                    <a:p>
                      <a:pPr lvl="0" algn="ctr">
                        <a:buNone/>
                      </a:pPr>
                      <a:r>
                        <a:rPr lang="en-GB" sz="900" b="0" i="0" u="none" strike="noStrike" noProof="0">
                          <a:solidFill>
                            <a:srgbClr val="000000"/>
                          </a:solidFill>
                          <a:latin typeface="Calibri"/>
                        </a:rPr>
                        <a:t>0001</a:t>
                      </a:r>
                      <a:endParaRPr lang="en-GB" noProof="0"/>
                    </a:p>
                  </a:txBody>
                  <a:tcPr anchor="ctr">
                    <a:solidFill>
                      <a:schemeClr val="bg2"/>
                    </a:solidFill>
                  </a:tcPr>
                </a:tc>
                <a:tc>
                  <a:txBody>
                    <a:bodyPr/>
                    <a:lstStyle/>
                    <a:p>
                      <a:pPr lvl="0" algn="l">
                        <a:lnSpc>
                          <a:spcPct val="100000"/>
                        </a:lnSpc>
                        <a:spcBef>
                          <a:spcPts val="0"/>
                        </a:spcBef>
                        <a:spcAft>
                          <a:spcPts val="0"/>
                        </a:spcAft>
                        <a:buNone/>
                      </a:pPr>
                      <a:r>
                        <a:rPr lang="en-GB" sz="900" noProof="0"/>
                        <a:t>Spaces are used correctly, aligning with best practices and project requirements.</a:t>
                      </a:r>
                      <a:endParaRPr lang="en-GB" sz="900" b="0" i="0" u="none" strike="noStrike" noProof="0">
                        <a:solidFill>
                          <a:srgbClr val="000000"/>
                        </a:solidFill>
                        <a:latin typeface="Calibri"/>
                      </a:endParaRPr>
                    </a:p>
                  </a:txBody>
                  <a:tcPr anchor="ctr">
                    <a:solidFill>
                      <a:schemeClr val="bg2"/>
                    </a:solidFill>
                  </a:tcPr>
                </a:tc>
                <a:extLst>
                  <a:ext uri="{0D108BD9-81ED-4DB2-BD59-A6C34878D82A}">
                    <a16:rowId xmlns:a16="http://schemas.microsoft.com/office/drawing/2014/main" val="693863745"/>
                  </a:ext>
                </a:extLst>
              </a:tr>
              <a:tr h="276270">
                <a:tc>
                  <a:txBody>
                    <a:bodyPr/>
                    <a:lstStyle/>
                    <a:p>
                      <a:pPr lvl="0" algn="l">
                        <a:buNone/>
                      </a:pPr>
                      <a:r>
                        <a:rPr lang="en-GB" sz="900" noProof="0"/>
                        <a:t>Consistency across environments.</a:t>
                      </a:r>
                      <a:endParaRPr lang="en-GB" noProof="0"/>
                    </a:p>
                  </a:txBody>
                  <a:tcPr anchor="ctr">
                    <a:solidFill>
                      <a:schemeClr val="bg2"/>
                    </a:solidFill>
                  </a:tcPr>
                </a:tc>
                <a:tc>
                  <a:txBody>
                    <a:bodyPr/>
                    <a:lstStyle/>
                    <a:p>
                      <a:pPr lvl="0" algn="l">
                        <a:buNone/>
                      </a:pPr>
                      <a:endParaRPr lang="en-GB" sz="900" noProof="0"/>
                    </a:p>
                  </a:txBody>
                  <a:tcPr anchor="ctr">
                    <a:solidFill>
                      <a:schemeClr val="bg2"/>
                    </a:solidFill>
                  </a:tcPr>
                </a:tc>
                <a:tc>
                  <a:txBody>
                    <a:bodyPr/>
                    <a:lstStyle/>
                    <a:p>
                      <a:pPr lvl="0" algn="ctr">
                        <a:buNone/>
                      </a:pPr>
                      <a:r>
                        <a:rPr lang="en-GB" sz="900" b="0" i="0" u="none" strike="noStrike" noProof="0">
                          <a:solidFill>
                            <a:srgbClr val="000000"/>
                          </a:solidFill>
                          <a:latin typeface="Calibri"/>
                        </a:rPr>
                        <a:t>0003</a:t>
                      </a:r>
                      <a:endParaRPr lang="en-GB" noProof="0"/>
                    </a:p>
                  </a:txBody>
                  <a:tcPr anchor="ctr">
                    <a:solidFill>
                      <a:schemeClr val="bg2"/>
                    </a:solidFill>
                  </a:tcPr>
                </a:tc>
                <a:tc>
                  <a:txBody>
                    <a:bodyPr/>
                    <a:lstStyle/>
                    <a:p>
                      <a:pPr lvl="0" algn="l">
                        <a:buNone/>
                      </a:pPr>
                      <a:r>
                        <a:rPr lang="en-GB" sz="900" noProof="0"/>
                        <a:t>Review still pending to confirm consistent deployments across all environments.</a:t>
                      </a:r>
                      <a:endParaRPr lang="en-GB" noProof="0"/>
                    </a:p>
                  </a:txBody>
                  <a:tcPr anchor="ctr">
                    <a:solidFill>
                      <a:schemeClr val="bg2"/>
                    </a:solidFill>
                  </a:tcPr>
                </a:tc>
                <a:extLst>
                  <a:ext uri="{0D108BD9-81ED-4DB2-BD59-A6C34878D82A}">
                    <a16:rowId xmlns:a16="http://schemas.microsoft.com/office/drawing/2014/main" val="2371032248"/>
                  </a:ext>
                </a:extLst>
              </a:tr>
              <a:tr h="276270">
                <a:tc>
                  <a:txBody>
                    <a:bodyPr/>
                    <a:lstStyle/>
                    <a:p>
                      <a:pPr lvl="0" algn="l">
                        <a:buNone/>
                      </a:pPr>
                      <a:r>
                        <a:rPr lang="en-GB" sz="900" noProof="0"/>
                        <a:t>Naming convention compliance.</a:t>
                      </a:r>
                      <a:endParaRPr lang="en-GB" noProof="0"/>
                    </a:p>
                  </a:txBody>
                  <a:tcPr anchor="ctr">
                    <a:solidFill>
                      <a:schemeClr val="bg2"/>
                    </a:solidFill>
                  </a:tcPr>
                </a:tc>
                <a:tc>
                  <a:txBody>
                    <a:bodyPr/>
                    <a:lstStyle/>
                    <a:p>
                      <a:pPr lvl="0" algn="l">
                        <a:buNone/>
                      </a:pPr>
                      <a:endParaRPr lang="en-GB" sz="900" noProof="0"/>
                    </a:p>
                  </a:txBody>
                  <a:tcPr anchor="ctr">
                    <a:solidFill>
                      <a:schemeClr val="bg2"/>
                    </a:solidFill>
                  </a:tcPr>
                </a:tc>
                <a:tc>
                  <a:txBody>
                    <a:bodyPr/>
                    <a:lstStyle/>
                    <a:p>
                      <a:pPr lvl="0" algn="ctr">
                        <a:buNone/>
                      </a:pPr>
                      <a:r>
                        <a:rPr lang="en-GB" sz="900" b="0" i="0" u="none" strike="noStrike" noProof="0">
                          <a:solidFill>
                            <a:srgbClr val="000000"/>
                          </a:solidFill>
                          <a:latin typeface="Calibri"/>
                        </a:rPr>
                        <a:t>0002</a:t>
                      </a:r>
                      <a:endParaRPr lang="en-GB" noProof="0"/>
                    </a:p>
                  </a:txBody>
                  <a:tcPr anchor="ctr">
                    <a:solidFill>
                      <a:schemeClr val="bg2"/>
                    </a:solidFill>
                  </a:tcPr>
                </a:tc>
                <a:tc>
                  <a:txBody>
                    <a:bodyPr/>
                    <a:lstStyle/>
                    <a:p>
                      <a:pPr lvl="0" algn="l">
                        <a:buNone/>
                      </a:pPr>
                      <a:r>
                        <a:rPr lang="en-GB" sz="900" noProof="0"/>
                        <a:t>Deviations from naming standards identified; improvements needed for consistency.</a:t>
                      </a:r>
                      <a:endParaRPr lang="en-GB" noProof="0"/>
                    </a:p>
                  </a:txBody>
                  <a:tcPr anchor="ctr">
                    <a:solidFill>
                      <a:schemeClr val="bg2"/>
                    </a:solidFill>
                  </a:tcPr>
                </a:tc>
                <a:extLst>
                  <a:ext uri="{0D108BD9-81ED-4DB2-BD59-A6C34878D82A}">
                    <a16:rowId xmlns:a16="http://schemas.microsoft.com/office/drawing/2014/main" val="576861480"/>
                  </a:ext>
                </a:extLst>
              </a:tr>
              <a:tr h="276270">
                <a:tc>
                  <a:txBody>
                    <a:bodyPr/>
                    <a:lstStyle/>
                    <a:p>
                      <a:pPr lvl="0" algn="l">
                        <a:buNone/>
                      </a:pPr>
                      <a:r>
                        <a:rPr lang="en-GB" sz="900" noProof="0"/>
                        <a:t>Queries, views, models integrity.</a:t>
                      </a:r>
                      <a:endParaRPr lang="en-GB" noProof="0"/>
                    </a:p>
                  </a:txBody>
                  <a:tcPr anchor="ctr">
                    <a:solidFill>
                      <a:schemeClr val="bg2"/>
                    </a:solidFill>
                  </a:tcPr>
                </a:tc>
                <a:tc>
                  <a:txBody>
                    <a:bodyPr/>
                    <a:lstStyle/>
                    <a:p>
                      <a:pPr lvl="0" algn="l">
                        <a:buNone/>
                      </a:pPr>
                      <a:endParaRPr lang="en-GB" sz="900" noProof="0"/>
                    </a:p>
                  </a:txBody>
                  <a:tcPr anchor="ctr">
                    <a:solidFill>
                      <a:schemeClr val="bg2"/>
                    </a:solidFill>
                  </a:tcPr>
                </a:tc>
                <a:tc>
                  <a:txBody>
                    <a:bodyPr/>
                    <a:lstStyle/>
                    <a:p>
                      <a:pPr lvl="0" algn="ctr">
                        <a:buNone/>
                      </a:pPr>
                      <a:r>
                        <a:rPr lang="en-GB" sz="900" b="0" i="0" u="none" strike="noStrike" noProof="0">
                          <a:latin typeface="Calibri"/>
                        </a:rPr>
                        <a:t>0001</a:t>
                      </a:r>
                      <a:endParaRPr lang="en-GB" noProof="0"/>
                    </a:p>
                  </a:txBody>
                  <a:tcPr anchor="ctr">
                    <a:solidFill>
                      <a:schemeClr val="bg2"/>
                    </a:solidFill>
                  </a:tcPr>
                </a:tc>
                <a:tc>
                  <a:txBody>
                    <a:bodyPr/>
                    <a:lstStyle/>
                    <a:p>
                      <a:pPr lvl="0" algn="l">
                        <a:buNone/>
                      </a:pPr>
                      <a:r>
                        <a:rPr lang="en-GB" sz="900" noProof="0"/>
                        <a:t>Reviewed and aligned with project standards, ensuring accuracy and maintainability</a:t>
                      </a:r>
                      <a:endParaRPr lang="en-GB" noProof="0"/>
                    </a:p>
                  </a:txBody>
                  <a:tcPr anchor="ctr">
                    <a:solidFill>
                      <a:schemeClr val="bg2"/>
                    </a:solidFill>
                  </a:tcPr>
                </a:tc>
                <a:extLst>
                  <a:ext uri="{0D108BD9-81ED-4DB2-BD59-A6C34878D82A}">
                    <a16:rowId xmlns:a16="http://schemas.microsoft.com/office/drawing/2014/main" val="806881282"/>
                  </a:ext>
                </a:extLst>
              </a:tr>
              <a:tr h="276270">
                <a:tc>
                  <a:txBody>
                    <a:bodyPr/>
                    <a:lstStyle/>
                    <a:p>
                      <a:pPr lvl="0" algn="l">
                        <a:buNone/>
                      </a:pPr>
                      <a:r>
                        <a:rPr lang="en-GB" sz="900" noProof="0"/>
                        <a:t>Dataflows performance optimization.</a:t>
                      </a:r>
                      <a:endParaRPr lang="en-GB" noProof="0"/>
                    </a:p>
                  </a:txBody>
                  <a:tcPr anchor="ctr">
                    <a:solidFill>
                      <a:schemeClr val="bg2"/>
                    </a:solidFill>
                  </a:tcPr>
                </a:tc>
                <a:tc>
                  <a:txBody>
                    <a:bodyPr/>
                    <a:lstStyle/>
                    <a:p>
                      <a:pPr lvl="0" algn="l">
                        <a:buNone/>
                      </a:pPr>
                      <a:endParaRPr lang="en-GB" sz="900" noProof="0"/>
                    </a:p>
                  </a:txBody>
                  <a:tcPr anchor="ctr">
                    <a:solidFill>
                      <a:schemeClr val="bg2"/>
                    </a:solidFill>
                  </a:tcPr>
                </a:tc>
                <a:tc>
                  <a:txBody>
                    <a:bodyPr/>
                    <a:lstStyle/>
                    <a:p>
                      <a:pPr lvl="0" algn="ctr">
                        <a:buNone/>
                      </a:pPr>
                      <a:r>
                        <a:rPr lang="en-GB" sz="900" b="0" i="0" u="none" strike="noStrike" noProof="0">
                          <a:latin typeface="Calibri"/>
                        </a:rPr>
                        <a:t>0001</a:t>
                      </a:r>
                      <a:endParaRPr lang="en-GB" noProof="0"/>
                    </a:p>
                  </a:txBody>
                  <a:tcPr anchor="ctr">
                    <a:solidFill>
                      <a:schemeClr val="bg2"/>
                    </a:solidFill>
                  </a:tcPr>
                </a:tc>
                <a:tc>
                  <a:txBody>
                    <a:bodyPr/>
                    <a:lstStyle/>
                    <a:p>
                      <a:pPr lvl="0" algn="l">
                        <a:buNone/>
                      </a:pPr>
                      <a:r>
                        <a:rPr lang="en-GB" sz="900" noProof="0"/>
                        <a:t>Performance reviewed; dataflows optimized for smooth processing and efficiency.</a:t>
                      </a:r>
                      <a:endParaRPr lang="en-GB" noProof="0"/>
                    </a:p>
                  </a:txBody>
                  <a:tcPr anchor="ctr">
                    <a:solidFill>
                      <a:schemeClr val="bg2"/>
                    </a:solidFill>
                  </a:tcPr>
                </a:tc>
                <a:extLst>
                  <a:ext uri="{0D108BD9-81ED-4DB2-BD59-A6C34878D82A}">
                    <a16:rowId xmlns:a16="http://schemas.microsoft.com/office/drawing/2014/main" val="1256231780"/>
                  </a:ext>
                </a:extLst>
              </a:tr>
              <a:tr h="276270">
                <a:tc>
                  <a:txBody>
                    <a:bodyPr/>
                    <a:lstStyle/>
                    <a:p>
                      <a:pPr lvl="0" algn="l">
                        <a:buNone/>
                      </a:pPr>
                      <a:r>
                        <a:rPr lang="en-GB" sz="900" noProof="0"/>
                        <a:t>Alignment with design documents.</a:t>
                      </a:r>
                      <a:endParaRPr lang="en-GB" noProof="0"/>
                    </a:p>
                  </a:txBody>
                  <a:tcPr anchor="ctr">
                    <a:solidFill>
                      <a:schemeClr val="bg2"/>
                    </a:solidFill>
                  </a:tcPr>
                </a:tc>
                <a:tc>
                  <a:txBody>
                    <a:bodyPr/>
                    <a:lstStyle/>
                    <a:p>
                      <a:pPr lvl="0" algn="l">
                        <a:buNone/>
                      </a:pPr>
                      <a:endParaRPr lang="en-GB" sz="900" noProof="0"/>
                    </a:p>
                  </a:txBody>
                  <a:tcPr anchor="ctr">
                    <a:solidFill>
                      <a:schemeClr val="bg2"/>
                    </a:solidFill>
                  </a:tcPr>
                </a:tc>
                <a:tc>
                  <a:txBody>
                    <a:bodyPr/>
                    <a:lstStyle/>
                    <a:p>
                      <a:pPr lvl="0" algn="ctr">
                        <a:buNone/>
                      </a:pPr>
                      <a:r>
                        <a:rPr lang="en-GB" sz="900" b="0" i="0" u="none" strike="noStrike" noProof="0">
                          <a:latin typeface="Calibri"/>
                        </a:rPr>
                        <a:t>0002</a:t>
                      </a:r>
                      <a:endParaRPr lang="en-GB" noProof="0"/>
                    </a:p>
                  </a:txBody>
                  <a:tcPr anchor="ctr">
                    <a:solidFill>
                      <a:schemeClr val="bg2"/>
                    </a:solidFill>
                  </a:tcPr>
                </a:tc>
                <a:tc>
                  <a:txBody>
                    <a:bodyPr/>
                    <a:lstStyle/>
                    <a:p>
                      <a:pPr lvl="0" algn="l">
                        <a:buNone/>
                      </a:pPr>
                      <a:r>
                        <a:rPr lang="en-GB" sz="900" noProof="0"/>
                        <a:t>Reusable components used effectively to reduce duplication and ensure maintainability.</a:t>
                      </a:r>
                      <a:endParaRPr lang="en-GB" noProof="0"/>
                    </a:p>
                  </a:txBody>
                  <a:tcPr anchor="ctr">
                    <a:solidFill>
                      <a:schemeClr val="bg2"/>
                    </a:solidFill>
                  </a:tcPr>
                </a:tc>
                <a:extLst>
                  <a:ext uri="{0D108BD9-81ED-4DB2-BD59-A6C34878D82A}">
                    <a16:rowId xmlns:a16="http://schemas.microsoft.com/office/drawing/2014/main" val="2376469522"/>
                  </a:ext>
                </a:extLst>
              </a:tr>
              <a:tr h="276270">
                <a:tc>
                  <a:txBody>
                    <a:bodyPr/>
                    <a:lstStyle/>
                    <a:p>
                      <a:pPr lvl="0" algn="l">
                        <a:buNone/>
                      </a:pPr>
                      <a:r>
                        <a:rPr lang="en-GB" sz="900" noProof="0"/>
                        <a:t>Following architectural guidelines.</a:t>
                      </a:r>
                      <a:endParaRPr lang="en-GB" noProof="0"/>
                    </a:p>
                  </a:txBody>
                  <a:tcPr anchor="ctr">
                    <a:solidFill>
                      <a:schemeClr val="bg2"/>
                    </a:solidFill>
                  </a:tcPr>
                </a:tc>
                <a:tc>
                  <a:txBody>
                    <a:bodyPr/>
                    <a:lstStyle/>
                    <a:p>
                      <a:pPr lvl="0" algn="l">
                        <a:buNone/>
                      </a:pPr>
                      <a:endParaRPr lang="en-GB" sz="900" noProof="0"/>
                    </a:p>
                  </a:txBody>
                  <a:tcPr anchor="ctr">
                    <a:solidFill>
                      <a:schemeClr val="bg2"/>
                    </a:solidFill>
                  </a:tcPr>
                </a:tc>
                <a:tc>
                  <a:txBody>
                    <a:bodyPr/>
                    <a:lstStyle/>
                    <a:p>
                      <a:pPr lvl="0" algn="ctr">
                        <a:buNone/>
                      </a:pPr>
                      <a:r>
                        <a:rPr lang="en-GB" sz="900" b="0" i="0" u="none" strike="noStrike" noProof="0">
                          <a:latin typeface="Calibri"/>
                        </a:rPr>
                        <a:t>0002</a:t>
                      </a:r>
                      <a:endParaRPr lang="en-GB" noProof="0"/>
                    </a:p>
                  </a:txBody>
                  <a:tcPr anchor="ctr">
                    <a:solidFill>
                      <a:schemeClr val="bg2"/>
                    </a:solidFill>
                  </a:tcPr>
                </a:tc>
                <a:tc>
                  <a:txBody>
                    <a:bodyPr/>
                    <a:lstStyle/>
                    <a:p>
                      <a:pPr lvl="0" algn="l">
                        <a:buNone/>
                      </a:pPr>
                      <a:r>
                        <a:rPr lang="en-GB" sz="900" noProof="0"/>
                        <a:t>Fully aligned with functional and technical designs, ensuring project traceability</a:t>
                      </a:r>
                      <a:endParaRPr lang="en-GB" noProof="0"/>
                    </a:p>
                  </a:txBody>
                  <a:tcPr anchor="ctr">
                    <a:solidFill>
                      <a:schemeClr val="bg2"/>
                    </a:solidFill>
                  </a:tcPr>
                </a:tc>
                <a:extLst>
                  <a:ext uri="{0D108BD9-81ED-4DB2-BD59-A6C34878D82A}">
                    <a16:rowId xmlns:a16="http://schemas.microsoft.com/office/drawing/2014/main" val="1445398484"/>
                  </a:ext>
                </a:extLst>
              </a:tr>
              <a:tr h="276270">
                <a:tc>
                  <a:txBody>
                    <a:bodyPr/>
                    <a:lstStyle/>
                    <a:p>
                      <a:pPr lvl="0" algn="l">
                        <a:buNone/>
                      </a:pPr>
                      <a:r>
                        <a:rPr lang="en-GB" sz="900" noProof="0"/>
                        <a:t>Security roles and authorizations.</a:t>
                      </a:r>
                      <a:endParaRPr lang="en-GB" noProof="0"/>
                    </a:p>
                  </a:txBody>
                  <a:tcPr anchor="ctr">
                    <a:solidFill>
                      <a:schemeClr val="bg2"/>
                    </a:solidFill>
                  </a:tcPr>
                </a:tc>
                <a:tc>
                  <a:txBody>
                    <a:bodyPr/>
                    <a:lstStyle/>
                    <a:p>
                      <a:pPr lvl="0" algn="l">
                        <a:buNone/>
                      </a:pPr>
                      <a:endParaRPr lang="en-GB" sz="900" noProof="0"/>
                    </a:p>
                  </a:txBody>
                  <a:tcPr anchor="ctr">
                    <a:solidFill>
                      <a:schemeClr val="bg2"/>
                    </a:solidFill>
                  </a:tcPr>
                </a:tc>
                <a:tc>
                  <a:txBody>
                    <a:bodyPr/>
                    <a:lstStyle/>
                    <a:p>
                      <a:pPr lvl="0" algn="ctr">
                        <a:buNone/>
                      </a:pPr>
                      <a:r>
                        <a:rPr lang="en-GB" sz="900" b="0" i="0" u="none" strike="noStrike" noProof="0">
                          <a:latin typeface="Calibri"/>
                        </a:rPr>
                        <a:t>0001</a:t>
                      </a:r>
                      <a:endParaRPr lang="en-GB" noProof="0"/>
                    </a:p>
                  </a:txBody>
                  <a:tcPr anchor="ctr">
                    <a:solidFill>
                      <a:schemeClr val="bg2"/>
                    </a:solidFill>
                  </a:tcPr>
                </a:tc>
                <a:tc>
                  <a:txBody>
                    <a:bodyPr/>
                    <a:lstStyle/>
                    <a:p>
                      <a:pPr lvl="0" algn="l">
                        <a:buNone/>
                      </a:pPr>
                      <a:r>
                        <a:rPr lang="en-GB" sz="900" noProof="0"/>
                        <a:t>Developments follow architectural guidelines, ensuring correct implementation locations.</a:t>
                      </a:r>
                      <a:endParaRPr lang="en-GB" noProof="0"/>
                    </a:p>
                  </a:txBody>
                  <a:tcPr anchor="ctr">
                    <a:solidFill>
                      <a:schemeClr val="bg2"/>
                    </a:solidFill>
                  </a:tcPr>
                </a:tc>
                <a:extLst>
                  <a:ext uri="{0D108BD9-81ED-4DB2-BD59-A6C34878D82A}">
                    <a16:rowId xmlns:a16="http://schemas.microsoft.com/office/drawing/2014/main" val="2612949445"/>
                  </a:ext>
                </a:extLst>
              </a:tr>
              <a:tr h="276270">
                <a:tc>
                  <a:txBody>
                    <a:bodyPr/>
                    <a:lstStyle/>
                    <a:p>
                      <a:pPr lvl="0" algn="l">
                        <a:buNone/>
                      </a:pPr>
                      <a:r>
                        <a:rPr lang="en-GB" sz="900" noProof="0"/>
                        <a:t>Versioning and change control.</a:t>
                      </a:r>
                      <a:endParaRPr lang="en-GB" noProof="0"/>
                    </a:p>
                  </a:txBody>
                  <a:tcPr anchor="ctr">
                    <a:solidFill>
                      <a:schemeClr val="bg2"/>
                    </a:solidFill>
                  </a:tcPr>
                </a:tc>
                <a:tc>
                  <a:txBody>
                    <a:bodyPr/>
                    <a:lstStyle/>
                    <a:p>
                      <a:pPr lvl="0" algn="l">
                        <a:buNone/>
                      </a:pPr>
                      <a:endParaRPr lang="en-GB" sz="900" noProof="0"/>
                    </a:p>
                  </a:txBody>
                  <a:tcPr anchor="ctr">
                    <a:solidFill>
                      <a:schemeClr val="bg2"/>
                    </a:solidFill>
                  </a:tcPr>
                </a:tc>
                <a:tc>
                  <a:txBody>
                    <a:bodyPr/>
                    <a:lstStyle/>
                    <a:p>
                      <a:pPr lvl="0" algn="ctr">
                        <a:buNone/>
                      </a:pPr>
                      <a:r>
                        <a:rPr lang="en-GB" sz="900" b="0" i="0" u="none" strike="noStrike" noProof="0">
                          <a:latin typeface="Calibri"/>
                        </a:rPr>
                        <a:t>0002</a:t>
                      </a:r>
                      <a:endParaRPr lang="en-GB" noProof="0"/>
                    </a:p>
                  </a:txBody>
                  <a:tcPr anchor="ctr">
                    <a:solidFill>
                      <a:schemeClr val="bg2"/>
                    </a:solidFill>
                  </a:tcPr>
                </a:tc>
                <a:tc>
                  <a:txBody>
                    <a:bodyPr/>
                    <a:lstStyle/>
                    <a:p>
                      <a:pPr lvl="0" algn="l">
                        <a:buNone/>
                      </a:pPr>
                      <a:r>
                        <a:rPr lang="en-GB" sz="900" noProof="0"/>
                        <a:t>Security roles and authorizations properly implemented, meeting project standards.</a:t>
                      </a:r>
                      <a:endParaRPr lang="en-GB" noProof="0"/>
                    </a:p>
                  </a:txBody>
                  <a:tcPr anchor="ctr">
                    <a:solidFill>
                      <a:schemeClr val="bg2"/>
                    </a:solidFill>
                  </a:tcPr>
                </a:tc>
                <a:extLst>
                  <a:ext uri="{0D108BD9-81ED-4DB2-BD59-A6C34878D82A}">
                    <a16:rowId xmlns:a16="http://schemas.microsoft.com/office/drawing/2014/main" val="2934886180"/>
                  </a:ext>
                </a:extLst>
              </a:tr>
              <a:tr h="276270">
                <a:tc>
                  <a:txBody>
                    <a:bodyPr/>
                    <a:lstStyle/>
                    <a:p>
                      <a:pPr lvl="0" algn="l">
                        <a:buNone/>
                      </a:pPr>
                      <a:r>
                        <a:rPr lang="en-GB" sz="900" noProof="0"/>
                        <a:t>Data transformation logic validation.</a:t>
                      </a:r>
                      <a:endParaRPr lang="en-GB" noProof="0"/>
                    </a:p>
                  </a:txBody>
                  <a:tcPr anchor="ctr">
                    <a:solidFill>
                      <a:schemeClr val="bg2"/>
                    </a:solidFill>
                  </a:tcPr>
                </a:tc>
                <a:tc>
                  <a:txBody>
                    <a:bodyPr/>
                    <a:lstStyle/>
                    <a:p>
                      <a:pPr lvl="0" algn="l">
                        <a:buNone/>
                      </a:pPr>
                      <a:endParaRPr lang="en-GB" sz="900" noProof="0"/>
                    </a:p>
                  </a:txBody>
                  <a:tcPr anchor="ctr">
                    <a:solidFill>
                      <a:schemeClr val="bg2"/>
                    </a:solidFill>
                  </a:tcPr>
                </a:tc>
                <a:tc>
                  <a:txBody>
                    <a:bodyPr/>
                    <a:lstStyle/>
                    <a:p>
                      <a:pPr lvl="0" algn="ctr">
                        <a:buNone/>
                      </a:pPr>
                      <a:r>
                        <a:rPr lang="en-GB" sz="900" b="0" i="0" u="none" strike="noStrike" noProof="0">
                          <a:latin typeface="Calibri"/>
                        </a:rPr>
                        <a:t>0001</a:t>
                      </a:r>
                      <a:endParaRPr lang="en-GB" noProof="0"/>
                    </a:p>
                  </a:txBody>
                  <a:tcPr anchor="ctr">
                    <a:solidFill>
                      <a:schemeClr val="bg2"/>
                    </a:solidFill>
                  </a:tcPr>
                </a:tc>
                <a:tc>
                  <a:txBody>
                    <a:bodyPr/>
                    <a:lstStyle/>
                    <a:p>
                      <a:pPr lvl="0" algn="l">
                        <a:buNone/>
                      </a:pPr>
                      <a:r>
                        <a:rPr lang="en-GB" sz="900" noProof="0"/>
                        <a:t>Versioning and change control managed well, ensuring traceability of updates.</a:t>
                      </a:r>
                      <a:endParaRPr lang="en-GB" noProof="0"/>
                    </a:p>
                  </a:txBody>
                  <a:tcPr anchor="ctr">
                    <a:solidFill>
                      <a:schemeClr val="bg2"/>
                    </a:solidFill>
                  </a:tcPr>
                </a:tc>
                <a:extLst>
                  <a:ext uri="{0D108BD9-81ED-4DB2-BD59-A6C34878D82A}">
                    <a16:rowId xmlns:a16="http://schemas.microsoft.com/office/drawing/2014/main" val="2820057815"/>
                  </a:ext>
                </a:extLst>
              </a:tr>
              <a:tr h="276270">
                <a:tc>
                  <a:txBody>
                    <a:bodyPr/>
                    <a:lstStyle/>
                    <a:p>
                      <a:pPr lvl="0" algn="l">
                        <a:buNone/>
                      </a:pPr>
                      <a:r>
                        <a:rPr lang="en-GB" sz="900" noProof="0"/>
                        <a:t>Error handling and data quality.</a:t>
                      </a:r>
                      <a:endParaRPr lang="en-GB" noProof="0"/>
                    </a:p>
                  </a:txBody>
                  <a:tcPr anchor="ctr">
                    <a:solidFill>
                      <a:schemeClr val="bg2"/>
                    </a:solidFill>
                  </a:tcPr>
                </a:tc>
                <a:tc>
                  <a:txBody>
                    <a:bodyPr/>
                    <a:lstStyle/>
                    <a:p>
                      <a:pPr lvl="0" algn="l">
                        <a:buNone/>
                      </a:pPr>
                      <a:endParaRPr lang="en-GB" sz="900" noProof="0"/>
                    </a:p>
                  </a:txBody>
                  <a:tcPr anchor="ctr">
                    <a:solidFill>
                      <a:schemeClr val="bg2"/>
                    </a:solidFill>
                  </a:tcPr>
                </a:tc>
                <a:tc>
                  <a:txBody>
                    <a:bodyPr/>
                    <a:lstStyle/>
                    <a:p>
                      <a:pPr lvl="0" algn="ctr">
                        <a:buNone/>
                      </a:pPr>
                      <a:r>
                        <a:rPr lang="en-GB" sz="900" b="0" i="0" u="none" strike="noStrike" noProof="0">
                          <a:latin typeface="Calibri"/>
                        </a:rPr>
                        <a:t>0001</a:t>
                      </a:r>
                      <a:endParaRPr lang="en-GB" noProof="0"/>
                    </a:p>
                  </a:txBody>
                  <a:tcPr anchor="ctr">
                    <a:solidFill>
                      <a:schemeClr val="bg2"/>
                    </a:solidFill>
                  </a:tcPr>
                </a:tc>
                <a:tc>
                  <a:txBody>
                    <a:bodyPr/>
                    <a:lstStyle/>
                    <a:p>
                      <a:pPr lvl="0" algn="l">
                        <a:buNone/>
                      </a:pPr>
                      <a:r>
                        <a:rPr lang="en-GB" sz="900" noProof="0"/>
                        <a:t>Effective error handling and data quality management in place.</a:t>
                      </a:r>
                      <a:endParaRPr lang="en-GB" noProof="0"/>
                    </a:p>
                  </a:txBody>
                  <a:tcPr anchor="ctr">
                    <a:solidFill>
                      <a:schemeClr val="bg2"/>
                    </a:solidFill>
                  </a:tcPr>
                </a:tc>
                <a:extLst>
                  <a:ext uri="{0D108BD9-81ED-4DB2-BD59-A6C34878D82A}">
                    <a16:rowId xmlns:a16="http://schemas.microsoft.com/office/drawing/2014/main" val="1576095413"/>
                  </a:ext>
                </a:extLst>
              </a:tr>
            </a:tbl>
          </a:graphicData>
        </a:graphic>
      </p:graphicFrame>
      <p:sp>
        <p:nvSpPr>
          <p:cNvPr id="7" name="CuadroTexto 6">
            <a:extLst>
              <a:ext uri="{FF2B5EF4-FFF2-40B4-BE49-F238E27FC236}">
                <a16:creationId xmlns:a16="http://schemas.microsoft.com/office/drawing/2014/main" id="{E912AAB6-84CC-1214-2779-FB8E8896E304}"/>
              </a:ext>
            </a:extLst>
          </p:cNvPr>
          <p:cNvSpPr txBox="1"/>
          <p:nvPr/>
        </p:nvSpPr>
        <p:spPr>
          <a:xfrm>
            <a:off x="9725025" y="2821901"/>
            <a:ext cx="2033056" cy="246221"/>
          </a:xfrm>
          <a:prstGeom prst="rect">
            <a:avLst/>
          </a:prstGeom>
          <a:solidFill>
            <a:schemeClr val="bg2">
              <a:lumMod val="5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000" b="1" noProof="0">
                <a:solidFill>
                  <a:schemeClr val="bg1"/>
                </a:solidFill>
              </a:rPr>
              <a:t>Items</a:t>
            </a:r>
          </a:p>
        </p:txBody>
      </p:sp>
      <p:sp>
        <p:nvSpPr>
          <p:cNvPr id="8" name="CuadroTexto 7">
            <a:extLst>
              <a:ext uri="{FF2B5EF4-FFF2-40B4-BE49-F238E27FC236}">
                <a16:creationId xmlns:a16="http://schemas.microsoft.com/office/drawing/2014/main" id="{35D961B7-B56A-8718-1C4E-C678B300DCD2}"/>
              </a:ext>
            </a:extLst>
          </p:cNvPr>
          <p:cNvSpPr txBox="1"/>
          <p:nvPr/>
        </p:nvSpPr>
        <p:spPr>
          <a:xfrm>
            <a:off x="9725025" y="4729213"/>
            <a:ext cx="2033055" cy="246221"/>
          </a:xfrm>
          <a:prstGeom prst="rect">
            <a:avLst/>
          </a:prstGeom>
          <a:solidFill>
            <a:schemeClr val="bg2">
              <a:lumMod val="5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000" b="1" noProof="0">
                <a:solidFill>
                  <a:schemeClr val="bg1"/>
                </a:solidFill>
              </a:rPr>
              <a:t>Components</a:t>
            </a:r>
            <a:endParaRPr lang="en-GB" sz="1000" b="1" noProof="0">
              <a:solidFill>
                <a:schemeClr val="bg1"/>
              </a:solidFill>
              <a:ea typeface="Calibri"/>
              <a:cs typeface="Calibri"/>
            </a:endParaRPr>
          </a:p>
        </p:txBody>
      </p:sp>
      <p:pic>
        <p:nvPicPr>
          <p:cNvPr id="10" name="Picture 2" descr="Ok - Descarga iconos gratis">
            <a:extLst>
              <a:ext uri="{FF2B5EF4-FFF2-40B4-BE49-F238E27FC236}">
                <a16:creationId xmlns:a16="http://schemas.microsoft.com/office/drawing/2014/main" id="{F7DEE804-0AD4-2780-33D8-C5EFA647475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67810" y="3395053"/>
            <a:ext cx="180000" cy="1800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Loading icon - Free download on Iconfinder">
            <a:extLst>
              <a:ext uri="{FF2B5EF4-FFF2-40B4-BE49-F238E27FC236}">
                <a16:creationId xmlns:a16="http://schemas.microsoft.com/office/drawing/2014/main" id="{F10B7154-0F2A-D95E-D174-56C6B20120A5}"/>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2767810" y="3671187"/>
            <a:ext cx="180000" cy="1800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0" descr="Attention, erro, exclamation, mark, warn, warning, weather icon - Free download">
            <a:extLst>
              <a:ext uri="{FF2B5EF4-FFF2-40B4-BE49-F238E27FC236}">
                <a16:creationId xmlns:a16="http://schemas.microsoft.com/office/drawing/2014/main" id="{3768EA7C-D60B-F140-CBAB-0A4639E89A8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722383" y="3916408"/>
            <a:ext cx="252000" cy="2520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Ok - Descarga iconos gratis">
            <a:extLst>
              <a:ext uri="{FF2B5EF4-FFF2-40B4-BE49-F238E27FC236}">
                <a16:creationId xmlns:a16="http://schemas.microsoft.com/office/drawing/2014/main" id="{63670F77-12D9-3690-59DD-A2CF398F7DF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57244" y="4224202"/>
            <a:ext cx="180000" cy="1800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Ok - Descarga iconos gratis">
            <a:extLst>
              <a:ext uri="{FF2B5EF4-FFF2-40B4-BE49-F238E27FC236}">
                <a16:creationId xmlns:a16="http://schemas.microsoft.com/office/drawing/2014/main" id="{7E239709-C8CE-3591-698F-6B805FF3ACB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53893" y="4494557"/>
            <a:ext cx="180000" cy="18000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Ok - Descarga iconos gratis">
            <a:extLst>
              <a:ext uri="{FF2B5EF4-FFF2-40B4-BE49-F238E27FC236}">
                <a16:creationId xmlns:a16="http://schemas.microsoft.com/office/drawing/2014/main" id="{C37A3740-EFB5-02AF-F958-E1516F6F3F8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53893" y="4784585"/>
            <a:ext cx="180000" cy="18000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Ok - Descarga iconos gratis">
            <a:extLst>
              <a:ext uri="{FF2B5EF4-FFF2-40B4-BE49-F238E27FC236}">
                <a16:creationId xmlns:a16="http://schemas.microsoft.com/office/drawing/2014/main" id="{D3278B9C-201D-7A5A-EF96-3E3D4FE3159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57244" y="5071336"/>
            <a:ext cx="180000" cy="18000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Ok - Descarga iconos gratis">
            <a:extLst>
              <a:ext uri="{FF2B5EF4-FFF2-40B4-BE49-F238E27FC236}">
                <a16:creationId xmlns:a16="http://schemas.microsoft.com/office/drawing/2014/main" id="{BCB7728F-153E-4505-CC04-E8103C0DD24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53893" y="5341691"/>
            <a:ext cx="180000" cy="1800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descr="Ok - Descarga iconos gratis">
            <a:extLst>
              <a:ext uri="{FF2B5EF4-FFF2-40B4-BE49-F238E27FC236}">
                <a16:creationId xmlns:a16="http://schemas.microsoft.com/office/drawing/2014/main" id="{032063F8-A754-518E-4DC5-34662CAD2D7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53893" y="5631719"/>
            <a:ext cx="180000" cy="1800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 descr="Ok - Descarga iconos gratis">
            <a:extLst>
              <a:ext uri="{FF2B5EF4-FFF2-40B4-BE49-F238E27FC236}">
                <a16:creationId xmlns:a16="http://schemas.microsoft.com/office/drawing/2014/main" id="{CA1A2580-7BEA-9CC4-39D0-F534FF2CD84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53893" y="6172736"/>
            <a:ext cx="180000" cy="18000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 descr="Ok - Descarga iconos gratis">
            <a:extLst>
              <a:ext uri="{FF2B5EF4-FFF2-40B4-BE49-F238E27FC236}">
                <a16:creationId xmlns:a16="http://schemas.microsoft.com/office/drawing/2014/main" id="{BFCBED92-78D1-C88F-419C-715D348A47F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53893" y="5897514"/>
            <a:ext cx="180000" cy="180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2" name="Gráfico 41">
            <a:extLst>
              <a:ext uri="{FF2B5EF4-FFF2-40B4-BE49-F238E27FC236}">
                <a16:creationId xmlns:a16="http://schemas.microsoft.com/office/drawing/2014/main" id="{9ED49166-A502-A806-F62F-83D7C72DF3A4}"/>
              </a:ext>
            </a:extLst>
          </p:cNvPr>
          <p:cNvGraphicFramePr/>
          <p:nvPr>
            <p:extLst>
              <p:ext uri="{D42A27DB-BD31-4B8C-83A1-F6EECF244321}">
                <p14:modId xmlns:p14="http://schemas.microsoft.com/office/powerpoint/2010/main" val="690872641"/>
              </p:ext>
            </p:extLst>
          </p:nvPr>
        </p:nvGraphicFramePr>
        <p:xfrm>
          <a:off x="9509033" y="3065230"/>
          <a:ext cx="2739926" cy="166398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43" name="Gráfico 42">
            <a:extLst>
              <a:ext uri="{FF2B5EF4-FFF2-40B4-BE49-F238E27FC236}">
                <a16:creationId xmlns:a16="http://schemas.microsoft.com/office/drawing/2014/main" id="{CABCD865-0A44-7B5D-DEF2-54341D76917D}"/>
              </a:ext>
            </a:extLst>
          </p:cNvPr>
          <p:cNvGraphicFramePr/>
          <p:nvPr>
            <p:extLst>
              <p:ext uri="{D42A27DB-BD31-4B8C-83A1-F6EECF244321}">
                <p14:modId xmlns:p14="http://schemas.microsoft.com/office/powerpoint/2010/main" val="2476401213"/>
              </p:ext>
            </p:extLst>
          </p:nvPr>
        </p:nvGraphicFramePr>
        <p:xfrm>
          <a:off x="9577056" y="4889727"/>
          <a:ext cx="2739926" cy="1663983"/>
        </p:xfrm>
        <a:graphic>
          <a:graphicData uri="http://schemas.openxmlformats.org/drawingml/2006/chart">
            <c:chart xmlns:c="http://schemas.openxmlformats.org/drawingml/2006/chart" xmlns:r="http://schemas.openxmlformats.org/officeDocument/2006/relationships" r:id="rId9"/>
          </a:graphicData>
        </a:graphic>
      </p:graphicFrame>
      <p:pic>
        <p:nvPicPr>
          <p:cNvPr id="1026" name="Picture 2" descr="109.600+ Example Fotografías de stock, fotos e imágenes libres de derechos  - iStock | Ejemplo, Puzzle, Examples">
            <a:extLst>
              <a:ext uri="{FF2B5EF4-FFF2-40B4-BE49-F238E27FC236}">
                <a16:creationId xmlns:a16="http://schemas.microsoft.com/office/drawing/2014/main" id="{9EA1C7CE-729F-EBE8-A3D7-BFDB026B0D6E}"/>
              </a:ext>
            </a:extLst>
          </p:cNvPr>
          <p:cNvPicPr>
            <a:picLocks noChangeAspect="1" noChangeArrowheads="1"/>
          </p:cNvPicPr>
          <p:nvPr/>
        </p:nvPicPr>
        <p:blipFill>
          <a:blip r:embed="rId10">
            <a:clrChange>
              <a:clrFrom>
                <a:srgbClr val="FFFFFF"/>
              </a:clrFrom>
              <a:clrTo>
                <a:srgbClr val="FFFFFF">
                  <a:alpha val="0"/>
                </a:srgbClr>
              </a:clrTo>
            </a:clrChange>
            <a:duotone>
              <a:prstClr val="black"/>
              <a:srgbClr val="8A0051">
                <a:tint val="45000"/>
                <a:satMod val="400000"/>
              </a:srgbClr>
            </a:duotone>
            <a:extLst>
              <a:ext uri="{28A0092B-C50C-407E-A947-70E740481C1C}">
                <a14:useLocalDpi xmlns:a14="http://schemas.microsoft.com/office/drawing/2010/main" val="0"/>
              </a:ext>
            </a:extLst>
          </a:blip>
          <a:srcRect/>
          <a:stretch>
            <a:fillRect/>
          </a:stretch>
        </p:blipFill>
        <p:spPr bwMode="auto">
          <a:xfrm rot="2486758">
            <a:off x="7929440" y="980009"/>
            <a:ext cx="4101299" cy="27341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700674"/>
      </p:ext>
    </p:extLst>
  </p:cSld>
  <p:clrMapOvr>
    <a:masterClrMapping/>
  </p:clrMapOvr>
  <p:transition spd="med"/>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DAC9A067-4510-4298-5856-CB62088A54A2}"/>
            </a:ext>
          </a:extLst>
        </p:cNvPr>
        <p:cNvGrpSpPr/>
        <p:nvPr/>
      </p:nvGrpSpPr>
      <p:grpSpPr>
        <a:xfrm>
          <a:off x="0" y="0"/>
          <a:ext cx="0" cy="0"/>
          <a:chOff x="0" y="0"/>
          <a:chExt cx="0" cy="0"/>
        </a:xfrm>
      </p:grpSpPr>
      <p:sp>
        <p:nvSpPr>
          <p:cNvPr id="14" name="Object13">
            <a:extLst>
              <a:ext uri="{FF2B5EF4-FFF2-40B4-BE49-F238E27FC236}">
                <a16:creationId xmlns:a16="http://schemas.microsoft.com/office/drawing/2014/main" id="{5456EC6C-3FBC-984E-BE2F-6E84D9EA25FF}"/>
              </a:ext>
            </a:extLst>
          </p:cNvPr>
          <p:cNvSpPr txBox="1"/>
          <p:nvPr/>
        </p:nvSpPr>
        <p:spPr>
          <a:xfrm>
            <a:off x="268901" y="1365535"/>
            <a:ext cx="6065223" cy="17312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t">
            <a:spAutoFit/>
          </a:bodyPr>
          <a:lstStyle>
            <a:lvl1pPr>
              <a:lnSpc>
                <a:spcPts val="1900"/>
              </a:lnSpc>
              <a:defRPr sz="1300">
                <a:solidFill>
                  <a:srgbClr val="2D2D2D"/>
                </a:solidFill>
                <a:latin typeface="DM Sans Regular"/>
                <a:ea typeface="DM Sans Regular"/>
                <a:cs typeface="DM Sans Regular"/>
                <a:sym typeface="DM Sans Regular"/>
              </a:defRPr>
            </a:lvl1pPr>
          </a:lstStyle>
          <a:p>
            <a:pPr algn="just" defTabSz="609630" fontAlgn="base" hangingPunct="0">
              <a:lnSpc>
                <a:spcPts val="1267"/>
              </a:lnSpc>
            </a:pPr>
            <a:r>
              <a:rPr lang="en-GB" sz="1333" kern="0" noProof="0">
                <a:latin typeface="Quattrocento Sans" panose="020B0502050000020003" pitchFamily="34" charset="0"/>
                <a:cs typeface="Calibri"/>
              </a:rPr>
              <a:t>Side-by-side evaluation of 2 architectures (all-Datasphere, Snowflake-hybrid).</a:t>
            </a:r>
          </a:p>
        </p:txBody>
      </p:sp>
      <p:sp>
        <p:nvSpPr>
          <p:cNvPr id="15" name="Rectángulo redondeado">
            <a:extLst>
              <a:ext uri="{FF2B5EF4-FFF2-40B4-BE49-F238E27FC236}">
                <a16:creationId xmlns:a16="http://schemas.microsoft.com/office/drawing/2014/main" id="{1B6A24C8-2353-E427-E848-3865CCF54EBD}"/>
              </a:ext>
            </a:extLst>
          </p:cNvPr>
          <p:cNvSpPr/>
          <p:nvPr/>
        </p:nvSpPr>
        <p:spPr>
          <a:xfrm>
            <a:off x="592174" y="2878531"/>
            <a:ext cx="2386292" cy="984830"/>
          </a:xfrm>
          <a:prstGeom prst="roundRect">
            <a:avLst>
              <a:gd name="adj" fmla="val 15762"/>
            </a:avLst>
          </a:prstGeom>
          <a:ln w="12700">
            <a:solidFill>
              <a:srgbClr val="2D2D2D"/>
            </a:solidFill>
            <a:prstDash val="sysDot"/>
            <a:miter lim="400000"/>
          </a:ln>
        </p:spPr>
        <p:txBody>
          <a:bodyPr lIns="33867" tIns="33867" rIns="33867" bIns="33867" anchor="ctr"/>
          <a:lstStyle/>
          <a:p>
            <a:pPr defTabSz="609630" hangingPunct="0">
              <a:defRPr>
                <a:solidFill>
                  <a:srgbClr val="FFFFFF"/>
                </a:solidFill>
              </a:defRPr>
            </a:pPr>
            <a:endParaRPr lang="en-GB" sz="1200" kern="0" noProof="0">
              <a:solidFill>
                <a:srgbClr val="FFFFFF"/>
              </a:solidFill>
              <a:latin typeface="Quattrocento Sans" panose="020B0502050000020003" pitchFamily="34" charset="0"/>
              <a:cs typeface="Calibri"/>
              <a:sym typeface="Calibri"/>
            </a:endParaRPr>
          </a:p>
        </p:txBody>
      </p:sp>
      <p:sp>
        <p:nvSpPr>
          <p:cNvPr id="2" name="Rectangle 57">
            <a:extLst>
              <a:ext uri="{FF2B5EF4-FFF2-40B4-BE49-F238E27FC236}">
                <a16:creationId xmlns:a16="http://schemas.microsoft.com/office/drawing/2014/main" id="{CAC414AF-AB5B-8311-6352-0B35F9EFAF46}"/>
              </a:ext>
            </a:extLst>
          </p:cNvPr>
          <p:cNvSpPr>
            <a:spLocks noChangeArrowheads="1"/>
          </p:cNvSpPr>
          <p:nvPr/>
        </p:nvSpPr>
        <p:spPr bwMode="gray">
          <a:xfrm>
            <a:off x="226220" y="198916"/>
            <a:ext cx="7407741" cy="984830"/>
          </a:xfrm>
          <a:prstGeom prst="rect">
            <a:avLst/>
          </a:prstGeom>
          <a:noFill/>
          <a:ln w="9525">
            <a:noFill/>
            <a:miter lim="800000"/>
            <a:headEnd/>
            <a:tailEnd/>
          </a:ln>
          <a:effectLst/>
        </p:spPr>
        <p:txBody>
          <a:bodyPr wrap="square" lIns="91386" tIns="45693" rIns="91386" bIns="45693">
            <a:spAutoFit/>
          </a:bodyPr>
          <a:lstStyle/>
          <a:p>
            <a:pPr defTabSz="609630"/>
            <a:r>
              <a:rPr lang="en-GB" sz="4000" b="1" kern="0" noProof="0">
                <a:solidFill>
                  <a:srgbClr val="000000">
                    <a:lumMod val="95000"/>
                    <a:lumOff val="5000"/>
                  </a:srgbClr>
                </a:solidFill>
                <a:latin typeface="Quattrocento Sans" panose="020B0502050000020003" pitchFamily="34" charset="0"/>
                <a:ea typeface="Lato"/>
                <a:cs typeface="Lato"/>
                <a:sym typeface="Calibri"/>
              </a:rPr>
              <a:t>Architecture</a:t>
            </a:r>
          </a:p>
          <a:p>
            <a:pPr defTabSz="609630" hangingPunct="0"/>
            <a:r>
              <a:rPr lang="en-GB" kern="0" noProof="0">
                <a:solidFill>
                  <a:srgbClr val="8A0051"/>
                </a:solidFill>
                <a:latin typeface="Quattrocento Sans" panose="020B0502050000020003" pitchFamily="34" charset="0"/>
                <a:cs typeface="Calibri"/>
                <a:sym typeface="Calibri"/>
              </a:rPr>
              <a:t>2 Scenarios</a:t>
            </a:r>
          </a:p>
        </p:txBody>
      </p:sp>
      <p:pic>
        <p:nvPicPr>
          <p:cNvPr id="11" name="Imagen 10" descr="Logotipo&#10;&#10;Descripción generada automáticamente">
            <a:extLst>
              <a:ext uri="{FF2B5EF4-FFF2-40B4-BE49-F238E27FC236}">
                <a16:creationId xmlns:a16="http://schemas.microsoft.com/office/drawing/2014/main" id="{EE832A06-DEF8-59F3-B15D-217A45DEE30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75643" y="422965"/>
            <a:ext cx="1935381" cy="446626"/>
          </a:xfrm>
          <a:prstGeom prst="rect">
            <a:avLst/>
          </a:prstGeom>
        </p:spPr>
      </p:pic>
      <p:pic>
        <p:nvPicPr>
          <p:cNvPr id="2052" name="Picture 4">
            <a:extLst>
              <a:ext uri="{FF2B5EF4-FFF2-40B4-BE49-F238E27FC236}">
                <a16:creationId xmlns:a16="http://schemas.microsoft.com/office/drawing/2014/main" id="{CFCA038B-0A41-0685-3E81-DA2275299FC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39235" y="2406617"/>
            <a:ext cx="2319338" cy="55583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Automated data replication (ETL/ELT) from every SaaS API into SAP Datasphere  | Precog">
            <a:extLst>
              <a:ext uri="{FF2B5EF4-FFF2-40B4-BE49-F238E27FC236}">
                <a16:creationId xmlns:a16="http://schemas.microsoft.com/office/drawing/2014/main" id="{EEAA4BA7-DBF9-C6C3-6144-31B1357D9E1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6200000">
            <a:off x="478768" y="3171847"/>
            <a:ext cx="789422" cy="282087"/>
          </a:xfrm>
          <a:prstGeom prst="rect">
            <a:avLst/>
          </a:prstGeom>
          <a:noFill/>
          <a:extLst>
            <a:ext uri="{909E8E84-426E-40DD-AFC4-6F175D3DCCD1}">
              <a14:hiddenFill xmlns:a14="http://schemas.microsoft.com/office/drawing/2010/main">
                <a:solidFill>
                  <a:srgbClr val="FFFFFF"/>
                </a:solidFill>
              </a14:hiddenFill>
            </a:ext>
          </a:extLst>
        </p:spPr>
      </p:pic>
      <p:sp>
        <p:nvSpPr>
          <p:cNvPr id="6" name="Rectángulo redondeado">
            <a:extLst>
              <a:ext uri="{FF2B5EF4-FFF2-40B4-BE49-F238E27FC236}">
                <a16:creationId xmlns:a16="http://schemas.microsoft.com/office/drawing/2014/main" id="{E2B8E0A6-3E90-3808-76E3-CE66FA53793B}"/>
              </a:ext>
            </a:extLst>
          </p:cNvPr>
          <p:cNvSpPr/>
          <p:nvPr/>
        </p:nvSpPr>
        <p:spPr>
          <a:xfrm>
            <a:off x="6738324" y="2250175"/>
            <a:ext cx="4724159" cy="868719"/>
          </a:xfrm>
          <a:prstGeom prst="roundRect">
            <a:avLst>
              <a:gd name="adj" fmla="val 15762"/>
            </a:avLst>
          </a:prstGeom>
          <a:ln w="12700">
            <a:solidFill>
              <a:srgbClr val="2D2D2D"/>
            </a:solidFill>
            <a:prstDash val="sysDot"/>
            <a:miter lim="400000"/>
          </a:ln>
        </p:spPr>
        <p:txBody>
          <a:bodyPr lIns="33867" tIns="33867" rIns="33867" bIns="33867" anchor="ctr"/>
          <a:lstStyle/>
          <a:p>
            <a:pPr defTabSz="609630" hangingPunct="0">
              <a:defRPr>
                <a:solidFill>
                  <a:srgbClr val="FFFFFF"/>
                </a:solidFill>
              </a:defRPr>
            </a:pPr>
            <a:endParaRPr lang="en-GB" sz="1200" kern="0" noProof="0">
              <a:solidFill>
                <a:srgbClr val="FFFFFF"/>
              </a:solidFill>
              <a:latin typeface="Quattrocento Sans" panose="020B0502050000020003" pitchFamily="34" charset="0"/>
              <a:cs typeface="Calibri"/>
              <a:sym typeface="Calibri"/>
            </a:endParaRPr>
          </a:p>
        </p:txBody>
      </p:sp>
      <p:pic>
        <p:nvPicPr>
          <p:cNvPr id="7" name="Picture 6" descr="Automated data replication (ETL/ELT) from every SaaS API into SAP Datasphere  | Precog">
            <a:extLst>
              <a:ext uri="{FF2B5EF4-FFF2-40B4-BE49-F238E27FC236}">
                <a16:creationId xmlns:a16="http://schemas.microsoft.com/office/drawing/2014/main" id="{1B689124-0B43-89AD-6C46-9809F7D867C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64309" y="2442393"/>
            <a:ext cx="1471443" cy="525796"/>
          </a:xfrm>
          <a:prstGeom prst="rect">
            <a:avLst/>
          </a:prstGeom>
          <a:noFill/>
          <a:extLst>
            <a:ext uri="{909E8E84-426E-40DD-AFC4-6F175D3DCCD1}">
              <a14:hiddenFill xmlns:a14="http://schemas.microsoft.com/office/drawing/2010/main">
                <a:solidFill>
                  <a:srgbClr val="FFFFFF"/>
                </a:solidFill>
              </a14:hiddenFill>
            </a:ext>
          </a:extLst>
        </p:spPr>
      </p:pic>
      <p:sp>
        <p:nvSpPr>
          <p:cNvPr id="8" name="CuadroTexto 7">
            <a:extLst>
              <a:ext uri="{FF2B5EF4-FFF2-40B4-BE49-F238E27FC236}">
                <a16:creationId xmlns:a16="http://schemas.microsoft.com/office/drawing/2014/main" id="{C6974E89-23A1-FF48-0E15-3BFD0A012BB0}"/>
              </a:ext>
            </a:extLst>
          </p:cNvPr>
          <p:cNvSpPr txBox="1"/>
          <p:nvPr/>
        </p:nvSpPr>
        <p:spPr>
          <a:xfrm>
            <a:off x="8385284" y="2520625"/>
            <a:ext cx="300082" cy="369332"/>
          </a:xfrm>
          <a:prstGeom prst="rect">
            <a:avLst/>
          </a:prstGeom>
          <a:noFill/>
        </p:spPr>
        <p:txBody>
          <a:bodyPr wrap="none" rtlCol="0">
            <a:spAutoFit/>
          </a:bodyPr>
          <a:lstStyle/>
          <a:p>
            <a:r>
              <a:rPr lang="en-GB" noProof="0"/>
              <a:t>+</a:t>
            </a:r>
          </a:p>
        </p:txBody>
      </p:sp>
      <p:sp>
        <p:nvSpPr>
          <p:cNvPr id="3" name="Diagrama de flujo: almacenamiento de acceso directo 2">
            <a:extLst>
              <a:ext uri="{FF2B5EF4-FFF2-40B4-BE49-F238E27FC236}">
                <a16:creationId xmlns:a16="http://schemas.microsoft.com/office/drawing/2014/main" id="{14F3FF3C-4FED-86BA-C8D2-DAAB03BD4F6C}"/>
              </a:ext>
            </a:extLst>
          </p:cNvPr>
          <p:cNvSpPr/>
          <p:nvPr/>
        </p:nvSpPr>
        <p:spPr>
          <a:xfrm>
            <a:off x="1211460" y="3158136"/>
            <a:ext cx="327600" cy="434358"/>
          </a:xfrm>
          <a:prstGeom prst="flowChartMagneticDrum">
            <a:avLst/>
          </a:prstGeom>
          <a:solidFill>
            <a:schemeClr val="accent4">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 name="Diagrama de flujo: almacenamiento de acceso directo 4">
            <a:extLst>
              <a:ext uri="{FF2B5EF4-FFF2-40B4-BE49-F238E27FC236}">
                <a16:creationId xmlns:a16="http://schemas.microsoft.com/office/drawing/2014/main" id="{7B3F9848-B533-91E0-7AE6-6A716081A687}"/>
              </a:ext>
            </a:extLst>
          </p:cNvPr>
          <p:cNvSpPr/>
          <p:nvPr/>
        </p:nvSpPr>
        <p:spPr>
          <a:xfrm>
            <a:off x="1837533" y="3158133"/>
            <a:ext cx="327600" cy="434358"/>
          </a:xfrm>
          <a:prstGeom prst="flowChartMagneticDrum">
            <a:avLst/>
          </a:prstGeom>
          <a:solidFill>
            <a:schemeClr val="bg1">
              <a:lumMod val="6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9" name="Diagrama de flujo: almacenamiento de acceso directo 8">
            <a:extLst>
              <a:ext uri="{FF2B5EF4-FFF2-40B4-BE49-F238E27FC236}">
                <a16:creationId xmlns:a16="http://schemas.microsoft.com/office/drawing/2014/main" id="{BCFA3CFC-9F53-5A24-EF72-8054127F5674}"/>
              </a:ext>
            </a:extLst>
          </p:cNvPr>
          <p:cNvSpPr/>
          <p:nvPr/>
        </p:nvSpPr>
        <p:spPr>
          <a:xfrm>
            <a:off x="2417998" y="3158136"/>
            <a:ext cx="327600" cy="434358"/>
          </a:xfrm>
          <a:prstGeom prst="flowChartMagneticDrum">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cxnSp>
        <p:nvCxnSpPr>
          <p:cNvPr id="17" name="Conector recto de flecha 16">
            <a:extLst>
              <a:ext uri="{FF2B5EF4-FFF2-40B4-BE49-F238E27FC236}">
                <a16:creationId xmlns:a16="http://schemas.microsoft.com/office/drawing/2014/main" id="{B5CC2939-3AC4-715F-CCEF-EC0664693987}"/>
              </a:ext>
            </a:extLst>
          </p:cNvPr>
          <p:cNvCxnSpPr>
            <a:cxnSpLocks/>
            <a:stCxn id="3" idx="4"/>
            <a:endCxn id="5" idx="1"/>
          </p:cNvCxnSpPr>
          <p:nvPr/>
        </p:nvCxnSpPr>
        <p:spPr>
          <a:xfrm flipV="1">
            <a:off x="1539060" y="3375312"/>
            <a:ext cx="298473" cy="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Conector recto de flecha 18">
            <a:extLst>
              <a:ext uri="{FF2B5EF4-FFF2-40B4-BE49-F238E27FC236}">
                <a16:creationId xmlns:a16="http://schemas.microsoft.com/office/drawing/2014/main" id="{07D2E43F-5CA6-D86B-8A39-DD8089D52FBB}"/>
              </a:ext>
            </a:extLst>
          </p:cNvPr>
          <p:cNvCxnSpPr>
            <a:cxnSpLocks/>
            <a:stCxn id="5" idx="4"/>
            <a:endCxn id="9" idx="1"/>
          </p:cNvCxnSpPr>
          <p:nvPr/>
        </p:nvCxnSpPr>
        <p:spPr>
          <a:xfrm>
            <a:off x="2165133" y="3375312"/>
            <a:ext cx="252865" cy="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0" name="Picture 4">
            <a:extLst>
              <a:ext uri="{FF2B5EF4-FFF2-40B4-BE49-F238E27FC236}">
                <a16:creationId xmlns:a16="http://schemas.microsoft.com/office/drawing/2014/main" id="{438AA715-FA1C-2BAE-665A-1526E1CEBDD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43941" y="3233444"/>
            <a:ext cx="1183966" cy="283739"/>
          </a:xfrm>
          <a:prstGeom prst="rect">
            <a:avLst/>
          </a:prstGeom>
          <a:noFill/>
          <a:extLst>
            <a:ext uri="{909E8E84-426E-40DD-AFC4-6F175D3DCCD1}">
              <a14:hiddenFill xmlns:a14="http://schemas.microsoft.com/office/drawing/2010/main">
                <a:solidFill>
                  <a:srgbClr val="FFFFFF"/>
                </a:solidFill>
              </a14:hiddenFill>
            </a:ext>
          </a:extLst>
        </p:spPr>
      </p:pic>
      <p:cxnSp>
        <p:nvCxnSpPr>
          <p:cNvPr id="21" name="Conector recto de flecha 20">
            <a:extLst>
              <a:ext uri="{FF2B5EF4-FFF2-40B4-BE49-F238E27FC236}">
                <a16:creationId xmlns:a16="http://schemas.microsoft.com/office/drawing/2014/main" id="{0CB210A4-C358-9BAC-DBD3-7CE458BE49FA}"/>
              </a:ext>
            </a:extLst>
          </p:cNvPr>
          <p:cNvCxnSpPr>
            <a:cxnSpLocks/>
            <a:stCxn id="9" idx="4"/>
            <a:endCxn id="20" idx="1"/>
          </p:cNvCxnSpPr>
          <p:nvPr/>
        </p:nvCxnSpPr>
        <p:spPr>
          <a:xfrm flipV="1">
            <a:off x="2745598" y="3375314"/>
            <a:ext cx="498343"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Diagrama de flujo: almacenamiento de acceso directo 24">
            <a:extLst>
              <a:ext uri="{FF2B5EF4-FFF2-40B4-BE49-F238E27FC236}">
                <a16:creationId xmlns:a16="http://schemas.microsoft.com/office/drawing/2014/main" id="{DA806E0F-044B-E6E4-EDDC-A49E54AD7162}"/>
              </a:ext>
            </a:extLst>
          </p:cNvPr>
          <p:cNvSpPr/>
          <p:nvPr/>
        </p:nvSpPr>
        <p:spPr>
          <a:xfrm>
            <a:off x="6579858" y="3429002"/>
            <a:ext cx="463640" cy="868719"/>
          </a:xfrm>
          <a:prstGeom prst="flowChartMagneticDrum">
            <a:avLst/>
          </a:prstGeom>
          <a:solidFill>
            <a:schemeClr val="accent4">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6" name="Diagrama de flujo: almacenamiento de acceso directo 25">
            <a:extLst>
              <a:ext uri="{FF2B5EF4-FFF2-40B4-BE49-F238E27FC236}">
                <a16:creationId xmlns:a16="http://schemas.microsoft.com/office/drawing/2014/main" id="{60A54EE6-3511-0F63-1EDD-54307F7DCA99}"/>
              </a:ext>
            </a:extLst>
          </p:cNvPr>
          <p:cNvSpPr/>
          <p:nvPr/>
        </p:nvSpPr>
        <p:spPr>
          <a:xfrm>
            <a:off x="7453475" y="3429001"/>
            <a:ext cx="463640" cy="868719"/>
          </a:xfrm>
          <a:prstGeom prst="flowChartMagneticDrum">
            <a:avLst/>
          </a:prstGeom>
          <a:solidFill>
            <a:schemeClr val="bg1">
              <a:lumMod val="6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cxnSp>
        <p:nvCxnSpPr>
          <p:cNvPr id="28" name="Conector recto de flecha 27">
            <a:extLst>
              <a:ext uri="{FF2B5EF4-FFF2-40B4-BE49-F238E27FC236}">
                <a16:creationId xmlns:a16="http://schemas.microsoft.com/office/drawing/2014/main" id="{E8D69452-EBAD-0B39-B635-13C1EE193A71}"/>
              </a:ext>
            </a:extLst>
          </p:cNvPr>
          <p:cNvCxnSpPr>
            <a:stCxn id="25" idx="4"/>
            <a:endCxn id="26" idx="1"/>
          </p:cNvCxnSpPr>
          <p:nvPr/>
        </p:nvCxnSpPr>
        <p:spPr>
          <a:xfrm flipV="1">
            <a:off x="7043498" y="3863361"/>
            <a:ext cx="409977"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Conector recto de flecha 28">
            <a:extLst>
              <a:ext uri="{FF2B5EF4-FFF2-40B4-BE49-F238E27FC236}">
                <a16:creationId xmlns:a16="http://schemas.microsoft.com/office/drawing/2014/main" id="{F64C3789-BBF0-B5C9-FE2B-5F7477AC2EC6}"/>
              </a:ext>
            </a:extLst>
          </p:cNvPr>
          <p:cNvCxnSpPr>
            <a:cxnSpLocks/>
            <a:stCxn id="26" idx="2"/>
            <a:endCxn id="30" idx="0"/>
          </p:cNvCxnSpPr>
          <p:nvPr/>
        </p:nvCxnSpPr>
        <p:spPr>
          <a:xfrm flipH="1">
            <a:off x="7679566" y="4297720"/>
            <a:ext cx="5729" cy="7885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30" name="Picture 4">
            <a:extLst>
              <a:ext uri="{FF2B5EF4-FFF2-40B4-BE49-F238E27FC236}">
                <a16:creationId xmlns:a16="http://schemas.microsoft.com/office/drawing/2014/main" id="{7F74B02A-7B0F-B925-B5F6-087DA5FFA97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19897" y="5086233"/>
            <a:ext cx="2319338" cy="555833"/>
          </a:xfrm>
          <a:prstGeom prst="rect">
            <a:avLst/>
          </a:prstGeom>
          <a:noFill/>
          <a:extLst>
            <a:ext uri="{909E8E84-426E-40DD-AFC4-6F175D3DCCD1}">
              <a14:hiddenFill xmlns:a14="http://schemas.microsoft.com/office/drawing/2010/main">
                <a:solidFill>
                  <a:srgbClr val="FFFFFF"/>
                </a:solidFill>
              </a14:hiddenFill>
            </a:ext>
          </a:extLst>
        </p:spPr>
      </p:pic>
      <p:sp>
        <p:nvSpPr>
          <p:cNvPr id="35" name="Diagrama de flujo: almacenamiento de acceso directo 34">
            <a:extLst>
              <a:ext uri="{FF2B5EF4-FFF2-40B4-BE49-F238E27FC236}">
                <a16:creationId xmlns:a16="http://schemas.microsoft.com/office/drawing/2014/main" id="{D0C1ADAD-71A8-C26B-D02A-7A3A49B941C0}"/>
              </a:ext>
            </a:extLst>
          </p:cNvPr>
          <p:cNvSpPr/>
          <p:nvPr/>
        </p:nvSpPr>
        <p:spPr>
          <a:xfrm>
            <a:off x="8385284" y="3428999"/>
            <a:ext cx="463640" cy="868719"/>
          </a:xfrm>
          <a:prstGeom prst="flowChartMagneticDrum">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cxnSp>
        <p:nvCxnSpPr>
          <p:cNvPr id="36" name="Conector recto de flecha 35">
            <a:extLst>
              <a:ext uri="{FF2B5EF4-FFF2-40B4-BE49-F238E27FC236}">
                <a16:creationId xmlns:a16="http://schemas.microsoft.com/office/drawing/2014/main" id="{D816562F-516E-0A0A-6729-9D344FE79894}"/>
              </a:ext>
            </a:extLst>
          </p:cNvPr>
          <p:cNvCxnSpPr>
            <a:cxnSpLocks/>
            <a:endCxn id="35" idx="2"/>
          </p:cNvCxnSpPr>
          <p:nvPr/>
        </p:nvCxnSpPr>
        <p:spPr>
          <a:xfrm flipV="1">
            <a:off x="8617104" y="4297718"/>
            <a:ext cx="0" cy="7885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8" name="Rectángulo redondeado">
            <a:extLst>
              <a:ext uri="{FF2B5EF4-FFF2-40B4-BE49-F238E27FC236}">
                <a16:creationId xmlns:a16="http://schemas.microsoft.com/office/drawing/2014/main" id="{1BEF9CBD-C55C-9D4B-21C1-4BCF831EDF3E}"/>
              </a:ext>
            </a:extLst>
          </p:cNvPr>
          <p:cNvSpPr/>
          <p:nvPr/>
        </p:nvSpPr>
        <p:spPr>
          <a:xfrm>
            <a:off x="592174" y="4101400"/>
            <a:ext cx="2386292" cy="984830"/>
          </a:xfrm>
          <a:prstGeom prst="roundRect">
            <a:avLst>
              <a:gd name="adj" fmla="val 15762"/>
            </a:avLst>
          </a:prstGeom>
          <a:ln w="12700">
            <a:solidFill>
              <a:srgbClr val="2D2D2D"/>
            </a:solidFill>
            <a:prstDash val="sysDot"/>
            <a:miter lim="400000"/>
          </a:ln>
        </p:spPr>
        <p:txBody>
          <a:bodyPr lIns="33867" tIns="33867" rIns="33867" bIns="33867" anchor="ctr"/>
          <a:lstStyle/>
          <a:p>
            <a:pPr defTabSz="609630" hangingPunct="0">
              <a:defRPr>
                <a:solidFill>
                  <a:srgbClr val="FFFFFF"/>
                </a:solidFill>
              </a:defRPr>
            </a:pPr>
            <a:endParaRPr lang="en-GB" sz="1200" kern="0" noProof="0">
              <a:solidFill>
                <a:srgbClr val="FFFFFF"/>
              </a:solidFill>
              <a:latin typeface="Quattrocento Sans" panose="020B0502050000020003" pitchFamily="34" charset="0"/>
              <a:cs typeface="Calibri"/>
              <a:sym typeface="Calibri"/>
            </a:endParaRPr>
          </a:p>
        </p:txBody>
      </p:sp>
      <p:pic>
        <p:nvPicPr>
          <p:cNvPr id="39" name="Picture 6" descr="Automated data replication (ETL/ELT) from every SaaS API into SAP Datasphere  | Precog">
            <a:extLst>
              <a:ext uri="{FF2B5EF4-FFF2-40B4-BE49-F238E27FC236}">
                <a16:creationId xmlns:a16="http://schemas.microsoft.com/office/drawing/2014/main" id="{538B1F60-88A7-B935-A5AA-56E3EEC57B2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6200000">
            <a:off x="478768" y="4394716"/>
            <a:ext cx="789422" cy="282087"/>
          </a:xfrm>
          <a:prstGeom prst="rect">
            <a:avLst/>
          </a:prstGeom>
          <a:noFill/>
          <a:extLst>
            <a:ext uri="{909E8E84-426E-40DD-AFC4-6F175D3DCCD1}">
              <a14:hiddenFill xmlns:a14="http://schemas.microsoft.com/office/drawing/2010/main">
                <a:solidFill>
                  <a:srgbClr val="FFFFFF"/>
                </a:solidFill>
              </a14:hiddenFill>
            </a:ext>
          </a:extLst>
        </p:spPr>
      </p:pic>
      <p:sp>
        <p:nvSpPr>
          <p:cNvPr id="40" name="Diagrama de flujo: almacenamiento de acceso directo 39">
            <a:extLst>
              <a:ext uri="{FF2B5EF4-FFF2-40B4-BE49-F238E27FC236}">
                <a16:creationId xmlns:a16="http://schemas.microsoft.com/office/drawing/2014/main" id="{DEB617FB-73BA-64E7-058C-3AA4FDE4AAC0}"/>
              </a:ext>
            </a:extLst>
          </p:cNvPr>
          <p:cNvSpPr/>
          <p:nvPr/>
        </p:nvSpPr>
        <p:spPr>
          <a:xfrm>
            <a:off x="1211460" y="4381005"/>
            <a:ext cx="327600" cy="434358"/>
          </a:xfrm>
          <a:prstGeom prst="flowChartMagneticDrum">
            <a:avLst/>
          </a:prstGeom>
          <a:solidFill>
            <a:schemeClr val="accent4">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1" name="Diagrama de flujo: almacenamiento de acceso directo 40">
            <a:extLst>
              <a:ext uri="{FF2B5EF4-FFF2-40B4-BE49-F238E27FC236}">
                <a16:creationId xmlns:a16="http://schemas.microsoft.com/office/drawing/2014/main" id="{05B79AE7-2962-6CDA-720E-E9C3D1C57DCA}"/>
              </a:ext>
            </a:extLst>
          </p:cNvPr>
          <p:cNvSpPr/>
          <p:nvPr/>
        </p:nvSpPr>
        <p:spPr>
          <a:xfrm>
            <a:off x="1837533" y="4381002"/>
            <a:ext cx="327600" cy="434358"/>
          </a:xfrm>
          <a:prstGeom prst="flowChartMagneticDrum">
            <a:avLst/>
          </a:prstGeom>
          <a:solidFill>
            <a:schemeClr val="bg1">
              <a:lumMod val="6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2" name="Diagrama de flujo: almacenamiento de acceso directo 41">
            <a:extLst>
              <a:ext uri="{FF2B5EF4-FFF2-40B4-BE49-F238E27FC236}">
                <a16:creationId xmlns:a16="http://schemas.microsoft.com/office/drawing/2014/main" id="{C276688B-2019-815D-BBE5-0D9CF0480E5E}"/>
              </a:ext>
            </a:extLst>
          </p:cNvPr>
          <p:cNvSpPr/>
          <p:nvPr/>
        </p:nvSpPr>
        <p:spPr>
          <a:xfrm>
            <a:off x="2417998" y="4381005"/>
            <a:ext cx="327600" cy="434358"/>
          </a:xfrm>
          <a:prstGeom prst="flowChartMagneticDrum">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cxnSp>
        <p:nvCxnSpPr>
          <p:cNvPr id="43" name="Conector recto de flecha 42">
            <a:extLst>
              <a:ext uri="{FF2B5EF4-FFF2-40B4-BE49-F238E27FC236}">
                <a16:creationId xmlns:a16="http://schemas.microsoft.com/office/drawing/2014/main" id="{EC30129F-04D8-10AB-F134-B562323AA4F7}"/>
              </a:ext>
            </a:extLst>
          </p:cNvPr>
          <p:cNvCxnSpPr>
            <a:cxnSpLocks/>
            <a:stCxn id="40" idx="4"/>
            <a:endCxn id="41" idx="1"/>
          </p:cNvCxnSpPr>
          <p:nvPr/>
        </p:nvCxnSpPr>
        <p:spPr>
          <a:xfrm flipV="1">
            <a:off x="1539060" y="4598181"/>
            <a:ext cx="298473" cy="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Conector recto de flecha 43">
            <a:extLst>
              <a:ext uri="{FF2B5EF4-FFF2-40B4-BE49-F238E27FC236}">
                <a16:creationId xmlns:a16="http://schemas.microsoft.com/office/drawing/2014/main" id="{29E64961-14B8-DF0A-4D79-E756553F520C}"/>
              </a:ext>
            </a:extLst>
          </p:cNvPr>
          <p:cNvCxnSpPr>
            <a:cxnSpLocks/>
            <a:stCxn id="41" idx="2"/>
          </p:cNvCxnSpPr>
          <p:nvPr/>
        </p:nvCxnSpPr>
        <p:spPr>
          <a:xfrm>
            <a:off x="2001333" y="4815360"/>
            <a:ext cx="12442" cy="44269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45" name="Picture 4">
            <a:extLst>
              <a:ext uri="{FF2B5EF4-FFF2-40B4-BE49-F238E27FC236}">
                <a16:creationId xmlns:a16="http://schemas.microsoft.com/office/drawing/2014/main" id="{AB6737BC-3B8B-F2AD-E2AC-AD249B6F7FA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88296" y="5259465"/>
            <a:ext cx="1183966" cy="283739"/>
          </a:xfrm>
          <a:prstGeom prst="rect">
            <a:avLst/>
          </a:prstGeom>
          <a:noFill/>
          <a:extLst>
            <a:ext uri="{909E8E84-426E-40DD-AFC4-6F175D3DCCD1}">
              <a14:hiddenFill xmlns:a14="http://schemas.microsoft.com/office/drawing/2010/main">
                <a:solidFill>
                  <a:srgbClr val="FFFFFF"/>
                </a:solidFill>
              </a14:hiddenFill>
            </a:ext>
          </a:extLst>
        </p:spPr>
      </p:pic>
      <p:cxnSp>
        <p:nvCxnSpPr>
          <p:cNvPr id="46" name="Conector recto de flecha 45">
            <a:extLst>
              <a:ext uri="{FF2B5EF4-FFF2-40B4-BE49-F238E27FC236}">
                <a16:creationId xmlns:a16="http://schemas.microsoft.com/office/drawing/2014/main" id="{D4838A7A-29D9-CF8D-1847-3E89E1DD8F63}"/>
              </a:ext>
            </a:extLst>
          </p:cNvPr>
          <p:cNvCxnSpPr>
            <a:cxnSpLocks/>
            <a:endCxn id="42" idx="2"/>
          </p:cNvCxnSpPr>
          <p:nvPr/>
        </p:nvCxnSpPr>
        <p:spPr>
          <a:xfrm flipV="1">
            <a:off x="2581798" y="4815363"/>
            <a:ext cx="0" cy="4426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7597232"/>
      </p:ext>
    </p:extLst>
  </p:cSld>
  <p:clrMapOvr>
    <a:masterClrMapping/>
  </p:clrMapOvr>
  <p:transition spd="med"/>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B22ACFB-CC2E-E9CB-58C4-5185DCFAC71A}"/>
            </a:ext>
          </a:extLst>
        </p:cNvPr>
        <p:cNvGrpSpPr/>
        <p:nvPr/>
      </p:nvGrpSpPr>
      <p:grpSpPr>
        <a:xfrm>
          <a:off x="0" y="0"/>
          <a:ext cx="0" cy="0"/>
          <a:chOff x="0" y="0"/>
          <a:chExt cx="0" cy="0"/>
        </a:xfrm>
      </p:grpSpPr>
      <p:sp>
        <p:nvSpPr>
          <p:cNvPr id="2" name="Rectangle 57">
            <a:extLst>
              <a:ext uri="{FF2B5EF4-FFF2-40B4-BE49-F238E27FC236}">
                <a16:creationId xmlns:a16="http://schemas.microsoft.com/office/drawing/2014/main" id="{F66BF68C-4DA2-5D2A-8E9B-261B2B7E4B41}"/>
              </a:ext>
            </a:extLst>
          </p:cNvPr>
          <p:cNvSpPr>
            <a:spLocks noChangeArrowheads="1"/>
          </p:cNvSpPr>
          <p:nvPr/>
        </p:nvSpPr>
        <p:spPr bwMode="gray">
          <a:xfrm>
            <a:off x="226220" y="198916"/>
            <a:ext cx="7407741" cy="984830"/>
          </a:xfrm>
          <a:prstGeom prst="rect">
            <a:avLst/>
          </a:prstGeom>
          <a:noFill/>
          <a:ln w="9525">
            <a:noFill/>
            <a:miter lim="800000"/>
            <a:headEnd/>
            <a:tailEnd/>
          </a:ln>
          <a:effectLst/>
        </p:spPr>
        <p:txBody>
          <a:bodyPr wrap="square" lIns="91386" tIns="45693" rIns="91386" bIns="45693">
            <a:spAutoFit/>
          </a:bodyPr>
          <a:lstStyle/>
          <a:p>
            <a:pPr defTabSz="609630"/>
            <a:r>
              <a:rPr lang="en-GB" sz="4000" b="1" kern="0" noProof="0">
                <a:solidFill>
                  <a:srgbClr val="000000">
                    <a:lumMod val="95000"/>
                    <a:lumOff val="5000"/>
                  </a:srgbClr>
                </a:solidFill>
                <a:latin typeface="Quattrocento Sans" panose="020B0502050000020003" pitchFamily="34" charset="0"/>
                <a:ea typeface="Lato"/>
                <a:cs typeface="Lato"/>
                <a:sym typeface="Calibri"/>
              </a:rPr>
              <a:t>Advisory Process</a:t>
            </a:r>
          </a:p>
          <a:p>
            <a:pPr defTabSz="609630" hangingPunct="0"/>
            <a:r>
              <a:rPr lang="en-GB" kern="0" noProof="0">
                <a:solidFill>
                  <a:srgbClr val="91ACB9"/>
                </a:solidFill>
                <a:latin typeface="Quattrocento Sans" panose="020B0502050000020003" pitchFamily="34" charset="0"/>
                <a:cs typeface="Calibri"/>
                <a:sym typeface="Calibri"/>
              </a:rPr>
              <a:t>Best Practices Datasphere</a:t>
            </a:r>
          </a:p>
        </p:txBody>
      </p:sp>
      <p:pic>
        <p:nvPicPr>
          <p:cNvPr id="11" name="Imagen 10" descr="Logotipo&#10;&#10;Descripción generada automáticamente">
            <a:extLst>
              <a:ext uri="{FF2B5EF4-FFF2-40B4-BE49-F238E27FC236}">
                <a16:creationId xmlns:a16="http://schemas.microsoft.com/office/drawing/2014/main" id="{1878C960-8940-05DF-7189-A2C4234D1DF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75643" y="422965"/>
            <a:ext cx="1935381" cy="446626"/>
          </a:xfrm>
          <a:prstGeom prst="rect">
            <a:avLst/>
          </a:prstGeom>
        </p:spPr>
      </p:pic>
      <p:sp>
        <p:nvSpPr>
          <p:cNvPr id="38" name="CuadroTexto 37">
            <a:extLst>
              <a:ext uri="{FF2B5EF4-FFF2-40B4-BE49-F238E27FC236}">
                <a16:creationId xmlns:a16="http://schemas.microsoft.com/office/drawing/2014/main" id="{6A771F03-7FCF-68FB-952E-156B9C31CB99}"/>
              </a:ext>
            </a:extLst>
          </p:cNvPr>
          <p:cNvSpPr txBox="1"/>
          <p:nvPr/>
        </p:nvSpPr>
        <p:spPr>
          <a:xfrm>
            <a:off x="310737" y="1415556"/>
            <a:ext cx="10946766" cy="211725"/>
          </a:xfrm>
          <a:prstGeom prst="rect">
            <a:avLst/>
          </a:prstGeom>
          <a:ln w="12700">
            <a:miter lim="400000"/>
          </a:ln>
        </p:spPr>
        <p:txBody>
          <a:bodyPr wrap="square" lIns="0" tIns="0" rIns="0" bIns="0" anchor="t">
            <a:spAutoFit/>
          </a:bodyPr>
          <a:lstStyle>
            <a:defPPr>
              <a:defRPr lang="es-ES"/>
            </a:defPPr>
            <a:lvl1pPr algn="just" defTabSz="609630" fontAlgn="base" hangingPunct="0">
              <a:lnSpc>
                <a:spcPts val="1267"/>
              </a:lnSpc>
              <a:defRPr sz="1333" kern="0">
                <a:solidFill>
                  <a:srgbClr val="2D2D2D"/>
                </a:solidFill>
                <a:latin typeface="Quattrocento Sans" panose="020B0502050000020003" pitchFamily="34" charset="0"/>
                <a:ea typeface="DM Sans Regular"/>
                <a:cs typeface="Calibri"/>
              </a:defRPr>
            </a:lvl1pPr>
          </a:lstStyle>
          <a:p>
            <a:r>
              <a:rPr lang="en-GB" sz="2400" b="1" noProof="0"/>
              <a:t>Next Steps</a:t>
            </a:r>
          </a:p>
        </p:txBody>
      </p:sp>
      <p:graphicFrame>
        <p:nvGraphicFramePr>
          <p:cNvPr id="4" name="Tabla 3">
            <a:extLst>
              <a:ext uri="{FF2B5EF4-FFF2-40B4-BE49-F238E27FC236}">
                <a16:creationId xmlns:a16="http://schemas.microsoft.com/office/drawing/2014/main" id="{F9809889-8E29-5419-2FC5-424E52CDF15A}"/>
              </a:ext>
            </a:extLst>
          </p:cNvPr>
          <p:cNvGraphicFramePr>
            <a:graphicFrameLocks noGrp="1"/>
          </p:cNvGraphicFramePr>
          <p:nvPr>
            <p:extLst>
              <p:ext uri="{D42A27DB-BD31-4B8C-83A1-F6EECF244321}">
                <p14:modId xmlns:p14="http://schemas.microsoft.com/office/powerpoint/2010/main" val="1081111425"/>
              </p:ext>
            </p:extLst>
          </p:nvPr>
        </p:nvGraphicFramePr>
        <p:xfrm>
          <a:off x="444578" y="2339940"/>
          <a:ext cx="11302844" cy="3365043"/>
        </p:xfrm>
        <a:graphic>
          <a:graphicData uri="http://schemas.openxmlformats.org/drawingml/2006/table">
            <a:tbl>
              <a:tblPr firstRow="1" bandRow="1">
                <a:tableStyleId>{C083E6E3-FA7D-4D7B-A595-EF9225AFEA82}</a:tableStyleId>
              </a:tblPr>
              <a:tblGrid>
                <a:gridCol w="569789">
                  <a:extLst>
                    <a:ext uri="{9D8B030D-6E8A-4147-A177-3AD203B41FA5}">
                      <a16:colId xmlns:a16="http://schemas.microsoft.com/office/drawing/2014/main" val="2751870479"/>
                    </a:ext>
                  </a:extLst>
                </a:gridCol>
                <a:gridCol w="1781035">
                  <a:extLst>
                    <a:ext uri="{9D8B030D-6E8A-4147-A177-3AD203B41FA5}">
                      <a16:colId xmlns:a16="http://schemas.microsoft.com/office/drawing/2014/main" val="2994942042"/>
                    </a:ext>
                  </a:extLst>
                </a:gridCol>
                <a:gridCol w="5501993">
                  <a:extLst>
                    <a:ext uri="{9D8B030D-6E8A-4147-A177-3AD203B41FA5}">
                      <a16:colId xmlns:a16="http://schemas.microsoft.com/office/drawing/2014/main" val="1489924822"/>
                    </a:ext>
                  </a:extLst>
                </a:gridCol>
                <a:gridCol w="3450027">
                  <a:extLst>
                    <a:ext uri="{9D8B030D-6E8A-4147-A177-3AD203B41FA5}">
                      <a16:colId xmlns:a16="http://schemas.microsoft.com/office/drawing/2014/main" val="466607041"/>
                    </a:ext>
                  </a:extLst>
                </a:gridCol>
              </a:tblGrid>
              <a:tr h="356470">
                <a:tc>
                  <a:txBody>
                    <a:bodyPr/>
                    <a:lstStyle/>
                    <a:p>
                      <a:r>
                        <a:rPr lang="en-GB" sz="1600" noProof="0"/>
                        <a:t>No.</a:t>
                      </a:r>
                    </a:p>
                  </a:txBody>
                  <a:tcPr/>
                </a:tc>
                <a:tc>
                  <a:txBody>
                    <a:bodyPr/>
                    <a:lstStyle/>
                    <a:p>
                      <a:r>
                        <a:rPr lang="en-GB" sz="1600" noProof="0"/>
                        <a:t>Item</a:t>
                      </a:r>
                    </a:p>
                  </a:txBody>
                  <a:tcPr/>
                </a:tc>
                <a:tc>
                  <a:txBody>
                    <a:bodyPr/>
                    <a:lstStyle/>
                    <a:p>
                      <a:r>
                        <a:rPr lang="en-GB" sz="1600" noProof="0"/>
                        <a:t>Description</a:t>
                      </a:r>
                    </a:p>
                  </a:txBody>
                  <a:tcPr/>
                </a:tc>
                <a:tc>
                  <a:txBody>
                    <a:bodyPr/>
                    <a:lstStyle/>
                    <a:p>
                      <a:r>
                        <a:rPr lang="en-GB" sz="1600" noProof="0"/>
                        <a:t>Duration</a:t>
                      </a:r>
                    </a:p>
                  </a:txBody>
                  <a:tcPr/>
                </a:tc>
                <a:extLst>
                  <a:ext uri="{0D108BD9-81ED-4DB2-BD59-A6C34878D82A}">
                    <a16:rowId xmlns:a16="http://schemas.microsoft.com/office/drawing/2014/main" val="206944614"/>
                  </a:ext>
                </a:extLst>
              </a:tr>
              <a:tr h="874973">
                <a:tc>
                  <a:txBody>
                    <a:bodyPr/>
                    <a:lstStyle/>
                    <a:p>
                      <a:r>
                        <a:rPr lang="en-GB" sz="1600" noProof="0"/>
                        <a:t>1</a:t>
                      </a:r>
                    </a:p>
                  </a:txBody>
                  <a:tcPr anchor="ctr"/>
                </a:tc>
                <a:tc>
                  <a:txBody>
                    <a:bodyPr/>
                    <a:lstStyle/>
                    <a:p>
                      <a:r>
                        <a:rPr lang="en-GB" sz="1600" noProof="0"/>
                        <a:t>As-Is</a:t>
                      </a:r>
                    </a:p>
                  </a:txBody>
                  <a:tcPr anchor="ctr"/>
                </a:tc>
                <a:tc>
                  <a:txBody>
                    <a:bodyPr/>
                    <a:lstStyle/>
                    <a:p>
                      <a:r>
                        <a:rPr lang="en-GB" sz="1600" noProof="0">
                          <a:solidFill>
                            <a:srgbClr val="FF0000"/>
                          </a:solidFill>
                        </a:rPr>
                        <a:t>We will focus on reviewing a single dataflow with up to ten associated tables, ensuring alignment with architecture, naming conventions, and best practices.</a:t>
                      </a:r>
                    </a:p>
                  </a:txBody>
                  <a:tcPr anchor="ctr"/>
                </a:tc>
                <a:tc>
                  <a:txBody>
                    <a:bodyPr/>
                    <a:lstStyle/>
                    <a:p>
                      <a:r>
                        <a:rPr lang="en-GB" sz="1600" noProof="0"/>
                        <a:t>2 weeks</a:t>
                      </a:r>
                    </a:p>
                  </a:txBody>
                  <a:tcPr anchor="ctr"/>
                </a:tc>
                <a:extLst>
                  <a:ext uri="{0D108BD9-81ED-4DB2-BD59-A6C34878D82A}">
                    <a16:rowId xmlns:a16="http://schemas.microsoft.com/office/drawing/2014/main" val="1661288958"/>
                  </a:ext>
                </a:extLst>
              </a:tr>
              <a:tr h="356470">
                <a:tc>
                  <a:txBody>
                    <a:bodyPr/>
                    <a:lstStyle/>
                    <a:p>
                      <a:r>
                        <a:rPr lang="en-GB" sz="1600" noProof="0"/>
                        <a:t>2</a:t>
                      </a:r>
                    </a:p>
                  </a:txBody>
                  <a:tcPr anchor="ctr"/>
                </a:tc>
                <a:tc>
                  <a:txBody>
                    <a:bodyPr/>
                    <a:lstStyle/>
                    <a:p>
                      <a:r>
                        <a:rPr lang="en-GB" sz="1600" noProof="0"/>
                        <a:t>On-going</a:t>
                      </a:r>
                    </a:p>
                  </a:txBody>
                  <a:tcPr anchor="ctr"/>
                </a:tc>
                <a:tc>
                  <a:txBody>
                    <a:bodyPr/>
                    <a:lstStyle/>
                    <a:p>
                      <a:r>
                        <a:rPr lang="en-GB" sz="1600" noProof="0">
                          <a:solidFill>
                            <a:srgbClr val="FF0000"/>
                          </a:solidFill>
                        </a:rPr>
                        <a:t>Will involve two dedicated team members working alongside the project team until the end of the year, providing continuous reviews, recommendations, and support to ensure alignment with best practices and project standards.</a:t>
                      </a:r>
                    </a:p>
                  </a:txBody>
                  <a:tcPr anchor="ctr"/>
                </a:tc>
                <a:tc>
                  <a:txBody>
                    <a:bodyPr/>
                    <a:lstStyle/>
                    <a:p>
                      <a:r>
                        <a:rPr lang="en-GB" sz="1600" noProof="0"/>
                        <a:t>2 FTEs until 31</a:t>
                      </a:r>
                      <a:r>
                        <a:rPr lang="en-GB" sz="1600" baseline="30000" noProof="0"/>
                        <a:t>st</a:t>
                      </a:r>
                      <a:r>
                        <a:rPr lang="en-GB" sz="1600" noProof="0"/>
                        <a:t> December 2025</a:t>
                      </a:r>
                    </a:p>
                  </a:txBody>
                  <a:tcPr anchor="ctr"/>
                </a:tc>
                <a:extLst>
                  <a:ext uri="{0D108BD9-81ED-4DB2-BD59-A6C34878D82A}">
                    <a16:rowId xmlns:a16="http://schemas.microsoft.com/office/drawing/2014/main" val="2771796317"/>
                  </a:ext>
                </a:extLst>
              </a:tr>
              <a:tr h="356470">
                <a:tc>
                  <a:txBody>
                    <a:bodyPr/>
                    <a:lstStyle/>
                    <a:p>
                      <a:r>
                        <a:rPr lang="en-GB" sz="1600" noProof="0">
                          <a:highlight>
                            <a:srgbClr val="FFFF00"/>
                          </a:highlight>
                        </a:rPr>
                        <a:t>3</a:t>
                      </a:r>
                    </a:p>
                  </a:txBody>
                  <a:tcPr anchor="ctr"/>
                </a:tc>
                <a:tc>
                  <a:txBody>
                    <a:bodyPr/>
                    <a:lstStyle/>
                    <a:p>
                      <a:r>
                        <a:rPr lang="en-GB" sz="1600" noProof="0">
                          <a:highlight>
                            <a:srgbClr val="FFFF00"/>
                          </a:highlight>
                        </a:rPr>
                        <a:t>Architecture</a:t>
                      </a:r>
                    </a:p>
                  </a:txBody>
                  <a:tcPr anchor="ctr"/>
                </a:tc>
                <a:tc>
                  <a:txBody>
                    <a:bodyPr/>
                    <a:lstStyle/>
                    <a:p>
                      <a:r>
                        <a:rPr lang="en-GB" sz="1600" noProof="0">
                          <a:solidFill>
                            <a:srgbClr val="FF0000"/>
                          </a:solidFill>
                          <a:highlight>
                            <a:srgbClr val="FFFF00"/>
                          </a:highlight>
                        </a:rPr>
                        <a:t>We will conduct a high-level architecture review to assess whether using only SAP Datasphere or integrating Snowflake provides the best technical and business fit for the project’s future needs.</a:t>
                      </a:r>
                    </a:p>
                  </a:txBody>
                  <a:tcPr anchor="ctr"/>
                </a:tc>
                <a:tc>
                  <a:txBody>
                    <a:bodyPr/>
                    <a:lstStyle/>
                    <a:p>
                      <a:r>
                        <a:rPr lang="en-GB" sz="1600" noProof="0">
                          <a:highlight>
                            <a:srgbClr val="FFFF00"/>
                          </a:highlight>
                        </a:rPr>
                        <a:t>1 week</a:t>
                      </a:r>
                    </a:p>
                  </a:txBody>
                  <a:tcPr anchor="ctr"/>
                </a:tc>
                <a:extLst>
                  <a:ext uri="{0D108BD9-81ED-4DB2-BD59-A6C34878D82A}">
                    <a16:rowId xmlns:a16="http://schemas.microsoft.com/office/drawing/2014/main" val="179756981"/>
                  </a:ext>
                </a:extLst>
              </a:tr>
            </a:tbl>
          </a:graphicData>
        </a:graphic>
      </p:graphicFrame>
    </p:spTree>
    <p:extLst>
      <p:ext uri="{BB962C8B-B14F-4D97-AF65-F5344CB8AC3E}">
        <p14:creationId xmlns:p14="http://schemas.microsoft.com/office/powerpoint/2010/main" val="3284153360"/>
      </p:ext>
    </p:extLst>
  </p:cSld>
  <p:clrMapOvr>
    <a:masterClrMapping/>
  </p:clrMapOvr>
  <p:transition spd="med"/>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F9AC387-0982-0B25-A2FD-72727A5B996A}"/>
            </a:ext>
          </a:extLst>
        </p:cNvPr>
        <p:cNvGrpSpPr/>
        <p:nvPr/>
      </p:nvGrpSpPr>
      <p:grpSpPr>
        <a:xfrm>
          <a:off x="0" y="0"/>
          <a:ext cx="0" cy="0"/>
          <a:chOff x="0" y="0"/>
          <a:chExt cx="0" cy="0"/>
        </a:xfrm>
      </p:grpSpPr>
      <p:sp>
        <p:nvSpPr>
          <p:cNvPr id="2" name="Rectangle 57">
            <a:extLst>
              <a:ext uri="{FF2B5EF4-FFF2-40B4-BE49-F238E27FC236}">
                <a16:creationId xmlns:a16="http://schemas.microsoft.com/office/drawing/2014/main" id="{B8E58566-333E-46F9-FF00-CCE93E62FB2B}"/>
              </a:ext>
            </a:extLst>
          </p:cNvPr>
          <p:cNvSpPr>
            <a:spLocks noChangeArrowheads="1"/>
          </p:cNvSpPr>
          <p:nvPr/>
        </p:nvSpPr>
        <p:spPr bwMode="gray">
          <a:xfrm>
            <a:off x="226220" y="198916"/>
            <a:ext cx="7407741" cy="984830"/>
          </a:xfrm>
          <a:prstGeom prst="rect">
            <a:avLst/>
          </a:prstGeom>
          <a:noFill/>
          <a:ln w="9525">
            <a:noFill/>
            <a:miter lim="800000"/>
            <a:headEnd/>
            <a:tailEnd/>
          </a:ln>
          <a:effectLst/>
        </p:spPr>
        <p:txBody>
          <a:bodyPr wrap="square" lIns="91386" tIns="45693" rIns="91386" bIns="45693">
            <a:spAutoFit/>
          </a:bodyPr>
          <a:lstStyle/>
          <a:p>
            <a:pPr defTabSz="609630"/>
            <a:r>
              <a:rPr lang="en-GB" sz="4000" b="1" kern="0" noProof="0">
                <a:solidFill>
                  <a:srgbClr val="000000">
                    <a:lumMod val="95000"/>
                    <a:lumOff val="5000"/>
                  </a:srgbClr>
                </a:solidFill>
                <a:latin typeface="Quattrocento Sans" panose="020B0502050000020003" pitchFamily="34" charset="0"/>
                <a:ea typeface="Lato"/>
                <a:cs typeface="Lato"/>
                <a:sym typeface="Calibri"/>
              </a:rPr>
              <a:t>Advisory Process</a:t>
            </a:r>
          </a:p>
          <a:p>
            <a:pPr defTabSz="609630" hangingPunct="0"/>
            <a:r>
              <a:rPr lang="en-GB" kern="0" noProof="0">
                <a:solidFill>
                  <a:srgbClr val="91ACB9"/>
                </a:solidFill>
                <a:latin typeface="Quattrocento Sans" panose="020B0502050000020003" pitchFamily="34" charset="0"/>
                <a:cs typeface="Calibri"/>
                <a:sym typeface="Calibri"/>
              </a:rPr>
              <a:t>Best Practices Datasphere &amp; SAC</a:t>
            </a:r>
          </a:p>
        </p:txBody>
      </p:sp>
      <p:pic>
        <p:nvPicPr>
          <p:cNvPr id="11" name="Imagen 10" descr="Logotipo&#10;&#10;Descripción generada automáticamente">
            <a:extLst>
              <a:ext uri="{FF2B5EF4-FFF2-40B4-BE49-F238E27FC236}">
                <a16:creationId xmlns:a16="http://schemas.microsoft.com/office/drawing/2014/main" id="{C51497A3-F2A5-C31A-7CD0-2DEDFEAC03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75643" y="422965"/>
            <a:ext cx="1935381" cy="446626"/>
          </a:xfrm>
          <a:prstGeom prst="rect">
            <a:avLst/>
          </a:prstGeom>
        </p:spPr>
      </p:pic>
      <p:sp>
        <p:nvSpPr>
          <p:cNvPr id="38" name="CuadroTexto 37">
            <a:extLst>
              <a:ext uri="{FF2B5EF4-FFF2-40B4-BE49-F238E27FC236}">
                <a16:creationId xmlns:a16="http://schemas.microsoft.com/office/drawing/2014/main" id="{4547086C-F501-02B3-B275-BB06E09611AC}"/>
              </a:ext>
            </a:extLst>
          </p:cNvPr>
          <p:cNvSpPr txBox="1"/>
          <p:nvPr/>
        </p:nvSpPr>
        <p:spPr>
          <a:xfrm>
            <a:off x="310737" y="1415556"/>
            <a:ext cx="10946766" cy="211725"/>
          </a:xfrm>
          <a:prstGeom prst="rect">
            <a:avLst/>
          </a:prstGeom>
          <a:ln w="12700">
            <a:miter lim="400000"/>
          </a:ln>
        </p:spPr>
        <p:txBody>
          <a:bodyPr wrap="square" lIns="0" tIns="0" rIns="0" bIns="0" anchor="t">
            <a:spAutoFit/>
          </a:bodyPr>
          <a:lstStyle>
            <a:defPPr>
              <a:defRPr lang="es-ES"/>
            </a:defPPr>
            <a:lvl1pPr algn="just" defTabSz="609630" fontAlgn="base" hangingPunct="0">
              <a:lnSpc>
                <a:spcPts val="1267"/>
              </a:lnSpc>
              <a:defRPr sz="1333" kern="0">
                <a:solidFill>
                  <a:srgbClr val="2D2D2D"/>
                </a:solidFill>
                <a:latin typeface="Quattrocento Sans" panose="020B0502050000020003" pitchFamily="34" charset="0"/>
                <a:ea typeface="DM Sans Regular"/>
                <a:cs typeface="Calibri"/>
              </a:defRPr>
            </a:lvl1pPr>
          </a:lstStyle>
          <a:p>
            <a:r>
              <a:rPr lang="en-GB" sz="2400" b="1" noProof="0"/>
              <a:t>On-going Service: Next Steps</a:t>
            </a:r>
          </a:p>
        </p:txBody>
      </p:sp>
      <p:sp>
        <p:nvSpPr>
          <p:cNvPr id="3" name="Object13">
            <a:extLst>
              <a:ext uri="{FF2B5EF4-FFF2-40B4-BE49-F238E27FC236}">
                <a16:creationId xmlns:a16="http://schemas.microsoft.com/office/drawing/2014/main" id="{79DDA56F-ADF0-6257-98E5-29231F89CBFD}"/>
              </a:ext>
            </a:extLst>
          </p:cNvPr>
          <p:cNvSpPr txBox="1"/>
          <p:nvPr/>
        </p:nvSpPr>
        <p:spPr>
          <a:xfrm>
            <a:off x="310737" y="2086684"/>
            <a:ext cx="4311505" cy="67326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t">
            <a:spAutoFit/>
          </a:bodyPr>
          <a:lstStyle>
            <a:lvl1pPr>
              <a:lnSpc>
                <a:spcPts val="1900"/>
              </a:lnSpc>
              <a:defRPr sz="1300">
                <a:solidFill>
                  <a:srgbClr val="2D2D2D"/>
                </a:solidFill>
                <a:latin typeface="DM Sans Regular"/>
                <a:ea typeface="DM Sans Regular"/>
                <a:cs typeface="DM Sans Regular"/>
                <a:sym typeface="DM Sans Regular"/>
              </a:defRPr>
            </a:lvl1pPr>
          </a:lstStyle>
          <a:p>
            <a:pPr algn="just" defTabSz="609630" fontAlgn="base" hangingPunct="0">
              <a:lnSpc>
                <a:spcPts val="1267"/>
              </a:lnSpc>
            </a:pPr>
            <a:r>
              <a:rPr lang="en-GB" sz="1333" kern="0" noProof="0">
                <a:latin typeface="Quattrocento Sans" panose="020B0502050000020003" pitchFamily="34" charset="0"/>
                <a:cs typeface="Calibri"/>
              </a:rPr>
              <a:t>Esto es un </a:t>
            </a:r>
            <a:r>
              <a:rPr lang="en-GB" sz="1333" kern="0" noProof="0" err="1">
                <a:latin typeface="Quattrocento Sans" panose="020B0502050000020003" pitchFamily="34" charset="0"/>
                <a:cs typeface="Calibri"/>
              </a:rPr>
              <a:t>proceso</a:t>
            </a:r>
            <a:r>
              <a:rPr lang="en-GB" sz="1333" kern="0" noProof="0">
                <a:latin typeface="Quattrocento Sans" panose="020B0502050000020003" pitchFamily="34" charset="0"/>
                <a:cs typeface="Calibri"/>
              </a:rPr>
              <a:t> iterative</a:t>
            </a:r>
          </a:p>
          <a:p>
            <a:pPr algn="just" defTabSz="609630" fontAlgn="base" hangingPunct="0">
              <a:lnSpc>
                <a:spcPts val="1267"/>
              </a:lnSpc>
            </a:pPr>
            <a:r>
              <a:rPr lang="en-GB" sz="1333" kern="0" noProof="0" err="1">
                <a:latin typeface="Quattrocento Sans" panose="020B0502050000020003" pitchFamily="34" charset="0"/>
                <a:cs typeface="Calibri"/>
              </a:rPr>
              <a:t>Reviso</a:t>
            </a:r>
            <a:endParaRPr lang="en-GB" sz="1333" kern="0" noProof="0">
              <a:latin typeface="Quattrocento Sans" panose="020B0502050000020003" pitchFamily="34" charset="0"/>
              <a:cs typeface="Calibri"/>
            </a:endParaRPr>
          </a:p>
          <a:p>
            <a:pPr algn="just" defTabSz="609630" fontAlgn="base" hangingPunct="0">
              <a:lnSpc>
                <a:spcPts val="1267"/>
              </a:lnSpc>
            </a:pPr>
            <a:r>
              <a:rPr lang="en-GB" sz="1333" kern="0" noProof="0" err="1">
                <a:latin typeface="Quattrocento Sans" panose="020B0502050000020003" pitchFamily="34" charset="0"/>
                <a:cs typeface="Calibri"/>
              </a:rPr>
              <a:t>Recomendaciones</a:t>
            </a:r>
            <a:endParaRPr lang="en-GB" sz="1333" kern="0" noProof="0">
              <a:latin typeface="Quattrocento Sans" panose="020B0502050000020003" pitchFamily="34" charset="0"/>
              <a:cs typeface="Calibri"/>
            </a:endParaRPr>
          </a:p>
          <a:p>
            <a:pPr algn="just" defTabSz="609630" fontAlgn="base" hangingPunct="0">
              <a:lnSpc>
                <a:spcPts val="1267"/>
              </a:lnSpc>
            </a:pPr>
            <a:r>
              <a:rPr lang="en-GB" sz="1333" kern="0" noProof="0" err="1">
                <a:latin typeface="Quattrocento Sans" panose="020B0502050000020003" pitchFamily="34" charset="0"/>
                <a:cs typeface="Calibri"/>
              </a:rPr>
              <a:t>implementamos</a:t>
            </a:r>
            <a:endParaRPr lang="en-GB" sz="1333" kern="0" noProof="0">
              <a:latin typeface="Quattrocento Sans" panose="020B0502050000020003" pitchFamily="34" charset="0"/>
              <a:cs typeface="Calibri"/>
            </a:endParaRPr>
          </a:p>
        </p:txBody>
      </p:sp>
      <p:pic>
        <p:nvPicPr>
          <p:cNvPr id="5" name="Gráfico 4" descr="Baile con relleno sólido">
            <a:extLst>
              <a:ext uri="{FF2B5EF4-FFF2-40B4-BE49-F238E27FC236}">
                <a16:creationId xmlns:a16="http://schemas.microsoft.com/office/drawing/2014/main" id="{D466FA58-FB40-AAE8-DADF-E8A8F763C09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04900" y="2642040"/>
            <a:ext cx="2171700" cy="2171700"/>
          </a:xfrm>
          <a:prstGeom prst="rect">
            <a:avLst/>
          </a:prstGeom>
        </p:spPr>
      </p:pic>
    </p:spTree>
    <p:extLst>
      <p:ext uri="{BB962C8B-B14F-4D97-AF65-F5344CB8AC3E}">
        <p14:creationId xmlns:p14="http://schemas.microsoft.com/office/powerpoint/2010/main" val="638643397"/>
      </p:ext>
    </p:extLst>
  </p:cSld>
  <p:clrMapOvr>
    <a:masterClrMapping/>
  </p:clrMapOvr>
  <p:transition spd="med"/>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57">
            <a:extLst>
              <a:ext uri="{FF2B5EF4-FFF2-40B4-BE49-F238E27FC236}">
                <a16:creationId xmlns:a16="http://schemas.microsoft.com/office/drawing/2014/main" id="{AE515B05-C8D7-2797-D305-E96838CC73FE}"/>
              </a:ext>
            </a:extLst>
          </p:cNvPr>
          <p:cNvSpPr>
            <a:spLocks noChangeArrowheads="1"/>
          </p:cNvSpPr>
          <p:nvPr/>
        </p:nvSpPr>
        <p:spPr bwMode="gray">
          <a:xfrm>
            <a:off x="226220" y="198916"/>
            <a:ext cx="7407741" cy="984830"/>
          </a:xfrm>
          <a:prstGeom prst="rect">
            <a:avLst/>
          </a:prstGeom>
          <a:noFill/>
          <a:ln w="9525">
            <a:noFill/>
            <a:miter lim="800000"/>
            <a:headEnd/>
            <a:tailEnd/>
          </a:ln>
          <a:effectLst/>
        </p:spPr>
        <p:txBody>
          <a:bodyPr wrap="square" lIns="91386" tIns="45693" rIns="91386" bIns="45693">
            <a:spAutoFit/>
          </a:bodyPr>
          <a:lstStyle/>
          <a:p>
            <a:pPr defTabSz="609630"/>
            <a:r>
              <a:rPr lang="en-GB" sz="4000" b="1" kern="0" noProof="0">
                <a:solidFill>
                  <a:srgbClr val="000000">
                    <a:lumMod val="95000"/>
                    <a:lumOff val="5000"/>
                  </a:srgbClr>
                </a:solidFill>
                <a:latin typeface="Quattrocento Sans" panose="020B0502050000020003" pitchFamily="34" charset="0"/>
                <a:ea typeface="Lato"/>
                <a:cs typeface="Lato"/>
                <a:sym typeface="Calibri"/>
              </a:rPr>
              <a:t>Advisory Process</a:t>
            </a:r>
          </a:p>
          <a:p>
            <a:pPr defTabSz="609630" hangingPunct="0"/>
            <a:r>
              <a:rPr lang="en-GB" kern="0" noProof="0">
                <a:solidFill>
                  <a:srgbClr val="91ACB9"/>
                </a:solidFill>
                <a:latin typeface="Quattrocento Sans" panose="020B0502050000020003" pitchFamily="34" charset="0"/>
                <a:cs typeface="Calibri"/>
                <a:sym typeface="Calibri"/>
              </a:rPr>
              <a:t>Best Practices Datasphere &amp; SAC</a:t>
            </a:r>
          </a:p>
        </p:txBody>
      </p:sp>
      <p:pic>
        <p:nvPicPr>
          <p:cNvPr id="11" name="Imagen 10" descr="Logotipo&#10;&#10;Descripción generada automáticamente">
            <a:extLst>
              <a:ext uri="{FF2B5EF4-FFF2-40B4-BE49-F238E27FC236}">
                <a16:creationId xmlns:a16="http://schemas.microsoft.com/office/drawing/2014/main" id="{8A94E73C-9C22-C9D6-93A6-692B65FCC5C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75643" y="422965"/>
            <a:ext cx="1935381" cy="446626"/>
          </a:xfrm>
          <a:prstGeom prst="rect">
            <a:avLst/>
          </a:prstGeom>
        </p:spPr>
      </p:pic>
      <p:sp>
        <p:nvSpPr>
          <p:cNvPr id="5" name="CuadroTexto 4">
            <a:extLst>
              <a:ext uri="{FF2B5EF4-FFF2-40B4-BE49-F238E27FC236}">
                <a16:creationId xmlns:a16="http://schemas.microsoft.com/office/drawing/2014/main" id="{A54E2B48-1568-A057-2502-77748DD18598}"/>
              </a:ext>
            </a:extLst>
          </p:cNvPr>
          <p:cNvSpPr txBox="1"/>
          <p:nvPr/>
        </p:nvSpPr>
        <p:spPr>
          <a:xfrm>
            <a:off x="226220" y="2197268"/>
            <a:ext cx="7407741" cy="4154984"/>
          </a:xfrm>
          <a:prstGeom prst="rect">
            <a:avLst/>
          </a:prstGeom>
          <a:noFill/>
        </p:spPr>
        <p:txBody>
          <a:bodyPr wrap="square">
            <a:spAutoFit/>
          </a:bodyPr>
          <a:lstStyle/>
          <a:p>
            <a:pPr>
              <a:buNone/>
            </a:pPr>
            <a:r>
              <a:rPr lang="en-GB" sz="1100" b="1" noProof="0"/>
              <a:t>SAP Datasphere Advisory/Audit Project</a:t>
            </a:r>
            <a:br>
              <a:rPr lang="en-GB" sz="1100" noProof="0"/>
            </a:br>
            <a:r>
              <a:rPr lang="en-GB" sz="1100" b="1" noProof="0"/>
              <a:t>Objective:</a:t>
            </a:r>
            <a:r>
              <a:rPr lang="en-GB" sz="1100" noProof="0"/>
              <a:t> Review and validate developments, ensuring they comply with best practices, standards, and required documentation.</a:t>
            </a:r>
          </a:p>
          <a:p>
            <a:pPr>
              <a:buNone/>
            </a:pPr>
            <a:r>
              <a:rPr lang="en-GB" sz="1100" noProof="0"/>
              <a:t>🔎 </a:t>
            </a:r>
            <a:r>
              <a:rPr lang="en-GB" sz="1100" b="1" noProof="0"/>
              <a:t>Key areas of review:</a:t>
            </a:r>
            <a:endParaRPr lang="en-GB" sz="1100" noProof="0"/>
          </a:p>
          <a:p>
            <a:pPr>
              <a:buFont typeface="Arial" panose="020B0604020202020204" pitchFamily="34" charset="0"/>
              <a:buChar char="•"/>
            </a:pPr>
            <a:r>
              <a:rPr lang="en-GB" sz="1100" b="1" noProof="0"/>
              <a:t>Project Documentation</a:t>
            </a:r>
            <a:endParaRPr lang="en-GB" sz="1100" noProof="0"/>
          </a:p>
          <a:p>
            <a:pPr marL="742950" lvl="1" indent="-285750">
              <a:buFont typeface="Arial" panose="020B0604020202020204" pitchFamily="34" charset="0"/>
              <a:buChar char="•"/>
            </a:pPr>
            <a:r>
              <a:rPr lang="en-GB" sz="1100" noProof="0"/>
              <a:t>Validation of </a:t>
            </a:r>
            <a:r>
              <a:rPr lang="en-GB" sz="1100" i="1" noProof="0"/>
              <a:t>functional</a:t>
            </a:r>
            <a:r>
              <a:rPr lang="en-GB" sz="1100" noProof="0"/>
              <a:t> and </a:t>
            </a:r>
            <a:r>
              <a:rPr lang="en-GB" sz="1100" i="1" noProof="0"/>
              <a:t>technical designs</a:t>
            </a:r>
            <a:r>
              <a:rPr lang="en-GB" sz="1100" noProof="0"/>
              <a:t>.</a:t>
            </a:r>
          </a:p>
          <a:p>
            <a:pPr marL="742950" lvl="1" indent="-285750">
              <a:buFont typeface="Arial" panose="020B0604020202020204" pitchFamily="34" charset="0"/>
              <a:buChar char="•"/>
            </a:pPr>
            <a:r>
              <a:rPr lang="en-GB" sz="1100" noProof="0"/>
              <a:t>Review of documentation for reports, KPIs, and business requirements.</a:t>
            </a:r>
          </a:p>
          <a:p>
            <a:pPr marL="742950" lvl="1" indent="-285750">
              <a:buFont typeface="Arial" panose="020B0604020202020204" pitchFamily="34" charset="0"/>
              <a:buChar char="•"/>
            </a:pPr>
            <a:r>
              <a:rPr lang="en-GB" sz="1100" noProof="0"/>
              <a:t>Verification of test documents and reconciliation guides.</a:t>
            </a:r>
          </a:p>
          <a:p>
            <a:pPr marL="742950" lvl="1" indent="-285750">
              <a:buFont typeface="Arial" panose="020B0604020202020204" pitchFamily="34" charset="0"/>
              <a:buChar char="•"/>
            </a:pPr>
            <a:r>
              <a:rPr lang="en-GB" sz="1100" noProof="0"/>
              <a:t>Check inventory of created objects and GAPS.</a:t>
            </a:r>
          </a:p>
          <a:p>
            <a:pPr marL="742950" lvl="1" indent="-285750">
              <a:buFont typeface="Arial" panose="020B0604020202020204" pitchFamily="34" charset="0"/>
              <a:buChar char="•"/>
            </a:pPr>
            <a:r>
              <a:rPr lang="en-GB" sz="1100" noProof="0"/>
              <a:t>Analysis of lessons learned documentation.</a:t>
            </a:r>
          </a:p>
          <a:p>
            <a:pPr>
              <a:buFont typeface="Arial" panose="020B0604020202020204" pitchFamily="34" charset="0"/>
              <a:buChar char="•"/>
            </a:pPr>
            <a:r>
              <a:rPr lang="en-GB" sz="1100" b="1" noProof="0"/>
              <a:t>Developments in SAP Datasphere</a:t>
            </a:r>
            <a:endParaRPr lang="en-GB" sz="1100" noProof="0"/>
          </a:p>
          <a:p>
            <a:pPr marL="742950" lvl="1" indent="-285750">
              <a:buFont typeface="Arial" panose="020B0604020202020204" pitchFamily="34" charset="0"/>
              <a:buChar char="•"/>
            </a:pPr>
            <a:r>
              <a:rPr lang="en-GB" sz="1100" noProof="0"/>
              <a:t>Correct use of </a:t>
            </a:r>
            <a:r>
              <a:rPr lang="en-GB" sz="1100" i="1" noProof="0"/>
              <a:t>spaces</a:t>
            </a:r>
            <a:r>
              <a:rPr lang="en-GB" sz="1100" noProof="0"/>
              <a:t> and structures within Datasphere.</a:t>
            </a:r>
          </a:p>
          <a:p>
            <a:pPr marL="742950" lvl="1" indent="-285750">
              <a:buFont typeface="Arial" panose="020B0604020202020204" pitchFamily="34" charset="0"/>
              <a:buChar char="•"/>
            </a:pPr>
            <a:r>
              <a:rPr lang="en-GB" sz="1100" noProof="0"/>
              <a:t>Review of developed objects: queries, models, views, dataflows, etc.</a:t>
            </a:r>
          </a:p>
          <a:p>
            <a:pPr marL="742950" lvl="1" indent="-285750">
              <a:buFont typeface="Arial" panose="020B0604020202020204" pitchFamily="34" charset="0"/>
              <a:buChar char="•"/>
            </a:pPr>
            <a:r>
              <a:rPr lang="en-GB" sz="1100" noProof="0"/>
              <a:t>Validation of technical naming conventions following defined standards.</a:t>
            </a:r>
          </a:p>
          <a:p>
            <a:pPr marL="742950" lvl="1" indent="-285750">
              <a:buFont typeface="Arial" panose="020B0604020202020204" pitchFamily="34" charset="0"/>
              <a:buChar char="•"/>
            </a:pPr>
            <a:r>
              <a:rPr lang="en-GB" sz="1100" noProof="0"/>
              <a:t>Consistency checks between functional and technical documentation and actual developments.</a:t>
            </a:r>
          </a:p>
          <a:p>
            <a:pPr marL="742950" lvl="1" indent="-285750">
              <a:buFont typeface="Arial" panose="020B0604020202020204" pitchFamily="34" charset="0"/>
              <a:buChar char="•"/>
            </a:pPr>
            <a:r>
              <a:rPr lang="en-GB" sz="1100" noProof="0"/>
              <a:t>Validation of compliance with SAP Datasphere </a:t>
            </a:r>
            <a:r>
              <a:rPr lang="en-GB" sz="1100" i="1" noProof="0"/>
              <a:t>best practices</a:t>
            </a:r>
            <a:r>
              <a:rPr lang="en-GB" sz="1100" noProof="0"/>
              <a:t>.</a:t>
            </a:r>
          </a:p>
          <a:p>
            <a:pPr marL="742950" lvl="1" indent="-285750">
              <a:buFont typeface="Arial" panose="020B0604020202020204" pitchFamily="34" charset="0"/>
              <a:buChar char="•"/>
            </a:pPr>
            <a:r>
              <a:rPr lang="en-GB" sz="1100" noProof="0"/>
              <a:t>Proper use of roles, authorizations, and security settings.</a:t>
            </a:r>
          </a:p>
          <a:p>
            <a:pPr marL="742950" lvl="1" indent="-285750">
              <a:buFont typeface="Arial" panose="020B0604020202020204" pitchFamily="34" charset="0"/>
              <a:buChar char="•"/>
            </a:pPr>
            <a:r>
              <a:rPr lang="en-GB" sz="1100" noProof="0"/>
              <a:t>Quality control and consistency of developments.</a:t>
            </a:r>
          </a:p>
          <a:p>
            <a:pPr marL="742950" lvl="1" indent="-285750">
              <a:buFont typeface="Arial" panose="020B0604020202020204" pitchFamily="34" charset="0"/>
              <a:buChar char="•"/>
            </a:pPr>
            <a:r>
              <a:rPr lang="en-GB" sz="1100" noProof="0"/>
              <a:t>Review of versioning and change control procedures.</a:t>
            </a:r>
          </a:p>
          <a:p>
            <a:pPr>
              <a:buFont typeface="Arial" panose="020B0604020202020204" pitchFamily="34" charset="0"/>
              <a:buChar char="•"/>
            </a:pPr>
            <a:r>
              <a:rPr lang="en-GB" sz="1100" b="1" noProof="0"/>
              <a:t>Project management review</a:t>
            </a:r>
            <a:endParaRPr lang="en-GB" sz="1100" noProof="0"/>
          </a:p>
          <a:p>
            <a:pPr marL="742950" lvl="1" indent="-285750">
              <a:buFont typeface="Arial" panose="020B0604020202020204" pitchFamily="34" charset="0"/>
              <a:buChar char="•"/>
            </a:pPr>
            <a:r>
              <a:rPr lang="en-GB" sz="1100" noProof="0"/>
              <a:t>Participation in follow-up meetings (weekly and monthly).</a:t>
            </a:r>
          </a:p>
          <a:p>
            <a:pPr marL="742950" lvl="1" indent="-285750">
              <a:buFont typeface="Arial" panose="020B0604020202020204" pitchFamily="34" charset="0"/>
              <a:buChar char="•"/>
            </a:pPr>
            <a:r>
              <a:rPr lang="en-GB" sz="1100" noProof="0"/>
              <a:t>Identification of deviations and risks.</a:t>
            </a:r>
          </a:p>
          <a:p>
            <a:pPr marL="742950" lvl="1" indent="-285750">
              <a:buFont typeface="Arial" panose="020B0604020202020204" pitchFamily="34" charset="0"/>
              <a:buChar char="•"/>
            </a:pPr>
            <a:r>
              <a:rPr lang="en-GB" sz="1100" noProof="0"/>
              <a:t>Recommendations and action plans for improvements.</a:t>
            </a:r>
          </a:p>
          <a:p>
            <a:endParaRPr lang="en-GB" sz="1100" noProof="0"/>
          </a:p>
        </p:txBody>
      </p:sp>
      <p:sp>
        <p:nvSpPr>
          <p:cNvPr id="13" name="CuadroTexto 12">
            <a:extLst>
              <a:ext uri="{FF2B5EF4-FFF2-40B4-BE49-F238E27FC236}">
                <a16:creationId xmlns:a16="http://schemas.microsoft.com/office/drawing/2014/main" id="{44177CF6-EC71-D4B2-5631-1EDA7E69112C}"/>
              </a:ext>
            </a:extLst>
          </p:cNvPr>
          <p:cNvSpPr txBox="1"/>
          <p:nvPr/>
        </p:nvSpPr>
        <p:spPr>
          <a:xfrm>
            <a:off x="226220" y="1207207"/>
            <a:ext cx="8968154" cy="830997"/>
          </a:xfrm>
          <a:prstGeom prst="rect">
            <a:avLst/>
          </a:prstGeom>
          <a:noFill/>
        </p:spPr>
        <p:txBody>
          <a:bodyPr wrap="square">
            <a:spAutoFit/>
          </a:bodyPr>
          <a:lstStyle/>
          <a:p>
            <a:pPr>
              <a:buNone/>
            </a:pPr>
            <a:r>
              <a:rPr lang="en-GB" sz="1200" b="1" noProof="0"/>
              <a:t>Review of current and past developments</a:t>
            </a:r>
            <a:endParaRPr lang="en-GB" sz="1200" noProof="0"/>
          </a:p>
          <a:p>
            <a:pPr>
              <a:buFont typeface="Arial" panose="020B0604020202020204" pitchFamily="34" charset="0"/>
              <a:buChar char="•"/>
            </a:pPr>
            <a:r>
              <a:rPr lang="en-GB" sz="1200" noProof="0"/>
              <a:t>The advisory will cover </a:t>
            </a:r>
            <a:r>
              <a:rPr lang="en-GB" sz="1200" i="1" noProof="0"/>
              <a:t>both already completed developments and those in progress</a:t>
            </a:r>
            <a:r>
              <a:rPr lang="en-GB" sz="1200" noProof="0"/>
              <a:t>.</a:t>
            </a:r>
          </a:p>
          <a:p>
            <a:pPr>
              <a:buFont typeface="Arial" panose="020B0604020202020204" pitchFamily="34" charset="0"/>
              <a:buChar char="•"/>
            </a:pPr>
            <a:r>
              <a:rPr lang="en-GB" sz="1200" noProof="0"/>
              <a:t>Identification of potential improvements and risks in current and ongoing developments.</a:t>
            </a:r>
          </a:p>
          <a:p>
            <a:pPr>
              <a:buFont typeface="Arial" panose="020B0604020202020204" pitchFamily="34" charset="0"/>
              <a:buChar char="•"/>
            </a:pPr>
            <a:r>
              <a:rPr lang="en-GB" sz="1200" noProof="0"/>
              <a:t>Actionable recommendations to align all developments with the project’s quality and best practices.</a:t>
            </a:r>
          </a:p>
        </p:txBody>
      </p:sp>
      <p:graphicFrame>
        <p:nvGraphicFramePr>
          <p:cNvPr id="45" name="Diagrama 44">
            <a:extLst>
              <a:ext uri="{FF2B5EF4-FFF2-40B4-BE49-F238E27FC236}">
                <a16:creationId xmlns:a16="http://schemas.microsoft.com/office/drawing/2014/main" id="{9FAEAF7D-607D-8F96-CBB8-15B429AE5BCF}"/>
              </a:ext>
            </a:extLst>
          </p:cNvPr>
          <p:cNvGraphicFramePr/>
          <p:nvPr>
            <p:extLst>
              <p:ext uri="{D42A27DB-BD31-4B8C-83A1-F6EECF244321}">
                <p14:modId xmlns:p14="http://schemas.microsoft.com/office/powerpoint/2010/main" val="3181942734"/>
              </p:ext>
            </p:extLst>
          </p:nvPr>
        </p:nvGraphicFramePr>
        <p:xfrm>
          <a:off x="6809194" y="1558793"/>
          <a:ext cx="5382806" cy="459289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785411241"/>
      </p:ext>
    </p:extLst>
  </p:cSld>
  <p:clrMapOvr>
    <a:masterClrMapping/>
  </p:clrMapOvr>
  <p:transition spd="med"/>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122AF18-C671-6EFF-4804-32E0FBF669F9}"/>
              </a:ext>
            </a:extLst>
          </p:cNvPr>
          <p:cNvSpPr>
            <a:spLocks noGrp="1"/>
          </p:cNvSpPr>
          <p:nvPr>
            <p:ph type="title"/>
          </p:nvPr>
        </p:nvSpPr>
        <p:spPr/>
        <p:txBody>
          <a:bodyPr/>
          <a:lstStyle/>
          <a:p>
            <a:r>
              <a:rPr lang="en-GB" noProof="0"/>
              <a:t>1. Advisory / Quality Control</a:t>
            </a:r>
          </a:p>
        </p:txBody>
      </p:sp>
      <p:sp>
        <p:nvSpPr>
          <p:cNvPr id="3" name="CuadroTexto 2">
            <a:extLst>
              <a:ext uri="{FF2B5EF4-FFF2-40B4-BE49-F238E27FC236}">
                <a16:creationId xmlns:a16="http://schemas.microsoft.com/office/drawing/2014/main" id="{DBFCDF2B-37EC-F56D-0EB5-712961E92803}"/>
              </a:ext>
            </a:extLst>
          </p:cNvPr>
          <p:cNvSpPr txBox="1"/>
          <p:nvPr/>
        </p:nvSpPr>
        <p:spPr>
          <a:xfrm>
            <a:off x="996444" y="1211603"/>
            <a:ext cx="3405163" cy="2862322"/>
          </a:xfrm>
          <a:prstGeom prst="rect">
            <a:avLst/>
          </a:prstGeom>
          <a:noFill/>
        </p:spPr>
        <p:txBody>
          <a:bodyPr wrap="none" rtlCol="0">
            <a:spAutoFit/>
          </a:bodyPr>
          <a:lstStyle/>
          <a:p>
            <a:r>
              <a:rPr lang="en-GB" noProof="0" err="1"/>
              <a:t>definir</a:t>
            </a:r>
            <a:r>
              <a:rPr lang="en-GB" noProof="0"/>
              <a:t> </a:t>
            </a:r>
            <a:r>
              <a:rPr lang="en-GB" noProof="0" err="1"/>
              <a:t>el</a:t>
            </a:r>
            <a:r>
              <a:rPr lang="en-GB" noProof="0"/>
              <a:t> </a:t>
            </a:r>
            <a:r>
              <a:rPr lang="en-GB" noProof="0" err="1"/>
              <a:t>servicio</a:t>
            </a:r>
            <a:r>
              <a:rPr lang="en-GB" noProof="0"/>
              <a:t> de la 1</a:t>
            </a:r>
          </a:p>
          <a:p>
            <a:pPr marL="285750" indent="-285750">
              <a:buFont typeface="Arial" panose="020B0604020202020204" pitchFamily="34" charset="0"/>
              <a:buChar char="•"/>
            </a:pPr>
            <a:r>
              <a:rPr lang="en-GB" noProof="0" err="1"/>
              <a:t>Cómo</a:t>
            </a:r>
            <a:r>
              <a:rPr lang="en-GB" noProof="0"/>
              <a:t> es </a:t>
            </a:r>
            <a:r>
              <a:rPr lang="en-GB" noProof="0" err="1"/>
              <a:t>el</a:t>
            </a:r>
            <a:r>
              <a:rPr lang="en-GB" noProof="0"/>
              <a:t> </a:t>
            </a:r>
            <a:r>
              <a:rPr lang="en-GB" noProof="0" err="1"/>
              <a:t>servicio</a:t>
            </a:r>
            <a:endParaRPr lang="en-GB" noProof="0"/>
          </a:p>
          <a:p>
            <a:pPr marL="285750" indent="-285750">
              <a:buFont typeface="Arial" panose="020B0604020202020204" pitchFamily="34" charset="0"/>
              <a:buChar char="•"/>
            </a:pPr>
            <a:r>
              <a:rPr lang="en-GB" noProof="0" err="1"/>
              <a:t>Beneficio</a:t>
            </a:r>
            <a:r>
              <a:rPr lang="en-GB" noProof="0"/>
              <a:t> que </a:t>
            </a:r>
            <a:r>
              <a:rPr lang="en-GB" noProof="0" err="1"/>
              <a:t>tiene</a:t>
            </a:r>
            <a:endParaRPr lang="en-GB" noProof="0"/>
          </a:p>
          <a:p>
            <a:pPr marL="285750" indent="-285750">
              <a:buFont typeface="Arial" panose="020B0604020202020204" pitchFamily="34" charset="0"/>
              <a:buChar char="•"/>
            </a:pPr>
            <a:r>
              <a:rPr lang="en-GB" noProof="0"/>
              <a:t>Rol</a:t>
            </a:r>
          </a:p>
          <a:p>
            <a:pPr marL="285750" indent="-285750">
              <a:buFont typeface="Arial" panose="020B0604020202020204" pitchFamily="34" charset="0"/>
              <a:buChar char="•"/>
            </a:pPr>
            <a:r>
              <a:rPr lang="en-GB" noProof="0" err="1"/>
              <a:t>Proceso</a:t>
            </a:r>
            <a:endParaRPr lang="en-GB" noProof="0"/>
          </a:p>
          <a:p>
            <a:pPr marL="285750" indent="-285750">
              <a:buFont typeface="Arial" panose="020B0604020202020204" pitchFamily="34" charset="0"/>
              <a:buChar char="•"/>
            </a:pPr>
            <a:r>
              <a:rPr lang="en-GB" noProof="0" err="1"/>
              <a:t>Cuáles</a:t>
            </a:r>
            <a:r>
              <a:rPr lang="en-GB" noProof="0"/>
              <a:t> son las </a:t>
            </a:r>
            <a:r>
              <a:rPr lang="en-GB" noProof="0" err="1"/>
              <a:t>buenas</a:t>
            </a:r>
            <a:r>
              <a:rPr lang="en-GB" noProof="0"/>
              <a:t> practices</a:t>
            </a:r>
          </a:p>
          <a:p>
            <a:pPr marL="285750" indent="-285750">
              <a:buFont typeface="Arial" panose="020B0604020202020204" pitchFamily="34" charset="0"/>
              <a:buChar char="•"/>
            </a:pPr>
            <a:r>
              <a:rPr lang="en-GB" noProof="0" err="1"/>
              <a:t>Diseños</a:t>
            </a:r>
            <a:r>
              <a:rPr lang="en-GB" noProof="0"/>
              <a:t> </a:t>
            </a:r>
            <a:r>
              <a:rPr lang="en-GB" noProof="0" err="1"/>
              <a:t>funcionale</a:t>
            </a:r>
            <a:r>
              <a:rPr lang="en-GB" noProof="0"/>
              <a:t> </a:t>
            </a:r>
            <a:r>
              <a:rPr lang="en-GB" noProof="0" err="1"/>
              <a:t>sy</a:t>
            </a:r>
            <a:r>
              <a:rPr lang="en-GB" noProof="0"/>
              <a:t> </a:t>
            </a:r>
            <a:r>
              <a:rPr lang="en-GB" noProof="0" err="1"/>
              <a:t>técnicos</a:t>
            </a:r>
            <a:endParaRPr lang="en-GB" noProof="0"/>
          </a:p>
          <a:p>
            <a:pPr marL="285750" indent="-285750">
              <a:buFont typeface="Arial" panose="020B0604020202020204" pitchFamily="34" charset="0"/>
              <a:buChar char="•"/>
            </a:pPr>
            <a:endParaRPr lang="en-GB" noProof="0"/>
          </a:p>
          <a:p>
            <a:r>
              <a:rPr lang="en-GB" noProof="0"/>
              <a:t>Con </a:t>
            </a:r>
            <a:r>
              <a:rPr lang="en-GB" noProof="0" err="1"/>
              <a:t>este</a:t>
            </a:r>
            <a:r>
              <a:rPr lang="en-GB" noProof="0"/>
              <a:t> </a:t>
            </a:r>
            <a:r>
              <a:rPr lang="en-GB" noProof="0" err="1"/>
              <a:t>servicio</a:t>
            </a:r>
            <a:r>
              <a:rPr lang="en-GB" noProof="0"/>
              <a:t>: </a:t>
            </a:r>
            <a:br>
              <a:rPr lang="en-GB" noProof="0"/>
            </a:br>
            <a:r>
              <a:rPr lang="en-GB" noProof="0"/>
              <a:t>Las 3 </a:t>
            </a:r>
            <a:r>
              <a:rPr lang="en-GB" noProof="0" err="1"/>
              <a:t>cosas</a:t>
            </a:r>
            <a:r>
              <a:rPr lang="en-GB" noProof="0"/>
              <a:t> de la </a:t>
            </a:r>
            <a:r>
              <a:rPr lang="en-GB" noProof="0" err="1"/>
              <a:t>otra</a:t>
            </a:r>
            <a:r>
              <a:rPr lang="en-GB" noProof="0"/>
              <a:t> </a:t>
            </a:r>
            <a:r>
              <a:rPr lang="en-GB" noProof="0" err="1"/>
              <a:t>diapositiva</a:t>
            </a:r>
            <a:endParaRPr lang="en-GB" noProof="0"/>
          </a:p>
        </p:txBody>
      </p:sp>
      <p:sp>
        <p:nvSpPr>
          <p:cNvPr id="6" name="CuadroTexto 5">
            <a:extLst>
              <a:ext uri="{FF2B5EF4-FFF2-40B4-BE49-F238E27FC236}">
                <a16:creationId xmlns:a16="http://schemas.microsoft.com/office/drawing/2014/main" id="{85C13B76-E6F0-B9F0-0856-6C19B9C6DEC3}"/>
              </a:ext>
            </a:extLst>
          </p:cNvPr>
          <p:cNvSpPr txBox="1"/>
          <p:nvPr/>
        </p:nvSpPr>
        <p:spPr>
          <a:xfrm>
            <a:off x="6919274" y="401930"/>
            <a:ext cx="2116798" cy="646331"/>
          </a:xfrm>
          <a:prstGeom prst="rect">
            <a:avLst/>
          </a:prstGeom>
          <a:noFill/>
        </p:spPr>
        <p:txBody>
          <a:bodyPr wrap="none" rtlCol="0">
            <a:spAutoFit/>
          </a:bodyPr>
          <a:lstStyle/>
          <a:p>
            <a:r>
              <a:rPr lang="en-GB" sz="3600" noProof="0">
                <a:solidFill>
                  <a:srgbClr val="FF0000"/>
                </a:solidFill>
              </a:rPr>
              <a:t>BEA y Toni</a:t>
            </a:r>
          </a:p>
        </p:txBody>
      </p:sp>
    </p:spTree>
    <p:extLst>
      <p:ext uri="{BB962C8B-B14F-4D97-AF65-F5344CB8AC3E}">
        <p14:creationId xmlns:p14="http://schemas.microsoft.com/office/powerpoint/2010/main" val="201644147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FA2E12A3-0868-8DDE-93E5-DE01028D8196}"/>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294F8D93-C5F2-C074-FE1B-EB03B4C9F48E}"/>
              </a:ext>
            </a:extLst>
          </p:cNvPr>
          <p:cNvSpPr>
            <a:spLocks noGrp="1"/>
          </p:cNvSpPr>
          <p:nvPr>
            <p:ph type="title"/>
          </p:nvPr>
        </p:nvSpPr>
        <p:spPr/>
        <p:txBody>
          <a:bodyPr/>
          <a:lstStyle/>
          <a:p>
            <a:r>
              <a:rPr lang="en-GB" noProof="0"/>
              <a:t>1. Advisory / Quality Control</a:t>
            </a:r>
          </a:p>
        </p:txBody>
      </p:sp>
      <p:sp>
        <p:nvSpPr>
          <p:cNvPr id="3" name="CuadroTexto 2">
            <a:extLst>
              <a:ext uri="{FF2B5EF4-FFF2-40B4-BE49-F238E27FC236}">
                <a16:creationId xmlns:a16="http://schemas.microsoft.com/office/drawing/2014/main" id="{C96FC779-7C22-4EA0-B38F-F5533222A6F4}"/>
              </a:ext>
            </a:extLst>
          </p:cNvPr>
          <p:cNvSpPr txBox="1"/>
          <p:nvPr/>
        </p:nvSpPr>
        <p:spPr>
          <a:xfrm>
            <a:off x="996444" y="1211603"/>
            <a:ext cx="2328843" cy="1200329"/>
          </a:xfrm>
          <a:prstGeom prst="rect">
            <a:avLst/>
          </a:prstGeom>
          <a:noFill/>
        </p:spPr>
        <p:txBody>
          <a:bodyPr wrap="none" rtlCol="0">
            <a:spAutoFit/>
          </a:bodyPr>
          <a:lstStyle/>
          <a:p>
            <a:r>
              <a:rPr lang="en-GB" noProof="0"/>
              <a:t>Para la 1</a:t>
            </a:r>
          </a:p>
          <a:p>
            <a:pPr marL="285750" indent="-285750">
              <a:buFont typeface="Arial" panose="020B0604020202020204" pitchFamily="34" charset="0"/>
              <a:buChar char="•"/>
            </a:pPr>
            <a:r>
              <a:rPr lang="en-GB" noProof="0"/>
              <a:t>Fotos</a:t>
            </a:r>
          </a:p>
          <a:p>
            <a:pPr marL="285750" indent="-285750">
              <a:buFont typeface="Arial" panose="020B0604020202020204" pitchFamily="34" charset="0"/>
              <a:buChar char="•"/>
            </a:pPr>
            <a:r>
              <a:rPr lang="en-GB" noProof="0"/>
              <a:t>Plantillas</a:t>
            </a:r>
          </a:p>
          <a:p>
            <a:pPr marL="285750" indent="-285750">
              <a:buFont typeface="Arial" panose="020B0604020202020204" pitchFamily="34" charset="0"/>
              <a:buChar char="•"/>
            </a:pPr>
            <a:r>
              <a:rPr lang="en-GB" noProof="0"/>
              <a:t>Lo que se </a:t>
            </a:r>
            <a:r>
              <a:rPr lang="en-GB" noProof="0" err="1"/>
              <a:t>vea</a:t>
            </a:r>
            <a:r>
              <a:rPr lang="en-GB" noProof="0"/>
              <a:t> visual</a:t>
            </a:r>
          </a:p>
        </p:txBody>
      </p:sp>
      <p:sp>
        <p:nvSpPr>
          <p:cNvPr id="4" name="CuadroTexto 3">
            <a:extLst>
              <a:ext uri="{FF2B5EF4-FFF2-40B4-BE49-F238E27FC236}">
                <a16:creationId xmlns:a16="http://schemas.microsoft.com/office/drawing/2014/main" id="{609076D8-8F97-04DC-01AC-762F28D9E0FF}"/>
              </a:ext>
            </a:extLst>
          </p:cNvPr>
          <p:cNvSpPr txBox="1"/>
          <p:nvPr/>
        </p:nvSpPr>
        <p:spPr>
          <a:xfrm>
            <a:off x="5909380" y="1211603"/>
            <a:ext cx="2062616" cy="646331"/>
          </a:xfrm>
          <a:prstGeom prst="rect">
            <a:avLst/>
          </a:prstGeom>
          <a:noFill/>
        </p:spPr>
        <p:txBody>
          <a:bodyPr wrap="none" rtlCol="0">
            <a:spAutoFit/>
          </a:bodyPr>
          <a:lstStyle/>
          <a:p>
            <a:r>
              <a:rPr lang="en-GB" noProof="0"/>
              <a:t>Para la 2</a:t>
            </a:r>
          </a:p>
          <a:p>
            <a:pPr marL="285750" indent="-285750">
              <a:buFont typeface="Arial" panose="020B0604020202020204" pitchFamily="34" charset="0"/>
              <a:buChar char="•"/>
            </a:pPr>
            <a:r>
              <a:rPr lang="en-GB" noProof="0"/>
              <a:t>Una </a:t>
            </a:r>
            <a:r>
              <a:rPr lang="en-GB" noProof="0" err="1"/>
              <a:t>arquitectura</a:t>
            </a:r>
            <a:endParaRPr lang="en-GB" noProof="0"/>
          </a:p>
        </p:txBody>
      </p:sp>
      <p:sp>
        <p:nvSpPr>
          <p:cNvPr id="5" name="CuadroTexto 4">
            <a:extLst>
              <a:ext uri="{FF2B5EF4-FFF2-40B4-BE49-F238E27FC236}">
                <a16:creationId xmlns:a16="http://schemas.microsoft.com/office/drawing/2014/main" id="{EAFC4FB0-41EC-CC3C-558B-73D0325BC722}"/>
              </a:ext>
            </a:extLst>
          </p:cNvPr>
          <p:cNvSpPr txBox="1"/>
          <p:nvPr/>
        </p:nvSpPr>
        <p:spPr>
          <a:xfrm>
            <a:off x="6919274" y="401930"/>
            <a:ext cx="2116798" cy="646331"/>
          </a:xfrm>
          <a:prstGeom prst="rect">
            <a:avLst/>
          </a:prstGeom>
          <a:noFill/>
        </p:spPr>
        <p:txBody>
          <a:bodyPr wrap="none" rtlCol="0">
            <a:spAutoFit/>
          </a:bodyPr>
          <a:lstStyle/>
          <a:p>
            <a:r>
              <a:rPr lang="en-GB" sz="3600" noProof="0">
                <a:solidFill>
                  <a:srgbClr val="FF0000"/>
                </a:solidFill>
              </a:rPr>
              <a:t>BEA y Toni</a:t>
            </a:r>
          </a:p>
        </p:txBody>
      </p:sp>
    </p:spTree>
    <p:extLst>
      <p:ext uri="{BB962C8B-B14F-4D97-AF65-F5344CB8AC3E}">
        <p14:creationId xmlns:p14="http://schemas.microsoft.com/office/powerpoint/2010/main" val="28477741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05EC550D-45FA-A37B-C632-E5913F1D2B93}"/>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DF9ACFC1-D6AD-C34A-1377-00BEAE362DAC}"/>
              </a:ext>
            </a:extLst>
          </p:cNvPr>
          <p:cNvSpPr>
            <a:spLocks noGrp="1"/>
          </p:cNvSpPr>
          <p:nvPr>
            <p:ph type="title"/>
          </p:nvPr>
        </p:nvSpPr>
        <p:spPr/>
        <p:txBody>
          <a:bodyPr/>
          <a:lstStyle/>
          <a:p>
            <a:r>
              <a:rPr lang="en-GB" noProof="0"/>
              <a:t>1. Advisory / Quality Control</a:t>
            </a:r>
          </a:p>
        </p:txBody>
      </p:sp>
      <p:sp>
        <p:nvSpPr>
          <p:cNvPr id="3" name="CuadroTexto 2">
            <a:extLst>
              <a:ext uri="{FF2B5EF4-FFF2-40B4-BE49-F238E27FC236}">
                <a16:creationId xmlns:a16="http://schemas.microsoft.com/office/drawing/2014/main" id="{E367DE35-5776-C7BE-B36A-661F3B466930}"/>
              </a:ext>
            </a:extLst>
          </p:cNvPr>
          <p:cNvSpPr txBox="1"/>
          <p:nvPr/>
        </p:nvSpPr>
        <p:spPr>
          <a:xfrm>
            <a:off x="1326382" y="994787"/>
            <a:ext cx="1816203" cy="923330"/>
          </a:xfrm>
          <a:prstGeom prst="rect">
            <a:avLst/>
          </a:prstGeom>
          <a:noFill/>
        </p:spPr>
        <p:txBody>
          <a:bodyPr wrap="none" rtlCol="0">
            <a:spAutoFit/>
          </a:bodyPr>
          <a:lstStyle/>
          <a:p>
            <a:pPr marL="285750" indent="-285750">
              <a:buFont typeface="Arial" panose="020B0604020202020204" pitchFamily="34" charset="0"/>
              <a:buChar char="•"/>
            </a:pPr>
            <a:r>
              <a:rPr lang="en-GB" noProof="0"/>
              <a:t>Nomenclature</a:t>
            </a:r>
          </a:p>
          <a:p>
            <a:pPr marL="285750" indent="-285750">
              <a:buFont typeface="Arial" panose="020B0604020202020204" pitchFamily="34" charset="0"/>
              <a:buChar char="•"/>
            </a:pPr>
            <a:r>
              <a:rPr lang="en-GB" noProof="0"/>
              <a:t>Layers</a:t>
            </a:r>
          </a:p>
          <a:p>
            <a:pPr marL="285750" indent="-285750">
              <a:buFont typeface="Arial" panose="020B0604020202020204" pitchFamily="34" charset="0"/>
              <a:buChar char="•"/>
            </a:pPr>
            <a:r>
              <a:rPr lang="en-GB" noProof="0"/>
              <a:t>Spaces</a:t>
            </a:r>
          </a:p>
        </p:txBody>
      </p:sp>
      <p:graphicFrame>
        <p:nvGraphicFramePr>
          <p:cNvPr id="4" name="Tabla 3">
            <a:extLst>
              <a:ext uri="{FF2B5EF4-FFF2-40B4-BE49-F238E27FC236}">
                <a16:creationId xmlns:a16="http://schemas.microsoft.com/office/drawing/2014/main" id="{F15FF668-6EF8-4438-A738-563207A1CF2D}"/>
              </a:ext>
            </a:extLst>
          </p:cNvPr>
          <p:cNvGraphicFramePr>
            <a:graphicFrameLocks noGrp="1"/>
          </p:cNvGraphicFramePr>
          <p:nvPr>
            <p:extLst>
              <p:ext uri="{D42A27DB-BD31-4B8C-83A1-F6EECF244321}">
                <p14:modId xmlns:p14="http://schemas.microsoft.com/office/powerpoint/2010/main" val="3822394935"/>
              </p:ext>
            </p:extLst>
          </p:nvPr>
        </p:nvGraphicFramePr>
        <p:xfrm>
          <a:off x="248191" y="2571373"/>
          <a:ext cx="11522075" cy="3657600"/>
        </p:xfrm>
        <a:graphic>
          <a:graphicData uri="http://schemas.openxmlformats.org/drawingml/2006/table">
            <a:tbl>
              <a:tblPr/>
              <a:tblGrid>
                <a:gridCol w="468246">
                  <a:extLst>
                    <a:ext uri="{9D8B030D-6E8A-4147-A177-3AD203B41FA5}">
                      <a16:colId xmlns:a16="http://schemas.microsoft.com/office/drawing/2014/main" val="3460496604"/>
                    </a:ext>
                  </a:extLst>
                </a:gridCol>
                <a:gridCol w="2337848">
                  <a:extLst>
                    <a:ext uri="{9D8B030D-6E8A-4147-A177-3AD203B41FA5}">
                      <a16:colId xmlns:a16="http://schemas.microsoft.com/office/drawing/2014/main" val="516821481"/>
                    </a:ext>
                  </a:extLst>
                </a:gridCol>
                <a:gridCol w="2884602">
                  <a:extLst>
                    <a:ext uri="{9D8B030D-6E8A-4147-A177-3AD203B41FA5}">
                      <a16:colId xmlns:a16="http://schemas.microsoft.com/office/drawing/2014/main" val="541000764"/>
                    </a:ext>
                  </a:extLst>
                </a:gridCol>
                <a:gridCol w="3091991">
                  <a:extLst>
                    <a:ext uri="{9D8B030D-6E8A-4147-A177-3AD203B41FA5}">
                      <a16:colId xmlns:a16="http://schemas.microsoft.com/office/drawing/2014/main" val="2285136217"/>
                    </a:ext>
                  </a:extLst>
                </a:gridCol>
                <a:gridCol w="2739388">
                  <a:extLst>
                    <a:ext uri="{9D8B030D-6E8A-4147-A177-3AD203B41FA5}">
                      <a16:colId xmlns:a16="http://schemas.microsoft.com/office/drawing/2014/main" val="4014003264"/>
                    </a:ext>
                  </a:extLst>
                </a:gridCol>
              </a:tblGrid>
              <a:tr h="0">
                <a:tc>
                  <a:txBody>
                    <a:bodyPr/>
                    <a:lstStyle/>
                    <a:p>
                      <a:r>
                        <a:rPr lang="en-GB" noProof="0"/>
                        <a:t>#</a:t>
                      </a:r>
                    </a:p>
                  </a:txBody>
                  <a:tcPr anchor="ctr">
                    <a:lnL>
                      <a:noFill/>
                    </a:lnL>
                    <a:lnR>
                      <a:noFill/>
                    </a:lnR>
                    <a:lnT>
                      <a:noFill/>
                    </a:lnT>
                    <a:lnB>
                      <a:noFill/>
                    </a:lnB>
                    <a:noFill/>
                  </a:tcPr>
                </a:tc>
                <a:tc>
                  <a:txBody>
                    <a:bodyPr/>
                    <a:lstStyle/>
                    <a:p>
                      <a:r>
                        <a:rPr lang="en-GB" noProof="0"/>
                        <a:t>Pitch module</a:t>
                      </a:r>
                    </a:p>
                  </a:txBody>
                  <a:tcPr anchor="ctr">
                    <a:lnL>
                      <a:noFill/>
                    </a:lnL>
                    <a:lnR>
                      <a:noFill/>
                    </a:lnR>
                    <a:lnT>
                      <a:noFill/>
                    </a:lnT>
                    <a:lnB>
                      <a:noFill/>
                    </a:lnB>
                    <a:noFill/>
                  </a:tcPr>
                </a:tc>
                <a:tc>
                  <a:txBody>
                    <a:bodyPr/>
                    <a:lstStyle/>
                    <a:p>
                      <a:r>
                        <a:rPr lang="en-GB" noProof="0"/>
                        <a:t>What you offer</a:t>
                      </a:r>
                    </a:p>
                  </a:txBody>
                  <a:tcPr anchor="ctr">
                    <a:lnL>
                      <a:noFill/>
                    </a:lnL>
                    <a:lnR>
                      <a:noFill/>
                    </a:lnR>
                    <a:lnT>
                      <a:noFill/>
                    </a:lnT>
                    <a:lnB>
                      <a:noFill/>
                    </a:lnB>
                    <a:noFill/>
                  </a:tcPr>
                </a:tc>
                <a:tc>
                  <a:txBody>
                    <a:bodyPr/>
                    <a:lstStyle/>
                    <a:p>
                      <a:r>
                        <a:rPr lang="en-GB" noProof="0"/>
                        <a:t>Why Simon cares</a:t>
                      </a:r>
                    </a:p>
                  </a:txBody>
                  <a:tcPr anchor="ctr">
                    <a:lnL>
                      <a:noFill/>
                    </a:lnL>
                    <a:lnR>
                      <a:noFill/>
                    </a:lnR>
                    <a:lnT>
                      <a:noFill/>
                    </a:lnT>
                    <a:lnB>
                      <a:noFill/>
                    </a:lnB>
                    <a:noFill/>
                  </a:tcPr>
                </a:tc>
                <a:tc>
                  <a:txBody>
                    <a:bodyPr/>
                    <a:lstStyle/>
                    <a:p>
                      <a:r>
                        <a:rPr lang="en-GB" noProof="0"/>
                        <a:t>Quick proof / activity</a:t>
                      </a:r>
                    </a:p>
                  </a:txBody>
                  <a:tcPr anchor="ctr">
                    <a:lnL>
                      <a:noFill/>
                    </a:lnL>
                    <a:lnR>
                      <a:noFill/>
                    </a:lnR>
                    <a:lnT>
                      <a:noFill/>
                    </a:lnT>
                    <a:lnB>
                      <a:noFill/>
                    </a:lnB>
                    <a:noFill/>
                  </a:tcPr>
                </a:tc>
                <a:extLst>
                  <a:ext uri="{0D108BD9-81ED-4DB2-BD59-A6C34878D82A}">
                    <a16:rowId xmlns:a16="http://schemas.microsoft.com/office/drawing/2014/main" val="1301758650"/>
                  </a:ext>
                </a:extLst>
              </a:tr>
              <a:tr h="0">
                <a:tc>
                  <a:txBody>
                    <a:bodyPr/>
                    <a:lstStyle/>
                    <a:p>
                      <a:r>
                        <a:rPr lang="en-GB" b="1" noProof="0"/>
                        <a:t>1</a:t>
                      </a:r>
                      <a:endParaRPr lang="en-GB" noProof="0"/>
                    </a:p>
                  </a:txBody>
                  <a:tcPr anchor="ctr">
                    <a:lnL>
                      <a:noFill/>
                    </a:lnL>
                    <a:lnR>
                      <a:noFill/>
                    </a:lnR>
                    <a:lnT>
                      <a:noFill/>
                    </a:lnT>
                    <a:lnB>
                      <a:noFill/>
                    </a:lnB>
                    <a:noFill/>
                  </a:tcPr>
                </a:tc>
                <a:tc>
                  <a:txBody>
                    <a:bodyPr/>
                    <a:lstStyle/>
                    <a:p>
                      <a:r>
                        <a:rPr lang="en-GB" b="1" noProof="0"/>
                        <a:t>Datasphere Quality Sprint (4-6 weeks)</a:t>
                      </a:r>
                      <a:endParaRPr lang="en-GB" noProof="0"/>
                    </a:p>
                  </a:txBody>
                  <a:tcPr anchor="ctr">
                    <a:lnL>
                      <a:noFill/>
                    </a:lnL>
                    <a:lnR>
                      <a:noFill/>
                    </a:lnR>
                    <a:lnT>
                      <a:noFill/>
                    </a:lnT>
                    <a:lnB>
                      <a:noFill/>
                    </a:lnB>
                    <a:noFill/>
                  </a:tcPr>
                </a:tc>
                <a:tc>
                  <a:txBody>
                    <a:bodyPr/>
                    <a:lstStyle/>
                    <a:p>
                      <a:r>
                        <a:rPr lang="en-GB" noProof="0"/>
                        <a:t>Deep-dive review of spaces, layers, naming, canonical mapping, performance.</a:t>
                      </a:r>
                    </a:p>
                  </a:txBody>
                  <a:tcPr anchor="ctr">
                    <a:lnL>
                      <a:noFill/>
                    </a:lnL>
                    <a:lnR>
                      <a:noFill/>
                    </a:lnR>
                    <a:lnT>
                      <a:noFill/>
                    </a:lnT>
                    <a:lnB>
                      <a:noFill/>
                    </a:lnB>
                    <a:noFill/>
                  </a:tcPr>
                </a:tc>
                <a:tc>
                  <a:txBody>
                    <a:bodyPr/>
                    <a:lstStyle/>
                    <a:p>
                      <a:r>
                        <a:rPr lang="en-GB" noProof="0"/>
                        <a:t>Gives him hard evidence to challenge Accenture and a remediation backlog he can fund.</a:t>
                      </a:r>
                    </a:p>
                  </a:txBody>
                  <a:tcPr anchor="ctr">
                    <a:lnL>
                      <a:noFill/>
                    </a:lnL>
                    <a:lnR>
                      <a:noFill/>
                    </a:lnR>
                    <a:lnT>
                      <a:noFill/>
                    </a:lnT>
                    <a:lnB>
                      <a:noFill/>
                    </a:lnB>
                    <a:noFill/>
                  </a:tcPr>
                </a:tc>
                <a:tc>
                  <a:txBody>
                    <a:bodyPr/>
                    <a:lstStyle/>
                    <a:p>
                      <a:r>
                        <a:rPr lang="en-GB" noProof="0"/>
                        <a:t>• Annotated model diagram</a:t>
                      </a:r>
                      <a:br>
                        <a:rPr lang="en-GB" noProof="0"/>
                      </a:br>
                      <a:r>
                        <a:rPr lang="en-GB" noProof="0"/>
                        <a:t>• Top-20 quick-wins with effort/impact</a:t>
                      </a:r>
                    </a:p>
                  </a:txBody>
                  <a:tcPr anchor="ctr">
                    <a:lnL>
                      <a:noFill/>
                    </a:lnL>
                    <a:lnR>
                      <a:noFill/>
                    </a:lnR>
                    <a:lnT>
                      <a:noFill/>
                    </a:lnT>
                    <a:lnB>
                      <a:noFill/>
                    </a:lnB>
                    <a:noFill/>
                  </a:tcPr>
                </a:tc>
                <a:extLst>
                  <a:ext uri="{0D108BD9-81ED-4DB2-BD59-A6C34878D82A}">
                    <a16:rowId xmlns:a16="http://schemas.microsoft.com/office/drawing/2014/main" val="1115396110"/>
                  </a:ext>
                </a:extLst>
              </a:tr>
              <a:tr h="0">
                <a:tc>
                  <a:txBody>
                    <a:bodyPr/>
                    <a:lstStyle/>
                    <a:p>
                      <a:r>
                        <a:rPr lang="en-GB" b="1" noProof="0"/>
                        <a:t>2</a:t>
                      </a:r>
                      <a:endParaRPr lang="en-GB" noProof="0"/>
                    </a:p>
                  </a:txBody>
                  <a:tcPr anchor="ctr">
                    <a:lnL>
                      <a:noFill/>
                    </a:lnL>
                    <a:lnR>
                      <a:noFill/>
                    </a:lnR>
                    <a:lnT>
                      <a:noFill/>
                    </a:lnT>
                    <a:lnB>
                      <a:noFill/>
                    </a:lnB>
                    <a:noFill/>
                  </a:tcPr>
                </a:tc>
                <a:tc>
                  <a:txBody>
                    <a:bodyPr/>
                    <a:lstStyle/>
                    <a:p>
                      <a:r>
                        <a:rPr lang="en-GB" b="1" noProof="0"/>
                        <a:t>Architecture &amp; Integration Options Workshop</a:t>
                      </a:r>
                      <a:endParaRPr lang="en-GB" noProof="0"/>
                    </a:p>
                  </a:txBody>
                  <a:tcPr anchor="ctr">
                    <a:lnL>
                      <a:noFill/>
                    </a:lnL>
                    <a:lnR>
                      <a:noFill/>
                    </a:lnR>
                    <a:lnT>
                      <a:noFill/>
                    </a:lnT>
                    <a:lnB>
                      <a:noFill/>
                    </a:lnB>
                    <a:noFill/>
                  </a:tcPr>
                </a:tc>
                <a:tc>
                  <a:txBody>
                    <a:bodyPr/>
                    <a:lstStyle/>
                    <a:p>
                      <a:r>
                        <a:rPr lang="en-GB" noProof="0"/>
                        <a:t>Side-by-side evaluation of 3 patterns (all-Datasphere, all-Snowflake, hybrid).</a:t>
                      </a:r>
                    </a:p>
                  </a:txBody>
                  <a:tcPr anchor="ctr">
                    <a:lnL>
                      <a:noFill/>
                    </a:lnL>
                    <a:lnR>
                      <a:noFill/>
                    </a:lnR>
                    <a:lnT>
                      <a:noFill/>
                    </a:lnT>
                    <a:lnB>
                      <a:noFill/>
                    </a:lnB>
                    <a:noFill/>
                  </a:tcPr>
                </a:tc>
                <a:tc>
                  <a:txBody>
                    <a:bodyPr/>
                    <a:lstStyle/>
                    <a:p>
                      <a:r>
                        <a:rPr lang="en-GB" noProof="0"/>
                        <a:t>He must “bet now” on facts &amp; dims without locking himself in.</a:t>
                      </a:r>
                    </a:p>
                  </a:txBody>
                  <a:tcPr anchor="ctr">
                    <a:lnL>
                      <a:noFill/>
                    </a:lnL>
                    <a:lnR>
                      <a:noFill/>
                    </a:lnR>
                    <a:lnT>
                      <a:noFill/>
                    </a:lnT>
                    <a:lnB>
                      <a:noFill/>
                    </a:lnB>
                    <a:noFill/>
                  </a:tcPr>
                </a:tc>
                <a:tc>
                  <a:txBody>
                    <a:bodyPr/>
                    <a:lstStyle/>
                    <a:p>
                      <a:r>
                        <a:rPr lang="en-GB" noProof="0"/>
                        <a:t>• Decision matrix (cost, latency, semantics)</a:t>
                      </a:r>
                      <a:br>
                        <a:rPr lang="en-GB" noProof="0"/>
                      </a:br>
                      <a:r>
                        <a:rPr lang="en-GB" noProof="0"/>
                        <a:t>• 6-month “no-regrets” roadmap</a:t>
                      </a:r>
                    </a:p>
                  </a:txBody>
                  <a:tcPr anchor="ctr">
                    <a:lnL>
                      <a:noFill/>
                    </a:lnL>
                    <a:lnR>
                      <a:noFill/>
                    </a:lnR>
                    <a:lnT>
                      <a:noFill/>
                    </a:lnT>
                    <a:lnB>
                      <a:noFill/>
                    </a:lnB>
                    <a:noFill/>
                  </a:tcPr>
                </a:tc>
                <a:extLst>
                  <a:ext uri="{0D108BD9-81ED-4DB2-BD59-A6C34878D82A}">
                    <a16:rowId xmlns:a16="http://schemas.microsoft.com/office/drawing/2014/main" val="985366321"/>
                  </a:ext>
                </a:extLst>
              </a:tr>
              <a:tr h="0">
                <a:tc>
                  <a:txBody>
                    <a:bodyPr/>
                    <a:lstStyle/>
                    <a:p>
                      <a:r>
                        <a:rPr lang="en-GB" noProof="0"/>
                        <a:t>3</a:t>
                      </a:r>
                    </a:p>
                  </a:txBody>
                  <a:tcPr anchor="ctr">
                    <a:lnL>
                      <a:noFill/>
                    </a:lnL>
                    <a:lnR>
                      <a:noFill/>
                    </a:lnR>
                    <a:lnT>
                      <a:noFill/>
                    </a:lnT>
                    <a:lnB>
                      <a:noFill/>
                    </a:lnB>
                    <a:noFill/>
                  </a:tcPr>
                </a:tc>
                <a:tc>
                  <a:txBody>
                    <a:bodyPr/>
                    <a:lstStyle/>
                    <a:p>
                      <a:r>
                        <a:rPr lang="en-GB" noProof="0" err="1"/>
                        <a:t>Acompañamiento</a:t>
                      </a:r>
                      <a:r>
                        <a:rPr lang="en-GB" noProof="0"/>
                        <a:t> “</a:t>
                      </a:r>
                      <a:r>
                        <a:rPr lang="en-GB" noProof="0" err="1"/>
                        <a:t>constante</a:t>
                      </a:r>
                      <a:r>
                        <a:rPr lang="en-GB" noProof="0"/>
                        <a:t>”</a:t>
                      </a:r>
                    </a:p>
                  </a:txBody>
                  <a:tcPr anchor="ctr">
                    <a:lnL>
                      <a:noFill/>
                    </a:lnL>
                    <a:lnR>
                      <a:noFill/>
                    </a:lnR>
                    <a:lnT>
                      <a:noFill/>
                    </a:lnT>
                    <a:lnB>
                      <a:noFill/>
                    </a:lnB>
                    <a:noFill/>
                  </a:tcPr>
                </a:tc>
                <a:tc>
                  <a:txBody>
                    <a:bodyPr/>
                    <a:lstStyle/>
                    <a:p>
                      <a:r>
                        <a:rPr lang="en-GB" noProof="0"/>
                        <a:t>Una persona que </a:t>
                      </a:r>
                      <a:r>
                        <a:rPr lang="en-GB" noProof="0" err="1"/>
                        <a:t>vaya</a:t>
                      </a:r>
                      <a:r>
                        <a:rPr lang="en-GB" noProof="0"/>
                        <a:t> </a:t>
                      </a:r>
                      <a:r>
                        <a:rPr lang="en-GB" noProof="0" err="1"/>
                        <a:t>revisando</a:t>
                      </a:r>
                      <a:r>
                        <a:rPr lang="en-GB" noProof="0"/>
                        <a:t> </a:t>
                      </a:r>
                      <a:r>
                        <a:rPr lang="en-GB" noProof="0" err="1"/>
                        <a:t>todo</a:t>
                      </a:r>
                      <a:r>
                        <a:rPr lang="en-GB" noProof="0"/>
                        <a:t> lo que </a:t>
                      </a:r>
                      <a:r>
                        <a:rPr lang="en-GB" noProof="0" err="1"/>
                        <a:t>produzca</a:t>
                      </a:r>
                      <a:r>
                        <a:rPr lang="en-GB" noProof="0"/>
                        <a:t> Accenture</a:t>
                      </a:r>
                    </a:p>
                  </a:txBody>
                  <a:tcPr anchor="ctr">
                    <a:lnL>
                      <a:noFill/>
                    </a:lnL>
                    <a:lnR>
                      <a:noFill/>
                    </a:lnR>
                    <a:lnT>
                      <a:noFill/>
                    </a:lnT>
                    <a:lnB>
                      <a:noFill/>
                    </a:lnB>
                    <a:noFill/>
                  </a:tcPr>
                </a:tc>
                <a:tc>
                  <a:txBody>
                    <a:bodyPr/>
                    <a:lstStyle/>
                    <a:p>
                      <a:r>
                        <a:rPr lang="en-GB" noProof="0"/>
                        <a:t>Que lo que le </a:t>
                      </a:r>
                      <a:r>
                        <a:rPr lang="en-GB" noProof="0" err="1"/>
                        <a:t>entregue</a:t>
                      </a:r>
                      <a:r>
                        <a:rPr lang="en-GB" noProof="0"/>
                        <a:t> Accenture </a:t>
                      </a:r>
                      <a:r>
                        <a:rPr lang="en-GB" noProof="0" err="1"/>
                        <a:t>está</a:t>
                      </a:r>
                      <a:r>
                        <a:rPr lang="en-GB" noProof="0"/>
                        <a:t> bien</a:t>
                      </a:r>
                    </a:p>
                  </a:txBody>
                  <a:tcPr anchor="ctr">
                    <a:lnL>
                      <a:noFill/>
                    </a:lnL>
                    <a:lnR>
                      <a:noFill/>
                    </a:lnR>
                    <a:lnT>
                      <a:noFill/>
                    </a:lnT>
                    <a:lnB>
                      <a:noFill/>
                    </a:lnB>
                    <a:noFill/>
                  </a:tcPr>
                </a:tc>
                <a:tc>
                  <a:txBody>
                    <a:bodyPr/>
                    <a:lstStyle/>
                    <a:p>
                      <a:r>
                        <a:rPr lang="en-GB" noProof="0" err="1"/>
                        <a:t>Acompañamiento</a:t>
                      </a:r>
                      <a:endParaRPr lang="en-GB" noProof="0"/>
                    </a:p>
                  </a:txBody>
                  <a:tcPr anchor="ctr">
                    <a:lnL>
                      <a:noFill/>
                    </a:lnL>
                    <a:lnR>
                      <a:noFill/>
                    </a:lnR>
                    <a:lnT>
                      <a:noFill/>
                    </a:lnT>
                    <a:lnB>
                      <a:noFill/>
                    </a:lnB>
                    <a:noFill/>
                  </a:tcPr>
                </a:tc>
                <a:extLst>
                  <a:ext uri="{0D108BD9-81ED-4DB2-BD59-A6C34878D82A}">
                    <a16:rowId xmlns:a16="http://schemas.microsoft.com/office/drawing/2014/main" val="882094619"/>
                  </a:ext>
                </a:extLst>
              </a:tr>
            </a:tbl>
          </a:graphicData>
        </a:graphic>
      </p:graphicFrame>
      <p:sp>
        <p:nvSpPr>
          <p:cNvPr id="5" name="CuadroTexto 4">
            <a:extLst>
              <a:ext uri="{FF2B5EF4-FFF2-40B4-BE49-F238E27FC236}">
                <a16:creationId xmlns:a16="http://schemas.microsoft.com/office/drawing/2014/main" id="{2878F332-0A5A-8C96-1761-682C1076CEA0}"/>
              </a:ext>
            </a:extLst>
          </p:cNvPr>
          <p:cNvSpPr txBox="1"/>
          <p:nvPr/>
        </p:nvSpPr>
        <p:spPr>
          <a:xfrm>
            <a:off x="6919274" y="401930"/>
            <a:ext cx="2116798" cy="646331"/>
          </a:xfrm>
          <a:prstGeom prst="rect">
            <a:avLst/>
          </a:prstGeom>
          <a:noFill/>
        </p:spPr>
        <p:txBody>
          <a:bodyPr wrap="none" rtlCol="0">
            <a:spAutoFit/>
          </a:bodyPr>
          <a:lstStyle/>
          <a:p>
            <a:r>
              <a:rPr lang="en-GB" sz="3600" noProof="0">
                <a:solidFill>
                  <a:srgbClr val="FF0000"/>
                </a:solidFill>
              </a:rPr>
              <a:t>BEA y Toni</a:t>
            </a:r>
          </a:p>
        </p:txBody>
      </p:sp>
    </p:spTree>
    <p:extLst>
      <p:ext uri="{BB962C8B-B14F-4D97-AF65-F5344CB8AC3E}">
        <p14:creationId xmlns:p14="http://schemas.microsoft.com/office/powerpoint/2010/main" val="162678003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8BBF4713-B6C7-17BC-894F-836EA6E0EE62}"/>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81DE66B1-A2C1-C5BF-D5F0-A8AB9678378A}"/>
              </a:ext>
            </a:extLst>
          </p:cNvPr>
          <p:cNvSpPr>
            <a:spLocks noGrp="1"/>
          </p:cNvSpPr>
          <p:nvPr>
            <p:ph type="title"/>
          </p:nvPr>
        </p:nvSpPr>
        <p:spPr/>
        <p:txBody>
          <a:bodyPr/>
          <a:lstStyle/>
          <a:p>
            <a:r>
              <a:rPr lang="en-GB" noProof="0"/>
              <a:t>2. Data Governance</a:t>
            </a:r>
          </a:p>
        </p:txBody>
      </p:sp>
      <p:sp>
        <p:nvSpPr>
          <p:cNvPr id="3" name="CuadroTexto 2">
            <a:extLst>
              <a:ext uri="{FF2B5EF4-FFF2-40B4-BE49-F238E27FC236}">
                <a16:creationId xmlns:a16="http://schemas.microsoft.com/office/drawing/2014/main" id="{EF53C6E7-7B1C-7E32-B3B3-5A98292F9CD7}"/>
              </a:ext>
            </a:extLst>
          </p:cNvPr>
          <p:cNvSpPr txBox="1"/>
          <p:nvPr/>
        </p:nvSpPr>
        <p:spPr>
          <a:xfrm>
            <a:off x="1297807" y="975737"/>
            <a:ext cx="4150495" cy="1477328"/>
          </a:xfrm>
          <a:prstGeom prst="rect">
            <a:avLst/>
          </a:prstGeom>
          <a:noFill/>
        </p:spPr>
        <p:txBody>
          <a:bodyPr wrap="none" rtlCol="0">
            <a:spAutoFit/>
          </a:bodyPr>
          <a:lstStyle/>
          <a:p>
            <a:pPr marL="285750" indent="-285750">
              <a:buFont typeface="Arial" panose="020B0604020202020204" pitchFamily="34" charset="0"/>
              <a:buChar char="•"/>
            </a:pPr>
            <a:r>
              <a:rPr lang="en-GB" noProof="0" err="1"/>
              <a:t>Cómo</a:t>
            </a:r>
            <a:r>
              <a:rPr lang="en-GB" noProof="0"/>
              <a:t> </a:t>
            </a:r>
            <a:r>
              <a:rPr lang="en-GB" noProof="0" err="1"/>
              <a:t>entendemos</a:t>
            </a:r>
            <a:r>
              <a:rPr lang="en-GB" noProof="0"/>
              <a:t> </a:t>
            </a:r>
            <a:r>
              <a:rPr lang="en-GB" noProof="0" err="1"/>
              <a:t>el</a:t>
            </a:r>
            <a:r>
              <a:rPr lang="en-GB" noProof="0"/>
              <a:t> data governance,</a:t>
            </a:r>
          </a:p>
          <a:p>
            <a:pPr marL="285750" indent="-285750">
              <a:buFont typeface="Arial" panose="020B0604020202020204" pitchFamily="34" charset="0"/>
              <a:buChar char="•"/>
            </a:pPr>
            <a:r>
              <a:rPr lang="en-GB" noProof="0" err="1"/>
              <a:t>Te</a:t>
            </a:r>
            <a:r>
              <a:rPr lang="en-GB" noProof="0"/>
              <a:t> </a:t>
            </a:r>
            <a:r>
              <a:rPr lang="en-GB" noProof="0" err="1"/>
              <a:t>preocupan</a:t>
            </a:r>
            <a:r>
              <a:rPr lang="en-GB" noProof="0"/>
              <a:t>:</a:t>
            </a:r>
          </a:p>
          <a:p>
            <a:pPr marL="742950" lvl="1" indent="-285750">
              <a:buFont typeface="Arial" panose="020B0604020202020204" pitchFamily="34" charset="0"/>
              <a:buChar char="•"/>
            </a:pPr>
            <a:r>
              <a:rPr lang="en-GB" noProof="0" err="1"/>
              <a:t>linaje</a:t>
            </a:r>
            <a:endParaRPr lang="en-GB" noProof="0"/>
          </a:p>
          <a:p>
            <a:pPr marL="742950" lvl="1" indent="-285750">
              <a:buFont typeface="Arial" panose="020B0604020202020204" pitchFamily="34" charset="0"/>
              <a:buChar char="•"/>
            </a:pPr>
            <a:r>
              <a:rPr lang="en-GB" noProof="0"/>
              <a:t>Calidad</a:t>
            </a:r>
          </a:p>
          <a:p>
            <a:pPr marL="742950" lvl="1" indent="-285750">
              <a:buFont typeface="Arial" panose="020B0604020202020204" pitchFamily="34" charset="0"/>
              <a:buChar char="•"/>
            </a:pPr>
            <a:r>
              <a:rPr lang="en-GB" noProof="0" err="1"/>
              <a:t>seguridad</a:t>
            </a:r>
            <a:endParaRPr lang="en-GB" noProof="0"/>
          </a:p>
        </p:txBody>
      </p:sp>
      <p:sp>
        <p:nvSpPr>
          <p:cNvPr id="5" name="CuadroTexto 4">
            <a:extLst>
              <a:ext uri="{FF2B5EF4-FFF2-40B4-BE49-F238E27FC236}">
                <a16:creationId xmlns:a16="http://schemas.microsoft.com/office/drawing/2014/main" id="{AD43B8E5-7D79-10AA-68EB-9D56EEC48F38}"/>
              </a:ext>
            </a:extLst>
          </p:cNvPr>
          <p:cNvSpPr txBox="1"/>
          <p:nvPr/>
        </p:nvSpPr>
        <p:spPr>
          <a:xfrm>
            <a:off x="6919274" y="401930"/>
            <a:ext cx="1037463" cy="646331"/>
          </a:xfrm>
          <a:prstGeom prst="rect">
            <a:avLst/>
          </a:prstGeom>
          <a:noFill/>
        </p:spPr>
        <p:txBody>
          <a:bodyPr wrap="none" rtlCol="0">
            <a:spAutoFit/>
          </a:bodyPr>
          <a:lstStyle/>
          <a:p>
            <a:r>
              <a:rPr lang="en-GB" sz="3600" noProof="0">
                <a:solidFill>
                  <a:srgbClr val="FF0000"/>
                </a:solidFill>
              </a:rPr>
              <a:t>Juan</a:t>
            </a:r>
          </a:p>
        </p:txBody>
      </p:sp>
    </p:spTree>
    <p:extLst>
      <p:ext uri="{BB962C8B-B14F-4D97-AF65-F5344CB8AC3E}">
        <p14:creationId xmlns:p14="http://schemas.microsoft.com/office/powerpoint/2010/main" val="147124266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B26C78B-E184-31CD-417E-18DD3B01A8EA}"/>
            </a:ext>
          </a:extLst>
        </p:cNvPr>
        <p:cNvGrpSpPr/>
        <p:nvPr/>
      </p:nvGrpSpPr>
      <p:grpSpPr>
        <a:xfrm>
          <a:off x="0" y="0"/>
          <a:ext cx="0" cy="0"/>
          <a:chOff x="0" y="0"/>
          <a:chExt cx="0" cy="0"/>
        </a:xfrm>
      </p:grpSpPr>
      <p:sp>
        <p:nvSpPr>
          <p:cNvPr id="5" name="Object8">
            <a:extLst>
              <a:ext uri="{FF2B5EF4-FFF2-40B4-BE49-F238E27FC236}">
                <a16:creationId xmlns:a16="http://schemas.microsoft.com/office/drawing/2014/main" id="{72231230-FEA8-A7DD-E009-0AB80957FB11}"/>
              </a:ext>
            </a:extLst>
          </p:cNvPr>
          <p:cNvSpPr txBox="1"/>
          <p:nvPr/>
        </p:nvSpPr>
        <p:spPr>
          <a:xfrm>
            <a:off x="7619146" y="313112"/>
            <a:ext cx="234951" cy="28212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ts val="2400"/>
              </a:lnSpc>
              <a:defRPr sz="2100">
                <a:solidFill>
                  <a:srgbClr val="91ACB9"/>
                </a:solidFill>
                <a:latin typeface="DM Sans Regular"/>
                <a:ea typeface="DM Sans Regular"/>
                <a:cs typeface="DM Sans Regular"/>
                <a:sym typeface="DM Sans Regular"/>
              </a:defRPr>
            </a:lvl1pPr>
          </a:lstStyle>
          <a:p>
            <a:pPr defTabSz="914446">
              <a:buClr>
                <a:srgbClr val="000000"/>
              </a:buClr>
              <a:defRPr/>
            </a:pPr>
            <a:endParaRPr lang="en-GB" sz="1400" kern="0" noProof="0">
              <a:solidFill>
                <a:srgbClr val="000000">
                  <a:lumMod val="95000"/>
                  <a:lumOff val="5000"/>
                </a:srgbClr>
              </a:solidFill>
            </a:endParaRPr>
          </a:p>
        </p:txBody>
      </p:sp>
      <p:sp>
        <p:nvSpPr>
          <p:cNvPr id="6" name="Rectangle 57">
            <a:extLst>
              <a:ext uri="{FF2B5EF4-FFF2-40B4-BE49-F238E27FC236}">
                <a16:creationId xmlns:a16="http://schemas.microsoft.com/office/drawing/2014/main" id="{28C1B8B7-4C39-D0C1-3675-61C9B9D5E39C}"/>
              </a:ext>
            </a:extLst>
          </p:cNvPr>
          <p:cNvSpPr>
            <a:spLocks noChangeArrowheads="1"/>
          </p:cNvSpPr>
          <p:nvPr/>
        </p:nvSpPr>
        <p:spPr bwMode="gray">
          <a:xfrm>
            <a:off x="476687" y="774578"/>
            <a:ext cx="3484919" cy="1041193"/>
          </a:xfrm>
          <a:prstGeom prst="rect">
            <a:avLst/>
          </a:prstGeom>
          <a:noFill/>
          <a:ln w="9525">
            <a:noFill/>
            <a:miter lim="800000"/>
            <a:headEnd/>
            <a:tailEnd/>
          </a:ln>
          <a:effectLst/>
        </p:spPr>
        <p:txBody>
          <a:bodyPr wrap="square" lIns="91386" tIns="45693" rIns="91386" bIns="45693">
            <a:spAutoFit/>
          </a:bodyPr>
          <a:lstStyle/>
          <a:p>
            <a:pPr defTabSz="914446">
              <a:lnSpc>
                <a:spcPct val="60000"/>
              </a:lnSpc>
              <a:buClr>
                <a:srgbClr val="000000"/>
              </a:buClr>
            </a:pPr>
            <a:r>
              <a:rPr lang="en-GB" sz="4800" b="1" noProof="0">
                <a:solidFill>
                  <a:schemeClr val="tx1">
                    <a:lumMod val="95000"/>
                    <a:lumOff val="5000"/>
                  </a:schemeClr>
                </a:solidFill>
                <a:latin typeface="Quattrocento Sans" panose="020B0502050000020003" pitchFamily="34" charset="0"/>
                <a:ea typeface="Lato"/>
                <a:cs typeface="Lato"/>
                <a:sym typeface="Arial"/>
              </a:rPr>
              <a:t>Data Governance</a:t>
            </a:r>
          </a:p>
        </p:txBody>
      </p:sp>
      <p:sp>
        <p:nvSpPr>
          <p:cNvPr id="7" name="Google Shape;3348;g30e148d11da_7_119">
            <a:extLst>
              <a:ext uri="{FF2B5EF4-FFF2-40B4-BE49-F238E27FC236}">
                <a16:creationId xmlns:a16="http://schemas.microsoft.com/office/drawing/2014/main" id="{908548A3-22D2-2D70-35FB-A8C9236D15B5}"/>
              </a:ext>
            </a:extLst>
          </p:cNvPr>
          <p:cNvSpPr txBox="1"/>
          <p:nvPr/>
        </p:nvSpPr>
        <p:spPr>
          <a:xfrm>
            <a:off x="715034" y="156141"/>
            <a:ext cx="3258300" cy="615000"/>
          </a:xfrm>
          <a:prstGeom prst="rect">
            <a:avLst/>
          </a:prstGeom>
          <a:noFill/>
          <a:ln>
            <a:noFill/>
          </a:ln>
        </p:spPr>
        <p:txBody>
          <a:bodyPr spcFirstLastPara="1" wrap="square" lIns="0" tIns="45700" rIns="91425" bIns="45700" anchor="t" anchorCtr="0">
            <a:noAutofit/>
          </a:bodyPr>
          <a:lstStyle/>
          <a:p>
            <a:pPr defTabSz="914446">
              <a:buClr>
                <a:srgbClr val="FFFFFF"/>
              </a:buClr>
              <a:buSzPts val="1200"/>
              <a:defRPr/>
            </a:pPr>
            <a:r>
              <a:rPr lang="en-GB" sz="1200" b="1" kern="0" noProof="0">
                <a:solidFill>
                  <a:srgbClr val="000000">
                    <a:lumMod val="95000"/>
                    <a:lumOff val="5000"/>
                  </a:srgbClr>
                </a:solidFill>
                <a:latin typeface="Montserrat"/>
                <a:ea typeface="Montserrat"/>
                <a:cs typeface="Montserrat"/>
                <a:sym typeface="Montserrat"/>
              </a:rPr>
              <a:t>Data Driven </a:t>
            </a:r>
            <a:r>
              <a:rPr lang="en-GB" sz="1200" kern="0" noProof="0">
                <a:solidFill>
                  <a:srgbClr val="000000">
                    <a:lumMod val="95000"/>
                    <a:lumOff val="5000"/>
                  </a:srgbClr>
                </a:solidFill>
                <a:latin typeface="Montserrat"/>
                <a:ea typeface="Montserrat"/>
                <a:cs typeface="Montserrat"/>
                <a:sym typeface="Montserrat"/>
              </a:rPr>
              <a:t>Business</a:t>
            </a:r>
            <a:endParaRPr lang="en-GB" sz="1200" kern="0" baseline="30000" noProof="0">
              <a:solidFill>
                <a:srgbClr val="000000">
                  <a:lumMod val="95000"/>
                  <a:lumOff val="5000"/>
                </a:srgbClr>
              </a:solidFill>
              <a:latin typeface="Montserrat"/>
              <a:ea typeface="Montserrat"/>
              <a:cs typeface="Montserrat"/>
              <a:sym typeface="Montserrat"/>
            </a:endParaRPr>
          </a:p>
        </p:txBody>
      </p:sp>
      <p:sp>
        <p:nvSpPr>
          <p:cNvPr id="9" name="Object13">
            <a:extLst>
              <a:ext uri="{FF2B5EF4-FFF2-40B4-BE49-F238E27FC236}">
                <a16:creationId xmlns:a16="http://schemas.microsoft.com/office/drawing/2014/main" id="{380B38A2-44E8-5945-2F7F-E0F854BDB802}"/>
              </a:ext>
            </a:extLst>
          </p:cNvPr>
          <p:cNvSpPr txBox="1"/>
          <p:nvPr/>
        </p:nvSpPr>
        <p:spPr>
          <a:xfrm>
            <a:off x="4146132" y="495936"/>
            <a:ext cx="7105119" cy="86177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t">
            <a:spAutoFit/>
          </a:bodyPr>
          <a:lstStyle>
            <a:lvl1pPr>
              <a:lnSpc>
                <a:spcPts val="1900"/>
              </a:lnSpc>
              <a:defRPr sz="1300">
                <a:solidFill>
                  <a:srgbClr val="2D2D2D"/>
                </a:solidFill>
                <a:latin typeface="DM Sans Regular"/>
                <a:ea typeface="DM Sans Regular"/>
                <a:cs typeface="DM Sans Regular"/>
                <a:sym typeface="DM Sans Regular"/>
              </a:defRPr>
            </a:lvl1pPr>
          </a:lstStyle>
          <a:p>
            <a:pPr defTabSz="914446">
              <a:lnSpc>
                <a:spcPct val="100000"/>
              </a:lnSpc>
              <a:buClr>
                <a:srgbClr val="000000"/>
              </a:buClr>
              <a:defRPr/>
            </a:pPr>
            <a:r>
              <a:rPr lang="en-GB" sz="1400" kern="0" noProof="0">
                <a:solidFill>
                  <a:srgbClr val="000000">
                    <a:lumMod val="95000"/>
                    <a:lumOff val="5000"/>
                  </a:srgbClr>
                </a:solidFill>
                <a:latin typeface="Quattrocento Sans"/>
                <a:cs typeface="Arial"/>
                <a:sym typeface="Arial"/>
              </a:rPr>
              <a:t>Data Governance seeks alignment with a </a:t>
            </a:r>
            <a:r>
              <a:rPr lang="en-GB" sz="1400" b="1" kern="0" noProof="0">
                <a:solidFill>
                  <a:srgbClr val="000000">
                    <a:lumMod val="95000"/>
                    <a:lumOff val="5000"/>
                  </a:srgbClr>
                </a:solidFill>
                <a:latin typeface="Quattrocento Sans"/>
                <a:cs typeface="Arial"/>
                <a:sym typeface="Arial"/>
              </a:rPr>
              <a:t>Data Driven AI Organization </a:t>
            </a:r>
            <a:r>
              <a:rPr lang="en-GB" sz="1400" kern="0" noProof="0">
                <a:solidFill>
                  <a:srgbClr val="000000">
                    <a:lumMod val="95000"/>
                    <a:lumOff val="5000"/>
                  </a:srgbClr>
                </a:solidFill>
                <a:latin typeface="Quattrocento Sans"/>
                <a:cs typeface="Arial"/>
                <a:sym typeface="Arial"/>
              </a:rPr>
              <a:t>(Data culture + Technology) strategy, where </a:t>
            </a:r>
            <a:r>
              <a:rPr lang="en-GB" sz="1400" b="1" kern="0" noProof="0">
                <a:solidFill>
                  <a:srgbClr val="000000">
                    <a:lumMod val="95000"/>
                    <a:lumOff val="5000"/>
                  </a:srgbClr>
                </a:solidFill>
                <a:latin typeface="Quattrocento Sans"/>
                <a:cs typeface="Arial"/>
                <a:sym typeface="Arial"/>
              </a:rPr>
              <a:t>data is a strategic asset</a:t>
            </a:r>
            <a:r>
              <a:rPr lang="en-GB" sz="1400" kern="0" noProof="0">
                <a:solidFill>
                  <a:srgbClr val="000000">
                    <a:lumMod val="95000"/>
                    <a:lumOff val="5000"/>
                  </a:srgbClr>
                </a:solidFill>
                <a:latin typeface="Quattrocento Sans"/>
                <a:cs typeface="Arial"/>
                <a:sym typeface="Arial"/>
              </a:rPr>
              <a:t>.</a:t>
            </a:r>
          </a:p>
          <a:p>
            <a:pPr defTabSz="914446">
              <a:lnSpc>
                <a:spcPct val="100000"/>
              </a:lnSpc>
              <a:buClr>
                <a:srgbClr val="000000"/>
              </a:buClr>
              <a:defRPr/>
            </a:pPr>
            <a:endParaRPr lang="en-GB" sz="1400" b="1" kern="0" noProof="0">
              <a:solidFill>
                <a:srgbClr val="000000">
                  <a:lumMod val="95000"/>
                  <a:lumOff val="5000"/>
                </a:srgbClr>
              </a:solidFill>
              <a:latin typeface="Quattrocento Sans"/>
              <a:cs typeface="Arial"/>
              <a:sym typeface="Arial"/>
            </a:endParaRPr>
          </a:p>
          <a:p>
            <a:pPr defTabSz="914446">
              <a:lnSpc>
                <a:spcPct val="100000"/>
              </a:lnSpc>
              <a:buClr>
                <a:srgbClr val="000000"/>
              </a:buClr>
              <a:defRPr/>
            </a:pPr>
            <a:r>
              <a:rPr lang="en-GB" sz="1400" kern="0" noProof="0">
                <a:solidFill>
                  <a:srgbClr val="000000">
                    <a:lumMod val="95000"/>
                    <a:lumOff val="5000"/>
                  </a:srgbClr>
                </a:solidFill>
                <a:latin typeface="Quattrocento Sans"/>
                <a:cs typeface="Arial"/>
                <a:sym typeface="Arial"/>
              </a:rPr>
              <a:t>It is based on the following </a:t>
            </a:r>
            <a:r>
              <a:rPr lang="en-GB" sz="1400" b="1" kern="0" noProof="0">
                <a:solidFill>
                  <a:srgbClr val="000000">
                    <a:lumMod val="95000"/>
                    <a:lumOff val="5000"/>
                  </a:srgbClr>
                </a:solidFill>
                <a:latin typeface="Quattrocento Sans"/>
                <a:cs typeface="Arial"/>
                <a:sym typeface="Arial"/>
              </a:rPr>
              <a:t>pillars</a:t>
            </a:r>
            <a:r>
              <a:rPr lang="en-GB" sz="1400" kern="0" noProof="0">
                <a:solidFill>
                  <a:srgbClr val="000000">
                    <a:lumMod val="95000"/>
                    <a:lumOff val="5000"/>
                  </a:srgbClr>
                </a:solidFill>
                <a:latin typeface="Quattrocento Sans"/>
                <a:cs typeface="Arial"/>
                <a:sym typeface="Arial"/>
              </a:rPr>
              <a:t>: </a:t>
            </a:r>
          </a:p>
        </p:txBody>
      </p:sp>
      <p:sp>
        <p:nvSpPr>
          <p:cNvPr id="10" name="Triángulo isósceles 9">
            <a:extLst>
              <a:ext uri="{FF2B5EF4-FFF2-40B4-BE49-F238E27FC236}">
                <a16:creationId xmlns:a16="http://schemas.microsoft.com/office/drawing/2014/main" id="{66A06C2D-6E9F-3B32-4B3D-8CB8F5482807}"/>
              </a:ext>
            </a:extLst>
          </p:cNvPr>
          <p:cNvSpPr>
            <a:spLocks/>
          </p:cNvSpPr>
          <p:nvPr/>
        </p:nvSpPr>
        <p:spPr>
          <a:xfrm>
            <a:off x="4376954" y="2806774"/>
            <a:ext cx="3321738" cy="511673"/>
          </a:xfrm>
          <a:prstGeom prst="triangle">
            <a:avLst>
              <a:gd name="adj" fmla="val 51721"/>
            </a:avLst>
          </a:prstGeom>
          <a:no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13" name="Rectangle 60">
            <a:extLst>
              <a:ext uri="{FF2B5EF4-FFF2-40B4-BE49-F238E27FC236}">
                <a16:creationId xmlns:a16="http://schemas.microsoft.com/office/drawing/2014/main" id="{1DA0E0C1-BF84-CF0B-2C35-B034CEE0B460}"/>
              </a:ext>
            </a:extLst>
          </p:cNvPr>
          <p:cNvSpPr/>
          <p:nvPr/>
        </p:nvSpPr>
        <p:spPr>
          <a:xfrm>
            <a:off x="1484608" y="4382631"/>
            <a:ext cx="2892346" cy="773836"/>
          </a:xfrm>
          <a:prstGeom prst="rect">
            <a:avLst/>
          </a:prstGeom>
        </p:spPr>
        <p:txBody>
          <a:bodyPr wrap="square">
            <a:noAutofit/>
          </a:bodyPr>
          <a:lstStyle/>
          <a:p>
            <a:pPr defTabSz="609660">
              <a:defRPr/>
            </a:pPr>
            <a:r>
              <a:rPr lang="en-GB" sz="1100" noProof="0"/>
              <a:t>Discovery of the origin and path of data with full transparency. Centralise catalogues, glossaries, and metadata management.</a:t>
            </a:r>
            <a:endParaRPr lang="en-GB" sz="1100" kern="0" noProof="0">
              <a:solidFill>
                <a:srgbClr val="000000">
                  <a:lumMod val="95000"/>
                  <a:lumOff val="5000"/>
                </a:srgbClr>
              </a:solidFill>
              <a:latin typeface="Quattrocento Sans"/>
              <a:cs typeface="Arial"/>
              <a:sym typeface="Arial"/>
            </a:endParaRPr>
          </a:p>
        </p:txBody>
      </p:sp>
      <p:sp>
        <p:nvSpPr>
          <p:cNvPr id="16" name="Rectangle 68">
            <a:extLst>
              <a:ext uri="{FF2B5EF4-FFF2-40B4-BE49-F238E27FC236}">
                <a16:creationId xmlns:a16="http://schemas.microsoft.com/office/drawing/2014/main" id="{69172E86-CE08-8608-4553-93710D05EBA6}"/>
              </a:ext>
            </a:extLst>
          </p:cNvPr>
          <p:cNvSpPr/>
          <p:nvPr/>
        </p:nvSpPr>
        <p:spPr>
          <a:xfrm>
            <a:off x="1506333" y="3249097"/>
            <a:ext cx="2639800" cy="955949"/>
          </a:xfrm>
          <a:prstGeom prst="rect">
            <a:avLst/>
          </a:prstGeom>
        </p:spPr>
        <p:txBody>
          <a:bodyPr wrap="square">
            <a:noAutofit/>
          </a:bodyPr>
          <a:lstStyle/>
          <a:p>
            <a:pPr defTabSz="609660">
              <a:defRPr/>
            </a:pPr>
            <a:r>
              <a:rPr lang="en-GB" sz="1100" noProof="0"/>
              <a:t>It ensures accurate, complete and always up-to-date data. It establishes business rules and general rules.</a:t>
            </a:r>
            <a:endParaRPr lang="en-GB" sz="1100" kern="0" noProof="0">
              <a:solidFill>
                <a:srgbClr val="000000">
                  <a:lumMod val="95000"/>
                  <a:lumOff val="5000"/>
                </a:srgbClr>
              </a:solidFill>
              <a:latin typeface="Quattrocento Sans"/>
              <a:cs typeface="Arial"/>
              <a:sym typeface="Arial"/>
            </a:endParaRPr>
          </a:p>
        </p:txBody>
      </p:sp>
      <p:sp>
        <p:nvSpPr>
          <p:cNvPr id="17" name="Rectángulo 16">
            <a:extLst>
              <a:ext uri="{FF2B5EF4-FFF2-40B4-BE49-F238E27FC236}">
                <a16:creationId xmlns:a16="http://schemas.microsoft.com/office/drawing/2014/main" id="{3334C950-268C-11DE-B8F3-823CAD6BABE7}"/>
              </a:ext>
            </a:extLst>
          </p:cNvPr>
          <p:cNvSpPr/>
          <p:nvPr/>
        </p:nvSpPr>
        <p:spPr>
          <a:xfrm>
            <a:off x="4364545" y="5170676"/>
            <a:ext cx="3365225" cy="148912"/>
          </a:xfrm>
          <a:prstGeom prst="rect">
            <a:avLst/>
          </a:prstGeom>
          <a:solidFill>
            <a:schemeClr val="bg1"/>
          </a:solid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18" name="Rectángulo 17">
            <a:extLst>
              <a:ext uri="{FF2B5EF4-FFF2-40B4-BE49-F238E27FC236}">
                <a16:creationId xmlns:a16="http://schemas.microsoft.com/office/drawing/2014/main" id="{6639A38E-D3F3-F32A-DD0B-7FF0D8967989}"/>
              </a:ext>
            </a:extLst>
          </p:cNvPr>
          <p:cNvSpPr/>
          <p:nvPr/>
        </p:nvSpPr>
        <p:spPr>
          <a:xfrm>
            <a:off x="4206671" y="5319075"/>
            <a:ext cx="3642373" cy="363164"/>
          </a:xfrm>
          <a:prstGeom prst="rect">
            <a:avLst/>
          </a:prstGeom>
          <a:solidFill>
            <a:schemeClr val="bg1"/>
          </a:solid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19" name="Rectángulo 18">
            <a:extLst>
              <a:ext uri="{FF2B5EF4-FFF2-40B4-BE49-F238E27FC236}">
                <a16:creationId xmlns:a16="http://schemas.microsoft.com/office/drawing/2014/main" id="{181AF6EF-CDF0-B6E5-FCC6-DF5D54F5E552}"/>
              </a:ext>
            </a:extLst>
          </p:cNvPr>
          <p:cNvSpPr/>
          <p:nvPr/>
        </p:nvSpPr>
        <p:spPr>
          <a:xfrm>
            <a:off x="4379564" y="5252523"/>
            <a:ext cx="3337200" cy="248799"/>
          </a:xfrm>
          <a:prstGeom prst="rect">
            <a:avLst/>
          </a:prstGeom>
          <a:solidFill>
            <a:schemeClr val="bg1"/>
          </a:solidFill>
          <a:ln w="1079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20" name="Text Box 3">
            <a:extLst>
              <a:ext uri="{FF2B5EF4-FFF2-40B4-BE49-F238E27FC236}">
                <a16:creationId xmlns:a16="http://schemas.microsoft.com/office/drawing/2014/main" id="{A75E189E-B2BE-DD0A-4AF7-71E17FB258F5}"/>
              </a:ext>
            </a:extLst>
          </p:cNvPr>
          <p:cNvSpPr txBox="1">
            <a:spLocks noChangeArrowheads="1"/>
          </p:cNvSpPr>
          <p:nvPr/>
        </p:nvSpPr>
        <p:spPr bwMode="auto">
          <a:xfrm>
            <a:off x="4974532" y="5239742"/>
            <a:ext cx="2106650" cy="369332"/>
          </a:xfrm>
          <a:prstGeom prst="rect">
            <a:avLst/>
          </a:prstGeom>
          <a:solidFill>
            <a:schemeClr val="bg1"/>
          </a:solidFill>
          <a:ln w="9525">
            <a:noFill/>
            <a:miter lim="800000"/>
            <a:headEnd/>
            <a:tailEnd/>
          </a:ln>
        </p:spPr>
        <p:txBody>
          <a:bodyPr wrap="square">
            <a:spAutoFit/>
          </a:bodyPr>
          <a:lstStyle>
            <a:defPPr marR="0" lvl="0" algn="l" rtl="0">
              <a:lnSpc>
                <a:spcPct val="100000"/>
              </a:lnSpc>
              <a:spcBef>
                <a:spcPts val="0"/>
              </a:spcBef>
              <a:spcAft>
                <a:spcPts val="0"/>
              </a:spcAft>
              <a:defRPr/>
            </a:defPPr>
            <a:lvl1pPr algn="ctr" fontAlgn="base">
              <a:spcBef>
                <a:spcPct val="50000"/>
              </a:spcBef>
              <a:spcAft>
                <a:spcPct val="0"/>
              </a:spcAft>
              <a:defRPr sz="1800" b="1">
                <a:solidFill>
                  <a:schemeClr val="bg1"/>
                </a:solidFill>
                <a:latin typeface="Quattrocento Sans" panose="020B0502050000020003" pitchFamily="34" charset="0"/>
              </a:defRPr>
            </a:lvl1pPr>
          </a:lstStyle>
          <a:p>
            <a:pPr defTabSz="914446">
              <a:buClr>
                <a:srgbClr val="000000"/>
              </a:buClr>
              <a:defRPr/>
            </a:pPr>
            <a:r>
              <a:rPr lang="en-GB" kern="0" noProof="0">
                <a:solidFill>
                  <a:srgbClr val="000000">
                    <a:lumMod val="95000"/>
                    <a:lumOff val="5000"/>
                  </a:srgbClr>
                </a:solidFill>
                <a:cs typeface="Arial"/>
                <a:sym typeface="Arial"/>
              </a:rPr>
              <a:t>Architecture</a:t>
            </a:r>
          </a:p>
        </p:txBody>
      </p:sp>
      <p:grpSp>
        <p:nvGrpSpPr>
          <p:cNvPr id="8" name="Grupo 7">
            <a:extLst>
              <a:ext uri="{FF2B5EF4-FFF2-40B4-BE49-F238E27FC236}">
                <a16:creationId xmlns:a16="http://schemas.microsoft.com/office/drawing/2014/main" id="{8169BF80-7CB2-0416-A27D-94865C5384E3}"/>
              </a:ext>
            </a:extLst>
          </p:cNvPr>
          <p:cNvGrpSpPr/>
          <p:nvPr/>
        </p:nvGrpSpPr>
        <p:grpSpPr>
          <a:xfrm>
            <a:off x="4671207" y="3508153"/>
            <a:ext cx="646331" cy="1656000"/>
            <a:chOff x="4621921" y="3316992"/>
            <a:chExt cx="719703" cy="1680294"/>
          </a:xfrm>
          <a:solidFill>
            <a:srgbClr val="00456E"/>
          </a:solidFill>
        </p:grpSpPr>
        <p:sp>
          <p:nvSpPr>
            <p:cNvPr id="4" name="Trapecio 3">
              <a:extLst>
                <a:ext uri="{FF2B5EF4-FFF2-40B4-BE49-F238E27FC236}">
                  <a16:creationId xmlns:a16="http://schemas.microsoft.com/office/drawing/2014/main" id="{4A9DE4DD-F1BE-61EF-1D1D-9467C489FF0B}"/>
                </a:ext>
              </a:extLst>
            </p:cNvPr>
            <p:cNvSpPr/>
            <p:nvPr/>
          </p:nvSpPr>
          <p:spPr>
            <a:xfrm>
              <a:off x="4678746" y="3316992"/>
              <a:ext cx="646330" cy="1680294"/>
            </a:xfrm>
            <a:prstGeom prst="trapezoid">
              <a:avLst>
                <a:gd name="adj" fmla="val 0"/>
              </a:avLst>
            </a:prstGeom>
            <a:grpFill/>
            <a:ln w="25400">
              <a:solidFill>
                <a:srgbClr val="00456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21" name="Text Box 3">
              <a:extLst>
                <a:ext uri="{FF2B5EF4-FFF2-40B4-BE49-F238E27FC236}">
                  <a16:creationId xmlns:a16="http://schemas.microsoft.com/office/drawing/2014/main" id="{D7F18F54-FC40-60FE-A2E1-37232BC012E6}"/>
                </a:ext>
              </a:extLst>
            </p:cNvPr>
            <p:cNvSpPr txBox="1">
              <a:spLocks noChangeArrowheads="1"/>
            </p:cNvSpPr>
            <p:nvPr/>
          </p:nvSpPr>
          <p:spPr bwMode="auto">
            <a:xfrm rot="16200000">
              <a:off x="4276766" y="3793397"/>
              <a:ext cx="1410014" cy="719703"/>
            </a:xfrm>
            <a:prstGeom prst="rect">
              <a:avLst/>
            </a:prstGeom>
            <a:noFill/>
            <a:ln w="9525">
              <a:noFill/>
              <a:miter lim="800000"/>
              <a:headEnd/>
              <a:tailEnd/>
            </a:ln>
          </p:spPr>
          <p:txBody>
            <a:bodyPr wrap="square" anchor="ctr">
              <a:spAutoFit/>
            </a:bodyPr>
            <a:lstStyle>
              <a:defPPr marR="0" lvl="0" algn="l" rtl="0">
                <a:lnSpc>
                  <a:spcPct val="100000"/>
                </a:lnSpc>
                <a:spcBef>
                  <a:spcPts val="0"/>
                </a:spcBef>
                <a:spcAft>
                  <a:spcPts val="0"/>
                </a:spcAft>
                <a:defRPr/>
              </a:defPPr>
              <a:lvl1pPr algn="ctr" fontAlgn="base">
                <a:spcBef>
                  <a:spcPct val="50000"/>
                </a:spcBef>
                <a:spcAft>
                  <a:spcPct val="0"/>
                </a:spcAft>
                <a:defRPr sz="2000" b="1">
                  <a:solidFill>
                    <a:srgbClr val="000A23"/>
                  </a:solidFill>
                  <a:latin typeface="Quattrocento Sans" panose="020B0502050000020003" pitchFamily="34" charset="0"/>
                </a:defRPr>
              </a:lvl1pPr>
            </a:lstStyle>
            <a:p>
              <a:pPr defTabSz="914446">
                <a:buClr>
                  <a:srgbClr val="000000"/>
                </a:buClr>
                <a:defRPr/>
              </a:pPr>
              <a:r>
                <a:rPr lang="en-GB" sz="1800" kern="0" noProof="0">
                  <a:solidFill>
                    <a:schemeClr val="bg1"/>
                  </a:solidFill>
                  <a:cs typeface="Arial"/>
                  <a:sym typeface="Arial"/>
                </a:rPr>
                <a:t>Lineage and Catalogue</a:t>
              </a:r>
            </a:p>
          </p:txBody>
        </p:sp>
      </p:grpSp>
      <p:grpSp>
        <p:nvGrpSpPr>
          <p:cNvPr id="25" name="Grupo 24">
            <a:extLst>
              <a:ext uri="{FF2B5EF4-FFF2-40B4-BE49-F238E27FC236}">
                <a16:creationId xmlns:a16="http://schemas.microsoft.com/office/drawing/2014/main" id="{A70F5453-ADAA-BAAF-EEE8-57EC58F28058}"/>
              </a:ext>
            </a:extLst>
          </p:cNvPr>
          <p:cNvGrpSpPr/>
          <p:nvPr/>
        </p:nvGrpSpPr>
        <p:grpSpPr>
          <a:xfrm>
            <a:off x="5462266" y="3508153"/>
            <a:ext cx="580439" cy="1656000"/>
            <a:chOff x="5408193" y="3297985"/>
            <a:chExt cx="426385" cy="1680293"/>
          </a:xfrm>
        </p:grpSpPr>
        <p:sp>
          <p:nvSpPr>
            <p:cNvPr id="12" name="Trapecio 11">
              <a:extLst>
                <a:ext uri="{FF2B5EF4-FFF2-40B4-BE49-F238E27FC236}">
                  <a16:creationId xmlns:a16="http://schemas.microsoft.com/office/drawing/2014/main" id="{5CB5FC80-8BBB-A7C6-8BE8-00955FFE8B0E}"/>
                </a:ext>
              </a:extLst>
            </p:cNvPr>
            <p:cNvSpPr/>
            <p:nvPr/>
          </p:nvSpPr>
          <p:spPr>
            <a:xfrm>
              <a:off x="5408193" y="3297985"/>
              <a:ext cx="426385" cy="1680293"/>
            </a:xfrm>
            <a:prstGeom prst="trapezoid">
              <a:avLst>
                <a:gd name="adj" fmla="val 0"/>
              </a:avLst>
            </a:prstGeom>
            <a:solidFill>
              <a:srgbClr val="00456E"/>
            </a:solidFill>
            <a:ln w="25400">
              <a:solidFill>
                <a:srgbClr val="00456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22" name="Text Box 3">
              <a:extLst>
                <a:ext uri="{FF2B5EF4-FFF2-40B4-BE49-F238E27FC236}">
                  <a16:creationId xmlns:a16="http://schemas.microsoft.com/office/drawing/2014/main" id="{5261D79D-917E-EF57-CB32-F6BAE7C69726}"/>
                </a:ext>
              </a:extLst>
            </p:cNvPr>
            <p:cNvSpPr txBox="1">
              <a:spLocks noChangeArrowheads="1"/>
            </p:cNvSpPr>
            <p:nvPr/>
          </p:nvSpPr>
          <p:spPr bwMode="auto">
            <a:xfrm rot="16200000">
              <a:off x="5047290" y="4002477"/>
              <a:ext cx="1148191" cy="271308"/>
            </a:xfrm>
            <a:prstGeom prst="rect">
              <a:avLst/>
            </a:prstGeom>
            <a:noFill/>
            <a:ln w="9525">
              <a:noFill/>
              <a:miter lim="800000"/>
              <a:headEnd/>
              <a:tailEnd/>
            </a:ln>
          </p:spPr>
          <p:txBody>
            <a:bodyPr wrap="square" anchor="ctr">
              <a:spAutoFit/>
            </a:bodyPr>
            <a:lstStyle>
              <a:defPPr marR="0" lvl="0" algn="l" rtl="0">
                <a:lnSpc>
                  <a:spcPct val="100000"/>
                </a:lnSpc>
                <a:spcBef>
                  <a:spcPts val="0"/>
                </a:spcBef>
                <a:spcAft>
                  <a:spcPts val="0"/>
                </a:spcAft>
                <a:defRPr/>
              </a:defPPr>
              <a:lvl1pPr algn="ctr" fontAlgn="base">
                <a:spcBef>
                  <a:spcPct val="50000"/>
                </a:spcBef>
                <a:spcAft>
                  <a:spcPct val="0"/>
                </a:spcAft>
                <a:defRPr sz="1800" b="1">
                  <a:solidFill>
                    <a:schemeClr val="bg1"/>
                  </a:solidFill>
                  <a:latin typeface="Quattrocento Sans" panose="020B0502050000020003" pitchFamily="34" charset="0"/>
                </a:defRPr>
              </a:lvl1pPr>
            </a:lstStyle>
            <a:p>
              <a:pPr defTabSz="914446">
                <a:buClr>
                  <a:srgbClr val="000000"/>
                </a:buClr>
                <a:defRPr/>
              </a:pPr>
              <a:r>
                <a:rPr lang="en-GB" kern="0" noProof="0">
                  <a:cs typeface="Arial"/>
                  <a:sym typeface="Arial"/>
                </a:rPr>
                <a:t>Quality</a:t>
              </a:r>
            </a:p>
          </p:txBody>
        </p:sp>
      </p:grpSp>
      <p:grpSp>
        <p:nvGrpSpPr>
          <p:cNvPr id="31" name="Grupo 30">
            <a:extLst>
              <a:ext uri="{FF2B5EF4-FFF2-40B4-BE49-F238E27FC236}">
                <a16:creationId xmlns:a16="http://schemas.microsoft.com/office/drawing/2014/main" id="{1482D586-C458-C82B-E6D5-399744B5F666}"/>
              </a:ext>
            </a:extLst>
          </p:cNvPr>
          <p:cNvGrpSpPr/>
          <p:nvPr/>
        </p:nvGrpSpPr>
        <p:grpSpPr>
          <a:xfrm>
            <a:off x="6799689" y="3508153"/>
            <a:ext cx="646331" cy="1656000"/>
            <a:chOff x="6708405" y="3318803"/>
            <a:chExt cx="472833" cy="1680293"/>
          </a:xfrm>
        </p:grpSpPr>
        <p:sp>
          <p:nvSpPr>
            <p:cNvPr id="11" name="Trapecio 10">
              <a:extLst>
                <a:ext uri="{FF2B5EF4-FFF2-40B4-BE49-F238E27FC236}">
                  <a16:creationId xmlns:a16="http://schemas.microsoft.com/office/drawing/2014/main" id="{CDEC58E0-ECF3-9177-F4ED-02F72D1E5273}"/>
                </a:ext>
              </a:extLst>
            </p:cNvPr>
            <p:cNvSpPr/>
            <p:nvPr/>
          </p:nvSpPr>
          <p:spPr>
            <a:xfrm>
              <a:off x="6729081" y="3318803"/>
              <a:ext cx="426385" cy="1680293"/>
            </a:xfrm>
            <a:prstGeom prst="trapezoid">
              <a:avLst>
                <a:gd name="adj" fmla="val 0"/>
              </a:avLst>
            </a:prstGeom>
            <a:no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23" name="Text Box 3">
              <a:extLst>
                <a:ext uri="{FF2B5EF4-FFF2-40B4-BE49-F238E27FC236}">
                  <a16:creationId xmlns:a16="http://schemas.microsoft.com/office/drawing/2014/main" id="{29C068AB-7ED8-3465-EDF7-3B35D8C6B47A}"/>
                </a:ext>
              </a:extLst>
            </p:cNvPr>
            <p:cNvSpPr txBox="1">
              <a:spLocks noChangeArrowheads="1"/>
            </p:cNvSpPr>
            <p:nvPr/>
          </p:nvSpPr>
          <p:spPr bwMode="auto">
            <a:xfrm rot="16200000">
              <a:off x="6303773" y="3979570"/>
              <a:ext cx="1282097" cy="472833"/>
            </a:xfrm>
            <a:prstGeom prst="rect">
              <a:avLst/>
            </a:prstGeom>
            <a:noFill/>
            <a:ln w="9525">
              <a:noFill/>
              <a:miter lim="800000"/>
              <a:headEnd/>
              <a:tailEnd/>
            </a:ln>
          </p:spPr>
          <p:txBody>
            <a:bodyPr wrap="square">
              <a:spAutoFit/>
            </a:bodyPr>
            <a:lstStyle>
              <a:defPPr marR="0" lvl="0" algn="l" rtl="0">
                <a:lnSpc>
                  <a:spcPct val="100000"/>
                </a:lnSpc>
                <a:spcBef>
                  <a:spcPts val="0"/>
                </a:spcBef>
                <a:spcAft>
                  <a:spcPts val="0"/>
                </a:spcAft>
                <a:defRPr/>
              </a:defPPr>
              <a:lvl1pPr algn="ctr" fontAlgn="base">
                <a:spcBef>
                  <a:spcPct val="50000"/>
                </a:spcBef>
                <a:spcAft>
                  <a:spcPct val="0"/>
                </a:spcAft>
                <a:defRPr sz="1800" b="1">
                  <a:solidFill>
                    <a:schemeClr val="bg1"/>
                  </a:solidFill>
                  <a:latin typeface="Quattrocento Sans" panose="020B0502050000020003" pitchFamily="34" charset="0"/>
                </a:defRPr>
              </a:lvl1pPr>
            </a:lstStyle>
            <a:p>
              <a:pPr defTabSz="914446">
                <a:buClr>
                  <a:srgbClr val="000000"/>
                </a:buClr>
                <a:defRPr/>
              </a:pPr>
              <a:r>
                <a:rPr lang="en-GB" kern="0" noProof="0">
                  <a:solidFill>
                    <a:srgbClr val="000000">
                      <a:lumMod val="95000"/>
                      <a:lumOff val="5000"/>
                    </a:srgbClr>
                  </a:solidFill>
                  <a:cs typeface="Arial"/>
                  <a:sym typeface="Arial"/>
                </a:rPr>
                <a:t>Master Data</a:t>
              </a:r>
            </a:p>
          </p:txBody>
        </p:sp>
      </p:grpSp>
      <p:cxnSp>
        <p:nvCxnSpPr>
          <p:cNvPr id="24" name="Straight Arrow Connector 70">
            <a:extLst>
              <a:ext uri="{FF2B5EF4-FFF2-40B4-BE49-F238E27FC236}">
                <a16:creationId xmlns:a16="http://schemas.microsoft.com/office/drawing/2014/main" id="{344B1CDD-C955-2869-5CBE-8001FC3A741B}"/>
              </a:ext>
            </a:extLst>
          </p:cNvPr>
          <p:cNvCxnSpPr>
            <a:cxnSpLocks/>
          </p:cNvCxnSpPr>
          <p:nvPr/>
        </p:nvCxnSpPr>
        <p:spPr>
          <a:xfrm flipV="1">
            <a:off x="1588322" y="3869527"/>
            <a:ext cx="3873944" cy="1"/>
          </a:xfrm>
          <a:prstGeom prst="straightConnector1">
            <a:avLst/>
          </a:prstGeom>
          <a:noFill/>
          <a:ln w="28575">
            <a:solidFill>
              <a:srgbClr val="A6A6A6"/>
            </a:solidFill>
          </a:ln>
        </p:spPr>
      </p:cxnSp>
      <p:cxnSp>
        <p:nvCxnSpPr>
          <p:cNvPr id="26" name="Straight Arrow Connector 69">
            <a:extLst>
              <a:ext uri="{FF2B5EF4-FFF2-40B4-BE49-F238E27FC236}">
                <a16:creationId xmlns:a16="http://schemas.microsoft.com/office/drawing/2014/main" id="{75957955-A879-AC75-6AF6-E13587C79FD5}"/>
              </a:ext>
            </a:extLst>
          </p:cNvPr>
          <p:cNvCxnSpPr>
            <a:cxnSpLocks/>
          </p:cNvCxnSpPr>
          <p:nvPr/>
        </p:nvCxnSpPr>
        <p:spPr>
          <a:xfrm flipH="1">
            <a:off x="7410793" y="3676527"/>
            <a:ext cx="3381382" cy="0"/>
          </a:xfrm>
          <a:prstGeom prst="straightConnector1">
            <a:avLst/>
          </a:prstGeom>
          <a:noFill/>
          <a:ln w="28575">
            <a:solidFill>
              <a:srgbClr val="A6A6A6"/>
            </a:solidFill>
          </a:ln>
        </p:spPr>
      </p:cxnSp>
      <p:sp>
        <p:nvSpPr>
          <p:cNvPr id="27" name="Text Box 3">
            <a:extLst>
              <a:ext uri="{FF2B5EF4-FFF2-40B4-BE49-F238E27FC236}">
                <a16:creationId xmlns:a16="http://schemas.microsoft.com/office/drawing/2014/main" id="{F1FD1F04-A20D-3911-0A42-0451395B442C}"/>
              </a:ext>
            </a:extLst>
          </p:cNvPr>
          <p:cNvSpPr txBox="1">
            <a:spLocks noChangeArrowheads="1"/>
          </p:cNvSpPr>
          <p:nvPr/>
        </p:nvSpPr>
        <p:spPr bwMode="auto">
          <a:xfrm>
            <a:off x="4376954" y="3002237"/>
            <a:ext cx="3321738" cy="369332"/>
          </a:xfrm>
          <a:prstGeom prst="rect">
            <a:avLst/>
          </a:prstGeom>
          <a:noFill/>
          <a:ln w="9525">
            <a:noFill/>
            <a:miter lim="800000"/>
            <a:headEnd/>
            <a:tailEnd/>
          </a:ln>
        </p:spPr>
        <p:txBody>
          <a:bodyPr wrap="square" anchor="ctr">
            <a:spAutoFit/>
          </a:bodyPr>
          <a:lstStyle>
            <a:defPPr marR="0" lvl="0" algn="l" rtl="0">
              <a:lnSpc>
                <a:spcPct val="100000"/>
              </a:lnSpc>
              <a:spcBef>
                <a:spcPts val="0"/>
              </a:spcBef>
              <a:spcAft>
                <a:spcPts val="0"/>
              </a:spcAft>
              <a:defRPr lang="en-US"/>
            </a:defPPr>
            <a:lvl1pPr algn="ctr" defTabSz="914446" fontAlgn="base">
              <a:spcBef>
                <a:spcPct val="50000"/>
              </a:spcBef>
              <a:spcAft>
                <a:spcPct val="0"/>
              </a:spcAft>
              <a:buClr>
                <a:srgbClr val="000000"/>
              </a:buClr>
              <a:defRPr b="1" kern="0">
                <a:solidFill>
                  <a:srgbClr val="000000">
                    <a:lumMod val="95000"/>
                    <a:lumOff val="5000"/>
                  </a:srgbClr>
                </a:solidFill>
                <a:latin typeface="Quattrocento Sans" panose="020B0502050000020003" pitchFamily="34" charset="0"/>
                <a:cs typeface="Arial"/>
              </a:defRPr>
            </a:lvl1pPr>
          </a:lstStyle>
          <a:p>
            <a:r>
              <a:rPr lang="en-GB" noProof="0">
                <a:solidFill>
                  <a:schemeClr val="tx1"/>
                </a:solidFill>
                <a:sym typeface="Arial"/>
              </a:rPr>
              <a:t>Organisation</a:t>
            </a:r>
          </a:p>
        </p:txBody>
      </p:sp>
      <p:cxnSp>
        <p:nvCxnSpPr>
          <p:cNvPr id="28" name="Straight Arrow Connector 69">
            <a:extLst>
              <a:ext uri="{FF2B5EF4-FFF2-40B4-BE49-F238E27FC236}">
                <a16:creationId xmlns:a16="http://schemas.microsoft.com/office/drawing/2014/main" id="{13AA7F90-53A7-A31C-AC17-89A390B21959}"/>
              </a:ext>
            </a:extLst>
          </p:cNvPr>
          <p:cNvCxnSpPr>
            <a:cxnSpLocks/>
          </p:cNvCxnSpPr>
          <p:nvPr/>
        </p:nvCxnSpPr>
        <p:spPr>
          <a:xfrm flipH="1">
            <a:off x="6705134" y="4901948"/>
            <a:ext cx="4067483" cy="0"/>
          </a:xfrm>
          <a:prstGeom prst="straightConnector1">
            <a:avLst/>
          </a:prstGeom>
          <a:noFill/>
          <a:ln w="28575">
            <a:solidFill>
              <a:srgbClr val="A6A6A6"/>
            </a:solidFill>
          </a:ln>
        </p:spPr>
      </p:cxnSp>
      <p:pic>
        <p:nvPicPr>
          <p:cNvPr id="1026" name="Picture 2" descr="Home">
            <a:extLst>
              <a:ext uri="{FF2B5EF4-FFF2-40B4-BE49-F238E27FC236}">
                <a16:creationId xmlns:a16="http://schemas.microsoft.com/office/drawing/2014/main" id="{EE1A5AA0-AE43-CE3E-5DE1-2B8622C3907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a:off x="670253" y="5583282"/>
            <a:ext cx="1286486" cy="953868"/>
          </a:xfrm>
          <a:prstGeom prst="rect">
            <a:avLst/>
          </a:prstGeom>
          <a:noFill/>
          <a:extLst>
            <a:ext uri="{909E8E84-426E-40DD-AFC4-6F175D3DCCD1}">
              <a14:hiddenFill xmlns:a14="http://schemas.microsoft.com/office/drawing/2010/main">
                <a:solidFill>
                  <a:srgbClr val="FFFFFF"/>
                </a:solidFill>
              </a14:hiddenFill>
            </a:ext>
          </a:extLst>
        </p:spPr>
      </p:pic>
      <p:cxnSp>
        <p:nvCxnSpPr>
          <p:cNvPr id="34" name="Straight Arrow Connector 69">
            <a:extLst>
              <a:ext uri="{FF2B5EF4-FFF2-40B4-BE49-F238E27FC236}">
                <a16:creationId xmlns:a16="http://schemas.microsoft.com/office/drawing/2014/main" id="{860E5E39-C6BD-1058-67E5-5BC57BBBBB68}"/>
              </a:ext>
            </a:extLst>
          </p:cNvPr>
          <p:cNvCxnSpPr>
            <a:cxnSpLocks/>
          </p:cNvCxnSpPr>
          <p:nvPr/>
        </p:nvCxnSpPr>
        <p:spPr>
          <a:xfrm flipH="1">
            <a:off x="1539218" y="5027133"/>
            <a:ext cx="3194038" cy="0"/>
          </a:xfrm>
          <a:prstGeom prst="straightConnector1">
            <a:avLst/>
          </a:prstGeom>
          <a:noFill/>
          <a:ln w="28575">
            <a:solidFill>
              <a:srgbClr val="A6A6A6"/>
            </a:solidFill>
          </a:ln>
        </p:spPr>
      </p:cxnSp>
      <p:grpSp>
        <p:nvGrpSpPr>
          <p:cNvPr id="30" name="Grupo 29">
            <a:extLst>
              <a:ext uri="{FF2B5EF4-FFF2-40B4-BE49-F238E27FC236}">
                <a16:creationId xmlns:a16="http://schemas.microsoft.com/office/drawing/2014/main" id="{301E7937-FAFA-15BE-718E-80415528A34F}"/>
              </a:ext>
            </a:extLst>
          </p:cNvPr>
          <p:cNvGrpSpPr/>
          <p:nvPr/>
        </p:nvGrpSpPr>
        <p:grpSpPr>
          <a:xfrm>
            <a:off x="6124695" y="3499804"/>
            <a:ext cx="580439" cy="1664349"/>
            <a:chOff x="6070186" y="3317523"/>
            <a:chExt cx="426385" cy="1680293"/>
          </a:xfrm>
        </p:grpSpPr>
        <p:sp>
          <p:nvSpPr>
            <p:cNvPr id="2" name="Trapecio 1">
              <a:extLst>
                <a:ext uri="{FF2B5EF4-FFF2-40B4-BE49-F238E27FC236}">
                  <a16:creationId xmlns:a16="http://schemas.microsoft.com/office/drawing/2014/main" id="{4CAD477B-A74D-49C0-202B-2456AA3FCCA8}"/>
                </a:ext>
              </a:extLst>
            </p:cNvPr>
            <p:cNvSpPr/>
            <p:nvPr/>
          </p:nvSpPr>
          <p:spPr>
            <a:xfrm>
              <a:off x="6070186" y="3317523"/>
              <a:ext cx="426385" cy="1680293"/>
            </a:xfrm>
            <a:prstGeom prst="trapezoid">
              <a:avLst>
                <a:gd name="adj" fmla="val 0"/>
              </a:avLst>
            </a:prstGeom>
            <a:solidFill>
              <a:srgbClr val="00456E"/>
            </a:solidFill>
            <a:ln w="25400">
              <a:solidFill>
                <a:srgbClr val="00456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3" name="Text Box 3">
              <a:extLst>
                <a:ext uri="{FF2B5EF4-FFF2-40B4-BE49-F238E27FC236}">
                  <a16:creationId xmlns:a16="http://schemas.microsoft.com/office/drawing/2014/main" id="{CAFA229A-D7E4-5490-7BE9-1ECB02C2DCBB}"/>
                </a:ext>
              </a:extLst>
            </p:cNvPr>
            <p:cNvSpPr txBox="1">
              <a:spLocks noChangeArrowheads="1"/>
            </p:cNvSpPr>
            <p:nvPr/>
          </p:nvSpPr>
          <p:spPr bwMode="auto">
            <a:xfrm rot="16200000">
              <a:off x="5570083" y="4049466"/>
              <a:ext cx="1424131" cy="271308"/>
            </a:xfrm>
            <a:prstGeom prst="rect">
              <a:avLst/>
            </a:prstGeom>
            <a:noFill/>
            <a:ln w="9525">
              <a:noFill/>
              <a:miter lim="800000"/>
              <a:headEnd/>
              <a:tailEnd/>
            </a:ln>
          </p:spPr>
          <p:txBody>
            <a:bodyPr wrap="square" anchor="ctr">
              <a:spAutoFit/>
            </a:bodyPr>
            <a:lstStyle>
              <a:defPPr marR="0" lvl="0" algn="l" rtl="0">
                <a:lnSpc>
                  <a:spcPct val="100000"/>
                </a:lnSpc>
                <a:spcBef>
                  <a:spcPts val="0"/>
                </a:spcBef>
                <a:spcAft>
                  <a:spcPts val="0"/>
                </a:spcAft>
                <a:defRPr/>
              </a:defPPr>
              <a:lvl1pPr algn="ctr" fontAlgn="base">
                <a:spcBef>
                  <a:spcPct val="50000"/>
                </a:spcBef>
                <a:spcAft>
                  <a:spcPct val="0"/>
                </a:spcAft>
                <a:defRPr sz="1800" b="1">
                  <a:solidFill>
                    <a:schemeClr val="bg1"/>
                  </a:solidFill>
                  <a:latin typeface="Quattrocento Sans" panose="020B0502050000020003" pitchFamily="34" charset="0"/>
                </a:defRPr>
              </a:lvl1pPr>
            </a:lstStyle>
            <a:p>
              <a:pPr defTabSz="914446">
                <a:buClr>
                  <a:srgbClr val="000000"/>
                </a:buClr>
                <a:defRPr/>
              </a:pPr>
              <a:r>
                <a:rPr lang="en-GB" kern="0" noProof="0">
                  <a:cs typeface="Arial"/>
                  <a:sym typeface="Arial"/>
                </a:rPr>
                <a:t>Security</a:t>
              </a:r>
            </a:p>
          </p:txBody>
        </p:sp>
      </p:grpSp>
      <p:sp>
        <p:nvSpPr>
          <p:cNvPr id="38" name="CuadroTexto 37">
            <a:extLst>
              <a:ext uri="{FF2B5EF4-FFF2-40B4-BE49-F238E27FC236}">
                <a16:creationId xmlns:a16="http://schemas.microsoft.com/office/drawing/2014/main" id="{081CD48A-0521-9DB3-8AD1-962F9338CDF8}"/>
              </a:ext>
            </a:extLst>
          </p:cNvPr>
          <p:cNvSpPr txBox="1"/>
          <p:nvPr/>
        </p:nvSpPr>
        <p:spPr>
          <a:xfrm>
            <a:off x="8049758" y="4177217"/>
            <a:ext cx="2742417" cy="600164"/>
          </a:xfrm>
          <a:prstGeom prst="rect">
            <a:avLst/>
          </a:prstGeom>
        </p:spPr>
        <p:txBody>
          <a:bodyPr wrap="square">
            <a:noAutofit/>
          </a:bodyPr>
          <a:lstStyle>
            <a:defPPr>
              <a:defRPr lang="en-US"/>
            </a:defPPr>
            <a:lvl1pPr defTabSz="609660">
              <a:defRPr sz="1100"/>
            </a:lvl1pPr>
          </a:lstStyle>
          <a:p>
            <a:pPr algn="r"/>
            <a:r>
              <a:rPr lang="en-GB" noProof="0"/>
              <a:t>Protects information through encryption, controls, and compliance. Role- and attribute-based access rules and levels are set. </a:t>
            </a:r>
          </a:p>
        </p:txBody>
      </p:sp>
      <p:sp>
        <p:nvSpPr>
          <p:cNvPr id="40" name="CuadroTexto 39">
            <a:extLst>
              <a:ext uri="{FF2B5EF4-FFF2-40B4-BE49-F238E27FC236}">
                <a16:creationId xmlns:a16="http://schemas.microsoft.com/office/drawing/2014/main" id="{2B44B8A2-F2E5-FF45-7C6B-23286C0D9B48}"/>
              </a:ext>
            </a:extLst>
          </p:cNvPr>
          <p:cNvSpPr txBox="1"/>
          <p:nvPr/>
        </p:nvSpPr>
        <p:spPr>
          <a:xfrm>
            <a:off x="8007709" y="2876069"/>
            <a:ext cx="2858422" cy="600164"/>
          </a:xfrm>
          <a:prstGeom prst="rect">
            <a:avLst/>
          </a:prstGeom>
        </p:spPr>
        <p:txBody>
          <a:bodyPr wrap="square">
            <a:noAutofit/>
          </a:bodyPr>
          <a:lstStyle>
            <a:defPPr>
              <a:defRPr lang="en-US"/>
            </a:defPPr>
            <a:lvl1pPr defTabSz="609660">
              <a:defRPr sz="1100"/>
            </a:lvl1pPr>
          </a:lstStyle>
          <a:p>
            <a:pPr algn="r"/>
            <a:r>
              <a:rPr lang="en-GB" noProof="0"/>
              <a:t>Guarantees key data (customers, products, employees, etc.). Applies consolidation and normalisation rules to achieve a reliable and unified view of information.</a:t>
            </a:r>
          </a:p>
        </p:txBody>
      </p:sp>
      <p:sp>
        <p:nvSpPr>
          <p:cNvPr id="42" name="CuadroTexto 41">
            <a:extLst>
              <a:ext uri="{FF2B5EF4-FFF2-40B4-BE49-F238E27FC236}">
                <a16:creationId xmlns:a16="http://schemas.microsoft.com/office/drawing/2014/main" id="{71168B45-EAC3-0016-A50F-2682418E5DE8}"/>
              </a:ext>
            </a:extLst>
          </p:cNvPr>
          <p:cNvSpPr txBox="1"/>
          <p:nvPr/>
        </p:nvSpPr>
        <p:spPr>
          <a:xfrm>
            <a:off x="4296158" y="5966133"/>
            <a:ext cx="3642371" cy="600164"/>
          </a:xfrm>
          <a:prstGeom prst="rect">
            <a:avLst/>
          </a:prstGeom>
        </p:spPr>
        <p:txBody>
          <a:bodyPr wrap="square">
            <a:noAutofit/>
          </a:bodyPr>
          <a:lstStyle>
            <a:defPPr>
              <a:defRPr lang="en-US"/>
            </a:defPPr>
            <a:lvl1pPr defTabSz="609660">
              <a:defRPr sz="1100"/>
            </a:lvl1pPr>
          </a:lstStyle>
          <a:p>
            <a:pPr algn="ctr"/>
            <a:r>
              <a:rPr lang="en-GB" noProof="0"/>
              <a:t>Organise, integrate, and align data efficiently. It employs governance, monitoring, and exploitation tools to maximise the value of information.</a:t>
            </a:r>
          </a:p>
        </p:txBody>
      </p:sp>
      <p:sp>
        <p:nvSpPr>
          <p:cNvPr id="44" name="CuadroTexto 43">
            <a:extLst>
              <a:ext uri="{FF2B5EF4-FFF2-40B4-BE49-F238E27FC236}">
                <a16:creationId xmlns:a16="http://schemas.microsoft.com/office/drawing/2014/main" id="{55466CB2-29DC-D2DD-355F-854AA965B0B1}"/>
              </a:ext>
            </a:extLst>
          </p:cNvPr>
          <p:cNvSpPr txBox="1"/>
          <p:nvPr/>
        </p:nvSpPr>
        <p:spPr>
          <a:xfrm>
            <a:off x="4127185" y="1805363"/>
            <a:ext cx="3959704" cy="600164"/>
          </a:xfrm>
          <a:prstGeom prst="rect">
            <a:avLst/>
          </a:prstGeom>
        </p:spPr>
        <p:txBody>
          <a:bodyPr wrap="square">
            <a:noAutofit/>
          </a:bodyPr>
          <a:lstStyle>
            <a:defPPr>
              <a:defRPr lang="en-US"/>
            </a:defPPr>
            <a:lvl1pPr defTabSz="609660">
              <a:defRPr sz="1100"/>
            </a:lvl1pPr>
          </a:lstStyle>
          <a:p>
            <a:pPr algn="ctr"/>
            <a:r>
              <a:rPr lang="en-GB" noProof="0"/>
              <a:t>Structure and leadership for data management. Organisational models, committees and key guidelines. Combines effective communication.</a:t>
            </a:r>
          </a:p>
        </p:txBody>
      </p:sp>
      <p:cxnSp>
        <p:nvCxnSpPr>
          <p:cNvPr id="45" name="Straight Arrow Connector 69">
            <a:extLst>
              <a:ext uri="{FF2B5EF4-FFF2-40B4-BE49-F238E27FC236}">
                <a16:creationId xmlns:a16="http://schemas.microsoft.com/office/drawing/2014/main" id="{3B9EC17F-634A-3A17-D0B2-E64E346B778F}"/>
              </a:ext>
            </a:extLst>
          </p:cNvPr>
          <p:cNvCxnSpPr>
            <a:cxnSpLocks/>
          </p:cNvCxnSpPr>
          <p:nvPr/>
        </p:nvCxnSpPr>
        <p:spPr>
          <a:xfrm flipV="1">
            <a:off x="6117344" y="5682239"/>
            <a:ext cx="0" cy="291941"/>
          </a:xfrm>
          <a:prstGeom prst="straightConnector1">
            <a:avLst/>
          </a:prstGeom>
          <a:noFill/>
          <a:ln w="28575">
            <a:solidFill>
              <a:srgbClr val="A6A6A6"/>
            </a:solidFill>
          </a:ln>
        </p:spPr>
      </p:cxnSp>
      <p:cxnSp>
        <p:nvCxnSpPr>
          <p:cNvPr id="49" name="Straight Arrow Connector 69">
            <a:extLst>
              <a:ext uri="{FF2B5EF4-FFF2-40B4-BE49-F238E27FC236}">
                <a16:creationId xmlns:a16="http://schemas.microsoft.com/office/drawing/2014/main" id="{6C3CD3FE-353F-D9AA-142F-52A0E58FD1B1}"/>
              </a:ext>
            </a:extLst>
          </p:cNvPr>
          <p:cNvCxnSpPr>
            <a:cxnSpLocks/>
          </p:cNvCxnSpPr>
          <p:nvPr/>
        </p:nvCxnSpPr>
        <p:spPr>
          <a:xfrm flipV="1">
            <a:off x="6107037" y="2516146"/>
            <a:ext cx="0" cy="291941"/>
          </a:xfrm>
          <a:prstGeom prst="straightConnector1">
            <a:avLst/>
          </a:prstGeom>
          <a:noFill/>
          <a:ln w="28575">
            <a:solidFill>
              <a:srgbClr val="A6A6A6"/>
            </a:solidFill>
          </a:ln>
        </p:spPr>
      </p:cxnSp>
      <p:pic>
        <p:nvPicPr>
          <p:cNvPr id="14" name="Imagen 13" descr="Logotipo&#10;&#10;Descripción generada automáticamente">
            <a:extLst>
              <a:ext uri="{FF2B5EF4-FFF2-40B4-BE49-F238E27FC236}">
                <a16:creationId xmlns:a16="http://schemas.microsoft.com/office/drawing/2014/main" id="{EC756E3C-70FC-B610-1618-55FC485E61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59715" y="6016747"/>
            <a:ext cx="2085823" cy="481343"/>
          </a:xfrm>
          <a:prstGeom prst="rect">
            <a:avLst/>
          </a:prstGeom>
        </p:spPr>
      </p:pic>
      <p:sp>
        <p:nvSpPr>
          <p:cNvPr id="29" name="Rectángulo 28">
            <a:extLst>
              <a:ext uri="{FF2B5EF4-FFF2-40B4-BE49-F238E27FC236}">
                <a16:creationId xmlns:a16="http://schemas.microsoft.com/office/drawing/2014/main" id="{7D6EFB50-ED2C-5A76-DFA7-DFDBD5B5B3BD}"/>
              </a:ext>
            </a:extLst>
          </p:cNvPr>
          <p:cNvSpPr/>
          <p:nvPr/>
        </p:nvSpPr>
        <p:spPr>
          <a:xfrm>
            <a:off x="4475098" y="3371221"/>
            <a:ext cx="3125450" cy="128583"/>
          </a:xfrm>
          <a:prstGeom prst="rect">
            <a:avLst/>
          </a:prstGeom>
          <a:solidFill>
            <a:schemeClr val="bg1"/>
          </a:solid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Tree>
    <p:extLst>
      <p:ext uri="{BB962C8B-B14F-4D97-AF65-F5344CB8AC3E}">
        <p14:creationId xmlns:p14="http://schemas.microsoft.com/office/powerpoint/2010/main" val="7927266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001ECD-C12A-A391-5836-F4EF87D9C543}"/>
            </a:ext>
          </a:extLst>
        </p:cNvPr>
        <p:cNvGrpSpPr/>
        <p:nvPr/>
      </p:nvGrpSpPr>
      <p:grpSpPr>
        <a:xfrm>
          <a:off x="0" y="0"/>
          <a:ext cx="0" cy="0"/>
          <a:chOff x="0" y="0"/>
          <a:chExt cx="0" cy="0"/>
        </a:xfrm>
      </p:grpSpPr>
      <p:sp>
        <p:nvSpPr>
          <p:cNvPr id="2" name="Rectangle 57">
            <a:extLst>
              <a:ext uri="{FF2B5EF4-FFF2-40B4-BE49-F238E27FC236}">
                <a16:creationId xmlns:a16="http://schemas.microsoft.com/office/drawing/2014/main" id="{40DAC20E-97BC-E0A5-1133-3BBE17A382DA}"/>
              </a:ext>
            </a:extLst>
          </p:cNvPr>
          <p:cNvSpPr>
            <a:spLocks noChangeArrowheads="1"/>
          </p:cNvSpPr>
          <p:nvPr/>
        </p:nvSpPr>
        <p:spPr bwMode="gray">
          <a:xfrm>
            <a:off x="226220" y="198916"/>
            <a:ext cx="7407741" cy="707832"/>
          </a:xfrm>
          <a:prstGeom prst="rect">
            <a:avLst/>
          </a:prstGeom>
          <a:noFill/>
          <a:ln w="9525">
            <a:noFill/>
            <a:miter lim="800000"/>
            <a:headEnd/>
            <a:tailEnd/>
          </a:ln>
          <a:effectLst/>
        </p:spPr>
        <p:txBody>
          <a:bodyPr wrap="square" lIns="91386" tIns="45693" rIns="91386" bIns="45693" anchor="t">
            <a:spAutoFit/>
          </a:bodyPr>
          <a:lstStyle/>
          <a:p>
            <a:pPr defTabSz="609630"/>
            <a:r>
              <a:rPr lang="en-GB" sz="4000" b="1" noProof="0" dirty="0">
                <a:solidFill>
                  <a:schemeClr val="tx1">
                    <a:lumMod val="95000"/>
                    <a:lumOff val="5000"/>
                  </a:schemeClr>
                </a:solidFill>
                <a:latin typeface="Quattrocento Sans" panose="020B0502050000020003" pitchFamily="34" charset="0"/>
                <a:ea typeface="Lato"/>
                <a:cs typeface="Lato"/>
                <a:sym typeface="Arial"/>
              </a:rPr>
              <a:t>Data Governance</a:t>
            </a:r>
            <a:endParaRPr lang="en-GB" kern="0" noProof="0" dirty="0">
              <a:solidFill>
                <a:srgbClr val="8A0051"/>
              </a:solidFill>
              <a:latin typeface="Quattrocento Sans" panose="020B0502050000020003" pitchFamily="34" charset="0"/>
              <a:cs typeface="Calibri"/>
              <a:sym typeface="Calibri"/>
            </a:endParaRPr>
          </a:p>
        </p:txBody>
      </p:sp>
      <p:pic>
        <p:nvPicPr>
          <p:cNvPr id="11" name="Imagen 10" descr="Logotipo&#10;&#10;Descripción generada automáticamente">
            <a:extLst>
              <a:ext uri="{FF2B5EF4-FFF2-40B4-BE49-F238E27FC236}">
                <a16:creationId xmlns:a16="http://schemas.microsoft.com/office/drawing/2014/main" id="{430C2220-AB11-191D-B7FE-13F670DC5F0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75643" y="422965"/>
            <a:ext cx="1935381" cy="446626"/>
          </a:xfrm>
          <a:prstGeom prst="rect">
            <a:avLst/>
          </a:prstGeom>
        </p:spPr>
      </p:pic>
      <p:pic>
        <p:nvPicPr>
          <p:cNvPr id="1026" name="Picture 2" descr="AstraZeneca Logo, symbol, meaning, history, PNG, brand">
            <a:extLst>
              <a:ext uri="{FF2B5EF4-FFF2-40B4-BE49-F238E27FC236}">
                <a16:creationId xmlns:a16="http://schemas.microsoft.com/office/drawing/2014/main" id="{4B4A93EB-7D70-B091-7CEC-653F6B96003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75018" y="213658"/>
            <a:ext cx="1267373" cy="712897"/>
          </a:xfrm>
          <a:prstGeom prst="rect">
            <a:avLst/>
          </a:prstGeom>
          <a:noFill/>
          <a:extLst>
            <a:ext uri="{909E8E84-426E-40DD-AFC4-6F175D3DCCD1}">
              <a14:hiddenFill xmlns:a14="http://schemas.microsoft.com/office/drawing/2010/main">
                <a:solidFill>
                  <a:srgbClr val="FFFFFF"/>
                </a:solidFill>
              </a14:hiddenFill>
            </a:ext>
          </a:extLst>
        </p:spPr>
      </p:pic>
      <p:sp>
        <p:nvSpPr>
          <p:cNvPr id="3" name="Object13">
            <a:extLst>
              <a:ext uri="{FF2B5EF4-FFF2-40B4-BE49-F238E27FC236}">
                <a16:creationId xmlns:a16="http://schemas.microsoft.com/office/drawing/2014/main" id="{FA42B0B6-2473-4964-2453-A580CDF7AE4B}"/>
              </a:ext>
            </a:extLst>
          </p:cNvPr>
          <p:cNvSpPr txBox="1"/>
          <p:nvPr/>
        </p:nvSpPr>
        <p:spPr>
          <a:xfrm>
            <a:off x="297025" y="1250817"/>
            <a:ext cx="7105119" cy="86177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t">
            <a:spAutoFit/>
          </a:bodyPr>
          <a:lstStyle>
            <a:lvl1pPr>
              <a:lnSpc>
                <a:spcPts val="1900"/>
              </a:lnSpc>
              <a:defRPr sz="1300">
                <a:solidFill>
                  <a:srgbClr val="2D2D2D"/>
                </a:solidFill>
                <a:latin typeface="DM Sans Regular"/>
                <a:ea typeface="DM Sans Regular"/>
                <a:cs typeface="DM Sans Regular"/>
                <a:sym typeface="DM Sans Regular"/>
              </a:defRPr>
            </a:lvl1pPr>
          </a:lstStyle>
          <a:p>
            <a:pPr defTabSz="914446">
              <a:lnSpc>
                <a:spcPct val="100000"/>
              </a:lnSpc>
              <a:buClr>
                <a:srgbClr val="000000"/>
              </a:buClr>
              <a:defRPr/>
            </a:pPr>
            <a:r>
              <a:rPr lang="en-GB" sz="1400" kern="0" noProof="0">
                <a:solidFill>
                  <a:srgbClr val="000000">
                    <a:lumMod val="95000"/>
                    <a:lumOff val="5000"/>
                  </a:srgbClr>
                </a:solidFill>
                <a:latin typeface="Quattrocento Sans"/>
                <a:cs typeface="Arial"/>
                <a:sym typeface="Arial"/>
              </a:rPr>
              <a:t>Data Governance seeks alignment with a </a:t>
            </a:r>
            <a:r>
              <a:rPr lang="en-GB" sz="1400" b="1" kern="0" noProof="0">
                <a:solidFill>
                  <a:srgbClr val="000000">
                    <a:lumMod val="95000"/>
                    <a:lumOff val="5000"/>
                  </a:srgbClr>
                </a:solidFill>
                <a:latin typeface="Quattrocento Sans"/>
                <a:cs typeface="Arial"/>
                <a:sym typeface="Arial"/>
              </a:rPr>
              <a:t>Data Driven AI Organization </a:t>
            </a:r>
            <a:r>
              <a:rPr lang="en-GB" sz="1400" kern="0" noProof="0">
                <a:solidFill>
                  <a:srgbClr val="000000">
                    <a:lumMod val="95000"/>
                    <a:lumOff val="5000"/>
                  </a:srgbClr>
                </a:solidFill>
                <a:latin typeface="Quattrocento Sans"/>
                <a:cs typeface="Arial"/>
                <a:sym typeface="Arial"/>
              </a:rPr>
              <a:t>(Data culture + Technology) strategy, where </a:t>
            </a:r>
            <a:r>
              <a:rPr lang="en-GB" sz="1400" b="1" kern="0" noProof="0">
                <a:solidFill>
                  <a:srgbClr val="000000">
                    <a:lumMod val="95000"/>
                    <a:lumOff val="5000"/>
                  </a:srgbClr>
                </a:solidFill>
                <a:latin typeface="Quattrocento Sans"/>
                <a:cs typeface="Arial"/>
                <a:sym typeface="Arial"/>
              </a:rPr>
              <a:t>data is a strategic asset</a:t>
            </a:r>
            <a:r>
              <a:rPr lang="en-GB" sz="1400" kern="0" noProof="0">
                <a:solidFill>
                  <a:srgbClr val="000000">
                    <a:lumMod val="95000"/>
                    <a:lumOff val="5000"/>
                  </a:srgbClr>
                </a:solidFill>
                <a:latin typeface="Quattrocento Sans"/>
                <a:cs typeface="Arial"/>
                <a:sym typeface="Arial"/>
              </a:rPr>
              <a:t>.</a:t>
            </a:r>
          </a:p>
          <a:p>
            <a:pPr defTabSz="914446">
              <a:lnSpc>
                <a:spcPct val="100000"/>
              </a:lnSpc>
              <a:buClr>
                <a:srgbClr val="000000"/>
              </a:buClr>
              <a:defRPr/>
            </a:pPr>
            <a:endParaRPr lang="en-GB" sz="1400" b="1" kern="0" noProof="0">
              <a:solidFill>
                <a:srgbClr val="000000">
                  <a:lumMod val="95000"/>
                  <a:lumOff val="5000"/>
                </a:srgbClr>
              </a:solidFill>
              <a:latin typeface="Quattrocento Sans"/>
              <a:cs typeface="Arial"/>
              <a:sym typeface="Arial"/>
            </a:endParaRPr>
          </a:p>
          <a:p>
            <a:pPr defTabSz="914446">
              <a:lnSpc>
                <a:spcPct val="100000"/>
              </a:lnSpc>
              <a:buClr>
                <a:srgbClr val="000000"/>
              </a:buClr>
              <a:defRPr/>
            </a:pPr>
            <a:r>
              <a:rPr lang="en-GB" sz="1400" kern="0" noProof="0">
                <a:solidFill>
                  <a:srgbClr val="000000">
                    <a:lumMod val="95000"/>
                    <a:lumOff val="5000"/>
                  </a:srgbClr>
                </a:solidFill>
                <a:latin typeface="Quattrocento Sans"/>
                <a:cs typeface="Arial"/>
                <a:sym typeface="Arial"/>
              </a:rPr>
              <a:t>It is based on the following </a:t>
            </a:r>
            <a:r>
              <a:rPr lang="en-GB" sz="1400" b="1" kern="0" noProof="0">
                <a:solidFill>
                  <a:srgbClr val="000000">
                    <a:lumMod val="95000"/>
                    <a:lumOff val="5000"/>
                  </a:srgbClr>
                </a:solidFill>
                <a:latin typeface="Quattrocento Sans"/>
                <a:cs typeface="Arial"/>
                <a:sym typeface="Arial"/>
              </a:rPr>
              <a:t>pillars</a:t>
            </a:r>
            <a:r>
              <a:rPr lang="en-GB" sz="1400" kern="0" noProof="0">
                <a:solidFill>
                  <a:srgbClr val="000000">
                    <a:lumMod val="95000"/>
                    <a:lumOff val="5000"/>
                  </a:srgbClr>
                </a:solidFill>
                <a:latin typeface="Quattrocento Sans"/>
                <a:cs typeface="Arial"/>
                <a:sym typeface="Arial"/>
              </a:rPr>
              <a:t>: </a:t>
            </a:r>
          </a:p>
        </p:txBody>
      </p:sp>
      <p:sp>
        <p:nvSpPr>
          <p:cNvPr id="4" name="Triángulo isósceles 3">
            <a:extLst>
              <a:ext uri="{FF2B5EF4-FFF2-40B4-BE49-F238E27FC236}">
                <a16:creationId xmlns:a16="http://schemas.microsoft.com/office/drawing/2014/main" id="{03EFE27A-43AD-6138-2913-763845E45C3D}"/>
              </a:ext>
            </a:extLst>
          </p:cNvPr>
          <p:cNvSpPr>
            <a:spLocks/>
          </p:cNvSpPr>
          <p:nvPr/>
        </p:nvSpPr>
        <p:spPr>
          <a:xfrm>
            <a:off x="4376954" y="2806774"/>
            <a:ext cx="3321738" cy="511673"/>
          </a:xfrm>
          <a:prstGeom prst="triangle">
            <a:avLst>
              <a:gd name="adj" fmla="val 51721"/>
            </a:avLst>
          </a:prstGeom>
          <a:no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5" name="Rectangle 60">
            <a:extLst>
              <a:ext uri="{FF2B5EF4-FFF2-40B4-BE49-F238E27FC236}">
                <a16:creationId xmlns:a16="http://schemas.microsoft.com/office/drawing/2014/main" id="{E217F87E-776A-D150-7283-3F8DCF5A0D00}"/>
              </a:ext>
            </a:extLst>
          </p:cNvPr>
          <p:cNvSpPr/>
          <p:nvPr/>
        </p:nvSpPr>
        <p:spPr>
          <a:xfrm>
            <a:off x="1484608" y="4382631"/>
            <a:ext cx="2892346" cy="773836"/>
          </a:xfrm>
          <a:prstGeom prst="rect">
            <a:avLst/>
          </a:prstGeom>
        </p:spPr>
        <p:txBody>
          <a:bodyPr wrap="square">
            <a:noAutofit/>
          </a:bodyPr>
          <a:lstStyle/>
          <a:p>
            <a:pPr defTabSz="609660">
              <a:defRPr/>
            </a:pPr>
            <a:r>
              <a:rPr lang="en-GB" sz="1100" noProof="0"/>
              <a:t>Discovery of the origin and path of data with full transparency. Centralise catalogues, glossaries, and metadata management.</a:t>
            </a:r>
            <a:endParaRPr lang="en-GB" sz="1100" kern="0" noProof="0">
              <a:solidFill>
                <a:srgbClr val="000000">
                  <a:lumMod val="95000"/>
                  <a:lumOff val="5000"/>
                </a:srgbClr>
              </a:solidFill>
              <a:latin typeface="Quattrocento Sans"/>
              <a:cs typeface="Arial"/>
              <a:sym typeface="Arial"/>
            </a:endParaRPr>
          </a:p>
        </p:txBody>
      </p:sp>
      <p:sp>
        <p:nvSpPr>
          <p:cNvPr id="6" name="Rectangle 68">
            <a:extLst>
              <a:ext uri="{FF2B5EF4-FFF2-40B4-BE49-F238E27FC236}">
                <a16:creationId xmlns:a16="http://schemas.microsoft.com/office/drawing/2014/main" id="{70D3105D-EBB3-4882-A33C-864A372A1753}"/>
              </a:ext>
            </a:extLst>
          </p:cNvPr>
          <p:cNvSpPr/>
          <p:nvPr/>
        </p:nvSpPr>
        <p:spPr>
          <a:xfrm>
            <a:off x="1506333" y="3249097"/>
            <a:ext cx="2639800" cy="955949"/>
          </a:xfrm>
          <a:prstGeom prst="rect">
            <a:avLst/>
          </a:prstGeom>
        </p:spPr>
        <p:txBody>
          <a:bodyPr wrap="square">
            <a:noAutofit/>
          </a:bodyPr>
          <a:lstStyle/>
          <a:p>
            <a:pPr defTabSz="609660">
              <a:defRPr/>
            </a:pPr>
            <a:r>
              <a:rPr lang="en-GB" sz="1100" noProof="0"/>
              <a:t>It ensures accurate, complete and always up-to-date data. It establishes business rules and general rules.</a:t>
            </a:r>
            <a:endParaRPr lang="en-GB" sz="1100" kern="0" noProof="0">
              <a:solidFill>
                <a:srgbClr val="000000">
                  <a:lumMod val="95000"/>
                  <a:lumOff val="5000"/>
                </a:srgbClr>
              </a:solidFill>
              <a:latin typeface="Quattrocento Sans"/>
              <a:cs typeface="Arial"/>
              <a:sym typeface="Arial"/>
            </a:endParaRPr>
          </a:p>
        </p:txBody>
      </p:sp>
      <p:sp>
        <p:nvSpPr>
          <p:cNvPr id="7" name="Rectángulo 6">
            <a:extLst>
              <a:ext uri="{FF2B5EF4-FFF2-40B4-BE49-F238E27FC236}">
                <a16:creationId xmlns:a16="http://schemas.microsoft.com/office/drawing/2014/main" id="{72E5F10F-30A1-4754-8ED0-F45E81D517C2}"/>
              </a:ext>
            </a:extLst>
          </p:cNvPr>
          <p:cNvSpPr/>
          <p:nvPr/>
        </p:nvSpPr>
        <p:spPr>
          <a:xfrm>
            <a:off x="4364545" y="5170676"/>
            <a:ext cx="3365225" cy="148912"/>
          </a:xfrm>
          <a:prstGeom prst="rect">
            <a:avLst/>
          </a:prstGeom>
          <a:solidFill>
            <a:schemeClr val="bg1"/>
          </a:solid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8" name="Rectángulo 7">
            <a:extLst>
              <a:ext uri="{FF2B5EF4-FFF2-40B4-BE49-F238E27FC236}">
                <a16:creationId xmlns:a16="http://schemas.microsoft.com/office/drawing/2014/main" id="{74FA6416-2CC7-F61D-85E2-57DBC5476D8D}"/>
              </a:ext>
            </a:extLst>
          </p:cNvPr>
          <p:cNvSpPr/>
          <p:nvPr/>
        </p:nvSpPr>
        <p:spPr>
          <a:xfrm>
            <a:off x="4206671" y="5319075"/>
            <a:ext cx="3642373" cy="363164"/>
          </a:xfrm>
          <a:prstGeom prst="rect">
            <a:avLst/>
          </a:prstGeom>
          <a:solidFill>
            <a:schemeClr val="bg1"/>
          </a:solid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9" name="Rectángulo 8">
            <a:extLst>
              <a:ext uri="{FF2B5EF4-FFF2-40B4-BE49-F238E27FC236}">
                <a16:creationId xmlns:a16="http://schemas.microsoft.com/office/drawing/2014/main" id="{98FA246E-3A46-E583-3CBA-E5CB54DA8493}"/>
              </a:ext>
            </a:extLst>
          </p:cNvPr>
          <p:cNvSpPr/>
          <p:nvPr/>
        </p:nvSpPr>
        <p:spPr>
          <a:xfrm>
            <a:off x="4379564" y="5252523"/>
            <a:ext cx="3337200" cy="248799"/>
          </a:xfrm>
          <a:prstGeom prst="rect">
            <a:avLst/>
          </a:prstGeom>
          <a:solidFill>
            <a:schemeClr val="bg1"/>
          </a:solidFill>
          <a:ln w="1079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10" name="Text Box 3">
            <a:extLst>
              <a:ext uri="{FF2B5EF4-FFF2-40B4-BE49-F238E27FC236}">
                <a16:creationId xmlns:a16="http://schemas.microsoft.com/office/drawing/2014/main" id="{2FB44C25-1A71-A246-EBAB-5131895F74DB}"/>
              </a:ext>
            </a:extLst>
          </p:cNvPr>
          <p:cNvSpPr txBox="1">
            <a:spLocks noChangeArrowheads="1"/>
          </p:cNvSpPr>
          <p:nvPr/>
        </p:nvSpPr>
        <p:spPr bwMode="auto">
          <a:xfrm>
            <a:off x="4974532" y="5239742"/>
            <a:ext cx="2106650" cy="369332"/>
          </a:xfrm>
          <a:prstGeom prst="rect">
            <a:avLst/>
          </a:prstGeom>
          <a:solidFill>
            <a:schemeClr val="bg1"/>
          </a:solidFill>
          <a:ln w="9525">
            <a:noFill/>
            <a:miter lim="800000"/>
            <a:headEnd/>
            <a:tailEnd/>
          </a:ln>
        </p:spPr>
        <p:txBody>
          <a:bodyPr wrap="square">
            <a:spAutoFit/>
          </a:bodyPr>
          <a:lstStyle>
            <a:defPPr marR="0" lvl="0" algn="l" rtl="0">
              <a:lnSpc>
                <a:spcPct val="100000"/>
              </a:lnSpc>
              <a:spcBef>
                <a:spcPts val="0"/>
              </a:spcBef>
              <a:spcAft>
                <a:spcPts val="0"/>
              </a:spcAft>
              <a:defRPr/>
            </a:defPPr>
            <a:lvl1pPr algn="ctr" fontAlgn="base">
              <a:spcBef>
                <a:spcPct val="50000"/>
              </a:spcBef>
              <a:spcAft>
                <a:spcPct val="0"/>
              </a:spcAft>
              <a:defRPr sz="1800" b="1">
                <a:solidFill>
                  <a:schemeClr val="bg1"/>
                </a:solidFill>
                <a:latin typeface="Quattrocento Sans" panose="020B0502050000020003" pitchFamily="34" charset="0"/>
              </a:defRPr>
            </a:lvl1pPr>
          </a:lstStyle>
          <a:p>
            <a:pPr defTabSz="914446">
              <a:buClr>
                <a:srgbClr val="000000"/>
              </a:buClr>
              <a:defRPr/>
            </a:pPr>
            <a:r>
              <a:rPr lang="en-GB" kern="0" noProof="0">
                <a:solidFill>
                  <a:srgbClr val="000000">
                    <a:lumMod val="95000"/>
                    <a:lumOff val="5000"/>
                  </a:srgbClr>
                </a:solidFill>
                <a:cs typeface="Arial"/>
                <a:sym typeface="Arial"/>
              </a:rPr>
              <a:t>Architecture</a:t>
            </a:r>
          </a:p>
        </p:txBody>
      </p:sp>
      <p:grpSp>
        <p:nvGrpSpPr>
          <p:cNvPr id="12" name="Grupo 11">
            <a:extLst>
              <a:ext uri="{FF2B5EF4-FFF2-40B4-BE49-F238E27FC236}">
                <a16:creationId xmlns:a16="http://schemas.microsoft.com/office/drawing/2014/main" id="{11289D02-8FFE-E12A-5E99-CC0CD2E392CD}"/>
              </a:ext>
            </a:extLst>
          </p:cNvPr>
          <p:cNvGrpSpPr/>
          <p:nvPr/>
        </p:nvGrpSpPr>
        <p:grpSpPr>
          <a:xfrm>
            <a:off x="4671207" y="3508153"/>
            <a:ext cx="646331" cy="1656000"/>
            <a:chOff x="4621921" y="3316992"/>
            <a:chExt cx="719703" cy="1680294"/>
          </a:xfrm>
          <a:solidFill>
            <a:srgbClr val="00456E"/>
          </a:solidFill>
        </p:grpSpPr>
        <p:sp>
          <p:nvSpPr>
            <p:cNvPr id="13" name="Trapecio 12">
              <a:extLst>
                <a:ext uri="{FF2B5EF4-FFF2-40B4-BE49-F238E27FC236}">
                  <a16:creationId xmlns:a16="http://schemas.microsoft.com/office/drawing/2014/main" id="{4B1F8E9B-FFC0-210A-7EE5-890DE87D2D24}"/>
                </a:ext>
              </a:extLst>
            </p:cNvPr>
            <p:cNvSpPr/>
            <p:nvPr/>
          </p:nvSpPr>
          <p:spPr>
            <a:xfrm>
              <a:off x="4678746" y="3316992"/>
              <a:ext cx="646330" cy="1680294"/>
            </a:xfrm>
            <a:prstGeom prst="trapezoid">
              <a:avLst>
                <a:gd name="adj" fmla="val 0"/>
              </a:avLst>
            </a:prstGeom>
            <a:no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pPr>
              <a:endParaRPr lang="en-GB" sz="933" kern="0">
                <a:solidFill>
                  <a:srgbClr val="000000">
                    <a:lumMod val="95000"/>
                    <a:lumOff val="5000"/>
                  </a:srgbClr>
                </a:solidFill>
                <a:latin typeface="Quattrocento Sans" panose="020B0502050000020003" pitchFamily="34" charset="0"/>
                <a:cs typeface="Helvetica"/>
                <a:sym typeface="Arial"/>
              </a:endParaRPr>
            </a:p>
          </p:txBody>
        </p:sp>
        <p:sp>
          <p:nvSpPr>
            <p:cNvPr id="14" name="Text Box 3">
              <a:extLst>
                <a:ext uri="{FF2B5EF4-FFF2-40B4-BE49-F238E27FC236}">
                  <a16:creationId xmlns:a16="http://schemas.microsoft.com/office/drawing/2014/main" id="{E520801A-393D-053E-ADB1-A3958EB8C0D9}"/>
                </a:ext>
              </a:extLst>
            </p:cNvPr>
            <p:cNvSpPr txBox="1">
              <a:spLocks noChangeArrowheads="1"/>
            </p:cNvSpPr>
            <p:nvPr/>
          </p:nvSpPr>
          <p:spPr bwMode="auto">
            <a:xfrm rot="16200000">
              <a:off x="4276766" y="3793397"/>
              <a:ext cx="1410014" cy="719703"/>
            </a:xfrm>
            <a:prstGeom prst="rect">
              <a:avLst/>
            </a:prstGeom>
            <a:noFill/>
            <a:ln w="9525">
              <a:noFill/>
              <a:miter lim="800000"/>
              <a:headEnd/>
              <a:tailEnd/>
            </a:ln>
          </p:spPr>
          <p:txBody>
            <a:bodyPr wrap="square">
              <a:spAutoFit/>
            </a:bodyPr>
            <a:lstStyle>
              <a:defPPr marR="0" lvl="0" algn="l" rtl="0">
                <a:lnSpc>
                  <a:spcPct val="100000"/>
                </a:lnSpc>
                <a:spcBef>
                  <a:spcPts val="0"/>
                </a:spcBef>
                <a:spcAft>
                  <a:spcPts val="0"/>
                </a:spcAft>
                <a:defRPr lang="es-ES"/>
              </a:defPPr>
              <a:lvl1pPr algn="ctr" defTabSz="914446" fontAlgn="base">
                <a:spcBef>
                  <a:spcPct val="50000"/>
                </a:spcBef>
                <a:spcAft>
                  <a:spcPct val="0"/>
                </a:spcAft>
                <a:buClr>
                  <a:srgbClr val="000000"/>
                </a:buClr>
                <a:defRPr b="1" kern="0">
                  <a:solidFill>
                    <a:srgbClr val="000000">
                      <a:lumMod val="95000"/>
                      <a:lumOff val="5000"/>
                    </a:srgbClr>
                  </a:solidFill>
                  <a:latin typeface="Quattrocento Sans" panose="020B0502050000020003" pitchFamily="34" charset="0"/>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GB" dirty="0">
                  <a:sym typeface="Arial"/>
                </a:rPr>
                <a:t>Lineage and Catalogue</a:t>
              </a:r>
            </a:p>
          </p:txBody>
        </p:sp>
      </p:grpSp>
      <p:grpSp>
        <p:nvGrpSpPr>
          <p:cNvPr id="15" name="Grupo 14">
            <a:extLst>
              <a:ext uri="{FF2B5EF4-FFF2-40B4-BE49-F238E27FC236}">
                <a16:creationId xmlns:a16="http://schemas.microsoft.com/office/drawing/2014/main" id="{E36A1808-A581-02D0-A2E2-652F3EA19AE7}"/>
              </a:ext>
            </a:extLst>
          </p:cNvPr>
          <p:cNvGrpSpPr/>
          <p:nvPr/>
        </p:nvGrpSpPr>
        <p:grpSpPr>
          <a:xfrm>
            <a:off x="5462266" y="3508153"/>
            <a:ext cx="580439" cy="1656000"/>
            <a:chOff x="5408193" y="3297985"/>
            <a:chExt cx="426385" cy="1680293"/>
          </a:xfrm>
        </p:grpSpPr>
        <p:sp>
          <p:nvSpPr>
            <p:cNvPr id="16" name="Trapecio 15">
              <a:extLst>
                <a:ext uri="{FF2B5EF4-FFF2-40B4-BE49-F238E27FC236}">
                  <a16:creationId xmlns:a16="http://schemas.microsoft.com/office/drawing/2014/main" id="{6C08F157-7C4D-DBDE-55D5-1EA899A2F222}"/>
                </a:ext>
              </a:extLst>
            </p:cNvPr>
            <p:cNvSpPr/>
            <p:nvPr/>
          </p:nvSpPr>
          <p:spPr>
            <a:xfrm>
              <a:off x="5408193" y="3297985"/>
              <a:ext cx="426385" cy="1680293"/>
            </a:xfrm>
            <a:prstGeom prst="trapezoid">
              <a:avLst>
                <a:gd name="adj" fmla="val 0"/>
              </a:avLst>
            </a:prstGeom>
            <a:no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pPr>
              <a:endParaRPr lang="en-GB" sz="933" kern="0">
                <a:solidFill>
                  <a:srgbClr val="000000">
                    <a:lumMod val="95000"/>
                    <a:lumOff val="5000"/>
                  </a:srgbClr>
                </a:solidFill>
                <a:latin typeface="Quattrocento Sans" panose="020B0502050000020003" pitchFamily="34" charset="0"/>
                <a:cs typeface="Helvetica"/>
                <a:sym typeface="Arial"/>
              </a:endParaRPr>
            </a:p>
          </p:txBody>
        </p:sp>
        <p:sp>
          <p:nvSpPr>
            <p:cNvPr id="17" name="Text Box 3">
              <a:extLst>
                <a:ext uri="{FF2B5EF4-FFF2-40B4-BE49-F238E27FC236}">
                  <a16:creationId xmlns:a16="http://schemas.microsoft.com/office/drawing/2014/main" id="{035928A5-44AA-D558-7CC1-B10F91523A1B}"/>
                </a:ext>
              </a:extLst>
            </p:cNvPr>
            <p:cNvSpPr txBox="1">
              <a:spLocks noChangeArrowheads="1"/>
            </p:cNvSpPr>
            <p:nvPr/>
          </p:nvSpPr>
          <p:spPr bwMode="auto">
            <a:xfrm rot="16200000">
              <a:off x="5047290" y="4002477"/>
              <a:ext cx="1148191" cy="271308"/>
            </a:xfrm>
            <a:prstGeom prst="rect">
              <a:avLst/>
            </a:prstGeom>
            <a:noFill/>
            <a:ln w="9525">
              <a:noFill/>
              <a:miter lim="800000"/>
              <a:headEnd/>
              <a:tailEnd/>
            </a:ln>
          </p:spPr>
          <p:txBody>
            <a:bodyPr wrap="square">
              <a:spAutoFit/>
            </a:bodyPr>
            <a:lstStyle>
              <a:defPPr marR="0" lvl="0" algn="l" rtl="0">
                <a:lnSpc>
                  <a:spcPct val="100000"/>
                </a:lnSpc>
                <a:spcBef>
                  <a:spcPts val="0"/>
                </a:spcBef>
                <a:spcAft>
                  <a:spcPts val="0"/>
                </a:spcAft>
                <a:defRPr lang="es-ES"/>
              </a:defPPr>
              <a:lvl1pPr algn="ctr" defTabSz="914446" fontAlgn="base">
                <a:spcBef>
                  <a:spcPct val="50000"/>
                </a:spcBef>
                <a:spcAft>
                  <a:spcPct val="0"/>
                </a:spcAft>
                <a:buClr>
                  <a:srgbClr val="000000"/>
                </a:buClr>
                <a:defRPr b="1" kern="0">
                  <a:solidFill>
                    <a:srgbClr val="000000">
                      <a:lumMod val="95000"/>
                      <a:lumOff val="5000"/>
                    </a:srgbClr>
                  </a:solidFill>
                  <a:latin typeface="Quattrocento Sans" panose="020B0502050000020003" pitchFamily="34" charset="0"/>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GB" dirty="0">
                  <a:sym typeface="Arial"/>
                </a:rPr>
                <a:t>Quality</a:t>
              </a:r>
            </a:p>
          </p:txBody>
        </p:sp>
      </p:grpSp>
      <p:grpSp>
        <p:nvGrpSpPr>
          <p:cNvPr id="18" name="Grupo 17">
            <a:extLst>
              <a:ext uri="{FF2B5EF4-FFF2-40B4-BE49-F238E27FC236}">
                <a16:creationId xmlns:a16="http://schemas.microsoft.com/office/drawing/2014/main" id="{C4433F0F-B641-B52A-741E-420B78F76AA2}"/>
              </a:ext>
            </a:extLst>
          </p:cNvPr>
          <p:cNvGrpSpPr/>
          <p:nvPr/>
        </p:nvGrpSpPr>
        <p:grpSpPr>
          <a:xfrm>
            <a:off x="6799689" y="3508153"/>
            <a:ext cx="646331" cy="1656000"/>
            <a:chOff x="6708405" y="3318803"/>
            <a:chExt cx="472833" cy="1680293"/>
          </a:xfrm>
        </p:grpSpPr>
        <p:sp>
          <p:nvSpPr>
            <p:cNvPr id="19" name="Trapecio 18">
              <a:extLst>
                <a:ext uri="{FF2B5EF4-FFF2-40B4-BE49-F238E27FC236}">
                  <a16:creationId xmlns:a16="http://schemas.microsoft.com/office/drawing/2014/main" id="{B0A51E84-8283-633A-66CB-1C4235F4ACC7}"/>
                </a:ext>
              </a:extLst>
            </p:cNvPr>
            <p:cNvSpPr/>
            <p:nvPr/>
          </p:nvSpPr>
          <p:spPr>
            <a:xfrm>
              <a:off x="6729081" y="3318803"/>
              <a:ext cx="426385" cy="1680293"/>
            </a:xfrm>
            <a:prstGeom prst="trapezoid">
              <a:avLst>
                <a:gd name="adj" fmla="val 0"/>
              </a:avLst>
            </a:prstGeom>
            <a:no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28" name="Text Box 3">
              <a:extLst>
                <a:ext uri="{FF2B5EF4-FFF2-40B4-BE49-F238E27FC236}">
                  <a16:creationId xmlns:a16="http://schemas.microsoft.com/office/drawing/2014/main" id="{C0366071-FD34-1904-8E1A-0437D84165F3}"/>
                </a:ext>
              </a:extLst>
            </p:cNvPr>
            <p:cNvSpPr txBox="1">
              <a:spLocks noChangeArrowheads="1"/>
            </p:cNvSpPr>
            <p:nvPr/>
          </p:nvSpPr>
          <p:spPr bwMode="auto">
            <a:xfrm rot="16200000">
              <a:off x="6303773" y="3979570"/>
              <a:ext cx="1282097" cy="472833"/>
            </a:xfrm>
            <a:prstGeom prst="rect">
              <a:avLst/>
            </a:prstGeom>
            <a:noFill/>
            <a:ln w="9525">
              <a:noFill/>
              <a:miter lim="800000"/>
              <a:headEnd/>
              <a:tailEnd/>
            </a:ln>
          </p:spPr>
          <p:txBody>
            <a:bodyPr wrap="square">
              <a:spAutoFit/>
            </a:bodyPr>
            <a:lstStyle>
              <a:defPPr marR="0" lvl="0" algn="l" rtl="0">
                <a:lnSpc>
                  <a:spcPct val="100000"/>
                </a:lnSpc>
                <a:spcBef>
                  <a:spcPts val="0"/>
                </a:spcBef>
                <a:spcAft>
                  <a:spcPts val="0"/>
                </a:spcAft>
                <a:defRPr/>
              </a:defPPr>
              <a:lvl1pPr algn="ctr" fontAlgn="base">
                <a:spcBef>
                  <a:spcPct val="50000"/>
                </a:spcBef>
                <a:spcAft>
                  <a:spcPct val="0"/>
                </a:spcAft>
                <a:defRPr sz="1800" b="1">
                  <a:solidFill>
                    <a:schemeClr val="bg1"/>
                  </a:solidFill>
                  <a:latin typeface="Quattrocento Sans" panose="020B0502050000020003" pitchFamily="34" charset="0"/>
                </a:defRPr>
              </a:lvl1pPr>
            </a:lstStyle>
            <a:p>
              <a:pPr defTabSz="914446">
                <a:buClr>
                  <a:srgbClr val="000000"/>
                </a:buClr>
                <a:defRPr/>
              </a:pPr>
              <a:r>
                <a:rPr lang="en-GB" kern="0" noProof="0" dirty="0">
                  <a:solidFill>
                    <a:srgbClr val="000000">
                      <a:lumMod val="95000"/>
                      <a:lumOff val="5000"/>
                    </a:srgbClr>
                  </a:solidFill>
                  <a:cs typeface="Arial"/>
                  <a:sym typeface="Arial"/>
                </a:rPr>
                <a:t>Master Data</a:t>
              </a:r>
            </a:p>
          </p:txBody>
        </p:sp>
      </p:grpSp>
      <p:cxnSp>
        <p:nvCxnSpPr>
          <p:cNvPr id="29" name="Straight Arrow Connector 70">
            <a:extLst>
              <a:ext uri="{FF2B5EF4-FFF2-40B4-BE49-F238E27FC236}">
                <a16:creationId xmlns:a16="http://schemas.microsoft.com/office/drawing/2014/main" id="{2567B87D-8D0E-CB98-F31A-B21D7877AD26}"/>
              </a:ext>
            </a:extLst>
          </p:cNvPr>
          <p:cNvCxnSpPr>
            <a:cxnSpLocks/>
          </p:cNvCxnSpPr>
          <p:nvPr/>
        </p:nvCxnSpPr>
        <p:spPr>
          <a:xfrm flipV="1">
            <a:off x="1588322" y="3869527"/>
            <a:ext cx="3873944" cy="1"/>
          </a:xfrm>
          <a:prstGeom prst="straightConnector1">
            <a:avLst/>
          </a:prstGeom>
          <a:noFill/>
          <a:ln w="28575">
            <a:solidFill>
              <a:srgbClr val="A6A6A6"/>
            </a:solidFill>
          </a:ln>
        </p:spPr>
      </p:cxnSp>
      <p:cxnSp>
        <p:nvCxnSpPr>
          <p:cNvPr id="35" name="Straight Arrow Connector 69">
            <a:extLst>
              <a:ext uri="{FF2B5EF4-FFF2-40B4-BE49-F238E27FC236}">
                <a16:creationId xmlns:a16="http://schemas.microsoft.com/office/drawing/2014/main" id="{B82FD6AD-8A9F-9B7F-D14D-B6A677CF7C91}"/>
              </a:ext>
            </a:extLst>
          </p:cNvPr>
          <p:cNvCxnSpPr>
            <a:cxnSpLocks/>
          </p:cNvCxnSpPr>
          <p:nvPr/>
        </p:nvCxnSpPr>
        <p:spPr>
          <a:xfrm flipH="1">
            <a:off x="7410793" y="3676527"/>
            <a:ext cx="3381382" cy="0"/>
          </a:xfrm>
          <a:prstGeom prst="straightConnector1">
            <a:avLst/>
          </a:prstGeom>
          <a:noFill/>
          <a:ln w="28575">
            <a:solidFill>
              <a:srgbClr val="A6A6A6"/>
            </a:solidFill>
          </a:ln>
        </p:spPr>
      </p:cxnSp>
      <p:sp>
        <p:nvSpPr>
          <p:cNvPr id="39" name="Text Box 3">
            <a:extLst>
              <a:ext uri="{FF2B5EF4-FFF2-40B4-BE49-F238E27FC236}">
                <a16:creationId xmlns:a16="http://schemas.microsoft.com/office/drawing/2014/main" id="{59EABB46-9D11-E42E-B16C-4C90B29B3665}"/>
              </a:ext>
            </a:extLst>
          </p:cNvPr>
          <p:cNvSpPr txBox="1">
            <a:spLocks noChangeArrowheads="1"/>
          </p:cNvSpPr>
          <p:nvPr/>
        </p:nvSpPr>
        <p:spPr bwMode="auto">
          <a:xfrm>
            <a:off x="4376954" y="3002237"/>
            <a:ext cx="3321738" cy="369332"/>
          </a:xfrm>
          <a:prstGeom prst="rect">
            <a:avLst/>
          </a:prstGeom>
          <a:noFill/>
          <a:ln w="9525">
            <a:noFill/>
            <a:miter lim="800000"/>
            <a:headEnd/>
            <a:tailEnd/>
          </a:ln>
        </p:spPr>
        <p:txBody>
          <a:bodyPr wrap="square" anchor="ctr">
            <a:spAutoFit/>
          </a:bodyPr>
          <a:lstStyle>
            <a:defPPr marR="0" lvl="0" algn="l" rtl="0">
              <a:lnSpc>
                <a:spcPct val="100000"/>
              </a:lnSpc>
              <a:spcBef>
                <a:spcPts val="0"/>
              </a:spcBef>
              <a:spcAft>
                <a:spcPts val="0"/>
              </a:spcAft>
              <a:defRPr lang="en-US"/>
            </a:defPPr>
            <a:lvl1pPr algn="ctr" defTabSz="914446" fontAlgn="base">
              <a:spcBef>
                <a:spcPct val="50000"/>
              </a:spcBef>
              <a:spcAft>
                <a:spcPct val="0"/>
              </a:spcAft>
              <a:buClr>
                <a:srgbClr val="000000"/>
              </a:buClr>
              <a:defRPr b="1" kern="0">
                <a:solidFill>
                  <a:srgbClr val="000000">
                    <a:lumMod val="95000"/>
                    <a:lumOff val="5000"/>
                  </a:srgbClr>
                </a:solidFill>
                <a:latin typeface="Quattrocento Sans" panose="020B0502050000020003" pitchFamily="34" charset="0"/>
                <a:cs typeface="Arial"/>
              </a:defRPr>
            </a:lvl1pPr>
          </a:lstStyle>
          <a:p>
            <a:r>
              <a:rPr lang="en-GB" noProof="0">
                <a:solidFill>
                  <a:schemeClr val="tx1"/>
                </a:solidFill>
                <a:sym typeface="Arial"/>
              </a:rPr>
              <a:t>Organisation</a:t>
            </a:r>
          </a:p>
        </p:txBody>
      </p:sp>
      <p:cxnSp>
        <p:nvCxnSpPr>
          <p:cNvPr id="40" name="Straight Arrow Connector 69">
            <a:extLst>
              <a:ext uri="{FF2B5EF4-FFF2-40B4-BE49-F238E27FC236}">
                <a16:creationId xmlns:a16="http://schemas.microsoft.com/office/drawing/2014/main" id="{7249A704-1483-21DE-9FE3-3021B0043692}"/>
              </a:ext>
            </a:extLst>
          </p:cNvPr>
          <p:cNvCxnSpPr>
            <a:cxnSpLocks/>
          </p:cNvCxnSpPr>
          <p:nvPr/>
        </p:nvCxnSpPr>
        <p:spPr>
          <a:xfrm flipH="1">
            <a:off x="6705134" y="4901948"/>
            <a:ext cx="4067483" cy="0"/>
          </a:xfrm>
          <a:prstGeom prst="straightConnector1">
            <a:avLst/>
          </a:prstGeom>
          <a:noFill/>
          <a:ln w="28575">
            <a:solidFill>
              <a:srgbClr val="A6A6A6"/>
            </a:solidFill>
          </a:ln>
        </p:spPr>
      </p:cxnSp>
      <p:pic>
        <p:nvPicPr>
          <p:cNvPr id="41" name="Picture 2" descr="Home">
            <a:extLst>
              <a:ext uri="{FF2B5EF4-FFF2-40B4-BE49-F238E27FC236}">
                <a16:creationId xmlns:a16="http://schemas.microsoft.com/office/drawing/2014/main" id="{02D9DF44-7C92-C9BE-D1F4-B737454B8DA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670253" y="5583282"/>
            <a:ext cx="1286486" cy="953868"/>
          </a:xfrm>
          <a:prstGeom prst="rect">
            <a:avLst/>
          </a:prstGeom>
          <a:noFill/>
          <a:extLst>
            <a:ext uri="{909E8E84-426E-40DD-AFC4-6F175D3DCCD1}">
              <a14:hiddenFill xmlns:a14="http://schemas.microsoft.com/office/drawing/2010/main">
                <a:solidFill>
                  <a:srgbClr val="FFFFFF"/>
                </a:solidFill>
              </a14:hiddenFill>
            </a:ext>
          </a:extLst>
        </p:spPr>
      </p:pic>
      <p:cxnSp>
        <p:nvCxnSpPr>
          <p:cNvPr id="42" name="Straight Arrow Connector 69">
            <a:extLst>
              <a:ext uri="{FF2B5EF4-FFF2-40B4-BE49-F238E27FC236}">
                <a16:creationId xmlns:a16="http://schemas.microsoft.com/office/drawing/2014/main" id="{19E757C8-2C3C-D14D-4B8D-087558725287}"/>
              </a:ext>
            </a:extLst>
          </p:cNvPr>
          <p:cNvCxnSpPr>
            <a:cxnSpLocks/>
          </p:cNvCxnSpPr>
          <p:nvPr/>
        </p:nvCxnSpPr>
        <p:spPr>
          <a:xfrm flipH="1">
            <a:off x="1539218" y="5027133"/>
            <a:ext cx="3194038" cy="0"/>
          </a:xfrm>
          <a:prstGeom prst="straightConnector1">
            <a:avLst/>
          </a:prstGeom>
          <a:noFill/>
          <a:ln w="28575">
            <a:solidFill>
              <a:srgbClr val="A6A6A6"/>
            </a:solidFill>
          </a:ln>
        </p:spPr>
      </p:cxnSp>
      <p:grpSp>
        <p:nvGrpSpPr>
          <p:cNvPr id="43" name="Grupo 42">
            <a:extLst>
              <a:ext uri="{FF2B5EF4-FFF2-40B4-BE49-F238E27FC236}">
                <a16:creationId xmlns:a16="http://schemas.microsoft.com/office/drawing/2014/main" id="{799B7A35-3A70-7A17-68D3-E9273A4EAF75}"/>
              </a:ext>
            </a:extLst>
          </p:cNvPr>
          <p:cNvGrpSpPr/>
          <p:nvPr/>
        </p:nvGrpSpPr>
        <p:grpSpPr>
          <a:xfrm>
            <a:off x="6124695" y="3499804"/>
            <a:ext cx="580439" cy="1664349"/>
            <a:chOff x="6070186" y="3317523"/>
            <a:chExt cx="426385" cy="1680293"/>
          </a:xfrm>
        </p:grpSpPr>
        <p:sp>
          <p:nvSpPr>
            <p:cNvPr id="44" name="Trapecio 43">
              <a:extLst>
                <a:ext uri="{FF2B5EF4-FFF2-40B4-BE49-F238E27FC236}">
                  <a16:creationId xmlns:a16="http://schemas.microsoft.com/office/drawing/2014/main" id="{DD475950-BCC0-C87A-785D-32CA46D2B968}"/>
                </a:ext>
              </a:extLst>
            </p:cNvPr>
            <p:cNvSpPr/>
            <p:nvPr/>
          </p:nvSpPr>
          <p:spPr>
            <a:xfrm>
              <a:off x="6070186" y="3317523"/>
              <a:ext cx="426385" cy="1680293"/>
            </a:xfrm>
            <a:prstGeom prst="trapezoid">
              <a:avLst>
                <a:gd name="adj" fmla="val 0"/>
              </a:avLst>
            </a:prstGeom>
            <a:no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pPr>
              <a:endParaRPr lang="en-GB" sz="933" kern="0">
                <a:solidFill>
                  <a:srgbClr val="000000">
                    <a:lumMod val="95000"/>
                    <a:lumOff val="5000"/>
                  </a:srgbClr>
                </a:solidFill>
                <a:latin typeface="Quattrocento Sans" panose="020B0502050000020003" pitchFamily="34" charset="0"/>
                <a:cs typeface="Helvetica"/>
                <a:sym typeface="Arial"/>
              </a:endParaRPr>
            </a:p>
          </p:txBody>
        </p:sp>
        <p:sp>
          <p:nvSpPr>
            <p:cNvPr id="45" name="Text Box 3">
              <a:extLst>
                <a:ext uri="{FF2B5EF4-FFF2-40B4-BE49-F238E27FC236}">
                  <a16:creationId xmlns:a16="http://schemas.microsoft.com/office/drawing/2014/main" id="{094BD288-5FC4-E877-51E4-0FEAC9C500EE}"/>
                </a:ext>
              </a:extLst>
            </p:cNvPr>
            <p:cNvSpPr txBox="1">
              <a:spLocks noChangeArrowheads="1"/>
            </p:cNvSpPr>
            <p:nvPr/>
          </p:nvSpPr>
          <p:spPr bwMode="auto">
            <a:xfrm rot="16200000">
              <a:off x="5570083" y="4049466"/>
              <a:ext cx="1424131" cy="271308"/>
            </a:xfrm>
            <a:prstGeom prst="rect">
              <a:avLst/>
            </a:prstGeom>
            <a:noFill/>
            <a:ln w="9525">
              <a:noFill/>
              <a:miter lim="800000"/>
              <a:headEnd/>
              <a:tailEnd/>
            </a:ln>
          </p:spPr>
          <p:txBody>
            <a:bodyPr wrap="square">
              <a:spAutoFit/>
            </a:bodyPr>
            <a:lstStyle>
              <a:defPPr marR="0" lvl="0" algn="l" rtl="0">
                <a:lnSpc>
                  <a:spcPct val="100000"/>
                </a:lnSpc>
                <a:spcBef>
                  <a:spcPts val="0"/>
                </a:spcBef>
                <a:spcAft>
                  <a:spcPts val="0"/>
                </a:spcAft>
                <a:defRPr lang="es-ES"/>
              </a:defPPr>
              <a:lvl1pPr algn="ctr" defTabSz="914446" fontAlgn="base">
                <a:spcBef>
                  <a:spcPct val="50000"/>
                </a:spcBef>
                <a:spcAft>
                  <a:spcPct val="0"/>
                </a:spcAft>
                <a:buClr>
                  <a:srgbClr val="000000"/>
                </a:buClr>
                <a:defRPr b="1" kern="0">
                  <a:solidFill>
                    <a:srgbClr val="000000">
                      <a:lumMod val="95000"/>
                      <a:lumOff val="5000"/>
                    </a:srgbClr>
                  </a:solidFill>
                  <a:latin typeface="Quattrocento Sans" panose="020B0502050000020003" pitchFamily="34" charset="0"/>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GB" dirty="0">
                  <a:sym typeface="Arial"/>
                </a:rPr>
                <a:t>Security</a:t>
              </a:r>
            </a:p>
          </p:txBody>
        </p:sp>
      </p:grpSp>
      <p:sp>
        <p:nvSpPr>
          <p:cNvPr id="46" name="CuadroTexto 45">
            <a:extLst>
              <a:ext uri="{FF2B5EF4-FFF2-40B4-BE49-F238E27FC236}">
                <a16:creationId xmlns:a16="http://schemas.microsoft.com/office/drawing/2014/main" id="{1DA7FD04-89DF-DB51-5C6A-B2E817423907}"/>
              </a:ext>
            </a:extLst>
          </p:cNvPr>
          <p:cNvSpPr txBox="1"/>
          <p:nvPr/>
        </p:nvSpPr>
        <p:spPr>
          <a:xfrm>
            <a:off x="8049758" y="4177217"/>
            <a:ext cx="2742417" cy="600164"/>
          </a:xfrm>
          <a:prstGeom prst="rect">
            <a:avLst/>
          </a:prstGeom>
        </p:spPr>
        <p:txBody>
          <a:bodyPr wrap="square">
            <a:noAutofit/>
          </a:bodyPr>
          <a:lstStyle>
            <a:defPPr>
              <a:defRPr lang="en-US"/>
            </a:defPPr>
            <a:lvl1pPr defTabSz="609660">
              <a:defRPr sz="1100"/>
            </a:lvl1pPr>
          </a:lstStyle>
          <a:p>
            <a:pPr algn="r"/>
            <a:r>
              <a:rPr lang="en-GB" noProof="0"/>
              <a:t>Protects information through encryption, controls, and compliance. Role- and attribute-based access rules and levels are set. </a:t>
            </a:r>
          </a:p>
        </p:txBody>
      </p:sp>
      <p:sp>
        <p:nvSpPr>
          <p:cNvPr id="47" name="CuadroTexto 46">
            <a:extLst>
              <a:ext uri="{FF2B5EF4-FFF2-40B4-BE49-F238E27FC236}">
                <a16:creationId xmlns:a16="http://schemas.microsoft.com/office/drawing/2014/main" id="{F777E28D-0DCA-8502-41CF-04DA190D77A6}"/>
              </a:ext>
            </a:extLst>
          </p:cNvPr>
          <p:cNvSpPr txBox="1"/>
          <p:nvPr/>
        </p:nvSpPr>
        <p:spPr>
          <a:xfrm>
            <a:off x="8007709" y="2876069"/>
            <a:ext cx="2858422" cy="600164"/>
          </a:xfrm>
          <a:prstGeom prst="rect">
            <a:avLst/>
          </a:prstGeom>
        </p:spPr>
        <p:txBody>
          <a:bodyPr wrap="square">
            <a:noAutofit/>
          </a:bodyPr>
          <a:lstStyle>
            <a:defPPr>
              <a:defRPr lang="en-US"/>
            </a:defPPr>
            <a:lvl1pPr defTabSz="609660">
              <a:defRPr sz="1100"/>
            </a:lvl1pPr>
          </a:lstStyle>
          <a:p>
            <a:pPr algn="r"/>
            <a:r>
              <a:rPr lang="en-GB" noProof="0"/>
              <a:t>Guarantees key data (customers, products, employees, etc.). Applies consolidation and normalisation rules to achieve a reliable and unified view of information.</a:t>
            </a:r>
          </a:p>
        </p:txBody>
      </p:sp>
      <p:sp>
        <p:nvSpPr>
          <p:cNvPr id="48" name="CuadroTexto 47">
            <a:extLst>
              <a:ext uri="{FF2B5EF4-FFF2-40B4-BE49-F238E27FC236}">
                <a16:creationId xmlns:a16="http://schemas.microsoft.com/office/drawing/2014/main" id="{873EB286-2A56-DB85-2BE0-CC44CA3CAB64}"/>
              </a:ext>
            </a:extLst>
          </p:cNvPr>
          <p:cNvSpPr txBox="1"/>
          <p:nvPr/>
        </p:nvSpPr>
        <p:spPr>
          <a:xfrm>
            <a:off x="4296158" y="5966133"/>
            <a:ext cx="3642371" cy="600164"/>
          </a:xfrm>
          <a:prstGeom prst="rect">
            <a:avLst/>
          </a:prstGeom>
        </p:spPr>
        <p:txBody>
          <a:bodyPr wrap="square">
            <a:noAutofit/>
          </a:bodyPr>
          <a:lstStyle>
            <a:defPPr>
              <a:defRPr lang="en-US"/>
            </a:defPPr>
            <a:lvl1pPr defTabSz="609660">
              <a:defRPr sz="1100"/>
            </a:lvl1pPr>
          </a:lstStyle>
          <a:p>
            <a:pPr algn="ctr"/>
            <a:r>
              <a:rPr lang="en-GB" noProof="0"/>
              <a:t>Organise, integrate, and align data efficiently. It employs governance, monitoring, and exploitation tools to maximise the value of information.</a:t>
            </a:r>
          </a:p>
        </p:txBody>
      </p:sp>
      <p:sp>
        <p:nvSpPr>
          <p:cNvPr id="49" name="CuadroTexto 48">
            <a:extLst>
              <a:ext uri="{FF2B5EF4-FFF2-40B4-BE49-F238E27FC236}">
                <a16:creationId xmlns:a16="http://schemas.microsoft.com/office/drawing/2014/main" id="{F7E41EB3-D920-6CBB-78D5-AAA78FCE89B5}"/>
              </a:ext>
            </a:extLst>
          </p:cNvPr>
          <p:cNvSpPr txBox="1"/>
          <p:nvPr/>
        </p:nvSpPr>
        <p:spPr>
          <a:xfrm>
            <a:off x="4127185" y="1805363"/>
            <a:ext cx="3959704" cy="600164"/>
          </a:xfrm>
          <a:prstGeom prst="rect">
            <a:avLst/>
          </a:prstGeom>
        </p:spPr>
        <p:txBody>
          <a:bodyPr wrap="square">
            <a:noAutofit/>
          </a:bodyPr>
          <a:lstStyle>
            <a:defPPr>
              <a:defRPr lang="en-US"/>
            </a:defPPr>
            <a:lvl1pPr defTabSz="609660">
              <a:defRPr sz="1100"/>
            </a:lvl1pPr>
          </a:lstStyle>
          <a:p>
            <a:pPr algn="ctr"/>
            <a:r>
              <a:rPr lang="en-GB" noProof="0"/>
              <a:t>Structure and leadership for data management. Organisational models, committees and key guidelines. Combines effective communication.</a:t>
            </a:r>
          </a:p>
        </p:txBody>
      </p:sp>
      <p:cxnSp>
        <p:nvCxnSpPr>
          <p:cNvPr id="50" name="Straight Arrow Connector 69">
            <a:extLst>
              <a:ext uri="{FF2B5EF4-FFF2-40B4-BE49-F238E27FC236}">
                <a16:creationId xmlns:a16="http://schemas.microsoft.com/office/drawing/2014/main" id="{ECBEF846-553B-5FE5-EF7F-A3EDF1DDF808}"/>
              </a:ext>
            </a:extLst>
          </p:cNvPr>
          <p:cNvCxnSpPr>
            <a:cxnSpLocks/>
          </p:cNvCxnSpPr>
          <p:nvPr/>
        </p:nvCxnSpPr>
        <p:spPr>
          <a:xfrm flipV="1">
            <a:off x="6117344" y="5682239"/>
            <a:ext cx="0" cy="291941"/>
          </a:xfrm>
          <a:prstGeom prst="straightConnector1">
            <a:avLst/>
          </a:prstGeom>
          <a:noFill/>
          <a:ln w="28575">
            <a:solidFill>
              <a:srgbClr val="A6A6A6"/>
            </a:solidFill>
          </a:ln>
        </p:spPr>
      </p:cxnSp>
      <p:cxnSp>
        <p:nvCxnSpPr>
          <p:cNvPr id="51" name="Straight Arrow Connector 69">
            <a:extLst>
              <a:ext uri="{FF2B5EF4-FFF2-40B4-BE49-F238E27FC236}">
                <a16:creationId xmlns:a16="http://schemas.microsoft.com/office/drawing/2014/main" id="{1BBAB4FF-F9D4-2114-28A7-E802174E8799}"/>
              </a:ext>
            </a:extLst>
          </p:cNvPr>
          <p:cNvCxnSpPr>
            <a:cxnSpLocks/>
          </p:cNvCxnSpPr>
          <p:nvPr/>
        </p:nvCxnSpPr>
        <p:spPr>
          <a:xfrm flipV="1">
            <a:off x="6107037" y="2516146"/>
            <a:ext cx="0" cy="291941"/>
          </a:xfrm>
          <a:prstGeom prst="straightConnector1">
            <a:avLst/>
          </a:prstGeom>
          <a:noFill/>
          <a:ln w="28575">
            <a:solidFill>
              <a:srgbClr val="A6A6A6"/>
            </a:solidFill>
          </a:ln>
        </p:spPr>
      </p:cxnSp>
      <p:pic>
        <p:nvPicPr>
          <p:cNvPr id="52" name="Imagen 51" descr="Logotipo&#10;&#10;Descripción generada automáticamente">
            <a:extLst>
              <a:ext uri="{FF2B5EF4-FFF2-40B4-BE49-F238E27FC236}">
                <a16:creationId xmlns:a16="http://schemas.microsoft.com/office/drawing/2014/main" id="{62D7D81F-36CF-1629-A4B1-29C15006A3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59715" y="6016747"/>
            <a:ext cx="2085823" cy="481343"/>
          </a:xfrm>
          <a:prstGeom prst="rect">
            <a:avLst/>
          </a:prstGeom>
        </p:spPr>
      </p:pic>
      <p:sp>
        <p:nvSpPr>
          <p:cNvPr id="53" name="Rectángulo 52">
            <a:extLst>
              <a:ext uri="{FF2B5EF4-FFF2-40B4-BE49-F238E27FC236}">
                <a16:creationId xmlns:a16="http://schemas.microsoft.com/office/drawing/2014/main" id="{257B61E5-92AC-7E38-8243-3945C4B411A3}"/>
              </a:ext>
            </a:extLst>
          </p:cNvPr>
          <p:cNvSpPr/>
          <p:nvPr/>
        </p:nvSpPr>
        <p:spPr>
          <a:xfrm>
            <a:off x="4475098" y="3371221"/>
            <a:ext cx="3125450" cy="128583"/>
          </a:xfrm>
          <a:prstGeom prst="rect">
            <a:avLst/>
          </a:prstGeom>
          <a:solidFill>
            <a:schemeClr val="bg1"/>
          </a:solid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Tree>
    <p:extLst>
      <p:ext uri="{BB962C8B-B14F-4D97-AF65-F5344CB8AC3E}">
        <p14:creationId xmlns:p14="http://schemas.microsoft.com/office/powerpoint/2010/main" val="3253122166"/>
      </p:ext>
    </p:extLst>
  </p:cSld>
  <p:clrMapOvr>
    <a:masterClrMapping/>
  </p:clrMapOvr>
  <p:transition spd="med"/>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E5E6074-5A0B-9D5C-3AB7-85FC50159FAA}"/>
            </a:ext>
          </a:extLst>
        </p:cNvPr>
        <p:cNvGrpSpPr/>
        <p:nvPr/>
      </p:nvGrpSpPr>
      <p:grpSpPr>
        <a:xfrm>
          <a:off x="0" y="0"/>
          <a:ext cx="0" cy="0"/>
          <a:chOff x="0" y="0"/>
          <a:chExt cx="0" cy="0"/>
        </a:xfrm>
      </p:grpSpPr>
      <p:sp>
        <p:nvSpPr>
          <p:cNvPr id="5" name="Object8">
            <a:extLst>
              <a:ext uri="{FF2B5EF4-FFF2-40B4-BE49-F238E27FC236}">
                <a16:creationId xmlns:a16="http://schemas.microsoft.com/office/drawing/2014/main" id="{44F4360E-F4D8-362B-AB0A-587D4504C77D}"/>
              </a:ext>
            </a:extLst>
          </p:cNvPr>
          <p:cNvSpPr txBox="1"/>
          <p:nvPr/>
        </p:nvSpPr>
        <p:spPr>
          <a:xfrm>
            <a:off x="7619146" y="313112"/>
            <a:ext cx="234951" cy="28212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ts val="2400"/>
              </a:lnSpc>
              <a:defRPr sz="2100">
                <a:solidFill>
                  <a:srgbClr val="91ACB9"/>
                </a:solidFill>
                <a:latin typeface="DM Sans Regular"/>
                <a:ea typeface="DM Sans Regular"/>
                <a:cs typeface="DM Sans Regular"/>
                <a:sym typeface="DM Sans Regular"/>
              </a:defRPr>
            </a:lvl1pPr>
          </a:lstStyle>
          <a:p>
            <a:pPr defTabSz="914446">
              <a:buClr>
                <a:srgbClr val="000000"/>
              </a:buClr>
              <a:defRPr/>
            </a:pPr>
            <a:endParaRPr lang="en-GB" sz="1400" kern="0" noProof="0">
              <a:solidFill>
                <a:srgbClr val="000000">
                  <a:lumMod val="95000"/>
                  <a:lumOff val="5000"/>
                </a:srgbClr>
              </a:solidFill>
            </a:endParaRPr>
          </a:p>
        </p:txBody>
      </p:sp>
      <p:sp>
        <p:nvSpPr>
          <p:cNvPr id="6" name="Rectangle 57">
            <a:extLst>
              <a:ext uri="{FF2B5EF4-FFF2-40B4-BE49-F238E27FC236}">
                <a16:creationId xmlns:a16="http://schemas.microsoft.com/office/drawing/2014/main" id="{1B4F3892-7408-2185-6864-EBEFEF12B8E4}"/>
              </a:ext>
            </a:extLst>
          </p:cNvPr>
          <p:cNvSpPr>
            <a:spLocks noChangeArrowheads="1"/>
          </p:cNvSpPr>
          <p:nvPr/>
        </p:nvSpPr>
        <p:spPr bwMode="gray">
          <a:xfrm>
            <a:off x="476687" y="774578"/>
            <a:ext cx="3484919" cy="1041193"/>
          </a:xfrm>
          <a:prstGeom prst="rect">
            <a:avLst/>
          </a:prstGeom>
          <a:noFill/>
          <a:ln w="9525">
            <a:noFill/>
            <a:miter lim="800000"/>
            <a:headEnd/>
            <a:tailEnd/>
          </a:ln>
          <a:effectLst/>
        </p:spPr>
        <p:txBody>
          <a:bodyPr wrap="square" lIns="91386" tIns="45693" rIns="91386" bIns="45693">
            <a:spAutoFit/>
          </a:bodyPr>
          <a:lstStyle/>
          <a:p>
            <a:pPr defTabSz="914446">
              <a:lnSpc>
                <a:spcPct val="60000"/>
              </a:lnSpc>
              <a:buClr>
                <a:srgbClr val="000000"/>
              </a:buClr>
            </a:pPr>
            <a:r>
              <a:rPr lang="en-GB" sz="4800" b="1" noProof="0">
                <a:solidFill>
                  <a:schemeClr val="tx1">
                    <a:lumMod val="95000"/>
                    <a:lumOff val="5000"/>
                  </a:schemeClr>
                </a:solidFill>
                <a:latin typeface="Quattrocento Sans" panose="020B0502050000020003" pitchFamily="34" charset="0"/>
                <a:ea typeface="Lato"/>
                <a:cs typeface="Lato"/>
                <a:sym typeface="Arial"/>
              </a:rPr>
              <a:t>Data Governance</a:t>
            </a:r>
          </a:p>
        </p:txBody>
      </p:sp>
      <p:sp>
        <p:nvSpPr>
          <p:cNvPr id="7" name="Google Shape;3348;g30e148d11da_7_119">
            <a:extLst>
              <a:ext uri="{FF2B5EF4-FFF2-40B4-BE49-F238E27FC236}">
                <a16:creationId xmlns:a16="http://schemas.microsoft.com/office/drawing/2014/main" id="{35C9C82A-4020-3D92-FEFF-A4E71336E13E}"/>
              </a:ext>
            </a:extLst>
          </p:cNvPr>
          <p:cNvSpPr txBox="1"/>
          <p:nvPr/>
        </p:nvSpPr>
        <p:spPr>
          <a:xfrm>
            <a:off x="715034" y="156141"/>
            <a:ext cx="3258300" cy="615000"/>
          </a:xfrm>
          <a:prstGeom prst="rect">
            <a:avLst/>
          </a:prstGeom>
          <a:noFill/>
          <a:ln>
            <a:noFill/>
          </a:ln>
        </p:spPr>
        <p:txBody>
          <a:bodyPr spcFirstLastPara="1" wrap="square" lIns="0" tIns="45700" rIns="91425" bIns="45700" anchor="t" anchorCtr="0">
            <a:noAutofit/>
          </a:bodyPr>
          <a:lstStyle/>
          <a:p>
            <a:pPr defTabSz="914446">
              <a:buClr>
                <a:srgbClr val="FFFFFF"/>
              </a:buClr>
              <a:buSzPts val="1200"/>
              <a:defRPr/>
            </a:pPr>
            <a:r>
              <a:rPr lang="en-GB" sz="1200" b="1" kern="0" noProof="0">
                <a:solidFill>
                  <a:srgbClr val="000000">
                    <a:lumMod val="95000"/>
                    <a:lumOff val="5000"/>
                  </a:srgbClr>
                </a:solidFill>
                <a:latin typeface="Montserrat"/>
                <a:ea typeface="Montserrat"/>
                <a:cs typeface="Montserrat"/>
                <a:sym typeface="Montserrat"/>
              </a:rPr>
              <a:t>Data Driven </a:t>
            </a:r>
            <a:r>
              <a:rPr lang="en-GB" sz="1200" kern="0" noProof="0">
                <a:solidFill>
                  <a:srgbClr val="000000">
                    <a:lumMod val="95000"/>
                    <a:lumOff val="5000"/>
                  </a:srgbClr>
                </a:solidFill>
                <a:latin typeface="Montserrat"/>
                <a:ea typeface="Montserrat"/>
                <a:cs typeface="Montserrat"/>
                <a:sym typeface="Montserrat"/>
              </a:rPr>
              <a:t>Business</a:t>
            </a:r>
            <a:endParaRPr lang="en-GB" sz="1200" kern="0" baseline="30000" noProof="0">
              <a:solidFill>
                <a:srgbClr val="000000">
                  <a:lumMod val="95000"/>
                  <a:lumOff val="5000"/>
                </a:srgbClr>
              </a:solidFill>
              <a:latin typeface="Montserrat"/>
              <a:ea typeface="Montserrat"/>
              <a:cs typeface="Montserrat"/>
              <a:sym typeface="Montserrat"/>
            </a:endParaRPr>
          </a:p>
        </p:txBody>
      </p:sp>
      <p:sp>
        <p:nvSpPr>
          <p:cNvPr id="9" name="Object13">
            <a:extLst>
              <a:ext uri="{FF2B5EF4-FFF2-40B4-BE49-F238E27FC236}">
                <a16:creationId xmlns:a16="http://schemas.microsoft.com/office/drawing/2014/main" id="{9A7847E8-00D4-9643-58E5-8559AE132F47}"/>
              </a:ext>
            </a:extLst>
          </p:cNvPr>
          <p:cNvSpPr txBox="1"/>
          <p:nvPr/>
        </p:nvSpPr>
        <p:spPr>
          <a:xfrm>
            <a:off x="4146132" y="495936"/>
            <a:ext cx="7105119" cy="86177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t">
            <a:spAutoFit/>
          </a:bodyPr>
          <a:lstStyle>
            <a:lvl1pPr>
              <a:lnSpc>
                <a:spcPts val="1900"/>
              </a:lnSpc>
              <a:defRPr sz="1300">
                <a:solidFill>
                  <a:srgbClr val="2D2D2D"/>
                </a:solidFill>
                <a:latin typeface="DM Sans Regular"/>
                <a:ea typeface="DM Sans Regular"/>
                <a:cs typeface="DM Sans Regular"/>
                <a:sym typeface="DM Sans Regular"/>
              </a:defRPr>
            </a:lvl1pPr>
          </a:lstStyle>
          <a:p>
            <a:pPr defTabSz="914446">
              <a:lnSpc>
                <a:spcPct val="100000"/>
              </a:lnSpc>
              <a:buClr>
                <a:srgbClr val="000000"/>
              </a:buClr>
              <a:defRPr/>
            </a:pPr>
            <a:r>
              <a:rPr lang="en-GB" sz="1400" kern="0" noProof="0">
                <a:solidFill>
                  <a:srgbClr val="000000">
                    <a:lumMod val="95000"/>
                    <a:lumOff val="5000"/>
                  </a:srgbClr>
                </a:solidFill>
                <a:latin typeface="Quattrocento Sans"/>
                <a:cs typeface="Arial"/>
                <a:sym typeface="Arial"/>
              </a:rPr>
              <a:t>Data Governance seeks alignment with a </a:t>
            </a:r>
            <a:r>
              <a:rPr lang="en-GB" sz="1400" b="1" kern="0" noProof="0">
                <a:solidFill>
                  <a:srgbClr val="000000">
                    <a:lumMod val="95000"/>
                    <a:lumOff val="5000"/>
                  </a:srgbClr>
                </a:solidFill>
                <a:latin typeface="Quattrocento Sans"/>
                <a:cs typeface="Arial"/>
                <a:sym typeface="Arial"/>
              </a:rPr>
              <a:t>Data Driven AI Organization </a:t>
            </a:r>
            <a:r>
              <a:rPr lang="en-GB" sz="1400" kern="0" noProof="0">
                <a:solidFill>
                  <a:srgbClr val="000000">
                    <a:lumMod val="95000"/>
                    <a:lumOff val="5000"/>
                  </a:srgbClr>
                </a:solidFill>
                <a:latin typeface="Quattrocento Sans"/>
                <a:cs typeface="Arial"/>
                <a:sym typeface="Arial"/>
              </a:rPr>
              <a:t>(Data culture + Technology) strategy, where </a:t>
            </a:r>
            <a:r>
              <a:rPr lang="en-GB" sz="1400" b="1" kern="0" noProof="0">
                <a:solidFill>
                  <a:srgbClr val="000000">
                    <a:lumMod val="95000"/>
                    <a:lumOff val="5000"/>
                  </a:srgbClr>
                </a:solidFill>
                <a:latin typeface="Quattrocento Sans"/>
                <a:cs typeface="Arial"/>
                <a:sym typeface="Arial"/>
              </a:rPr>
              <a:t>data is a strategic asset</a:t>
            </a:r>
            <a:r>
              <a:rPr lang="en-GB" sz="1400" kern="0" noProof="0">
                <a:solidFill>
                  <a:srgbClr val="000000">
                    <a:lumMod val="95000"/>
                    <a:lumOff val="5000"/>
                  </a:srgbClr>
                </a:solidFill>
                <a:latin typeface="Quattrocento Sans"/>
                <a:cs typeface="Arial"/>
                <a:sym typeface="Arial"/>
              </a:rPr>
              <a:t>.</a:t>
            </a:r>
          </a:p>
          <a:p>
            <a:pPr defTabSz="914446">
              <a:lnSpc>
                <a:spcPct val="100000"/>
              </a:lnSpc>
              <a:buClr>
                <a:srgbClr val="000000"/>
              </a:buClr>
              <a:defRPr/>
            </a:pPr>
            <a:endParaRPr lang="en-GB" sz="1400" b="1" kern="0" noProof="0">
              <a:solidFill>
                <a:srgbClr val="000000">
                  <a:lumMod val="95000"/>
                  <a:lumOff val="5000"/>
                </a:srgbClr>
              </a:solidFill>
              <a:latin typeface="Quattrocento Sans"/>
              <a:cs typeface="Arial"/>
              <a:sym typeface="Arial"/>
            </a:endParaRPr>
          </a:p>
          <a:p>
            <a:pPr defTabSz="914446">
              <a:lnSpc>
                <a:spcPct val="100000"/>
              </a:lnSpc>
              <a:buClr>
                <a:srgbClr val="000000"/>
              </a:buClr>
              <a:defRPr/>
            </a:pPr>
            <a:r>
              <a:rPr lang="en-GB" sz="1400" kern="0" noProof="0">
                <a:solidFill>
                  <a:srgbClr val="000000">
                    <a:lumMod val="95000"/>
                    <a:lumOff val="5000"/>
                  </a:srgbClr>
                </a:solidFill>
                <a:latin typeface="Quattrocento Sans"/>
                <a:cs typeface="Arial"/>
                <a:sym typeface="Arial"/>
              </a:rPr>
              <a:t>It is based on the following </a:t>
            </a:r>
            <a:r>
              <a:rPr lang="en-GB" sz="1400" b="1" kern="0" noProof="0">
                <a:solidFill>
                  <a:srgbClr val="000000">
                    <a:lumMod val="95000"/>
                    <a:lumOff val="5000"/>
                  </a:srgbClr>
                </a:solidFill>
                <a:latin typeface="Quattrocento Sans"/>
                <a:cs typeface="Arial"/>
                <a:sym typeface="Arial"/>
              </a:rPr>
              <a:t>pillars</a:t>
            </a:r>
            <a:r>
              <a:rPr lang="en-GB" sz="1400" kern="0" noProof="0">
                <a:solidFill>
                  <a:srgbClr val="000000">
                    <a:lumMod val="95000"/>
                    <a:lumOff val="5000"/>
                  </a:srgbClr>
                </a:solidFill>
                <a:latin typeface="Quattrocento Sans"/>
                <a:cs typeface="Arial"/>
                <a:sym typeface="Arial"/>
              </a:rPr>
              <a:t>: </a:t>
            </a:r>
          </a:p>
        </p:txBody>
      </p:sp>
      <p:sp>
        <p:nvSpPr>
          <p:cNvPr id="10" name="Triángulo isósceles 9">
            <a:extLst>
              <a:ext uri="{FF2B5EF4-FFF2-40B4-BE49-F238E27FC236}">
                <a16:creationId xmlns:a16="http://schemas.microsoft.com/office/drawing/2014/main" id="{18168559-2508-EED7-53A0-7502F28BD092}"/>
              </a:ext>
            </a:extLst>
          </p:cNvPr>
          <p:cNvSpPr>
            <a:spLocks/>
          </p:cNvSpPr>
          <p:nvPr/>
        </p:nvSpPr>
        <p:spPr>
          <a:xfrm>
            <a:off x="4376954" y="2806774"/>
            <a:ext cx="3321738" cy="511673"/>
          </a:xfrm>
          <a:prstGeom prst="triangle">
            <a:avLst>
              <a:gd name="adj" fmla="val 51721"/>
            </a:avLst>
          </a:prstGeom>
          <a:no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17" name="Rectángulo 16">
            <a:extLst>
              <a:ext uri="{FF2B5EF4-FFF2-40B4-BE49-F238E27FC236}">
                <a16:creationId xmlns:a16="http://schemas.microsoft.com/office/drawing/2014/main" id="{CC6E83B7-CEA0-48D1-79E1-5EB1787A5049}"/>
              </a:ext>
            </a:extLst>
          </p:cNvPr>
          <p:cNvSpPr/>
          <p:nvPr/>
        </p:nvSpPr>
        <p:spPr>
          <a:xfrm>
            <a:off x="4364545" y="5170676"/>
            <a:ext cx="3365225" cy="148912"/>
          </a:xfrm>
          <a:prstGeom prst="rect">
            <a:avLst/>
          </a:prstGeom>
          <a:solidFill>
            <a:schemeClr val="bg1"/>
          </a:solid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18" name="Rectángulo 17">
            <a:extLst>
              <a:ext uri="{FF2B5EF4-FFF2-40B4-BE49-F238E27FC236}">
                <a16:creationId xmlns:a16="http://schemas.microsoft.com/office/drawing/2014/main" id="{04DB2494-DB98-98AD-2DED-2FE87F492318}"/>
              </a:ext>
            </a:extLst>
          </p:cNvPr>
          <p:cNvSpPr/>
          <p:nvPr/>
        </p:nvSpPr>
        <p:spPr>
          <a:xfrm>
            <a:off x="4206671" y="5319075"/>
            <a:ext cx="3642373" cy="363164"/>
          </a:xfrm>
          <a:prstGeom prst="rect">
            <a:avLst/>
          </a:prstGeom>
          <a:solidFill>
            <a:schemeClr val="bg1"/>
          </a:solid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19" name="Rectángulo 18">
            <a:extLst>
              <a:ext uri="{FF2B5EF4-FFF2-40B4-BE49-F238E27FC236}">
                <a16:creationId xmlns:a16="http://schemas.microsoft.com/office/drawing/2014/main" id="{F37458B1-FF7F-91DF-1772-14F4AA2F9422}"/>
              </a:ext>
            </a:extLst>
          </p:cNvPr>
          <p:cNvSpPr/>
          <p:nvPr/>
        </p:nvSpPr>
        <p:spPr>
          <a:xfrm>
            <a:off x="4379564" y="5252523"/>
            <a:ext cx="3337200" cy="248799"/>
          </a:xfrm>
          <a:prstGeom prst="rect">
            <a:avLst/>
          </a:prstGeom>
          <a:solidFill>
            <a:schemeClr val="bg1"/>
          </a:solidFill>
          <a:ln w="1079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20" name="Text Box 3">
            <a:extLst>
              <a:ext uri="{FF2B5EF4-FFF2-40B4-BE49-F238E27FC236}">
                <a16:creationId xmlns:a16="http://schemas.microsoft.com/office/drawing/2014/main" id="{F60E9D83-B62D-7F01-A06D-FD1538D6DED4}"/>
              </a:ext>
            </a:extLst>
          </p:cNvPr>
          <p:cNvSpPr txBox="1">
            <a:spLocks noChangeArrowheads="1"/>
          </p:cNvSpPr>
          <p:nvPr/>
        </p:nvSpPr>
        <p:spPr bwMode="auto">
          <a:xfrm>
            <a:off x="4974532" y="5239742"/>
            <a:ext cx="2106650" cy="369332"/>
          </a:xfrm>
          <a:prstGeom prst="rect">
            <a:avLst/>
          </a:prstGeom>
          <a:solidFill>
            <a:schemeClr val="bg1"/>
          </a:solidFill>
          <a:ln w="9525">
            <a:noFill/>
            <a:miter lim="800000"/>
            <a:headEnd/>
            <a:tailEnd/>
          </a:ln>
        </p:spPr>
        <p:txBody>
          <a:bodyPr wrap="square">
            <a:spAutoFit/>
          </a:bodyPr>
          <a:lstStyle>
            <a:defPPr marR="0" lvl="0" algn="l" rtl="0">
              <a:lnSpc>
                <a:spcPct val="100000"/>
              </a:lnSpc>
              <a:spcBef>
                <a:spcPts val="0"/>
              </a:spcBef>
              <a:spcAft>
                <a:spcPts val="0"/>
              </a:spcAft>
              <a:defRPr/>
            </a:defPPr>
            <a:lvl1pPr algn="ctr" fontAlgn="base">
              <a:spcBef>
                <a:spcPct val="50000"/>
              </a:spcBef>
              <a:spcAft>
                <a:spcPct val="0"/>
              </a:spcAft>
              <a:defRPr sz="1800" b="1">
                <a:solidFill>
                  <a:schemeClr val="bg1"/>
                </a:solidFill>
                <a:latin typeface="Quattrocento Sans" panose="020B0502050000020003" pitchFamily="34" charset="0"/>
              </a:defRPr>
            </a:lvl1pPr>
          </a:lstStyle>
          <a:p>
            <a:pPr defTabSz="914446">
              <a:buClr>
                <a:srgbClr val="000000"/>
              </a:buClr>
              <a:defRPr/>
            </a:pPr>
            <a:r>
              <a:rPr lang="en-GB" kern="0" noProof="0">
                <a:solidFill>
                  <a:srgbClr val="000000">
                    <a:lumMod val="95000"/>
                    <a:lumOff val="5000"/>
                  </a:srgbClr>
                </a:solidFill>
                <a:cs typeface="Arial"/>
                <a:sym typeface="Arial"/>
              </a:rPr>
              <a:t>Architecture</a:t>
            </a:r>
          </a:p>
        </p:txBody>
      </p:sp>
      <p:grpSp>
        <p:nvGrpSpPr>
          <p:cNvPr id="8" name="Grupo 7">
            <a:extLst>
              <a:ext uri="{FF2B5EF4-FFF2-40B4-BE49-F238E27FC236}">
                <a16:creationId xmlns:a16="http://schemas.microsoft.com/office/drawing/2014/main" id="{B294D115-A7CF-F7D1-2F22-8D7F6B280224}"/>
              </a:ext>
            </a:extLst>
          </p:cNvPr>
          <p:cNvGrpSpPr/>
          <p:nvPr/>
        </p:nvGrpSpPr>
        <p:grpSpPr>
          <a:xfrm>
            <a:off x="4671207" y="3508153"/>
            <a:ext cx="646331" cy="1656000"/>
            <a:chOff x="4621921" y="3316992"/>
            <a:chExt cx="719703" cy="1680294"/>
          </a:xfrm>
        </p:grpSpPr>
        <p:sp>
          <p:nvSpPr>
            <p:cNvPr id="4" name="Trapecio 3">
              <a:extLst>
                <a:ext uri="{FF2B5EF4-FFF2-40B4-BE49-F238E27FC236}">
                  <a16:creationId xmlns:a16="http://schemas.microsoft.com/office/drawing/2014/main" id="{26D51EC7-D888-571C-8680-ECBB8B45BB77}"/>
                </a:ext>
              </a:extLst>
            </p:cNvPr>
            <p:cNvSpPr/>
            <p:nvPr/>
          </p:nvSpPr>
          <p:spPr>
            <a:xfrm>
              <a:off x="4678746" y="3316992"/>
              <a:ext cx="646330" cy="1680294"/>
            </a:xfrm>
            <a:prstGeom prst="trapezoid">
              <a:avLst>
                <a:gd name="adj" fmla="val 0"/>
              </a:avLst>
            </a:prstGeom>
            <a:no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21" name="Text Box 3">
              <a:extLst>
                <a:ext uri="{FF2B5EF4-FFF2-40B4-BE49-F238E27FC236}">
                  <a16:creationId xmlns:a16="http://schemas.microsoft.com/office/drawing/2014/main" id="{39A224DF-E56F-FC66-87A7-986FC32BA179}"/>
                </a:ext>
              </a:extLst>
            </p:cNvPr>
            <p:cNvSpPr txBox="1">
              <a:spLocks noChangeArrowheads="1"/>
            </p:cNvSpPr>
            <p:nvPr/>
          </p:nvSpPr>
          <p:spPr bwMode="auto">
            <a:xfrm rot="16200000">
              <a:off x="4276766" y="3793397"/>
              <a:ext cx="1410014" cy="719703"/>
            </a:xfrm>
            <a:prstGeom prst="rect">
              <a:avLst/>
            </a:prstGeom>
            <a:noFill/>
            <a:ln w="9525">
              <a:noFill/>
              <a:miter lim="800000"/>
              <a:headEnd/>
              <a:tailEnd/>
            </a:ln>
          </p:spPr>
          <p:txBody>
            <a:bodyPr wrap="square" anchor="ctr">
              <a:spAutoFit/>
            </a:bodyPr>
            <a:lstStyle>
              <a:defPPr marR="0" lvl="0" algn="l" rtl="0">
                <a:lnSpc>
                  <a:spcPct val="100000"/>
                </a:lnSpc>
                <a:spcBef>
                  <a:spcPts val="0"/>
                </a:spcBef>
                <a:spcAft>
                  <a:spcPts val="0"/>
                </a:spcAft>
                <a:defRPr/>
              </a:defPPr>
              <a:lvl1pPr algn="ctr" fontAlgn="base">
                <a:spcBef>
                  <a:spcPct val="50000"/>
                </a:spcBef>
                <a:spcAft>
                  <a:spcPct val="0"/>
                </a:spcAft>
                <a:defRPr sz="2000" b="1">
                  <a:solidFill>
                    <a:srgbClr val="000A23"/>
                  </a:solidFill>
                  <a:latin typeface="Quattrocento Sans" panose="020B0502050000020003" pitchFamily="34" charset="0"/>
                </a:defRPr>
              </a:lvl1pPr>
            </a:lstStyle>
            <a:p>
              <a:pPr defTabSz="914446">
                <a:buClr>
                  <a:srgbClr val="000000"/>
                </a:buClr>
                <a:defRPr/>
              </a:pPr>
              <a:r>
                <a:rPr lang="en-GB" sz="1800" kern="0" noProof="0">
                  <a:solidFill>
                    <a:srgbClr val="000000">
                      <a:lumMod val="95000"/>
                      <a:lumOff val="5000"/>
                    </a:srgbClr>
                  </a:solidFill>
                  <a:cs typeface="Arial"/>
                  <a:sym typeface="Arial"/>
                </a:rPr>
                <a:t>Lineage and Catalogue</a:t>
              </a:r>
            </a:p>
          </p:txBody>
        </p:sp>
      </p:grpSp>
      <p:grpSp>
        <p:nvGrpSpPr>
          <p:cNvPr id="25" name="Grupo 24">
            <a:extLst>
              <a:ext uri="{FF2B5EF4-FFF2-40B4-BE49-F238E27FC236}">
                <a16:creationId xmlns:a16="http://schemas.microsoft.com/office/drawing/2014/main" id="{CE55866A-CB21-8AB7-00A7-3A3CB8FE0E85}"/>
              </a:ext>
            </a:extLst>
          </p:cNvPr>
          <p:cNvGrpSpPr/>
          <p:nvPr/>
        </p:nvGrpSpPr>
        <p:grpSpPr>
          <a:xfrm>
            <a:off x="5462266" y="3508153"/>
            <a:ext cx="580439" cy="1656000"/>
            <a:chOff x="5408193" y="3297985"/>
            <a:chExt cx="426385" cy="1680293"/>
          </a:xfrm>
        </p:grpSpPr>
        <p:sp>
          <p:nvSpPr>
            <p:cNvPr id="12" name="Trapecio 11">
              <a:extLst>
                <a:ext uri="{FF2B5EF4-FFF2-40B4-BE49-F238E27FC236}">
                  <a16:creationId xmlns:a16="http://schemas.microsoft.com/office/drawing/2014/main" id="{51AE9D5B-0E8D-2C10-0244-626C0D21181A}"/>
                </a:ext>
              </a:extLst>
            </p:cNvPr>
            <p:cNvSpPr/>
            <p:nvPr/>
          </p:nvSpPr>
          <p:spPr>
            <a:xfrm>
              <a:off x="5408193" y="3297985"/>
              <a:ext cx="426385" cy="1680293"/>
            </a:xfrm>
            <a:prstGeom prst="trapezoid">
              <a:avLst>
                <a:gd name="adj" fmla="val 0"/>
              </a:avLst>
            </a:prstGeom>
            <a:no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22" name="Text Box 3">
              <a:extLst>
                <a:ext uri="{FF2B5EF4-FFF2-40B4-BE49-F238E27FC236}">
                  <a16:creationId xmlns:a16="http://schemas.microsoft.com/office/drawing/2014/main" id="{71149C5B-BC11-BE22-894B-96F807174620}"/>
                </a:ext>
              </a:extLst>
            </p:cNvPr>
            <p:cNvSpPr txBox="1">
              <a:spLocks noChangeArrowheads="1"/>
            </p:cNvSpPr>
            <p:nvPr/>
          </p:nvSpPr>
          <p:spPr bwMode="auto">
            <a:xfrm rot="16200000">
              <a:off x="5047290" y="4002477"/>
              <a:ext cx="1148191" cy="271308"/>
            </a:xfrm>
            <a:prstGeom prst="rect">
              <a:avLst/>
            </a:prstGeom>
            <a:noFill/>
            <a:ln w="9525">
              <a:noFill/>
              <a:miter lim="800000"/>
              <a:headEnd/>
              <a:tailEnd/>
            </a:ln>
          </p:spPr>
          <p:txBody>
            <a:bodyPr wrap="square" anchor="ctr">
              <a:spAutoFit/>
            </a:bodyPr>
            <a:lstStyle>
              <a:defPPr marR="0" lvl="0" algn="l" rtl="0">
                <a:lnSpc>
                  <a:spcPct val="100000"/>
                </a:lnSpc>
                <a:spcBef>
                  <a:spcPts val="0"/>
                </a:spcBef>
                <a:spcAft>
                  <a:spcPts val="0"/>
                </a:spcAft>
                <a:defRPr/>
              </a:defPPr>
              <a:lvl1pPr algn="ctr" fontAlgn="base">
                <a:spcBef>
                  <a:spcPct val="50000"/>
                </a:spcBef>
                <a:spcAft>
                  <a:spcPct val="0"/>
                </a:spcAft>
                <a:defRPr sz="1800" b="1">
                  <a:solidFill>
                    <a:schemeClr val="bg1"/>
                  </a:solidFill>
                  <a:latin typeface="Quattrocento Sans" panose="020B0502050000020003" pitchFamily="34" charset="0"/>
                </a:defRPr>
              </a:lvl1pPr>
            </a:lstStyle>
            <a:p>
              <a:pPr defTabSz="914446">
                <a:buClr>
                  <a:srgbClr val="000000"/>
                </a:buClr>
                <a:defRPr/>
              </a:pPr>
              <a:r>
                <a:rPr lang="en-GB" kern="0" noProof="0">
                  <a:solidFill>
                    <a:srgbClr val="000000">
                      <a:lumMod val="95000"/>
                      <a:lumOff val="5000"/>
                    </a:srgbClr>
                  </a:solidFill>
                  <a:cs typeface="Arial"/>
                  <a:sym typeface="Arial"/>
                </a:rPr>
                <a:t>Quality</a:t>
              </a:r>
            </a:p>
          </p:txBody>
        </p:sp>
      </p:grpSp>
      <p:grpSp>
        <p:nvGrpSpPr>
          <p:cNvPr id="31" name="Grupo 30">
            <a:extLst>
              <a:ext uri="{FF2B5EF4-FFF2-40B4-BE49-F238E27FC236}">
                <a16:creationId xmlns:a16="http://schemas.microsoft.com/office/drawing/2014/main" id="{CAE675FC-B46F-0A01-44AB-8C731EA7DFA5}"/>
              </a:ext>
            </a:extLst>
          </p:cNvPr>
          <p:cNvGrpSpPr/>
          <p:nvPr/>
        </p:nvGrpSpPr>
        <p:grpSpPr>
          <a:xfrm>
            <a:off x="6799689" y="3508153"/>
            <a:ext cx="646331" cy="1656000"/>
            <a:chOff x="6708405" y="3318803"/>
            <a:chExt cx="472833" cy="1680293"/>
          </a:xfrm>
        </p:grpSpPr>
        <p:sp>
          <p:nvSpPr>
            <p:cNvPr id="11" name="Trapecio 10">
              <a:extLst>
                <a:ext uri="{FF2B5EF4-FFF2-40B4-BE49-F238E27FC236}">
                  <a16:creationId xmlns:a16="http://schemas.microsoft.com/office/drawing/2014/main" id="{A8ED4C6C-55FC-A711-6055-7DF7C2F5B0A9}"/>
                </a:ext>
              </a:extLst>
            </p:cNvPr>
            <p:cNvSpPr/>
            <p:nvPr/>
          </p:nvSpPr>
          <p:spPr>
            <a:xfrm>
              <a:off x="6729081" y="3318803"/>
              <a:ext cx="426385" cy="1680293"/>
            </a:xfrm>
            <a:prstGeom prst="trapezoid">
              <a:avLst>
                <a:gd name="adj" fmla="val 0"/>
              </a:avLst>
            </a:prstGeom>
            <a:no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23" name="Text Box 3">
              <a:extLst>
                <a:ext uri="{FF2B5EF4-FFF2-40B4-BE49-F238E27FC236}">
                  <a16:creationId xmlns:a16="http://schemas.microsoft.com/office/drawing/2014/main" id="{BD635EDB-928F-4DE1-97A0-1DBFB74A7194}"/>
                </a:ext>
              </a:extLst>
            </p:cNvPr>
            <p:cNvSpPr txBox="1">
              <a:spLocks noChangeArrowheads="1"/>
            </p:cNvSpPr>
            <p:nvPr/>
          </p:nvSpPr>
          <p:spPr bwMode="auto">
            <a:xfrm rot="16200000">
              <a:off x="6303773" y="3979570"/>
              <a:ext cx="1282097" cy="472833"/>
            </a:xfrm>
            <a:prstGeom prst="rect">
              <a:avLst/>
            </a:prstGeom>
            <a:noFill/>
            <a:ln w="9525">
              <a:noFill/>
              <a:miter lim="800000"/>
              <a:headEnd/>
              <a:tailEnd/>
            </a:ln>
          </p:spPr>
          <p:txBody>
            <a:bodyPr wrap="square">
              <a:spAutoFit/>
            </a:bodyPr>
            <a:lstStyle>
              <a:defPPr marR="0" lvl="0" algn="l" rtl="0">
                <a:lnSpc>
                  <a:spcPct val="100000"/>
                </a:lnSpc>
                <a:spcBef>
                  <a:spcPts val="0"/>
                </a:spcBef>
                <a:spcAft>
                  <a:spcPts val="0"/>
                </a:spcAft>
                <a:defRPr/>
              </a:defPPr>
              <a:lvl1pPr algn="ctr" fontAlgn="base">
                <a:spcBef>
                  <a:spcPct val="50000"/>
                </a:spcBef>
                <a:spcAft>
                  <a:spcPct val="0"/>
                </a:spcAft>
                <a:defRPr sz="1800" b="1">
                  <a:solidFill>
                    <a:schemeClr val="bg1"/>
                  </a:solidFill>
                  <a:latin typeface="Quattrocento Sans" panose="020B0502050000020003" pitchFamily="34" charset="0"/>
                </a:defRPr>
              </a:lvl1pPr>
            </a:lstStyle>
            <a:p>
              <a:pPr defTabSz="914446">
                <a:buClr>
                  <a:srgbClr val="000000"/>
                </a:buClr>
                <a:defRPr/>
              </a:pPr>
              <a:r>
                <a:rPr lang="en-GB" kern="0" noProof="0">
                  <a:solidFill>
                    <a:srgbClr val="000000">
                      <a:lumMod val="95000"/>
                      <a:lumOff val="5000"/>
                    </a:srgbClr>
                  </a:solidFill>
                  <a:cs typeface="Arial"/>
                  <a:sym typeface="Arial"/>
                </a:rPr>
                <a:t>Master Data</a:t>
              </a:r>
            </a:p>
          </p:txBody>
        </p:sp>
      </p:grpSp>
      <p:cxnSp>
        <p:nvCxnSpPr>
          <p:cNvPr id="24" name="Straight Arrow Connector 70">
            <a:extLst>
              <a:ext uri="{FF2B5EF4-FFF2-40B4-BE49-F238E27FC236}">
                <a16:creationId xmlns:a16="http://schemas.microsoft.com/office/drawing/2014/main" id="{445DE293-BA6A-B0AB-ECEB-D412E69922E0}"/>
              </a:ext>
            </a:extLst>
          </p:cNvPr>
          <p:cNvCxnSpPr>
            <a:cxnSpLocks/>
          </p:cNvCxnSpPr>
          <p:nvPr/>
        </p:nvCxnSpPr>
        <p:spPr>
          <a:xfrm flipV="1">
            <a:off x="1588322" y="3869527"/>
            <a:ext cx="3873944" cy="1"/>
          </a:xfrm>
          <a:prstGeom prst="straightConnector1">
            <a:avLst/>
          </a:prstGeom>
          <a:noFill/>
          <a:ln w="28575">
            <a:solidFill>
              <a:srgbClr val="A6A6A6"/>
            </a:solidFill>
          </a:ln>
        </p:spPr>
      </p:cxnSp>
      <p:cxnSp>
        <p:nvCxnSpPr>
          <p:cNvPr id="26" name="Straight Arrow Connector 69">
            <a:extLst>
              <a:ext uri="{FF2B5EF4-FFF2-40B4-BE49-F238E27FC236}">
                <a16:creationId xmlns:a16="http://schemas.microsoft.com/office/drawing/2014/main" id="{081E43AB-3223-697E-AF9C-0151B4187810}"/>
              </a:ext>
            </a:extLst>
          </p:cNvPr>
          <p:cNvCxnSpPr>
            <a:cxnSpLocks/>
          </p:cNvCxnSpPr>
          <p:nvPr/>
        </p:nvCxnSpPr>
        <p:spPr>
          <a:xfrm flipH="1">
            <a:off x="7410793" y="3676527"/>
            <a:ext cx="3381382" cy="0"/>
          </a:xfrm>
          <a:prstGeom prst="straightConnector1">
            <a:avLst/>
          </a:prstGeom>
          <a:noFill/>
          <a:ln w="28575">
            <a:solidFill>
              <a:srgbClr val="A6A6A6"/>
            </a:solidFill>
          </a:ln>
        </p:spPr>
      </p:cxnSp>
      <p:sp>
        <p:nvSpPr>
          <p:cNvPr id="27" name="Text Box 3">
            <a:extLst>
              <a:ext uri="{FF2B5EF4-FFF2-40B4-BE49-F238E27FC236}">
                <a16:creationId xmlns:a16="http://schemas.microsoft.com/office/drawing/2014/main" id="{21A370FC-52B7-A43B-42BF-43B4F1107DA6}"/>
              </a:ext>
            </a:extLst>
          </p:cNvPr>
          <p:cNvSpPr txBox="1">
            <a:spLocks noChangeArrowheads="1"/>
          </p:cNvSpPr>
          <p:nvPr/>
        </p:nvSpPr>
        <p:spPr bwMode="auto">
          <a:xfrm>
            <a:off x="4376954" y="3002237"/>
            <a:ext cx="3321738" cy="369332"/>
          </a:xfrm>
          <a:prstGeom prst="rect">
            <a:avLst/>
          </a:prstGeom>
          <a:noFill/>
          <a:ln w="9525">
            <a:noFill/>
            <a:miter lim="800000"/>
            <a:headEnd/>
            <a:tailEnd/>
          </a:ln>
        </p:spPr>
        <p:txBody>
          <a:bodyPr wrap="square" anchor="ctr">
            <a:spAutoFit/>
          </a:bodyPr>
          <a:lstStyle>
            <a:defPPr marR="0" lvl="0" algn="l" rtl="0">
              <a:lnSpc>
                <a:spcPct val="100000"/>
              </a:lnSpc>
              <a:spcBef>
                <a:spcPts val="0"/>
              </a:spcBef>
              <a:spcAft>
                <a:spcPts val="0"/>
              </a:spcAft>
              <a:defRPr lang="en-US"/>
            </a:defPPr>
            <a:lvl1pPr algn="ctr" defTabSz="914446" fontAlgn="base">
              <a:spcBef>
                <a:spcPct val="50000"/>
              </a:spcBef>
              <a:spcAft>
                <a:spcPct val="0"/>
              </a:spcAft>
              <a:buClr>
                <a:srgbClr val="000000"/>
              </a:buClr>
              <a:defRPr b="1" kern="0">
                <a:solidFill>
                  <a:srgbClr val="000000">
                    <a:lumMod val="95000"/>
                    <a:lumOff val="5000"/>
                  </a:srgbClr>
                </a:solidFill>
                <a:latin typeface="Quattrocento Sans" panose="020B0502050000020003" pitchFamily="34" charset="0"/>
                <a:cs typeface="Arial"/>
              </a:defRPr>
            </a:lvl1pPr>
          </a:lstStyle>
          <a:p>
            <a:r>
              <a:rPr lang="en-GB" noProof="0">
                <a:sym typeface="Arial"/>
              </a:rPr>
              <a:t>Organisation</a:t>
            </a:r>
          </a:p>
        </p:txBody>
      </p:sp>
      <p:cxnSp>
        <p:nvCxnSpPr>
          <p:cNvPr id="28" name="Straight Arrow Connector 69">
            <a:extLst>
              <a:ext uri="{FF2B5EF4-FFF2-40B4-BE49-F238E27FC236}">
                <a16:creationId xmlns:a16="http://schemas.microsoft.com/office/drawing/2014/main" id="{935F12D6-8F53-53CA-8391-502819389199}"/>
              </a:ext>
            </a:extLst>
          </p:cNvPr>
          <p:cNvCxnSpPr>
            <a:cxnSpLocks/>
          </p:cNvCxnSpPr>
          <p:nvPr/>
        </p:nvCxnSpPr>
        <p:spPr>
          <a:xfrm flipH="1">
            <a:off x="6705134" y="4901948"/>
            <a:ext cx="4067483" cy="0"/>
          </a:xfrm>
          <a:prstGeom prst="straightConnector1">
            <a:avLst/>
          </a:prstGeom>
          <a:noFill/>
          <a:ln w="28575">
            <a:solidFill>
              <a:srgbClr val="A6A6A6"/>
            </a:solidFill>
          </a:ln>
        </p:spPr>
      </p:cxnSp>
      <p:sp>
        <p:nvSpPr>
          <p:cNvPr id="29" name="Rectángulo 28">
            <a:extLst>
              <a:ext uri="{FF2B5EF4-FFF2-40B4-BE49-F238E27FC236}">
                <a16:creationId xmlns:a16="http://schemas.microsoft.com/office/drawing/2014/main" id="{A993EE76-14FF-498D-C40C-A348E5B0F4EE}"/>
              </a:ext>
            </a:extLst>
          </p:cNvPr>
          <p:cNvSpPr/>
          <p:nvPr/>
        </p:nvSpPr>
        <p:spPr>
          <a:xfrm>
            <a:off x="4475098" y="3371221"/>
            <a:ext cx="3125450" cy="128583"/>
          </a:xfrm>
          <a:prstGeom prst="rect">
            <a:avLst/>
          </a:prstGeom>
          <a:solidFill>
            <a:schemeClr val="bg1"/>
          </a:solid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pic>
        <p:nvPicPr>
          <p:cNvPr id="1026" name="Picture 2" descr="Home">
            <a:extLst>
              <a:ext uri="{FF2B5EF4-FFF2-40B4-BE49-F238E27FC236}">
                <a16:creationId xmlns:a16="http://schemas.microsoft.com/office/drawing/2014/main" id="{D0EFF9ED-AEA4-62AE-BF2A-E970D0B25D8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670253" y="5583282"/>
            <a:ext cx="1286486" cy="953868"/>
          </a:xfrm>
          <a:prstGeom prst="rect">
            <a:avLst/>
          </a:prstGeom>
          <a:noFill/>
          <a:extLst>
            <a:ext uri="{909E8E84-426E-40DD-AFC4-6F175D3DCCD1}">
              <a14:hiddenFill xmlns:a14="http://schemas.microsoft.com/office/drawing/2010/main">
                <a:solidFill>
                  <a:srgbClr val="FFFFFF"/>
                </a:solidFill>
              </a14:hiddenFill>
            </a:ext>
          </a:extLst>
        </p:spPr>
      </p:pic>
      <p:cxnSp>
        <p:nvCxnSpPr>
          <p:cNvPr id="34" name="Straight Arrow Connector 69">
            <a:extLst>
              <a:ext uri="{FF2B5EF4-FFF2-40B4-BE49-F238E27FC236}">
                <a16:creationId xmlns:a16="http://schemas.microsoft.com/office/drawing/2014/main" id="{FC7CD69F-9425-A225-9508-3817B5140C3C}"/>
              </a:ext>
            </a:extLst>
          </p:cNvPr>
          <p:cNvCxnSpPr>
            <a:cxnSpLocks/>
          </p:cNvCxnSpPr>
          <p:nvPr/>
        </p:nvCxnSpPr>
        <p:spPr>
          <a:xfrm flipH="1">
            <a:off x="1539218" y="5027133"/>
            <a:ext cx="3194038" cy="0"/>
          </a:xfrm>
          <a:prstGeom prst="straightConnector1">
            <a:avLst/>
          </a:prstGeom>
          <a:noFill/>
          <a:ln w="28575">
            <a:solidFill>
              <a:srgbClr val="A6A6A6"/>
            </a:solidFill>
          </a:ln>
        </p:spPr>
      </p:cxnSp>
      <p:grpSp>
        <p:nvGrpSpPr>
          <p:cNvPr id="30" name="Grupo 29">
            <a:extLst>
              <a:ext uri="{FF2B5EF4-FFF2-40B4-BE49-F238E27FC236}">
                <a16:creationId xmlns:a16="http://schemas.microsoft.com/office/drawing/2014/main" id="{C5FAE614-C265-77EB-3C5A-1FD68E533D5D}"/>
              </a:ext>
            </a:extLst>
          </p:cNvPr>
          <p:cNvGrpSpPr/>
          <p:nvPr/>
        </p:nvGrpSpPr>
        <p:grpSpPr>
          <a:xfrm>
            <a:off x="6124695" y="3508153"/>
            <a:ext cx="580439" cy="1656000"/>
            <a:chOff x="6070186" y="3317523"/>
            <a:chExt cx="426385" cy="1680293"/>
          </a:xfrm>
        </p:grpSpPr>
        <p:sp>
          <p:nvSpPr>
            <p:cNvPr id="2" name="Trapecio 1">
              <a:extLst>
                <a:ext uri="{FF2B5EF4-FFF2-40B4-BE49-F238E27FC236}">
                  <a16:creationId xmlns:a16="http://schemas.microsoft.com/office/drawing/2014/main" id="{81006461-38E5-8B28-7AFD-3432BB04A715}"/>
                </a:ext>
              </a:extLst>
            </p:cNvPr>
            <p:cNvSpPr/>
            <p:nvPr/>
          </p:nvSpPr>
          <p:spPr>
            <a:xfrm>
              <a:off x="6070186" y="3317523"/>
              <a:ext cx="426385" cy="1680293"/>
            </a:xfrm>
            <a:prstGeom prst="trapezoid">
              <a:avLst>
                <a:gd name="adj" fmla="val 0"/>
              </a:avLst>
            </a:prstGeom>
            <a:no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3" name="Text Box 3">
              <a:extLst>
                <a:ext uri="{FF2B5EF4-FFF2-40B4-BE49-F238E27FC236}">
                  <a16:creationId xmlns:a16="http://schemas.microsoft.com/office/drawing/2014/main" id="{256D90A3-FA4A-DCAF-9F3C-124497A3C25B}"/>
                </a:ext>
              </a:extLst>
            </p:cNvPr>
            <p:cNvSpPr txBox="1">
              <a:spLocks noChangeArrowheads="1"/>
            </p:cNvSpPr>
            <p:nvPr/>
          </p:nvSpPr>
          <p:spPr bwMode="auto">
            <a:xfrm rot="16200000">
              <a:off x="5570083" y="4049466"/>
              <a:ext cx="1424131" cy="271308"/>
            </a:xfrm>
            <a:prstGeom prst="rect">
              <a:avLst/>
            </a:prstGeom>
            <a:noFill/>
            <a:ln w="9525">
              <a:noFill/>
              <a:miter lim="800000"/>
              <a:headEnd/>
              <a:tailEnd/>
            </a:ln>
          </p:spPr>
          <p:txBody>
            <a:bodyPr wrap="square" anchor="ctr">
              <a:spAutoFit/>
            </a:bodyPr>
            <a:lstStyle>
              <a:defPPr marR="0" lvl="0" algn="l" rtl="0">
                <a:lnSpc>
                  <a:spcPct val="100000"/>
                </a:lnSpc>
                <a:spcBef>
                  <a:spcPts val="0"/>
                </a:spcBef>
                <a:spcAft>
                  <a:spcPts val="0"/>
                </a:spcAft>
                <a:defRPr/>
              </a:defPPr>
              <a:lvl1pPr algn="ctr" fontAlgn="base">
                <a:spcBef>
                  <a:spcPct val="50000"/>
                </a:spcBef>
                <a:spcAft>
                  <a:spcPct val="0"/>
                </a:spcAft>
                <a:defRPr sz="1800" b="1">
                  <a:solidFill>
                    <a:schemeClr val="bg1"/>
                  </a:solidFill>
                  <a:latin typeface="Quattrocento Sans" panose="020B0502050000020003" pitchFamily="34" charset="0"/>
                </a:defRPr>
              </a:lvl1pPr>
            </a:lstStyle>
            <a:p>
              <a:pPr defTabSz="914446">
                <a:buClr>
                  <a:srgbClr val="000000"/>
                </a:buClr>
                <a:defRPr/>
              </a:pPr>
              <a:r>
                <a:rPr lang="en-GB" kern="0" noProof="0">
                  <a:solidFill>
                    <a:srgbClr val="000000">
                      <a:lumMod val="95000"/>
                      <a:lumOff val="5000"/>
                    </a:srgbClr>
                  </a:solidFill>
                  <a:cs typeface="Arial"/>
                  <a:sym typeface="Arial"/>
                </a:rPr>
                <a:t>Security</a:t>
              </a:r>
            </a:p>
          </p:txBody>
        </p:sp>
      </p:grpSp>
      <p:cxnSp>
        <p:nvCxnSpPr>
          <p:cNvPr id="45" name="Straight Arrow Connector 69">
            <a:extLst>
              <a:ext uri="{FF2B5EF4-FFF2-40B4-BE49-F238E27FC236}">
                <a16:creationId xmlns:a16="http://schemas.microsoft.com/office/drawing/2014/main" id="{825E2E67-97C1-D3DE-8E25-A61DDD6FCB70}"/>
              </a:ext>
            </a:extLst>
          </p:cNvPr>
          <p:cNvCxnSpPr>
            <a:cxnSpLocks/>
          </p:cNvCxnSpPr>
          <p:nvPr/>
        </p:nvCxnSpPr>
        <p:spPr>
          <a:xfrm flipV="1">
            <a:off x="6117344" y="5682239"/>
            <a:ext cx="0" cy="291941"/>
          </a:xfrm>
          <a:prstGeom prst="straightConnector1">
            <a:avLst/>
          </a:prstGeom>
          <a:noFill/>
          <a:ln w="28575">
            <a:solidFill>
              <a:srgbClr val="A6A6A6"/>
            </a:solidFill>
          </a:ln>
        </p:spPr>
      </p:cxnSp>
      <p:cxnSp>
        <p:nvCxnSpPr>
          <p:cNvPr id="49" name="Straight Arrow Connector 69">
            <a:extLst>
              <a:ext uri="{FF2B5EF4-FFF2-40B4-BE49-F238E27FC236}">
                <a16:creationId xmlns:a16="http://schemas.microsoft.com/office/drawing/2014/main" id="{40257DA4-8DFD-8416-79BC-F6C6BAEA9CBC}"/>
              </a:ext>
            </a:extLst>
          </p:cNvPr>
          <p:cNvCxnSpPr>
            <a:cxnSpLocks/>
          </p:cNvCxnSpPr>
          <p:nvPr/>
        </p:nvCxnSpPr>
        <p:spPr>
          <a:xfrm flipV="1">
            <a:off x="6107037" y="2516146"/>
            <a:ext cx="0" cy="291941"/>
          </a:xfrm>
          <a:prstGeom prst="straightConnector1">
            <a:avLst/>
          </a:prstGeom>
          <a:noFill/>
          <a:ln w="28575">
            <a:solidFill>
              <a:srgbClr val="A6A6A6"/>
            </a:solidFill>
          </a:ln>
        </p:spPr>
      </p:cxnSp>
      <p:pic>
        <p:nvPicPr>
          <p:cNvPr id="14" name="Imagen 13" descr="Logotipo&#10;&#10;Descripción generada automáticamente">
            <a:extLst>
              <a:ext uri="{FF2B5EF4-FFF2-40B4-BE49-F238E27FC236}">
                <a16:creationId xmlns:a16="http://schemas.microsoft.com/office/drawing/2014/main" id="{D072052D-5368-BA20-CFF2-698284003EB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59715" y="6016747"/>
            <a:ext cx="2085823" cy="481343"/>
          </a:xfrm>
          <a:prstGeom prst="rect">
            <a:avLst/>
          </a:prstGeom>
        </p:spPr>
      </p:pic>
      <p:pic>
        <p:nvPicPr>
          <p:cNvPr id="15" name="Picture 4" descr="Local Authority Support | Liberty Charge">
            <a:extLst>
              <a:ext uri="{FF2B5EF4-FFF2-40B4-BE49-F238E27FC236}">
                <a16:creationId xmlns:a16="http://schemas.microsoft.com/office/drawing/2014/main" id="{9F51DF4C-BCE8-DAD9-6428-2793EB30B3E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2755" y="5784377"/>
            <a:ext cx="601739" cy="381548"/>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INGETEAM">
            <a:extLst>
              <a:ext uri="{FF2B5EF4-FFF2-40B4-BE49-F238E27FC236}">
                <a16:creationId xmlns:a16="http://schemas.microsoft.com/office/drawing/2014/main" id="{EDBE07C2-45C7-22EF-BBC3-790271C6F0A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54522" y="6206975"/>
            <a:ext cx="873585" cy="274664"/>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descr="ALBACORA, S.A. | LinkedIn">
            <a:extLst>
              <a:ext uri="{FF2B5EF4-FFF2-40B4-BE49-F238E27FC236}">
                <a16:creationId xmlns:a16="http://schemas.microsoft.com/office/drawing/2014/main" id="{FF78C569-F13F-E433-D91F-EA3E7F3C69AA}"/>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40800" b="39590"/>
          <a:stretch/>
        </p:blipFill>
        <p:spPr bwMode="auto">
          <a:xfrm>
            <a:off x="4855336" y="5874717"/>
            <a:ext cx="1145591" cy="224648"/>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A8A6202F-1B51-675B-D39A-13AAB70429D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165347" y="5893708"/>
            <a:ext cx="830968" cy="241700"/>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F88C2B49-CC00-F9C3-B89B-0D8BD7260CF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283891" y="5885632"/>
            <a:ext cx="779993" cy="273718"/>
          </a:xfrm>
          <a:prstGeom prst="rect">
            <a:avLst/>
          </a:prstGeom>
          <a:noFill/>
          <a:extLst>
            <a:ext uri="{909E8E84-426E-40DD-AFC4-6F175D3DCCD1}">
              <a14:hiddenFill xmlns:a14="http://schemas.microsoft.com/office/drawing/2010/main">
                <a:solidFill>
                  <a:srgbClr val="FFFFFF"/>
                </a:solidFill>
              </a14:hiddenFill>
            </a:ext>
          </a:extLst>
        </p:spPr>
      </p:pic>
      <p:grpSp>
        <p:nvGrpSpPr>
          <p:cNvPr id="35" name="Group 29">
            <a:extLst>
              <a:ext uri="{FF2B5EF4-FFF2-40B4-BE49-F238E27FC236}">
                <a16:creationId xmlns:a16="http://schemas.microsoft.com/office/drawing/2014/main" id="{A0824EC6-8EFC-29BE-EAF0-BC77BB8D3264}"/>
              </a:ext>
            </a:extLst>
          </p:cNvPr>
          <p:cNvGrpSpPr/>
          <p:nvPr/>
        </p:nvGrpSpPr>
        <p:grpSpPr>
          <a:xfrm>
            <a:off x="7929523" y="2923498"/>
            <a:ext cx="2873103" cy="600550"/>
            <a:chOff x="918976" y="5868845"/>
            <a:chExt cx="4457123" cy="931649"/>
          </a:xfrm>
        </p:grpSpPr>
        <p:pic>
          <p:nvPicPr>
            <p:cNvPr id="36" name="Picture 5" descr="A black and yellow logo&#10;&#10;Description automatically generated">
              <a:extLst>
                <a:ext uri="{FF2B5EF4-FFF2-40B4-BE49-F238E27FC236}">
                  <a16:creationId xmlns:a16="http://schemas.microsoft.com/office/drawing/2014/main" id="{117C1326-BD95-BD3D-6329-B56D9ABF304E}"/>
                </a:ext>
              </a:extLst>
            </p:cNvPr>
            <p:cNvPicPr>
              <a:picLocks noChangeAspect="1"/>
            </p:cNvPicPr>
            <p:nvPr/>
          </p:nvPicPr>
          <p:blipFill rotWithShape="1">
            <a:blip r:embed="rId10" cstate="print">
              <a:extLst>
                <a:ext uri="{28A0092B-C50C-407E-A947-70E740481C1C}">
                  <a14:useLocalDpi xmlns:a14="http://schemas.microsoft.com/office/drawing/2010/main" val="0"/>
                </a:ext>
                <a:ext uri="{837473B0-CC2E-450A-ABE3-18F120FF3D39}">
                  <a1611:picAttrSrcUrl xmlns:a1611="http://schemas.microsoft.com/office/drawing/2016/11/main" r:id="rId11"/>
                </a:ext>
              </a:extLst>
            </a:blip>
            <a:srcRect b="-8040"/>
            <a:stretch/>
          </p:blipFill>
          <p:spPr>
            <a:xfrm>
              <a:off x="3106310" y="6338830"/>
              <a:ext cx="937382" cy="461664"/>
            </a:xfrm>
            <a:prstGeom prst="rect">
              <a:avLst/>
            </a:prstGeom>
          </p:spPr>
        </p:pic>
        <p:pic>
          <p:nvPicPr>
            <p:cNvPr id="37" name="Picture 6" descr="A logo with a circle and a ribbon&#10;&#10;Description automatically generated">
              <a:extLst>
                <a:ext uri="{FF2B5EF4-FFF2-40B4-BE49-F238E27FC236}">
                  <a16:creationId xmlns:a16="http://schemas.microsoft.com/office/drawing/2014/main" id="{42EA6317-174D-6694-8086-ADD28462FC74}"/>
                </a:ext>
              </a:extLst>
            </p:cNvPr>
            <p:cNvPicPr>
              <a:picLocks noChangeAspect="1"/>
            </p:cNvPicPr>
            <p:nvPr/>
          </p:nvPicPr>
          <p:blipFill rotWithShape="1">
            <a:blip r:embed="rId12" cstate="print">
              <a:extLst>
                <a:ext uri="{28A0092B-C50C-407E-A947-70E740481C1C}">
                  <a14:useLocalDpi xmlns:a14="http://schemas.microsoft.com/office/drawing/2010/main" val="0"/>
                </a:ext>
                <a:ext uri="{837473B0-CC2E-450A-ABE3-18F120FF3D39}">
                  <a1611:picAttrSrcUrl xmlns:a1611="http://schemas.microsoft.com/office/drawing/2016/11/main" r:id="rId13"/>
                </a:ext>
              </a:extLst>
            </a:blip>
            <a:srcRect/>
            <a:stretch/>
          </p:blipFill>
          <p:spPr>
            <a:xfrm>
              <a:off x="4187673" y="6413893"/>
              <a:ext cx="1188426" cy="311538"/>
            </a:xfrm>
            <a:prstGeom prst="rect">
              <a:avLst/>
            </a:prstGeom>
          </p:spPr>
        </p:pic>
        <p:pic>
          <p:nvPicPr>
            <p:cNvPr id="39" name="Picture 8" descr="Blue letters on a black background&#10;&#10;Description automatically generated">
              <a:extLst>
                <a:ext uri="{FF2B5EF4-FFF2-40B4-BE49-F238E27FC236}">
                  <a16:creationId xmlns:a16="http://schemas.microsoft.com/office/drawing/2014/main" id="{C7037840-76FF-E34F-F91B-85E942382EF4}"/>
                </a:ext>
              </a:extLst>
            </p:cNvPr>
            <p:cNvPicPr>
              <a:picLocks noChangeAspect="1"/>
            </p:cNvPicPr>
            <p:nvPr/>
          </p:nvPicPr>
          <p:blipFill>
            <a:blip r:embed="rId14" cstate="print">
              <a:extLst>
                <a:ext uri="{28A0092B-C50C-407E-A947-70E740481C1C}">
                  <a14:useLocalDpi xmlns:a14="http://schemas.microsoft.com/office/drawing/2010/main" val="0"/>
                </a:ext>
                <a:ext uri="{837473B0-CC2E-450A-ABE3-18F120FF3D39}">
                  <a1611:picAttrSrcUrl xmlns:a1611="http://schemas.microsoft.com/office/drawing/2016/11/main" r:id="rId15"/>
                </a:ext>
              </a:extLst>
            </a:blip>
            <a:stretch>
              <a:fillRect/>
            </a:stretch>
          </p:blipFill>
          <p:spPr>
            <a:xfrm>
              <a:off x="2115099" y="5898682"/>
              <a:ext cx="1034313" cy="222361"/>
            </a:xfrm>
            <a:prstGeom prst="rect">
              <a:avLst/>
            </a:prstGeom>
          </p:spPr>
        </p:pic>
        <p:pic>
          <p:nvPicPr>
            <p:cNvPr id="41" name="Picture 9" descr="A black background with white lines&#10;&#10;Description automatically generated">
              <a:extLst>
                <a:ext uri="{FF2B5EF4-FFF2-40B4-BE49-F238E27FC236}">
                  <a16:creationId xmlns:a16="http://schemas.microsoft.com/office/drawing/2014/main" id="{F2D102BC-8184-A60F-CB07-718E0BA31129}"/>
                </a:ext>
              </a:extLst>
            </p:cNvPr>
            <p:cNvPicPr>
              <a:picLocks noChangeAspect="1"/>
            </p:cNvPicPr>
            <p:nvPr/>
          </p:nvPicPr>
          <p:blipFill>
            <a:blip r:embed="rId16" cstate="print">
              <a:extLst>
                <a:ext uri="{28A0092B-C50C-407E-A947-70E740481C1C}">
                  <a14:useLocalDpi xmlns:a14="http://schemas.microsoft.com/office/drawing/2010/main" val="0"/>
                </a:ext>
                <a:ext uri="{837473B0-CC2E-450A-ABE3-18F120FF3D39}">
                  <a1611:picAttrSrcUrl xmlns:a1611="http://schemas.microsoft.com/office/drawing/2016/11/main" r:id="rId17"/>
                </a:ext>
              </a:extLst>
            </a:blip>
            <a:stretch>
              <a:fillRect/>
            </a:stretch>
          </p:blipFill>
          <p:spPr>
            <a:xfrm>
              <a:off x="3418170" y="5868845"/>
              <a:ext cx="929762" cy="221764"/>
            </a:xfrm>
            <a:prstGeom prst="rect">
              <a:avLst/>
            </a:prstGeom>
          </p:spPr>
        </p:pic>
        <p:pic>
          <p:nvPicPr>
            <p:cNvPr id="43" name="Picture 2" descr="ALTER - ALTER-es">
              <a:extLst>
                <a:ext uri="{FF2B5EF4-FFF2-40B4-BE49-F238E27FC236}">
                  <a16:creationId xmlns:a16="http://schemas.microsoft.com/office/drawing/2014/main" id="{E4D554AD-DDFB-3330-24B7-AEE97E30C078}"/>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926815" y="6413893"/>
              <a:ext cx="1171976" cy="311538"/>
            </a:xfrm>
            <a:prstGeom prst="rect">
              <a:avLst/>
            </a:prstGeom>
            <a:noFill/>
            <a:extLst>
              <a:ext uri="{909E8E84-426E-40DD-AFC4-6F175D3DCCD1}">
                <a14:hiddenFill xmlns:a14="http://schemas.microsoft.com/office/drawing/2010/main">
                  <a:solidFill>
                    <a:srgbClr val="FFFFFF"/>
                  </a:solidFill>
                </a14:hiddenFill>
              </a:ext>
            </a:extLst>
          </p:spPr>
        </p:pic>
        <p:sp>
          <p:nvSpPr>
            <p:cNvPr id="46" name="Freeform 13">
              <a:extLst>
                <a:ext uri="{FF2B5EF4-FFF2-40B4-BE49-F238E27FC236}">
                  <a16:creationId xmlns:a16="http://schemas.microsoft.com/office/drawing/2014/main" id="{936A0394-5538-2089-25B7-9A583E33CD77}"/>
                </a:ext>
              </a:extLst>
            </p:cNvPr>
            <p:cNvSpPr>
              <a:spLocks noChangeAspect="1"/>
            </p:cNvSpPr>
            <p:nvPr/>
          </p:nvSpPr>
          <p:spPr>
            <a:xfrm>
              <a:off x="2242772" y="6398792"/>
              <a:ext cx="719557" cy="341738"/>
            </a:xfrm>
            <a:custGeom>
              <a:avLst/>
              <a:gdLst/>
              <a:ahLst/>
              <a:cxnLst/>
              <a:rect l="l" t="t" r="r" b="b"/>
              <a:pathLst>
                <a:path w="2159145" h="1278043">
                  <a:moveTo>
                    <a:pt x="0" y="0"/>
                  </a:moveTo>
                  <a:lnTo>
                    <a:pt x="2159145" y="0"/>
                  </a:lnTo>
                  <a:lnTo>
                    <a:pt x="2159145" y="1278043"/>
                  </a:lnTo>
                  <a:lnTo>
                    <a:pt x="0" y="1278043"/>
                  </a:lnTo>
                  <a:lnTo>
                    <a:pt x="0" y="0"/>
                  </a:lnTo>
                  <a:close/>
                </a:path>
              </a:pathLst>
            </a:custGeom>
            <a:blipFill>
              <a:blip r:embed="rId19"/>
              <a:stretch>
                <a:fillRect l="-10436" t="-28362" r="-14086" b="-30881"/>
              </a:stretch>
            </a:blipFill>
          </p:spPr>
          <p:txBody>
            <a:bodyPr/>
            <a:lstStyle/>
            <a:p>
              <a:endParaRPr lang="en-GB" sz="1154" noProof="0"/>
            </a:p>
          </p:txBody>
        </p:sp>
        <p:pic>
          <p:nvPicPr>
            <p:cNvPr id="47" name="Picture 26" descr="A red letter v on a black background&#10;&#10;Description automatically generated">
              <a:extLst>
                <a:ext uri="{FF2B5EF4-FFF2-40B4-BE49-F238E27FC236}">
                  <a16:creationId xmlns:a16="http://schemas.microsoft.com/office/drawing/2014/main" id="{1EADC2D7-82D7-0CFD-E422-2EDB750B912A}"/>
                </a:ext>
              </a:extLst>
            </p:cNvPr>
            <p:cNvPicPr>
              <a:picLocks noChangeAspect="1"/>
            </p:cNvPicPr>
            <p:nvPr/>
          </p:nvPicPr>
          <p:blipFill>
            <a:blip r:embed="rId20">
              <a:extLst>
                <a:ext uri="{837473B0-CC2E-450A-ABE3-18F120FF3D39}">
                  <a1611:picAttrSrcUrl xmlns:a1611="http://schemas.microsoft.com/office/drawing/2016/11/main" r:id="rId21"/>
                </a:ext>
              </a:extLst>
            </a:blip>
            <a:stretch>
              <a:fillRect/>
            </a:stretch>
          </p:blipFill>
          <p:spPr>
            <a:xfrm>
              <a:off x="918976" y="5913255"/>
              <a:ext cx="962878" cy="222021"/>
            </a:xfrm>
            <a:prstGeom prst="rect">
              <a:avLst/>
            </a:prstGeom>
          </p:spPr>
        </p:pic>
      </p:grpSp>
      <p:pic>
        <p:nvPicPr>
          <p:cNvPr id="48" name="Picture 4" descr="Local Authority Support | Liberty Charge">
            <a:extLst>
              <a:ext uri="{FF2B5EF4-FFF2-40B4-BE49-F238E27FC236}">
                <a16:creationId xmlns:a16="http://schemas.microsoft.com/office/drawing/2014/main" id="{20064961-AC73-4E3A-3FEC-ECDF651BFE0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87520" y="3111195"/>
            <a:ext cx="601739" cy="381548"/>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25" descr="A blue and black logo&#10;&#10;Description automatically generated">
            <a:extLst>
              <a:ext uri="{FF2B5EF4-FFF2-40B4-BE49-F238E27FC236}">
                <a16:creationId xmlns:a16="http://schemas.microsoft.com/office/drawing/2014/main" id="{DF407B1C-5121-3C5D-B95C-1777B52C8348}"/>
              </a:ext>
            </a:extLst>
          </p:cNvPr>
          <p:cNvPicPr>
            <a:picLocks noChangeAspect="1"/>
          </p:cNvPicPr>
          <p:nvPr/>
        </p:nvPicPr>
        <p:blipFill>
          <a:blip r:embed="rId22">
            <a:extLst>
              <a:ext uri="{837473B0-CC2E-450A-ABE3-18F120FF3D39}">
                <a1611:picAttrSrcUrl xmlns:a1611="http://schemas.microsoft.com/office/drawing/2016/11/main" r:id="rId23"/>
              </a:ext>
            </a:extLst>
          </a:blip>
          <a:stretch>
            <a:fillRect/>
          </a:stretch>
        </p:blipFill>
        <p:spPr>
          <a:xfrm>
            <a:off x="7680432" y="4577842"/>
            <a:ext cx="869771" cy="230183"/>
          </a:xfrm>
          <a:prstGeom prst="rect">
            <a:avLst/>
          </a:prstGeom>
        </p:spPr>
      </p:pic>
      <p:pic>
        <p:nvPicPr>
          <p:cNvPr id="3078" name="Picture 6">
            <a:extLst>
              <a:ext uri="{FF2B5EF4-FFF2-40B4-BE49-F238E27FC236}">
                <a16:creationId xmlns:a16="http://schemas.microsoft.com/office/drawing/2014/main" id="{DCD73D2B-85A4-1734-E9AB-CE8CD2D09130}"/>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481556" y="4692933"/>
            <a:ext cx="1098806" cy="279651"/>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4" descr="Local Authority Support | Liberty Charge">
            <a:extLst>
              <a:ext uri="{FF2B5EF4-FFF2-40B4-BE49-F238E27FC236}">
                <a16:creationId xmlns:a16="http://schemas.microsoft.com/office/drawing/2014/main" id="{08368F06-6DFB-9EFA-5DC4-C2B9F75DC16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01106" y="4617251"/>
            <a:ext cx="601739" cy="381548"/>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4" descr="Local Authority Support | Liberty Charge">
            <a:extLst>
              <a:ext uri="{FF2B5EF4-FFF2-40B4-BE49-F238E27FC236}">
                <a16:creationId xmlns:a16="http://schemas.microsoft.com/office/drawing/2014/main" id="{809E27CA-DE43-8EB2-5B99-CE73AA323AD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98573" y="2063740"/>
            <a:ext cx="601739" cy="381548"/>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a:extLst>
              <a:ext uri="{FF2B5EF4-FFF2-40B4-BE49-F238E27FC236}">
                <a16:creationId xmlns:a16="http://schemas.microsoft.com/office/drawing/2014/main" id="{9981B08B-F4DE-C54A-0321-14D3BA4909A4}"/>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8709415" y="4558615"/>
            <a:ext cx="869771" cy="213594"/>
          </a:xfrm>
          <a:prstGeom prst="rect">
            <a:avLst/>
          </a:prstGeom>
          <a:noFill/>
          <a:extLst>
            <a:ext uri="{909E8E84-426E-40DD-AFC4-6F175D3DCCD1}">
              <a14:hiddenFill xmlns:a14="http://schemas.microsoft.com/office/drawing/2010/main">
                <a:solidFill>
                  <a:srgbClr val="FFFFFF"/>
                </a:solidFill>
              </a14:hiddenFill>
            </a:ext>
          </a:extLst>
        </p:spPr>
      </p:pic>
      <p:grpSp>
        <p:nvGrpSpPr>
          <p:cNvPr id="53" name="Group 29">
            <a:extLst>
              <a:ext uri="{FF2B5EF4-FFF2-40B4-BE49-F238E27FC236}">
                <a16:creationId xmlns:a16="http://schemas.microsoft.com/office/drawing/2014/main" id="{C9305D67-44E5-05B3-EB95-CB97E29706EB}"/>
              </a:ext>
            </a:extLst>
          </p:cNvPr>
          <p:cNvGrpSpPr/>
          <p:nvPr/>
        </p:nvGrpSpPr>
        <p:grpSpPr>
          <a:xfrm>
            <a:off x="1091006" y="3199529"/>
            <a:ext cx="2873103" cy="600550"/>
            <a:chOff x="918976" y="5868845"/>
            <a:chExt cx="4457123" cy="931649"/>
          </a:xfrm>
        </p:grpSpPr>
        <p:pic>
          <p:nvPicPr>
            <p:cNvPr id="54" name="Picture 5" descr="A black and yellow logo&#10;&#10;Description automatically generated">
              <a:extLst>
                <a:ext uri="{FF2B5EF4-FFF2-40B4-BE49-F238E27FC236}">
                  <a16:creationId xmlns:a16="http://schemas.microsoft.com/office/drawing/2014/main" id="{652B379B-238B-8722-C029-96287CA85432}"/>
                </a:ext>
              </a:extLst>
            </p:cNvPr>
            <p:cNvPicPr>
              <a:picLocks noChangeAspect="1"/>
            </p:cNvPicPr>
            <p:nvPr/>
          </p:nvPicPr>
          <p:blipFill rotWithShape="1">
            <a:blip r:embed="rId10" cstate="print">
              <a:extLst>
                <a:ext uri="{28A0092B-C50C-407E-A947-70E740481C1C}">
                  <a14:useLocalDpi xmlns:a14="http://schemas.microsoft.com/office/drawing/2010/main" val="0"/>
                </a:ext>
                <a:ext uri="{837473B0-CC2E-450A-ABE3-18F120FF3D39}">
                  <a1611:picAttrSrcUrl xmlns:a1611="http://schemas.microsoft.com/office/drawing/2016/11/main" r:id="rId11"/>
                </a:ext>
              </a:extLst>
            </a:blip>
            <a:srcRect b="-8040"/>
            <a:stretch/>
          </p:blipFill>
          <p:spPr>
            <a:xfrm>
              <a:off x="3106310" y="6338830"/>
              <a:ext cx="937382" cy="461664"/>
            </a:xfrm>
            <a:prstGeom prst="rect">
              <a:avLst/>
            </a:prstGeom>
          </p:spPr>
        </p:pic>
        <p:pic>
          <p:nvPicPr>
            <p:cNvPr id="55" name="Picture 6" descr="A logo with a circle and a ribbon&#10;&#10;Description automatically generated">
              <a:extLst>
                <a:ext uri="{FF2B5EF4-FFF2-40B4-BE49-F238E27FC236}">
                  <a16:creationId xmlns:a16="http://schemas.microsoft.com/office/drawing/2014/main" id="{D7D127C8-47BD-FBFD-610B-E85345C0659B}"/>
                </a:ext>
              </a:extLst>
            </p:cNvPr>
            <p:cNvPicPr>
              <a:picLocks noChangeAspect="1"/>
            </p:cNvPicPr>
            <p:nvPr/>
          </p:nvPicPr>
          <p:blipFill rotWithShape="1">
            <a:blip r:embed="rId12" cstate="print">
              <a:extLst>
                <a:ext uri="{28A0092B-C50C-407E-A947-70E740481C1C}">
                  <a14:useLocalDpi xmlns:a14="http://schemas.microsoft.com/office/drawing/2010/main" val="0"/>
                </a:ext>
                <a:ext uri="{837473B0-CC2E-450A-ABE3-18F120FF3D39}">
                  <a1611:picAttrSrcUrl xmlns:a1611="http://schemas.microsoft.com/office/drawing/2016/11/main" r:id="rId13"/>
                </a:ext>
              </a:extLst>
            </a:blip>
            <a:srcRect/>
            <a:stretch/>
          </p:blipFill>
          <p:spPr>
            <a:xfrm>
              <a:off x="4187673" y="6413893"/>
              <a:ext cx="1188426" cy="311538"/>
            </a:xfrm>
            <a:prstGeom prst="rect">
              <a:avLst/>
            </a:prstGeom>
          </p:spPr>
        </p:pic>
        <p:pic>
          <p:nvPicPr>
            <p:cNvPr id="56" name="Picture 8" descr="Blue letters on a black background&#10;&#10;Description automatically generated">
              <a:extLst>
                <a:ext uri="{FF2B5EF4-FFF2-40B4-BE49-F238E27FC236}">
                  <a16:creationId xmlns:a16="http://schemas.microsoft.com/office/drawing/2014/main" id="{64CC74EF-776A-36E2-5268-95B10F611769}"/>
                </a:ext>
              </a:extLst>
            </p:cNvPr>
            <p:cNvPicPr>
              <a:picLocks noChangeAspect="1"/>
            </p:cNvPicPr>
            <p:nvPr/>
          </p:nvPicPr>
          <p:blipFill>
            <a:blip r:embed="rId14" cstate="print">
              <a:extLst>
                <a:ext uri="{28A0092B-C50C-407E-A947-70E740481C1C}">
                  <a14:useLocalDpi xmlns:a14="http://schemas.microsoft.com/office/drawing/2010/main" val="0"/>
                </a:ext>
                <a:ext uri="{837473B0-CC2E-450A-ABE3-18F120FF3D39}">
                  <a1611:picAttrSrcUrl xmlns:a1611="http://schemas.microsoft.com/office/drawing/2016/11/main" r:id="rId15"/>
                </a:ext>
              </a:extLst>
            </a:blip>
            <a:stretch>
              <a:fillRect/>
            </a:stretch>
          </p:blipFill>
          <p:spPr>
            <a:xfrm>
              <a:off x="2115099" y="5898682"/>
              <a:ext cx="1034313" cy="222361"/>
            </a:xfrm>
            <a:prstGeom prst="rect">
              <a:avLst/>
            </a:prstGeom>
          </p:spPr>
        </p:pic>
        <p:pic>
          <p:nvPicPr>
            <p:cNvPr id="57" name="Picture 9" descr="A black background with white lines&#10;&#10;Description automatically generated">
              <a:extLst>
                <a:ext uri="{FF2B5EF4-FFF2-40B4-BE49-F238E27FC236}">
                  <a16:creationId xmlns:a16="http://schemas.microsoft.com/office/drawing/2014/main" id="{4D5E2FE5-C1A5-1822-AD72-C524AD1AA09B}"/>
                </a:ext>
              </a:extLst>
            </p:cNvPr>
            <p:cNvPicPr>
              <a:picLocks noChangeAspect="1"/>
            </p:cNvPicPr>
            <p:nvPr/>
          </p:nvPicPr>
          <p:blipFill>
            <a:blip r:embed="rId16" cstate="print">
              <a:extLst>
                <a:ext uri="{28A0092B-C50C-407E-A947-70E740481C1C}">
                  <a14:useLocalDpi xmlns:a14="http://schemas.microsoft.com/office/drawing/2010/main" val="0"/>
                </a:ext>
                <a:ext uri="{837473B0-CC2E-450A-ABE3-18F120FF3D39}">
                  <a1611:picAttrSrcUrl xmlns:a1611="http://schemas.microsoft.com/office/drawing/2016/11/main" r:id="rId17"/>
                </a:ext>
              </a:extLst>
            </a:blip>
            <a:stretch>
              <a:fillRect/>
            </a:stretch>
          </p:blipFill>
          <p:spPr>
            <a:xfrm>
              <a:off x="3418170" y="5868845"/>
              <a:ext cx="929762" cy="221764"/>
            </a:xfrm>
            <a:prstGeom prst="rect">
              <a:avLst/>
            </a:prstGeom>
          </p:spPr>
        </p:pic>
        <p:pic>
          <p:nvPicPr>
            <p:cNvPr id="58" name="Picture 2" descr="ALTER - ALTER-es">
              <a:extLst>
                <a:ext uri="{FF2B5EF4-FFF2-40B4-BE49-F238E27FC236}">
                  <a16:creationId xmlns:a16="http://schemas.microsoft.com/office/drawing/2014/main" id="{42C65894-2CBA-7C48-F128-33FB4C1BF60A}"/>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926815" y="6413893"/>
              <a:ext cx="1171976" cy="311538"/>
            </a:xfrm>
            <a:prstGeom prst="rect">
              <a:avLst/>
            </a:prstGeom>
            <a:noFill/>
            <a:extLst>
              <a:ext uri="{909E8E84-426E-40DD-AFC4-6F175D3DCCD1}">
                <a14:hiddenFill xmlns:a14="http://schemas.microsoft.com/office/drawing/2010/main">
                  <a:solidFill>
                    <a:srgbClr val="FFFFFF"/>
                  </a:solidFill>
                </a14:hiddenFill>
              </a:ext>
            </a:extLst>
          </p:spPr>
        </p:pic>
        <p:sp>
          <p:nvSpPr>
            <p:cNvPr id="59" name="Freeform 13">
              <a:extLst>
                <a:ext uri="{FF2B5EF4-FFF2-40B4-BE49-F238E27FC236}">
                  <a16:creationId xmlns:a16="http://schemas.microsoft.com/office/drawing/2014/main" id="{82482921-9C47-707B-DDB1-FC7737B1F086}"/>
                </a:ext>
              </a:extLst>
            </p:cNvPr>
            <p:cNvSpPr>
              <a:spLocks noChangeAspect="1"/>
            </p:cNvSpPr>
            <p:nvPr/>
          </p:nvSpPr>
          <p:spPr>
            <a:xfrm>
              <a:off x="2242772" y="6398792"/>
              <a:ext cx="719557" cy="341738"/>
            </a:xfrm>
            <a:custGeom>
              <a:avLst/>
              <a:gdLst/>
              <a:ahLst/>
              <a:cxnLst/>
              <a:rect l="l" t="t" r="r" b="b"/>
              <a:pathLst>
                <a:path w="2159145" h="1278043">
                  <a:moveTo>
                    <a:pt x="0" y="0"/>
                  </a:moveTo>
                  <a:lnTo>
                    <a:pt x="2159145" y="0"/>
                  </a:lnTo>
                  <a:lnTo>
                    <a:pt x="2159145" y="1278043"/>
                  </a:lnTo>
                  <a:lnTo>
                    <a:pt x="0" y="1278043"/>
                  </a:lnTo>
                  <a:lnTo>
                    <a:pt x="0" y="0"/>
                  </a:lnTo>
                  <a:close/>
                </a:path>
              </a:pathLst>
            </a:custGeom>
            <a:blipFill>
              <a:blip r:embed="rId19"/>
              <a:stretch>
                <a:fillRect l="-10436" t="-28362" r="-14086" b="-30881"/>
              </a:stretch>
            </a:blipFill>
          </p:spPr>
          <p:txBody>
            <a:bodyPr/>
            <a:lstStyle/>
            <a:p>
              <a:endParaRPr lang="en-GB" sz="1154" noProof="0"/>
            </a:p>
          </p:txBody>
        </p:sp>
        <p:pic>
          <p:nvPicPr>
            <p:cNvPr id="60" name="Picture 26" descr="A red letter v on a black background&#10;&#10;Description automatically generated">
              <a:extLst>
                <a:ext uri="{FF2B5EF4-FFF2-40B4-BE49-F238E27FC236}">
                  <a16:creationId xmlns:a16="http://schemas.microsoft.com/office/drawing/2014/main" id="{45940613-9F91-B57F-9BEC-C3EFEE148AEC}"/>
                </a:ext>
              </a:extLst>
            </p:cNvPr>
            <p:cNvPicPr>
              <a:picLocks noChangeAspect="1"/>
            </p:cNvPicPr>
            <p:nvPr/>
          </p:nvPicPr>
          <p:blipFill>
            <a:blip r:embed="rId20">
              <a:extLst>
                <a:ext uri="{837473B0-CC2E-450A-ABE3-18F120FF3D39}">
                  <a1611:picAttrSrcUrl xmlns:a1611="http://schemas.microsoft.com/office/drawing/2016/11/main" r:id="rId21"/>
                </a:ext>
              </a:extLst>
            </a:blip>
            <a:stretch>
              <a:fillRect/>
            </a:stretch>
          </p:blipFill>
          <p:spPr>
            <a:xfrm>
              <a:off x="918976" y="5913255"/>
              <a:ext cx="962878" cy="222021"/>
            </a:xfrm>
            <a:prstGeom prst="rect">
              <a:avLst/>
            </a:prstGeom>
          </p:spPr>
        </p:pic>
      </p:grpSp>
      <p:pic>
        <p:nvPicPr>
          <p:cNvPr id="3082" name="Picture 10" descr="Photo gallery | Arteche">
            <a:extLst>
              <a:ext uri="{FF2B5EF4-FFF2-40B4-BE49-F238E27FC236}">
                <a16:creationId xmlns:a16="http://schemas.microsoft.com/office/drawing/2014/main" id="{17CC5BC3-A989-8CD4-887F-AC2004813F6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6228107" y="1924141"/>
            <a:ext cx="656002" cy="563836"/>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10" descr="Photo gallery | Arteche">
            <a:extLst>
              <a:ext uri="{FF2B5EF4-FFF2-40B4-BE49-F238E27FC236}">
                <a16:creationId xmlns:a16="http://schemas.microsoft.com/office/drawing/2014/main" id="{233499F5-CE6E-A5B5-6C7F-9535186B038F}"/>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9709296" y="4325244"/>
            <a:ext cx="520027" cy="446965"/>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a:extLst>
              <a:ext uri="{FF2B5EF4-FFF2-40B4-BE49-F238E27FC236}">
                <a16:creationId xmlns:a16="http://schemas.microsoft.com/office/drawing/2014/main" id="{19F7F23E-A17F-5D66-70EA-0BC7E910052E}"/>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0345209" y="4370927"/>
            <a:ext cx="446966" cy="446966"/>
          </a:xfrm>
          <a:prstGeom prst="rect">
            <a:avLst/>
          </a:prstGeom>
          <a:noFill/>
          <a:extLst>
            <a:ext uri="{909E8E84-426E-40DD-AFC4-6F175D3DCCD1}">
              <a14:hiddenFill xmlns:a14="http://schemas.microsoft.com/office/drawing/2010/main">
                <a:solidFill>
                  <a:srgbClr val="FFFFFF"/>
                </a:solidFill>
              </a14:hiddenFill>
            </a:ext>
          </a:extLst>
        </p:spPr>
      </p:pic>
      <p:pic>
        <p:nvPicPr>
          <p:cNvPr id="3086" name="Picture 14" descr="Inicio - CHC Energía">
            <a:extLst>
              <a:ext uri="{FF2B5EF4-FFF2-40B4-BE49-F238E27FC236}">
                <a16:creationId xmlns:a16="http://schemas.microsoft.com/office/drawing/2014/main" id="{61773359-9CED-2B8E-96A7-426B829579A3}"/>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6426961" y="6160346"/>
            <a:ext cx="657004" cy="367922"/>
          </a:xfrm>
          <a:prstGeom prst="rect">
            <a:avLst/>
          </a:prstGeom>
          <a:noFill/>
          <a:extLst>
            <a:ext uri="{909E8E84-426E-40DD-AFC4-6F175D3DCCD1}">
              <a14:hiddenFill xmlns:a14="http://schemas.microsoft.com/office/drawing/2010/main">
                <a:solidFill>
                  <a:srgbClr val="FFFFFF"/>
                </a:solidFill>
              </a14:hiddenFill>
            </a:ext>
          </a:extLst>
        </p:spPr>
      </p:pic>
      <p:pic>
        <p:nvPicPr>
          <p:cNvPr id="16" name="Imagen 15">
            <a:extLst>
              <a:ext uri="{FF2B5EF4-FFF2-40B4-BE49-F238E27FC236}">
                <a16:creationId xmlns:a16="http://schemas.microsoft.com/office/drawing/2014/main" id="{AE463B4C-249C-4532-A1D2-438334A6965E}"/>
              </a:ext>
            </a:extLst>
          </p:cNvPr>
          <p:cNvPicPr>
            <a:picLocks noChangeAspect="1"/>
          </p:cNvPicPr>
          <p:nvPr/>
        </p:nvPicPr>
        <p:blipFill>
          <a:blip r:embed="rId29"/>
          <a:stretch>
            <a:fillRect/>
          </a:stretch>
        </p:blipFill>
        <p:spPr>
          <a:xfrm>
            <a:off x="7680432" y="4210542"/>
            <a:ext cx="892121" cy="210192"/>
          </a:xfrm>
          <a:prstGeom prst="rect">
            <a:avLst/>
          </a:prstGeom>
        </p:spPr>
      </p:pic>
      <p:pic>
        <p:nvPicPr>
          <p:cNvPr id="1028" name="Picture 4" descr="Cliente Logo OCESA – Gowi">
            <a:extLst>
              <a:ext uri="{FF2B5EF4-FFF2-40B4-BE49-F238E27FC236}">
                <a16:creationId xmlns:a16="http://schemas.microsoft.com/office/drawing/2014/main" id="{6162A340-CF3F-FB52-57C2-188BB33FA663}"/>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8822744" y="4064818"/>
            <a:ext cx="614011" cy="5372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135114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540F5E74-0406-6078-F146-7C5EC0425573}"/>
              </a:ext>
            </a:extLst>
          </p:cNvPr>
          <p:cNvPicPr>
            <a:picLocks noChangeAspect="1"/>
          </p:cNvPicPr>
          <p:nvPr/>
        </p:nvPicPr>
        <p:blipFill>
          <a:blip r:embed="rId3"/>
          <a:stretch>
            <a:fillRect/>
          </a:stretch>
        </p:blipFill>
        <p:spPr>
          <a:xfrm>
            <a:off x="10163372" y="325323"/>
            <a:ext cx="1747938" cy="1384994"/>
          </a:xfrm>
          <a:prstGeom prst="rect">
            <a:avLst/>
          </a:prstGeom>
        </p:spPr>
      </p:pic>
      <p:sp>
        <p:nvSpPr>
          <p:cNvPr id="22" name="CuadroTexto 21">
            <a:extLst>
              <a:ext uri="{FF2B5EF4-FFF2-40B4-BE49-F238E27FC236}">
                <a16:creationId xmlns:a16="http://schemas.microsoft.com/office/drawing/2014/main" id="{3337651D-49AB-6A0C-C7C4-6F13165258DD}"/>
              </a:ext>
            </a:extLst>
          </p:cNvPr>
          <p:cNvSpPr txBox="1"/>
          <p:nvPr/>
        </p:nvSpPr>
        <p:spPr>
          <a:xfrm>
            <a:off x="7371336" y="1444224"/>
            <a:ext cx="2736611" cy="1384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609630" hangingPunct="0"/>
            <a:r>
              <a:rPr lang="en-GB" sz="1200" kern="0" noProof="0">
                <a:solidFill>
                  <a:srgbClr val="000000"/>
                </a:solidFill>
                <a:latin typeface="Quattrocento Sans" panose="020B0502050000020003" pitchFamily="34" charset="0"/>
                <a:cs typeface="Calibri"/>
                <a:sym typeface="Calibri"/>
              </a:rPr>
              <a:t>The domain map allows you to </a:t>
            </a:r>
            <a:r>
              <a:rPr lang="en-GB" sz="1200" b="1" kern="0" noProof="0">
                <a:solidFill>
                  <a:srgbClr val="000000"/>
                </a:solidFill>
                <a:latin typeface="Quattrocento Sans" panose="020B0502050000020003" pitchFamily="34" charset="0"/>
                <a:cs typeface="Calibri"/>
                <a:sym typeface="Calibri"/>
              </a:rPr>
              <a:t>classify the information according to the functional area</a:t>
            </a:r>
            <a:r>
              <a:rPr lang="en-GB" sz="1200" kern="0" noProof="0">
                <a:solidFill>
                  <a:srgbClr val="000000"/>
                </a:solidFill>
                <a:latin typeface="Quattrocento Sans" panose="020B0502050000020003" pitchFamily="34" charset="0"/>
                <a:cs typeface="Calibri"/>
                <a:sym typeface="Calibri"/>
              </a:rPr>
              <a:t>, which allows you to segment the available information from a functional point of view and facilitates the assignment of ownership of the different elements.</a:t>
            </a:r>
          </a:p>
        </p:txBody>
      </p:sp>
      <p:sp>
        <p:nvSpPr>
          <p:cNvPr id="23" name="CuadroTexto 22">
            <a:extLst>
              <a:ext uri="{FF2B5EF4-FFF2-40B4-BE49-F238E27FC236}">
                <a16:creationId xmlns:a16="http://schemas.microsoft.com/office/drawing/2014/main" id="{37AC45E5-EA93-FFA0-54D6-A61A7F750957}"/>
              </a:ext>
            </a:extLst>
          </p:cNvPr>
          <p:cNvSpPr txBox="1"/>
          <p:nvPr/>
        </p:nvSpPr>
        <p:spPr>
          <a:xfrm>
            <a:off x="7371335" y="3478065"/>
            <a:ext cx="3746249" cy="15287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609630" hangingPunct="0"/>
            <a:r>
              <a:rPr lang="en-GB" sz="1200" kern="0" noProof="0">
                <a:solidFill>
                  <a:srgbClr val="000000"/>
                </a:solidFill>
                <a:latin typeface="Quattrocento Sans" panose="020B0502050000020003" pitchFamily="34" charset="0"/>
                <a:cs typeface="Calibri"/>
                <a:sym typeface="Calibri"/>
              </a:rPr>
              <a:t>The business glossary is a </a:t>
            </a:r>
            <a:r>
              <a:rPr lang="en-GB" sz="1200" b="1" kern="0" noProof="0">
                <a:solidFill>
                  <a:srgbClr val="000000"/>
                </a:solidFill>
                <a:latin typeface="Quattrocento Sans" panose="020B0502050000020003" pitchFamily="34" charset="0"/>
                <a:cs typeface="Calibri"/>
                <a:sym typeface="Calibri"/>
              </a:rPr>
              <a:t>classification of the indicators used by business</a:t>
            </a:r>
            <a:r>
              <a:rPr lang="en-GB" sz="1200" kern="0" noProof="0">
                <a:solidFill>
                  <a:srgbClr val="000000"/>
                </a:solidFill>
                <a:latin typeface="Quattrocento Sans" panose="020B0502050000020003" pitchFamily="34" charset="0"/>
                <a:cs typeface="Calibri"/>
                <a:sym typeface="Calibri"/>
              </a:rPr>
              <a:t>, with their definition, method of calculation, origin in products/reports where they are found.
It provides a </a:t>
            </a:r>
            <a:r>
              <a:rPr lang="en-GB" sz="1200" b="1" kern="0" noProof="0">
                <a:solidFill>
                  <a:srgbClr val="000000"/>
                </a:solidFill>
                <a:latin typeface="Quattrocento Sans" panose="020B0502050000020003" pitchFamily="34" charset="0"/>
                <a:cs typeface="Calibri"/>
                <a:sym typeface="Calibri"/>
              </a:rPr>
              <a:t>common business vocabulary </a:t>
            </a:r>
            <a:r>
              <a:rPr lang="en-GB" sz="1200" kern="0" noProof="0">
                <a:solidFill>
                  <a:srgbClr val="000000"/>
                </a:solidFill>
                <a:latin typeface="Quattrocento Sans" panose="020B0502050000020003" pitchFamily="34" charset="0"/>
                <a:cs typeface="Calibri"/>
                <a:sym typeface="Calibri"/>
              </a:rPr>
              <a:t>for the organisation.</a:t>
            </a:r>
          </a:p>
          <a:p>
            <a:pPr defTabSz="609630" hangingPunct="0"/>
            <a:r>
              <a:rPr lang="en-GB" sz="1067" i="1" kern="0" noProof="0">
                <a:solidFill>
                  <a:srgbClr val="000000"/>
                </a:solidFill>
                <a:latin typeface="Quattrocento Sans" panose="020B0502050000020003" pitchFamily="34" charset="0"/>
                <a:cs typeface="Calibri"/>
                <a:sym typeface="Calibri"/>
              </a:rPr>
              <a:t>* Can be automated with the Auto Business Catalogue by STR</a:t>
            </a:r>
            <a:endParaRPr lang="en-GB" sz="1200" kern="0" noProof="0">
              <a:solidFill>
                <a:srgbClr val="000000"/>
              </a:solidFill>
              <a:latin typeface="Quattrocento Sans" panose="020B0502050000020003" pitchFamily="34" charset="0"/>
              <a:cs typeface="Calibri"/>
              <a:sym typeface="Calibri"/>
            </a:endParaRPr>
          </a:p>
        </p:txBody>
      </p:sp>
      <p:sp>
        <p:nvSpPr>
          <p:cNvPr id="49" name="TextBox 32">
            <a:extLst>
              <a:ext uri="{FF2B5EF4-FFF2-40B4-BE49-F238E27FC236}">
                <a16:creationId xmlns:a16="http://schemas.microsoft.com/office/drawing/2014/main" id="{2A84E1FE-EC18-2DC3-4882-92E92D5023C8}"/>
              </a:ext>
            </a:extLst>
          </p:cNvPr>
          <p:cNvSpPr txBox="1"/>
          <p:nvPr/>
        </p:nvSpPr>
        <p:spPr>
          <a:xfrm>
            <a:off x="453329" y="3622003"/>
            <a:ext cx="2483893" cy="727180"/>
          </a:xfrm>
          <a:prstGeom prst="rect">
            <a:avLst/>
          </a:prstGeom>
          <a:noFill/>
          <a:ln w="38100" cap="flat" cmpd="sng">
            <a:noFill/>
            <a:prstDash val="solid"/>
            <a:round/>
            <a:headEnd type="none" w="med" len="med"/>
            <a:tailEnd type="none" w="med" len="med"/>
          </a:ln>
        </p:spPr>
        <p:txBody>
          <a:bodyPr lIns="0" tIns="0" rIns="0" bIns="0" rtlCol="0" anchor="ctr"/>
          <a:lstStyle>
            <a:defPPr marR="0" lvl="0" algn="l" rtl="0">
              <a:lnSpc>
                <a:spcPct val="100000"/>
              </a:lnSpc>
              <a:spcBef>
                <a:spcPts val="0"/>
              </a:spcBef>
              <a:spcAft>
                <a:spcPts val="0"/>
              </a:spcAft>
            </a:defPPr>
            <a:lvl1pPr algn="ctr">
              <a:defRPr>
                <a:solidFill>
                  <a:schemeClr val="bg1"/>
                </a:solidFill>
              </a:defRPr>
            </a:lvl1pPr>
          </a:lstStyle>
          <a:p>
            <a:pPr defTabSz="914446">
              <a:buClr>
                <a:srgbClr val="000000"/>
              </a:buClr>
              <a:defRPr/>
            </a:pPr>
            <a:r>
              <a:rPr lang="en-GB" sz="2400" b="1" kern="0" noProof="0">
                <a:solidFill>
                  <a:srgbClr val="000000"/>
                </a:solidFill>
                <a:latin typeface="Quattrocento Sans" panose="020B0502050000020003" pitchFamily="34" charset="0"/>
                <a:cs typeface="Arial"/>
                <a:sym typeface="DM Sans Bold"/>
              </a:rPr>
              <a:t>Reports</a:t>
            </a:r>
          </a:p>
        </p:txBody>
      </p:sp>
      <p:sp>
        <p:nvSpPr>
          <p:cNvPr id="4" name="TextBox 55">
            <a:extLst>
              <a:ext uri="{FF2B5EF4-FFF2-40B4-BE49-F238E27FC236}">
                <a16:creationId xmlns:a16="http://schemas.microsoft.com/office/drawing/2014/main" id="{160BC95F-2FD8-384C-5DC9-1AA6261CB2F6}"/>
              </a:ext>
            </a:extLst>
          </p:cNvPr>
          <p:cNvSpPr txBox="1"/>
          <p:nvPr/>
        </p:nvSpPr>
        <p:spPr>
          <a:xfrm>
            <a:off x="3861587" y="3684557"/>
            <a:ext cx="2482571" cy="830997"/>
          </a:xfrm>
          <a:prstGeom prst="rect">
            <a:avLst/>
          </a:prstGeom>
          <a:noFill/>
        </p:spPr>
        <p:txBody>
          <a:bodyPr wrap="square" rtlCol="0">
            <a:spAutoFit/>
          </a:bodyPr>
          <a:lstStyle/>
          <a:p>
            <a:pPr algn="ctr" defTabSz="609630" hangingPunct="0"/>
            <a:r>
              <a:rPr lang="en-GB" sz="2400" b="1" kern="0" noProof="0">
                <a:solidFill>
                  <a:srgbClr val="000000"/>
                </a:solidFill>
                <a:latin typeface="Quattrocento Sans" panose="020B0502050000020003" pitchFamily="34" charset="0"/>
                <a:cs typeface="Arial"/>
                <a:sym typeface="Calibri"/>
              </a:rPr>
              <a:t>Classification and prioritisation</a:t>
            </a:r>
          </a:p>
        </p:txBody>
      </p:sp>
      <p:sp>
        <p:nvSpPr>
          <p:cNvPr id="32" name="Freeform 4846">
            <a:extLst>
              <a:ext uri="{FF2B5EF4-FFF2-40B4-BE49-F238E27FC236}">
                <a16:creationId xmlns:a16="http://schemas.microsoft.com/office/drawing/2014/main" id="{73831B62-1FCD-C71B-CB90-600F759CC50E}"/>
              </a:ext>
            </a:extLst>
          </p:cNvPr>
          <p:cNvSpPr>
            <a:spLocks noChangeAspect="1" noEditPoints="1"/>
          </p:cNvSpPr>
          <p:nvPr/>
        </p:nvSpPr>
        <p:spPr bwMode="auto">
          <a:xfrm>
            <a:off x="532536" y="2041631"/>
            <a:ext cx="447477" cy="369054"/>
          </a:xfrm>
          <a:custGeom>
            <a:avLst/>
            <a:gdLst>
              <a:gd name="T0" fmla="*/ 234 w 388"/>
              <a:gd name="T1" fmla="*/ 108 h 320"/>
              <a:gd name="T2" fmla="*/ 206 w 388"/>
              <a:gd name="T3" fmla="*/ 22 h 320"/>
              <a:gd name="T4" fmla="*/ 150 w 388"/>
              <a:gd name="T5" fmla="*/ 24 h 320"/>
              <a:gd name="T6" fmla="*/ 110 w 388"/>
              <a:gd name="T7" fmla="*/ 24 h 320"/>
              <a:gd name="T8" fmla="*/ 24 w 388"/>
              <a:gd name="T9" fmla="*/ 52 h 320"/>
              <a:gd name="T10" fmla="*/ 26 w 388"/>
              <a:gd name="T11" fmla="*/ 108 h 320"/>
              <a:gd name="T12" fmla="*/ 26 w 388"/>
              <a:gd name="T13" fmla="*/ 148 h 320"/>
              <a:gd name="T14" fmla="*/ 52 w 388"/>
              <a:gd name="T15" fmla="*/ 234 h 320"/>
              <a:gd name="T16" fmla="*/ 110 w 388"/>
              <a:gd name="T17" fmla="*/ 232 h 320"/>
              <a:gd name="T18" fmla="*/ 150 w 388"/>
              <a:gd name="T19" fmla="*/ 232 h 320"/>
              <a:gd name="T20" fmla="*/ 236 w 388"/>
              <a:gd name="T21" fmla="*/ 206 h 320"/>
              <a:gd name="T22" fmla="*/ 234 w 388"/>
              <a:gd name="T23" fmla="*/ 148 h 320"/>
              <a:gd name="T24" fmla="*/ 114 w 388"/>
              <a:gd name="T25" fmla="*/ 208 h 320"/>
              <a:gd name="T26" fmla="*/ 62 w 388"/>
              <a:gd name="T27" fmla="*/ 174 h 320"/>
              <a:gd name="T28" fmla="*/ 48 w 388"/>
              <a:gd name="T29" fmla="*/ 128 h 320"/>
              <a:gd name="T30" fmla="*/ 72 w 388"/>
              <a:gd name="T31" fmla="*/ 70 h 320"/>
              <a:gd name="T32" fmla="*/ 130 w 388"/>
              <a:gd name="T33" fmla="*/ 46 h 320"/>
              <a:gd name="T34" fmla="*/ 176 w 388"/>
              <a:gd name="T35" fmla="*/ 60 h 320"/>
              <a:gd name="T36" fmla="*/ 210 w 388"/>
              <a:gd name="T37" fmla="*/ 112 h 320"/>
              <a:gd name="T38" fmla="*/ 206 w 388"/>
              <a:gd name="T39" fmla="*/ 160 h 320"/>
              <a:gd name="T40" fmla="*/ 162 w 388"/>
              <a:gd name="T41" fmla="*/ 204 h 320"/>
              <a:gd name="T42" fmla="*/ 130 w 388"/>
              <a:gd name="T43" fmla="*/ 66 h 320"/>
              <a:gd name="T44" fmla="*/ 94 w 388"/>
              <a:gd name="T45" fmla="*/ 76 h 320"/>
              <a:gd name="T46" fmla="*/ 68 w 388"/>
              <a:gd name="T47" fmla="*/ 116 h 320"/>
              <a:gd name="T48" fmla="*/ 72 w 388"/>
              <a:gd name="T49" fmla="*/ 152 h 320"/>
              <a:gd name="T50" fmla="*/ 106 w 388"/>
              <a:gd name="T51" fmla="*/ 186 h 320"/>
              <a:gd name="T52" fmla="*/ 142 w 388"/>
              <a:gd name="T53" fmla="*/ 190 h 320"/>
              <a:gd name="T54" fmla="*/ 182 w 388"/>
              <a:gd name="T55" fmla="*/ 162 h 320"/>
              <a:gd name="T56" fmla="*/ 192 w 388"/>
              <a:gd name="T57" fmla="*/ 128 h 320"/>
              <a:gd name="T58" fmla="*/ 174 w 388"/>
              <a:gd name="T59" fmla="*/ 84 h 320"/>
              <a:gd name="T60" fmla="*/ 130 w 388"/>
              <a:gd name="T61" fmla="*/ 66 h 320"/>
              <a:gd name="T62" fmla="*/ 120 w 388"/>
              <a:gd name="T63" fmla="*/ 152 h 320"/>
              <a:gd name="T64" fmla="*/ 102 w 388"/>
              <a:gd name="T65" fmla="*/ 128 h 320"/>
              <a:gd name="T66" fmla="*/ 130 w 388"/>
              <a:gd name="T67" fmla="*/ 102 h 320"/>
              <a:gd name="T68" fmla="*/ 154 w 388"/>
              <a:gd name="T69" fmla="*/ 118 h 320"/>
              <a:gd name="T70" fmla="*/ 148 w 388"/>
              <a:gd name="T71" fmla="*/ 148 h 320"/>
              <a:gd name="T72" fmla="*/ 370 w 388"/>
              <a:gd name="T73" fmla="*/ 248 h 320"/>
              <a:gd name="T74" fmla="*/ 364 w 388"/>
              <a:gd name="T75" fmla="*/ 214 h 320"/>
              <a:gd name="T76" fmla="*/ 320 w 388"/>
              <a:gd name="T77" fmla="*/ 162 h 320"/>
              <a:gd name="T78" fmla="*/ 286 w 388"/>
              <a:gd name="T79" fmla="*/ 186 h 320"/>
              <a:gd name="T80" fmla="*/ 260 w 388"/>
              <a:gd name="T81" fmla="*/ 208 h 320"/>
              <a:gd name="T82" fmla="*/ 236 w 388"/>
              <a:gd name="T83" fmla="*/ 272 h 320"/>
              <a:gd name="T84" fmla="*/ 274 w 388"/>
              <a:gd name="T85" fmla="*/ 290 h 320"/>
              <a:gd name="T86" fmla="*/ 306 w 388"/>
              <a:gd name="T87" fmla="*/ 302 h 320"/>
              <a:gd name="T88" fmla="*/ 372 w 388"/>
              <a:gd name="T89" fmla="*/ 290 h 320"/>
              <a:gd name="T90" fmla="*/ 370 w 388"/>
              <a:gd name="T91" fmla="*/ 248 h 320"/>
              <a:gd name="T92" fmla="*/ 310 w 388"/>
              <a:gd name="T93" fmla="*/ 266 h 320"/>
              <a:gd name="T94" fmla="*/ 288 w 388"/>
              <a:gd name="T95" fmla="*/ 252 h 320"/>
              <a:gd name="T96" fmla="*/ 300 w 388"/>
              <a:gd name="T97" fmla="*/ 220 h 320"/>
              <a:gd name="T98" fmla="*/ 326 w 388"/>
              <a:gd name="T99" fmla="*/ 224 h 320"/>
              <a:gd name="T100" fmla="*/ 332 w 388"/>
              <a:gd name="T101" fmla="*/ 2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8" h="320">
                <a:moveTo>
                  <a:pt x="258" y="148"/>
                </a:moveTo>
                <a:lnTo>
                  <a:pt x="258" y="108"/>
                </a:lnTo>
                <a:lnTo>
                  <a:pt x="234" y="108"/>
                </a:lnTo>
                <a:lnTo>
                  <a:pt x="234" y="108"/>
                </a:lnTo>
                <a:lnTo>
                  <a:pt x="226" y="88"/>
                </a:lnTo>
                <a:lnTo>
                  <a:pt x="216" y="70"/>
                </a:lnTo>
                <a:lnTo>
                  <a:pt x="236" y="52"/>
                </a:lnTo>
                <a:lnTo>
                  <a:pt x="206" y="22"/>
                </a:lnTo>
                <a:lnTo>
                  <a:pt x="188" y="40"/>
                </a:lnTo>
                <a:lnTo>
                  <a:pt x="188" y="40"/>
                </a:lnTo>
                <a:lnTo>
                  <a:pt x="170" y="30"/>
                </a:lnTo>
                <a:lnTo>
                  <a:pt x="150" y="24"/>
                </a:lnTo>
                <a:lnTo>
                  <a:pt x="150" y="0"/>
                </a:lnTo>
                <a:lnTo>
                  <a:pt x="110" y="0"/>
                </a:lnTo>
                <a:lnTo>
                  <a:pt x="110" y="24"/>
                </a:lnTo>
                <a:lnTo>
                  <a:pt x="110" y="24"/>
                </a:lnTo>
                <a:lnTo>
                  <a:pt x="90" y="30"/>
                </a:lnTo>
                <a:lnTo>
                  <a:pt x="70" y="40"/>
                </a:lnTo>
                <a:lnTo>
                  <a:pt x="52" y="22"/>
                </a:lnTo>
                <a:lnTo>
                  <a:pt x="24" y="52"/>
                </a:lnTo>
                <a:lnTo>
                  <a:pt x="42" y="70"/>
                </a:lnTo>
                <a:lnTo>
                  <a:pt x="42" y="70"/>
                </a:lnTo>
                <a:lnTo>
                  <a:pt x="32" y="88"/>
                </a:lnTo>
                <a:lnTo>
                  <a:pt x="26" y="108"/>
                </a:lnTo>
                <a:lnTo>
                  <a:pt x="0" y="108"/>
                </a:lnTo>
                <a:lnTo>
                  <a:pt x="0" y="148"/>
                </a:lnTo>
                <a:lnTo>
                  <a:pt x="26" y="148"/>
                </a:lnTo>
                <a:lnTo>
                  <a:pt x="26" y="148"/>
                </a:lnTo>
                <a:lnTo>
                  <a:pt x="32" y="168"/>
                </a:lnTo>
                <a:lnTo>
                  <a:pt x="42" y="188"/>
                </a:lnTo>
                <a:lnTo>
                  <a:pt x="24" y="206"/>
                </a:lnTo>
                <a:lnTo>
                  <a:pt x="52" y="234"/>
                </a:lnTo>
                <a:lnTo>
                  <a:pt x="70" y="216"/>
                </a:lnTo>
                <a:lnTo>
                  <a:pt x="70" y="216"/>
                </a:lnTo>
                <a:lnTo>
                  <a:pt x="90" y="226"/>
                </a:lnTo>
                <a:lnTo>
                  <a:pt x="110" y="232"/>
                </a:lnTo>
                <a:lnTo>
                  <a:pt x="110" y="258"/>
                </a:lnTo>
                <a:lnTo>
                  <a:pt x="150" y="258"/>
                </a:lnTo>
                <a:lnTo>
                  <a:pt x="150" y="232"/>
                </a:lnTo>
                <a:lnTo>
                  <a:pt x="150" y="232"/>
                </a:lnTo>
                <a:lnTo>
                  <a:pt x="170" y="226"/>
                </a:lnTo>
                <a:lnTo>
                  <a:pt x="188" y="216"/>
                </a:lnTo>
                <a:lnTo>
                  <a:pt x="206" y="234"/>
                </a:lnTo>
                <a:lnTo>
                  <a:pt x="236" y="206"/>
                </a:lnTo>
                <a:lnTo>
                  <a:pt x="216" y="188"/>
                </a:lnTo>
                <a:lnTo>
                  <a:pt x="216" y="188"/>
                </a:lnTo>
                <a:lnTo>
                  <a:pt x="226" y="168"/>
                </a:lnTo>
                <a:lnTo>
                  <a:pt x="234" y="148"/>
                </a:lnTo>
                <a:lnTo>
                  <a:pt x="258" y="148"/>
                </a:lnTo>
                <a:close/>
                <a:moveTo>
                  <a:pt x="130" y="210"/>
                </a:moveTo>
                <a:lnTo>
                  <a:pt x="130" y="210"/>
                </a:lnTo>
                <a:lnTo>
                  <a:pt x="114" y="208"/>
                </a:lnTo>
                <a:lnTo>
                  <a:pt x="98" y="204"/>
                </a:lnTo>
                <a:lnTo>
                  <a:pt x="84" y="196"/>
                </a:lnTo>
                <a:lnTo>
                  <a:pt x="72" y="186"/>
                </a:lnTo>
                <a:lnTo>
                  <a:pt x="62" y="174"/>
                </a:lnTo>
                <a:lnTo>
                  <a:pt x="54" y="160"/>
                </a:lnTo>
                <a:lnTo>
                  <a:pt x="50" y="144"/>
                </a:lnTo>
                <a:lnTo>
                  <a:pt x="48" y="128"/>
                </a:lnTo>
                <a:lnTo>
                  <a:pt x="48" y="128"/>
                </a:lnTo>
                <a:lnTo>
                  <a:pt x="50" y="112"/>
                </a:lnTo>
                <a:lnTo>
                  <a:pt x="54" y="96"/>
                </a:lnTo>
                <a:lnTo>
                  <a:pt x="62" y="82"/>
                </a:lnTo>
                <a:lnTo>
                  <a:pt x="72" y="70"/>
                </a:lnTo>
                <a:lnTo>
                  <a:pt x="84" y="60"/>
                </a:lnTo>
                <a:lnTo>
                  <a:pt x="98" y="52"/>
                </a:lnTo>
                <a:lnTo>
                  <a:pt x="114" y="48"/>
                </a:lnTo>
                <a:lnTo>
                  <a:pt x="130" y="46"/>
                </a:lnTo>
                <a:lnTo>
                  <a:pt x="130" y="46"/>
                </a:lnTo>
                <a:lnTo>
                  <a:pt x="146" y="48"/>
                </a:lnTo>
                <a:lnTo>
                  <a:pt x="162" y="52"/>
                </a:lnTo>
                <a:lnTo>
                  <a:pt x="176" y="60"/>
                </a:lnTo>
                <a:lnTo>
                  <a:pt x="188" y="70"/>
                </a:lnTo>
                <a:lnTo>
                  <a:pt x="198" y="82"/>
                </a:lnTo>
                <a:lnTo>
                  <a:pt x="206" y="96"/>
                </a:lnTo>
                <a:lnTo>
                  <a:pt x="210" y="112"/>
                </a:lnTo>
                <a:lnTo>
                  <a:pt x="212" y="128"/>
                </a:lnTo>
                <a:lnTo>
                  <a:pt x="212" y="128"/>
                </a:lnTo>
                <a:lnTo>
                  <a:pt x="210" y="144"/>
                </a:lnTo>
                <a:lnTo>
                  <a:pt x="206" y="160"/>
                </a:lnTo>
                <a:lnTo>
                  <a:pt x="198" y="174"/>
                </a:lnTo>
                <a:lnTo>
                  <a:pt x="188" y="186"/>
                </a:lnTo>
                <a:lnTo>
                  <a:pt x="176" y="196"/>
                </a:lnTo>
                <a:lnTo>
                  <a:pt x="162" y="204"/>
                </a:lnTo>
                <a:lnTo>
                  <a:pt x="146" y="208"/>
                </a:lnTo>
                <a:lnTo>
                  <a:pt x="130" y="210"/>
                </a:lnTo>
                <a:lnTo>
                  <a:pt x="130" y="210"/>
                </a:lnTo>
                <a:close/>
                <a:moveTo>
                  <a:pt x="130" y="66"/>
                </a:moveTo>
                <a:lnTo>
                  <a:pt x="130" y="66"/>
                </a:lnTo>
                <a:lnTo>
                  <a:pt x="118" y="68"/>
                </a:lnTo>
                <a:lnTo>
                  <a:pt x="106" y="70"/>
                </a:lnTo>
                <a:lnTo>
                  <a:pt x="94" y="76"/>
                </a:lnTo>
                <a:lnTo>
                  <a:pt x="86" y="84"/>
                </a:lnTo>
                <a:lnTo>
                  <a:pt x="78" y="94"/>
                </a:lnTo>
                <a:lnTo>
                  <a:pt x="72" y="104"/>
                </a:lnTo>
                <a:lnTo>
                  <a:pt x="68" y="116"/>
                </a:lnTo>
                <a:lnTo>
                  <a:pt x="68" y="128"/>
                </a:lnTo>
                <a:lnTo>
                  <a:pt x="68" y="128"/>
                </a:lnTo>
                <a:lnTo>
                  <a:pt x="68" y="140"/>
                </a:lnTo>
                <a:lnTo>
                  <a:pt x="72" y="152"/>
                </a:lnTo>
                <a:lnTo>
                  <a:pt x="78" y="162"/>
                </a:lnTo>
                <a:lnTo>
                  <a:pt x="86" y="172"/>
                </a:lnTo>
                <a:lnTo>
                  <a:pt x="94" y="180"/>
                </a:lnTo>
                <a:lnTo>
                  <a:pt x="106" y="186"/>
                </a:lnTo>
                <a:lnTo>
                  <a:pt x="118" y="190"/>
                </a:lnTo>
                <a:lnTo>
                  <a:pt x="130" y="190"/>
                </a:lnTo>
                <a:lnTo>
                  <a:pt x="130" y="190"/>
                </a:lnTo>
                <a:lnTo>
                  <a:pt x="142" y="190"/>
                </a:lnTo>
                <a:lnTo>
                  <a:pt x="154" y="186"/>
                </a:lnTo>
                <a:lnTo>
                  <a:pt x="164" y="180"/>
                </a:lnTo>
                <a:lnTo>
                  <a:pt x="174" y="172"/>
                </a:lnTo>
                <a:lnTo>
                  <a:pt x="182" y="162"/>
                </a:lnTo>
                <a:lnTo>
                  <a:pt x="188" y="152"/>
                </a:lnTo>
                <a:lnTo>
                  <a:pt x="190" y="140"/>
                </a:lnTo>
                <a:lnTo>
                  <a:pt x="192" y="128"/>
                </a:lnTo>
                <a:lnTo>
                  <a:pt x="192" y="128"/>
                </a:lnTo>
                <a:lnTo>
                  <a:pt x="190" y="116"/>
                </a:lnTo>
                <a:lnTo>
                  <a:pt x="188" y="104"/>
                </a:lnTo>
                <a:lnTo>
                  <a:pt x="182" y="94"/>
                </a:lnTo>
                <a:lnTo>
                  <a:pt x="174" y="84"/>
                </a:lnTo>
                <a:lnTo>
                  <a:pt x="164" y="76"/>
                </a:lnTo>
                <a:lnTo>
                  <a:pt x="154" y="70"/>
                </a:lnTo>
                <a:lnTo>
                  <a:pt x="142" y="68"/>
                </a:lnTo>
                <a:lnTo>
                  <a:pt x="130" y="66"/>
                </a:lnTo>
                <a:lnTo>
                  <a:pt x="130" y="66"/>
                </a:lnTo>
                <a:close/>
                <a:moveTo>
                  <a:pt x="130" y="156"/>
                </a:moveTo>
                <a:lnTo>
                  <a:pt x="130" y="156"/>
                </a:lnTo>
                <a:lnTo>
                  <a:pt x="120" y="152"/>
                </a:lnTo>
                <a:lnTo>
                  <a:pt x="110" y="148"/>
                </a:lnTo>
                <a:lnTo>
                  <a:pt x="104" y="138"/>
                </a:lnTo>
                <a:lnTo>
                  <a:pt x="102" y="128"/>
                </a:lnTo>
                <a:lnTo>
                  <a:pt x="102" y="128"/>
                </a:lnTo>
                <a:lnTo>
                  <a:pt x="104" y="118"/>
                </a:lnTo>
                <a:lnTo>
                  <a:pt x="110" y="110"/>
                </a:lnTo>
                <a:lnTo>
                  <a:pt x="120" y="104"/>
                </a:lnTo>
                <a:lnTo>
                  <a:pt x="130" y="102"/>
                </a:lnTo>
                <a:lnTo>
                  <a:pt x="130" y="102"/>
                </a:lnTo>
                <a:lnTo>
                  <a:pt x="140" y="104"/>
                </a:lnTo>
                <a:lnTo>
                  <a:pt x="148" y="110"/>
                </a:lnTo>
                <a:lnTo>
                  <a:pt x="154" y="118"/>
                </a:lnTo>
                <a:lnTo>
                  <a:pt x="156" y="128"/>
                </a:lnTo>
                <a:lnTo>
                  <a:pt x="156" y="128"/>
                </a:lnTo>
                <a:lnTo>
                  <a:pt x="154" y="138"/>
                </a:lnTo>
                <a:lnTo>
                  <a:pt x="148" y="148"/>
                </a:lnTo>
                <a:lnTo>
                  <a:pt x="140" y="152"/>
                </a:lnTo>
                <a:lnTo>
                  <a:pt x="130" y="156"/>
                </a:lnTo>
                <a:lnTo>
                  <a:pt x="130" y="156"/>
                </a:lnTo>
                <a:close/>
                <a:moveTo>
                  <a:pt x="370" y="248"/>
                </a:moveTo>
                <a:lnTo>
                  <a:pt x="388" y="244"/>
                </a:lnTo>
                <a:lnTo>
                  <a:pt x="382" y="212"/>
                </a:lnTo>
                <a:lnTo>
                  <a:pt x="364" y="214"/>
                </a:lnTo>
                <a:lnTo>
                  <a:pt x="364" y="214"/>
                </a:lnTo>
                <a:lnTo>
                  <a:pt x="356" y="202"/>
                </a:lnTo>
                <a:lnTo>
                  <a:pt x="346" y="192"/>
                </a:lnTo>
                <a:lnTo>
                  <a:pt x="352" y="174"/>
                </a:lnTo>
                <a:lnTo>
                  <a:pt x="320" y="162"/>
                </a:lnTo>
                <a:lnTo>
                  <a:pt x="314" y="180"/>
                </a:lnTo>
                <a:lnTo>
                  <a:pt x="314" y="180"/>
                </a:lnTo>
                <a:lnTo>
                  <a:pt x="300" y="182"/>
                </a:lnTo>
                <a:lnTo>
                  <a:pt x="286" y="186"/>
                </a:lnTo>
                <a:lnTo>
                  <a:pt x="272" y="172"/>
                </a:lnTo>
                <a:lnTo>
                  <a:pt x="246" y="194"/>
                </a:lnTo>
                <a:lnTo>
                  <a:pt x="260" y="208"/>
                </a:lnTo>
                <a:lnTo>
                  <a:pt x="260" y="208"/>
                </a:lnTo>
                <a:lnTo>
                  <a:pt x="252" y="220"/>
                </a:lnTo>
                <a:lnTo>
                  <a:pt x="250" y="234"/>
                </a:lnTo>
                <a:lnTo>
                  <a:pt x="230" y="238"/>
                </a:lnTo>
                <a:lnTo>
                  <a:pt x="236" y="272"/>
                </a:lnTo>
                <a:lnTo>
                  <a:pt x="256" y="268"/>
                </a:lnTo>
                <a:lnTo>
                  <a:pt x="256" y="268"/>
                </a:lnTo>
                <a:lnTo>
                  <a:pt x="264" y="280"/>
                </a:lnTo>
                <a:lnTo>
                  <a:pt x="274" y="290"/>
                </a:lnTo>
                <a:lnTo>
                  <a:pt x="268" y="308"/>
                </a:lnTo>
                <a:lnTo>
                  <a:pt x="300" y="320"/>
                </a:lnTo>
                <a:lnTo>
                  <a:pt x="306" y="302"/>
                </a:lnTo>
                <a:lnTo>
                  <a:pt x="306" y="302"/>
                </a:lnTo>
                <a:lnTo>
                  <a:pt x="320" y="302"/>
                </a:lnTo>
                <a:lnTo>
                  <a:pt x="334" y="298"/>
                </a:lnTo>
                <a:lnTo>
                  <a:pt x="346" y="312"/>
                </a:lnTo>
                <a:lnTo>
                  <a:pt x="372" y="290"/>
                </a:lnTo>
                <a:lnTo>
                  <a:pt x="360" y="276"/>
                </a:lnTo>
                <a:lnTo>
                  <a:pt x="360" y="276"/>
                </a:lnTo>
                <a:lnTo>
                  <a:pt x="366" y="262"/>
                </a:lnTo>
                <a:lnTo>
                  <a:pt x="370" y="248"/>
                </a:lnTo>
                <a:lnTo>
                  <a:pt x="370" y="248"/>
                </a:lnTo>
                <a:close/>
                <a:moveTo>
                  <a:pt x="320" y="264"/>
                </a:moveTo>
                <a:lnTo>
                  <a:pt x="320" y="264"/>
                </a:lnTo>
                <a:lnTo>
                  <a:pt x="310" y="266"/>
                </a:lnTo>
                <a:lnTo>
                  <a:pt x="302" y="264"/>
                </a:lnTo>
                <a:lnTo>
                  <a:pt x="294" y="260"/>
                </a:lnTo>
                <a:lnTo>
                  <a:pt x="288" y="252"/>
                </a:lnTo>
                <a:lnTo>
                  <a:pt x="288" y="252"/>
                </a:lnTo>
                <a:lnTo>
                  <a:pt x="286" y="242"/>
                </a:lnTo>
                <a:lnTo>
                  <a:pt x="288" y="234"/>
                </a:lnTo>
                <a:lnTo>
                  <a:pt x="292" y="226"/>
                </a:lnTo>
                <a:lnTo>
                  <a:pt x="300" y="220"/>
                </a:lnTo>
                <a:lnTo>
                  <a:pt x="300" y="220"/>
                </a:lnTo>
                <a:lnTo>
                  <a:pt x="308" y="218"/>
                </a:lnTo>
                <a:lnTo>
                  <a:pt x="318" y="220"/>
                </a:lnTo>
                <a:lnTo>
                  <a:pt x="326" y="224"/>
                </a:lnTo>
                <a:lnTo>
                  <a:pt x="332" y="232"/>
                </a:lnTo>
                <a:lnTo>
                  <a:pt x="332" y="232"/>
                </a:lnTo>
                <a:lnTo>
                  <a:pt x="334" y="240"/>
                </a:lnTo>
                <a:lnTo>
                  <a:pt x="332" y="250"/>
                </a:lnTo>
                <a:lnTo>
                  <a:pt x="328" y="258"/>
                </a:lnTo>
                <a:lnTo>
                  <a:pt x="320" y="264"/>
                </a:lnTo>
                <a:lnTo>
                  <a:pt x="320" y="26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609630" hangingPunct="0"/>
            <a:endParaRPr lang="en-GB" sz="867" kern="0" noProof="0">
              <a:solidFill>
                <a:srgbClr val="000000"/>
              </a:solidFill>
              <a:latin typeface="Quattrocento Sans" panose="020B0502050000020003" pitchFamily="34" charset="0"/>
              <a:cs typeface="Calibri"/>
              <a:sym typeface="Calibri"/>
            </a:endParaRPr>
          </a:p>
        </p:txBody>
      </p:sp>
      <p:sp>
        <p:nvSpPr>
          <p:cNvPr id="34" name="Freeform 4844">
            <a:extLst>
              <a:ext uri="{FF2B5EF4-FFF2-40B4-BE49-F238E27FC236}">
                <a16:creationId xmlns:a16="http://schemas.microsoft.com/office/drawing/2014/main" id="{70AF8EDB-6974-0860-62FA-B54E913EB9D3}"/>
              </a:ext>
            </a:extLst>
          </p:cNvPr>
          <p:cNvSpPr>
            <a:spLocks noChangeAspect="1" noEditPoints="1"/>
          </p:cNvSpPr>
          <p:nvPr/>
        </p:nvSpPr>
        <p:spPr bwMode="auto">
          <a:xfrm>
            <a:off x="475297" y="3738195"/>
            <a:ext cx="268832" cy="360000"/>
          </a:xfrm>
          <a:custGeom>
            <a:avLst/>
            <a:gdLst>
              <a:gd name="T0" fmla="*/ 172 w 230"/>
              <a:gd name="T1" fmla="*/ 194 h 308"/>
              <a:gd name="T2" fmla="*/ 168 w 230"/>
              <a:gd name="T3" fmla="*/ 216 h 308"/>
              <a:gd name="T4" fmla="*/ 156 w 230"/>
              <a:gd name="T5" fmla="*/ 234 h 308"/>
              <a:gd name="T6" fmla="*/ 138 w 230"/>
              <a:gd name="T7" fmla="*/ 246 h 308"/>
              <a:gd name="T8" fmla="*/ 116 w 230"/>
              <a:gd name="T9" fmla="*/ 250 h 308"/>
              <a:gd name="T10" fmla="*/ 106 w 230"/>
              <a:gd name="T11" fmla="*/ 250 h 308"/>
              <a:gd name="T12" fmla="*/ 90 w 230"/>
              <a:gd name="T13" fmla="*/ 244 h 308"/>
              <a:gd name="T14" fmla="*/ 76 w 230"/>
              <a:gd name="T15" fmla="*/ 234 h 308"/>
              <a:gd name="T16" fmla="*/ 66 w 230"/>
              <a:gd name="T17" fmla="*/ 218 h 308"/>
              <a:gd name="T18" fmla="*/ 116 w 230"/>
              <a:gd name="T19" fmla="*/ 210 h 308"/>
              <a:gd name="T20" fmla="*/ 132 w 230"/>
              <a:gd name="T21" fmla="*/ 194 h 308"/>
              <a:gd name="T22" fmla="*/ 132 w 230"/>
              <a:gd name="T23" fmla="*/ 140 h 308"/>
              <a:gd name="T24" fmla="*/ 148 w 230"/>
              <a:gd name="T25" fmla="*/ 148 h 308"/>
              <a:gd name="T26" fmla="*/ 160 w 230"/>
              <a:gd name="T27" fmla="*/ 160 h 308"/>
              <a:gd name="T28" fmla="*/ 170 w 230"/>
              <a:gd name="T29" fmla="*/ 176 h 308"/>
              <a:gd name="T30" fmla="*/ 172 w 230"/>
              <a:gd name="T31" fmla="*/ 194 h 308"/>
              <a:gd name="T32" fmla="*/ 230 w 230"/>
              <a:gd name="T33" fmla="*/ 82 h 308"/>
              <a:gd name="T34" fmla="*/ 230 w 230"/>
              <a:gd name="T35" fmla="*/ 292 h 308"/>
              <a:gd name="T36" fmla="*/ 226 w 230"/>
              <a:gd name="T37" fmla="*/ 304 h 308"/>
              <a:gd name="T38" fmla="*/ 214 w 230"/>
              <a:gd name="T39" fmla="*/ 308 h 308"/>
              <a:gd name="T40" fmla="*/ 16 w 230"/>
              <a:gd name="T41" fmla="*/ 308 h 308"/>
              <a:gd name="T42" fmla="*/ 6 w 230"/>
              <a:gd name="T43" fmla="*/ 304 h 308"/>
              <a:gd name="T44" fmla="*/ 0 w 230"/>
              <a:gd name="T45" fmla="*/ 292 h 308"/>
              <a:gd name="T46" fmla="*/ 0 w 230"/>
              <a:gd name="T47" fmla="*/ 16 h 308"/>
              <a:gd name="T48" fmla="*/ 6 w 230"/>
              <a:gd name="T49" fmla="*/ 4 h 308"/>
              <a:gd name="T50" fmla="*/ 16 w 230"/>
              <a:gd name="T51" fmla="*/ 0 h 308"/>
              <a:gd name="T52" fmla="*/ 166 w 230"/>
              <a:gd name="T53" fmla="*/ 16 h 308"/>
              <a:gd name="T54" fmla="*/ 230 w 230"/>
              <a:gd name="T55" fmla="*/ 82 h 308"/>
              <a:gd name="T56" fmla="*/ 100 w 230"/>
              <a:gd name="T57" fmla="*/ 178 h 308"/>
              <a:gd name="T58" fmla="*/ 100 w 230"/>
              <a:gd name="T59" fmla="*/ 106 h 308"/>
              <a:gd name="T60" fmla="*/ 72 w 230"/>
              <a:gd name="T61" fmla="*/ 112 h 308"/>
              <a:gd name="T62" fmla="*/ 48 w 230"/>
              <a:gd name="T63" fmla="*/ 128 h 308"/>
              <a:gd name="T64" fmla="*/ 34 w 230"/>
              <a:gd name="T65" fmla="*/ 150 h 308"/>
              <a:gd name="T66" fmla="*/ 28 w 230"/>
              <a:gd name="T67" fmla="*/ 178 h 308"/>
              <a:gd name="T68" fmla="*/ 188 w 230"/>
              <a:gd name="T69" fmla="*/ 194 h 308"/>
              <a:gd name="T70" fmla="*/ 186 w 230"/>
              <a:gd name="T71" fmla="*/ 180 h 308"/>
              <a:gd name="T72" fmla="*/ 176 w 230"/>
              <a:gd name="T73" fmla="*/ 154 h 308"/>
              <a:gd name="T74" fmla="*/ 156 w 230"/>
              <a:gd name="T75" fmla="*/ 134 h 308"/>
              <a:gd name="T76" fmla="*/ 130 w 230"/>
              <a:gd name="T77" fmla="*/ 124 h 308"/>
              <a:gd name="T78" fmla="*/ 116 w 230"/>
              <a:gd name="T79" fmla="*/ 194 h 308"/>
              <a:gd name="T80" fmla="*/ 44 w 230"/>
              <a:gd name="T81" fmla="*/ 194 h 308"/>
              <a:gd name="T82" fmla="*/ 50 w 230"/>
              <a:gd name="T83" fmla="*/ 222 h 308"/>
              <a:gd name="T84" fmla="*/ 64 w 230"/>
              <a:gd name="T85" fmla="*/ 246 h 308"/>
              <a:gd name="T86" fmla="*/ 88 w 230"/>
              <a:gd name="T87" fmla="*/ 262 h 308"/>
              <a:gd name="T88" fmla="*/ 116 w 230"/>
              <a:gd name="T89" fmla="*/ 266 h 308"/>
              <a:gd name="T90" fmla="*/ 130 w 230"/>
              <a:gd name="T91" fmla="*/ 266 h 308"/>
              <a:gd name="T92" fmla="*/ 156 w 230"/>
              <a:gd name="T93" fmla="*/ 254 h 308"/>
              <a:gd name="T94" fmla="*/ 176 w 230"/>
              <a:gd name="T95" fmla="*/ 234 h 308"/>
              <a:gd name="T96" fmla="*/ 186 w 230"/>
              <a:gd name="T97" fmla="*/ 210 h 308"/>
              <a:gd name="T98" fmla="*/ 188 w 230"/>
              <a:gd name="T99" fmla="*/ 194 h 308"/>
              <a:gd name="T100" fmla="*/ 188 w 230"/>
              <a:gd name="T101" fmla="*/ 66 h 308"/>
              <a:gd name="T102" fmla="*/ 166 w 230"/>
              <a:gd name="T103" fmla="*/ 42 h 308"/>
              <a:gd name="T104" fmla="*/ 148 w 230"/>
              <a:gd name="T105" fmla="*/ 8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0" h="308">
                <a:moveTo>
                  <a:pt x="172" y="194"/>
                </a:moveTo>
                <a:lnTo>
                  <a:pt x="172" y="194"/>
                </a:lnTo>
                <a:lnTo>
                  <a:pt x="172" y="206"/>
                </a:lnTo>
                <a:lnTo>
                  <a:pt x="168" y="216"/>
                </a:lnTo>
                <a:lnTo>
                  <a:pt x="162" y="226"/>
                </a:lnTo>
                <a:lnTo>
                  <a:pt x="156" y="234"/>
                </a:lnTo>
                <a:lnTo>
                  <a:pt x="148" y="242"/>
                </a:lnTo>
                <a:lnTo>
                  <a:pt x="138" y="246"/>
                </a:lnTo>
                <a:lnTo>
                  <a:pt x="128" y="250"/>
                </a:lnTo>
                <a:lnTo>
                  <a:pt x="116" y="250"/>
                </a:lnTo>
                <a:lnTo>
                  <a:pt x="116" y="250"/>
                </a:lnTo>
                <a:lnTo>
                  <a:pt x="106" y="250"/>
                </a:lnTo>
                <a:lnTo>
                  <a:pt x="98" y="248"/>
                </a:lnTo>
                <a:lnTo>
                  <a:pt x="90" y="244"/>
                </a:lnTo>
                <a:lnTo>
                  <a:pt x="82" y="240"/>
                </a:lnTo>
                <a:lnTo>
                  <a:pt x="76" y="234"/>
                </a:lnTo>
                <a:lnTo>
                  <a:pt x="70" y="226"/>
                </a:lnTo>
                <a:lnTo>
                  <a:pt x="66" y="218"/>
                </a:lnTo>
                <a:lnTo>
                  <a:pt x="62" y="210"/>
                </a:lnTo>
                <a:lnTo>
                  <a:pt x="116" y="210"/>
                </a:lnTo>
                <a:lnTo>
                  <a:pt x="132" y="210"/>
                </a:lnTo>
                <a:lnTo>
                  <a:pt x="132" y="194"/>
                </a:lnTo>
                <a:lnTo>
                  <a:pt x="132" y="140"/>
                </a:lnTo>
                <a:lnTo>
                  <a:pt x="132" y="140"/>
                </a:lnTo>
                <a:lnTo>
                  <a:pt x="140" y="144"/>
                </a:lnTo>
                <a:lnTo>
                  <a:pt x="148" y="148"/>
                </a:lnTo>
                <a:lnTo>
                  <a:pt x="154" y="154"/>
                </a:lnTo>
                <a:lnTo>
                  <a:pt x="160" y="160"/>
                </a:lnTo>
                <a:lnTo>
                  <a:pt x="166" y="168"/>
                </a:lnTo>
                <a:lnTo>
                  <a:pt x="170" y="176"/>
                </a:lnTo>
                <a:lnTo>
                  <a:pt x="172" y="186"/>
                </a:lnTo>
                <a:lnTo>
                  <a:pt x="172" y="194"/>
                </a:lnTo>
                <a:lnTo>
                  <a:pt x="172" y="194"/>
                </a:lnTo>
                <a:close/>
                <a:moveTo>
                  <a:pt x="230" y="82"/>
                </a:moveTo>
                <a:lnTo>
                  <a:pt x="230" y="292"/>
                </a:lnTo>
                <a:lnTo>
                  <a:pt x="230" y="292"/>
                </a:lnTo>
                <a:lnTo>
                  <a:pt x="230" y="298"/>
                </a:lnTo>
                <a:lnTo>
                  <a:pt x="226" y="304"/>
                </a:lnTo>
                <a:lnTo>
                  <a:pt x="222" y="308"/>
                </a:lnTo>
                <a:lnTo>
                  <a:pt x="214" y="308"/>
                </a:lnTo>
                <a:lnTo>
                  <a:pt x="16" y="308"/>
                </a:lnTo>
                <a:lnTo>
                  <a:pt x="16" y="308"/>
                </a:lnTo>
                <a:lnTo>
                  <a:pt x="10" y="308"/>
                </a:lnTo>
                <a:lnTo>
                  <a:pt x="6" y="304"/>
                </a:lnTo>
                <a:lnTo>
                  <a:pt x="2" y="298"/>
                </a:lnTo>
                <a:lnTo>
                  <a:pt x="0" y="292"/>
                </a:lnTo>
                <a:lnTo>
                  <a:pt x="0" y="16"/>
                </a:lnTo>
                <a:lnTo>
                  <a:pt x="0" y="16"/>
                </a:lnTo>
                <a:lnTo>
                  <a:pt x="2" y="10"/>
                </a:lnTo>
                <a:lnTo>
                  <a:pt x="6" y="4"/>
                </a:lnTo>
                <a:lnTo>
                  <a:pt x="10" y="0"/>
                </a:lnTo>
                <a:lnTo>
                  <a:pt x="16" y="0"/>
                </a:lnTo>
                <a:lnTo>
                  <a:pt x="150" y="0"/>
                </a:lnTo>
                <a:lnTo>
                  <a:pt x="166" y="16"/>
                </a:lnTo>
                <a:lnTo>
                  <a:pt x="214" y="66"/>
                </a:lnTo>
                <a:lnTo>
                  <a:pt x="230" y="82"/>
                </a:lnTo>
                <a:close/>
                <a:moveTo>
                  <a:pt x="28" y="178"/>
                </a:moveTo>
                <a:lnTo>
                  <a:pt x="100" y="178"/>
                </a:lnTo>
                <a:lnTo>
                  <a:pt x="100" y="106"/>
                </a:lnTo>
                <a:lnTo>
                  <a:pt x="100" y="106"/>
                </a:lnTo>
                <a:lnTo>
                  <a:pt x="86" y="108"/>
                </a:lnTo>
                <a:lnTo>
                  <a:pt x="72" y="112"/>
                </a:lnTo>
                <a:lnTo>
                  <a:pt x="60" y="118"/>
                </a:lnTo>
                <a:lnTo>
                  <a:pt x="48" y="128"/>
                </a:lnTo>
                <a:lnTo>
                  <a:pt x="40" y="138"/>
                </a:lnTo>
                <a:lnTo>
                  <a:pt x="34" y="150"/>
                </a:lnTo>
                <a:lnTo>
                  <a:pt x="28" y="164"/>
                </a:lnTo>
                <a:lnTo>
                  <a:pt x="28" y="178"/>
                </a:lnTo>
                <a:lnTo>
                  <a:pt x="28" y="178"/>
                </a:lnTo>
                <a:close/>
                <a:moveTo>
                  <a:pt x="188" y="194"/>
                </a:moveTo>
                <a:lnTo>
                  <a:pt x="188" y="194"/>
                </a:lnTo>
                <a:lnTo>
                  <a:pt x="186" y="180"/>
                </a:lnTo>
                <a:lnTo>
                  <a:pt x="182" y="166"/>
                </a:lnTo>
                <a:lnTo>
                  <a:pt x="176" y="154"/>
                </a:lnTo>
                <a:lnTo>
                  <a:pt x="168" y="144"/>
                </a:lnTo>
                <a:lnTo>
                  <a:pt x="156" y="134"/>
                </a:lnTo>
                <a:lnTo>
                  <a:pt x="144" y="128"/>
                </a:lnTo>
                <a:lnTo>
                  <a:pt x="130" y="124"/>
                </a:lnTo>
                <a:lnTo>
                  <a:pt x="116" y="122"/>
                </a:lnTo>
                <a:lnTo>
                  <a:pt x="116" y="194"/>
                </a:lnTo>
                <a:lnTo>
                  <a:pt x="44" y="194"/>
                </a:lnTo>
                <a:lnTo>
                  <a:pt x="44" y="194"/>
                </a:lnTo>
                <a:lnTo>
                  <a:pt x="46" y="210"/>
                </a:lnTo>
                <a:lnTo>
                  <a:pt x="50" y="222"/>
                </a:lnTo>
                <a:lnTo>
                  <a:pt x="56" y="234"/>
                </a:lnTo>
                <a:lnTo>
                  <a:pt x="64" y="246"/>
                </a:lnTo>
                <a:lnTo>
                  <a:pt x="76" y="254"/>
                </a:lnTo>
                <a:lnTo>
                  <a:pt x="88" y="262"/>
                </a:lnTo>
                <a:lnTo>
                  <a:pt x="102" y="266"/>
                </a:lnTo>
                <a:lnTo>
                  <a:pt x="116" y="266"/>
                </a:lnTo>
                <a:lnTo>
                  <a:pt x="116" y="266"/>
                </a:lnTo>
                <a:lnTo>
                  <a:pt x="130" y="266"/>
                </a:lnTo>
                <a:lnTo>
                  <a:pt x="144" y="262"/>
                </a:lnTo>
                <a:lnTo>
                  <a:pt x="156" y="254"/>
                </a:lnTo>
                <a:lnTo>
                  <a:pt x="168" y="246"/>
                </a:lnTo>
                <a:lnTo>
                  <a:pt x="176" y="234"/>
                </a:lnTo>
                <a:lnTo>
                  <a:pt x="182" y="222"/>
                </a:lnTo>
                <a:lnTo>
                  <a:pt x="186" y="210"/>
                </a:lnTo>
                <a:lnTo>
                  <a:pt x="188" y="194"/>
                </a:lnTo>
                <a:lnTo>
                  <a:pt x="188" y="194"/>
                </a:lnTo>
                <a:close/>
                <a:moveTo>
                  <a:pt x="206" y="84"/>
                </a:moveTo>
                <a:lnTo>
                  <a:pt x="188" y="66"/>
                </a:lnTo>
                <a:lnTo>
                  <a:pt x="166" y="66"/>
                </a:lnTo>
                <a:lnTo>
                  <a:pt x="166" y="42"/>
                </a:lnTo>
                <a:lnTo>
                  <a:pt x="148" y="24"/>
                </a:lnTo>
                <a:lnTo>
                  <a:pt x="148" y="84"/>
                </a:lnTo>
                <a:lnTo>
                  <a:pt x="206" y="8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609630" hangingPunct="0"/>
            <a:endParaRPr lang="en-GB" sz="867" kern="0" noProof="0">
              <a:solidFill>
                <a:srgbClr val="000000"/>
              </a:solidFill>
              <a:latin typeface="Quattrocento Sans" panose="020B0502050000020003" pitchFamily="34" charset="0"/>
              <a:cs typeface="Calibri"/>
              <a:sym typeface="Calibri"/>
            </a:endParaRPr>
          </a:p>
        </p:txBody>
      </p:sp>
      <p:sp>
        <p:nvSpPr>
          <p:cNvPr id="38" name="Can 2">
            <a:extLst>
              <a:ext uri="{FF2B5EF4-FFF2-40B4-BE49-F238E27FC236}">
                <a16:creationId xmlns:a16="http://schemas.microsoft.com/office/drawing/2014/main" id="{91332650-A3E2-4754-8675-DF24A3218CE0}"/>
              </a:ext>
            </a:extLst>
          </p:cNvPr>
          <p:cNvSpPr/>
          <p:nvPr/>
        </p:nvSpPr>
        <p:spPr>
          <a:xfrm>
            <a:off x="418079" y="5338351"/>
            <a:ext cx="360000" cy="396000"/>
          </a:xfrm>
          <a:prstGeom prst="can">
            <a:avLst/>
          </a:prstGeom>
          <a:solidFill>
            <a:srgbClr val="00213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hangingPunct="0"/>
            <a:endParaRPr lang="en-GB" sz="867" kern="0" noProof="0">
              <a:solidFill>
                <a:srgbClr val="FFFFFF"/>
              </a:solidFill>
              <a:latin typeface="Quattrocento Sans" panose="020B0502050000020003" pitchFamily="34" charset="0"/>
              <a:cs typeface="Helvetica"/>
              <a:sym typeface="Calibri"/>
            </a:endParaRPr>
          </a:p>
        </p:txBody>
      </p:sp>
      <p:sp>
        <p:nvSpPr>
          <p:cNvPr id="50" name="TextBox 55">
            <a:extLst>
              <a:ext uri="{FF2B5EF4-FFF2-40B4-BE49-F238E27FC236}">
                <a16:creationId xmlns:a16="http://schemas.microsoft.com/office/drawing/2014/main" id="{2D574622-8329-92BA-AD42-3D9D3AA6E430}"/>
              </a:ext>
            </a:extLst>
          </p:cNvPr>
          <p:cNvSpPr txBox="1"/>
          <p:nvPr/>
        </p:nvSpPr>
        <p:spPr>
          <a:xfrm>
            <a:off x="7371336" y="2954501"/>
            <a:ext cx="3326909" cy="461665"/>
          </a:xfrm>
          <a:prstGeom prst="rect">
            <a:avLst/>
          </a:prstGeom>
          <a:noFill/>
        </p:spPr>
        <p:txBody>
          <a:bodyPr wrap="square" rtlCol="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b="1">
                <a:solidFill>
                  <a:schemeClr val="tx1"/>
                </a:solidFill>
                <a:latin typeface="Quattrocento Sans"/>
                <a:cs typeface="Arial"/>
              </a:defRPr>
            </a:lvl1pPr>
          </a:lstStyle>
          <a:p>
            <a:pPr defTabSz="609630" hangingPunct="0"/>
            <a:r>
              <a:rPr lang="en-GB" sz="2400" kern="0" noProof="0">
                <a:solidFill>
                  <a:srgbClr val="000000"/>
                </a:solidFill>
                <a:latin typeface="Quattrocento Sans" panose="020B0502050000020003" pitchFamily="34" charset="0"/>
                <a:sym typeface="Calibri"/>
              </a:rPr>
              <a:t>Business Glossary</a:t>
            </a:r>
          </a:p>
        </p:txBody>
      </p:sp>
      <p:sp>
        <p:nvSpPr>
          <p:cNvPr id="56" name="TextBox 55">
            <a:extLst>
              <a:ext uri="{FF2B5EF4-FFF2-40B4-BE49-F238E27FC236}">
                <a16:creationId xmlns:a16="http://schemas.microsoft.com/office/drawing/2014/main" id="{49866E20-1A4C-B0F3-4509-363C79CA4977}"/>
              </a:ext>
            </a:extLst>
          </p:cNvPr>
          <p:cNvSpPr txBox="1"/>
          <p:nvPr/>
        </p:nvSpPr>
        <p:spPr>
          <a:xfrm>
            <a:off x="7371840" y="5041364"/>
            <a:ext cx="2765977" cy="461665"/>
          </a:xfrm>
          <a:prstGeom prst="rect">
            <a:avLst/>
          </a:prstGeom>
          <a:noFill/>
        </p:spPr>
        <p:txBody>
          <a:bodyPr wrap="square" rtlCol="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b="1">
                <a:solidFill>
                  <a:schemeClr val="tx1"/>
                </a:solidFill>
                <a:latin typeface="Quattrocento Sans"/>
                <a:cs typeface="Arial"/>
              </a:defRPr>
            </a:lvl1pPr>
          </a:lstStyle>
          <a:p>
            <a:pPr defTabSz="609630" hangingPunct="0"/>
            <a:r>
              <a:rPr lang="en-GB" sz="2400" kern="0" noProof="0">
                <a:solidFill>
                  <a:srgbClr val="000000"/>
                </a:solidFill>
                <a:latin typeface="Quattrocento Sans" panose="020B0502050000020003" pitchFamily="34" charset="0"/>
                <a:sym typeface="Calibri"/>
              </a:rPr>
              <a:t>Data Catalogue</a:t>
            </a:r>
          </a:p>
        </p:txBody>
      </p:sp>
      <p:sp>
        <p:nvSpPr>
          <p:cNvPr id="88" name="TextBox 55">
            <a:extLst>
              <a:ext uri="{FF2B5EF4-FFF2-40B4-BE49-F238E27FC236}">
                <a16:creationId xmlns:a16="http://schemas.microsoft.com/office/drawing/2014/main" id="{33371C03-1C44-569E-8091-ECC89D3A0475}"/>
              </a:ext>
            </a:extLst>
          </p:cNvPr>
          <p:cNvSpPr txBox="1"/>
          <p:nvPr/>
        </p:nvSpPr>
        <p:spPr>
          <a:xfrm>
            <a:off x="7389077" y="930094"/>
            <a:ext cx="2765978" cy="461665"/>
          </a:xfrm>
          <a:prstGeom prst="rect">
            <a:avLst/>
          </a:prstGeom>
          <a:noFill/>
        </p:spPr>
        <p:txBody>
          <a:bodyPr wrap="square" rtlCol="0">
            <a:spAutoFit/>
          </a:bodyPr>
          <a:lstStyle/>
          <a:p>
            <a:pPr defTabSz="609630" hangingPunct="0"/>
            <a:r>
              <a:rPr lang="en-GB" sz="2400" b="1" kern="0" noProof="0">
                <a:solidFill>
                  <a:srgbClr val="000000"/>
                </a:solidFill>
                <a:latin typeface="Quattrocento Sans" panose="020B0502050000020003" pitchFamily="34" charset="0"/>
                <a:cs typeface="Arial"/>
                <a:sym typeface="Calibri"/>
              </a:rPr>
              <a:t>Domain map</a:t>
            </a:r>
          </a:p>
        </p:txBody>
      </p:sp>
      <p:sp>
        <p:nvSpPr>
          <p:cNvPr id="12" name="CuadroTexto 11">
            <a:extLst>
              <a:ext uri="{FF2B5EF4-FFF2-40B4-BE49-F238E27FC236}">
                <a16:creationId xmlns:a16="http://schemas.microsoft.com/office/drawing/2014/main" id="{CCD75FBB-FB83-38E2-3BDB-21DBEAFD0843}"/>
              </a:ext>
            </a:extLst>
          </p:cNvPr>
          <p:cNvSpPr txBox="1"/>
          <p:nvPr/>
        </p:nvSpPr>
        <p:spPr>
          <a:xfrm>
            <a:off x="280690" y="1434582"/>
            <a:ext cx="5157330" cy="27699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just" defTabSz="914446" eaLnBrk="0" fontAlgn="base" hangingPunct="0">
              <a:spcBef>
                <a:spcPct val="50000"/>
              </a:spcBef>
              <a:spcAft>
                <a:spcPct val="0"/>
              </a:spcAft>
            </a:pPr>
            <a:r>
              <a:rPr lang="en-GB" sz="1200" kern="0" noProof="0">
                <a:solidFill>
                  <a:srgbClr val="000000"/>
                </a:solidFill>
                <a:latin typeface="Quattrocento Sans" panose="020B0502050000020003" pitchFamily="34" charset="0"/>
                <a:cs typeface="Calibri"/>
                <a:sym typeface="Calibri"/>
              </a:rPr>
              <a:t>The process of understanding and classifying data is as follows:</a:t>
            </a:r>
          </a:p>
        </p:txBody>
      </p:sp>
      <p:sp>
        <p:nvSpPr>
          <p:cNvPr id="9" name="Rectangle 57">
            <a:extLst>
              <a:ext uri="{FF2B5EF4-FFF2-40B4-BE49-F238E27FC236}">
                <a16:creationId xmlns:a16="http://schemas.microsoft.com/office/drawing/2014/main" id="{938532E4-A733-2A98-D3FB-D4E8F0D58C9B}"/>
              </a:ext>
            </a:extLst>
          </p:cNvPr>
          <p:cNvSpPr>
            <a:spLocks noChangeArrowheads="1"/>
          </p:cNvSpPr>
          <p:nvPr/>
        </p:nvSpPr>
        <p:spPr bwMode="gray">
          <a:xfrm>
            <a:off x="335357" y="718824"/>
            <a:ext cx="5760643" cy="597994"/>
          </a:xfrm>
          <a:prstGeom prst="rect">
            <a:avLst/>
          </a:prstGeom>
          <a:noFill/>
          <a:ln w="9525">
            <a:noFill/>
            <a:miter lim="800000"/>
            <a:headEnd/>
            <a:tailEnd/>
          </a:ln>
          <a:effectLst/>
        </p:spPr>
        <p:txBody>
          <a:bodyPr wrap="square" lIns="91386" tIns="45693" rIns="91386" bIns="45693">
            <a:spAutoFit/>
          </a:bodyPr>
          <a:lstStyle/>
          <a:p>
            <a:pPr defTabSz="914446">
              <a:lnSpc>
                <a:spcPct val="60000"/>
              </a:lnSpc>
              <a:buClr>
                <a:srgbClr val="000000"/>
              </a:buClr>
            </a:pPr>
            <a:r>
              <a:rPr lang="en-GB" sz="4800" b="1" noProof="0">
                <a:solidFill>
                  <a:schemeClr val="tx1">
                    <a:lumMod val="95000"/>
                    <a:lumOff val="5000"/>
                  </a:schemeClr>
                </a:solidFill>
                <a:latin typeface="Quattrocento Sans" panose="020B0502050000020003" pitchFamily="34" charset="0"/>
                <a:ea typeface="Lato"/>
                <a:cs typeface="Lato"/>
                <a:sym typeface="Arial"/>
              </a:rPr>
              <a:t>Catalogue</a:t>
            </a:r>
          </a:p>
        </p:txBody>
      </p:sp>
      <p:sp>
        <p:nvSpPr>
          <p:cNvPr id="43" name="TextBox 32">
            <a:extLst>
              <a:ext uri="{FF2B5EF4-FFF2-40B4-BE49-F238E27FC236}">
                <a16:creationId xmlns:a16="http://schemas.microsoft.com/office/drawing/2014/main" id="{F6D77562-35B9-95B9-9342-AA107311F60B}"/>
              </a:ext>
            </a:extLst>
          </p:cNvPr>
          <p:cNvSpPr txBox="1"/>
          <p:nvPr/>
        </p:nvSpPr>
        <p:spPr>
          <a:xfrm>
            <a:off x="435028" y="1902889"/>
            <a:ext cx="2483893" cy="727180"/>
          </a:xfrm>
          <a:prstGeom prst="rect">
            <a:avLst/>
          </a:prstGeom>
          <a:noFill/>
          <a:ln w="38100" cap="flat" cmpd="sng">
            <a:noFill/>
            <a:prstDash val="solid"/>
            <a:round/>
            <a:headEnd type="none" w="med" len="med"/>
            <a:tailEnd type="none" w="med" len="med"/>
          </a:ln>
        </p:spPr>
        <p:txBody>
          <a:bodyPr lIns="0" tIns="0" rIns="0" bIns="0" rtlCol="0" anchor="ctr"/>
          <a:lstStyle>
            <a:defPPr marR="0" lvl="0" algn="l" rtl="0">
              <a:lnSpc>
                <a:spcPct val="100000"/>
              </a:lnSpc>
              <a:spcBef>
                <a:spcPts val="0"/>
              </a:spcBef>
              <a:spcAft>
                <a:spcPts val="0"/>
              </a:spcAft>
            </a:defPPr>
            <a:lvl1pPr algn="ctr">
              <a:defRPr>
                <a:solidFill>
                  <a:schemeClr val="bg1"/>
                </a:solidFill>
              </a:defRPr>
            </a:lvl1pPr>
          </a:lstStyle>
          <a:p>
            <a:pPr defTabSz="914446">
              <a:buClr>
                <a:srgbClr val="000000"/>
              </a:buClr>
              <a:defRPr/>
            </a:pPr>
            <a:r>
              <a:rPr lang="en-GB" sz="2400" b="1" kern="0" noProof="0">
                <a:solidFill>
                  <a:srgbClr val="000000"/>
                </a:solidFill>
                <a:latin typeface="Quattrocento Sans" panose="020B0502050000020003" pitchFamily="34" charset="0"/>
                <a:cs typeface="Arial"/>
                <a:sym typeface="DM Sans Bold"/>
              </a:rPr>
              <a:t>Processes</a:t>
            </a:r>
          </a:p>
        </p:txBody>
      </p:sp>
      <p:sp>
        <p:nvSpPr>
          <p:cNvPr id="52" name="TextBox 32">
            <a:extLst>
              <a:ext uri="{FF2B5EF4-FFF2-40B4-BE49-F238E27FC236}">
                <a16:creationId xmlns:a16="http://schemas.microsoft.com/office/drawing/2014/main" id="{C49BDBAB-ACC2-91FA-8F69-3F58F649C6A8}"/>
              </a:ext>
            </a:extLst>
          </p:cNvPr>
          <p:cNvSpPr txBox="1"/>
          <p:nvPr/>
        </p:nvSpPr>
        <p:spPr>
          <a:xfrm>
            <a:off x="475297" y="5219865"/>
            <a:ext cx="2483893" cy="727180"/>
          </a:xfrm>
          <a:prstGeom prst="rect">
            <a:avLst/>
          </a:prstGeom>
          <a:noFill/>
          <a:ln w="38100" cap="flat" cmpd="sng">
            <a:noFill/>
            <a:prstDash val="solid"/>
            <a:round/>
            <a:headEnd type="none" w="med" len="med"/>
            <a:tailEnd type="none" w="med" len="med"/>
          </a:ln>
        </p:spPr>
        <p:txBody>
          <a:bodyPr lIns="0" tIns="0" rIns="0" bIns="0" rtlCol="0" anchor="ctr"/>
          <a:lstStyle>
            <a:defPPr marR="0" lvl="0" algn="l" rtl="0">
              <a:lnSpc>
                <a:spcPct val="100000"/>
              </a:lnSpc>
              <a:spcBef>
                <a:spcPts val="0"/>
              </a:spcBef>
              <a:spcAft>
                <a:spcPts val="0"/>
              </a:spcAft>
            </a:defPPr>
            <a:lvl1pPr algn="ctr">
              <a:defRPr>
                <a:solidFill>
                  <a:schemeClr val="bg1"/>
                </a:solidFill>
              </a:defRPr>
            </a:lvl1pPr>
          </a:lstStyle>
          <a:p>
            <a:pPr defTabSz="914446">
              <a:buClr>
                <a:srgbClr val="000000"/>
              </a:buClr>
              <a:defRPr/>
            </a:pPr>
            <a:r>
              <a:rPr lang="en-GB" sz="2400" b="1" kern="0" noProof="0">
                <a:solidFill>
                  <a:srgbClr val="000000"/>
                </a:solidFill>
                <a:latin typeface="Quattrocento Sans" panose="020B0502050000020003" pitchFamily="34" charset="0"/>
                <a:cs typeface="Arial"/>
                <a:sym typeface="DM Sans Bold"/>
              </a:rPr>
              <a:t>Structures</a:t>
            </a:r>
          </a:p>
        </p:txBody>
      </p:sp>
      <p:cxnSp>
        <p:nvCxnSpPr>
          <p:cNvPr id="61" name="Conector: angular 60">
            <a:extLst>
              <a:ext uri="{FF2B5EF4-FFF2-40B4-BE49-F238E27FC236}">
                <a16:creationId xmlns:a16="http://schemas.microsoft.com/office/drawing/2014/main" id="{26741EDA-29C9-7BFC-9F38-408DA3F4F654}"/>
              </a:ext>
            </a:extLst>
          </p:cNvPr>
          <p:cNvCxnSpPr/>
          <p:nvPr/>
        </p:nvCxnSpPr>
        <p:spPr>
          <a:xfrm>
            <a:off x="2981817" y="2513369"/>
            <a:ext cx="879771" cy="1571298"/>
          </a:xfrm>
          <a:prstGeom prst="bentConnector3">
            <a:avLst/>
          </a:prstGeom>
          <a:noFill/>
          <a:ln w="28575" cap="flat">
            <a:solidFill>
              <a:srgbClr val="0BCFC2"/>
            </a:solidFill>
            <a:prstDash val="solid"/>
            <a:miter lim="800000"/>
            <a:tailEnd type="triangle"/>
          </a:ln>
          <a:effectLst/>
          <a:sp3d/>
        </p:spPr>
        <p:style>
          <a:lnRef idx="0">
            <a:scrgbClr r="0" g="0" b="0"/>
          </a:lnRef>
          <a:fillRef idx="0">
            <a:scrgbClr r="0" g="0" b="0"/>
          </a:fillRef>
          <a:effectRef idx="0">
            <a:scrgbClr r="0" g="0" b="0"/>
          </a:effectRef>
          <a:fontRef idx="none"/>
        </p:style>
      </p:cxnSp>
      <p:cxnSp>
        <p:nvCxnSpPr>
          <p:cNvPr id="62" name="Conector: angular 61">
            <a:extLst>
              <a:ext uri="{FF2B5EF4-FFF2-40B4-BE49-F238E27FC236}">
                <a16:creationId xmlns:a16="http://schemas.microsoft.com/office/drawing/2014/main" id="{8C098D46-06EA-5D95-674E-4D3C3406A0B5}"/>
              </a:ext>
            </a:extLst>
          </p:cNvPr>
          <p:cNvCxnSpPr>
            <a:cxnSpLocks/>
          </p:cNvCxnSpPr>
          <p:nvPr/>
        </p:nvCxnSpPr>
        <p:spPr>
          <a:xfrm flipV="1">
            <a:off x="3000118" y="4084667"/>
            <a:ext cx="861469" cy="1459"/>
          </a:xfrm>
          <a:prstGeom prst="bentConnector3">
            <a:avLst/>
          </a:prstGeom>
          <a:noFill/>
          <a:ln w="28575" cap="flat">
            <a:solidFill>
              <a:srgbClr val="0BCFC2"/>
            </a:solidFill>
            <a:prstDash val="solid"/>
            <a:miter lim="800000"/>
            <a:tailEnd type="triangle"/>
          </a:ln>
          <a:effectLst/>
          <a:sp3d/>
        </p:spPr>
        <p:style>
          <a:lnRef idx="0">
            <a:scrgbClr r="0" g="0" b="0"/>
          </a:lnRef>
          <a:fillRef idx="0">
            <a:scrgbClr r="0" g="0" b="0"/>
          </a:fillRef>
          <a:effectRef idx="0">
            <a:scrgbClr r="0" g="0" b="0"/>
          </a:effectRef>
          <a:fontRef idx="none"/>
        </p:style>
      </p:cxnSp>
      <p:cxnSp>
        <p:nvCxnSpPr>
          <p:cNvPr id="65" name="Conector: angular 64">
            <a:extLst>
              <a:ext uri="{FF2B5EF4-FFF2-40B4-BE49-F238E27FC236}">
                <a16:creationId xmlns:a16="http://schemas.microsoft.com/office/drawing/2014/main" id="{0866A9F1-91C4-470F-6E9A-CF17F6322E04}"/>
              </a:ext>
            </a:extLst>
          </p:cNvPr>
          <p:cNvCxnSpPr>
            <a:cxnSpLocks/>
          </p:cNvCxnSpPr>
          <p:nvPr/>
        </p:nvCxnSpPr>
        <p:spPr>
          <a:xfrm flipV="1">
            <a:off x="3016429" y="4084667"/>
            <a:ext cx="845159" cy="1607024"/>
          </a:xfrm>
          <a:prstGeom prst="bentConnector3">
            <a:avLst>
              <a:gd name="adj1" fmla="val 47512"/>
            </a:avLst>
          </a:prstGeom>
          <a:noFill/>
          <a:ln w="28575" cap="flat">
            <a:solidFill>
              <a:srgbClr val="0BCFC2"/>
            </a:solidFill>
            <a:prstDash val="solid"/>
            <a:miter lim="800000"/>
            <a:tailEnd type="triangle"/>
          </a:ln>
          <a:effectLst/>
          <a:sp3d/>
        </p:spPr>
        <p:style>
          <a:lnRef idx="0">
            <a:scrgbClr r="0" g="0" b="0"/>
          </a:lnRef>
          <a:fillRef idx="0">
            <a:scrgbClr r="0" g="0" b="0"/>
          </a:fillRef>
          <a:effectRef idx="0">
            <a:scrgbClr r="0" g="0" b="0"/>
          </a:effectRef>
          <a:fontRef idx="none"/>
        </p:style>
      </p:cxnSp>
      <p:cxnSp>
        <p:nvCxnSpPr>
          <p:cNvPr id="72" name="Conector: angular 71">
            <a:extLst>
              <a:ext uri="{FF2B5EF4-FFF2-40B4-BE49-F238E27FC236}">
                <a16:creationId xmlns:a16="http://schemas.microsoft.com/office/drawing/2014/main" id="{604C6C12-3AD4-F53A-C55E-E6745878B801}"/>
              </a:ext>
            </a:extLst>
          </p:cNvPr>
          <p:cNvCxnSpPr>
            <a:cxnSpLocks/>
          </p:cNvCxnSpPr>
          <p:nvPr/>
        </p:nvCxnSpPr>
        <p:spPr>
          <a:xfrm flipV="1">
            <a:off x="6345481" y="2513369"/>
            <a:ext cx="886087" cy="1571298"/>
          </a:xfrm>
          <a:prstGeom prst="bentConnector3">
            <a:avLst>
              <a:gd name="adj1" fmla="val 50000"/>
            </a:avLst>
          </a:prstGeom>
          <a:noFill/>
          <a:ln w="28575" cap="flat">
            <a:solidFill>
              <a:srgbClr val="3CA5CE"/>
            </a:solidFill>
            <a:prstDash val="solid"/>
            <a:miter lim="800000"/>
            <a:tailEnd type="triangle"/>
          </a:ln>
          <a:effectLst/>
          <a:sp3d/>
        </p:spPr>
        <p:style>
          <a:lnRef idx="0">
            <a:scrgbClr r="0" g="0" b="0"/>
          </a:lnRef>
          <a:fillRef idx="0">
            <a:scrgbClr r="0" g="0" b="0"/>
          </a:fillRef>
          <a:effectRef idx="0">
            <a:scrgbClr r="0" g="0" b="0"/>
          </a:effectRef>
          <a:fontRef idx="none"/>
        </p:style>
      </p:cxnSp>
      <p:cxnSp>
        <p:nvCxnSpPr>
          <p:cNvPr id="84" name="Conector recto de flecha 83">
            <a:extLst>
              <a:ext uri="{FF2B5EF4-FFF2-40B4-BE49-F238E27FC236}">
                <a16:creationId xmlns:a16="http://schemas.microsoft.com/office/drawing/2014/main" id="{526C29E6-EB7F-EBC6-F9CD-4E8DFE15E5E6}"/>
              </a:ext>
            </a:extLst>
          </p:cNvPr>
          <p:cNvCxnSpPr>
            <a:cxnSpLocks/>
          </p:cNvCxnSpPr>
          <p:nvPr/>
        </p:nvCxnSpPr>
        <p:spPr>
          <a:xfrm>
            <a:off x="8910235" y="2799723"/>
            <a:ext cx="0" cy="198629"/>
          </a:xfrm>
          <a:prstGeom prst="straightConnector1">
            <a:avLst/>
          </a:prstGeom>
          <a:noFill/>
          <a:ln w="38100" cap="flat">
            <a:solidFill>
              <a:srgbClr val="A6A6A6"/>
            </a:solidFill>
            <a:prstDash val="solid"/>
            <a:miter lim="800000"/>
            <a:tailEnd type="triangle"/>
          </a:ln>
          <a:effectLst/>
          <a:sp3d/>
        </p:spPr>
        <p:style>
          <a:lnRef idx="0">
            <a:scrgbClr r="0" g="0" b="0"/>
          </a:lnRef>
          <a:fillRef idx="0">
            <a:scrgbClr r="0" g="0" b="0"/>
          </a:fillRef>
          <a:effectRef idx="0">
            <a:scrgbClr r="0" g="0" b="0"/>
          </a:effectRef>
          <a:fontRef idx="none"/>
        </p:style>
      </p:cxnSp>
      <p:cxnSp>
        <p:nvCxnSpPr>
          <p:cNvPr id="85" name="Conector recto de flecha 84">
            <a:extLst>
              <a:ext uri="{FF2B5EF4-FFF2-40B4-BE49-F238E27FC236}">
                <a16:creationId xmlns:a16="http://schemas.microsoft.com/office/drawing/2014/main" id="{3C119F47-143F-B186-A7D8-BA02D6B24276}"/>
              </a:ext>
            </a:extLst>
          </p:cNvPr>
          <p:cNvCxnSpPr>
            <a:cxnSpLocks/>
          </p:cNvCxnSpPr>
          <p:nvPr/>
        </p:nvCxnSpPr>
        <p:spPr>
          <a:xfrm>
            <a:off x="8913554" y="4807010"/>
            <a:ext cx="0" cy="234354"/>
          </a:xfrm>
          <a:prstGeom prst="straightConnector1">
            <a:avLst/>
          </a:prstGeom>
          <a:noFill/>
          <a:ln w="38100" cap="flat">
            <a:solidFill>
              <a:srgbClr val="A6A6A6"/>
            </a:solidFill>
            <a:prstDash val="solid"/>
            <a:miter lim="800000"/>
            <a:tailEnd type="triangle"/>
          </a:ln>
          <a:effectLst/>
          <a:sp3d/>
        </p:spPr>
        <p:style>
          <a:lnRef idx="0">
            <a:scrgbClr r="0" g="0" b="0"/>
          </a:lnRef>
          <a:fillRef idx="0">
            <a:scrgbClr r="0" g="0" b="0"/>
          </a:fillRef>
          <a:effectRef idx="0">
            <a:scrgbClr r="0" g="0" b="0"/>
          </a:effectRef>
          <a:fontRef idx="none"/>
        </p:style>
      </p:cxnSp>
      <p:cxnSp>
        <p:nvCxnSpPr>
          <p:cNvPr id="95" name="Conector: angular 94">
            <a:extLst>
              <a:ext uri="{FF2B5EF4-FFF2-40B4-BE49-F238E27FC236}">
                <a16:creationId xmlns:a16="http://schemas.microsoft.com/office/drawing/2014/main" id="{85B6FF20-7FB1-4752-9287-DE13115845EB}"/>
              </a:ext>
            </a:extLst>
          </p:cNvPr>
          <p:cNvCxnSpPr>
            <a:cxnSpLocks/>
            <a:stCxn id="24" idx="1"/>
            <a:endCxn id="21" idx="2"/>
          </p:cNvCxnSpPr>
          <p:nvPr/>
        </p:nvCxnSpPr>
        <p:spPr>
          <a:xfrm rot="10800000">
            <a:off x="5212876" y="5552581"/>
            <a:ext cx="2176201" cy="503891"/>
          </a:xfrm>
          <a:prstGeom prst="bentConnector2">
            <a:avLst/>
          </a:prstGeom>
          <a:noFill/>
          <a:ln w="28575" cap="flat">
            <a:solidFill>
              <a:srgbClr val="9659E5"/>
            </a:solidFill>
            <a:prstDash val="solid"/>
            <a:miter lim="800000"/>
            <a:tailEnd type="triangle"/>
          </a:ln>
          <a:effectLst/>
          <a:sp3d/>
        </p:spPr>
        <p:style>
          <a:lnRef idx="0">
            <a:scrgbClr r="0" g="0" b="0"/>
          </a:lnRef>
          <a:fillRef idx="0">
            <a:scrgbClr r="0" g="0" b="0"/>
          </a:fillRef>
          <a:effectRef idx="0">
            <a:scrgbClr r="0" g="0" b="0"/>
          </a:effectRef>
          <a:fontRef idx="none"/>
        </p:style>
      </p:cxnSp>
      <p:cxnSp>
        <p:nvCxnSpPr>
          <p:cNvPr id="3" name="Conector recto 2">
            <a:extLst>
              <a:ext uri="{FF2B5EF4-FFF2-40B4-BE49-F238E27FC236}">
                <a16:creationId xmlns:a16="http://schemas.microsoft.com/office/drawing/2014/main" id="{F6B8F2A5-E528-E983-8ADF-2A587CDE3465}"/>
              </a:ext>
            </a:extLst>
          </p:cNvPr>
          <p:cNvCxnSpPr>
            <a:cxnSpLocks/>
          </p:cNvCxnSpPr>
          <p:nvPr/>
        </p:nvCxnSpPr>
        <p:spPr>
          <a:xfrm>
            <a:off x="349655" y="2478534"/>
            <a:ext cx="2138100" cy="0"/>
          </a:xfrm>
          <a:prstGeom prst="line">
            <a:avLst/>
          </a:prstGeom>
          <a:noFill/>
          <a:ln w="57150" cap="flat">
            <a:solidFill>
              <a:srgbClr val="A6A6A6"/>
            </a:solidFill>
            <a:prstDash val="solid"/>
            <a:miter lim="800000"/>
          </a:ln>
          <a:effectLst/>
          <a:sp3d/>
        </p:spPr>
        <p:style>
          <a:lnRef idx="0">
            <a:scrgbClr r="0" g="0" b="0"/>
          </a:lnRef>
          <a:fillRef idx="0">
            <a:scrgbClr r="0" g="0" b="0"/>
          </a:fillRef>
          <a:effectRef idx="0">
            <a:scrgbClr r="0" g="0" b="0"/>
          </a:effectRef>
          <a:fontRef idx="none"/>
        </p:style>
      </p:cxnSp>
      <p:cxnSp>
        <p:nvCxnSpPr>
          <p:cNvPr id="7" name="Conector recto 6">
            <a:extLst>
              <a:ext uri="{FF2B5EF4-FFF2-40B4-BE49-F238E27FC236}">
                <a16:creationId xmlns:a16="http://schemas.microsoft.com/office/drawing/2014/main" id="{4A51B19A-DE09-B5B8-CD74-6A4F3D6A72FE}"/>
              </a:ext>
            </a:extLst>
          </p:cNvPr>
          <p:cNvCxnSpPr>
            <a:cxnSpLocks/>
          </p:cNvCxnSpPr>
          <p:nvPr/>
        </p:nvCxnSpPr>
        <p:spPr>
          <a:xfrm>
            <a:off x="349655" y="4220951"/>
            <a:ext cx="2138100" cy="0"/>
          </a:xfrm>
          <a:prstGeom prst="line">
            <a:avLst/>
          </a:prstGeom>
          <a:noFill/>
          <a:ln w="57150" cap="flat">
            <a:solidFill>
              <a:srgbClr val="A6A6A6"/>
            </a:solidFill>
            <a:prstDash val="solid"/>
            <a:miter lim="800000"/>
          </a:ln>
          <a:effectLst/>
          <a:sp3d/>
        </p:spPr>
        <p:style>
          <a:lnRef idx="0">
            <a:scrgbClr r="0" g="0" b="0"/>
          </a:lnRef>
          <a:fillRef idx="0">
            <a:scrgbClr r="0" g="0" b="0"/>
          </a:fillRef>
          <a:effectRef idx="0">
            <a:scrgbClr r="0" g="0" b="0"/>
          </a:effectRef>
          <a:fontRef idx="none"/>
        </p:style>
      </p:cxnSp>
      <p:cxnSp>
        <p:nvCxnSpPr>
          <p:cNvPr id="8" name="Conector recto 7">
            <a:extLst>
              <a:ext uri="{FF2B5EF4-FFF2-40B4-BE49-F238E27FC236}">
                <a16:creationId xmlns:a16="http://schemas.microsoft.com/office/drawing/2014/main" id="{3CC4EA39-90EE-252C-B5DE-FD9F4B946ACC}"/>
              </a:ext>
            </a:extLst>
          </p:cNvPr>
          <p:cNvCxnSpPr>
            <a:cxnSpLocks/>
          </p:cNvCxnSpPr>
          <p:nvPr/>
        </p:nvCxnSpPr>
        <p:spPr>
          <a:xfrm>
            <a:off x="349655" y="5833833"/>
            <a:ext cx="2138100" cy="0"/>
          </a:xfrm>
          <a:prstGeom prst="line">
            <a:avLst/>
          </a:prstGeom>
          <a:noFill/>
          <a:ln w="57150" cap="flat">
            <a:solidFill>
              <a:srgbClr val="A6A6A6"/>
            </a:solidFill>
            <a:prstDash val="solid"/>
            <a:miter lim="800000"/>
          </a:ln>
          <a:effectLst/>
          <a:sp3d/>
        </p:spPr>
        <p:style>
          <a:lnRef idx="0">
            <a:scrgbClr r="0" g="0" b="0"/>
          </a:lnRef>
          <a:fillRef idx="0">
            <a:scrgbClr r="0" g="0" b="0"/>
          </a:fillRef>
          <a:effectRef idx="0">
            <a:scrgbClr r="0" g="0" b="0"/>
          </a:effectRef>
          <a:fontRef idx="none"/>
        </p:style>
      </p:cxnSp>
      <p:cxnSp>
        <p:nvCxnSpPr>
          <p:cNvPr id="10" name="Conector recto 9">
            <a:extLst>
              <a:ext uri="{FF2B5EF4-FFF2-40B4-BE49-F238E27FC236}">
                <a16:creationId xmlns:a16="http://schemas.microsoft.com/office/drawing/2014/main" id="{2123757B-A691-1740-BED3-23B9437759DA}"/>
              </a:ext>
            </a:extLst>
          </p:cNvPr>
          <p:cNvCxnSpPr>
            <a:cxnSpLocks/>
          </p:cNvCxnSpPr>
          <p:nvPr/>
        </p:nvCxnSpPr>
        <p:spPr>
          <a:xfrm>
            <a:off x="4081589" y="4492575"/>
            <a:ext cx="2138100" cy="0"/>
          </a:xfrm>
          <a:prstGeom prst="line">
            <a:avLst/>
          </a:prstGeom>
          <a:noFill/>
          <a:ln w="57150" cap="flat">
            <a:solidFill>
              <a:srgbClr val="A6A6A6"/>
            </a:solidFill>
            <a:prstDash val="solid"/>
            <a:miter lim="800000"/>
          </a:ln>
          <a:effectLst/>
          <a:sp3d/>
        </p:spPr>
        <p:style>
          <a:lnRef idx="0">
            <a:scrgbClr r="0" g="0" b="0"/>
          </a:lnRef>
          <a:fillRef idx="0">
            <a:scrgbClr r="0" g="0" b="0"/>
          </a:fillRef>
          <a:effectRef idx="0">
            <a:scrgbClr r="0" g="0" b="0"/>
          </a:effectRef>
          <a:fontRef idx="none"/>
        </p:style>
      </p:cxnSp>
      <p:cxnSp>
        <p:nvCxnSpPr>
          <p:cNvPr id="11" name="Conector recto 10">
            <a:extLst>
              <a:ext uri="{FF2B5EF4-FFF2-40B4-BE49-F238E27FC236}">
                <a16:creationId xmlns:a16="http://schemas.microsoft.com/office/drawing/2014/main" id="{948797CE-79E7-F3AA-2149-D9A543657A10}"/>
              </a:ext>
            </a:extLst>
          </p:cNvPr>
          <p:cNvCxnSpPr>
            <a:cxnSpLocks/>
          </p:cNvCxnSpPr>
          <p:nvPr/>
        </p:nvCxnSpPr>
        <p:spPr>
          <a:xfrm>
            <a:off x="7389076" y="1398277"/>
            <a:ext cx="2138100" cy="0"/>
          </a:xfrm>
          <a:prstGeom prst="line">
            <a:avLst/>
          </a:prstGeom>
          <a:noFill/>
          <a:ln w="57150" cap="flat">
            <a:solidFill>
              <a:srgbClr val="A6A6A6"/>
            </a:solidFill>
            <a:prstDash val="solid"/>
            <a:miter lim="800000"/>
          </a:ln>
          <a:effectLst/>
          <a:sp3d/>
        </p:spPr>
        <p:style>
          <a:lnRef idx="0">
            <a:scrgbClr r="0" g="0" b="0"/>
          </a:lnRef>
          <a:fillRef idx="0">
            <a:scrgbClr r="0" g="0" b="0"/>
          </a:fillRef>
          <a:effectRef idx="0">
            <a:scrgbClr r="0" g="0" b="0"/>
          </a:effectRef>
          <a:fontRef idx="none"/>
        </p:style>
      </p:cxnSp>
      <p:cxnSp>
        <p:nvCxnSpPr>
          <p:cNvPr id="13" name="Conector recto 12">
            <a:extLst>
              <a:ext uri="{FF2B5EF4-FFF2-40B4-BE49-F238E27FC236}">
                <a16:creationId xmlns:a16="http://schemas.microsoft.com/office/drawing/2014/main" id="{229B0865-8CD9-0397-E5BE-9723E6611DEB}"/>
              </a:ext>
            </a:extLst>
          </p:cNvPr>
          <p:cNvCxnSpPr>
            <a:cxnSpLocks/>
          </p:cNvCxnSpPr>
          <p:nvPr/>
        </p:nvCxnSpPr>
        <p:spPr>
          <a:xfrm>
            <a:off x="7752264" y="3434692"/>
            <a:ext cx="2138100" cy="0"/>
          </a:xfrm>
          <a:prstGeom prst="line">
            <a:avLst/>
          </a:prstGeom>
          <a:noFill/>
          <a:ln w="57150" cap="flat">
            <a:solidFill>
              <a:srgbClr val="A6A6A6"/>
            </a:solidFill>
            <a:prstDash val="solid"/>
            <a:miter lim="800000"/>
          </a:ln>
          <a:effectLst/>
          <a:sp3d/>
        </p:spPr>
        <p:style>
          <a:lnRef idx="0">
            <a:scrgbClr r="0" g="0" b="0"/>
          </a:lnRef>
          <a:fillRef idx="0">
            <a:scrgbClr r="0" g="0" b="0"/>
          </a:fillRef>
          <a:effectRef idx="0">
            <a:scrgbClr r="0" g="0" b="0"/>
          </a:effectRef>
          <a:fontRef idx="none"/>
        </p:style>
      </p:cxnSp>
      <p:cxnSp>
        <p:nvCxnSpPr>
          <p:cNvPr id="14" name="Conector recto 13">
            <a:extLst>
              <a:ext uri="{FF2B5EF4-FFF2-40B4-BE49-F238E27FC236}">
                <a16:creationId xmlns:a16="http://schemas.microsoft.com/office/drawing/2014/main" id="{2029BDF1-E8A0-2E56-ED81-B5E3E9205DE3}"/>
              </a:ext>
            </a:extLst>
          </p:cNvPr>
          <p:cNvCxnSpPr>
            <a:cxnSpLocks/>
          </p:cNvCxnSpPr>
          <p:nvPr/>
        </p:nvCxnSpPr>
        <p:spPr>
          <a:xfrm>
            <a:off x="7418946" y="5484135"/>
            <a:ext cx="2138100" cy="0"/>
          </a:xfrm>
          <a:prstGeom prst="line">
            <a:avLst/>
          </a:prstGeom>
          <a:noFill/>
          <a:ln w="57150" cap="flat">
            <a:solidFill>
              <a:srgbClr val="A6A6A6"/>
            </a:solidFill>
            <a:prstDash val="solid"/>
            <a:miter lim="800000"/>
          </a:ln>
          <a:effectLst/>
          <a:sp3d/>
        </p:spPr>
        <p:style>
          <a:lnRef idx="0">
            <a:scrgbClr r="0" g="0" b="0"/>
          </a:lnRef>
          <a:fillRef idx="0">
            <a:scrgbClr r="0" g="0" b="0"/>
          </a:fillRef>
          <a:effectRef idx="0">
            <a:scrgbClr r="0" g="0" b="0"/>
          </a:effectRef>
          <a:fontRef idx="none"/>
        </p:style>
      </p:cxnSp>
      <p:sp>
        <p:nvSpPr>
          <p:cNvPr id="16" name="CuadroTexto 15">
            <a:extLst>
              <a:ext uri="{FF2B5EF4-FFF2-40B4-BE49-F238E27FC236}">
                <a16:creationId xmlns:a16="http://schemas.microsoft.com/office/drawing/2014/main" id="{71A74FA7-DCE1-9279-5C08-209631991562}"/>
              </a:ext>
            </a:extLst>
          </p:cNvPr>
          <p:cNvSpPr txBox="1"/>
          <p:nvPr/>
        </p:nvSpPr>
        <p:spPr>
          <a:xfrm>
            <a:off x="329689" y="2546384"/>
            <a:ext cx="2262569" cy="83099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609630" hangingPunct="0"/>
            <a:r>
              <a:rPr lang="en-GB" sz="1200" kern="0" noProof="0">
                <a:solidFill>
                  <a:srgbClr val="000000"/>
                </a:solidFill>
                <a:latin typeface="Quattrocento Sans" panose="020B0502050000020003" pitchFamily="34" charset="0"/>
                <a:cs typeface="Calibri"/>
                <a:sym typeface="Calibri"/>
              </a:rPr>
              <a:t>The </a:t>
            </a:r>
            <a:r>
              <a:rPr lang="en-GB" sz="1200" b="1" kern="0" noProof="0">
                <a:solidFill>
                  <a:srgbClr val="000000"/>
                </a:solidFill>
                <a:latin typeface="Quattrocento Sans" panose="020B0502050000020003" pitchFamily="34" charset="0"/>
                <a:cs typeface="Calibri"/>
                <a:sym typeface="Calibri"/>
              </a:rPr>
              <a:t>business processes </a:t>
            </a:r>
            <a:r>
              <a:rPr lang="en-GB" sz="1200" kern="0" noProof="0">
                <a:solidFill>
                  <a:srgbClr val="000000"/>
                </a:solidFill>
                <a:latin typeface="Quattrocento Sans" panose="020B0502050000020003" pitchFamily="34" charset="0"/>
                <a:cs typeface="Calibri"/>
                <a:sym typeface="Calibri"/>
              </a:rPr>
              <a:t>involved in the creation and exploitation of information are analysed.</a:t>
            </a:r>
          </a:p>
        </p:txBody>
      </p:sp>
      <p:sp>
        <p:nvSpPr>
          <p:cNvPr id="19" name="CuadroTexto 18">
            <a:extLst>
              <a:ext uri="{FF2B5EF4-FFF2-40B4-BE49-F238E27FC236}">
                <a16:creationId xmlns:a16="http://schemas.microsoft.com/office/drawing/2014/main" id="{F1660234-9E82-FD37-848A-5EE66F4358CC}"/>
              </a:ext>
            </a:extLst>
          </p:cNvPr>
          <p:cNvSpPr txBox="1"/>
          <p:nvPr/>
        </p:nvSpPr>
        <p:spPr>
          <a:xfrm>
            <a:off x="349656" y="4303271"/>
            <a:ext cx="2262569" cy="6463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609630" hangingPunct="0"/>
            <a:r>
              <a:rPr lang="en-GB" sz="1200" kern="0" noProof="0">
                <a:solidFill>
                  <a:srgbClr val="000000"/>
                </a:solidFill>
                <a:latin typeface="Quattrocento Sans" panose="020B0502050000020003" pitchFamily="34" charset="0"/>
                <a:cs typeface="Calibri"/>
                <a:sym typeface="Calibri"/>
              </a:rPr>
              <a:t>The </a:t>
            </a:r>
            <a:r>
              <a:rPr lang="en-GB" sz="1200" b="1" kern="0" noProof="0">
                <a:solidFill>
                  <a:srgbClr val="000000"/>
                </a:solidFill>
                <a:latin typeface="Quattrocento Sans" panose="020B0502050000020003" pitchFamily="34" charset="0"/>
                <a:cs typeface="Calibri"/>
                <a:sym typeface="Calibri"/>
              </a:rPr>
              <a:t>main reports </a:t>
            </a:r>
            <a:r>
              <a:rPr lang="en-GB" sz="1200" kern="0" noProof="0">
                <a:solidFill>
                  <a:srgbClr val="000000"/>
                </a:solidFill>
                <a:latin typeface="Quattrocento Sans" panose="020B0502050000020003" pitchFamily="34" charset="0"/>
                <a:cs typeface="Calibri"/>
                <a:sym typeface="Calibri"/>
              </a:rPr>
              <a:t>in the business processes are identified.</a:t>
            </a:r>
          </a:p>
        </p:txBody>
      </p:sp>
      <p:sp>
        <p:nvSpPr>
          <p:cNvPr id="20" name="CuadroTexto 19">
            <a:extLst>
              <a:ext uri="{FF2B5EF4-FFF2-40B4-BE49-F238E27FC236}">
                <a16:creationId xmlns:a16="http://schemas.microsoft.com/office/drawing/2014/main" id="{01FF116E-7452-37D5-1EEE-05174A152833}"/>
              </a:ext>
            </a:extLst>
          </p:cNvPr>
          <p:cNvSpPr txBox="1"/>
          <p:nvPr/>
        </p:nvSpPr>
        <p:spPr>
          <a:xfrm>
            <a:off x="360169" y="5933316"/>
            <a:ext cx="2262569"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609630" hangingPunct="0"/>
            <a:r>
              <a:rPr lang="en-GB" sz="1200" b="1" kern="0" noProof="0">
                <a:solidFill>
                  <a:srgbClr val="000000"/>
                </a:solidFill>
                <a:latin typeface="Quattrocento Sans" panose="020B0502050000020003" pitchFamily="34" charset="0"/>
                <a:cs typeface="Calibri"/>
                <a:sym typeface="Calibri"/>
              </a:rPr>
              <a:t>Data repositories </a:t>
            </a:r>
            <a:r>
              <a:rPr lang="en-GB" sz="1200" kern="0" noProof="0">
                <a:solidFill>
                  <a:srgbClr val="000000"/>
                </a:solidFill>
                <a:latin typeface="Quattrocento Sans" panose="020B0502050000020003" pitchFamily="34" charset="0"/>
                <a:cs typeface="Calibri"/>
                <a:sym typeface="Calibri"/>
              </a:rPr>
              <a:t>that support the reports are identified.</a:t>
            </a:r>
          </a:p>
        </p:txBody>
      </p:sp>
      <p:sp>
        <p:nvSpPr>
          <p:cNvPr id="21" name="CuadroTexto 20">
            <a:extLst>
              <a:ext uri="{FF2B5EF4-FFF2-40B4-BE49-F238E27FC236}">
                <a16:creationId xmlns:a16="http://schemas.microsoft.com/office/drawing/2014/main" id="{B963DE90-EB79-61FF-1D2F-F133D33DE171}"/>
              </a:ext>
            </a:extLst>
          </p:cNvPr>
          <p:cNvSpPr txBox="1"/>
          <p:nvPr/>
        </p:nvSpPr>
        <p:spPr>
          <a:xfrm>
            <a:off x="4081590" y="4536917"/>
            <a:ext cx="2262569" cy="1015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609630" hangingPunct="0"/>
            <a:r>
              <a:rPr lang="en-GB" sz="1200" kern="0" noProof="0">
                <a:solidFill>
                  <a:srgbClr val="000000"/>
                </a:solidFill>
                <a:latin typeface="Quattrocento Sans" panose="020B0502050000020003" pitchFamily="34" charset="0"/>
                <a:cs typeface="Calibri"/>
                <a:sym typeface="Calibri"/>
              </a:rPr>
              <a:t>In this step, the acquired </a:t>
            </a:r>
            <a:r>
              <a:rPr lang="en-GB" sz="1200" b="1" kern="0" noProof="0">
                <a:solidFill>
                  <a:srgbClr val="000000"/>
                </a:solidFill>
                <a:latin typeface="Quattrocento Sans" panose="020B0502050000020003" pitchFamily="34" charset="0"/>
                <a:cs typeface="Calibri"/>
                <a:sym typeface="Calibri"/>
              </a:rPr>
              <a:t>information is classified </a:t>
            </a:r>
            <a:r>
              <a:rPr lang="en-GB" sz="1200" kern="0" noProof="0">
                <a:solidFill>
                  <a:srgbClr val="000000"/>
                </a:solidFill>
                <a:latin typeface="Quattrocento Sans" panose="020B0502050000020003" pitchFamily="34" charset="0"/>
                <a:cs typeface="Calibri"/>
                <a:sym typeface="Calibri"/>
              </a:rPr>
              <a:t>according to the criticality of the information to </a:t>
            </a:r>
            <a:r>
              <a:rPr lang="en-GB" sz="1200" b="1" kern="0" noProof="0">
                <a:solidFill>
                  <a:srgbClr val="000000"/>
                </a:solidFill>
                <a:latin typeface="Quattrocento Sans" panose="020B0502050000020003" pitchFamily="34" charset="0"/>
                <a:cs typeface="Calibri"/>
                <a:sym typeface="Calibri"/>
              </a:rPr>
              <a:t>prioritise</a:t>
            </a:r>
            <a:r>
              <a:rPr lang="en-GB" sz="1200" kern="0" noProof="0">
                <a:solidFill>
                  <a:srgbClr val="000000"/>
                </a:solidFill>
                <a:latin typeface="Quattrocento Sans" panose="020B0502050000020003" pitchFamily="34" charset="0"/>
                <a:cs typeface="Calibri"/>
                <a:sym typeface="Calibri"/>
              </a:rPr>
              <a:t> the most relevant information.</a:t>
            </a:r>
          </a:p>
        </p:txBody>
      </p:sp>
      <p:sp>
        <p:nvSpPr>
          <p:cNvPr id="24" name="CuadroTexto 23">
            <a:extLst>
              <a:ext uri="{FF2B5EF4-FFF2-40B4-BE49-F238E27FC236}">
                <a16:creationId xmlns:a16="http://schemas.microsoft.com/office/drawing/2014/main" id="{578964EF-9546-B894-44E3-4C4C48FE6D31}"/>
              </a:ext>
            </a:extLst>
          </p:cNvPr>
          <p:cNvSpPr txBox="1"/>
          <p:nvPr/>
        </p:nvSpPr>
        <p:spPr>
          <a:xfrm>
            <a:off x="7389076" y="5569094"/>
            <a:ext cx="3746249" cy="97475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609630" hangingPunct="0"/>
            <a:r>
              <a:rPr lang="en-GB" sz="1200" kern="0" noProof="0">
                <a:solidFill>
                  <a:srgbClr val="000000"/>
                </a:solidFill>
                <a:latin typeface="Quattrocento Sans" panose="020B0502050000020003" pitchFamily="34" charset="0"/>
                <a:cs typeface="Calibri"/>
                <a:sym typeface="Calibri"/>
              </a:rPr>
              <a:t>The data catalogue is an inventory of the data objects, with the source, intermediate tables, visualizations, and ML and AI.</a:t>
            </a:r>
          </a:p>
          <a:p>
            <a:pPr defTabSz="609630" hangingPunct="0"/>
            <a:r>
              <a:rPr lang="en-GB" sz="1067" i="1" kern="0" noProof="0">
                <a:solidFill>
                  <a:srgbClr val="000000"/>
                </a:solidFill>
                <a:latin typeface="Quattrocento Sans" panose="020B0502050000020003" pitchFamily="34" charset="0"/>
                <a:cs typeface="Calibri"/>
                <a:sym typeface="Calibri"/>
              </a:rPr>
              <a:t>* It can be automatable in tools such as </a:t>
            </a:r>
            <a:r>
              <a:rPr lang="en-GB" sz="1067" i="1" kern="0" noProof="0" err="1">
                <a:solidFill>
                  <a:srgbClr val="000000"/>
                </a:solidFill>
                <a:latin typeface="Quattrocento Sans" panose="020B0502050000020003" pitchFamily="34" charset="0"/>
                <a:cs typeface="Calibri"/>
                <a:sym typeface="Calibri"/>
              </a:rPr>
              <a:t>OpenMetadata</a:t>
            </a:r>
            <a:r>
              <a:rPr lang="en-GB" sz="1067" i="1" kern="0" noProof="0">
                <a:solidFill>
                  <a:srgbClr val="000000"/>
                </a:solidFill>
                <a:latin typeface="Quattrocento Sans" panose="020B0502050000020003" pitchFamily="34" charset="0"/>
                <a:cs typeface="Calibri"/>
                <a:sym typeface="Calibri"/>
              </a:rPr>
              <a:t>, Collibra, Purview, </a:t>
            </a:r>
            <a:r>
              <a:rPr lang="en-GB" sz="1067" i="1" kern="0" noProof="0" err="1">
                <a:solidFill>
                  <a:srgbClr val="000000"/>
                </a:solidFill>
                <a:latin typeface="Quattrocento Sans" panose="020B0502050000020003" pitchFamily="34" charset="0"/>
                <a:cs typeface="Calibri"/>
                <a:sym typeface="Calibri"/>
              </a:rPr>
              <a:t>DataSphere</a:t>
            </a:r>
            <a:r>
              <a:rPr lang="en-GB" sz="1067" i="1" kern="0" noProof="0">
                <a:solidFill>
                  <a:srgbClr val="000000"/>
                </a:solidFill>
                <a:latin typeface="Quattrocento Sans" panose="020B0502050000020003" pitchFamily="34" charset="0"/>
                <a:cs typeface="Calibri"/>
                <a:sym typeface="Calibri"/>
              </a:rPr>
              <a:t>, etc.</a:t>
            </a:r>
          </a:p>
        </p:txBody>
      </p:sp>
      <p:sp>
        <p:nvSpPr>
          <p:cNvPr id="2" name="Google Shape;3348;g30e148d11da_7_119">
            <a:extLst>
              <a:ext uri="{FF2B5EF4-FFF2-40B4-BE49-F238E27FC236}">
                <a16:creationId xmlns:a16="http://schemas.microsoft.com/office/drawing/2014/main" id="{C3DB79D3-1873-7800-33E6-0882BAD11041}"/>
              </a:ext>
            </a:extLst>
          </p:cNvPr>
          <p:cNvSpPr txBox="1"/>
          <p:nvPr/>
        </p:nvSpPr>
        <p:spPr>
          <a:xfrm>
            <a:off x="715034" y="156141"/>
            <a:ext cx="3258300" cy="615000"/>
          </a:xfrm>
          <a:prstGeom prst="rect">
            <a:avLst/>
          </a:prstGeom>
          <a:noFill/>
          <a:ln>
            <a:noFill/>
          </a:ln>
        </p:spPr>
        <p:txBody>
          <a:bodyPr spcFirstLastPara="1" wrap="square" lIns="0" tIns="45700" rIns="91425" bIns="45700" anchor="t" anchorCtr="0">
            <a:noAutofit/>
          </a:bodyPr>
          <a:lstStyle/>
          <a:p>
            <a:pPr defTabSz="914446">
              <a:buClr>
                <a:srgbClr val="FFFFFF"/>
              </a:buClr>
              <a:buSzPts val="1200"/>
              <a:defRPr/>
            </a:pPr>
            <a:r>
              <a:rPr lang="en-GB" sz="1200" b="1" kern="0" noProof="0">
                <a:solidFill>
                  <a:srgbClr val="000000"/>
                </a:solidFill>
                <a:latin typeface="Montserrat"/>
                <a:ea typeface="Montserrat"/>
                <a:cs typeface="Montserrat"/>
                <a:sym typeface="Montserrat"/>
              </a:rPr>
              <a:t>Data Driven </a:t>
            </a:r>
            <a:r>
              <a:rPr lang="en-GB" sz="1200" kern="0" noProof="0">
                <a:solidFill>
                  <a:srgbClr val="000000"/>
                </a:solidFill>
                <a:latin typeface="Montserrat"/>
                <a:ea typeface="Montserrat"/>
                <a:cs typeface="Montserrat"/>
                <a:sym typeface="Montserrat"/>
              </a:rPr>
              <a:t>Business</a:t>
            </a:r>
            <a:endParaRPr lang="en-GB" sz="1200" kern="0" baseline="30000" noProof="0">
              <a:solidFill>
                <a:srgbClr val="000000"/>
              </a:solidFill>
              <a:latin typeface="Montserrat"/>
              <a:ea typeface="Montserrat"/>
              <a:cs typeface="Montserrat"/>
              <a:sym typeface="Montserrat"/>
            </a:endParaRPr>
          </a:p>
        </p:txBody>
      </p:sp>
    </p:spTree>
    <p:extLst>
      <p:ext uri="{BB962C8B-B14F-4D97-AF65-F5344CB8AC3E}">
        <p14:creationId xmlns:p14="http://schemas.microsoft.com/office/powerpoint/2010/main" val="191001837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03DBE495-643B-1A22-5E67-33785103F9FF}"/>
              </a:ext>
            </a:extLst>
          </p:cNvPr>
          <p:cNvPicPr>
            <a:picLocks noChangeAspect="1"/>
          </p:cNvPicPr>
          <p:nvPr/>
        </p:nvPicPr>
        <p:blipFill>
          <a:blip r:embed="rId3"/>
          <a:stretch>
            <a:fillRect/>
          </a:stretch>
        </p:blipFill>
        <p:spPr>
          <a:xfrm>
            <a:off x="10163372" y="325323"/>
            <a:ext cx="1747938" cy="1384994"/>
          </a:xfrm>
          <a:prstGeom prst="rect">
            <a:avLst/>
          </a:prstGeom>
        </p:spPr>
      </p:pic>
      <p:sp>
        <p:nvSpPr>
          <p:cNvPr id="5" name="CuadroTexto 4">
            <a:extLst>
              <a:ext uri="{FF2B5EF4-FFF2-40B4-BE49-F238E27FC236}">
                <a16:creationId xmlns:a16="http://schemas.microsoft.com/office/drawing/2014/main" id="{D745E3C6-A2DF-E09F-A7E9-594D3331A780}"/>
              </a:ext>
            </a:extLst>
          </p:cNvPr>
          <p:cNvSpPr txBox="1"/>
          <p:nvPr/>
        </p:nvSpPr>
        <p:spPr>
          <a:xfrm>
            <a:off x="280690" y="1434582"/>
            <a:ext cx="5157330"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just" defTabSz="914446" eaLnBrk="0" fontAlgn="base" hangingPunct="0">
              <a:spcBef>
                <a:spcPct val="50000"/>
              </a:spcBef>
              <a:spcAft>
                <a:spcPct val="0"/>
              </a:spcAft>
            </a:pPr>
            <a:r>
              <a:rPr lang="en-GB" sz="1200" kern="0" noProof="0">
                <a:solidFill>
                  <a:srgbClr val="000000"/>
                </a:solidFill>
                <a:latin typeface="Quattrocento Sans" panose="020B0502050000020003" pitchFamily="34" charset="0"/>
                <a:cs typeface="Calibri"/>
                <a:sym typeface="Calibri"/>
              </a:rPr>
              <a:t>We visualise and document how data travels, transforms, and connects throughout its entire lifecycle:</a:t>
            </a:r>
          </a:p>
        </p:txBody>
      </p:sp>
      <p:sp>
        <p:nvSpPr>
          <p:cNvPr id="6" name="Rectangle 57">
            <a:extLst>
              <a:ext uri="{FF2B5EF4-FFF2-40B4-BE49-F238E27FC236}">
                <a16:creationId xmlns:a16="http://schemas.microsoft.com/office/drawing/2014/main" id="{BE5B26A6-F37D-6CDF-1C6E-9362B230FF94}"/>
              </a:ext>
            </a:extLst>
          </p:cNvPr>
          <p:cNvSpPr>
            <a:spLocks noChangeArrowheads="1"/>
          </p:cNvSpPr>
          <p:nvPr/>
        </p:nvSpPr>
        <p:spPr bwMode="gray">
          <a:xfrm>
            <a:off x="335357" y="718824"/>
            <a:ext cx="5760643" cy="597994"/>
          </a:xfrm>
          <a:prstGeom prst="rect">
            <a:avLst/>
          </a:prstGeom>
          <a:noFill/>
          <a:ln w="9525">
            <a:noFill/>
            <a:miter lim="800000"/>
            <a:headEnd/>
            <a:tailEnd/>
          </a:ln>
          <a:effectLst/>
        </p:spPr>
        <p:txBody>
          <a:bodyPr wrap="square" lIns="91386" tIns="45693" rIns="91386" bIns="45693">
            <a:spAutoFit/>
          </a:bodyPr>
          <a:lstStyle/>
          <a:p>
            <a:pPr defTabSz="914446">
              <a:lnSpc>
                <a:spcPct val="60000"/>
              </a:lnSpc>
              <a:buClr>
                <a:srgbClr val="000000"/>
              </a:buClr>
            </a:pPr>
            <a:r>
              <a:rPr lang="en-GB" sz="4800" b="1" noProof="0">
                <a:solidFill>
                  <a:schemeClr val="tx1">
                    <a:lumMod val="95000"/>
                    <a:lumOff val="5000"/>
                  </a:schemeClr>
                </a:solidFill>
                <a:latin typeface="Quattrocento Sans" panose="020B0502050000020003" pitchFamily="34" charset="0"/>
                <a:ea typeface="Lato"/>
                <a:cs typeface="Lato"/>
                <a:sym typeface="Arial"/>
              </a:rPr>
              <a:t>Lineage</a:t>
            </a:r>
          </a:p>
        </p:txBody>
      </p:sp>
      <p:sp>
        <p:nvSpPr>
          <p:cNvPr id="7" name="Google Shape;3348;g30e148d11da_7_119">
            <a:extLst>
              <a:ext uri="{FF2B5EF4-FFF2-40B4-BE49-F238E27FC236}">
                <a16:creationId xmlns:a16="http://schemas.microsoft.com/office/drawing/2014/main" id="{B46D43BE-3DAD-777A-6253-2BDD5AB44E3D}"/>
              </a:ext>
            </a:extLst>
          </p:cNvPr>
          <p:cNvSpPr txBox="1"/>
          <p:nvPr/>
        </p:nvSpPr>
        <p:spPr>
          <a:xfrm>
            <a:off x="715034" y="156141"/>
            <a:ext cx="3258300" cy="615000"/>
          </a:xfrm>
          <a:prstGeom prst="rect">
            <a:avLst/>
          </a:prstGeom>
          <a:noFill/>
          <a:ln>
            <a:noFill/>
          </a:ln>
        </p:spPr>
        <p:txBody>
          <a:bodyPr spcFirstLastPara="1" wrap="square" lIns="0" tIns="45700" rIns="91425" bIns="45700" anchor="t" anchorCtr="0">
            <a:noAutofit/>
          </a:bodyPr>
          <a:lstStyle/>
          <a:p>
            <a:pPr defTabSz="914446">
              <a:buClr>
                <a:srgbClr val="FFFFFF"/>
              </a:buClr>
              <a:buSzPts val="1200"/>
              <a:defRPr/>
            </a:pPr>
            <a:r>
              <a:rPr lang="en-GB" sz="1200" b="1" kern="0" noProof="0">
                <a:solidFill>
                  <a:srgbClr val="000000"/>
                </a:solidFill>
                <a:latin typeface="Montserrat"/>
                <a:ea typeface="Montserrat"/>
                <a:cs typeface="Montserrat"/>
                <a:sym typeface="Montserrat"/>
              </a:rPr>
              <a:t>Data Driven </a:t>
            </a:r>
            <a:r>
              <a:rPr lang="en-GB" sz="1200" kern="0" noProof="0">
                <a:solidFill>
                  <a:srgbClr val="000000"/>
                </a:solidFill>
                <a:latin typeface="Montserrat"/>
                <a:ea typeface="Montserrat"/>
                <a:cs typeface="Montserrat"/>
                <a:sym typeface="Montserrat"/>
              </a:rPr>
              <a:t>Business</a:t>
            </a:r>
            <a:endParaRPr lang="en-GB" sz="1200" kern="0" baseline="30000" noProof="0">
              <a:solidFill>
                <a:srgbClr val="000000"/>
              </a:solidFill>
              <a:latin typeface="Montserrat"/>
              <a:ea typeface="Montserrat"/>
              <a:cs typeface="Montserrat"/>
              <a:sym typeface="Montserrat"/>
            </a:endParaRPr>
          </a:p>
        </p:txBody>
      </p:sp>
      <p:grpSp>
        <p:nvGrpSpPr>
          <p:cNvPr id="2" name="Grupo 1">
            <a:extLst>
              <a:ext uri="{FF2B5EF4-FFF2-40B4-BE49-F238E27FC236}">
                <a16:creationId xmlns:a16="http://schemas.microsoft.com/office/drawing/2014/main" id="{962C2E79-FD89-3138-7519-BD845961B112}"/>
              </a:ext>
            </a:extLst>
          </p:cNvPr>
          <p:cNvGrpSpPr/>
          <p:nvPr/>
        </p:nvGrpSpPr>
        <p:grpSpPr>
          <a:xfrm>
            <a:off x="2237266" y="2249073"/>
            <a:ext cx="2024459" cy="1021445"/>
            <a:chOff x="4456020" y="2059541"/>
            <a:chExt cx="2024459" cy="1021445"/>
          </a:xfrm>
        </p:grpSpPr>
        <p:cxnSp>
          <p:nvCxnSpPr>
            <p:cNvPr id="3" name="Google Shape;3047;p19">
              <a:extLst>
                <a:ext uri="{FF2B5EF4-FFF2-40B4-BE49-F238E27FC236}">
                  <a16:creationId xmlns:a16="http://schemas.microsoft.com/office/drawing/2014/main" id="{FD27553C-841B-BD39-3658-4C049C16B191}"/>
                </a:ext>
              </a:extLst>
            </p:cNvPr>
            <p:cNvCxnSpPr>
              <a:cxnSpLocks/>
            </p:cNvCxnSpPr>
            <p:nvPr/>
          </p:nvCxnSpPr>
          <p:spPr>
            <a:xfrm>
              <a:off x="4456020" y="2478496"/>
              <a:ext cx="1349700" cy="0"/>
            </a:xfrm>
            <a:prstGeom prst="straightConnector1">
              <a:avLst/>
            </a:prstGeom>
            <a:noFill/>
            <a:ln w="25400" cap="flat" cmpd="sng">
              <a:solidFill>
                <a:srgbClr val="A6A6A6"/>
              </a:solidFill>
              <a:prstDash val="solid"/>
              <a:miter lim="800000"/>
              <a:headEnd type="none" w="sm" len="sm"/>
              <a:tailEnd type="none" w="sm" len="sm"/>
            </a:ln>
          </p:spPr>
        </p:cxnSp>
        <p:sp>
          <p:nvSpPr>
            <p:cNvPr id="8" name="Google Shape;3052;p19">
              <a:extLst>
                <a:ext uri="{FF2B5EF4-FFF2-40B4-BE49-F238E27FC236}">
                  <a16:creationId xmlns:a16="http://schemas.microsoft.com/office/drawing/2014/main" id="{4E6ADB33-9A05-D1C2-8C4D-B87F72C48149}"/>
                </a:ext>
              </a:extLst>
            </p:cNvPr>
            <p:cNvSpPr/>
            <p:nvPr/>
          </p:nvSpPr>
          <p:spPr>
            <a:xfrm>
              <a:off x="4456020" y="2059541"/>
              <a:ext cx="1888235" cy="488700"/>
            </a:xfrm>
            <a:prstGeom prst="rect">
              <a:avLst/>
            </a:prstGeom>
            <a:noFill/>
            <a:ln>
              <a:noFill/>
            </a:ln>
          </p:spPr>
          <p:txBody>
            <a:bodyPr spcFirstLastPara="1" wrap="square" lIns="108000" tIns="0" rIns="0" bIns="108000" anchor="b" anchorCtr="0">
              <a:noAutofit/>
            </a:bodyPr>
            <a:lstStyle/>
            <a:p>
              <a:pPr defTabSz="914446">
                <a:lnSpc>
                  <a:spcPct val="70000"/>
                </a:lnSpc>
                <a:spcAft>
                  <a:spcPts val="70"/>
                </a:spcAft>
                <a:buClr>
                  <a:srgbClr val="000000"/>
                </a:buClr>
              </a:pPr>
              <a:r>
                <a:rPr lang="en-GB" sz="1600" b="1" kern="0" noProof="0">
                  <a:solidFill>
                    <a:srgbClr val="000000"/>
                  </a:solidFill>
                  <a:latin typeface="Quattrocento Sans"/>
                  <a:ea typeface="Quattrocento Sans"/>
                  <a:cs typeface="Quattrocento Sans"/>
                  <a:sym typeface="Quattrocento Sans"/>
                </a:rPr>
                <a:t>Origin</a:t>
              </a:r>
            </a:p>
          </p:txBody>
        </p:sp>
        <p:sp>
          <p:nvSpPr>
            <p:cNvPr id="9" name="Google Shape;3059;p19">
              <a:extLst>
                <a:ext uri="{FF2B5EF4-FFF2-40B4-BE49-F238E27FC236}">
                  <a16:creationId xmlns:a16="http://schemas.microsoft.com/office/drawing/2014/main" id="{18390F5A-9CA2-E688-63A1-347C29875F21}"/>
                </a:ext>
              </a:extLst>
            </p:cNvPr>
            <p:cNvSpPr txBox="1"/>
            <p:nvPr/>
          </p:nvSpPr>
          <p:spPr>
            <a:xfrm>
              <a:off x="4456020" y="2617053"/>
              <a:ext cx="2024459" cy="463933"/>
            </a:xfrm>
            <a:prstGeom prst="rect">
              <a:avLst/>
            </a:prstGeom>
            <a:noFill/>
            <a:ln>
              <a:noFill/>
            </a:ln>
          </p:spPr>
          <p:txBody>
            <a:bodyPr spcFirstLastPara="1" wrap="square" lIns="0" tIns="45700" rIns="0" bIns="45700" anchor="t" anchorCtr="0">
              <a:spAutoFit/>
            </a:bodyPr>
            <a:lstStyle/>
            <a:p>
              <a:pPr defTabSz="914446">
                <a:lnSpc>
                  <a:spcPct val="115000"/>
                </a:lnSpc>
                <a:buClr>
                  <a:srgbClr val="000000"/>
                </a:buClr>
                <a:buSzPts val="1100"/>
              </a:pPr>
              <a:r>
                <a:rPr lang="en-GB" sz="1050" kern="0" noProof="0">
                  <a:solidFill>
                    <a:srgbClr val="000000"/>
                  </a:solidFill>
                  <a:latin typeface="Quattrocento Sans"/>
                  <a:sym typeface="Quattrocento Sans"/>
                </a:rPr>
                <a:t>Where a piece of information comes from</a:t>
              </a:r>
            </a:p>
          </p:txBody>
        </p:sp>
      </p:grpSp>
      <p:grpSp>
        <p:nvGrpSpPr>
          <p:cNvPr id="10" name="Grupo 9">
            <a:extLst>
              <a:ext uri="{FF2B5EF4-FFF2-40B4-BE49-F238E27FC236}">
                <a16:creationId xmlns:a16="http://schemas.microsoft.com/office/drawing/2014/main" id="{FA3105A9-9FAC-5225-CF0E-27946FB9FE1A}"/>
              </a:ext>
            </a:extLst>
          </p:cNvPr>
          <p:cNvGrpSpPr/>
          <p:nvPr/>
        </p:nvGrpSpPr>
        <p:grpSpPr>
          <a:xfrm>
            <a:off x="4831727" y="2249073"/>
            <a:ext cx="2024459" cy="809938"/>
            <a:chOff x="7050481" y="2059541"/>
            <a:chExt cx="2024459" cy="809938"/>
          </a:xfrm>
        </p:grpSpPr>
        <p:cxnSp>
          <p:nvCxnSpPr>
            <p:cNvPr id="11" name="Google Shape;3047;p19">
              <a:extLst>
                <a:ext uri="{FF2B5EF4-FFF2-40B4-BE49-F238E27FC236}">
                  <a16:creationId xmlns:a16="http://schemas.microsoft.com/office/drawing/2014/main" id="{B92F3FEA-8A21-2397-615A-252142454816}"/>
                </a:ext>
              </a:extLst>
            </p:cNvPr>
            <p:cNvCxnSpPr>
              <a:cxnSpLocks/>
            </p:cNvCxnSpPr>
            <p:nvPr/>
          </p:nvCxnSpPr>
          <p:spPr>
            <a:xfrm>
              <a:off x="7050481" y="2503828"/>
              <a:ext cx="1349700" cy="0"/>
            </a:xfrm>
            <a:prstGeom prst="straightConnector1">
              <a:avLst/>
            </a:prstGeom>
            <a:noFill/>
            <a:ln w="25400" cap="flat" cmpd="sng">
              <a:solidFill>
                <a:srgbClr val="A6A6A6"/>
              </a:solidFill>
              <a:prstDash val="solid"/>
              <a:miter lim="800000"/>
              <a:headEnd type="none" w="sm" len="sm"/>
              <a:tailEnd type="none" w="sm" len="sm"/>
            </a:ln>
          </p:spPr>
        </p:cxnSp>
        <p:sp>
          <p:nvSpPr>
            <p:cNvPr id="12" name="Google Shape;3052;p19">
              <a:extLst>
                <a:ext uri="{FF2B5EF4-FFF2-40B4-BE49-F238E27FC236}">
                  <a16:creationId xmlns:a16="http://schemas.microsoft.com/office/drawing/2014/main" id="{3DC844B9-8047-3F2D-998B-34AAF24B667E}"/>
                </a:ext>
              </a:extLst>
            </p:cNvPr>
            <p:cNvSpPr/>
            <p:nvPr/>
          </p:nvSpPr>
          <p:spPr>
            <a:xfrm>
              <a:off x="7050481" y="2059541"/>
              <a:ext cx="1888235" cy="488700"/>
            </a:xfrm>
            <a:prstGeom prst="rect">
              <a:avLst/>
            </a:prstGeom>
            <a:noFill/>
            <a:ln>
              <a:noFill/>
            </a:ln>
          </p:spPr>
          <p:txBody>
            <a:bodyPr spcFirstLastPara="1" wrap="square" lIns="108000" tIns="0" rIns="0" bIns="108000" anchor="b" anchorCtr="0">
              <a:noAutofit/>
            </a:bodyPr>
            <a:lstStyle/>
            <a:p>
              <a:pPr defTabSz="914446">
                <a:lnSpc>
                  <a:spcPct val="70000"/>
                </a:lnSpc>
                <a:spcAft>
                  <a:spcPts val="70"/>
                </a:spcAft>
                <a:buClr>
                  <a:srgbClr val="000000"/>
                </a:buClr>
              </a:pPr>
              <a:r>
                <a:rPr lang="en-GB" sz="1600" b="1" kern="0" noProof="0">
                  <a:solidFill>
                    <a:srgbClr val="000000"/>
                  </a:solidFill>
                  <a:latin typeface="Quattrocento Sans"/>
                  <a:ea typeface="Quattrocento Sans"/>
                  <a:cs typeface="Quattrocento Sans"/>
                  <a:sym typeface="Quattrocento Sans"/>
                </a:rPr>
                <a:t>Transformation</a:t>
              </a:r>
            </a:p>
          </p:txBody>
        </p:sp>
        <p:sp>
          <p:nvSpPr>
            <p:cNvPr id="13" name="Google Shape;3059;p19">
              <a:extLst>
                <a:ext uri="{FF2B5EF4-FFF2-40B4-BE49-F238E27FC236}">
                  <a16:creationId xmlns:a16="http://schemas.microsoft.com/office/drawing/2014/main" id="{8EBC4081-077C-663E-4C19-DFBF209052BA}"/>
                </a:ext>
              </a:extLst>
            </p:cNvPr>
            <p:cNvSpPr txBox="1"/>
            <p:nvPr/>
          </p:nvSpPr>
          <p:spPr>
            <a:xfrm>
              <a:off x="7050481" y="2591366"/>
              <a:ext cx="2024459" cy="278113"/>
            </a:xfrm>
            <a:prstGeom prst="rect">
              <a:avLst/>
            </a:prstGeom>
            <a:noFill/>
            <a:ln>
              <a:noFill/>
            </a:ln>
          </p:spPr>
          <p:txBody>
            <a:bodyPr spcFirstLastPara="1" wrap="square" lIns="0" tIns="45700" rIns="0" bIns="45700" anchor="t" anchorCtr="0">
              <a:spAutoFit/>
            </a:bodyPr>
            <a:lstStyle/>
            <a:p>
              <a:pPr defTabSz="914446">
                <a:lnSpc>
                  <a:spcPct val="115000"/>
                </a:lnSpc>
                <a:buClr>
                  <a:srgbClr val="000000"/>
                </a:buClr>
                <a:buSzPts val="1100"/>
              </a:pPr>
              <a:r>
                <a:rPr lang="en-GB" sz="1050" kern="0" noProof="0">
                  <a:solidFill>
                    <a:srgbClr val="000000"/>
                  </a:solidFill>
                  <a:latin typeface="Quattrocento Sans"/>
                  <a:sym typeface="Quattrocento Sans"/>
                </a:rPr>
                <a:t>How it is modified or calculated</a:t>
              </a:r>
              <a:endParaRPr lang="en-GB" sz="1050" b="1" kern="0" noProof="0">
                <a:solidFill>
                  <a:srgbClr val="000000"/>
                </a:solidFill>
                <a:latin typeface="Quattrocento Sans"/>
                <a:sym typeface="Quattrocento Sans"/>
              </a:endParaRPr>
            </a:p>
          </p:txBody>
        </p:sp>
      </p:grpSp>
      <p:grpSp>
        <p:nvGrpSpPr>
          <p:cNvPr id="14" name="Grupo 13">
            <a:extLst>
              <a:ext uri="{FF2B5EF4-FFF2-40B4-BE49-F238E27FC236}">
                <a16:creationId xmlns:a16="http://schemas.microsoft.com/office/drawing/2014/main" id="{3D507BAA-77BE-0F35-0CAC-172EE0D77A3D}"/>
              </a:ext>
            </a:extLst>
          </p:cNvPr>
          <p:cNvGrpSpPr/>
          <p:nvPr/>
        </p:nvGrpSpPr>
        <p:grpSpPr>
          <a:xfrm>
            <a:off x="7428708" y="2249073"/>
            <a:ext cx="2024459" cy="983856"/>
            <a:chOff x="9647462" y="2059541"/>
            <a:chExt cx="2024459" cy="983856"/>
          </a:xfrm>
        </p:grpSpPr>
        <p:cxnSp>
          <p:nvCxnSpPr>
            <p:cNvPr id="15" name="Google Shape;3047;p19">
              <a:extLst>
                <a:ext uri="{FF2B5EF4-FFF2-40B4-BE49-F238E27FC236}">
                  <a16:creationId xmlns:a16="http://schemas.microsoft.com/office/drawing/2014/main" id="{AA324A36-F53B-D9A4-03CD-6C5AFB2B826D}"/>
                </a:ext>
              </a:extLst>
            </p:cNvPr>
            <p:cNvCxnSpPr>
              <a:cxnSpLocks/>
            </p:cNvCxnSpPr>
            <p:nvPr/>
          </p:nvCxnSpPr>
          <p:spPr>
            <a:xfrm>
              <a:off x="9647462" y="2478496"/>
              <a:ext cx="1349700" cy="0"/>
            </a:xfrm>
            <a:prstGeom prst="straightConnector1">
              <a:avLst/>
            </a:prstGeom>
            <a:noFill/>
            <a:ln w="25400" cap="flat" cmpd="sng">
              <a:solidFill>
                <a:srgbClr val="A6A6A6"/>
              </a:solidFill>
              <a:prstDash val="solid"/>
              <a:miter lim="800000"/>
              <a:headEnd type="none" w="sm" len="sm"/>
              <a:tailEnd type="none" w="sm" len="sm"/>
            </a:ln>
          </p:spPr>
        </p:cxnSp>
        <p:sp>
          <p:nvSpPr>
            <p:cNvPr id="16" name="Google Shape;3052;p19">
              <a:extLst>
                <a:ext uri="{FF2B5EF4-FFF2-40B4-BE49-F238E27FC236}">
                  <a16:creationId xmlns:a16="http://schemas.microsoft.com/office/drawing/2014/main" id="{91C88B94-2203-6C68-C426-11784F7D7394}"/>
                </a:ext>
              </a:extLst>
            </p:cNvPr>
            <p:cNvSpPr/>
            <p:nvPr/>
          </p:nvSpPr>
          <p:spPr>
            <a:xfrm>
              <a:off x="9647462" y="2059541"/>
              <a:ext cx="1888235" cy="488700"/>
            </a:xfrm>
            <a:prstGeom prst="rect">
              <a:avLst/>
            </a:prstGeom>
            <a:noFill/>
            <a:ln>
              <a:noFill/>
            </a:ln>
          </p:spPr>
          <p:txBody>
            <a:bodyPr spcFirstLastPara="1" wrap="square" lIns="108000" tIns="0" rIns="0" bIns="108000" anchor="b" anchorCtr="0">
              <a:noAutofit/>
            </a:bodyPr>
            <a:lstStyle/>
            <a:p>
              <a:pPr defTabSz="914446">
                <a:lnSpc>
                  <a:spcPct val="70000"/>
                </a:lnSpc>
                <a:spcAft>
                  <a:spcPts val="70"/>
                </a:spcAft>
                <a:buClr>
                  <a:srgbClr val="000000"/>
                </a:buClr>
              </a:pPr>
              <a:r>
                <a:rPr lang="en-GB" sz="1600" b="1" kern="0" noProof="0">
                  <a:solidFill>
                    <a:srgbClr val="000000"/>
                  </a:solidFill>
                  <a:latin typeface="Quattrocento Sans"/>
                  <a:ea typeface="Quattrocento Sans"/>
                  <a:cs typeface="Quattrocento Sans"/>
                  <a:sym typeface="Quattrocento Sans"/>
                </a:rPr>
                <a:t>Destiny</a:t>
              </a:r>
            </a:p>
          </p:txBody>
        </p:sp>
        <p:sp>
          <p:nvSpPr>
            <p:cNvPr id="17" name="Google Shape;3059;p19">
              <a:extLst>
                <a:ext uri="{FF2B5EF4-FFF2-40B4-BE49-F238E27FC236}">
                  <a16:creationId xmlns:a16="http://schemas.microsoft.com/office/drawing/2014/main" id="{47A32712-5E44-8181-5E49-F5984517FBAE}"/>
                </a:ext>
              </a:extLst>
            </p:cNvPr>
            <p:cNvSpPr txBox="1"/>
            <p:nvPr/>
          </p:nvSpPr>
          <p:spPr>
            <a:xfrm>
              <a:off x="9647462" y="2579464"/>
              <a:ext cx="2024459" cy="463933"/>
            </a:xfrm>
            <a:prstGeom prst="rect">
              <a:avLst/>
            </a:prstGeom>
            <a:noFill/>
            <a:ln>
              <a:noFill/>
            </a:ln>
          </p:spPr>
          <p:txBody>
            <a:bodyPr spcFirstLastPara="1" wrap="square" lIns="0" tIns="45700" rIns="0" bIns="45700" anchor="t" anchorCtr="0">
              <a:spAutoFit/>
            </a:bodyPr>
            <a:lstStyle/>
            <a:p>
              <a:pPr defTabSz="914446">
                <a:lnSpc>
                  <a:spcPct val="115000"/>
                </a:lnSpc>
                <a:buClr>
                  <a:srgbClr val="000000"/>
                </a:buClr>
                <a:buSzPts val="1100"/>
              </a:pPr>
              <a:r>
                <a:rPr lang="en-GB" sz="1050" kern="0" noProof="0">
                  <a:solidFill>
                    <a:srgbClr val="000000"/>
                  </a:solidFill>
                  <a:latin typeface="Quattrocento Sans"/>
                  <a:sym typeface="Quattrocento Sans"/>
                </a:rPr>
                <a:t>Where it is consumed or presented</a:t>
              </a:r>
            </a:p>
          </p:txBody>
        </p:sp>
      </p:grpSp>
      <p:cxnSp>
        <p:nvCxnSpPr>
          <p:cNvPr id="18" name="Google Shape;3047;p19">
            <a:extLst>
              <a:ext uri="{FF2B5EF4-FFF2-40B4-BE49-F238E27FC236}">
                <a16:creationId xmlns:a16="http://schemas.microsoft.com/office/drawing/2014/main" id="{AF0B5FAC-31B9-7035-178C-6D8D45F6AD35}"/>
              </a:ext>
            </a:extLst>
          </p:cNvPr>
          <p:cNvCxnSpPr/>
          <p:nvPr/>
        </p:nvCxnSpPr>
        <p:spPr>
          <a:xfrm>
            <a:off x="481039" y="4312499"/>
            <a:ext cx="1349700" cy="0"/>
          </a:xfrm>
          <a:prstGeom prst="straightConnector1">
            <a:avLst/>
          </a:prstGeom>
          <a:noFill/>
          <a:ln w="25400" cap="flat" cmpd="sng">
            <a:solidFill>
              <a:srgbClr val="A6A6A6"/>
            </a:solidFill>
            <a:prstDash val="solid"/>
            <a:miter lim="800000"/>
            <a:headEnd type="none" w="sm" len="sm"/>
            <a:tailEnd type="none" w="sm" len="sm"/>
          </a:ln>
        </p:spPr>
      </p:cxnSp>
      <p:sp>
        <p:nvSpPr>
          <p:cNvPr id="19" name="Google Shape;3052;p19">
            <a:extLst>
              <a:ext uri="{FF2B5EF4-FFF2-40B4-BE49-F238E27FC236}">
                <a16:creationId xmlns:a16="http://schemas.microsoft.com/office/drawing/2014/main" id="{FA6258D9-B6A8-E5CF-B873-5470B2AF5BD5}"/>
              </a:ext>
            </a:extLst>
          </p:cNvPr>
          <p:cNvSpPr/>
          <p:nvPr/>
        </p:nvSpPr>
        <p:spPr>
          <a:xfrm>
            <a:off x="481039" y="3893544"/>
            <a:ext cx="1372800" cy="488700"/>
          </a:xfrm>
          <a:prstGeom prst="rect">
            <a:avLst/>
          </a:prstGeom>
          <a:noFill/>
          <a:ln>
            <a:noFill/>
          </a:ln>
        </p:spPr>
        <p:txBody>
          <a:bodyPr spcFirstLastPara="1" wrap="square" lIns="108000" tIns="0" rIns="0" bIns="108000" anchor="b" anchorCtr="0">
            <a:noAutofit/>
          </a:bodyPr>
          <a:lstStyle/>
          <a:p>
            <a:pPr defTabSz="914446">
              <a:lnSpc>
                <a:spcPct val="70000"/>
              </a:lnSpc>
              <a:spcAft>
                <a:spcPts val="70"/>
              </a:spcAft>
              <a:buClr>
                <a:srgbClr val="000000"/>
              </a:buClr>
            </a:pPr>
            <a:r>
              <a:rPr lang="en-GB" sz="1600" b="1" kern="0" noProof="0">
                <a:solidFill>
                  <a:srgbClr val="000000"/>
                </a:solidFill>
                <a:latin typeface="Quattrocento Sans"/>
                <a:ea typeface="Quattrocento Sans"/>
                <a:cs typeface="Quattrocento Sans"/>
                <a:sym typeface="Quattrocento Sans"/>
              </a:rPr>
              <a:t>Benefits</a:t>
            </a:r>
          </a:p>
        </p:txBody>
      </p:sp>
      <p:sp>
        <p:nvSpPr>
          <p:cNvPr id="20" name="Google Shape;3059;p19">
            <a:extLst>
              <a:ext uri="{FF2B5EF4-FFF2-40B4-BE49-F238E27FC236}">
                <a16:creationId xmlns:a16="http://schemas.microsoft.com/office/drawing/2014/main" id="{076E9D07-44C3-2DAC-C906-0462B8741389}"/>
              </a:ext>
            </a:extLst>
          </p:cNvPr>
          <p:cNvSpPr txBox="1"/>
          <p:nvPr/>
        </p:nvSpPr>
        <p:spPr>
          <a:xfrm>
            <a:off x="481038" y="4451057"/>
            <a:ext cx="2987876" cy="1764673"/>
          </a:xfrm>
          <a:prstGeom prst="rect">
            <a:avLst/>
          </a:prstGeom>
          <a:noFill/>
          <a:ln>
            <a:noFill/>
          </a:ln>
        </p:spPr>
        <p:txBody>
          <a:bodyPr spcFirstLastPara="1" wrap="square" lIns="0" tIns="45700" rIns="0" bIns="45700" anchor="t" anchorCtr="0">
            <a:spAutoFit/>
          </a:bodyPr>
          <a:lstStyle/>
          <a:p>
            <a:pPr marL="171459" indent="-171459" defTabSz="914446">
              <a:lnSpc>
                <a:spcPct val="115000"/>
              </a:lnSpc>
              <a:buSzPts val="1100"/>
              <a:buFont typeface="Arial" panose="020B0604020202020204" pitchFamily="34" charset="0"/>
              <a:buChar char="•"/>
            </a:pPr>
            <a:r>
              <a:rPr lang="en-GB" sz="1050" kern="0" noProof="0">
                <a:solidFill>
                  <a:srgbClr val="000000"/>
                </a:solidFill>
                <a:latin typeface="Quattrocento Sans"/>
                <a:ea typeface="Quattrocento Sans"/>
                <a:cs typeface="Quattrocento Sans"/>
                <a:sym typeface="Quattrocento Sans"/>
              </a:rPr>
              <a:t>Transparency, traceability and trust in data.
Multidimensional view: technical (systems and columns) + logic (rules) + business (consumption)
Give visibility and context to each piece of data, enabling informed decisions and proactive change management
Impact analysis, audits, error resolution, and end-user confidence.</a:t>
            </a:r>
          </a:p>
        </p:txBody>
      </p:sp>
      <p:pic>
        <p:nvPicPr>
          <p:cNvPr id="21" name="Gráfico 20" descr="Señal de pulgar hacia arriba  con relleno sólido">
            <a:extLst>
              <a:ext uri="{FF2B5EF4-FFF2-40B4-BE49-F238E27FC236}">
                <a16:creationId xmlns:a16="http://schemas.microsoft.com/office/drawing/2014/main" id="{2D278E86-08A6-B5BC-19C4-E05FCDF4F0F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46365" y="3908062"/>
            <a:ext cx="356679" cy="356679"/>
          </a:xfrm>
          <a:prstGeom prst="rect">
            <a:avLst/>
          </a:prstGeom>
        </p:spPr>
      </p:pic>
      <p:pic>
        <p:nvPicPr>
          <p:cNvPr id="25" name="Imagen 24">
            <a:extLst>
              <a:ext uri="{FF2B5EF4-FFF2-40B4-BE49-F238E27FC236}">
                <a16:creationId xmlns:a16="http://schemas.microsoft.com/office/drawing/2014/main" id="{08AE1B14-8B7D-21D5-F254-0DE29B515C8F}"/>
              </a:ext>
            </a:extLst>
          </p:cNvPr>
          <p:cNvPicPr>
            <a:picLocks noChangeAspect="1"/>
          </p:cNvPicPr>
          <p:nvPr/>
        </p:nvPicPr>
        <p:blipFill>
          <a:blip r:embed="rId6"/>
          <a:stretch>
            <a:fillRect/>
          </a:stretch>
        </p:blipFill>
        <p:spPr>
          <a:xfrm>
            <a:off x="4429352" y="3536917"/>
            <a:ext cx="5806029" cy="2728897"/>
          </a:xfrm>
          <a:prstGeom prst="rect">
            <a:avLst/>
          </a:prstGeom>
        </p:spPr>
      </p:pic>
      <p:cxnSp>
        <p:nvCxnSpPr>
          <p:cNvPr id="27" name="Conector recto de flecha 26">
            <a:extLst>
              <a:ext uri="{FF2B5EF4-FFF2-40B4-BE49-F238E27FC236}">
                <a16:creationId xmlns:a16="http://schemas.microsoft.com/office/drawing/2014/main" id="{46AF8313-BFC6-4AC7-E219-1C47622B4B75}"/>
              </a:ext>
            </a:extLst>
          </p:cNvPr>
          <p:cNvCxnSpPr/>
          <p:nvPr/>
        </p:nvCxnSpPr>
        <p:spPr>
          <a:xfrm>
            <a:off x="3877217" y="2525188"/>
            <a:ext cx="540807" cy="0"/>
          </a:xfrm>
          <a:prstGeom prst="straightConnector1">
            <a:avLst/>
          </a:prstGeom>
          <a:noFill/>
          <a:ln w="76200" cap="flat">
            <a:solidFill>
              <a:srgbClr val="109B93"/>
            </a:solidFill>
            <a:prstDash val="solid"/>
            <a:miter lim="800000"/>
            <a:tailEnd type="triangle"/>
          </a:ln>
          <a:effectLst/>
          <a:sp3d/>
        </p:spPr>
        <p:style>
          <a:lnRef idx="0">
            <a:scrgbClr r="0" g="0" b="0"/>
          </a:lnRef>
          <a:fillRef idx="0">
            <a:scrgbClr r="0" g="0" b="0"/>
          </a:fillRef>
          <a:effectRef idx="0">
            <a:scrgbClr r="0" g="0" b="0"/>
          </a:effectRef>
          <a:fontRef idx="none"/>
        </p:style>
      </p:cxnSp>
      <p:cxnSp>
        <p:nvCxnSpPr>
          <p:cNvPr id="28" name="Conector recto de flecha 27">
            <a:extLst>
              <a:ext uri="{FF2B5EF4-FFF2-40B4-BE49-F238E27FC236}">
                <a16:creationId xmlns:a16="http://schemas.microsoft.com/office/drawing/2014/main" id="{713555FC-DD32-8546-8F4C-8A4B29C35E5F}"/>
              </a:ext>
            </a:extLst>
          </p:cNvPr>
          <p:cNvCxnSpPr/>
          <p:nvPr/>
        </p:nvCxnSpPr>
        <p:spPr>
          <a:xfrm>
            <a:off x="6585782" y="2525188"/>
            <a:ext cx="540807" cy="0"/>
          </a:xfrm>
          <a:prstGeom prst="straightConnector1">
            <a:avLst/>
          </a:prstGeom>
          <a:noFill/>
          <a:ln w="76200" cap="flat">
            <a:solidFill>
              <a:srgbClr val="109B93"/>
            </a:solidFill>
            <a:prstDash val="solid"/>
            <a:miter lim="800000"/>
            <a:tailEnd type="triangle"/>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412373879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06C6AEA8-C1BB-3ED2-F924-FDD4928DDC3C}"/>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D6322C45-40F3-E678-D4DE-9D6520D3728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4524" b="-1252"/>
          <a:stretch/>
        </p:blipFill>
        <p:spPr bwMode="auto">
          <a:xfrm>
            <a:off x="135399" y="1306857"/>
            <a:ext cx="11921202" cy="5480768"/>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57">
            <a:extLst>
              <a:ext uri="{FF2B5EF4-FFF2-40B4-BE49-F238E27FC236}">
                <a16:creationId xmlns:a16="http://schemas.microsoft.com/office/drawing/2014/main" id="{07CF9890-99A2-AFFE-CF05-DCE2889F1513}"/>
              </a:ext>
            </a:extLst>
          </p:cNvPr>
          <p:cNvSpPr>
            <a:spLocks noChangeArrowheads="1"/>
          </p:cNvSpPr>
          <p:nvPr/>
        </p:nvSpPr>
        <p:spPr bwMode="gray">
          <a:xfrm>
            <a:off x="226219" y="198916"/>
            <a:ext cx="9409394" cy="830942"/>
          </a:xfrm>
          <a:prstGeom prst="rect">
            <a:avLst/>
          </a:prstGeom>
          <a:noFill/>
          <a:ln w="9525">
            <a:noFill/>
            <a:miter lim="800000"/>
            <a:headEnd/>
            <a:tailEnd/>
          </a:ln>
          <a:effectLst/>
        </p:spPr>
        <p:txBody>
          <a:bodyPr wrap="square" lIns="91386" tIns="45693" rIns="91386" bIns="45693">
            <a:spAutoFit/>
          </a:bodyPr>
          <a:lstStyle/>
          <a:p>
            <a:pPr hangingPunct="1"/>
            <a:r>
              <a:rPr lang="en-GB" sz="3000" noProof="0">
                <a:solidFill>
                  <a:srgbClr val="00456E"/>
                </a:solidFill>
                <a:latin typeface="DM Sans Bold" pitchFamily="2" charset="0"/>
              </a:rPr>
              <a:t>	 </a:t>
            </a:r>
            <a:r>
              <a:rPr lang="en-GB" sz="4800" b="1" noProof="0">
                <a:solidFill>
                  <a:schemeClr val="tx1">
                    <a:lumMod val="95000"/>
                    <a:lumOff val="5000"/>
                  </a:schemeClr>
                </a:solidFill>
                <a:latin typeface="Quattrocento Sans" panose="020B0502050000020003" pitchFamily="34" charset="0"/>
                <a:ea typeface="Lato"/>
                <a:cs typeface="Lato"/>
              </a:rPr>
              <a:t>Datasphere </a:t>
            </a:r>
            <a:r>
              <a:rPr lang="en-GB" sz="4800" b="1" noProof="0" err="1">
                <a:solidFill>
                  <a:schemeClr val="tx1">
                    <a:lumMod val="95000"/>
                    <a:lumOff val="5000"/>
                  </a:schemeClr>
                </a:solidFill>
                <a:latin typeface="Quattrocento Sans" panose="020B0502050000020003" pitchFamily="34" charset="0"/>
                <a:ea typeface="Lato"/>
                <a:cs typeface="Lato"/>
              </a:rPr>
              <a:t>Catalog</a:t>
            </a:r>
            <a:endParaRPr lang="en-GB" sz="4800" b="1" noProof="0">
              <a:solidFill>
                <a:schemeClr val="tx1">
                  <a:lumMod val="95000"/>
                  <a:lumOff val="5000"/>
                </a:schemeClr>
              </a:solidFill>
              <a:latin typeface="Quattrocento Sans" panose="020B0502050000020003" pitchFamily="34" charset="0"/>
              <a:ea typeface="Lato"/>
              <a:cs typeface="Lato"/>
            </a:endParaRPr>
          </a:p>
        </p:txBody>
      </p:sp>
      <p:pic>
        <p:nvPicPr>
          <p:cNvPr id="10" name="Picture 6" descr="SAP Datasphere. Evolución desde SAP BW y SAP BW/4HANA. - ABAST">
            <a:extLst>
              <a:ext uri="{FF2B5EF4-FFF2-40B4-BE49-F238E27FC236}">
                <a16:creationId xmlns:a16="http://schemas.microsoft.com/office/drawing/2014/main" id="{3EBD21D6-BC0F-D011-B09C-93A7CEBD88B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9443" b="18729"/>
          <a:stretch/>
        </p:blipFill>
        <p:spPr bwMode="auto">
          <a:xfrm>
            <a:off x="341700" y="404530"/>
            <a:ext cx="1002325" cy="4197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7465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C7B6A26-7B92-8EC3-A280-E9B23819E8F6}"/>
            </a:ext>
          </a:extLst>
        </p:cNvPr>
        <p:cNvGrpSpPr/>
        <p:nvPr/>
      </p:nvGrpSpPr>
      <p:grpSpPr>
        <a:xfrm>
          <a:off x="0" y="0"/>
          <a:ext cx="0" cy="0"/>
          <a:chOff x="0" y="0"/>
          <a:chExt cx="0" cy="0"/>
        </a:xfrm>
      </p:grpSpPr>
      <p:pic>
        <p:nvPicPr>
          <p:cNvPr id="12" name="Picture 4">
            <a:extLst>
              <a:ext uri="{FF2B5EF4-FFF2-40B4-BE49-F238E27FC236}">
                <a16:creationId xmlns:a16="http://schemas.microsoft.com/office/drawing/2014/main" id="{49CFDBDD-7759-EF5A-6709-1440BA61CCD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480" t="6073" r="3181"/>
          <a:stretch/>
        </p:blipFill>
        <p:spPr bwMode="auto">
          <a:xfrm>
            <a:off x="1956906" y="1029858"/>
            <a:ext cx="8008188" cy="439869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Tabla 4">
            <a:extLst>
              <a:ext uri="{FF2B5EF4-FFF2-40B4-BE49-F238E27FC236}">
                <a16:creationId xmlns:a16="http://schemas.microsoft.com/office/drawing/2014/main" id="{1129C7D4-D749-BBCD-15D8-1C209F958587}"/>
              </a:ext>
            </a:extLst>
          </p:cNvPr>
          <p:cNvGraphicFramePr>
            <a:graphicFrameLocks noGrp="1"/>
          </p:cNvGraphicFramePr>
          <p:nvPr>
            <p:extLst>
              <p:ext uri="{D42A27DB-BD31-4B8C-83A1-F6EECF244321}">
                <p14:modId xmlns:p14="http://schemas.microsoft.com/office/powerpoint/2010/main" val="3742260407"/>
              </p:ext>
            </p:extLst>
          </p:nvPr>
        </p:nvGraphicFramePr>
        <p:xfrm>
          <a:off x="1352940" y="5061442"/>
          <a:ext cx="9020351" cy="1280160"/>
        </p:xfrm>
        <a:graphic>
          <a:graphicData uri="http://schemas.openxmlformats.org/drawingml/2006/table">
            <a:tbl>
              <a:tblPr/>
              <a:tblGrid>
                <a:gridCol w="2041541">
                  <a:extLst>
                    <a:ext uri="{9D8B030D-6E8A-4147-A177-3AD203B41FA5}">
                      <a16:colId xmlns:a16="http://schemas.microsoft.com/office/drawing/2014/main" val="3187727008"/>
                    </a:ext>
                  </a:extLst>
                </a:gridCol>
                <a:gridCol w="6978810">
                  <a:extLst>
                    <a:ext uri="{9D8B030D-6E8A-4147-A177-3AD203B41FA5}">
                      <a16:colId xmlns:a16="http://schemas.microsoft.com/office/drawing/2014/main" val="1170354276"/>
                    </a:ext>
                  </a:extLst>
                </a:gridCol>
              </a:tblGrid>
              <a:tr h="153342">
                <a:tc>
                  <a:txBody>
                    <a:bodyPr/>
                    <a:lstStyle/>
                    <a:p>
                      <a:pPr algn="ctr" fontAlgn="t"/>
                      <a:r>
                        <a:rPr lang="en-GB" sz="1000" noProof="0">
                          <a:solidFill>
                            <a:schemeClr val="bg1"/>
                          </a:solidFill>
                          <a:effectLst/>
                        </a:rPr>
                        <a:t>Function</a:t>
                      </a:r>
                    </a:p>
                  </a:txBody>
                  <a:tcPr marL="60960" marR="60960" marT="30480" marB="3048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B w="12700" cap="flat" cmpd="sng" algn="ctr">
                      <a:solidFill>
                        <a:srgbClr val="CCCCCC"/>
                      </a:solidFill>
                      <a:prstDash val="solid"/>
                      <a:round/>
                      <a:headEnd type="none" w="med" len="med"/>
                      <a:tailEnd type="none" w="med" len="med"/>
                    </a:lnB>
                    <a:solidFill>
                      <a:schemeClr val="tx1">
                        <a:lumMod val="75000"/>
                        <a:lumOff val="25000"/>
                      </a:schemeClr>
                    </a:solidFill>
                  </a:tcPr>
                </a:tc>
                <a:tc>
                  <a:txBody>
                    <a:bodyPr/>
                    <a:lstStyle/>
                    <a:p>
                      <a:pPr algn="ctr" fontAlgn="t"/>
                      <a:r>
                        <a:rPr lang="en-GB" sz="1000" noProof="0">
                          <a:solidFill>
                            <a:schemeClr val="bg1"/>
                          </a:solidFill>
                          <a:effectLst/>
                        </a:rPr>
                        <a:t>Description</a:t>
                      </a:r>
                    </a:p>
                  </a:txBody>
                  <a:tcPr marL="60960" marR="60960" marT="30480" marB="3048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chemeClr val="tx1">
                        <a:lumMod val="75000"/>
                        <a:lumOff val="25000"/>
                      </a:schemeClr>
                    </a:solidFill>
                  </a:tcPr>
                </a:tc>
                <a:extLst>
                  <a:ext uri="{0D108BD9-81ED-4DB2-BD59-A6C34878D82A}">
                    <a16:rowId xmlns:a16="http://schemas.microsoft.com/office/drawing/2014/main" val="3522691128"/>
                  </a:ext>
                </a:extLst>
              </a:tr>
              <a:tr h="142240">
                <a:tc>
                  <a:txBody>
                    <a:bodyPr/>
                    <a:lstStyle/>
                    <a:p>
                      <a:pPr algn="l" fontAlgn="t"/>
                      <a:r>
                        <a:rPr lang="en-GB" sz="1000" b="1" noProof="0">
                          <a:solidFill>
                            <a:schemeClr val="bg1"/>
                          </a:solidFill>
                          <a:effectLst/>
                        </a:rPr>
                        <a:t>(1) Search</a:t>
                      </a:r>
                    </a:p>
                  </a:txBody>
                  <a:tcPr marL="60960" marR="60960" marT="30480" marB="3048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EB2DC2"/>
                    </a:solidFill>
                  </a:tcPr>
                </a:tc>
                <a:tc>
                  <a:txBody>
                    <a:bodyPr/>
                    <a:lstStyle/>
                    <a:p>
                      <a:pPr algn="l" fontAlgn="t"/>
                      <a:r>
                        <a:rPr lang="en-GB" sz="1000" noProof="0">
                          <a:solidFill>
                            <a:srgbClr val="00456E"/>
                          </a:solidFill>
                          <a:effectLst/>
                        </a:rPr>
                        <a:t>Allows you to do a free-text search in tag hierarchies.</a:t>
                      </a:r>
                    </a:p>
                  </a:txBody>
                  <a:tcPr marL="60960" marR="60960" marT="30480" marB="3048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extLst>
                  <a:ext uri="{0D108BD9-81ED-4DB2-BD59-A6C34878D82A}">
                    <a16:rowId xmlns:a16="http://schemas.microsoft.com/office/drawing/2014/main" val="1525424504"/>
                  </a:ext>
                </a:extLst>
              </a:tr>
              <a:tr h="142240">
                <a:tc>
                  <a:txBody>
                    <a:bodyPr/>
                    <a:lstStyle/>
                    <a:p>
                      <a:pPr algn="l" fontAlgn="t"/>
                      <a:r>
                        <a:rPr lang="en-GB" sz="1000" b="1" noProof="0">
                          <a:solidFill>
                            <a:schemeClr val="bg1"/>
                          </a:solidFill>
                          <a:effectLst/>
                        </a:rPr>
                        <a:t>(2) Results</a:t>
                      </a:r>
                    </a:p>
                  </a:txBody>
                  <a:tcPr marL="60960" marR="60960" marT="30480" marB="3048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EB2DC2"/>
                    </a:solidFill>
                  </a:tcPr>
                </a:tc>
                <a:tc>
                  <a:txBody>
                    <a:bodyPr/>
                    <a:lstStyle/>
                    <a:p>
                      <a:pPr algn="l" fontAlgn="t"/>
                      <a:r>
                        <a:rPr lang="en-GB" sz="1000" noProof="0">
                          <a:solidFill>
                            <a:srgbClr val="00456E"/>
                          </a:solidFill>
                          <a:effectLst/>
                        </a:rPr>
                        <a:t>The main area of the page that shows you the hierarchy, description, and hierarchy details.</a:t>
                      </a:r>
                    </a:p>
                  </a:txBody>
                  <a:tcPr marL="60960" marR="60960" marT="30480" marB="3048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extLst>
                  <a:ext uri="{0D108BD9-81ED-4DB2-BD59-A6C34878D82A}">
                    <a16:rowId xmlns:a16="http://schemas.microsoft.com/office/drawing/2014/main" val="2483689085"/>
                  </a:ext>
                </a:extLst>
              </a:tr>
              <a:tr h="142240">
                <a:tc>
                  <a:txBody>
                    <a:bodyPr/>
                    <a:lstStyle/>
                    <a:p>
                      <a:pPr algn="l" fontAlgn="t"/>
                      <a:r>
                        <a:rPr lang="en-GB" sz="1000" b="1" noProof="0">
                          <a:solidFill>
                            <a:schemeClr val="bg1"/>
                          </a:solidFill>
                          <a:effectLst/>
                        </a:rPr>
                        <a:t>(3) Edit</a:t>
                      </a:r>
                    </a:p>
                  </a:txBody>
                  <a:tcPr marL="60960" marR="60960" marT="30480" marB="3048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EB2DC2"/>
                    </a:solidFill>
                  </a:tcPr>
                </a:tc>
                <a:tc>
                  <a:txBody>
                    <a:bodyPr/>
                    <a:lstStyle/>
                    <a:p>
                      <a:pPr algn="l" fontAlgn="t"/>
                      <a:r>
                        <a:rPr lang="en-GB" sz="1000" noProof="0">
                          <a:solidFill>
                            <a:srgbClr val="00456E"/>
                          </a:solidFill>
                          <a:effectLst/>
                        </a:rPr>
                        <a:t>Allows users who have the </a:t>
                      </a:r>
                      <a:r>
                        <a:rPr lang="en-GB" sz="1000" noProof="0" err="1">
                          <a:solidFill>
                            <a:srgbClr val="00456E"/>
                          </a:solidFill>
                          <a:effectLst/>
                        </a:rPr>
                        <a:t>Catalog</a:t>
                      </a:r>
                      <a:r>
                        <a:rPr lang="en-GB" sz="1000" noProof="0">
                          <a:solidFill>
                            <a:srgbClr val="00456E"/>
                          </a:solidFill>
                          <a:effectLst/>
                        </a:rPr>
                        <a:t> Admin role to edit the hierarchy or tag.</a:t>
                      </a:r>
                    </a:p>
                  </a:txBody>
                  <a:tcPr marL="60960" marR="60960" marT="30480" marB="3048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extLst>
                  <a:ext uri="{0D108BD9-81ED-4DB2-BD59-A6C34878D82A}">
                    <a16:rowId xmlns:a16="http://schemas.microsoft.com/office/drawing/2014/main" val="1290400415"/>
                  </a:ext>
                </a:extLst>
              </a:tr>
              <a:tr h="150638">
                <a:tc>
                  <a:txBody>
                    <a:bodyPr/>
                    <a:lstStyle/>
                    <a:p>
                      <a:pPr algn="l" fontAlgn="t"/>
                      <a:r>
                        <a:rPr lang="en-GB" sz="1000" b="1" noProof="0">
                          <a:solidFill>
                            <a:schemeClr val="bg1"/>
                          </a:solidFill>
                          <a:effectLst/>
                        </a:rPr>
                        <a:t>(4) Create Label</a:t>
                      </a:r>
                    </a:p>
                  </a:txBody>
                  <a:tcPr marL="60960" marR="60960" marT="30480" marB="3048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EB2DC2"/>
                    </a:solidFill>
                  </a:tcPr>
                </a:tc>
                <a:tc>
                  <a:txBody>
                    <a:bodyPr/>
                    <a:lstStyle/>
                    <a:p>
                      <a:pPr algn="l" fontAlgn="t"/>
                      <a:r>
                        <a:rPr lang="en-GB" sz="1000" noProof="0">
                          <a:solidFill>
                            <a:srgbClr val="00456E"/>
                          </a:solidFill>
                          <a:effectLst/>
                        </a:rPr>
                        <a:t>Allows you to create a tag or bottom tag below an existing top tag.</a:t>
                      </a:r>
                    </a:p>
                  </a:txBody>
                  <a:tcPr marL="60960" marR="60960" marT="30480" marB="3048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extLst>
                  <a:ext uri="{0D108BD9-81ED-4DB2-BD59-A6C34878D82A}">
                    <a16:rowId xmlns:a16="http://schemas.microsoft.com/office/drawing/2014/main" val="1834849845"/>
                  </a:ext>
                </a:extLst>
              </a:tr>
              <a:tr h="0">
                <a:tc>
                  <a:txBody>
                    <a:bodyPr/>
                    <a:lstStyle/>
                    <a:p>
                      <a:pPr algn="l" fontAlgn="t"/>
                      <a:r>
                        <a:rPr lang="en-GB" sz="1000" b="1" noProof="0">
                          <a:solidFill>
                            <a:schemeClr val="bg1"/>
                          </a:solidFill>
                          <a:effectLst/>
                        </a:rPr>
                        <a:t>(5) Edit Label</a:t>
                      </a:r>
                    </a:p>
                  </a:txBody>
                  <a:tcPr marL="60960" marR="60960" marT="30480" marB="3048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EB2DC2"/>
                    </a:solidFill>
                  </a:tcPr>
                </a:tc>
                <a:tc>
                  <a:txBody>
                    <a:bodyPr/>
                    <a:lstStyle/>
                    <a:p>
                      <a:pPr algn="l" fontAlgn="t"/>
                      <a:r>
                        <a:rPr lang="en-GB" sz="1000" noProof="0">
                          <a:solidFill>
                            <a:srgbClr val="00456E"/>
                          </a:solidFill>
                          <a:effectLst/>
                        </a:rPr>
                        <a:t>Allows you to modify the name, description, or </a:t>
                      </a:r>
                      <a:r>
                        <a:rPr lang="en-GB" sz="1000" noProof="0" err="1">
                          <a:solidFill>
                            <a:srgbClr val="00456E"/>
                          </a:solidFill>
                          <a:effectLst/>
                        </a:rPr>
                        <a:t>color</a:t>
                      </a:r>
                      <a:r>
                        <a:rPr lang="en-GB" sz="1000" noProof="0">
                          <a:solidFill>
                            <a:srgbClr val="00456E"/>
                          </a:solidFill>
                          <a:effectLst/>
                        </a:rPr>
                        <a:t> of the label.</a:t>
                      </a:r>
                    </a:p>
                  </a:txBody>
                  <a:tcPr marL="60960" marR="60960" marT="30480" marB="3048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extLst>
                  <a:ext uri="{0D108BD9-81ED-4DB2-BD59-A6C34878D82A}">
                    <a16:rowId xmlns:a16="http://schemas.microsoft.com/office/drawing/2014/main" val="157616222"/>
                  </a:ext>
                </a:extLst>
              </a:tr>
            </a:tbl>
          </a:graphicData>
        </a:graphic>
      </p:graphicFrame>
      <p:sp>
        <p:nvSpPr>
          <p:cNvPr id="3" name="Rectangle 57">
            <a:extLst>
              <a:ext uri="{FF2B5EF4-FFF2-40B4-BE49-F238E27FC236}">
                <a16:creationId xmlns:a16="http://schemas.microsoft.com/office/drawing/2014/main" id="{E19762D0-162F-D8DB-38EE-82FE869E5ABA}"/>
              </a:ext>
            </a:extLst>
          </p:cNvPr>
          <p:cNvSpPr>
            <a:spLocks noChangeArrowheads="1"/>
          </p:cNvSpPr>
          <p:nvPr/>
        </p:nvSpPr>
        <p:spPr bwMode="gray">
          <a:xfrm>
            <a:off x="226219" y="198916"/>
            <a:ext cx="9409394" cy="830942"/>
          </a:xfrm>
          <a:prstGeom prst="rect">
            <a:avLst/>
          </a:prstGeom>
          <a:noFill/>
          <a:ln w="9525">
            <a:noFill/>
            <a:miter lim="800000"/>
            <a:headEnd/>
            <a:tailEnd/>
          </a:ln>
          <a:effectLst/>
        </p:spPr>
        <p:txBody>
          <a:bodyPr wrap="square" lIns="91386" tIns="45693" rIns="91386" bIns="45693">
            <a:spAutoFit/>
          </a:bodyPr>
          <a:lstStyle/>
          <a:p>
            <a:pPr hangingPunct="1"/>
            <a:r>
              <a:rPr lang="en-GB" sz="3000" noProof="0">
                <a:solidFill>
                  <a:srgbClr val="00456E"/>
                </a:solidFill>
                <a:latin typeface="DM Sans Bold" pitchFamily="2" charset="0"/>
              </a:rPr>
              <a:t>	 </a:t>
            </a:r>
            <a:r>
              <a:rPr lang="en-GB" sz="4800" b="1" noProof="0">
                <a:solidFill>
                  <a:schemeClr val="tx1">
                    <a:lumMod val="95000"/>
                    <a:lumOff val="5000"/>
                  </a:schemeClr>
                </a:solidFill>
                <a:latin typeface="Quattrocento Sans" panose="020B0502050000020003" pitchFamily="34" charset="0"/>
                <a:ea typeface="Lato"/>
                <a:cs typeface="Lato"/>
              </a:rPr>
              <a:t>Datasphere </a:t>
            </a:r>
            <a:r>
              <a:rPr lang="en-GB" sz="4800" b="1" noProof="0" err="1">
                <a:solidFill>
                  <a:schemeClr val="tx1">
                    <a:lumMod val="95000"/>
                    <a:lumOff val="5000"/>
                  </a:schemeClr>
                </a:solidFill>
                <a:latin typeface="Quattrocento Sans" panose="020B0502050000020003" pitchFamily="34" charset="0"/>
                <a:ea typeface="Lato"/>
                <a:cs typeface="Lato"/>
              </a:rPr>
              <a:t>Catalog</a:t>
            </a:r>
            <a:endParaRPr lang="en-GB" sz="4800" b="1" noProof="0">
              <a:solidFill>
                <a:schemeClr val="tx1">
                  <a:lumMod val="95000"/>
                  <a:lumOff val="5000"/>
                </a:schemeClr>
              </a:solidFill>
              <a:latin typeface="Quattrocento Sans" panose="020B0502050000020003" pitchFamily="34" charset="0"/>
              <a:ea typeface="Lato"/>
              <a:cs typeface="Lato"/>
            </a:endParaRPr>
          </a:p>
        </p:txBody>
      </p:sp>
      <p:pic>
        <p:nvPicPr>
          <p:cNvPr id="4" name="Picture 6" descr="SAP Datasphere. Evolución desde SAP BW y SAP BW/4HANA. - ABAST">
            <a:extLst>
              <a:ext uri="{FF2B5EF4-FFF2-40B4-BE49-F238E27FC236}">
                <a16:creationId xmlns:a16="http://schemas.microsoft.com/office/drawing/2014/main" id="{91E5EA75-8253-A313-FE81-094AA58949C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9443" b="18729"/>
          <a:stretch/>
        </p:blipFill>
        <p:spPr bwMode="auto">
          <a:xfrm>
            <a:off x="341700" y="404530"/>
            <a:ext cx="1002325" cy="4197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940885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Datasphere Catalog">
            <a:hlinkClick r:id="" action="ppaction://media"/>
            <a:extLst>
              <a:ext uri="{FF2B5EF4-FFF2-40B4-BE49-F238E27FC236}">
                <a16:creationId xmlns:a16="http://schemas.microsoft.com/office/drawing/2014/main" id="{56DFB1F7-708B-34CB-DE85-9842C445081D}"/>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610726" y="1087751"/>
            <a:ext cx="10706202" cy="5300795"/>
          </a:xfrm>
          <a:prstGeom prst="rect">
            <a:avLst/>
          </a:prstGeom>
        </p:spPr>
      </p:pic>
      <p:sp>
        <p:nvSpPr>
          <p:cNvPr id="5" name="Rectangle 57">
            <a:extLst>
              <a:ext uri="{FF2B5EF4-FFF2-40B4-BE49-F238E27FC236}">
                <a16:creationId xmlns:a16="http://schemas.microsoft.com/office/drawing/2014/main" id="{27501605-BCFF-237B-6231-3F69BBBB669F}"/>
              </a:ext>
            </a:extLst>
          </p:cNvPr>
          <p:cNvSpPr>
            <a:spLocks noChangeArrowheads="1"/>
          </p:cNvSpPr>
          <p:nvPr/>
        </p:nvSpPr>
        <p:spPr bwMode="gray">
          <a:xfrm>
            <a:off x="226219" y="198916"/>
            <a:ext cx="9409394" cy="830942"/>
          </a:xfrm>
          <a:prstGeom prst="rect">
            <a:avLst/>
          </a:prstGeom>
          <a:noFill/>
          <a:ln w="9525">
            <a:noFill/>
            <a:miter lim="800000"/>
            <a:headEnd/>
            <a:tailEnd/>
          </a:ln>
          <a:effectLst/>
        </p:spPr>
        <p:txBody>
          <a:bodyPr wrap="square" lIns="91386" tIns="45693" rIns="91386" bIns="45693">
            <a:spAutoFit/>
          </a:bodyPr>
          <a:lstStyle/>
          <a:p>
            <a:pPr hangingPunct="1"/>
            <a:r>
              <a:rPr lang="en-GB" sz="3000" noProof="0">
                <a:solidFill>
                  <a:srgbClr val="00456E"/>
                </a:solidFill>
                <a:latin typeface="DM Sans Bold" pitchFamily="2" charset="0"/>
              </a:rPr>
              <a:t>	 </a:t>
            </a:r>
            <a:r>
              <a:rPr lang="en-GB" sz="4800" b="1" noProof="0">
                <a:solidFill>
                  <a:schemeClr val="tx1">
                    <a:lumMod val="95000"/>
                    <a:lumOff val="5000"/>
                  </a:schemeClr>
                </a:solidFill>
                <a:latin typeface="Quattrocento Sans" panose="020B0502050000020003" pitchFamily="34" charset="0"/>
                <a:ea typeface="Lato"/>
                <a:cs typeface="Lato"/>
              </a:rPr>
              <a:t>Datasphere </a:t>
            </a:r>
            <a:r>
              <a:rPr lang="en-GB" sz="4800" b="1" noProof="0" err="1">
                <a:solidFill>
                  <a:schemeClr val="tx1">
                    <a:lumMod val="95000"/>
                    <a:lumOff val="5000"/>
                  </a:schemeClr>
                </a:solidFill>
                <a:latin typeface="Quattrocento Sans" panose="020B0502050000020003" pitchFamily="34" charset="0"/>
                <a:ea typeface="Lato"/>
                <a:cs typeface="Lato"/>
              </a:rPr>
              <a:t>Catalog</a:t>
            </a:r>
            <a:endParaRPr lang="en-GB" sz="4800" b="1" noProof="0">
              <a:solidFill>
                <a:schemeClr val="tx1">
                  <a:lumMod val="95000"/>
                  <a:lumOff val="5000"/>
                </a:schemeClr>
              </a:solidFill>
              <a:latin typeface="Quattrocento Sans" panose="020B0502050000020003" pitchFamily="34" charset="0"/>
              <a:ea typeface="Lato"/>
              <a:cs typeface="Lato"/>
            </a:endParaRPr>
          </a:p>
        </p:txBody>
      </p:sp>
      <p:pic>
        <p:nvPicPr>
          <p:cNvPr id="6" name="Picture 6" descr="SAP Datasphere. Evolución desde SAP BW y SAP BW/4HANA. - ABAST">
            <a:extLst>
              <a:ext uri="{FF2B5EF4-FFF2-40B4-BE49-F238E27FC236}">
                <a16:creationId xmlns:a16="http://schemas.microsoft.com/office/drawing/2014/main" id="{2EE9F49B-15D2-A744-4DAF-EE974E5025A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9443" b="18729"/>
          <a:stretch/>
        </p:blipFill>
        <p:spPr bwMode="auto">
          <a:xfrm>
            <a:off x="341700" y="404530"/>
            <a:ext cx="1002325" cy="4197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84711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6846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4"/>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4"/>
                                        </p:tgtEl>
                                      </p:cBhvr>
                                    </p:cmd>
                                  </p:childTnLst>
                                </p:cTn>
                              </p:par>
                            </p:childTnLst>
                          </p:cTn>
                        </p:par>
                      </p:childTnLst>
                    </p:cTn>
                  </p:par>
                </p:childTnLst>
              </p:cTn>
              <p:nextCondLst>
                <p:cond evt="onClick" delay="0">
                  <p:tgtEl>
                    <p:spTgt spid="4"/>
                  </p:tgtEl>
                </p:cond>
              </p:nextCondLst>
            </p:seq>
            <p:video>
              <p:cMediaNode vol="15854">
                <p:cTn id="12" fill="hold" display="0">
                  <p:stCondLst>
                    <p:cond delay="indefinite"/>
                  </p:stCondLst>
                </p:cTn>
                <p:tgtEl>
                  <p:spTgt spid="4"/>
                </p:tgtEl>
              </p:cMediaNode>
            </p:video>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B9E3CE4-AF98-F007-B062-F384A732117B}"/>
              </a:ext>
            </a:extLst>
          </p:cNvPr>
          <p:cNvGraphicFramePr>
            <a:graphicFrameLocks noChangeAspect="1"/>
          </p:cNvGraphicFramePr>
          <p:nvPr>
            <p:custDataLst>
              <p:tags r:id="rId1"/>
            </p:custDataLst>
          </p:nvPr>
        </p:nvGraphicFramePr>
        <p:xfrm>
          <a:off x="1589" y="1588"/>
          <a:ext cx="1227" cy="1588"/>
        </p:xfrm>
        <a:graphic>
          <a:graphicData uri="http://schemas.openxmlformats.org/presentationml/2006/ole">
            <mc:AlternateContent xmlns:mc="http://schemas.openxmlformats.org/markup-compatibility/2006">
              <mc:Choice xmlns:v="urn:schemas-microsoft-com:vml" Requires="v">
                <p:oleObj name="Diapositiva de think-cell" r:id="rId4" imgW="7772400" imgH="10058400" progId="TCLayout.ActiveDocument.1">
                  <p:embed/>
                </p:oleObj>
              </mc:Choice>
              <mc:Fallback>
                <p:oleObj name="Diapositiva de think-cell" r:id="rId4" imgW="7772400" imgH="10058400" progId="TCLayout.ActiveDocument.1">
                  <p:embed/>
                  <p:pic>
                    <p:nvPicPr>
                      <p:cNvPr id="5" name="think-cell data - do not delete" hidden="1">
                        <a:extLst>
                          <a:ext uri="{FF2B5EF4-FFF2-40B4-BE49-F238E27FC236}">
                            <a16:creationId xmlns:a16="http://schemas.microsoft.com/office/drawing/2014/main" id="{BB9E3CE4-AF98-F007-B062-F384A732117B}"/>
                          </a:ext>
                        </a:extLst>
                      </p:cNvPr>
                      <p:cNvPicPr/>
                      <p:nvPr/>
                    </p:nvPicPr>
                    <p:blipFill>
                      <a:blip r:embed="rId5"/>
                      <a:stretch>
                        <a:fillRect/>
                      </a:stretch>
                    </p:blipFill>
                    <p:spPr>
                      <a:xfrm>
                        <a:off x="1589" y="1588"/>
                        <a:ext cx="1227" cy="1588"/>
                      </a:xfrm>
                      <a:prstGeom prst="rect">
                        <a:avLst/>
                      </a:prstGeom>
                    </p:spPr>
                  </p:pic>
                </p:oleObj>
              </mc:Fallback>
            </mc:AlternateContent>
          </a:graphicData>
        </a:graphic>
      </p:graphicFrame>
      <p:sp>
        <p:nvSpPr>
          <p:cNvPr id="33" name="Rectángulo: esquinas redondeadas 32">
            <a:extLst>
              <a:ext uri="{FF2B5EF4-FFF2-40B4-BE49-F238E27FC236}">
                <a16:creationId xmlns:a16="http://schemas.microsoft.com/office/drawing/2014/main" id="{D3CE602A-5331-092D-B0BF-C4B16D2379F2}"/>
              </a:ext>
            </a:extLst>
          </p:cNvPr>
          <p:cNvSpPr/>
          <p:nvPr/>
        </p:nvSpPr>
        <p:spPr>
          <a:xfrm>
            <a:off x="4641639" y="2374763"/>
            <a:ext cx="2520000" cy="432000"/>
          </a:xfrm>
          <a:prstGeom prst="roundRect">
            <a:avLst>
              <a:gd name="adj" fmla="val 8936"/>
            </a:avLst>
          </a:prstGeom>
          <a:noFill/>
          <a:ln w="28575">
            <a:solidFill>
              <a:schemeClr val="bg1">
                <a:lumMod val="50000"/>
              </a:schemeClr>
            </a:solidFill>
            <a:prstDash val="solid"/>
          </a:ln>
        </p:spPr>
        <p:txBody>
          <a:bodyPr lIns="0" tIns="0" rIns="0" bIns="0" rtlCol="0" anchor="ctr"/>
          <a:lstStyle/>
          <a:p>
            <a:pPr algn="ctr" defTabSz="914446">
              <a:buClr>
                <a:srgbClr val="000000"/>
              </a:buClr>
              <a:defRPr/>
            </a:pPr>
            <a:endParaRPr lang="en-GB" sz="933" kern="0" noProof="0">
              <a:solidFill>
                <a:srgbClr val="000000"/>
              </a:solidFill>
              <a:latin typeface="Quattrocento Sans" panose="020B0502050000020003" pitchFamily="34" charset="0"/>
              <a:ea typeface="+mj-ea"/>
              <a:cs typeface="Arial"/>
              <a:sym typeface="Calibri"/>
            </a:endParaRPr>
          </a:p>
        </p:txBody>
      </p:sp>
      <p:sp>
        <p:nvSpPr>
          <p:cNvPr id="19" name="TextBox 32">
            <a:extLst>
              <a:ext uri="{FF2B5EF4-FFF2-40B4-BE49-F238E27FC236}">
                <a16:creationId xmlns:a16="http://schemas.microsoft.com/office/drawing/2014/main" id="{679EE4FD-4B13-43FD-C409-B6C14C82ABC0}"/>
              </a:ext>
            </a:extLst>
          </p:cNvPr>
          <p:cNvSpPr txBox="1"/>
          <p:nvPr/>
        </p:nvSpPr>
        <p:spPr>
          <a:xfrm>
            <a:off x="4829810" y="2346322"/>
            <a:ext cx="1990712" cy="996033"/>
          </a:xfrm>
          <a:prstGeom prst="rect">
            <a:avLst/>
          </a:prstGeom>
          <a:noFill/>
          <a:ln>
            <a:noFill/>
          </a:ln>
        </p:spPr>
        <p:txBody>
          <a:bodyPr wrap="square" lIns="72000" tIns="36000" rIns="0" bIns="36000" rtlCol="0">
            <a:spAutoFit/>
          </a:bodyPr>
          <a:lstStyle/>
          <a:p>
            <a:pPr algn="ctr" defTabSz="914446">
              <a:buClr>
                <a:srgbClr val="000000"/>
              </a:buClr>
              <a:defRPr/>
            </a:pPr>
            <a:r>
              <a:rPr lang="en-GB" sz="3200" b="1" kern="0" noProof="0">
                <a:solidFill>
                  <a:srgbClr val="000000"/>
                </a:solidFill>
                <a:latin typeface="Quattrocento Sans" panose="020B0502050000020003" pitchFamily="34" charset="0"/>
                <a:ea typeface="+mj-ea"/>
                <a:cs typeface="Arial"/>
                <a:sym typeface="DM Sans Bold"/>
              </a:rPr>
              <a:t>Phase 1.</a:t>
            </a:r>
          </a:p>
          <a:p>
            <a:pPr algn="ctr" defTabSz="914446">
              <a:buClr>
                <a:srgbClr val="000000"/>
              </a:buClr>
              <a:defRPr/>
            </a:pPr>
            <a:r>
              <a:rPr lang="en-GB" sz="1400" b="1" kern="0" noProof="0">
                <a:solidFill>
                  <a:srgbClr val="000000"/>
                </a:solidFill>
                <a:latin typeface="Quattrocento Sans" panose="020B0502050000020003" pitchFamily="34" charset="0"/>
                <a:ea typeface="+mj-ea"/>
                <a:cs typeface="Arial"/>
                <a:sym typeface="DM Sans Bold"/>
              </a:rPr>
              <a:t>Data Health (Monitoring) </a:t>
            </a:r>
          </a:p>
        </p:txBody>
      </p:sp>
      <p:sp>
        <p:nvSpPr>
          <p:cNvPr id="31" name="Rectángulo: esquinas redondeadas 30">
            <a:extLst>
              <a:ext uri="{FF2B5EF4-FFF2-40B4-BE49-F238E27FC236}">
                <a16:creationId xmlns:a16="http://schemas.microsoft.com/office/drawing/2014/main" id="{4D9C8C02-55E6-5160-DE64-46A743B33756}"/>
              </a:ext>
            </a:extLst>
          </p:cNvPr>
          <p:cNvSpPr/>
          <p:nvPr/>
        </p:nvSpPr>
        <p:spPr>
          <a:xfrm>
            <a:off x="4641637" y="4830275"/>
            <a:ext cx="2520000" cy="432000"/>
          </a:xfrm>
          <a:prstGeom prst="roundRect">
            <a:avLst>
              <a:gd name="adj" fmla="val 6981"/>
            </a:avLst>
          </a:prstGeom>
          <a:noFill/>
          <a:ln w="28575">
            <a:solidFill>
              <a:schemeClr val="bg1">
                <a:lumMod val="50000"/>
              </a:schemeClr>
            </a:solidFill>
            <a:prstDash val="solid"/>
          </a:ln>
        </p:spPr>
        <p:txBody>
          <a:bodyPr lIns="0" tIns="0" rIns="0" bIns="0" rtlCol="0" anchor="ctr"/>
          <a:lstStyle/>
          <a:p>
            <a:pPr algn="ctr" defTabSz="914446">
              <a:buClr>
                <a:srgbClr val="000000"/>
              </a:buClr>
              <a:defRPr/>
            </a:pPr>
            <a:endParaRPr lang="en-GB" sz="933" kern="0" noProof="0">
              <a:solidFill>
                <a:srgbClr val="000000"/>
              </a:solidFill>
              <a:latin typeface="Quattrocento Sans" panose="020B0502050000020003" pitchFamily="34" charset="0"/>
              <a:ea typeface="+mj-ea"/>
              <a:cs typeface="Arial"/>
              <a:sym typeface="Calibri"/>
            </a:endParaRPr>
          </a:p>
        </p:txBody>
      </p:sp>
      <p:sp>
        <p:nvSpPr>
          <p:cNvPr id="28" name="TextBox 32">
            <a:extLst>
              <a:ext uri="{FF2B5EF4-FFF2-40B4-BE49-F238E27FC236}">
                <a16:creationId xmlns:a16="http://schemas.microsoft.com/office/drawing/2014/main" id="{A73CC095-5DEE-32F9-C40E-8856D62FAAF3}"/>
              </a:ext>
            </a:extLst>
          </p:cNvPr>
          <p:cNvSpPr txBox="1"/>
          <p:nvPr/>
        </p:nvSpPr>
        <p:spPr>
          <a:xfrm>
            <a:off x="5082156" y="4778953"/>
            <a:ext cx="1586132" cy="780589"/>
          </a:xfrm>
          <a:prstGeom prst="rect">
            <a:avLst/>
          </a:prstGeom>
          <a:noFill/>
          <a:ln>
            <a:noFill/>
          </a:ln>
        </p:spPr>
        <p:txBody>
          <a:bodyPr wrap="square" lIns="72000" tIns="36000" rIns="0" bIns="36000" rtlCol="0">
            <a:spAutoFit/>
          </a:bodyPr>
          <a:lstStyle/>
          <a:p>
            <a:pPr algn="ctr" defTabSz="914446">
              <a:buClr>
                <a:srgbClr val="000000"/>
              </a:buClr>
              <a:defRPr/>
            </a:pPr>
            <a:r>
              <a:rPr lang="en-GB" sz="3200" b="1" kern="0" noProof="0">
                <a:solidFill>
                  <a:srgbClr val="000000"/>
                </a:solidFill>
                <a:latin typeface="Quattrocento Sans" panose="020B0502050000020003" pitchFamily="34" charset="0"/>
                <a:ea typeface="+mj-ea"/>
                <a:cs typeface="Arial"/>
                <a:sym typeface="DM Sans Bold"/>
              </a:rPr>
              <a:t>Phase 3.</a:t>
            </a:r>
          </a:p>
          <a:p>
            <a:pPr algn="ctr" defTabSz="914446">
              <a:buClr>
                <a:srgbClr val="000000"/>
              </a:buClr>
              <a:defRPr/>
            </a:pPr>
            <a:r>
              <a:rPr lang="en-GB" sz="1400" b="1" kern="0" noProof="0">
                <a:solidFill>
                  <a:srgbClr val="000000"/>
                </a:solidFill>
                <a:latin typeface="Quattrocento Sans" panose="020B0502050000020003" pitchFamily="34" charset="0"/>
                <a:ea typeface="+mj-ea"/>
                <a:cs typeface="Arial"/>
                <a:sym typeface="DM Sans Bold"/>
              </a:rPr>
              <a:t>Implementation</a:t>
            </a:r>
          </a:p>
        </p:txBody>
      </p:sp>
      <p:cxnSp>
        <p:nvCxnSpPr>
          <p:cNvPr id="55" name="Conector: angular 54">
            <a:extLst>
              <a:ext uri="{FF2B5EF4-FFF2-40B4-BE49-F238E27FC236}">
                <a16:creationId xmlns:a16="http://schemas.microsoft.com/office/drawing/2014/main" id="{6D3911A5-3812-E539-1C03-42BD103B60A3}"/>
              </a:ext>
            </a:extLst>
          </p:cNvPr>
          <p:cNvCxnSpPr>
            <a:cxnSpLocks/>
            <a:stCxn id="43" idx="3"/>
            <a:endCxn id="31" idx="3"/>
          </p:cNvCxnSpPr>
          <p:nvPr/>
        </p:nvCxnSpPr>
        <p:spPr>
          <a:xfrm flipH="1">
            <a:off x="7161637" y="2597641"/>
            <a:ext cx="3750463" cy="2448634"/>
          </a:xfrm>
          <a:prstGeom prst="bentConnector3">
            <a:avLst>
              <a:gd name="adj1" fmla="val -6095"/>
            </a:avLst>
          </a:prstGeom>
          <a:noFill/>
          <a:ln w="38100" cap="flat">
            <a:solidFill>
              <a:schemeClr val="bg1">
                <a:lumMod val="50000"/>
              </a:schemeClr>
            </a:solidFill>
            <a:prstDash val="solid"/>
            <a:miter lim="800000"/>
            <a:tailEnd type="triangle"/>
          </a:ln>
          <a:effectLst/>
          <a:sp3d/>
        </p:spPr>
        <p:style>
          <a:lnRef idx="0">
            <a:scrgbClr r="0" g="0" b="0"/>
          </a:lnRef>
          <a:fillRef idx="0">
            <a:scrgbClr r="0" g="0" b="0"/>
          </a:fillRef>
          <a:effectRef idx="0">
            <a:scrgbClr r="0" g="0" b="0"/>
          </a:effectRef>
          <a:fontRef idx="none"/>
        </p:style>
      </p:cxnSp>
      <p:sp>
        <p:nvSpPr>
          <p:cNvPr id="2" name="CuadroTexto 1">
            <a:extLst>
              <a:ext uri="{FF2B5EF4-FFF2-40B4-BE49-F238E27FC236}">
                <a16:creationId xmlns:a16="http://schemas.microsoft.com/office/drawing/2014/main" id="{48FB0D29-07EE-1048-A425-D75C4D23B13B}"/>
              </a:ext>
            </a:extLst>
          </p:cNvPr>
          <p:cNvSpPr txBox="1"/>
          <p:nvPr/>
        </p:nvSpPr>
        <p:spPr>
          <a:xfrm>
            <a:off x="571643" y="1618853"/>
            <a:ext cx="8966415" cy="52322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just" defTabSz="914492" eaLnBrk="0" fontAlgn="base">
              <a:spcBef>
                <a:spcPct val="50000"/>
              </a:spcBef>
              <a:spcAft>
                <a:spcPct val="0"/>
              </a:spcAft>
              <a:buClr>
                <a:srgbClr val="000000"/>
              </a:buClr>
              <a:defRPr/>
            </a:pPr>
            <a:r>
              <a:rPr lang="en-GB" sz="1400" kern="0" noProof="0">
                <a:solidFill>
                  <a:srgbClr val="000000"/>
                </a:solidFill>
                <a:latin typeface="Quattrocento Sans" panose="020B0502050000020003" pitchFamily="34" charset="0"/>
                <a:ea typeface="+mj-ea"/>
                <a:cs typeface="Arial"/>
                <a:sym typeface="Arial"/>
              </a:rPr>
              <a:t>Our approach to managing the data quality process is based on the execution of iterative cycles of refinement, according to the following scheme:</a:t>
            </a:r>
          </a:p>
        </p:txBody>
      </p:sp>
      <p:sp>
        <p:nvSpPr>
          <p:cNvPr id="6" name="Rectangle 57">
            <a:extLst>
              <a:ext uri="{FF2B5EF4-FFF2-40B4-BE49-F238E27FC236}">
                <a16:creationId xmlns:a16="http://schemas.microsoft.com/office/drawing/2014/main" id="{4FC400AA-89FB-8831-2151-86C2B9D17C64}"/>
              </a:ext>
            </a:extLst>
          </p:cNvPr>
          <p:cNvSpPr>
            <a:spLocks noChangeArrowheads="1"/>
          </p:cNvSpPr>
          <p:nvPr/>
        </p:nvSpPr>
        <p:spPr bwMode="gray">
          <a:xfrm>
            <a:off x="385415" y="431669"/>
            <a:ext cx="3295703" cy="830942"/>
          </a:xfrm>
          <a:prstGeom prst="rect">
            <a:avLst/>
          </a:prstGeom>
          <a:noFill/>
          <a:ln w="9525">
            <a:noFill/>
            <a:miter lim="800000"/>
            <a:headEnd/>
            <a:tailEnd/>
          </a:ln>
          <a:effectLst/>
        </p:spPr>
        <p:txBody>
          <a:bodyPr wrap="square" lIns="91386" tIns="45693" rIns="91386" bIns="45693">
            <a:spAutoFit/>
          </a:bodyPr>
          <a:lstStyle/>
          <a:p>
            <a:pPr defTabSz="914446">
              <a:buClr>
                <a:srgbClr val="000000"/>
              </a:buClr>
              <a:defRPr/>
            </a:pPr>
            <a:r>
              <a:rPr lang="en-GB" sz="4800" b="1" noProof="0">
                <a:solidFill>
                  <a:schemeClr val="tx1">
                    <a:lumMod val="95000"/>
                    <a:lumOff val="5000"/>
                  </a:schemeClr>
                </a:solidFill>
                <a:latin typeface="Quattrocento Sans" panose="020B0502050000020003" pitchFamily="34" charset="0"/>
                <a:ea typeface="Lato"/>
                <a:cs typeface="Lato"/>
                <a:sym typeface="Arial"/>
              </a:rPr>
              <a:t>Quality</a:t>
            </a:r>
          </a:p>
        </p:txBody>
      </p:sp>
      <p:sp>
        <p:nvSpPr>
          <p:cNvPr id="43" name="Rectángulo: esquinas redondeadas 42">
            <a:extLst>
              <a:ext uri="{FF2B5EF4-FFF2-40B4-BE49-F238E27FC236}">
                <a16:creationId xmlns:a16="http://schemas.microsoft.com/office/drawing/2014/main" id="{D6760930-7D38-748C-B710-8DEEA750AADA}"/>
              </a:ext>
            </a:extLst>
          </p:cNvPr>
          <p:cNvSpPr/>
          <p:nvPr/>
        </p:nvSpPr>
        <p:spPr>
          <a:xfrm>
            <a:off x="8392100" y="2381641"/>
            <a:ext cx="2520000" cy="432000"/>
          </a:xfrm>
          <a:prstGeom prst="roundRect">
            <a:avLst>
              <a:gd name="adj" fmla="val 5327"/>
            </a:avLst>
          </a:prstGeom>
          <a:noFill/>
          <a:ln w="28575">
            <a:solidFill>
              <a:schemeClr val="bg1">
                <a:lumMod val="50000"/>
              </a:schemeClr>
            </a:solidFill>
            <a:prstDash val="solid"/>
          </a:ln>
        </p:spPr>
        <p:txBody>
          <a:bodyPr lIns="0" tIns="0" rIns="0" bIns="0" rtlCol="0" anchor="ctr"/>
          <a:lstStyle/>
          <a:p>
            <a:pPr algn="ctr" defTabSz="914446">
              <a:buClr>
                <a:srgbClr val="000000"/>
              </a:buClr>
              <a:defRPr/>
            </a:pPr>
            <a:endParaRPr lang="en-GB" sz="933" kern="0" noProof="0">
              <a:solidFill>
                <a:srgbClr val="000000"/>
              </a:solidFill>
              <a:latin typeface="Quattrocento Sans" panose="020B0502050000020003" pitchFamily="34" charset="0"/>
              <a:ea typeface="+mj-ea"/>
              <a:cs typeface="Arial"/>
              <a:sym typeface="Calibri"/>
            </a:endParaRPr>
          </a:p>
        </p:txBody>
      </p:sp>
      <p:sp>
        <p:nvSpPr>
          <p:cNvPr id="20" name="TextBox 32">
            <a:extLst>
              <a:ext uri="{FF2B5EF4-FFF2-40B4-BE49-F238E27FC236}">
                <a16:creationId xmlns:a16="http://schemas.microsoft.com/office/drawing/2014/main" id="{72CBD0FA-FA35-537F-80B9-9636F7790184}"/>
              </a:ext>
            </a:extLst>
          </p:cNvPr>
          <p:cNvSpPr txBox="1"/>
          <p:nvPr/>
        </p:nvSpPr>
        <p:spPr>
          <a:xfrm>
            <a:off x="8392100" y="2346322"/>
            <a:ext cx="2520000" cy="996033"/>
          </a:xfrm>
          <a:prstGeom prst="rect">
            <a:avLst/>
          </a:prstGeom>
          <a:noFill/>
          <a:ln>
            <a:noFill/>
          </a:ln>
        </p:spPr>
        <p:txBody>
          <a:bodyPr wrap="square" lIns="72000" tIns="36000" rIns="0" bIns="36000" rtlCol="0">
            <a:spAutoFit/>
          </a:bodyPr>
          <a:lstStyle/>
          <a:p>
            <a:pPr algn="ctr" defTabSz="914446">
              <a:buClr>
                <a:srgbClr val="000000"/>
              </a:buClr>
              <a:defRPr/>
            </a:pPr>
            <a:r>
              <a:rPr lang="en-GB" sz="3200" b="1" kern="0" noProof="0">
                <a:solidFill>
                  <a:srgbClr val="000000"/>
                </a:solidFill>
                <a:latin typeface="Quattrocento Sans" panose="020B0502050000020003" pitchFamily="34" charset="0"/>
                <a:ea typeface="+mj-ea"/>
                <a:cs typeface="Arial"/>
                <a:sym typeface="DM Sans Bold"/>
              </a:rPr>
              <a:t>Phase 2.</a:t>
            </a:r>
          </a:p>
          <a:p>
            <a:pPr algn="ctr" defTabSz="914446">
              <a:buClr>
                <a:srgbClr val="000000"/>
              </a:buClr>
              <a:defRPr/>
            </a:pPr>
            <a:r>
              <a:rPr lang="en-GB" sz="1400" b="1" kern="0" noProof="0">
                <a:solidFill>
                  <a:srgbClr val="000000"/>
                </a:solidFill>
                <a:latin typeface="Quattrocento Sans" panose="020B0502050000020003" pitchFamily="34" charset="0"/>
                <a:ea typeface="+mj-ea"/>
                <a:cs typeface="Arial"/>
                <a:sym typeface="DM Sans Bold"/>
              </a:rPr>
              <a:t>Definition of corrective actions and remediation plans</a:t>
            </a:r>
          </a:p>
        </p:txBody>
      </p:sp>
      <p:sp>
        <p:nvSpPr>
          <p:cNvPr id="12" name="TextBox 32">
            <a:extLst>
              <a:ext uri="{FF2B5EF4-FFF2-40B4-BE49-F238E27FC236}">
                <a16:creationId xmlns:a16="http://schemas.microsoft.com/office/drawing/2014/main" id="{80F7BBFC-B40D-3501-18F6-B30A7C7587FC}"/>
              </a:ext>
            </a:extLst>
          </p:cNvPr>
          <p:cNvSpPr txBox="1"/>
          <p:nvPr/>
        </p:nvSpPr>
        <p:spPr>
          <a:xfrm>
            <a:off x="601182" y="2346322"/>
            <a:ext cx="2483893" cy="996033"/>
          </a:xfrm>
          <a:prstGeom prst="rect">
            <a:avLst/>
          </a:prstGeom>
          <a:noFill/>
          <a:ln>
            <a:noFill/>
          </a:ln>
        </p:spPr>
        <p:txBody>
          <a:bodyPr wrap="square" lIns="72000" tIns="36000" rIns="0" bIns="36000" rtlCol="0">
            <a:spAutoFit/>
          </a:bodyPr>
          <a:lstStyle/>
          <a:p>
            <a:pPr algn="ctr" defTabSz="914446">
              <a:buClr>
                <a:srgbClr val="000000"/>
              </a:buClr>
              <a:defRPr/>
            </a:pPr>
            <a:r>
              <a:rPr lang="en-GB" sz="3200" b="1" kern="0" noProof="0">
                <a:solidFill>
                  <a:srgbClr val="000000"/>
                </a:solidFill>
                <a:latin typeface="Quattrocento Sans" panose="020B0502050000020003" pitchFamily="34" charset="0"/>
                <a:ea typeface="+mj-ea"/>
                <a:cs typeface="Arial"/>
                <a:sym typeface="DM Sans Bold"/>
              </a:rPr>
              <a:t>Phase 0.</a:t>
            </a:r>
          </a:p>
          <a:p>
            <a:pPr algn="ctr" defTabSz="914446">
              <a:buClr>
                <a:srgbClr val="000000"/>
              </a:buClr>
              <a:defRPr/>
            </a:pPr>
            <a:r>
              <a:rPr lang="en-GB" sz="1400" b="1" kern="0" noProof="0">
                <a:solidFill>
                  <a:srgbClr val="000000"/>
                </a:solidFill>
                <a:latin typeface="Quattrocento Sans" panose="020B0502050000020003" pitchFamily="34" charset="0"/>
                <a:ea typeface="+mj-ea"/>
                <a:cs typeface="Arial"/>
                <a:sym typeface="DM Sans Bold"/>
              </a:rPr>
              <a:t>Data Exploration and
Application of Standard Rules</a:t>
            </a:r>
          </a:p>
        </p:txBody>
      </p:sp>
      <p:sp>
        <p:nvSpPr>
          <p:cNvPr id="41" name="Rectángulo: esquinas redondeadas 40">
            <a:extLst>
              <a:ext uri="{FF2B5EF4-FFF2-40B4-BE49-F238E27FC236}">
                <a16:creationId xmlns:a16="http://schemas.microsoft.com/office/drawing/2014/main" id="{5FC3A6D8-EF1A-4A53-E030-C5F363C20050}"/>
              </a:ext>
            </a:extLst>
          </p:cNvPr>
          <p:cNvSpPr/>
          <p:nvPr/>
        </p:nvSpPr>
        <p:spPr bwMode="auto">
          <a:xfrm>
            <a:off x="571643" y="2377336"/>
            <a:ext cx="2520000" cy="432000"/>
          </a:xfrm>
          <a:prstGeom prst="roundRect">
            <a:avLst>
              <a:gd name="adj" fmla="val 5432"/>
            </a:avLst>
          </a:prstGeom>
          <a:noFill/>
          <a:ln w="28575">
            <a:solidFill>
              <a:schemeClr val="bg1">
                <a:lumMod val="50000"/>
              </a:schemeClr>
            </a:solidFill>
            <a:prstDash val="solid"/>
          </a:ln>
        </p:spPr>
        <p:txBody>
          <a:bodyPr lIns="0" tIns="0" rIns="0" bIns="0" rtlCol="0" anchor="ctr"/>
          <a:lstStyle/>
          <a:p>
            <a:pPr algn="ctr" defTabSz="914446">
              <a:buClr>
                <a:srgbClr val="000000"/>
              </a:buClr>
              <a:defRPr/>
            </a:pPr>
            <a:endParaRPr lang="en-GB" sz="933" kern="0" noProof="0">
              <a:solidFill>
                <a:srgbClr val="000000"/>
              </a:solidFill>
              <a:latin typeface="Quattrocento Sans" panose="020B0502050000020003" pitchFamily="34" charset="0"/>
              <a:ea typeface="+mj-ea"/>
              <a:cs typeface="Arial"/>
              <a:sym typeface="Arial"/>
            </a:endParaRPr>
          </a:p>
        </p:txBody>
      </p:sp>
      <p:sp>
        <p:nvSpPr>
          <p:cNvPr id="68" name="Rectángulo: esquinas redondeadas 67">
            <a:extLst>
              <a:ext uri="{FF2B5EF4-FFF2-40B4-BE49-F238E27FC236}">
                <a16:creationId xmlns:a16="http://schemas.microsoft.com/office/drawing/2014/main" id="{4C6B73E8-03C7-68B6-FF1C-A11E86DB0148}"/>
              </a:ext>
            </a:extLst>
          </p:cNvPr>
          <p:cNvSpPr/>
          <p:nvPr/>
        </p:nvSpPr>
        <p:spPr bwMode="auto">
          <a:xfrm>
            <a:off x="4086808" y="2239167"/>
            <a:ext cx="7287208" cy="3839243"/>
          </a:xfrm>
          <a:prstGeom prst="roundRect">
            <a:avLst>
              <a:gd name="adj" fmla="val 5432"/>
            </a:avLst>
          </a:prstGeom>
          <a:noFill/>
          <a:ln w="28575">
            <a:solidFill>
              <a:schemeClr val="bg1">
                <a:lumMod val="50000"/>
              </a:schemeClr>
            </a:solidFill>
            <a:prstDash val="sysDot"/>
          </a:ln>
        </p:spPr>
        <p:txBody>
          <a:bodyPr lIns="0" tIns="0" rIns="0" bIns="0" rtlCol="0" anchor="ctr"/>
          <a:lstStyle/>
          <a:p>
            <a:pPr algn="ctr" defTabSz="914446">
              <a:buClr>
                <a:srgbClr val="000000"/>
              </a:buClr>
              <a:defRPr/>
            </a:pPr>
            <a:endParaRPr lang="en-GB" sz="933" kern="0" noProof="0">
              <a:solidFill>
                <a:srgbClr val="000000"/>
              </a:solidFill>
              <a:latin typeface="Quattrocento Sans" panose="020B0502050000020003" pitchFamily="34" charset="0"/>
              <a:ea typeface="+mj-ea"/>
              <a:cs typeface="Arial"/>
              <a:sym typeface="Arial"/>
            </a:endParaRPr>
          </a:p>
        </p:txBody>
      </p:sp>
      <p:cxnSp>
        <p:nvCxnSpPr>
          <p:cNvPr id="59" name="Conector recto de flecha 58">
            <a:extLst>
              <a:ext uri="{FF2B5EF4-FFF2-40B4-BE49-F238E27FC236}">
                <a16:creationId xmlns:a16="http://schemas.microsoft.com/office/drawing/2014/main" id="{BB0C81A4-0FFE-7655-8A66-7E62ADF5BE50}"/>
              </a:ext>
            </a:extLst>
          </p:cNvPr>
          <p:cNvCxnSpPr>
            <a:cxnSpLocks/>
            <a:stCxn id="41" idx="3"/>
            <a:endCxn id="33" idx="1"/>
          </p:cNvCxnSpPr>
          <p:nvPr/>
        </p:nvCxnSpPr>
        <p:spPr>
          <a:xfrm flipV="1">
            <a:off x="3091643" y="2590763"/>
            <a:ext cx="1549996" cy="2573"/>
          </a:xfrm>
          <a:prstGeom prst="straightConnector1">
            <a:avLst/>
          </a:prstGeom>
          <a:noFill/>
          <a:ln w="38100" cap="flat">
            <a:solidFill>
              <a:schemeClr val="bg1">
                <a:lumMod val="50000"/>
              </a:schemeClr>
            </a:solidFill>
            <a:prstDash val="solid"/>
            <a:miter lim="800000"/>
            <a:tailEnd type="triangle"/>
          </a:ln>
          <a:effectLst/>
          <a:sp3d/>
        </p:spPr>
        <p:style>
          <a:lnRef idx="0">
            <a:scrgbClr r="0" g="0" b="0"/>
          </a:lnRef>
          <a:fillRef idx="0">
            <a:scrgbClr r="0" g="0" b="0"/>
          </a:fillRef>
          <a:effectRef idx="0">
            <a:scrgbClr r="0" g="0" b="0"/>
          </a:effectRef>
          <a:fontRef idx="none"/>
        </p:style>
      </p:cxnSp>
      <p:cxnSp>
        <p:nvCxnSpPr>
          <p:cNvPr id="60" name="Conector recto de flecha 59">
            <a:extLst>
              <a:ext uri="{FF2B5EF4-FFF2-40B4-BE49-F238E27FC236}">
                <a16:creationId xmlns:a16="http://schemas.microsoft.com/office/drawing/2014/main" id="{F3C79263-A588-3AD2-7166-3428C7DFF1BC}"/>
              </a:ext>
            </a:extLst>
          </p:cNvPr>
          <p:cNvCxnSpPr>
            <a:cxnSpLocks/>
            <a:stCxn id="33" idx="3"/>
            <a:endCxn id="43" idx="1"/>
          </p:cNvCxnSpPr>
          <p:nvPr/>
        </p:nvCxnSpPr>
        <p:spPr>
          <a:xfrm>
            <a:off x="7161639" y="2590763"/>
            <a:ext cx="1230461" cy="6878"/>
          </a:xfrm>
          <a:prstGeom prst="straightConnector1">
            <a:avLst/>
          </a:prstGeom>
          <a:noFill/>
          <a:ln w="38100" cap="flat">
            <a:solidFill>
              <a:schemeClr val="bg1">
                <a:lumMod val="50000"/>
              </a:schemeClr>
            </a:solidFill>
            <a:prstDash val="solid"/>
            <a:miter lim="800000"/>
            <a:tailEnd type="triangle"/>
          </a:ln>
          <a:effectLst/>
          <a:sp3d/>
        </p:spPr>
        <p:style>
          <a:lnRef idx="0">
            <a:scrgbClr r="0" g="0" b="0"/>
          </a:lnRef>
          <a:fillRef idx="0">
            <a:scrgbClr r="0" g="0" b="0"/>
          </a:fillRef>
          <a:effectRef idx="0">
            <a:scrgbClr r="0" g="0" b="0"/>
          </a:effectRef>
          <a:fontRef idx="none"/>
        </p:style>
      </p:cxnSp>
      <p:sp>
        <p:nvSpPr>
          <p:cNvPr id="8" name="CuadroTexto 7">
            <a:extLst>
              <a:ext uri="{FF2B5EF4-FFF2-40B4-BE49-F238E27FC236}">
                <a16:creationId xmlns:a16="http://schemas.microsoft.com/office/drawing/2014/main" id="{C58D7411-B6A6-CBDE-110D-F5E7E3AFB387}"/>
              </a:ext>
            </a:extLst>
          </p:cNvPr>
          <p:cNvSpPr txBox="1"/>
          <p:nvPr/>
        </p:nvSpPr>
        <p:spPr>
          <a:xfrm>
            <a:off x="571643" y="3373369"/>
            <a:ext cx="1864199" cy="1012906"/>
          </a:xfrm>
          <a:prstGeom prst="rect">
            <a:avLst/>
          </a:prstGeom>
          <a:noFill/>
        </p:spPr>
        <p:txBody>
          <a:bodyPr wrap="square">
            <a:spAutoFit/>
          </a:bodyPr>
          <a:lstStyle/>
          <a:p>
            <a:pPr marL="171459" indent="-171459" defTabSz="914446">
              <a:lnSpc>
                <a:spcPct val="115000"/>
              </a:lnSpc>
              <a:buClr>
                <a:srgbClr val="FFFFFF">
                  <a:lumMod val="50000"/>
                </a:srgbClr>
              </a:buClr>
              <a:buSzPts val="1100"/>
              <a:buFont typeface="Arial" panose="020B0604020202020204" pitchFamily="34" charset="0"/>
              <a:buChar char="•"/>
              <a:defRPr/>
            </a:pPr>
            <a:r>
              <a:rPr lang="en-GB" sz="1050" kern="0" noProof="0">
                <a:solidFill>
                  <a:srgbClr val="000000"/>
                </a:solidFill>
                <a:latin typeface="Quattrocento Sans" panose="020B0502050000020003" pitchFamily="34" charset="0"/>
                <a:ea typeface="Quattrocento Sans"/>
                <a:cs typeface="Quattrocento Sans"/>
                <a:sym typeface="Quattrocento Sans"/>
              </a:rPr>
              <a:t>Profiling</a:t>
            </a:r>
          </a:p>
          <a:p>
            <a:pPr marL="171459" indent="-171459" defTabSz="914446">
              <a:lnSpc>
                <a:spcPct val="115000"/>
              </a:lnSpc>
              <a:buClr>
                <a:srgbClr val="FFFFFF">
                  <a:lumMod val="50000"/>
                </a:srgbClr>
              </a:buClr>
              <a:buSzPts val="1100"/>
              <a:buFont typeface="Arial" panose="020B0604020202020204" pitchFamily="34" charset="0"/>
              <a:buChar char="•"/>
              <a:defRPr/>
            </a:pPr>
            <a:r>
              <a:rPr lang="en-GB" sz="1050" kern="0" noProof="0">
                <a:solidFill>
                  <a:srgbClr val="000000"/>
                </a:solidFill>
                <a:latin typeface="Quattrocento Sans" panose="020B0502050000020003" pitchFamily="34" charset="0"/>
                <a:ea typeface="Quattrocento Sans"/>
                <a:cs typeface="Quattrocento Sans"/>
                <a:sym typeface="Quattrocento Sans"/>
              </a:rPr>
              <a:t>General Rules</a:t>
            </a:r>
          </a:p>
          <a:p>
            <a:pPr marL="358775" lvl="1" indent="-179388" defTabSz="914446">
              <a:lnSpc>
                <a:spcPct val="115000"/>
              </a:lnSpc>
              <a:buClr>
                <a:srgbClr val="FFFFFF">
                  <a:lumMod val="50000"/>
                </a:srgbClr>
              </a:buClr>
              <a:buSzPts val="1100"/>
              <a:buFont typeface="Arial" panose="020B0604020202020204" pitchFamily="34" charset="0"/>
              <a:buChar char="•"/>
              <a:defRPr/>
            </a:pPr>
            <a:r>
              <a:rPr lang="en-GB" sz="1050" kern="0" noProof="0">
                <a:solidFill>
                  <a:srgbClr val="000000"/>
                </a:solidFill>
                <a:latin typeface="Quattrocento Sans" panose="020B0502050000020003" pitchFamily="34" charset="0"/>
                <a:ea typeface="Quattrocento Sans"/>
                <a:cs typeface="Quattrocento Sans"/>
                <a:sym typeface="Quattrocento Sans"/>
              </a:rPr>
              <a:t>Null
Duplicate
Inconsistencies</a:t>
            </a:r>
          </a:p>
        </p:txBody>
      </p:sp>
      <p:sp>
        <p:nvSpPr>
          <p:cNvPr id="7" name="CuadroTexto 6">
            <a:extLst>
              <a:ext uri="{FF2B5EF4-FFF2-40B4-BE49-F238E27FC236}">
                <a16:creationId xmlns:a16="http://schemas.microsoft.com/office/drawing/2014/main" id="{4B67DDD9-3F6D-3D95-8BE6-113408090179}"/>
              </a:ext>
            </a:extLst>
          </p:cNvPr>
          <p:cNvSpPr txBox="1"/>
          <p:nvPr/>
        </p:nvSpPr>
        <p:spPr>
          <a:xfrm>
            <a:off x="4641637" y="3286405"/>
            <a:ext cx="2759697" cy="827086"/>
          </a:xfrm>
          <a:prstGeom prst="rect">
            <a:avLst/>
          </a:prstGeom>
          <a:noFill/>
        </p:spPr>
        <p:txBody>
          <a:bodyPr wrap="square">
            <a:spAutoFit/>
          </a:bodyPr>
          <a:lstStyle/>
          <a:p>
            <a:pPr marL="171459" indent="-171459" defTabSz="914446">
              <a:lnSpc>
                <a:spcPct val="115000"/>
              </a:lnSpc>
              <a:buClr>
                <a:srgbClr val="FFFFFF">
                  <a:lumMod val="50000"/>
                </a:srgbClr>
              </a:buClr>
              <a:buSzPts val="1100"/>
              <a:buFont typeface="Arial" panose="020B0604020202020204" pitchFamily="34" charset="0"/>
              <a:buChar char="•"/>
              <a:defRPr/>
            </a:pPr>
            <a:r>
              <a:rPr lang="en-GB" sz="1050" kern="0" noProof="0">
                <a:solidFill>
                  <a:srgbClr val="000000"/>
                </a:solidFill>
                <a:latin typeface="Quattrocento Sans" panose="020B0502050000020003" pitchFamily="34" charset="0"/>
                <a:sym typeface="Quattrocento Sans"/>
              </a:rPr>
              <a:t>Once the rules with the objective values have been defined, information </a:t>
            </a:r>
            <a:r>
              <a:rPr lang="en-GB" sz="1050" b="1" kern="0" noProof="0">
                <a:solidFill>
                  <a:srgbClr val="000000"/>
                </a:solidFill>
                <a:latin typeface="Quattrocento Sans" panose="020B0502050000020003" pitchFamily="34" charset="0"/>
                <a:sym typeface="Quattrocento Sans"/>
              </a:rPr>
              <a:t>quality monitors </a:t>
            </a:r>
            <a:r>
              <a:rPr lang="en-GB" sz="1050" kern="0" noProof="0">
                <a:solidFill>
                  <a:srgbClr val="000000"/>
                </a:solidFill>
                <a:latin typeface="Quattrocento Sans" panose="020B0502050000020003" pitchFamily="34" charset="0"/>
                <a:sym typeface="Quattrocento Sans"/>
              </a:rPr>
              <a:t>are established, classifying the errors according to their importance.</a:t>
            </a:r>
          </a:p>
        </p:txBody>
      </p:sp>
      <p:cxnSp>
        <p:nvCxnSpPr>
          <p:cNvPr id="29" name="Conector: angular 28">
            <a:extLst>
              <a:ext uri="{FF2B5EF4-FFF2-40B4-BE49-F238E27FC236}">
                <a16:creationId xmlns:a16="http://schemas.microsoft.com/office/drawing/2014/main" id="{F20AC04B-00EF-A6ED-A89F-2C8A63C7124A}"/>
              </a:ext>
            </a:extLst>
          </p:cNvPr>
          <p:cNvCxnSpPr>
            <a:cxnSpLocks/>
            <a:stCxn id="31" idx="1"/>
            <a:endCxn id="33" idx="1"/>
          </p:cNvCxnSpPr>
          <p:nvPr/>
        </p:nvCxnSpPr>
        <p:spPr>
          <a:xfrm rot="10800000" flipH="1">
            <a:off x="4641637" y="2590763"/>
            <a:ext cx="2" cy="2455512"/>
          </a:xfrm>
          <a:prstGeom prst="bentConnector3">
            <a:avLst>
              <a:gd name="adj1" fmla="val -11430000000"/>
            </a:avLst>
          </a:prstGeom>
          <a:noFill/>
          <a:ln w="38100" cap="flat">
            <a:solidFill>
              <a:schemeClr val="bg1">
                <a:lumMod val="50000"/>
              </a:schemeClr>
            </a:solidFill>
            <a:prstDash val="solid"/>
            <a:miter lim="800000"/>
            <a:tailEnd type="triangle"/>
          </a:ln>
          <a:effectLst/>
          <a:sp3d/>
        </p:spPr>
        <p:style>
          <a:lnRef idx="0">
            <a:scrgbClr r="0" g="0" b="0"/>
          </a:lnRef>
          <a:fillRef idx="0">
            <a:scrgbClr r="0" g="0" b="0"/>
          </a:fillRef>
          <a:effectRef idx="0">
            <a:scrgbClr r="0" g="0" b="0"/>
          </a:effectRef>
          <a:fontRef idx="none"/>
        </p:style>
      </p:cxnSp>
      <p:sp>
        <p:nvSpPr>
          <p:cNvPr id="46" name="CuadroTexto 45">
            <a:extLst>
              <a:ext uri="{FF2B5EF4-FFF2-40B4-BE49-F238E27FC236}">
                <a16:creationId xmlns:a16="http://schemas.microsoft.com/office/drawing/2014/main" id="{C74DFD44-5C25-6058-311B-2E37AE189360}"/>
              </a:ext>
            </a:extLst>
          </p:cNvPr>
          <p:cNvSpPr txBox="1"/>
          <p:nvPr/>
        </p:nvSpPr>
        <p:spPr>
          <a:xfrm>
            <a:off x="8306579" y="3378706"/>
            <a:ext cx="2605521" cy="1198726"/>
          </a:xfrm>
          <a:prstGeom prst="rect">
            <a:avLst/>
          </a:prstGeom>
          <a:noFill/>
        </p:spPr>
        <p:txBody>
          <a:bodyPr wrap="square">
            <a:spAutoFit/>
          </a:bodyPr>
          <a:lstStyle/>
          <a:p>
            <a:pPr marL="177800" indent="-177800" defTabSz="914446">
              <a:lnSpc>
                <a:spcPct val="115000"/>
              </a:lnSpc>
              <a:buClr>
                <a:srgbClr val="FFFFFF">
                  <a:lumMod val="50000"/>
                </a:srgbClr>
              </a:buClr>
              <a:buSzPts val="1100"/>
              <a:buFont typeface="Arial" panose="020B0604020202020204" pitchFamily="34" charset="0"/>
              <a:buChar char="•"/>
              <a:defRPr/>
            </a:pPr>
            <a:r>
              <a:rPr lang="en-GB" sz="1050" b="1" kern="0" noProof="0">
                <a:solidFill>
                  <a:srgbClr val="000000"/>
                </a:solidFill>
                <a:latin typeface="Quattrocento Sans" panose="020B0502050000020003" pitchFamily="34" charset="0"/>
                <a:sym typeface="Quattrocento Sans"/>
              </a:rPr>
              <a:t>Rules: </a:t>
            </a:r>
            <a:r>
              <a:rPr lang="en-GB" sz="1050" kern="0" noProof="0">
                <a:solidFill>
                  <a:srgbClr val="000000"/>
                </a:solidFill>
                <a:latin typeface="Quattrocento Sans" panose="020B0502050000020003" pitchFamily="34" charset="0"/>
                <a:sym typeface="Quattrocento Sans"/>
              </a:rPr>
              <a:t>Existing rules are updated and new rules are defined.</a:t>
            </a:r>
          </a:p>
          <a:p>
            <a:pPr marL="177800" indent="-177800" defTabSz="914446">
              <a:lnSpc>
                <a:spcPct val="115000"/>
              </a:lnSpc>
              <a:buClr>
                <a:srgbClr val="FFFFFF">
                  <a:lumMod val="50000"/>
                </a:srgbClr>
              </a:buClr>
              <a:buSzPts val="1100"/>
              <a:buFont typeface="Arial" panose="020B0604020202020204" pitchFamily="34" charset="0"/>
              <a:buChar char="•"/>
              <a:defRPr/>
            </a:pPr>
            <a:r>
              <a:rPr lang="en-GB" sz="1050" b="1" kern="0" noProof="0">
                <a:solidFill>
                  <a:srgbClr val="000000"/>
                </a:solidFill>
                <a:latin typeface="Quattrocento Sans" panose="020B0502050000020003" pitchFamily="34" charset="0"/>
                <a:sym typeface="Quattrocento Sans"/>
              </a:rPr>
              <a:t>Controls: </a:t>
            </a:r>
            <a:r>
              <a:rPr lang="en-GB" sz="1050" kern="0" noProof="0">
                <a:solidFill>
                  <a:srgbClr val="000000"/>
                </a:solidFill>
                <a:latin typeface="Quattrocento Sans" panose="020B0502050000020003" pitchFamily="34" charset="0"/>
                <a:sym typeface="Quattrocento Sans"/>
              </a:rPr>
              <a:t>Checks that at points in the flow of information.</a:t>
            </a:r>
          </a:p>
          <a:p>
            <a:pPr marL="177800" indent="-177800" defTabSz="914446">
              <a:lnSpc>
                <a:spcPct val="115000"/>
              </a:lnSpc>
              <a:buClr>
                <a:srgbClr val="FFFFFF">
                  <a:lumMod val="50000"/>
                </a:srgbClr>
              </a:buClr>
              <a:buSzPts val="1100"/>
              <a:buFont typeface="Arial" panose="020B0604020202020204" pitchFamily="34" charset="0"/>
              <a:buChar char="•"/>
              <a:defRPr/>
            </a:pPr>
            <a:r>
              <a:rPr lang="en-GB" sz="1050" b="1" kern="0" noProof="0">
                <a:solidFill>
                  <a:srgbClr val="000000"/>
                </a:solidFill>
                <a:latin typeface="Quattrocento Sans" panose="020B0502050000020003" pitchFamily="34" charset="0"/>
                <a:sym typeface="Quattrocento Sans"/>
              </a:rPr>
              <a:t>Remediation Plans: </a:t>
            </a:r>
            <a:r>
              <a:rPr lang="en-GB" sz="1050" kern="0" noProof="0">
                <a:solidFill>
                  <a:srgbClr val="000000"/>
                </a:solidFill>
                <a:latin typeface="Quattrocento Sans" panose="020B0502050000020003" pitchFamily="34" charset="0"/>
                <a:sym typeface="Quattrocento Sans"/>
              </a:rPr>
              <a:t>Actions to address errors in data quality.</a:t>
            </a:r>
          </a:p>
        </p:txBody>
      </p:sp>
      <p:sp>
        <p:nvSpPr>
          <p:cNvPr id="51" name="CuadroTexto 50">
            <a:extLst>
              <a:ext uri="{FF2B5EF4-FFF2-40B4-BE49-F238E27FC236}">
                <a16:creationId xmlns:a16="http://schemas.microsoft.com/office/drawing/2014/main" id="{FE8B33CB-E79B-CF56-C5BC-33562966F53E}"/>
              </a:ext>
            </a:extLst>
          </p:cNvPr>
          <p:cNvSpPr txBox="1"/>
          <p:nvPr/>
        </p:nvSpPr>
        <p:spPr>
          <a:xfrm>
            <a:off x="4641635" y="5525917"/>
            <a:ext cx="2520002" cy="455446"/>
          </a:xfrm>
          <a:prstGeom prst="rect">
            <a:avLst/>
          </a:prstGeom>
          <a:noFill/>
        </p:spPr>
        <p:txBody>
          <a:bodyPr wrap="square">
            <a:spAutoFit/>
          </a:bodyPr>
          <a:lstStyle/>
          <a:p>
            <a:pPr marL="171459" indent="-171459" defTabSz="914446">
              <a:lnSpc>
                <a:spcPct val="115000"/>
              </a:lnSpc>
              <a:buClr>
                <a:srgbClr val="FFFFFF">
                  <a:lumMod val="50000"/>
                </a:srgbClr>
              </a:buClr>
              <a:buSzPts val="1100"/>
              <a:buFont typeface="Arial" panose="020B0604020202020204" pitchFamily="34" charset="0"/>
              <a:buChar char="•"/>
              <a:defRPr/>
            </a:pPr>
            <a:r>
              <a:rPr lang="en-GB" sz="1050" kern="0" noProof="0">
                <a:solidFill>
                  <a:srgbClr val="000000"/>
                </a:solidFill>
                <a:latin typeface="Quattrocento Sans" panose="020B0502050000020003" pitchFamily="34" charset="0"/>
                <a:sym typeface="Quattrocento Sans"/>
              </a:rPr>
              <a:t>Controls and improvements are applied to the quality rules.</a:t>
            </a:r>
            <a:endParaRPr lang="en-GB" sz="1050" kern="0" noProof="0">
              <a:solidFill>
                <a:srgbClr val="000000"/>
              </a:solidFill>
              <a:latin typeface="Quattrocento Sans" panose="020B0502050000020003" pitchFamily="34" charset="0"/>
            </a:endParaRPr>
          </a:p>
        </p:txBody>
      </p:sp>
      <p:sp>
        <p:nvSpPr>
          <p:cNvPr id="56" name="Google Shape;3348;g30e148d11da_7_119">
            <a:extLst>
              <a:ext uri="{FF2B5EF4-FFF2-40B4-BE49-F238E27FC236}">
                <a16:creationId xmlns:a16="http://schemas.microsoft.com/office/drawing/2014/main" id="{FC7DF547-79B4-F33F-DE37-ABF72E4E7F75}"/>
              </a:ext>
            </a:extLst>
          </p:cNvPr>
          <p:cNvSpPr txBox="1"/>
          <p:nvPr/>
        </p:nvSpPr>
        <p:spPr>
          <a:xfrm>
            <a:off x="715034" y="156141"/>
            <a:ext cx="3258300" cy="615000"/>
          </a:xfrm>
          <a:prstGeom prst="rect">
            <a:avLst/>
          </a:prstGeom>
          <a:noFill/>
          <a:ln>
            <a:noFill/>
          </a:ln>
        </p:spPr>
        <p:txBody>
          <a:bodyPr spcFirstLastPara="1" wrap="square" lIns="0" tIns="45700" rIns="91425" bIns="45700" anchor="t" anchorCtr="0">
            <a:noAutofit/>
          </a:bodyPr>
          <a:lstStyle/>
          <a:p>
            <a:pPr defTabSz="914446">
              <a:buClr>
                <a:srgbClr val="FFFFFF"/>
              </a:buClr>
              <a:buSzPts val="1200"/>
              <a:defRPr/>
            </a:pPr>
            <a:r>
              <a:rPr lang="en-GB" sz="1200" b="1" kern="0" noProof="0">
                <a:solidFill>
                  <a:srgbClr val="000000"/>
                </a:solidFill>
                <a:latin typeface="Montserrat"/>
                <a:ea typeface="Montserrat"/>
                <a:cs typeface="Montserrat"/>
                <a:sym typeface="Montserrat"/>
              </a:rPr>
              <a:t>Data Driven </a:t>
            </a:r>
            <a:r>
              <a:rPr lang="en-GB" sz="1200" kern="0" noProof="0">
                <a:solidFill>
                  <a:srgbClr val="000000"/>
                </a:solidFill>
                <a:latin typeface="Montserrat"/>
                <a:ea typeface="Montserrat"/>
                <a:cs typeface="Montserrat"/>
                <a:sym typeface="Montserrat"/>
              </a:rPr>
              <a:t>Business</a:t>
            </a:r>
            <a:endParaRPr lang="en-GB" sz="1200" kern="0" baseline="30000" noProof="0">
              <a:solidFill>
                <a:srgbClr val="000000"/>
              </a:solidFill>
              <a:latin typeface="Montserrat"/>
              <a:ea typeface="Montserrat"/>
              <a:cs typeface="Montserrat"/>
              <a:sym typeface="Montserrat"/>
            </a:endParaRPr>
          </a:p>
        </p:txBody>
      </p:sp>
      <p:pic>
        <p:nvPicPr>
          <p:cNvPr id="4" name="Imagen 3">
            <a:extLst>
              <a:ext uri="{FF2B5EF4-FFF2-40B4-BE49-F238E27FC236}">
                <a16:creationId xmlns:a16="http://schemas.microsoft.com/office/drawing/2014/main" id="{7BE31A9C-A8AE-9043-D198-3D736C58FED4}"/>
              </a:ext>
            </a:extLst>
          </p:cNvPr>
          <p:cNvPicPr>
            <a:picLocks noChangeAspect="1"/>
          </p:cNvPicPr>
          <p:nvPr/>
        </p:nvPicPr>
        <p:blipFill>
          <a:blip r:embed="rId6"/>
          <a:stretch>
            <a:fillRect/>
          </a:stretch>
        </p:blipFill>
        <p:spPr>
          <a:xfrm>
            <a:off x="9739131" y="200005"/>
            <a:ext cx="2144441" cy="1701994"/>
          </a:xfrm>
          <a:prstGeom prst="rect">
            <a:avLst/>
          </a:prstGeom>
        </p:spPr>
      </p:pic>
    </p:spTree>
    <p:extLst>
      <p:ext uri="{BB962C8B-B14F-4D97-AF65-F5344CB8AC3E}">
        <p14:creationId xmlns:p14="http://schemas.microsoft.com/office/powerpoint/2010/main" val="343947595"/>
      </p:ext>
    </p:extLst>
  </p:cSld>
  <p:clrMapOvr>
    <a:masterClrMapping/>
  </p:clrMapOvr>
  <p:transition spd="slow"/>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Shape 3335"/>
        <p:cNvGrpSpPr/>
        <p:nvPr/>
      </p:nvGrpSpPr>
      <p:grpSpPr>
        <a:xfrm>
          <a:off x="0" y="0"/>
          <a:ext cx="0" cy="0"/>
          <a:chOff x="0" y="0"/>
          <a:chExt cx="0" cy="0"/>
        </a:xfrm>
      </p:grpSpPr>
      <p:sp>
        <p:nvSpPr>
          <p:cNvPr id="3" name="Rectángulo: esquinas redondeadas 2">
            <a:extLst>
              <a:ext uri="{FF2B5EF4-FFF2-40B4-BE49-F238E27FC236}">
                <a16:creationId xmlns:a16="http://schemas.microsoft.com/office/drawing/2014/main" id="{F9FFE663-094B-48B6-1262-59EE7AE5F1A0}"/>
              </a:ext>
            </a:extLst>
          </p:cNvPr>
          <p:cNvSpPr/>
          <p:nvPr/>
        </p:nvSpPr>
        <p:spPr>
          <a:xfrm>
            <a:off x="571017" y="1299818"/>
            <a:ext cx="2483893" cy="1372669"/>
          </a:xfrm>
          <a:prstGeom prst="roundRect">
            <a:avLst>
              <a:gd name="adj" fmla="val 8936"/>
            </a:avLst>
          </a:prstGeom>
          <a:noFill/>
          <a:ln w="38100" cap="flat" cmpd="sng">
            <a:solidFill>
              <a:srgbClr val="3CA5CE"/>
            </a:solidFill>
            <a:prstDash val="solid"/>
            <a:round/>
            <a:headEnd type="none" w="med" len="med"/>
            <a:tailEnd type="none" w="med" len="med"/>
          </a:ln>
        </p:spPr>
        <p:txBody>
          <a:bodyPr lIns="0" tIns="0" rIns="0" bIns="0" rtlCol="0" anchor="ctr"/>
          <a:lstStyle/>
          <a:p>
            <a:pPr algn="ctr"/>
            <a:endParaRPr lang="en-GB" noProof="0">
              <a:solidFill>
                <a:schemeClr val="tx2"/>
              </a:solidFill>
              <a:sym typeface="Calibri"/>
            </a:endParaRPr>
          </a:p>
        </p:txBody>
      </p:sp>
      <p:sp>
        <p:nvSpPr>
          <p:cNvPr id="3346" name="Google Shape;3346;g30e148d11da_7_119"/>
          <p:cNvSpPr/>
          <p:nvPr/>
        </p:nvSpPr>
        <p:spPr>
          <a:xfrm>
            <a:off x="9715795" y="165608"/>
            <a:ext cx="1488000" cy="1488000"/>
          </a:xfrm>
          <a:prstGeom prst="rect">
            <a:avLst/>
          </a:prstGeom>
          <a:noFill/>
          <a:ln>
            <a:noFill/>
          </a:ln>
        </p:spPr>
        <p:txBody>
          <a:bodyPr spcFirstLastPara="1" wrap="square" lIns="108000" tIns="0" rIns="0" bIns="1080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1" i="0" u="none" strike="noStrike" kern="0" cap="none" spc="0" normalizeH="0" baseline="0" noProof="0">
              <a:ln>
                <a:noFill/>
              </a:ln>
              <a:solidFill>
                <a:schemeClr val="tx2"/>
              </a:solidFill>
              <a:effectLst/>
              <a:uLnTx/>
              <a:uFillTx/>
              <a:latin typeface="Quattrocento Sans"/>
              <a:ea typeface="Quattrocento Sans"/>
              <a:cs typeface="Quattrocento Sans"/>
              <a:sym typeface="Quattrocento Sans"/>
            </a:endParaRPr>
          </a:p>
        </p:txBody>
      </p:sp>
      <p:sp>
        <p:nvSpPr>
          <p:cNvPr id="3347" name="Google Shape;3347;g30e148d11da_7_119"/>
          <p:cNvSpPr/>
          <p:nvPr/>
        </p:nvSpPr>
        <p:spPr>
          <a:xfrm>
            <a:off x="10186647" y="659263"/>
            <a:ext cx="1324655" cy="305618"/>
          </a:xfrm>
          <a:custGeom>
            <a:avLst/>
            <a:gdLst/>
            <a:ahLst/>
            <a:cxnLst/>
            <a:rect l="l" t="t" r="r" b="b"/>
            <a:pathLst>
              <a:path w="1926771" h="444535" extrusionOk="0">
                <a:moveTo>
                  <a:pt x="725088" y="204891"/>
                </a:moveTo>
                <a:cubicBezTo>
                  <a:pt x="712077" y="210871"/>
                  <a:pt x="698448" y="215412"/>
                  <a:pt x="684445" y="218434"/>
                </a:cubicBezTo>
                <a:lnTo>
                  <a:pt x="660458" y="223662"/>
                </a:lnTo>
                <a:cubicBezTo>
                  <a:pt x="650420" y="225838"/>
                  <a:pt x="641095" y="230493"/>
                  <a:pt x="633330" y="237205"/>
                </a:cubicBezTo>
                <a:cubicBezTo>
                  <a:pt x="628707" y="243967"/>
                  <a:pt x="626164" y="251923"/>
                  <a:pt x="625999" y="260109"/>
                </a:cubicBezTo>
                <a:cubicBezTo>
                  <a:pt x="625595" y="269345"/>
                  <a:pt x="629001" y="278343"/>
                  <a:pt x="635424" y="285005"/>
                </a:cubicBezTo>
                <a:cubicBezTo>
                  <a:pt x="643129" y="291029"/>
                  <a:pt x="652794" y="293992"/>
                  <a:pt x="662553" y="293320"/>
                </a:cubicBezTo>
                <a:cubicBezTo>
                  <a:pt x="682002" y="293320"/>
                  <a:pt x="697296" y="287758"/>
                  <a:pt x="708432" y="276640"/>
                </a:cubicBezTo>
                <a:cubicBezTo>
                  <a:pt x="719567" y="265521"/>
                  <a:pt x="725123" y="250250"/>
                  <a:pt x="725088" y="230832"/>
                </a:cubicBezTo>
                <a:close/>
                <a:moveTo>
                  <a:pt x="1067435" y="121590"/>
                </a:moveTo>
                <a:cubicBezTo>
                  <a:pt x="1053442" y="121087"/>
                  <a:pt x="1039857" y="126360"/>
                  <a:pt x="1029884" y="136178"/>
                </a:cubicBezTo>
                <a:cubicBezTo>
                  <a:pt x="1020109" y="146137"/>
                  <a:pt x="1014923" y="159779"/>
                  <a:pt x="1014225" y="177804"/>
                </a:cubicBezTo>
                <a:lnTo>
                  <a:pt x="1120595" y="177804"/>
                </a:lnTo>
                <a:cubicBezTo>
                  <a:pt x="1119198" y="159082"/>
                  <a:pt x="1114361" y="145191"/>
                  <a:pt x="1105983" y="136178"/>
                </a:cubicBezTo>
                <a:cubicBezTo>
                  <a:pt x="1097605" y="127166"/>
                  <a:pt x="1084091" y="121590"/>
                  <a:pt x="1067435" y="121590"/>
                </a:cubicBezTo>
                <a:close/>
                <a:moveTo>
                  <a:pt x="1431974" y="67417"/>
                </a:moveTo>
                <a:lnTo>
                  <a:pt x="1512312" y="67417"/>
                </a:lnTo>
                <a:lnTo>
                  <a:pt x="1568614" y="263246"/>
                </a:lnTo>
                <a:lnTo>
                  <a:pt x="1617635" y="92412"/>
                </a:lnTo>
                <a:cubicBezTo>
                  <a:pt x="1621823" y="75782"/>
                  <a:pt x="1632944" y="67517"/>
                  <a:pt x="1651047" y="67517"/>
                </a:cubicBezTo>
                <a:lnTo>
                  <a:pt x="1700915" y="67517"/>
                </a:lnTo>
                <a:lnTo>
                  <a:pt x="1594496" y="383093"/>
                </a:lnTo>
                <a:cubicBezTo>
                  <a:pt x="1586153" y="405997"/>
                  <a:pt x="1575730" y="422313"/>
                  <a:pt x="1563228" y="432038"/>
                </a:cubicBezTo>
                <a:cubicBezTo>
                  <a:pt x="1550726" y="440338"/>
                  <a:pt x="1530200" y="444500"/>
                  <a:pt x="1501640" y="444535"/>
                </a:cubicBezTo>
                <a:lnTo>
                  <a:pt x="1494459" y="444535"/>
                </a:lnTo>
                <a:lnTo>
                  <a:pt x="1471470" y="444187"/>
                </a:lnTo>
                <a:lnTo>
                  <a:pt x="1471470" y="385134"/>
                </a:lnTo>
                <a:lnTo>
                  <a:pt x="1491417" y="385134"/>
                </a:lnTo>
                <a:cubicBezTo>
                  <a:pt x="1503206" y="385777"/>
                  <a:pt x="1514841" y="382251"/>
                  <a:pt x="1524281" y="375176"/>
                </a:cubicBezTo>
                <a:cubicBezTo>
                  <a:pt x="1532260" y="368554"/>
                  <a:pt x="1533856" y="357998"/>
                  <a:pt x="1528968" y="343409"/>
                </a:cubicBezTo>
                <a:close/>
                <a:moveTo>
                  <a:pt x="541522" y="67318"/>
                </a:moveTo>
                <a:lnTo>
                  <a:pt x="551945" y="67318"/>
                </a:lnTo>
                <a:lnTo>
                  <a:pt x="551945" y="141158"/>
                </a:lnTo>
                <a:lnTo>
                  <a:pt x="527958" y="141158"/>
                </a:lnTo>
                <a:cubicBezTo>
                  <a:pt x="508011" y="141158"/>
                  <a:pt x="493050" y="146137"/>
                  <a:pt x="483076" y="155747"/>
                </a:cubicBezTo>
                <a:cubicBezTo>
                  <a:pt x="473103" y="165356"/>
                  <a:pt x="468515" y="180642"/>
                  <a:pt x="468515" y="201555"/>
                </a:cubicBezTo>
                <a:lnTo>
                  <a:pt x="468515" y="344256"/>
                </a:lnTo>
                <a:lnTo>
                  <a:pt x="395357" y="344455"/>
                </a:lnTo>
                <a:lnTo>
                  <a:pt x="395357" y="210019"/>
                </a:lnTo>
                <a:cubicBezTo>
                  <a:pt x="394679" y="186702"/>
                  <a:pt x="398769" y="163489"/>
                  <a:pt x="407376" y="141805"/>
                </a:cubicBezTo>
                <a:cubicBezTo>
                  <a:pt x="414502" y="124568"/>
                  <a:pt x="425792" y="109361"/>
                  <a:pt x="440239" y="97541"/>
                </a:cubicBezTo>
                <a:cubicBezTo>
                  <a:pt x="453998" y="86841"/>
                  <a:pt x="469796" y="79048"/>
                  <a:pt x="486667" y="74637"/>
                </a:cubicBezTo>
                <a:cubicBezTo>
                  <a:pt x="504535" y="69733"/>
                  <a:pt x="522991" y="67268"/>
                  <a:pt x="541522" y="67318"/>
                </a:cubicBezTo>
                <a:close/>
                <a:moveTo>
                  <a:pt x="1798307" y="61542"/>
                </a:moveTo>
                <a:cubicBezTo>
                  <a:pt x="1834477" y="61542"/>
                  <a:pt x="1863336" y="69524"/>
                  <a:pt x="1884929" y="85492"/>
                </a:cubicBezTo>
                <a:cubicBezTo>
                  <a:pt x="1904876" y="102420"/>
                  <a:pt x="1916596" y="127037"/>
                  <a:pt x="1917244" y="153158"/>
                </a:cubicBezTo>
                <a:lnTo>
                  <a:pt x="1872362" y="153158"/>
                </a:lnTo>
                <a:cubicBezTo>
                  <a:pt x="1859745" y="153511"/>
                  <a:pt x="1847981" y="146655"/>
                  <a:pt x="1842092" y="135482"/>
                </a:cubicBezTo>
                <a:lnTo>
                  <a:pt x="1833764" y="127117"/>
                </a:lnTo>
                <a:cubicBezTo>
                  <a:pt x="1823591" y="120360"/>
                  <a:pt x="1811502" y="117079"/>
                  <a:pt x="1799305" y="117756"/>
                </a:cubicBezTo>
                <a:cubicBezTo>
                  <a:pt x="1788513" y="117074"/>
                  <a:pt x="1777726" y="119240"/>
                  <a:pt x="1768037" y="124030"/>
                </a:cubicBezTo>
                <a:cubicBezTo>
                  <a:pt x="1761784" y="128148"/>
                  <a:pt x="1758208" y="135288"/>
                  <a:pt x="1758662" y="142751"/>
                </a:cubicBezTo>
                <a:cubicBezTo>
                  <a:pt x="1758662" y="153870"/>
                  <a:pt x="1776729" y="163250"/>
                  <a:pt x="1812869" y="170883"/>
                </a:cubicBezTo>
                <a:cubicBezTo>
                  <a:pt x="1816470" y="172113"/>
                  <a:pt x="1820130" y="173159"/>
                  <a:pt x="1823840" y="174020"/>
                </a:cubicBezTo>
                <a:cubicBezTo>
                  <a:pt x="1826752" y="174692"/>
                  <a:pt x="1829730" y="175041"/>
                  <a:pt x="1832717" y="175066"/>
                </a:cubicBezTo>
                <a:cubicBezTo>
                  <a:pt x="1868173" y="184093"/>
                  <a:pt x="1892858" y="194499"/>
                  <a:pt x="1906771" y="206285"/>
                </a:cubicBezTo>
                <a:cubicBezTo>
                  <a:pt x="1920236" y="219290"/>
                  <a:pt x="1927467" y="237399"/>
                  <a:pt x="1926719" y="256076"/>
                </a:cubicBezTo>
                <a:cubicBezTo>
                  <a:pt x="1926719" y="286648"/>
                  <a:pt x="1915598" y="310249"/>
                  <a:pt x="1893357" y="326879"/>
                </a:cubicBezTo>
                <a:cubicBezTo>
                  <a:pt x="1872512" y="342180"/>
                  <a:pt x="1841209" y="349833"/>
                  <a:pt x="1799454" y="349833"/>
                </a:cubicBezTo>
                <a:cubicBezTo>
                  <a:pt x="1759859" y="349833"/>
                  <a:pt x="1730322" y="341831"/>
                  <a:pt x="1710838" y="325833"/>
                </a:cubicBezTo>
                <a:cubicBezTo>
                  <a:pt x="1690656" y="309900"/>
                  <a:pt x="1680568" y="286663"/>
                  <a:pt x="1680568" y="256126"/>
                </a:cubicBezTo>
                <a:lnTo>
                  <a:pt x="1680468" y="252790"/>
                </a:lnTo>
                <a:lnTo>
                  <a:pt x="1751281" y="252790"/>
                </a:lnTo>
                <a:cubicBezTo>
                  <a:pt x="1751187" y="265113"/>
                  <a:pt x="1757006" y="276739"/>
                  <a:pt x="1766940" y="284059"/>
                </a:cubicBezTo>
                <a:cubicBezTo>
                  <a:pt x="1779522" y="291562"/>
                  <a:pt x="1794044" y="295182"/>
                  <a:pt x="1808680" y="294465"/>
                </a:cubicBezTo>
                <a:cubicBezTo>
                  <a:pt x="1819890" y="294759"/>
                  <a:pt x="1830996" y="292259"/>
                  <a:pt x="1840995" y="287195"/>
                </a:cubicBezTo>
                <a:cubicBezTo>
                  <a:pt x="1848625" y="283476"/>
                  <a:pt x="1853477" y="275758"/>
                  <a:pt x="1853512" y="267279"/>
                </a:cubicBezTo>
                <a:cubicBezTo>
                  <a:pt x="1853512" y="254766"/>
                  <a:pt x="1838915" y="245386"/>
                  <a:pt x="1809727" y="239147"/>
                </a:cubicBezTo>
                <a:cubicBezTo>
                  <a:pt x="1800192" y="237778"/>
                  <a:pt x="1790772" y="235696"/>
                  <a:pt x="1781552" y="232923"/>
                </a:cubicBezTo>
                <a:cubicBezTo>
                  <a:pt x="1744749" y="223996"/>
                  <a:pt x="1720099" y="213320"/>
                  <a:pt x="1707596" y="200907"/>
                </a:cubicBezTo>
                <a:cubicBezTo>
                  <a:pt x="1693628" y="188196"/>
                  <a:pt x="1685998" y="169972"/>
                  <a:pt x="1686751" y="151116"/>
                </a:cubicBezTo>
                <a:cubicBezTo>
                  <a:pt x="1686248" y="125778"/>
                  <a:pt x="1697384" y="101604"/>
                  <a:pt x="1716972" y="85492"/>
                </a:cubicBezTo>
                <a:cubicBezTo>
                  <a:pt x="1737817" y="69524"/>
                  <a:pt x="1764930" y="61542"/>
                  <a:pt x="1798307" y="61542"/>
                </a:cubicBezTo>
                <a:close/>
                <a:moveTo>
                  <a:pt x="117839" y="61542"/>
                </a:moveTo>
                <a:cubicBezTo>
                  <a:pt x="154009" y="61542"/>
                  <a:pt x="182868" y="69524"/>
                  <a:pt x="204411" y="85492"/>
                </a:cubicBezTo>
                <a:cubicBezTo>
                  <a:pt x="224343" y="102426"/>
                  <a:pt x="236112" y="127032"/>
                  <a:pt x="236776" y="153158"/>
                </a:cubicBezTo>
                <a:lnTo>
                  <a:pt x="191894" y="153158"/>
                </a:lnTo>
                <a:cubicBezTo>
                  <a:pt x="179267" y="153516"/>
                  <a:pt x="167538" y="146655"/>
                  <a:pt x="161674" y="135482"/>
                </a:cubicBezTo>
                <a:lnTo>
                  <a:pt x="153296" y="127117"/>
                </a:lnTo>
                <a:cubicBezTo>
                  <a:pt x="143142" y="120355"/>
                  <a:pt x="131069" y="117069"/>
                  <a:pt x="118886" y="117756"/>
                </a:cubicBezTo>
                <a:cubicBezTo>
                  <a:pt x="108095" y="117074"/>
                  <a:pt x="97308" y="119240"/>
                  <a:pt x="87619" y="124030"/>
                </a:cubicBezTo>
                <a:cubicBezTo>
                  <a:pt x="81355" y="128143"/>
                  <a:pt x="77760" y="135278"/>
                  <a:pt x="78194" y="142751"/>
                </a:cubicBezTo>
                <a:cubicBezTo>
                  <a:pt x="78194" y="153870"/>
                  <a:pt x="96281" y="163250"/>
                  <a:pt x="132451" y="170883"/>
                </a:cubicBezTo>
                <a:cubicBezTo>
                  <a:pt x="136051" y="172113"/>
                  <a:pt x="139712" y="173159"/>
                  <a:pt x="143422" y="174020"/>
                </a:cubicBezTo>
                <a:cubicBezTo>
                  <a:pt x="146314" y="174697"/>
                  <a:pt x="149276" y="175046"/>
                  <a:pt x="152248" y="175066"/>
                </a:cubicBezTo>
                <a:cubicBezTo>
                  <a:pt x="187655" y="183864"/>
                  <a:pt x="212340" y="194136"/>
                  <a:pt x="226303" y="205886"/>
                </a:cubicBezTo>
                <a:cubicBezTo>
                  <a:pt x="239748" y="218892"/>
                  <a:pt x="246999" y="237001"/>
                  <a:pt x="246251" y="255678"/>
                </a:cubicBezTo>
                <a:cubicBezTo>
                  <a:pt x="246251" y="286249"/>
                  <a:pt x="235115" y="309850"/>
                  <a:pt x="212839" y="326481"/>
                </a:cubicBezTo>
                <a:cubicBezTo>
                  <a:pt x="191994" y="341781"/>
                  <a:pt x="160711" y="349434"/>
                  <a:pt x="118986" y="349434"/>
                </a:cubicBezTo>
                <a:cubicBezTo>
                  <a:pt x="79356" y="349434"/>
                  <a:pt x="49804" y="341433"/>
                  <a:pt x="30320" y="325435"/>
                </a:cubicBezTo>
                <a:cubicBezTo>
                  <a:pt x="10173" y="309502"/>
                  <a:pt x="100" y="286264"/>
                  <a:pt x="100" y="255727"/>
                </a:cubicBezTo>
                <a:lnTo>
                  <a:pt x="0" y="252790"/>
                </a:lnTo>
                <a:lnTo>
                  <a:pt x="70714" y="252790"/>
                </a:lnTo>
                <a:cubicBezTo>
                  <a:pt x="70594" y="265123"/>
                  <a:pt x="76418" y="276754"/>
                  <a:pt x="86372" y="284059"/>
                </a:cubicBezTo>
                <a:cubicBezTo>
                  <a:pt x="98939" y="291552"/>
                  <a:pt x="113441" y="295177"/>
                  <a:pt x="128062" y="294465"/>
                </a:cubicBezTo>
                <a:cubicBezTo>
                  <a:pt x="139288" y="294754"/>
                  <a:pt x="150408" y="292254"/>
                  <a:pt x="160427" y="287195"/>
                </a:cubicBezTo>
                <a:cubicBezTo>
                  <a:pt x="168057" y="283476"/>
                  <a:pt x="172909" y="275758"/>
                  <a:pt x="172944" y="267279"/>
                </a:cubicBezTo>
                <a:cubicBezTo>
                  <a:pt x="172944" y="254766"/>
                  <a:pt x="158332" y="245386"/>
                  <a:pt x="129110" y="239147"/>
                </a:cubicBezTo>
                <a:cubicBezTo>
                  <a:pt x="119575" y="237773"/>
                  <a:pt x="110159" y="235691"/>
                  <a:pt x="100934" y="232923"/>
                </a:cubicBezTo>
                <a:cubicBezTo>
                  <a:pt x="64166" y="223996"/>
                  <a:pt x="39546" y="213320"/>
                  <a:pt x="27079" y="200907"/>
                </a:cubicBezTo>
                <a:cubicBezTo>
                  <a:pt x="13110" y="188196"/>
                  <a:pt x="5481" y="169972"/>
                  <a:pt x="6234" y="151116"/>
                </a:cubicBezTo>
                <a:cubicBezTo>
                  <a:pt x="5745" y="125773"/>
                  <a:pt x="16895" y="101594"/>
                  <a:pt x="36504" y="85492"/>
                </a:cubicBezTo>
                <a:cubicBezTo>
                  <a:pt x="57349" y="69524"/>
                  <a:pt x="84462" y="61542"/>
                  <a:pt x="117839" y="61542"/>
                </a:cubicBezTo>
                <a:close/>
                <a:moveTo>
                  <a:pt x="674970" y="61293"/>
                </a:moveTo>
                <a:cubicBezTo>
                  <a:pt x="713867" y="61293"/>
                  <a:pt x="743056" y="67930"/>
                  <a:pt x="762539" y="81209"/>
                </a:cubicBezTo>
                <a:cubicBezTo>
                  <a:pt x="782168" y="94006"/>
                  <a:pt x="793652" y="116128"/>
                  <a:pt x="792809" y="139515"/>
                </a:cubicBezTo>
                <a:lnTo>
                  <a:pt x="792809" y="234118"/>
                </a:lnTo>
                <a:cubicBezTo>
                  <a:pt x="792809" y="261902"/>
                  <a:pt x="787822" y="283596"/>
                  <a:pt x="777849" y="299195"/>
                </a:cubicBezTo>
                <a:cubicBezTo>
                  <a:pt x="769137" y="313535"/>
                  <a:pt x="756670" y="325221"/>
                  <a:pt x="741794" y="333003"/>
                </a:cubicBezTo>
                <a:cubicBezTo>
                  <a:pt x="727347" y="340572"/>
                  <a:pt x="711593" y="345337"/>
                  <a:pt x="695366" y="347044"/>
                </a:cubicBezTo>
                <a:cubicBezTo>
                  <a:pt x="680994" y="348678"/>
                  <a:pt x="666547" y="349559"/>
                  <a:pt x="652081" y="349683"/>
                </a:cubicBezTo>
                <a:cubicBezTo>
                  <a:pt x="628567" y="350156"/>
                  <a:pt x="605533" y="343031"/>
                  <a:pt x="586404" y="329369"/>
                </a:cubicBezTo>
                <a:cubicBezTo>
                  <a:pt x="567618" y="315825"/>
                  <a:pt x="558228" y="293434"/>
                  <a:pt x="558228" y="262200"/>
                </a:cubicBezTo>
                <a:cubicBezTo>
                  <a:pt x="558228" y="233023"/>
                  <a:pt x="566740" y="212195"/>
                  <a:pt x="583761" y="199712"/>
                </a:cubicBezTo>
                <a:cubicBezTo>
                  <a:pt x="603185" y="186304"/>
                  <a:pt x="625561" y="177764"/>
                  <a:pt x="648989" y="174817"/>
                </a:cubicBezTo>
                <a:cubicBezTo>
                  <a:pt x="653202" y="174717"/>
                  <a:pt x="657396" y="174179"/>
                  <a:pt x="661505" y="173224"/>
                </a:cubicBezTo>
                <a:cubicBezTo>
                  <a:pt x="666492" y="172178"/>
                  <a:pt x="671928" y="171331"/>
                  <a:pt x="678162" y="170634"/>
                </a:cubicBezTo>
                <a:cubicBezTo>
                  <a:pt x="708781" y="166452"/>
                  <a:pt x="724091" y="157425"/>
                  <a:pt x="724091" y="143548"/>
                </a:cubicBezTo>
                <a:cubicBezTo>
                  <a:pt x="724460" y="133709"/>
                  <a:pt x="717573" y="125071"/>
                  <a:pt x="707883" y="123233"/>
                </a:cubicBezTo>
                <a:cubicBezTo>
                  <a:pt x="698179" y="120286"/>
                  <a:pt x="688106" y="118712"/>
                  <a:pt x="677962" y="118553"/>
                </a:cubicBezTo>
                <a:cubicBezTo>
                  <a:pt x="669091" y="118413"/>
                  <a:pt x="660264" y="119828"/>
                  <a:pt x="651881" y="122735"/>
                </a:cubicBezTo>
                <a:cubicBezTo>
                  <a:pt x="644371" y="125374"/>
                  <a:pt x="638327" y="131050"/>
                  <a:pt x="635225" y="138370"/>
                </a:cubicBezTo>
                <a:lnTo>
                  <a:pt x="565409" y="138370"/>
                </a:lnTo>
                <a:cubicBezTo>
                  <a:pt x="567823" y="117527"/>
                  <a:pt x="578310" y="98457"/>
                  <a:pt x="594632" y="85243"/>
                </a:cubicBezTo>
                <a:cubicBezTo>
                  <a:pt x="613418" y="69275"/>
                  <a:pt x="640197" y="61293"/>
                  <a:pt x="674970" y="61293"/>
                </a:cubicBezTo>
                <a:close/>
                <a:moveTo>
                  <a:pt x="1318972" y="61193"/>
                </a:moveTo>
                <a:cubicBezTo>
                  <a:pt x="1355141" y="61193"/>
                  <a:pt x="1384000" y="69175"/>
                  <a:pt x="1405543" y="85143"/>
                </a:cubicBezTo>
                <a:cubicBezTo>
                  <a:pt x="1425511" y="102052"/>
                  <a:pt x="1437290" y="126673"/>
                  <a:pt x="1437908" y="152809"/>
                </a:cubicBezTo>
                <a:lnTo>
                  <a:pt x="1393026" y="152809"/>
                </a:lnTo>
                <a:cubicBezTo>
                  <a:pt x="1380400" y="153167"/>
                  <a:pt x="1368671" y="146306"/>
                  <a:pt x="1362806" y="135133"/>
                </a:cubicBezTo>
                <a:lnTo>
                  <a:pt x="1354478" y="126768"/>
                </a:lnTo>
                <a:cubicBezTo>
                  <a:pt x="1344305" y="120011"/>
                  <a:pt x="1332217" y="116730"/>
                  <a:pt x="1320019" y="117407"/>
                </a:cubicBezTo>
                <a:cubicBezTo>
                  <a:pt x="1309227" y="116725"/>
                  <a:pt x="1298441" y="118891"/>
                  <a:pt x="1288751" y="123681"/>
                </a:cubicBezTo>
                <a:cubicBezTo>
                  <a:pt x="1282488" y="127794"/>
                  <a:pt x="1278892" y="134929"/>
                  <a:pt x="1279326" y="142402"/>
                </a:cubicBezTo>
                <a:cubicBezTo>
                  <a:pt x="1279326" y="153521"/>
                  <a:pt x="1297414" y="162901"/>
                  <a:pt x="1333583" y="170534"/>
                </a:cubicBezTo>
                <a:cubicBezTo>
                  <a:pt x="1337184" y="171764"/>
                  <a:pt x="1340844" y="172810"/>
                  <a:pt x="1344554" y="173671"/>
                </a:cubicBezTo>
                <a:cubicBezTo>
                  <a:pt x="1347466" y="174343"/>
                  <a:pt x="1350444" y="174692"/>
                  <a:pt x="1353431" y="174717"/>
                </a:cubicBezTo>
                <a:cubicBezTo>
                  <a:pt x="1388773" y="183744"/>
                  <a:pt x="1413338" y="194135"/>
                  <a:pt x="1427136" y="205886"/>
                </a:cubicBezTo>
                <a:cubicBezTo>
                  <a:pt x="1440561" y="218902"/>
                  <a:pt x="1447812" y="237006"/>
                  <a:pt x="1447084" y="255677"/>
                </a:cubicBezTo>
                <a:cubicBezTo>
                  <a:pt x="1447084" y="286249"/>
                  <a:pt x="1435963" y="309850"/>
                  <a:pt x="1413722" y="326480"/>
                </a:cubicBezTo>
                <a:cubicBezTo>
                  <a:pt x="1392842" y="341781"/>
                  <a:pt x="1361544" y="349434"/>
                  <a:pt x="1319819" y="349434"/>
                </a:cubicBezTo>
                <a:cubicBezTo>
                  <a:pt x="1280159" y="349434"/>
                  <a:pt x="1250602" y="341432"/>
                  <a:pt x="1231153" y="325435"/>
                </a:cubicBezTo>
                <a:cubicBezTo>
                  <a:pt x="1211006" y="309501"/>
                  <a:pt x="1200933" y="286264"/>
                  <a:pt x="1200933" y="255727"/>
                </a:cubicBezTo>
                <a:lnTo>
                  <a:pt x="1200933" y="252789"/>
                </a:lnTo>
                <a:lnTo>
                  <a:pt x="1271846" y="252789"/>
                </a:lnTo>
                <a:cubicBezTo>
                  <a:pt x="1271726" y="265123"/>
                  <a:pt x="1277551" y="276754"/>
                  <a:pt x="1287505" y="284058"/>
                </a:cubicBezTo>
                <a:cubicBezTo>
                  <a:pt x="1300087" y="291562"/>
                  <a:pt x="1314608" y="295181"/>
                  <a:pt x="1329245" y="294465"/>
                </a:cubicBezTo>
                <a:cubicBezTo>
                  <a:pt x="1340455" y="294753"/>
                  <a:pt x="1351556" y="292254"/>
                  <a:pt x="1361559" y="287195"/>
                </a:cubicBezTo>
                <a:cubicBezTo>
                  <a:pt x="1369189" y="283476"/>
                  <a:pt x="1374042" y="275758"/>
                  <a:pt x="1374076" y="267278"/>
                </a:cubicBezTo>
                <a:cubicBezTo>
                  <a:pt x="1374076" y="254766"/>
                  <a:pt x="1359465" y="245385"/>
                  <a:pt x="1330242" y="239147"/>
                </a:cubicBezTo>
                <a:cubicBezTo>
                  <a:pt x="1320722" y="237777"/>
                  <a:pt x="1311322" y="235696"/>
                  <a:pt x="1302116" y="232923"/>
                </a:cubicBezTo>
                <a:cubicBezTo>
                  <a:pt x="1265214" y="223925"/>
                  <a:pt x="1240529" y="213171"/>
                  <a:pt x="1228061" y="200658"/>
                </a:cubicBezTo>
                <a:cubicBezTo>
                  <a:pt x="1214063" y="187961"/>
                  <a:pt x="1206414" y="169733"/>
                  <a:pt x="1207167" y="150867"/>
                </a:cubicBezTo>
                <a:cubicBezTo>
                  <a:pt x="1206693" y="125453"/>
                  <a:pt x="1217923" y="101230"/>
                  <a:pt x="1237636" y="85143"/>
                </a:cubicBezTo>
                <a:cubicBezTo>
                  <a:pt x="1258481" y="69175"/>
                  <a:pt x="1285595" y="61193"/>
                  <a:pt x="1318972" y="61193"/>
                </a:cubicBezTo>
                <a:close/>
                <a:moveTo>
                  <a:pt x="1065340" y="61193"/>
                </a:moveTo>
                <a:cubicBezTo>
                  <a:pt x="1107030" y="61193"/>
                  <a:pt x="1139360" y="73691"/>
                  <a:pt x="1162334" y="98686"/>
                </a:cubicBezTo>
                <a:cubicBezTo>
                  <a:pt x="1184576" y="124378"/>
                  <a:pt x="1195696" y="160128"/>
                  <a:pt x="1195696" y="205936"/>
                </a:cubicBezTo>
                <a:lnTo>
                  <a:pt x="1195696" y="217388"/>
                </a:lnTo>
                <a:cubicBezTo>
                  <a:pt x="1195861" y="219872"/>
                  <a:pt x="1195502" y="222367"/>
                  <a:pt x="1194649" y="224707"/>
                </a:cubicBezTo>
                <a:lnTo>
                  <a:pt x="1014225" y="224707"/>
                </a:lnTo>
                <a:cubicBezTo>
                  <a:pt x="1014923" y="246217"/>
                  <a:pt x="1020144" y="262185"/>
                  <a:pt x="1029884" y="272606"/>
                </a:cubicBezTo>
                <a:cubicBezTo>
                  <a:pt x="1038895" y="283725"/>
                  <a:pt x="1052439" y="289271"/>
                  <a:pt x="1070526" y="289236"/>
                </a:cubicBezTo>
                <a:cubicBezTo>
                  <a:pt x="1081088" y="289570"/>
                  <a:pt x="1091541" y="287056"/>
                  <a:pt x="1100797" y="281967"/>
                </a:cubicBezTo>
                <a:cubicBezTo>
                  <a:pt x="1102971" y="281225"/>
                  <a:pt x="1104936" y="279980"/>
                  <a:pt x="1106532" y="278332"/>
                </a:cubicBezTo>
                <a:lnTo>
                  <a:pt x="1112266" y="272606"/>
                </a:lnTo>
                <a:cubicBezTo>
                  <a:pt x="1114117" y="269195"/>
                  <a:pt x="1116809" y="266313"/>
                  <a:pt x="1120096" y="264241"/>
                </a:cubicBezTo>
                <a:cubicBezTo>
                  <a:pt x="1125786" y="260452"/>
                  <a:pt x="1132568" y="258630"/>
                  <a:pt x="1139395" y="259063"/>
                </a:cubicBezTo>
                <a:lnTo>
                  <a:pt x="1191557" y="259063"/>
                </a:lnTo>
                <a:cubicBezTo>
                  <a:pt x="1183877" y="288241"/>
                  <a:pt x="1169266" y="310447"/>
                  <a:pt x="1147723" y="325684"/>
                </a:cubicBezTo>
                <a:cubicBezTo>
                  <a:pt x="1126180" y="341652"/>
                  <a:pt x="1099066" y="349648"/>
                  <a:pt x="1066387" y="349683"/>
                </a:cubicBezTo>
                <a:cubicBezTo>
                  <a:pt x="1026757" y="349683"/>
                  <a:pt x="995809" y="336837"/>
                  <a:pt x="973532" y="311145"/>
                </a:cubicBezTo>
                <a:cubicBezTo>
                  <a:pt x="951291" y="286149"/>
                  <a:pt x="940170" y="250384"/>
                  <a:pt x="940170" y="203845"/>
                </a:cubicBezTo>
                <a:cubicBezTo>
                  <a:pt x="940170" y="159431"/>
                  <a:pt x="950942" y="124727"/>
                  <a:pt x="972485" y="99731"/>
                </a:cubicBezTo>
                <a:cubicBezTo>
                  <a:pt x="994726" y="74039"/>
                  <a:pt x="1025680" y="61193"/>
                  <a:pt x="1065340" y="61193"/>
                </a:cubicBezTo>
                <a:close/>
                <a:moveTo>
                  <a:pt x="810064" y="0"/>
                </a:moveTo>
                <a:lnTo>
                  <a:pt x="880578" y="0"/>
                </a:lnTo>
                <a:lnTo>
                  <a:pt x="880578" y="69708"/>
                </a:lnTo>
                <a:lnTo>
                  <a:pt x="930446" y="69708"/>
                </a:lnTo>
                <a:lnTo>
                  <a:pt x="930446" y="132096"/>
                </a:lnTo>
                <a:lnTo>
                  <a:pt x="880578" y="132096"/>
                </a:lnTo>
                <a:lnTo>
                  <a:pt x="880578" y="229288"/>
                </a:lnTo>
                <a:cubicBezTo>
                  <a:pt x="880578" y="248458"/>
                  <a:pt x="884916" y="262001"/>
                  <a:pt x="893643" y="269818"/>
                </a:cubicBezTo>
                <a:cubicBezTo>
                  <a:pt x="902370" y="277636"/>
                  <a:pt x="915635" y="281021"/>
                  <a:pt x="933538" y="279776"/>
                </a:cubicBezTo>
                <a:lnTo>
                  <a:pt x="933438" y="343908"/>
                </a:lnTo>
                <a:cubicBezTo>
                  <a:pt x="915565" y="346233"/>
                  <a:pt x="897403" y="344963"/>
                  <a:pt x="880029" y="340173"/>
                </a:cubicBezTo>
                <a:cubicBezTo>
                  <a:pt x="865537" y="336060"/>
                  <a:pt x="852312" y="328373"/>
                  <a:pt x="841580" y="317817"/>
                </a:cubicBezTo>
                <a:cubicBezTo>
                  <a:pt x="830973" y="307032"/>
                  <a:pt x="822945" y="293997"/>
                  <a:pt x="818092" y="279677"/>
                </a:cubicBezTo>
                <a:cubicBezTo>
                  <a:pt x="812542" y="263276"/>
                  <a:pt x="809824" y="246053"/>
                  <a:pt x="810064" y="228741"/>
                </a:cubicBezTo>
                <a:close/>
                <a:moveTo>
                  <a:pt x="259216" y="0"/>
                </a:moveTo>
                <a:lnTo>
                  <a:pt x="329681" y="0"/>
                </a:lnTo>
                <a:lnTo>
                  <a:pt x="329681" y="69708"/>
                </a:lnTo>
                <a:lnTo>
                  <a:pt x="379549" y="69708"/>
                </a:lnTo>
                <a:lnTo>
                  <a:pt x="379549" y="132096"/>
                </a:lnTo>
                <a:lnTo>
                  <a:pt x="329681" y="132096"/>
                </a:lnTo>
                <a:lnTo>
                  <a:pt x="329681" y="229288"/>
                </a:lnTo>
                <a:cubicBezTo>
                  <a:pt x="329681" y="248458"/>
                  <a:pt x="334069" y="262001"/>
                  <a:pt x="342796" y="269818"/>
                </a:cubicBezTo>
                <a:cubicBezTo>
                  <a:pt x="351523" y="277636"/>
                  <a:pt x="364738" y="281021"/>
                  <a:pt x="382691" y="279776"/>
                </a:cubicBezTo>
                <a:lnTo>
                  <a:pt x="382541" y="343908"/>
                </a:lnTo>
                <a:cubicBezTo>
                  <a:pt x="364683" y="346238"/>
                  <a:pt x="346541" y="344968"/>
                  <a:pt x="329182" y="340173"/>
                </a:cubicBezTo>
                <a:cubicBezTo>
                  <a:pt x="314690" y="336060"/>
                  <a:pt x="301465" y="328373"/>
                  <a:pt x="290733" y="317817"/>
                </a:cubicBezTo>
                <a:cubicBezTo>
                  <a:pt x="280086" y="307052"/>
                  <a:pt x="272038" y="294012"/>
                  <a:pt x="267196" y="279677"/>
                </a:cubicBezTo>
                <a:cubicBezTo>
                  <a:pt x="261660" y="263276"/>
                  <a:pt x="258962" y="246048"/>
                  <a:pt x="259216" y="22874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800" b="0" i="0" u="none" strike="noStrike" kern="0" cap="none" spc="0" normalizeH="0" baseline="0" noProof="0">
              <a:ln>
                <a:noFill/>
              </a:ln>
              <a:solidFill>
                <a:schemeClr val="tx2"/>
              </a:solidFill>
              <a:effectLst/>
              <a:uLnTx/>
              <a:uFillTx/>
              <a:latin typeface="Arial"/>
              <a:ea typeface="Arial"/>
              <a:cs typeface="Arial"/>
              <a:sym typeface="Arial"/>
            </a:endParaRPr>
          </a:p>
        </p:txBody>
      </p:sp>
      <p:sp>
        <p:nvSpPr>
          <p:cNvPr id="4" name="CuadroTexto 3">
            <a:extLst>
              <a:ext uri="{FF2B5EF4-FFF2-40B4-BE49-F238E27FC236}">
                <a16:creationId xmlns:a16="http://schemas.microsoft.com/office/drawing/2014/main" id="{0CB452B5-1F42-AEF1-3FC9-79307197D549}"/>
              </a:ext>
            </a:extLst>
          </p:cNvPr>
          <p:cNvSpPr txBox="1"/>
          <p:nvPr/>
        </p:nvSpPr>
        <p:spPr>
          <a:xfrm>
            <a:off x="544086" y="4886456"/>
            <a:ext cx="5712069" cy="1569660"/>
          </a:xfrm>
          <a:prstGeom prst="rect">
            <a:avLst/>
          </a:prstGeom>
          <a:noFill/>
        </p:spPr>
        <p:txBody>
          <a:bodyPr wrap="square">
            <a:spAutoFit/>
          </a:bodyPr>
          <a:lstStyle/>
          <a:p>
            <a:r>
              <a:rPr lang="en-GB" sz="1800" b="1" noProof="0">
                <a:latin typeface="Quattrocento Sans" panose="020B0502050000020003" pitchFamily="34" charset="0"/>
              </a:rPr>
              <a:t>DATA QUALITY DASHBOARD</a:t>
            </a:r>
          </a:p>
          <a:p>
            <a:pPr marL="342900" indent="-342900">
              <a:buFont typeface="+mj-lt"/>
              <a:buAutoNum type="arabicPeriod"/>
            </a:pPr>
            <a:endParaRPr lang="en-GB" sz="800" noProof="0">
              <a:latin typeface="Quattrocento Sans" panose="020B0502050000020003" pitchFamily="34" charset="0"/>
            </a:endParaRPr>
          </a:p>
          <a:p>
            <a:r>
              <a:rPr lang="en-GB" sz="1400" noProof="0">
                <a:latin typeface="Quattrocento Sans" panose="020B0502050000020003" pitchFamily="34" charset="0"/>
              </a:rPr>
              <a:t>- Identification of duplications
- Master data grouping 
- Field cleanup and exclusion filters
- Enrichment with the generation of additional fields, groupings or rankings.</a:t>
            </a:r>
          </a:p>
        </p:txBody>
      </p:sp>
      <p:pic>
        <p:nvPicPr>
          <p:cNvPr id="6" name="Imagen 5">
            <a:extLst>
              <a:ext uri="{FF2B5EF4-FFF2-40B4-BE49-F238E27FC236}">
                <a16:creationId xmlns:a16="http://schemas.microsoft.com/office/drawing/2014/main" id="{36BE613D-9A90-9822-B33D-F5D089F74492}"/>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773892" y="3794069"/>
            <a:ext cx="1223914" cy="854431"/>
          </a:xfrm>
          <a:prstGeom prst="rect">
            <a:avLst/>
          </a:prstGeom>
        </p:spPr>
      </p:pic>
      <p:pic>
        <p:nvPicPr>
          <p:cNvPr id="9" name="Picture 2" descr="شاشة الكمبيوتر PNG صورة مجانية - PNG All">
            <a:extLst>
              <a:ext uri="{FF2B5EF4-FFF2-40B4-BE49-F238E27FC236}">
                <a16:creationId xmlns:a16="http://schemas.microsoft.com/office/drawing/2014/main" id="{87ED2FF6-35E6-4143-E0A8-BFA5CECF36E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83654" y="2298700"/>
            <a:ext cx="4048848" cy="2882900"/>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n 10">
            <a:extLst>
              <a:ext uri="{FF2B5EF4-FFF2-40B4-BE49-F238E27FC236}">
                <a16:creationId xmlns:a16="http://schemas.microsoft.com/office/drawing/2014/main" id="{B012AA15-04E1-B300-853B-69EBCB1CAB43}"/>
              </a:ext>
            </a:extLst>
          </p:cNvPr>
          <p:cNvPicPr>
            <a:picLocks noChangeAspect="1"/>
          </p:cNvPicPr>
          <p:nvPr/>
        </p:nvPicPr>
        <p:blipFill>
          <a:blip r:embed="rId5"/>
          <a:stretch>
            <a:fillRect/>
          </a:stretch>
        </p:blipFill>
        <p:spPr>
          <a:xfrm>
            <a:off x="2343809" y="2442357"/>
            <a:ext cx="3752191" cy="1973285"/>
          </a:xfrm>
          <a:prstGeom prst="rect">
            <a:avLst/>
          </a:prstGeom>
        </p:spPr>
      </p:pic>
      <p:cxnSp>
        <p:nvCxnSpPr>
          <p:cNvPr id="30" name="Straight Arrow Connector 70">
            <a:extLst>
              <a:ext uri="{FF2B5EF4-FFF2-40B4-BE49-F238E27FC236}">
                <a16:creationId xmlns:a16="http://schemas.microsoft.com/office/drawing/2014/main" id="{4990F644-2D0A-7472-01E0-B371C729C426}"/>
              </a:ext>
            </a:extLst>
          </p:cNvPr>
          <p:cNvCxnSpPr>
            <a:cxnSpLocks/>
          </p:cNvCxnSpPr>
          <p:nvPr/>
        </p:nvCxnSpPr>
        <p:spPr>
          <a:xfrm>
            <a:off x="6269620" y="1127676"/>
            <a:ext cx="0" cy="5416684"/>
          </a:xfrm>
          <a:prstGeom prst="straightConnector1">
            <a:avLst/>
          </a:prstGeom>
          <a:noFill/>
          <a:ln w="28575">
            <a:solidFill>
              <a:srgbClr val="C72EC9"/>
            </a:solidFill>
          </a:ln>
        </p:spPr>
      </p:cxnSp>
      <p:sp>
        <p:nvSpPr>
          <p:cNvPr id="34" name="Rectángulo: esquinas redondeadas 33">
            <a:extLst>
              <a:ext uri="{FF2B5EF4-FFF2-40B4-BE49-F238E27FC236}">
                <a16:creationId xmlns:a16="http://schemas.microsoft.com/office/drawing/2014/main" id="{6DAC8B2A-FBAB-3A24-C6AD-27E197499905}"/>
              </a:ext>
            </a:extLst>
          </p:cNvPr>
          <p:cNvSpPr/>
          <p:nvPr/>
        </p:nvSpPr>
        <p:spPr>
          <a:xfrm>
            <a:off x="6256155" y="2636258"/>
            <a:ext cx="5712069" cy="4056133"/>
          </a:xfrm>
          <a:prstGeom prst="roundRect">
            <a:avLst/>
          </a:prstGeom>
          <a:noFill/>
          <a:ln>
            <a:noFill/>
          </a:ln>
        </p:spPr>
        <p:txBody>
          <a:bodyPr spcFirstLastPara="1" wrap="square" lIns="91425" tIns="45700" rIns="91425" bIns="45700" anchor="t" anchorCtr="0">
            <a:noAutofit/>
          </a:bodyPr>
          <a:lstStyle/>
          <a:p>
            <a:r>
              <a:rPr lang="en-GB" sz="1400" b="1" i="0" noProof="0">
                <a:effectLst/>
                <a:latin typeface="Quattrocento Sans" panose="020B0502050000020003" pitchFamily="34" charset="0"/>
              </a:rPr>
              <a:t>1. </a:t>
            </a:r>
            <a:r>
              <a:rPr lang="en-GB" sz="1400" b="1" noProof="0">
                <a:latin typeface="Quattrocento Sans" panose="020B0502050000020003" pitchFamily="34" charset="0"/>
              </a:rPr>
              <a:t>Format correction and adaptation</a:t>
            </a:r>
            <a:endParaRPr lang="en-GB" sz="1400" i="0" noProof="0">
              <a:effectLst/>
              <a:latin typeface="Quattrocento Sans" panose="020B0502050000020003" pitchFamily="34" charset="0"/>
            </a:endParaRPr>
          </a:p>
          <a:p>
            <a:pPr lvl="1"/>
            <a:r>
              <a:rPr lang="en-GB" sz="1400" noProof="0">
                <a:latin typeface="Quattrocento Sans" panose="020B0502050000020003" pitchFamily="34" charset="0"/>
              </a:rPr>
              <a:t>HANA SQL, </a:t>
            </a:r>
            <a:r>
              <a:rPr lang="en-GB" sz="1400" noProof="0" err="1">
                <a:latin typeface="Quattrocento Sans" panose="020B0502050000020003" pitchFamily="34" charset="0"/>
              </a:rPr>
              <a:t>SQLScript</a:t>
            </a:r>
            <a:r>
              <a:rPr lang="en-GB" sz="1400" noProof="0">
                <a:latin typeface="Quattrocento Sans" panose="020B0502050000020003" pitchFamily="34" charset="0"/>
              </a:rPr>
              <a:t>, and Python have hundreds of formatting and syntax adaptation functions that allow you to automatically correct typos and enrich data using custom logic.</a:t>
            </a:r>
          </a:p>
          <a:p>
            <a:pPr lvl="1"/>
            <a:endParaRPr lang="en-GB" sz="1400" noProof="0">
              <a:latin typeface="Quattrocento Sans" panose="020B0502050000020003" pitchFamily="34" charset="0"/>
            </a:endParaRPr>
          </a:p>
          <a:p>
            <a:r>
              <a:rPr lang="en-GB" sz="1400" b="1" i="0" noProof="0">
                <a:effectLst/>
                <a:latin typeface="Quattrocento Sans" panose="020B0502050000020003" pitchFamily="34" charset="0"/>
              </a:rPr>
              <a:t>2. </a:t>
            </a:r>
            <a:r>
              <a:rPr lang="en-GB" sz="1400" b="1" noProof="0">
                <a:latin typeface="Quattrocento Sans" panose="020B0502050000020003" pitchFamily="34" charset="0"/>
              </a:rPr>
              <a:t>Data error detection and alerting</a:t>
            </a:r>
          </a:p>
          <a:p>
            <a:pPr lvl="1"/>
            <a:r>
              <a:rPr lang="en-GB" sz="1400" noProof="0">
                <a:latin typeface="Quattrocento Sans" panose="020B0502050000020003" pitchFamily="34" charset="0"/>
              </a:rPr>
              <a:t>Using SAP Analytics Cloud, you can create alerts associated with data that allow you to automate the detection and notification of errors graphically or by e-mail.</a:t>
            </a:r>
          </a:p>
          <a:p>
            <a:pPr lvl="1"/>
            <a:endParaRPr lang="en-GB" sz="1400" b="1" noProof="0">
              <a:latin typeface="Quattrocento Sans" panose="020B0502050000020003" pitchFamily="34" charset="0"/>
            </a:endParaRPr>
          </a:p>
          <a:p>
            <a:r>
              <a:rPr lang="en-GB" sz="1400" b="1" i="0" noProof="0">
                <a:effectLst/>
                <a:latin typeface="Quattrocento Sans" panose="020B0502050000020003" pitchFamily="34" charset="0"/>
              </a:rPr>
              <a:t>3. </a:t>
            </a:r>
            <a:r>
              <a:rPr lang="en-GB" sz="1400" b="1" noProof="0">
                <a:latin typeface="Quattrocento Sans" panose="020B0502050000020003" pitchFamily="34" charset="0"/>
              </a:rPr>
              <a:t>Correction in external systems</a:t>
            </a:r>
          </a:p>
          <a:p>
            <a:pPr lvl="1"/>
            <a:r>
              <a:rPr lang="en-GB" sz="1400" noProof="0">
                <a:latin typeface="Quattrocento Sans" panose="020B0502050000020003" pitchFamily="34" charset="0"/>
              </a:rPr>
              <a:t>Through direct integration of SAP Datasphere with external systems with ODATA or replication flow, correction of data at transactional source is possible.
(External system must be supported)</a:t>
            </a:r>
            <a:endParaRPr lang="en-GB" sz="1400" i="0" noProof="0">
              <a:effectLst/>
              <a:latin typeface="Quattrocento Sans" panose="020B0502050000020003" pitchFamily="34" charset="0"/>
            </a:endParaRPr>
          </a:p>
        </p:txBody>
      </p:sp>
      <p:sp>
        <p:nvSpPr>
          <p:cNvPr id="5" name="TextBox 32">
            <a:extLst>
              <a:ext uri="{FF2B5EF4-FFF2-40B4-BE49-F238E27FC236}">
                <a16:creationId xmlns:a16="http://schemas.microsoft.com/office/drawing/2014/main" id="{A0DED334-7EE7-1231-71F5-67441D270FBE}"/>
              </a:ext>
            </a:extLst>
          </p:cNvPr>
          <p:cNvSpPr txBox="1"/>
          <p:nvPr/>
        </p:nvSpPr>
        <p:spPr>
          <a:xfrm>
            <a:off x="571015" y="1455536"/>
            <a:ext cx="2483893" cy="996033"/>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RPr/>
            </a:defPPr>
            <a:lvl1pPr algn="ctr">
              <a:defRPr sz="3200" b="1">
                <a:solidFill>
                  <a:srgbClr val="FFFFFF"/>
                </a:solidFill>
                <a:latin typeface="Quattrocento Sans"/>
              </a:defRPr>
            </a:lvl1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3200" b="1" i="0" u="none" strike="noStrike" kern="0" cap="none" spc="0" normalizeH="0" baseline="0" noProof="0">
                <a:ln>
                  <a:noFill/>
                </a:ln>
                <a:solidFill>
                  <a:schemeClr val="tx1"/>
                </a:solidFill>
                <a:effectLst/>
                <a:uLnTx/>
                <a:uFillTx/>
                <a:latin typeface="Quattrocento Sans"/>
                <a:cs typeface="Arial"/>
                <a:sym typeface="DM Sans Bold"/>
              </a:rPr>
              <a:t>1st Phase</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400" b="1" i="0" u="none" strike="noStrike" kern="0" cap="none" spc="0" normalizeH="0" baseline="0" noProof="0">
                <a:ln>
                  <a:noFill/>
                </a:ln>
                <a:solidFill>
                  <a:schemeClr val="tx1"/>
                </a:solidFill>
                <a:effectLst/>
                <a:uLnTx/>
                <a:uFillTx/>
                <a:latin typeface="Quattrocento Sans"/>
                <a:cs typeface="Arial"/>
                <a:sym typeface="DM Sans Bold"/>
              </a:rPr>
              <a:t>Data Health </a:t>
            </a:r>
          </a:p>
          <a:p>
            <a:pPr lvl="0">
              <a:buClr>
                <a:srgbClr val="000000"/>
              </a:buClr>
              <a:defRPr/>
            </a:pPr>
            <a:r>
              <a:rPr kumimoji="0" lang="en-GB" sz="1400" b="1" i="0" u="none" strike="noStrike" kern="0" cap="none" spc="0" normalizeH="0" baseline="0" noProof="0">
                <a:ln>
                  <a:noFill/>
                </a:ln>
                <a:solidFill>
                  <a:schemeClr val="tx1"/>
                </a:solidFill>
                <a:effectLst/>
                <a:uLnTx/>
                <a:uFillTx/>
                <a:latin typeface="Quattrocento Sans"/>
                <a:cs typeface="Arial"/>
                <a:sym typeface="DM Sans Bold"/>
              </a:rPr>
              <a:t>(</a:t>
            </a:r>
            <a:r>
              <a:rPr lang="en-GB" sz="1400" kern="0" noProof="0">
                <a:solidFill>
                  <a:schemeClr val="tx1"/>
                </a:solidFill>
                <a:cs typeface="Arial"/>
                <a:sym typeface="DM Sans Bold"/>
              </a:rPr>
              <a:t>Monitoring</a:t>
            </a:r>
            <a:r>
              <a:rPr kumimoji="0" lang="en-GB" sz="1400" b="1" i="0" u="none" strike="noStrike" kern="0" cap="none" spc="0" normalizeH="0" baseline="0" noProof="0">
                <a:ln>
                  <a:noFill/>
                </a:ln>
                <a:solidFill>
                  <a:schemeClr val="tx1"/>
                </a:solidFill>
                <a:effectLst/>
                <a:uLnTx/>
                <a:uFillTx/>
                <a:latin typeface="Quattrocento Sans"/>
                <a:cs typeface="Arial"/>
                <a:sym typeface="DM Sans Bold"/>
              </a:rPr>
              <a:t>) </a:t>
            </a:r>
          </a:p>
        </p:txBody>
      </p:sp>
      <p:sp>
        <p:nvSpPr>
          <p:cNvPr id="7" name="Rectángulo: esquinas redondeadas 6">
            <a:extLst>
              <a:ext uri="{FF2B5EF4-FFF2-40B4-BE49-F238E27FC236}">
                <a16:creationId xmlns:a16="http://schemas.microsoft.com/office/drawing/2014/main" id="{1857EA36-F26C-607B-FA4A-90F7B48B4887}"/>
              </a:ext>
            </a:extLst>
          </p:cNvPr>
          <p:cNvSpPr/>
          <p:nvPr/>
        </p:nvSpPr>
        <p:spPr>
          <a:xfrm>
            <a:off x="6646855" y="1219632"/>
            <a:ext cx="2483892" cy="1372670"/>
          </a:xfrm>
          <a:prstGeom prst="roundRect">
            <a:avLst>
              <a:gd name="adj" fmla="val 5327"/>
            </a:avLst>
          </a:prstGeom>
          <a:noFill/>
          <a:ln w="38100" cap="flat" cmpd="sng">
            <a:solidFill>
              <a:srgbClr val="9659E5"/>
            </a:solidFill>
            <a:prstDash val="solid"/>
            <a:round/>
            <a:headEnd type="none" w="med" len="med"/>
            <a:tailEnd type="none" w="med" len="med"/>
          </a:ln>
        </p:spPr>
        <p:txBody>
          <a:bodyPr lIns="0" tIns="0" rIns="0" bIns="0" rtlCol="0" anchor="ctr"/>
          <a:lstStyle/>
          <a:p>
            <a:pPr algn="ctr"/>
            <a:endParaRPr lang="en-GB" noProof="0">
              <a:solidFill>
                <a:schemeClr val="tx2"/>
              </a:solidFill>
              <a:sym typeface="Calibri"/>
            </a:endParaRPr>
          </a:p>
        </p:txBody>
      </p:sp>
      <p:sp>
        <p:nvSpPr>
          <p:cNvPr id="8" name="TextBox 32">
            <a:extLst>
              <a:ext uri="{FF2B5EF4-FFF2-40B4-BE49-F238E27FC236}">
                <a16:creationId xmlns:a16="http://schemas.microsoft.com/office/drawing/2014/main" id="{7BDB557D-C5DA-4537-D853-3004244BFE44}"/>
              </a:ext>
            </a:extLst>
          </p:cNvPr>
          <p:cNvSpPr txBox="1"/>
          <p:nvPr/>
        </p:nvSpPr>
        <p:spPr>
          <a:xfrm>
            <a:off x="6646854" y="1295721"/>
            <a:ext cx="2460241" cy="1211476"/>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algn="ctr">
              <a:defRPr sz="1800">
                <a:latin typeface="Quattrocento Sans"/>
              </a:defRPr>
            </a:lvl1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3200" b="1" i="0" u="none" strike="noStrike" kern="0" cap="none" spc="0" normalizeH="0" baseline="0" noProof="0">
                <a:ln>
                  <a:noFill/>
                </a:ln>
                <a:effectLst/>
                <a:uLnTx/>
                <a:uFillTx/>
                <a:latin typeface="Quattrocento Sans"/>
                <a:cs typeface="Arial"/>
                <a:sym typeface="DM Sans Bold"/>
              </a:rPr>
              <a:t>2nd Phase</a:t>
            </a:r>
          </a:p>
          <a:p>
            <a:pPr lvl="0">
              <a:buClr>
                <a:srgbClr val="000000"/>
              </a:buClr>
              <a:defRPr/>
            </a:pPr>
            <a:r>
              <a:rPr lang="en-GB" sz="1400" b="1" kern="0" noProof="0">
                <a:cs typeface="Arial"/>
                <a:sym typeface="DM Sans Bold"/>
              </a:rPr>
              <a:t>Definition of corrective actions and remediation plans</a:t>
            </a:r>
            <a:endParaRPr kumimoji="0" lang="en-GB" sz="1400" b="1" i="0" u="none" strike="noStrike" kern="0" cap="none" spc="0" normalizeH="0" baseline="0" noProof="0">
              <a:ln>
                <a:noFill/>
              </a:ln>
              <a:effectLst/>
              <a:uLnTx/>
              <a:uFillTx/>
              <a:latin typeface="Quattrocento Sans"/>
              <a:cs typeface="Arial"/>
              <a:sym typeface="DM Sans Bold"/>
            </a:endParaRPr>
          </a:p>
        </p:txBody>
      </p:sp>
      <p:sp>
        <p:nvSpPr>
          <p:cNvPr id="10" name="Rectángulo: esquinas redondeadas 9">
            <a:extLst>
              <a:ext uri="{FF2B5EF4-FFF2-40B4-BE49-F238E27FC236}">
                <a16:creationId xmlns:a16="http://schemas.microsoft.com/office/drawing/2014/main" id="{9F6DE6E6-078A-94D8-956A-5D882D51C207}"/>
              </a:ext>
            </a:extLst>
          </p:cNvPr>
          <p:cNvSpPr/>
          <p:nvPr/>
        </p:nvSpPr>
        <p:spPr>
          <a:xfrm>
            <a:off x="9484329" y="1219633"/>
            <a:ext cx="2483894" cy="1372669"/>
          </a:xfrm>
          <a:prstGeom prst="roundRect">
            <a:avLst>
              <a:gd name="adj" fmla="val 6981"/>
            </a:avLst>
          </a:prstGeom>
          <a:noFill/>
          <a:ln w="38100" cap="flat" cmpd="sng">
            <a:solidFill>
              <a:srgbClr val="FC03FE"/>
            </a:solidFill>
            <a:prstDash val="solid"/>
            <a:round/>
            <a:headEnd type="none" w="med" len="med"/>
            <a:tailEnd type="none" w="med" len="med"/>
          </a:ln>
        </p:spPr>
        <p:txBody>
          <a:bodyPr lIns="0" tIns="0" rIns="0" bIns="0" rtlCol="0" anchor="ctr"/>
          <a:lstStyle/>
          <a:p>
            <a:pPr algn="ctr"/>
            <a:endParaRPr lang="en-GB" noProof="0">
              <a:solidFill>
                <a:schemeClr val="tx2"/>
              </a:solidFill>
              <a:sym typeface="Calibri"/>
            </a:endParaRPr>
          </a:p>
        </p:txBody>
      </p:sp>
      <p:sp>
        <p:nvSpPr>
          <p:cNvPr id="12" name="TextBox 32">
            <a:extLst>
              <a:ext uri="{FF2B5EF4-FFF2-40B4-BE49-F238E27FC236}">
                <a16:creationId xmlns:a16="http://schemas.microsoft.com/office/drawing/2014/main" id="{9929F61E-2A82-41F4-A91F-7F229B67701C}"/>
              </a:ext>
            </a:extLst>
          </p:cNvPr>
          <p:cNvSpPr txBox="1"/>
          <p:nvPr/>
        </p:nvSpPr>
        <p:spPr>
          <a:xfrm>
            <a:off x="9824502" y="1518111"/>
            <a:ext cx="1803547" cy="780589"/>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algn="ctr">
              <a:defRPr sz="1800">
                <a:latin typeface="Quattrocento Sans"/>
              </a:defRPr>
            </a:lvl1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3200" b="1" kern="0" noProof="0">
                <a:cs typeface="Arial"/>
                <a:sym typeface="DM Sans Bold"/>
              </a:rPr>
              <a:t>3rd Phase</a:t>
            </a:r>
            <a:endParaRPr kumimoji="0" lang="en-GB" sz="3200" b="1" i="0" u="none" strike="noStrike" kern="0" cap="none" spc="0" normalizeH="0" baseline="0" noProof="0">
              <a:ln>
                <a:noFill/>
              </a:ln>
              <a:effectLst/>
              <a:uLnTx/>
              <a:uFillTx/>
              <a:latin typeface="Quattrocento Sans"/>
              <a:cs typeface="Arial"/>
              <a:sym typeface="DM Sans Bold"/>
            </a:endParaRPr>
          </a:p>
          <a:p>
            <a:pPr lvl="0">
              <a:buClr>
                <a:srgbClr val="000000"/>
              </a:buClr>
              <a:defRPr/>
            </a:pPr>
            <a:r>
              <a:rPr lang="en-GB" sz="1400" b="1" kern="0" noProof="0">
                <a:cs typeface="Arial"/>
                <a:sym typeface="DM Sans Bold"/>
              </a:rPr>
              <a:t>Implementation</a:t>
            </a:r>
            <a:endParaRPr kumimoji="0" lang="en-GB" sz="1400" b="1" i="0" u="none" strike="noStrike" kern="0" cap="none" spc="0" normalizeH="0" baseline="0" noProof="0">
              <a:ln>
                <a:noFill/>
              </a:ln>
              <a:effectLst/>
              <a:uLnTx/>
              <a:uFillTx/>
              <a:latin typeface="Quattrocento Sans"/>
              <a:cs typeface="Arial"/>
              <a:sym typeface="DM Sans Bold"/>
            </a:endParaRPr>
          </a:p>
        </p:txBody>
      </p:sp>
      <p:pic>
        <p:nvPicPr>
          <p:cNvPr id="2" name="Imagen 1">
            <a:extLst>
              <a:ext uri="{FF2B5EF4-FFF2-40B4-BE49-F238E27FC236}">
                <a16:creationId xmlns:a16="http://schemas.microsoft.com/office/drawing/2014/main" id="{BC657CE9-66D9-27CE-22E2-91C26A04B772}"/>
              </a:ext>
            </a:extLst>
          </p:cNvPr>
          <p:cNvPicPr>
            <a:picLocks noChangeAspect="1"/>
          </p:cNvPicPr>
          <p:nvPr/>
        </p:nvPicPr>
        <p:blipFill>
          <a:blip r:embed="rId6"/>
          <a:stretch>
            <a:fillRect/>
          </a:stretch>
        </p:blipFill>
        <p:spPr>
          <a:xfrm>
            <a:off x="10896600" y="200005"/>
            <a:ext cx="986972" cy="783337"/>
          </a:xfrm>
          <a:prstGeom prst="rect">
            <a:avLst/>
          </a:prstGeom>
        </p:spPr>
      </p:pic>
      <p:sp>
        <p:nvSpPr>
          <p:cNvPr id="15" name="Rectangle 57">
            <a:extLst>
              <a:ext uri="{FF2B5EF4-FFF2-40B4-BE49-F238E27FC236}">
                <a16:creationId xmlns:a16="http://schemas.microsoft.com/office/drawing/2014/main" id="{84EA5D60-840D-9E31-BFE0-73EAF803041C}"/>
              </a:ext>
            </a:extLst>
          </p:cNvPr>
          <p:cNvSpPr>
            <a:spLocks noChangeArrowheads="1"/>
          </p:cNvSpPr>
          <p:nvPr/>
        </p:nvSpPr>
        <p:spPr bwMode="gray">
          <a:xfrm>
            <a:off x="226219" y="198916"/>
            <a:ext cx="9409394" cy="830942"/>
          </a:xfrm>
          <a:prstGeom prst="rect">
            <a:avLst/>
          </a:prstGeom>
          <a:noFill/>
          <a:ln w="9525">
            <a:noFill/>
            <a:miter lim="800000"/>
            <a:headEnd/>
            <a:tailEnd/>
          </a:ln>
          <a:effectLst/>
        </p:spPr>
        <p:txBody>
          <a:bodyPr wrap="square" lIns="91386" tIns="45693" rIns="91386" bIns="45693">
            <a:spAutoFit/>
          </a:bodyPr>
          <a:lstStyle/>
          <a:p>
            <a:pPr hangingPunct="1"/>
            <a:r>
              <a:rPr lang="en-GB" sz="3000" noProof="0">
                <a:solidFill>
                  <a:srgbClr val="00456E"/>
                </a:solidFill>
                <a:latin typeface="DM Sans Bold" pitchFamily="2" charset="0"/>
              </a:rPr>
              <a:t>	 </a:t>
            </a:r>
            <a:r>
              <a:rPr lang="en-GB" sz="4800" b="1" noProof="0">
                <a:solidFill>
                  <a:schemeClr val="tx1">
                    <a:lumMod val="95000"/>
                    <a:lumOff val="5000"/>
                  </a:schemeClr>
                </a:solidFill>
                <a:latin typeface="Quattrocento Sans" panose="020B0502050000020003" pitchFamily="34" charset="0"/>
                <a:ea typeface="Lato"/>
                <a:cs typeface="Lato"/>
              </a:rPr>
              <a:t>Datasphere Data Quality</a:t>
            </a:r>
          </a:p>
        </p:txBody>
      </p:sp>
      <p:pic>
        <p:nvPicPr>
          <p:cNvPr id="16" name="Picture 6" descr="SAP Datasphere. Evolución desde SAP BW y SAP BW/4HANA. - ABAST">
            <a:extLst>
              <a:ext uri="{FF2B5EF4-FFF2-40B4-BE49-F238E27FC236}">
                <a16:creationId xmlns:a16="http://schemas.microsoft.com/office/drawing/2014/main" id="{783E8CCD-121D-C136-CBA5-50FDCF55177F}"/>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9443" b="18729"/>
          <a:stretch/>
        </p:blipFill>
        <p:spPr bwMode="auto">
          <a:xfrm>
            <a:off x="341700" y="404530"/>
            <a:ext cx="1002325" cy="4197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065016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Shape 3335"/>
        <p:cNvGrpSpPr/>
        <p:nvPr/>
      </p:nvGrpSpPr>
      <p:grpSpPr>
        <a:xfrm>
          <a:off x="0" y="0"/>
          <a:ext cx="0" cy="0"/>
          <a:chOff x="0" y="0"/>
          <a:chExt cx="0" cy="0"/>
        </a:xfrm>
      </p:grpSpPr>
      <p:pic>
        <p:nvPicPr>
          <p:cNvPr id="5" name="Demo DataQuality">
            <a:hlinkClick r:id="" action="ppaction://media"/>
            <a:extLst>
              <a:ext uri="{FF2B5EF4-FFF2-40B4-BE49-F238E27FC236}">
                <a16:creationId xmlns:a16="http://schemas.microsoft.com/office/drawing/2014/main" id="{51D1949E-9FF8-A0CF-D5E6-2DB9DC2A1350}"/>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75732" y="1189807"/>
            <a:ext cx="11137847" cy="5326501"/>
          </a:xfrm>
          <a:prstGeom prst="rect">
            <a:avLst/>
          </a:prstGeom>
        </p:spPr>
      </p:pic>
      <p:sp>
        <p:nvSpPr>
          <p:cNvPr id="4" name="Google Shape;3347;g30e148d11da_7_119">
            <a:extLst>
              <a:ext uri="{FF2B5EF4-FFF2-40B4-BE49-F238E27FC236}">
                <a16:creationId xmlns:a16="http://schemas.microsoft.com/office/drawing/2014/main" id="{9508E521-139C-FA47-D794-CD20C52207B2}"/>
              </a:ext>
            </a:extLst>
          </p:cNvPr>
          <p:cNvSpPr/>
          <p:nvPr/>
        </p:nvSpPr>
        <p:spPr>
          <a:xfrm>
            <a:off x="10186647" y="659263"/>
            <a:ext cx="1324655" cy="305618"/>
          </a:xfrm>
          <a:custGeom>
            <a:avLst/>
            <a:gdLst/>
            <a:ahLst/>
            <a:cxnLst/>
            <a:rect l="l" t="t" r="r" b="b"/>
            <a:pathLst>
              <a:path w="1926771" h="444535" extrusionOk="0">
                <a:moveTo>
                  <a:pt x="725088" y="204891"/>
                </a:moveTo>
                <a:cubicBezTo>
                  <a:pt x="712077" y="210871"/>
                  <a:pt x="698448" y="215412"/>
                  <a:pt x="684445" y="218434"/>
                </a:cubicBezTo>
                <a:lnTo>
                  <a:pt x="660458" y="223662"/>
                </a:lnTo>
                <a:cubicBezTo>
                  <a:pt x="650420" y="225838"/>
                  <a:pt x="641095" y="230493"/>
                  <a:pt x="633330" y="237205"/>
                </a:cubicBezTo>
                <a:cubicBezTo>
                  <a:pt x="628707" y="243967"/>
                  <a:pt x="626164" y="251923"/>
                  <a:pt x="625999" y="260109"/>
                </a:cubicBezTo>
                <a:cubicBezTo>
                  <a:pt x="625595" y="269345"/>
                  <a:pt x="629001" y="278343"/>
                  <a:pt x="635424" y="285005"/>
                </a:cubicBezTo>
                <a:cubicBezTo>
                  <a:pt x="643129" y="291029"/>
                  <a:pt x="652794" y="293992"/>
                  <a:pt x="662553" y="293320"/>
                </a:cubicBezTo>
                <a:cubicBezTo>
                  <a:pt x="682002" y="293320"/>
                  <a:pt x="697296" y="287758"/>
                  <a:pt x="708432" y="276640"/>
                </a:cubicBezTo>
                <a:cubicBezTo>
                  <a:pt x="719567" y="265521"/>
                  <a:pt x="725123" y="250250"/>
                  <a:pt x="725088" y="230832"/>
                </a:cubicBezTo>
                <a:close/>
                <a:moveTo>
                  <a:pt x="1067435" y="121590"/>
                </a:moveTo>
                <a:cubicBezTo>
                  <a:pt x="1053442" y="121087"/>
                  <a:pt x="1039857" y="126360"/>
                  <a:pt x="1029884" y="136178"/>
                </a:cubicBezTo>
                <a:cubicBezTo>
                  <a:pt x="1020109" y="146137"/>
                  <a:pt x="1014923" y="159779"/>
                  <a:pt x="1014225" y="177804"/>
                </a:cubicBezTo>
                <a:lnTo>
                  <a:pt x="1120595" y="177804"/>
                </a:lnTo>
                <a:cubicBezTo>
                  <a:pt x="1119198" y="159082"/>
                  <a:pt x="1114361" y="145191"/>
                  <a:pt x="1105983" y="136178"/>
                </a:cubicBezTo>
                <a:cubicBezTo>
                  <a:pt x="1097605" y="127166"/>
                  <a:pt x="1084091" y="121590"/>
                  <a:pt x="1067435" y="121590"/>
                </a:cubicBezTo>
                <a:close/>
                <a:moveTo>
                  <a:pt x="1431974" y="67417"/>
                </a:moveTo>
                <a:lnTo>
                  <a:pt x="1512312" y="67417"/>
                </a:lnTo>
                <a:lnTo>
                  <a:pt x="1568614" y="263246"/>
                </a:lnTo>
                <a:lnTo>
                  <a:pt x="1617635" y="92412"/>
                </a:lnTo>
                <a:cubicBezTo>
                  <a:pt x="1621823" y="75782"/>
                  <a:pt x="1632944" y="67517"/>
                  <a:pt x="1651047" y="67517"/>
                </a:cubicBezTo>
                <a:lnTo>
                  <a:pt x="1700915" y="67517"/>
                </a:lnTo>
                <a:lnTo>
                  <a:pt x="1594496" y="383093"/>
                </a:lnTo>
                <a:cubicBezTo>
                  <a:pt x="1586153" y="405997"/>
                  <a:pt x="1575730" y="422313"/>
                  <a:pt x="1563228" y="432038"/>
                </a:cubicBezTo>
                <a:cubicBezTo>
                  <a:pt x="1550726" y="440338"/>
                  <a:pt x="1530200" y="444500"/>
                  <a:pt x="1501640" y="444535"/>
                </a:cubicBezTo>
                <a:lnTo>
                  <a:pt x="1494459" y="444535"/>
                </a:lnTo>
                <a:lnTo>
                  <a:pt x="1471470" y="444187"/>
                </a:lnTo>
                <a:lnTo>
                  <a:pt x="1471470" y="385134"/>
                </a:lnTo>
                <a:lnTo>
                  <a:pt x="1491417" y="385134"/>
                </a:lnTo>
                <a:cubicBezTo>
                  <a:pt x="1503206" y="385777"/>
                  <a:pt x="1514841" y="382251"/>
                  <a:pt x="1524281" y="375176"/>
                </a:cubicBezTo>
                <a:cubicBezTo>
                  <a:pt x="1532260" y="368554"/>
                  <a:pt x="1533856" y="357998"/>
                  <a:pt x="1528968" y="343409"/>
                </a:cubicBezTo>
                <a:close/>
                <a:moveTo>
                  <a:pt x="541522" y="67318"/>
                </a:moveTo>
                <a:lnTo>
                  <a:pt x="551945" y="67318"/>
                </a:lnTo>
                <a:lnTo>
                  <a:pt x="551945" y="141158"/>
                </a:lnTo>
                <a:lnTo>
                  <a:pt x="527958" y="141158"/>
                </a:lnTo>
                <a:cubicBezTo>
                  <a:pt x="508011" y="141158"/>
                  <a:pt x="493050" y="146137"/>
                  <a:pt x="483076" y="155747"/>
                </a:cubicBezTo>
                <a:cubicBezTo>
                  <a:pt x="473103" y="165356"/>
                  <a:pt x="468515" y="180642"/>
                  <a:pt x="468515" y="201555"/>
                </a:cubicBezTo>
                <a:lnTo>
                  <a:pt x="468515" y="344256"/>
                </a:lnTo>
                <a:lnTo>
                  <a:pt x="395357" y="344455"/>
                </a:lnTo>
                <a:lnTo>
                  <a:pt x="395357" y="210019"/>
                </a:lnTo>
                <a:cubicBezTo>
                  <a:pt x="394679" y="186702"/>
                  <a:pt x="398769" y="163489"/>
                  <a:pt x="407376" y="141805"/>
                </a:cubicBezTo>
                <a:cubicBezTo>
                  <a:pt x="414502" y="124568"/>
                  <a:pt x="425792" y="109361"/>
                  <a:pt x="440239" y="97541"/>
                </a:cubicBezTo>
                <a:cubicBezTo>
                  <a:pt x="453998" y="86841"/>
                  <a:pt x="469796" y="79048"/>
                  <a:pt x="486667" y="74637"/>
                </a:cubicBezTo>
                <a:cubicBezTo>
                  <a:pt x="504535" y="69733"/>
                  <a:pt x="522991" y="67268"/>
                  <a:pt x="541522" y="67318"/>
                </a:cubicBezTo>
                <a:close/>
                <a:moveTo>
                  <a:pt x="1798307" y="61542"/>
                </a:moveTo>
                <a:cubicBezTo>
                  <a:pt x="1834477" y="61542"/>
                  <a:pt x="1863336" y="69524"/>
                  <a:pt x="1884929" y="85492"/>
                </a:cubicBezTo>
                <a:cubicBezTo>
                  <a:pt x="1904876" y="102420"/>
                  <a:pt x="1916596" y="127037"/>
                  <a:pt x="1917244" y="153158"/>
                </a:cubicBezTo>
                <a:lnTo>
                  <a:pt x="1872362" y="153158"/>
                </a:lnTo>
                <a:cubicBezTo>
                  <a:pt x="1859745" y="153511"/>
                  <a:pt x="1847981" y="146655"/>
                  <a:pt x="1842092" y="135482"/>
                </a:cubicBezTo>
                <a:lnTo>
                  <a:pt x="1833764" y="127117"/>
                </a:lnTo>
                <a:cubicBezTo>
                  <a:pt x="1823591" y="120360"/>
                  <a:pt x="1811502" y="117079"/>
                  <a:pt x="1799305" y="117756"/>
                </a:cubicBezTo>
                <a:cubicBezTo>
                  <a:pt x="1788513" y="117074"/>
                  <a:pt x="1777726" y="119240"/>
                  <a:pt x="1768037" y="124030"/>
                </a:cubicBezTo>
                <a:cubicBezTo>
                  <a:pt x="1761784" y="128148"/>
                  <a:pt x="1758208" y="135288"/>
                  <a:pt x="1758662" y="142751"/>
                </a:cubicBezTo>
                <a:cubicBezTo>
                  <a:pt x="1758662" y="153870"/>
                  <a:pt x="1776729" y="163250"/>
                  <a:pt x="1812869" y="170883"/>
                </a:cubicBezTo>
                <a:cubicBezTo>
                  <a:pt x="1816470" y="172113"/>
                  <a:pt x="1820130" y="173159"/>
                  <a:pt x="1823840" y="174020"/>
                </a:cubicBezTo>
                <a:cubicBezTo>
                  <a:pt x="1826752" y="174692"/>
                  <a:pt x="1829730" y="175041"/>
                  <a:pt x="1832717" y="175066"/>
                </a:cubicBezTo>
                <a:cubicBezTo>
                  <a:pt x="1868173" y="184093"/>
                  <a:pt x="1892858" y="194499"/>
                  <a:pt x="1906771" y="206285"/>
                </a:cubicBezTo>
                <a:cubicBezTo>
                  <a:pt x="1920236" y="219290"/>
                  <a:pt x="1927467" y="237399"/>
                  <a:pt x="1926719" y="256076"/>
                </a:cubicBezTo>
                <a:cubicBezTo>
                  <a:pt x="1926719" y="286648"/>
                  <a:pt x="1915598" y="310249"/>
                  <a:pt x="1893357" y="326879"/>
                </a:cubicBezTo>
                <a:cubicBezTo>
                  <a:pt x="1872512" y="342180"/>
                  <a:pt x="1841209" y="349833"/>
                  <a:pt x="1799454" y="349833"/>
                </a:cubicBezTo>
                <a:cubicBezTo>
                  <a:pt x="1759859" y="349833"/>
                  <a:pt x="1730322" y="341831"/>
                  <a:pt x="1710838" y="325833"/>
                </a:cubicBezTo>
                <a:cubicBezTo>
                  <a:pt x="1690656" y="309900"/>
                  <a:pt x="1680568" y="286663"/>
                  <a:pt x="1680568" y="256126"/>
                </a:cubicBezTo>
                <a:lnTo>
                  <a:pt x="1680468" y="252790"/>
                </a:lnTo>
                <a:lnTo>
                  <a:pt x="1751281" y="252790"/>
                </a:lnTo>
                <a:cubicBezTo>
                  <a:pt x="1751187" y="265113"/>
                  <a:pt x="1757006" y="276739"/>
                  <a:pt x="1766940" y="284059"/>
                </a:cubicBezTo>
                <a:cubicBezTo>
                  <a:pt x="1779522" y="291562"/>
                  <a:pt x="1794044" y="295182"/>
                  <a:pt x="1808680" y="294465"/>
                </a:cubicBezTo>
                <a:cubicBezTo>
                  <a:pt x="1819890" y="294759"/>
                  <a:pt x="1830996" y="292259"/>
                  <a:pt x="1840995" y="287195"/>
                </a:cubicBezTo>
                <a:cubicBezTo>
                  <a:pt x="1848625" y="283476"/>
                  <a:pt x="1853477" y="275758"/>
                  <a:pt x="1853512" y="267279"/>
                </a:cubicBezTo>
                <a:cubicBezTo>
                  <a:pt x="1853512" y="254766"/>
                  <a:pt x="1838915" y="245386"/>
                  <a:pt x="1809727" y="239147"/>
                </a:cubicBezTo>
                <a:cubicBezTo>
                  <a:pt x="1800192" y="237778"/>
                  <a:pt x="1790772" y="235696"/>
                  <a:pt x="1781552" y="232923"/>
                </a:cubicBezTo>
                <a:cubicBezTo>
                  <a:pt x="1744749" y="223996"/>
                  <a:pt x="1720099" y="213320"/>
                  <a:pt x="1707596" y="200907"/>
                </a:cubicBezTo>
                <a:cubicBezTo>
                  <a:pt x="1693628" y="188196"/>
                  <a:pt x="1685998" y="169972"/>
                  <a:pt x="1686751" y="151116"/>
                </a:cubicBezTo>
                <a:cubicBezTo>
                  <a:pt x="1686248" y="125778"/>
                  <a:pt x="1697384" y="101604"/>
                  <a:pt x="1716972" y="85492"/>
                </a:cubicBezTo>
                <a:cubicBezTo>
                  <a:pt x="1737817" y="69524"/>
                  <a:pt x="1764930" y="61542"/>
                  <a:pt x="1798307" y="61542"/>
                </a:cubicBezTo>
                <a:close/>
                <a:moveTo>
                  <a:pt x="117839" y="61542"/>
                </a:moveTo>
                <a:cubicBezTo>
                  <a:pt x="154009" y="61542"/>
                  <a:pt x="182868" y="69524"/>
                  <a:pt x="204411" y="85492"/>
                </a:cubicBezTo>
                <a:cubicBezTo>
                  <a:pt x="224343" y="102426"/>
                  <a:pt x="236112" y="127032"/>
                  <a:pt x="236776" y="153158"/>
                </a:cubicBezTo>
                <a:lnTo>
                  <a:pt x="191894" y="153158"/>
                </a:lnTo>
                <a:cubicBezTo>
                  <a:pt x="179267" y="153516"/>
                  <a:pt x="167538" y="146655"/>
                  <a:pt x="161674" y="135482"/>
                </a:cubicBezTo>
                <a:lnTo>
                  <a:pt x="153296" y="127117"/>
                </a:lnTo>
                <a:cubicBezTo>
                  <a:pt x="143142" y="120355"/>
                  <a:pt x="131069" y="117069"/>
                  <a:pt x="118886" y="117756"/>
                </a:cubicBezTo>
                <a:cubicBezTo>
                  <a:pt x="108095" y="117074"/>
                  <a:pt x="97308" y="119240"/>
                  <a:pt x="87619" y="124030"/>
                </a:cubicBezTo>
                <a:cubicBezTo>
                  <a:pt x="81355" y="128143"/>
                  <a:pt x="77760" y="135278"/>
                  <a:pt x="78194" y="142751"/>
                </a:cubicBezTo>
                <a:cubicBezTo>
                  <a:pt x="78194" y="153870"/>
                  <a:pt x="96281" y="163250"/>
                  <a:pt x="132451" y="170883"/>
                </a:cubicBezTo>
                <a:cubicBezTo>
                  <a:pt x="136051" y="172113"/>
                  <a:pt x="139712" y="173159"/>
                  <a:pt x="143422" y="174020"/>
                </a:cubicBezTo>
                <a:cubicBezTo>
                  <a:pt x="146314" y="174697"/>
                  <a:pt x="149276" y="175046"/>
                  <a:pt x="152248" y="175066"/>
                </a:cubicBezTo>
                <a:cubicBezTo>
                  <a:pt x="187655" y="183864"/>
                  <a:pt x="212340" y="194136"/>
                  <a:pt x="226303" y="205886"/>
                </a:cubicBezTo>
                <a:cubicBezTo>
                  <a:pt x="239748" y="218892"/>
                  <a:pt x="246999" y="237001"/>
                  <a:pt x="246251" y="255678"/>
                </a:cubicBezTo>
                <a:cubicBezTo>
                  <a:pt x="246251" y="286249"/>
                  <a:pt x="235115" y="309850"/>
                  <a:pt x="212839" y="326481"/>
                </a:cubicBezTo>
                <a:cubicBezTo>
                  <a:pt x="191994" y="341781"/>
                  <a:pt x="160711" y="349434"/>
                  <a:pt x="118986" y="349434"/>
                </a:cubicBezTo>
                <a:cubicBezTo>
                  <a:pt x="79356" y="349434"/>
                  <a:pt x="49804" y="341433"/>
                  <a:pt x="30320" y="325435"/>
                </a:cubicBezTo>
                <a:cubicBezTo>
                  <a:pt x="10173" y="309502"/>
                  <a:pt x="100" y="286264"/>
                  <a:pt x="100" y="255727"/>
                </a:cubicBezTo>
                <a:lnTo>
                  <a:pt x="0" y="252790"/>
                </a:lnTo>
                <a:lnTo>
                  <a:pt x="70714" y="252790"/>
                </a:lnTo>
                <a:cubicBezTo>
                  <a:pt x="70594" y="265123"/>
                  <a:pt x="76418" y="276754"/>
                  <a:pt x="86372" y="284059"/>
                </a:cubicBezTo>
                <a:cubicBezTo>
                  <a:pt x="98939" y="291552"/>
                  <a:pt x="113441" y="295177"/>
                  <a:pt x="128062" y="294465"/>
                </a:cubicBezTo>
                <a:cubicBezTo>
                  <a:pt x="139288" y="294754"/>
                  <a:pt x="150408" y="292254"/>
                  <a:pt x="160427" y="287195"/>
                </a:cubicBezTo>
                <a:cubicBezTo>
                  <a:pt x="168057" y="283476"/>
                  <a:pt x="172909" y="275758"/>
                  <a:pt x="172944" y="267279"/>
                </a:cubicBezTo>
                <a:cubicBezTo>
                  <a:pt x="172944" y="254766"/>
                  <a:pt x="158332" y="245386"/>
                  <a:pt x="129110" y="239147"/>
                </a:cubicBezTo>
                <a:cubicBezTo>
                  <a:pt x="119575" y="237773"/>
                  <a:pt x="110159" y="235691"/>
                  <a:pt x="100934" y="232923"/>
                </a:cubicBezTo>
                <a:cubicBezTo>
                  <a:pt x="64166" y="223996"/>
                  <a:pt x="39546" y="213320"/>
                  <a:pt x="27079" y="200907"/>
                </a:cubicBezTo>
                <a:cubicBezTo>
                  <a:pt x="13110" y="188196"/>
                  <a:pt x="5481" y="169972"/>
                  <a:pt x="6234" y="151116"/>
                </a:cubicBezTo>
                <a:cubicBezTo>
                  <a:pt x="5745" y="125773"/>
                  <a:pt x="16895" y="101594"/>
                  <a:pt x="36504" y="85492"/>
                </a:cubicBezTo>
                <a:cubicBezTo>
                  <a:pt x="57349" y="69524"/>
                  <a:pt x="84462" y="61542"/>
                  <a:pt x="117839" y="61542"/>
                </a:cubicBezTo>
                <a:close/>
                <a:moveTo>
                  <a:pt x="674970" y="61293"/>
                </a:moveTo>
                <a:cubicBezTo>
                  <a:pt x="713867" y="61293"/>
                  <a:pt x="743056" y="67930"/>
                  <a:pt x="762539" y="81209"/>
                </a:cubicBezTo>
                <a:cubicBezTo>
                  <a:pt x="782168" y="94006"/>
                  <a:pt x="793652" y="116128"/>
                  <a:pt x="792809" y="139515"/>
                </a:cubicBezTo>
                <a:lnTo>
                  <a:pt x="792809" y="234118"/>
                </a:lnTo>
                <a:cubicBezTo>
                  <a:pt x="792809" y="261902"/>
                  <a:pt x="787822" y="283596"/>
                  <a:pt x="777849" y="299195"/>
                </a:cubicBezTo>
                <a:cubicBezTo>
                  <a:pt x="769137" y="313535"/>
                  <a:pt x="756670" y="325221"/>
                  <a:pt x="741794" y="333003"/>
                </a:cubicBezTo>
                <a:cubicBezTo>
                  <a:pt x="727347" y="340572"/>
                  <a:pt x="711593" y="345337"/>
                  <a:pt x="695366" y="347044"/>
                </a:cubicBezTo>
                <a:cubicBezTo>
                  <a:pt x="680994" y="348678"/>
                  <a:pt x="666547" y="349559"/>
                  <a:pt x="652081" y="349683"/>
                </a:cubicBezTo>
                <a:cubicBezTo>
                  <a:pt x="628567" y="350156"/>
                  <a:pt x="605533" y="343031"/>
                  <a:pt x="586404" y="329369"/>
                </a:cubicBezTo>
                <a:cubicBezTo>
                  <a:pt x="567618" y="315825"/>
                  <a:pt x="558228" y="293434"/>
                  <a:pt x="558228" y="262200"/>
                </a:cubicBezTo>
                <a:cubicBezTo>
                  <a:pt x="558228" y="233023"/>
                  <a:pt x="566740" y="212195"/>
                  <a:pt x="583761" y="199712"/>
                </a:cubicBezTo>
                <a:cubicBezTo>
                  <a:pt x="603185" y="186304"/>
                  <a:pt x="625561" y="177764"/>
                  <a:pt x="648989" y="174817"/>
                </a:cubicBezTo>
                <a:cubicBezTo>
                  <a:pt x="653202" y="174717"/>
                  <a:pt x="657396" y="174179"/>
                  <a:pt x="661505" y="173224"/>
                </a:cubicBezTo>
                <a:cubicBezTo>
                  <a:pt x="666492" y="172178"/>
                  <a:pt x="671928" y="171331"/>
                  <a:pt x="678162" y="170634"/>
                </a:cubicBezTo>
                <a:cubicBezTo>
                  <a:pt x="708781" y="166452"/>
                  <a:pt x="724091" y="157425"/>
                  <a:pt x="724091" y="143548"/>
                </a:cubicBezTo>
                <a:cubicBezTo>
                  <a:pt x="724460" y="133709"/>
                  <a:pt x="717573" y="125071"/>
                  <a:pt x="707883" y="123233"/>
                </a:cubicBezTo>
                <a:cubicBezTo>
                  <a:pt x="698179" y="120286"/>
                  <a:pt x="688106" y="118712"/>
                  <a:pt x="677962" y="118553"/>
                </a:cubicBezTo>
                <a:cubicBezTo>
                  <a:pt x="669091" y="118413"/>
                  <a:pt x="660264" y="119828"/>
                  <a:pt x="651881" y="122735"/>
                </a:cubicBezTo>
                <a:cubicBezTo>
                  <a:pt x="644371" y="125374"/>
                  <a:pt x="638327" y="131050"/>
                  <a:pt x="635225" y="138370"/>
                </a:cubicBezTo>
                <a:lnTo>
                  <a:pt x="565409" y="138370"/>
                </a:lnTo>
                <a:cubicBezTo>
                  <a:pt x="567823" y="117527"/>
                  <a:pt x="578310" y="98457"/>
                  <a:pt x="594632" y="85243"/>
                </a:cubicBezTo>
                <a:cubicBezTo>
                  <a:pt x="613418" y="69275"/>
                  <a:pt x="640197" y="61293"/>
                  <a:pt x="674970" y="61293"/>
                </a:cubicBezTo>
                <a:close/>
                <a:moveTo>
                  <a:pt x="1318972" y="61193"/>
                </a:moveTo>
                <a:cubicBezTo>
                  <a:pt x="1355141" y="61193"/>
                  <a:pt x="1384000" y="69175"/>
                  <a:pt x="1405543" y="85143"/>
                </a:cubicBezTo>
                <a:cubicBezTo>
                  <a:pt x="1425511" y="102052"/>
                  <a:pt x="1437290" y="126673"/>
                  <a:pt x="1437908" y="152809"/>
                </a:cubicBezTo>
                <a:lnTo>
                  <a:pt x="1393026" y="152809"/>
                </a:lnTo>
                <a:cubicBezTo>
                  <a:pt x="1380400" y="153167"/>
                  <a:pt x="1368671" y="146306"/>
                  <a:pt x="1362806" y="135133"/>
                </a:cubicBezTo>
                <a:lnTo>
                  <a:pt x="1354478" y="126768"/>
                </a:lnTo>
                <a:cubicBezTo>
                  <a:pt x="1344305" y="120011"/>
                  <a:pt x="1332217" y="116730"/>
                  <a:pt x="1320019" y="117407"/>
                </a:cubicBezTo>
                <a:cubicBezTo>
                  <a:pt x="1309227" y="116725"/>
                  <a:pt x="1298441" y="118891"/>
                  <a:pt x="1288751" y="123681"/>
                </a:cubicBezTo>
                <a:cubicBezTo>
                  <a:pt x="1282488" y="127794"/>
                  <a:pt x="1278892" y="134929"/>
                  <a:pt x="1279326" y="142402"/>
                </a:cubicBezTo>
                <a:cubicBezTo>
                  <a:pt x="1279326" y="153521"/>
                  <a:pt x="1297414" y="162901"/>
                  <a:pt x="1333583" y="170534"/>
                </a:cubicBezTo>
                <a:cubicBezTo>
                  <a:pt x="1337184" y="171764"/>
                  <a:pt x="1340844" y="172810"/>
                  <a:pt x="1344554" y="173671"/>
                </a:cubicBezTo>
                <a:cubicBezTo>
                  <a:pt x="1347466" y="174343"/>
                  <a:pt x="1350444" y="174692"/>
                  <a:pt x="1353431" y="174717"/>
                </a:cubicBezTo>
                <a:cubicBezTo>
                  <a:pt x="1388773" y="183744"/>
                  <a:pt x="1413338" y="194135"/>
                  <a:pt x="1427136" y="205886"/>
                </a:cubicBezTo>
                <a:cubicBezTo>
                  <a:pt x="1440561" y="218902"/>
                  <a:pt x="1447812" y="237006"/>
                  <a:pt x="1447084" y="255677"/>
                </a:cubicBezTo>
                <a:cubicBezTo>
                  <a:pt x="1447084" y="286249"/>
                  <a:pt x="1435963" y="309850"/>
                  <a:pt x="1413722" y="326480"/>
                </a:cubicBezTo>
                <a:cubicBezTo>
                  <a:pt x="1392842" y="341781"/>
                  <a:pt x="1361544" y="349434"/>
                  <a:pt x="1319819" y="349434"/>
                </a:cubicBezTo>
                <a:cubicBezTo>
                  <a:pt x="1280159" y="349434"/>
                  <a:pt x="1250602" y="341432"/>
                  <a:pt x="1231153" y="325435"/>
                </a:cubicBezTo>
                <a:cubicBezTo>
                  <a:pt x="1211006" y="309501"/>
                  <a:pt x="1200933" y="286264"/>
                  <a:pt x="1200933" y="255727"/>
                </a:cubicBezTo>
                <a:lnTo>
                  <a:pt x="1200933" y="252789"/>
                </a:lnTo>
                <a:lnTo>
                  <a:pt x="1271846" y="252789"/>
                </a:lnTo>
                <a:cubicBezTo>
                  <a:pt x="1271726" y="265123"/>
                  <a:pt x="1277551" y="276754"/>
                  <a:pt x="1287505" y="284058"/>
                </a:cubicBezTo>
                <a:cubicBezTo>
                  <a:pt x="1300087" y="291562"/>
                  <a:pt x="1314608" y="295181"/>
                  <a:pt x="1329245" y="294465"/>
                </a:cubicBezTo>
                <a:cubicBezTo>
                  <a:pt x="1340455" y="294753"/>
                  <a:pt x="1351556" y="292254"/>
                  <a:pt x="1361559" y="287195"/>
                </a:cubicBezTo>
                <a:cubicBezTo>
                  <a:pt x="1369189" y="283476"/>
                  <a:pt x="1374042" y="275758"/>
                  <a:pt x="1374076" y="267278"/>
                </a:cubicBezTo>
                <a:cubicBezTo>
                  <a:pt x="1374076" y="254766"/>
                  <a:pt x="1359465" y="245385"/>
                  <a:pt x="1330242" y="239147"/>
                </a:cubicBezTo>
                <a:cubicBezTo>
                  <a:pt x="1320722" y="237777"/>
                  <a:pt x="1311322" y="235696"/>
                  <a:pt x="1302116" y="232923"/>
                </a:cubicBezTo>
                <a:cubicBezTo>
                  <a:pt x="1265214" y="223925"/>
                  <a:pt x="1240529" y="213171"/>
                  <a:pt x="1228061" y="200658"/>
                </a:cubicBezTo>
                <a:cubicBezTo>
                  <a:pt x="1214063" y="187961"/>
                  <a:pt x="1206414" y="169733"/>
                  <a:pt x="1207167" y="150867"/>
                </a:cubicBezTo>
                <a:cubicBezTo>
                  <a:pt x="1206693" y="125453"/>
                  <a:pt x="1217923" y="101230"/>
                  <a:pt x="1237636" y="85143"/>
                </a:cubicBezTo>
                <a:cubicBezTo>
                  <a:pt x="1258481" y="69175"/>
                  <a:pt x="1285595" y="61193"/>
                  <a:pt x="1318972" y="61193"/>
                </a:cubicBezTo>
                <a:close/>
                <a:moveTo>
                  <a:pt x="1065340" y="61193"/>
                </a:moveTo>
                <a:cubicBezTo>
                  <a:pt x="1107030" y="61193"/>
                  <a:pt x="1139360" y="73691"/>
                  <a:pt x="1162334" y="98686"/>
                </a:cubicBezTo>
                <a:cubicBezTo>
                  <a:pt x="1184576" y="124378"/>
                  <a:pt x="1195696" y="160128"/>
                  <a:pt x="1195696" y="205936"/>
                </a:cubicBezTo>
                <a:lnTo>
                  <a:pt x="1195696" y="217388"/>
                </a:lnTo>
                <a:cubicBezTo>
                  <a:pt x="1195861" y="219872"/>
                  <a:pt x="1195502" y="222367"/>
                  <a:pt x="1194649" y="224707"/>
                </a:cubicBezTo>
                <a:lnTo>
                  <a:pt x="1014225" y="224707"/>
                </a:lnTo>
                <a:cubicBezTo>
                  <a:pt x="1014923" y="246217"/>
                  <a:pt x="1020144" y="262185"/>
                  <a:pt x="1029884" y="272606"/>
                </a:cubicBezTo>
                <a:cubicBezTo>
                  <a:pt x="1038895" y="283725"/>
                  <a:pt x="1052439" y="289271"/>
                  <a:pt x="1070526" y="289236"/>
                </a:cubicBezTo>
                <a:cubicBezTo>
                  <a:pt x="1081088" y="289570"/>
                  <a:pt x="1091541" y="287056"/>
                  <a:pt x="1100797" y="281967"/>
                </a:cubicBezTo>
                <a:cubicBezTo>
                  <a:pt x="1102971" y="281225"/>
                  <a:pt x="1104936" y="279980"/>
                  <a:pt x="1106532" y="278332"/>
                </a:cubicBezTo>
                <a:lnTo>
                  <a:pt x="1112266" y="272606"/>
                </a:lnTo>
                <a:cubicBezTo>
                  <a:pt x="1114117" y="269195"/>
                  <a:pt x="1116809" y="266313"/>
                  <a:pt x="1120096" y="264241"/>
                </a:cubicBezTo>
                <a:cubicBezTo>
                  <a:pt x="1125786" y="260452"/>
                  <a:pt x="1132568" y="258630"/>
                  <a:pt x="1139395" y="259063"/>
                </a:cubicBezTo>
                <a:lnTo>
                  <a:pt x="1191557" y="259063"/>
                </a:lnTo>
                <a:cubicBezTo>
                  <a:pt x="1183877" y="288241"/>
                  <a:pt x="1169266" y="310447"/>
                  <a:pt x="1147723" y="325684"/>
                </a:cubicBezTo>
                <a:cubicBezTo>
                  <a:pt x="1126180" y="341652"/>
                  <a:pt x="1099066" y="349648"/>
                  <a:pt x="1066387" y="349683"/>
                </a:cubicBezTo>
                <a:cubicBezTo>
                  <a:pt x="1026757" y="349683"/>
                  <a:pt x="995809" y="336837"/>
                  <a:pt x="973532" y="311145"/>
                </a:cubicBezTo>
                <a:cubicBezTo>
                  <a:pt x="951291" y="286149"/>
                  <a:pt x="940170" y="250384"/>
                  <a:pt x="940170" y="203845"/>
                </a:cubicBezTo>
                <a:cubicBezTo>
                  <a:pt x="940170" y="159431"/>
                  <a:pt x="950942" y="124727"/>
                  <a:pt x="972485" y="99731"/>
                </a:cubicBezTo>
                <a:cubicBezTo>
                  <a:pt x="994726" y="74039"/>
                  <a:pt x="1025680" y="61193"/>
                  <a:pt x="1065340" y="61193"/>
                </a:cubicBezTo>
                <a:close/>
                <a:moveTo>
                  <a:pt x="810064" y="0"/>
                </a:moveTo>
                <a:lnTo>
                  <a:pt x="880578" y="0"/>
                </a:lnTo>
                <a:lnTo>
                  <a:pt x="880578" y="69708"/>
                </a:lnTo>
                <a:lnTo>
                  <a:pt x="930446" y="69708"/>
                </a:lnTo>
                <a:lnTo>
                  <a:pt x="930446" y="132096"/>
                </a:lnTo>
                <a:lnTo>
                  <a:pt x="880578" y="132096"/>
                </a:lnTo>
                <a:lnTo>
                  <a:pt x="880578" y="229288"/>
                </a:lnTo>
                <a:cubicBezTo>
                  <a:pt x="880578" y="248458"/>
                  <a:pt x="884916" y="262001"/>
                  <a:pt x="893643" y="269818"/>
                </a:cubicBezTo>
                <a:cubicBezTo>
                  <a:pt x="902370" y="277636"/>
                  <a:pt x="915635" y="281021"/>
                  <a:pt x="933538" y="279776"/>
                </a:cubicBezTo>
                <a:lnTo>
                  <a:pt x="933438" y="343908"/>
                </a:lnTo>
                <a:cubicBezTo>
                  <a:pt x="915565" y="346233"/>
                  <a:pt x="897403" y="344963"/>
                  <a:pt x="880029" y="340173"/>
                </a:cubicBezTo>
                <a:cubicBezTo>
                  <a:pt x="865537" y="336060"/>
                  <a:pt x="852312" y="328373"/>
                  <a:pt x="841580" y="317817"/>
                </a:cubicBezTo>
                <a:cubicBezTo>
                  <a:pt x="830973" y="307032"/>
                  <a:pt x="822945" y="293997"/>
                  <a:pt x="818092" y="279677"/>
                </a:cubicBezTo>
                <a:cubicBezTo>
                  <a:pt x="812542" y="263276"/>
                  <a:pt x="809824" y="246053"/>
                  <a:pt x="810064" y="228741"/>
                </a:cubicBezTo>
                <a:close/>
                <a:moveTo>
                  <a:pt x="259216" y="0"/>
                </a:moveTo>
                <a:lnTo>
                  <a:pt x="329681" y="0"/>
                </a:lnTo>
                <a:lnTo>
                  <a:pt x="329681" y="69708"/>
                </a:lnTo>
                <a:lnTo>
                  <a:pt x="379549" y="69708"/>
                </a:lnTo>
                <a:lnTo>
                  <a:pt x="379549" y="132096"/>
                </a:lnTo>
                <a:lnTo>
                  <a:pt x="329681" y="132096"/>
                </a:lnTo>
                <a:lnTo>
                  <a:pt x="329681" y="229288"/>
                </a:lnTo>
                <a:cubicBezTo>
                  <a:pt x="329681" y="248458"/>
                  <a:pt x="334069" y="262001"/>
                  <a:pt x="342796" y="269818"/>
                </a:cubicBezTo>
                <a:cubicBezTo>
                  <a:pt x="351523" y="277636"/>
                  <a:pt x="364738" y="281021"/>
                  <a:pt x="382691" y="279776"/>
                </a:cubicBezTo>
                <a:lnTo>
                  <a:pt x="382541" y="343908"/>
                </a:lnTo>
                <a:cubicBezTo>
                  <a:pt x="364683" y="346238"/>
                  <a:pt x="346541" y="344968"/>
                  <a:pt x="329182" y="340173"/>
                </a:cubicBezTo>
                <a:cubicBezTo>
                  <a:pt x="314690" y="336060"/>
                  <a:pt x="301465" y="328373"/>
                  <a:pt x="290733" y="317817"/>
                </a:cubicBezTo>
                <a:cubicBezTo>
                  <a:pt x="280086" y="307052"/>
                  <a:pt x="272038" y="294012"/>
                  <a:pt x="267196" y="279677"/>
                </a:cubicBezTo>
                <a:cubicBezTo>
                  <a:pt x="261660" y="263276"/>
                  <a:pt x="258962" y="246048"/>
                  <a:pt x="259216" y="22874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800" b="0" i="0" u="none" strike="noStrike" kern="0" cap="none" spc="0" normalizeH="0" baseline="0" noProof="0">
              <a:ln>
                <a:noFill/>
              </a:ln>
              <a:solidFill>
                <a:schemeClr val="tx2"/>
              </a:solidFill>
              <a:effectLst/>
              <a:uLnTx/>
              <a:uFillTx/>
              <a:latin typeface="Arial"/>
              <a:ea typeface="Arial"/>
              <a:cs typeface="Arial"/>
              <a:sym typeface="Arial"/>
            </a:endParaRPr>
          </a:p>
        </p:txBody>
      </p:sp>
      <p:pic>
        <p:nvPicPr>
          <p:cNvPr id="6" name="Imagen 5">
            <a:extLst>
              <a:ext uri="{FF2B5EF4-FFF2-40B4-BE49-F238E27FC236}">
                <a16:creationId xmlns:a16="http://schemas.microsoft.com/office/drawing/2014/main" id="{AA388B8F-F02C-DF48-920F-B16AD8A4F708}"/>
              </a:ext>
            </a:extLst>
          </p:cNvPr>
          <p:cNvPicPr>
            <a:picLocks noChangeAspect="1"/>
          </p:cNvPicPr>
          <p:nvPr/>
        </p:nvPicPr>
        <p:blipFill>
          <a:blip r:embed="rId6"/>
          <a:stretch>
            <a:fillRect/>
          </a:stretch>
        </p:blipFill>
        <p:spPr>
          <a:xfrm>
            <a:off x="10756900" y="200005"/>
            <a:ext cx="1126672" cy="894214"/>
          </a:xfrm>
          <a:prstGeom prst="rect">
            <a:avLst/>
          </a:prstGeom>
        </p:spPr>
      </p:pic>
      <p:sp>
        <p:nvSpPr>
          <p:cNvPr id="2" name="Rectangle 57">
            <a:extLst>
              <a:ext uri="{FF2B5EF4-FFF2-40B4-BE49-F238E27FC236}">
                <a16:creationId xmlns:a16="http://schemas.microsoft.com/office/drawing/2014/main" id="{37B85B2D-439B-4B18-E470-923A6D8D9367}"/>
              </a:ext>
            </a:extLst>
          </p:cNvPr>
          <p:cNvSpPr>
            <a:spLocks noChangeArrowheads="1"/>
          </p:cNvSpPr>
          <p:nvPr/>
        </p:nvSpPr>
        <p:spPr bwMode="gray">
          <a:xfrm>
            <a:off x="226219" y="198916"/>
            <a:ext cx="9409394" cy="830942"/>
          </a:xfrm>
          <a:prstGeom prst="rect">
            <a:avLst/>
          </a:prstGeom>
          <a:noFill/>
          <a:ln w="9525">
            <a:noFill/>
            <a:miter lim="800000"/>
            <a:headEnd/>
            <a:tailEnd/>
          </a:ln>
          <a:effectLst/>
        </p:spPr>
        <p:txBody>
          <a:bodyPr wrap="square" lIns="91386" tIns="45693" rIns="91386" bIns="45693">
            <a:spAutoFit/>
          </a:bodyPr>
          <a:lstStyle/>
          <a:p>
            <a:pPr hangingPunct="1"/>
            <a:r>
              <a:rPr lang="en-GB" sz="3000" noProof="0">
                <a:solidFill>
                  <a:srgbClr val="00456E"/>
                </a:solidFill>
                <a:latin typeface="DM Sans Bold" pitchFamily="2" charset="0"/>
              </a:rPr>
              <a:t>	 </a:t>
            </a:r>
            <a:r>
              <a:rPr lang="en-GB" sz="4800" b="1" noProof="0">
                <a:solidFill>
                  <a:schemeClr val="tx1">
                    <a:lumMod val="95000"/>
                    <a:lumOff val="5000"/>
                  </a:schemeClr>
                </a:solidFill>
                <a:latin typeface="Quattrocento Sans" panose="020B0502050000020003" pitchFamily="34" charset="0"/>
                <a:ea typeface="Lato"/>
                <a:cs typeface="Lato"/>
              </a:rPr>
              <a:t>Datasphere Data Quality</a:t>
            </a:r>
          </a:p>
        </p:txBody>
      </p:sp>
      <p:pic>
        <p:nvPicPr>
          <p:cNvPr id="3" name="Picture 6" descr="SAP Datasphere. Evolución desde SAP BW y SAP BW/4HANA. - ABAST">
            <a:extLst>
              <a:ext uri="{FF2B5EF4-FFF2-40B4-BE49-F238E27FC236}">
                <a16:creationId xmlns:a16="http://schemas.microsoft.com/office/drawing/2014/main" id="{58B8AD82-EC1A-517E-6A69-D552E4C1E28D}"/>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9443" b="18729"/>
          <a:stretch/>
        </p:blipFill>
        <p:spPr bwMode="auto">
          <a:xfrm>
            <a:off x="341700" y="404530"/>
            <a:ext cx="1002325" cy="4197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5475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55946"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5A72A61-7310-F5ED-41E4-4C9C2D7BD906}"/>
            </a:ext>
          </a:extLst>
        </p:cNvPr>
        <p:cNvGrpSpPr/>
        <p:nvPr/>
      </p:nvGrpSpPr>
      <p:grpSpPr>
        <a:xfrm>
          <a:off x="0" y="0"/>
          <a:ext cx="0" cy="0"/>
          <a:chOff x="0" y="0"/>
          <a:chExt cx="0" cy="0"/>
        </a:xfrm>
      </p:grpSpPr>
      <p:sp>
        <p:nvSpPr>
          <p:cNvPr id="2" name="Rectangle 57">
            <a:extLst>
              <a:ext uri="{FF2B5EF4-FFF2-40B4-BE49-F238E27FC236}">
                <a16:creationId xmlns:a16="http://schemas.microsoft.com/office/drawing/2014/main" id="{F41C11B5-A0B5-7E60-FAD5-3C3D994B2D87}"/>
              </a:ext>
            </a:extLst>
          </p:cNvPr>
          <p:cNvSpPr>
            <a:spLocks noChangeArrowheads="1"/>
          </p:cNvSpPr>
          <p:nvPr/>
        </p:nvSpPr>
        <p:spPr bwMode="gray">
          <a:xfrm>
            <a:off x="409099" y="504523"/>
            <a:ext cx="6355089" cy="830942"/>
          </a:xfrm>
          <a:prstGeom prst="rect">
            <a:avLst/>
          </a:prstGeom>
          <a:noFill/>
          <a:ln w="9525">
            <a:noFill/>
            <a:miter lim="800000"/>
            <a:headEnd/>
            <a:tailEnd/>
          </a:ln>
          <a:effectLst/>
        </p:spPr>
        <p:txBody>
          <a:bodyPr wrap="square" lIns="91386" tIns="45693" rIns="91386" bIns="45693">
            <a:spAutoFit/>
          </a:bodyPr>
          <a:lstStyle/>
          <a:p>
            <a:pPr defTabSz="914446">
              <a:buClr>
                <a:srgbClr val="000000"/>
              </a:buClr>
            </a:pPr>
            <a:r>
              <a:rPr lang="en-GB" sz="4800" b="1" noProof="0">
                <a:latin typeface="Quattrocento Sans" panose="020B0502050000020003" pitchFamily="34" charset="0"/>
                <a:ea typeface="Lato"/>
                <a:cs typeface="Lato"/>
                <a:sym typeface="Arial"/>
              </a:rPr>
              <a:t>Security</a:t>
            </a:r>
          </a:p>
        </p:txBody>
      </p:sp>
      <p:sp>
        <p:nvSpPr>
          <p:cNvPr id="54" name="Google Shape;3348;g30e148d11da_7_119">
            <a:extLst>
              <a:ext uri="{FF2B5EF4-FFF2-40B4-BE49-F238E27FC236}">
                <a16:creationId xmlns:a16="http://schemas.microsoft.com/office/drawing/2014/main" id="{1E81D9B8-6A28-906F-33B7-8090E81762BA}"/>
              </a:ext>
            </a:extLst>
          </p:cNvPr>
          <p:cNvSpPr txBox="1"/>
          <p:nvPr/>
        </p:nvSpPr>
        <p:spPr>
          <a:xfrm>
            <a:off x="715034" y="156141"/>
            <a:ext cx="3258300" cy="615000"/>
          </a:xfrm>
          <a:prstGeom prst="rect">
            <a:avLst/>
          </a:prstGeom>
          <a:noFill/>
          <a:ln>
            <a:noFill/>
          </a:ln>
        </p:spPr>
        <p:txBody>
          <a:bodyPr spcFirstLastPara="1" wrap="square" lIns="0" tIns="45700" rIns="91425" bIns="45700" anchor="t" anchorCtr="0">
            <a:noAutofit/>
          </a:bodyPr>
          <a:lstStyle/>
          <a:p>
            <a:pPr defTabSz="914446">
              <a:buClr>
                <a:srgbClr val="FFFFFF"/>
              </a:buClr>
              <a:buSzPts val="1200"/>
              <a:defRPr/>
            </a:pPr>
            <a:r>
              <a:rPr lang="en-GB" sz="1200" b="1" kern="0" noProof="0">
                <a:solidFill>
                  <a:srgbClr val="000000"/>
                </a:solidFill>
                <a:latin typeface="Montserrat"/>
                <a:ea typeface="Montserrat"/>
                <a:cs typeface="Montserrat"/>
                <a:sym typeface="Montserrat"/>
              </a:rPr>
              <a:t>Data Driven </a:t>
            </a:r>
            <a:r>
              <a:rPr lang="en-GB" sz="1200" kern="0" noProof="0">
                <a:solidFill>
                  <a:srgbClr val="000000"/>
                </a:solidFill>
                <a:latin typeface="Montserrat"/>
                <a:ea typeface="Montserrat"/>
                <a:cs typeface="Montserrat"/>
                <a:sym typeface="Montserrat"/>
              </a:rPr>
              <a:t>Business</a:t>
            </a:r>
            <a:endParaRPr lang="en-GB" sz="1200" kern="0" baseline="30000" noProof="0">
              <a:solidFill>
                <a:srgbClr val="000000"/>
              </a:solidFill>
              <a:latin typeface="Montserrat"/>
              <a:ea typeface="Montserrat"/>
              <a:cs typeface="Montserrat"/>
              <a:sym typeface="Montserrat"/>
            </a:endParaRPr>
          </a:p>
        </p:txBody>
      </p:sp>
      <p:pic>
        <p:nvPicPr>
          <p:cNvPr id="4" name="Imagen 3" descr="Logotipo&#10;&#10;Descripción generada automáticamente">
            <a:extLst>
              <a:ext uri="{FF2B5EF4-FFF2-40B4-BE49-F238E27FC236}">
                <a16:creationId xmlns:a16="http://schemas.microsoft.com/office/drawing/2014/main" id="{AAD8372E-5B7F-55E4-FA01-C1A3F58E6E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01313" y="6123044"/>
            <a:ext cx="1373263" cy="316907"/>
          </a:xfrm>
          <a:prstGeom prst="rect">
            <a:avLst/>
          </a:prstGeom>
        </p:spPr>
      </p:pic>
      <p:pic>
        <p:nvPicPr>
          <p:cNvPr id="3" name="Imagen 2">
            <a:extLst>
              <a:ext uri="{FF2B5EF4-FFF2-40B4-BE49-F238E27FC236}">
                <a16:creationId xmlns:a16="http://schemas.microsoft.com/office/drawing/2014/main" id="{9B81963A-85FB-D692-FD13-10DA57DB0A55}"/>
              </a:ext>
            </a:extLst>
          </p:cNvPr>
          <p:cNvPicPr>
            <a:picLocks noChangeAspect="1"/>
          </p:cNvPicPr>
          <p:nvPr/>
        </p:nvPicPr>
        <p:blipFill>
          <a:blip r:embed="rId4"/>
          <a:stretch>
            <a:fillRect/>
          </a:stretch>
        </p:blipFill>
        <p:spPr>
          <a:xfrm>
            <a:off x="9509525" y="436284"/>
            <a:ext cx="2273376" cy="1804326"/>
          </a:xfrm>
          <a:prstGeom prst="rect">
            <a:avLst/>
          </a:prstGeom>
        </p:spPr>
      </p:pic>
      <p:sp>
        <p:nvSpPr>
          <p:cNvPr id="12" name="CuadroTexto 11">
            <a:extLst>
              <a:ext uri="{FF2B5EF4-FFF2-40B4-BE49-F238E27FC236}">
                <a16:creationId xmlns:a16="http://schemas.microsoft.com/office/drawing/2014/main" id="{14AA7683-FEBF-993F-625C-0A4BA2F36AAC}"/>
              </a:ext>
            </a:extLst>
          </p:cNvPr>
          <p:cNvSpPr txBox="1"/>
          <p:nvPr/>
        </p:nvSpPr>
        <p:spPr>
          <a:xfrm>
            <a:off x="759109" y="2853246"/>
            <a:ext cx="2159929" cy="1578853"/>
          </a:xfrm>
          <a:prstGeom prst="rect">
            <a:avLst/>
          </a:prstGeom>
          <a:noFill/>
          <a:ln>
            <a:noFill/>
          </a:ln>
        </p:spPr>
        <p:txBody>
          <a:bodyPr spcFirstLastPara="1" wrap="square" lIns="0" tIns="45700" rIns="0" bIns="45700" anchor="t" anchorCtr="0">
            <a:spAutoFit/>
          </a:bodyPr>
          <a:lstStyle>
            <a:defPPr>
              <a:defRPr lang="en-US"/>
            </a:defPPr>
            <a:lvl1pPr defTabSz="914446">
              <a:lnSpc>
                <a:spcPct val="115000"/>
              </a:lnSpc>
              <a:buClr>
                <a:srgbClr val="000000"/>
              </a:buClr>
              <a:buSzPts val="1100"/>
              <a:defRPr sz="1200" kern="0">
                <a:solidFill>
                  <a:srgbClr val="000000"/>
                </a:solidFill>
                <a:latin typeface="Quattrocento Sans" panose="020B0502050000020003" pitchFamily="34" charset="0"/>
                <a:ea typeface="Quattrocento Sans"/>
                <a:cs typeface="Quattrocento Sans"/>
              </a:defRPr>
            </a:lvl1pPr>
          </a:lstStyle>
          <a:p>
            <a:pPr marL="171450" indent="-171450">
              <a:buFont typeface="Arial" panose="020B0604020202020204" pitchFamily="34" charset="0"/>
              <a:buChar char="•"/>
            </a:pPr>
            <a:r>
              <a:rPr lang="en-GB" noProof="0">
                <a:sym typeface="Calibri"/>
              </a:rPr>
              <a:t>Define, assign, and manage access rights using role-based access (RBAC) and attribute-based access (ABAC) models
Traceability of access and authorization decisions.</a:t>
            </a:r>
          </a:p>
        </p:txBody>
      </p:sp>
      <p:cxnSp>
        <p:nvCxnSpPr>
          <p:cNvPr id="13" name="Google Shape;3047;p19">
            <a:extLst>
              <a:ext uri="{FF2B5EF4-FFF2-40B4-BE49-F238E27FC236}">
                <a16:creationId xmlns:a16="http://schemas.microsoft.com/office/drawing/2014/main" id="{67E6EB47-EFDE-A8FB-0838-3BA4BD5F4F5D}"/>
              </a:ext>
            </a:extLst>
          </p:cNvPr>
          <p:cNvCxnSpPr/>
          <p:nvPr/>
        </p:nvCxnSpPr>
        <p:spPr>
          <a:xfrm>
            <a:off x="759108" y="2667802"/>
            <a:ext cx="1349700" cy="0"/>
          </a:xfrm>
          <a:prstGeom prst="straightConnector1">
            <a:avLst/>
          </a:prstGeom>
          <a:noFill/>
          <a:ln w="25400" cap="flat" cmpd="sng">
            <a:solidFill>
              <a:srgbClr val="A6A6A6"/>
            </a:solidFill>
            <a:prstDash val="solid"/>
            <a:miter lim="800000"/>
            <a:headEnd type="none" w="sm" len="sm"/>
            <a:tailEnd type="none" w="sm" len="sm"/>
          </a:ln>
        </p:spPr>
      </p:cxnSp>
      <p:sp>
        <p:nvSpPr>
          <p:cNvPr id="14" name="Google Shape;3052;p19">
            <a:extLst>
              <a:ext uri="{FF2B5EF4-FFF2-40B4-BE49-F238E27FC236}">
                <a16:creationId xmlns:a16="http://schemas.microsoft.com/office/drawing/2014/main" id="{6AEC1012-607D-8288-1F25-A18B18E1332F}"/>
              </a:ext>
            </a:extLst>
          </p:cNvPr>
          <p:cNvSpPr/>
          <p:nvPr/>
        </p:nvSpPr>
        <p:spPr>
          <a:xfrm>
            <a:off x="759108" y="2248847"/>
            <a:ext cx="1372800" cy="488700"/>
          </a:xfrm>
          <a:prstGeom prst="rect">
            <a:avLst/>
          </a:prstGeom>
          <a:noFill/>
          <a:ln>
            <a:noFill/>
          </a:ln>
        </p:spPr>
        <p:txBody>
          <a:bodyPr spcFirstLastPara="1" wrap="square" lIns="108000" tIns="0" rIns="0" bIns="108000" anchor="b" anchorCtr="0">
            <a:noAutofit/>
          </a:bodyPr>
          <a:lstStyle/>
          <a:p>
            <a:pPr defTabSz="914446">
              <a:lnSpc>
                <a:spcPct val="70000"/>
              </a:lnSpc>
              <a:spcAft>
                <a:spcPts val="70"/>
              </a:spcAft>
              <a:buClr>
                <a:srgbClr val="000000"/>
              </a:buClr>
              <a:defRPr/>
            </a:pPr>
            <a:r>
              <a:rPr lang="en-GB" sz="1600" b="1" kern="0" noProof="0">
                <a:solidFill>
                  <a:srgbClr val="000000"/>
                </a:solidFill>
                <a:latin typeface="Quattrocento Sans" panose="020B0502050000020003" pitchFamily="34" charset="0"/>
                <a:ea typeface="Quattrocento Sans"/>
                <a:cs typeface="Quattrocento Sans"/>
                <a:sym typeface="Quattrocento Sans"/>
              </a:rPr>
              <a:t>Access Management</a:t>
            </a:r>
          </a:p>
        </p:txBody>
      </p:sp>
      <p:cxnSp>
        <p:nvCxnSpPr>
          <p:cNvPr id="15" name="Google Shape;3047;p19">
            <a:extLst>
              <a:ext uri="{FF2B5EF4-FFF2-40B4-BE49-F238E27FC236}">
                <a16:creationId xmlns:a16="http://schemas.microsoft.com/office/drawing/2014/main" id="{BD3CA8AA-1E8E-D18B-2CB4-B43BC8BCD754}"/>
              </a:ext>
            </a:extLst>
          </p:cNvPr>
          <p:cNvCxnSpPr/>
          <p:nvPr/>
        </p:nvCxnSpPr>
        <p:spPr>
          <a:xfrm>
            <a:off x="3728062" y="2667802"/>
            <a:ext cx="1349700" cy="0"/>
          </a:xfrm>
          <a:prstGeom prst="straightConnector1">
            <a:avLst/>
          </a:prstGeom>
          <a:noFill/>
          <a:ln w="25400" cap="flat" cmpd="sng">
            <a:solidFill>
              <a:srgbClr val="A6A6A6"/>
            </a:solidFill>
            <a:prstDash val="solid"/>
            <a:miter lim="800000"/>
            <a:headEnd type="none" w="sm" len="sm"/>
            <a:tailEnd type="none" w="sm" len="sm"/>
          </a:ln>
        </p:spPr>
      </p:cxnSp>
      <p:sp>
        <p:nvSpPr>
          <p:cNvPr id="16" name="Google Shape;3052;p19">
            <a:extLst>
              <a:ext uri="{FF2B5EF4-FFF2-40B4-BE49-F238E27FC236}">
                <a16:creationId xmlns:a16="http://schemas.microsoft.com/office/drawing/2014/main" id="{4D5BDA9A-91A4-5BFD-EAE1-C7E3A7C58937}"/>
              </a:ext>
            </a:extLst>
          </p:cNvPr>
          <p:cNvSpPr/>
          <p:nvPr/>
        </p:nvSpPr>
        <p:spPr>
          <a:xfrm>
            <a:off x="3728061" y="2248847"/>
            <a:ext cx="1600983" cy="488700"/>
          </a:xfrm>
          <a:prstGeom prst="rect">
            <a:avLst/>
          </a:prstGeom>
          <a:noFill/>
          <a:ln>
            <a:noFill/>
          </a:ln>
        </p:spPr>
        <p:txBody>
          <a:bodyPr spcFirstLastPara="1" wrap="square" lIns="108000" tIns="0" rIns="0" bIns="108000" anchor="b" anchorCtr="0">
            <a:noAutofit/>
          </a:bodyPr>
          <a:lstStyle/>
          <a:p>
            <a:pPr defTabSz="914446">
              <a:lnSpc>
                <a:spcPct val="70000"/>
              </a:lnSpc>
              <a:spcAft>
                <a:spcPts val="70"/>
              </a:spcAft>
              <a:buClr>
                <a:srgbClr val="000000"/>
              </a:buClr>
              <a:defRPr/>
            </a:pPr>
            <a:r>
              <a:rPr lang="en-GB" sz="1600" b="1" kern="0" noProof="0">
                <a:solidFill>
                  <a:srgbClr val="000000"/>
                </a:solidFill>
                <a:latin typeface="Quattrocento Sans" panose="020B0502050000020003" pitchFamily="34" charset="0"/>
                <a:ea typeface="Quattrocento Sans"/>
                <a:cs typeface="Quattrocento Sans"/>
                <a:sym typeface="Quattrocento Sans"/>
              </a:rPr>
              <a:t>Usage and Consumption Controls</a:t>
            </a:r>
          </a:p>
        </p:txBody>
      </p:sp>
      <p:cxnSp>
        <p:nvCxnSpPr>
          <p:cNvPr id="17" name="Google Shape;3047;p19">
            <a:extLst>
              <a:ext uri="{FF2B5EF4-FFF2-40B4-BE49-F238E27FC236}">
                <a16:creationId xmlns:a16="http://schemas.microsoft.com/office/drawing/2014/main" id="{F1E4D789-3751-F4CF-8EE9-44B3C0369053}"/>
              </a:ext>
            </a:extLst>
          </p:cNvPr>
          <p:cNvCxnSpPr/>
          <p:nvPr/>
        </p:nvCxnSpPr>
        <p:spPr>
          <a:xfrm>
            <a:off x="6743135" y="2670534"/>
            <a:ext cx="1349700" cy="0"/>
          </a:xfrm>
          <a:prstGeom prst="straightConnector1">
            <a:avLst/>
          </a:prstGeom>
          <a:noFill/>
          <a:ln w="25400" cap="flat" cmpd="sng">
            <a:solidFill>
              <a:srgbClr val="A6A6A6"/>
            </a:solidFill>
            <a:prstDash val="solid"/>
            <a:miter lim="800000"/>
            <a:headEnd type="none" w="sm" len="sm"/>
            <a:tailEnd type="none" w="sm" len="sm"/>
          </a:ln>
        </p:spPr>
      </p:cxnSp>
      <p:sp>
        <p:nvSpPr>
          <p:cNvPr id="18" name="Google Shape;3052;p19">
            <a:extLst>
              <a:ext uri="{FF2B5EF4-FFF2-40B4-BE49-F238E27FC236}">
                <a16:creationId xmlns:a16="http://schemas.microsoft.com/office/drawing/2014/main" id="{9AABA752-31F2-0167-657F-D63ED96746BC}"/>
              </a:ext>
            </a:extLst>
          </p:cNvPr>
          <p:cNvSpPr/>
          <p:nvPr/>
        </p:nvSpPr>
        <p:spPr>
          <a:xfrm>
            <a:off x="6743134" y="1909337"/>
            <a:ext cx="1831943" cy="830942"/>
          </a:xfrm>
          <a:prstGeom prst="rect">
            <a:avLst/>
          </a:prstGeom>
          <a:noFill/>
          <a:ln>
            <a:noFill/>
          </a:ln>
        </p:spPr>
        <p:txBody>
          <a:bodyPr spcFirstLastPara="1" wrap="square" lIns="108000" tIns="0" rIns="0" bIns="108000" anchor="b" anchorCtr="0">
            <a:noAutofit/>
          </a:bodyPr>
          <a:lstStyle/>
          <a:p>
            <a:pPr defTabSz="914446">
              <a:lnSpc>
                <a:spcPct val="70000"/>
              </a:lnSpc>
              <a:spcAft>
                <a:spcPts val="70"/>
              </a:spcAft>
              <a:buClr>
                <a:srgbClr val="000000"/>
              </a:buClr>
              <a:defRPr/>
            </a:pPr>
            <a:r>
              <a:rPr lang="en-GB" sz="1600" b="1" kern="0" noProof="0">
                <a:solidFill>
                  <a:srgbClr val="000000"/>
                </a:solidFill>
                <a:latin typeface="Quattrocento Sans" panose="020B0502050000020003" pitchFamily="34" charset="0"/>
              </a:rPr>
              <a:t>Compliance Support</a:t>
            </a:r>
            <a:endParaRPr lang="en-GB" sz="1600" b="1" kern="0" noProof="0">
              <a:solidFill>
                <a:srgbClr val="000000"/>
              </a:solidFill>
              <a:latin typeface="Quattrocento Sans" panose="020B0502050000020003" pitchFamily="34" charset="0"/>
              <a:sym typeface="Quattrocento Sans"/>
            </a:endParaRPr>
          </a:p>
        </p:txBody>
      </p:sp>
      <p:sp>
        <p:nvSpPr>
          <p:cNvPr id="22" name="CuadroTexto 21">
            <a:extLst>
              <a:ext uri="{FF2B5EF4-FFF2-40B4-BE49-F238E27FC236}">
                <a16:creationId xmlns:a16="http://schemas.microsoft.com/office/drawing/2014/main" id="{A447199C-49F1-464E-B866-8811012036B1}"/>
              </a:ext>
            </a:extLst>
          </p:cNvPr>
          <p:cNvSpPr txBox="1"/>
          <p:nvPr/>
        </p:nvSpPr>
        <p:spPr>
          <a:xfrm>
            <a:off x="3728061" y="2853246"/>
            <a:ext cx="2159929" cy="941756"/>
          </a:xfrm>
          <a:prstGeom prst="rect">
            <a:avLst/>
          </a:prstGeom>
          <a:noFill/>
          <a:ln>
            <a:noFill/>
          </a:ln>
        </p:spPr>
        <p:txBody>
          <a:bodyPr spcFirstLastPara="1" wrap="square" lIns="0" tIns="45700" rIns="0" bIns="45700" anchor="t" anchorCtr="0">
            <a:spAutoFit/>
          </a:bodyPr>
          <a:lstStyle>
            <a:defPPr>
              <a:defRPr lang="en-US"/>
            </a:defPPr>
            <a:lvl1pPr defTabSz="914446">
              <a:lnSpc>
                <a:spcPct val="115000"/>
              </a:lnSpc>
              <a:buClr>
                <a:srgbClr val="000000"/>
              </a:buClr>
              <a:buSzPts val="1100"/>
              <a:defRPr sz="1200" kern="0">
                <a:solidFill>
                  <a:srgbClr val="000000"/>
                </a:solidFill>
                <a:latin typeface="Quattrocento Sans" panose="020B0502050000020003" pitchFamily="34" charset="0"/>
                <a:ea typeface="Quattrocento Sans"/>
                <a:cs typeface="Quattrocento Sans"/>
              </a:defRPr>
            </a:lvl1pPr>
          </a:lstStyle>
          <a:p>
            <a:pPr marL="171450" indent="-171450">
              <a:buFont typeface="Arial" panose="020B0604020202020204" pitchFamily="34" charset="0"/>
              <a:buChar char="•"/>
            </a:pPr>
            <a:r>
              <a:rPr lang="en-GB" noProof="0">
                <a:sym typeface="Calibri"/>
              </a:rPr>
              <a:t>Monitor and restrict the use of data and tools
Auditing of events and unusual behaviour</a:t>
            </a:r>
          </a:p>
        </p:txBody>
      </p:sp>
      <p:sp>
        <p:nvSpPr>
          <p:cNvPr id="23" name="CuadroTexto 22">
            <a:extLst>
              <a:ext uri="{FF2B5EF4-FFF2-40B4-BE49-F238E27FC236}">
                <a16:creationId xmlns:a16="http://schemas.microsoft.com/office/drawing/2014/main" id="{68297311-0F90-A33A-5B71-BDBDA2661B5A}"/>
              </a:ext>
            </a:extLst>
          </p:cNvPr>
          <p:cNvSpPr txBox="1"/>
          <p:nvPr/>
        </p:nvSpPr>
        <p:spPr>
          <a:xfrm>
            <a:off x="6743134" y="2854671"/>
            <a:ext cx="3155609" cy="1578853"/>
          </a:xfrm>
          <a:prstGeom prst="rect">
            <a:avLst/>
          </a:prstGeom>
          <a:noFill/>
          <a:ln>
            <a:noFill/>
          </a:ln>
        </p:spPr>
        <p:txBody>
          <a:bodyPr spcFirstLastPara="1" wrap="square" lIns="0" tIns="45700" rIns="0" bIns="45700" anchor="t" anchorCtr="0">
            <a:spAutoFit/>
          </a:bodyPr>
          <a:lstStyle>
            <a:defPPr>
              <a:defRPr lang="en-US"/>
            </a:defPPr>
            <a:lvl1pPr defTabSz="914446">
              <a:lnSpc>
                <a:spcPct val="115000"/>
              </a:lnSpc>
              <a:buClr>
                <a:srgbClr val="000000"/>
              </a:buClr>
              <a:buSzPts val="1100"/>
              <a:defRPr sz="1200" kern="0">
                <a:solidFill>
                  <a:srgbClr val="000000"/>
                </a:solidFill>
                <a:latin typeface="Quattrocento Sans" panose="020B0502050000020003" pitchFamily="34" charset="0"/>
                <a:ea typeface="Quattrocento Sans"/>
                <a:cs typeface="Quattrocento Sans"/>
              </a:defRPr>
            </a:lvl1pPr>
          </a:lstStyle>
          <a:p>
            <a:pPr marL="171450" indent="-171450">
              <a:buFont typeface="Arial" panose="020B0604020202020204" pitchFamily="34" charset="0"/>
              <a:buChar char="•"/>
            </a:pPr>
            <a:r>
              <a:rPr lang="en-GB" noProof="0">
                <a:sym typeface="Calibri"/>
              </a:rPr>
              <a:t>Automate regulatory requirements 
Scheduled deletion or anonymization of personal data (e.g. GDPR)
Registration and justification of the data life cycle (data retention policies).
Evidence of access, processing and elimination in the event of audits.</a:t>
            </a:r>
          </a:p>
        </p:txBody>
      </p:sp>
    </p:spTree>
    <p:extLst>
      <p:ext uri="{BB962C8B-B14F-4D97-AF65-F5344CB8AC3E}">
        <p14:creationId xmlns:p14="http://schemas.microsoft.com/office/powerpoint/2010/main" val="32071945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28E2E2-9160-247E-F47E-44E3FFCFD487}"/>
            </a:ext>
          </a:extLst>
        </p:cNvPr>
        <p:cNvGrpSpPr/>
        <p:nvPr/>
      </p:nvGrpSpPr>
      <p:grpSpPr>
        <a:xfrm>
          <a:off x="0" y="0"/>
          <a:ext cx="0" cy="0"/>
          <a:chOff x="0" y="0"/>
          <a:chExt cx="0" cy="0"/>
        </a:xfrm>
      </p:grpSpPr>
      <p:sp>
        <p:nvSpPr>
          <p:cNvPr id="2" name="Rectangle 57">
            <a:extLst>
              <a:ext uri="{FF2B5EF4-FFF2-40B4-BE49-F238E27FC236}">
                <a16:creationId xmlns:a16="http://schemas.microsoft.com/office/drawing/2014/main" id="{2099EC13-33F6-AAD0-64A1-B808FFC5B09C}"/>
              </a:ext>
            </a:extLst>
          </p:cNvPr>
          <p:cNvSpPr>
            <a:spLocks noChangeArrowheads="1"/>
          </p:cNvSpPr>
          <p:nvPr/>
        </p:nvSpPr>
        <p:spPr bwMode="gray">
          <a:xfrm>
            <a:off x="226220" y="198916"/>
            <a:ext cx="7407741" cy="707832"/>
          </a:xfrm>
          <a:prstGeom prst="rect">
            <a:avLst/>
          </a:prstGeom>
          <a:noFill/>
          <a:ln w="9525">
            <a:noFill/>
            <a:miter lim="800000"/>
            <a:headEnd/>
            <a:tailEnd/>
          </a:ln>
          <a:effectLst/>
        </p:spPr>
        <p:txBody>
          <a:bodyPr wrap="square" lIns="91386" tIns="45693" rIns="91386" bIns="45693" anchor="t">
            <a:spAutoFit/>
          </a:bodyPr>
          <a:lstStyle/>
          <a:p>
            <a:pPr defTabSz="609630"/>
            <a:r>
              <a:rPr lang="en-GB" sz="4000" b="1" noProof="0" dirty="0">
                <a:solidFill>
                  <a:schemeClr val="tx1">
                    <a:lumMod val="95000"/>
                    <a:lumOff val="5000"/>
                  </a:schemeClr>
                </a:solidFill>
                <a:latin typeface="Quattrocento Sans" panose="020B0502050000020003" pitchFamily="34" charset="0"/>
                <a:ea typeface="Lato"/>
                <a:cs typeface="Lato"/>
                <a:sym typeface="Arial"/>
              </a:rPr>
              <a:t>Data Governance</a:t>
            </a:r>
            <a:endParaRPr lang="en-GB" kern="0" noProof="0" dirty="0">
              <a:solidFill>
                <a:srgbClr val="8A0051"/>
              </a:solidFill>
              <a:latin typeface="Quattrocento Sans" panose="020B0502050000020003" pitchFamily="34" charset="0"/>
              <a:cs typeface="Calibri"/>
              <a:sym typeface="Calibri"/>
            </a:endParaRPr>
          </a:p>
        </p:txBody>
      </p:sp>
      <p:pic>
        <p:nvPicPr>
          <p:cNvPr id="11" name="Imagen 10" descr="Logotipo&#10;&#10;Descripción generada automáticamente">
            <a:extLst>
              <a:ext uri="{FF2B5EF4-FFF2-40B4-BE49-F238E27FC236}">
                <a16:creationId xmlns:a16="http://schemas.microsoft.com/office/drawing/2014/main" id="{8BD739DA-E28A-6897-BD3C-FFF957E742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75643" y="422965"/>
            <a:ext cx="1935381" cy="446626"/>
          </a:xfrm>
          <a:prstGeom prst="rect">
            <a:avLst/>
          </a:prstGeom>
        </p:spPr>
      </p:pic>
      <p:pic>
        <p:nvPicPr>
          <p:cNvPr id="1026" name="Picture 2" descr="AstraZeneca Logo, symbol, meaning, history, PNG, brand">
            <a:extLst>
              <a:ext uri="{FF2B5EF4-FFF2-40B4-BE49-F238E27FC236}">
                <a16:creationId xmlns:a16="http://schemas.microsoft.com/office/drawing/2014/main" id="{394733FD-7FB5-DA4A-9682-8811D0AB753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75018" y="213658"/>
            <a:ext cx="1267373" cy="712897"/>
          </a:xfrm>
          <a:prstGeom prst="rect">
            <a:avLst/>
          </a:prstGeom>
          <a:noFill/>
          <a:extLst>
            <a:ext uri="{909E8E84-426E-40DD-AFC4-6F175D3DCCD1}">
              <a14:hiddenFill xmlns:a14="http://schemas.microsoft.com/office/drawing/2010/main">
                <a:solidFill>
                  <a:srgbClr val="FFFFFF"/>
                </a:solidFill>
              </a14:hiddenFill>
            </a:ext>
          </a:extLst>
        </p:spPr>
      </p:pic>
      <p:sp>
        <p:nvSpPr>
          <p:cNvPr id="3" name="Object13">
            <a:extLst>
              <a:ext uri="{FF2B5EF4-FFF2-40B4-BE49-F238E27FC236}">
                <a16:creationId xmlns:a16="http://schemas.microsoft.com/office/drawing/2014/main" id="{74989AE1-A994-41F7-FC57-376928BD5A0E}"/>
              </a:ext>
            </a:extLst>
          </p:cNvPr>
          <p:cNvSpPr txBox="1"/>
          <p:nvPr/>
        </p:nvSpPr>
        <p:spPr>
          <a:xfrm>
            <a:off x="297025" y="1250817"/>
            <a:ext cx="7105119" cy="86177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t">
            <a:spAutoFit/>
          </a:bodyPr>
          <a:lstStyle>
            <a:lvl1pPr>
              <a:lnSpc>
                <a:spcPts val="1900"/>
              </a:lnSpc>
              <a:defRPr sz="1300">
                <a:solidFill>
                  <a:srgbClr val="2D2D2D"/>
                </a:solidFill>
                <a:latin typeface="DM Sans Regular"/>
                <a:ea typeface="DM Sans Regular"/>
                <a:cs typeface="DM Sans Regular"/>
                <a:sym typeface="DM Sans Regular"/>
              </a:defRPr>
            </a:lvl1pPr>
          </a:lstStyle>
          <a:p>
            <a:pPr defTabSz="914446">
              <a:lnSpc>
                <a:spcPct val="100000"/>
              </a:lnSpc>
              <a:buClr>
                <a:srgbClr val="000000"/>
              </a:buClr>
              <a:defRPr/>
            </a:pPr>
            <a:r>
              <a:rPr lang="en-GB" sz="1400" kern="0" noProof="0">
                <a:solidFill>
                  <a:srgbClr val="000000">
                    <a:lumMod val="95000"/>
                    <a:lumOff val="5000"/>
                  </a:srgbClr>
                </a:solidFill>
                <a:latin typeface="Quattrocento Sans"/>
                <a:cs typeface="Arial"/>
                <a:sym typeface="Arial"/>
              </a:rPr>
              <a:t>Data Governance seeks alignment with a </a:t>
            </a:r>
            <a:r>
              <a:rPr lang="en-GB" sz="1400" b="1" kern="0" noProof="0">
                <a:solidFill>
                  <a:srgbClr val="000000">
                    <a:lumMod val="95000"/>
                    <a:lumOff val="5000"/>
                  </a:srgbClr>
                </a:solidFill>
                <a:latin typeface="Quattrocento Sans"/>
                <a:cs typeface="Arial"/>
                <a:sym typeface="Arial"/>
              </a:rPr>
              <a:t>Data Driven AI Organization </a:t>
            </a:r>
            <a:r>
              <a:rPr lang="en-GB" sz="1400" kern="0" noProof="0">
                <a:solidFill>
                  <a:srgbClr val="000000">
                    <a:lumMod val="95000"/>
                    <a:lumOff val="5000"/>
                  </a:srgbClr>
                </a:solidFill>
                <a:latin typeface="Quattrocento Sans"/>
                <a:cs typeface="Arial"/>
                <a:sym typeface="Arial"/>
              </a:rPr>
              <a:t>(Data culture + Technology) strategy, where </a:t>
            </a:r>
            <a:r>
              <a:rPr lang="en-GB" sz="1400" b="1" kern="0" noProof="0">
                <a:solidFill>
                  <a:srgbClr val="000000">
                    <a:lumMod val="95000"/>
                    <a:lumOff val="5000"/>
                  </a:srgbClr>
                </a:solidFill>
                <a:latin typeface="Quattrocento Sans"/>
                <a:cs typeface="Arial"/>
                <a:sym typeface="Arial"/>
              </a:rPr>
              <a:t>data is a strategic asset</a:t>
            </a:r>
            <a:r>
              <a:rPr lang="en-GB" sz="1400" kern="0" noProof="0">
                <a:solidFill>
                  <a:srgbClr val="000000">
                    <a:lumMod val="95000"/>
                    <a:lumOff val="5000"/>
                  </a:srgbClr>
                </a:solidFill>
                <a:latin typeface="Quattrocento Sans"/>
                <a:cs typeface="Arial"/>
                <a:sym typeface="Arial"/>
              </a:rPr>
              <a:t>.</a:t>
            </a:r>
          </a:p>
          <a:p>
            <a:pPr defTabSz="914446">
              <a:lnSpc>
                <a:spcPct val="100000"/>
              </a:lnSpc>
              <a:buClr>
                <a:srgbClr val="000000"/>
              </a:buClr>
              <a:defRPr/>
            </a:pPr>
            <a:endParaRPr lang="en-GB" sz="1400" b="1" kern="0" noProof="0">
              <a:solidFill>
                <a:srgbClr val="000000">
                  <a:lumMod val="95000"/>
                  <a:lumOff val="5000"/>
                </a:srgbClr>
              </a:solidFill>
              <a:latin typeface="Quattrocento Sans"/>
              <a:cs typeface="Arial"/>
              <a:sym typeface="Arial"/>
            </a:endParaRPr>
          </a:p>
          <a:p>
            <a:pPr defTabSz="914446">
              <a:lnSpc>
                <a:spcPct val="100000"/>
              </a:lnSpc>
              <a:buClr>
                <a:srgbClr val="000000"/>
              </a:buClr>
              <a:defRPr/>
            </a:pPr>
            <a:r>
              <a:rPr lang="en-GB" sz="1400" kern="0" noProof="0">
                <a:solidFill>
                  <a:srgbClr val="000000">
                    <a:lumMod val="95000"/>
                    <a:lumOff val="5000"/>
                  </a:srgbClr>
                </a:solidFill>
                <a:latin typeface="Quattrocento Sans"/>
                <a:cs typeface="Arial"/>
                <a:sym typeface="Arial"/>
              </a:rPr>
              <a:t>It is based on the following </a:t>
            </a:r>
            <a:r>
              <a:rPr lang="en-GB" sz="1400" b="1" kern="0" noProof="0">
                <a:solidFill>
                  <a:srgbClr val="000000">
                    <a:lumMod val="95000"/>
                    <a:lumOff val="5000"/>
                  </a:srgbClr>
                </a:solidFill>
                <a:latin typeface="Quattrocento Sans"/>
                <a:cs typeface="Arial"/>
                <a:sym typeface="Arial"/>
              </a:rPr>
              <a:t>pillars</a:t>
            </a:r>
            <a:r>
              <a:rPr lang="en-GB" sz="1400" kern="0" noProof="0">
                <a:solidFill>
                  <a:srgbClr val="000000">
                    <a:lumMod val="95000"/>
                    <a:lumOff val="5000"/>
                  </a:srgbClr>
                </a:solidFill>
                <a:latin typeface="Quattrocento Sans"/>
                <a:cs typeface="Arial"/>
                <a:sym typeface="Arial"/>
              </a:rPr>
              <a:t>: </a:t>
            </a:r>
          </a:p>
        </p:txBody>
      </p:sp>
      <p:sp>
        <p:nvSpPr>
          <p:cNvPr id="4" name="Triángulo isósceles 3">
            <a:extLst>
              <a:ext uri="{FF2B5EF4-FFF2-40B4-BE49-F238E27FC236}">
                <a16:creationId xmlns:a16="http://schemas.microsoft.com/office/drawing/2014/main" id="{12E6D861-00FA-24E0-F7B7-08E4982CADC6}"/>
              </a:ext>
            </a:extLst>
          </p:cNvPr>
          <p:cNvSpPr>
            <a:spLocks/>
          </p:cNvSpPr>
          <p:nvPr/>
        </p:nvSpPr>
        <p:spPr>
          <a:xfrm>
            <a:off x="4376954" y="2806774"/>
            <a:ext cx="3321738" cy="511673"/>
          </a:xfrm>
          <a:prstGeom prst="triangle">
            <a:avLst>
              <a:gd name="adj" fmla="val 51721"/>
            </a:avLst>
          </a:prstGeom>
          <a:no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5" name="Rectangle 60">
            <a:extLst>
              <a:ext uri="{FF2B5EF4-FFF2-40B4-BE49-F238E27FC236}">
                <a16:creationId xmlns:a16="http://schemas.microsoft.com/office/drawing/2014/main" id="{7B1CFAC7-9222-64F7-47E9-369D56DF6641}"/>
              </a:ext>
            </a:extLst>
          </p:cNvPr>
          <p:cNvSpPr/>
          <p:nvPr/>
        </p:nvSpPr>
        <p:spPr>
          <a:xfrm>
            <a:off x="1484608" y="4382631"/>
            <a:ext cx="2892346" cy="773836"/>
          </a:xfrm>
          <a:prstGeom prst="rect">
            <a:avLst/>
          </a:prstGeom>
        </p:spPr>
        <p:txBody>
          <a:bodyPr wrap="square">
            <a:noAutofit/>
          </a:bodyPr>
          <a:lstStyle/>
          <a:p>
            <a:pPr defTabSz="609660">
              <a:defRPr/>
            </a:pPr>
            <a:r>
              <a:rPr lang="en-GB" sz="1100" noProof="0"/>
              <a:t>Discovery of the origin and path of data with full transparency. Centralise catalogues, glossaries, and metadata management.</a:t>
            </a:r>
            <a:endParaRPr lang="en-GB" sz="1100" kern="0" noProof="0">
              <a:solidFill>
                <a:srgbClr val="000000">
                  <a:lumMod val="95000"/>
                  <a:lumOff val="5000"/>
                </a:srgbClr>
              </a:solidFill>
              <a:latin typeface="Quattrocento Sans"/>
              <a:cs typeface="Arial"/>
              <a:sym typeface="Arial"/>
            </a:endParaRPr>
          </a:p>
        </p:txBody>
      </p:sp>
      <p:sp>
        <p:nvSpPr>
          <p:cNvPr id="6" name="Rectangle 68">
            <a:extLst>
              <a:ext uri="{FF2B5EF4-FFF2-40B4-BE49-F238E27FC236}">
                <a16:creationId xmlns:a16="http://schemas.microsoft.com/office/drawing/2014/main" id="{7E8996E3-DED5-B382-EEA0-2FE92E29A1C0}"/>
              </a:ext>
            </a:extLst>
          </p:cNvPr>
          <p:cNvSpPr/>
          <p:nvPr/>
        </p:nvSpPr>
        <p:spPr>
          <a:xfrm>
            <a:off x="1506333" y="3249097"/>
            <a:ext cx="2639800" cy="955949"/>
          </a:xfrm>
          <a:prstGeom prst="rect">
            <a:avLst/>
          </a:prstGeom>
        </p:spPr>
        <p:txBody>
          <a:bodyPr wrap="square">
            <a:noAutofit/>
          </a:bodyPr>
          <a:lstStyle/>
          <a:p>
            <a:pPr defTabSz="609660">
              <a:defRPr/>
            </a:pPr>
            <a:r>
              <a:rPr lang="en-GB" sz="1100" noProof="0"/>
              <a:t>It ensures accurate, complete and always up-to-date data. It establishes business rules and general rules.</a:t>
            </a:r>
            <a:endParaRPr lang="en-GB" sz="1100" kern="0" noProof="0">
              <a:solidFill>
                <a:srgbClr val="000000">
                  <a:lumMod val="95000"/>
                  <a:lumOff val="5000"/>
                </a:srgbClr>
              </a:solidFill>
              <a:latin typeface="Quattrocento Sans"/>
              <a:cs typeface="Arial"/>
              <a:sym typeface="Arial"/>
            </a:endParaRPr>
          </a:p>
        </p:txBody>
      </p:sp>
      <p:sp>
        <p:nvSpPr>
          <p:cNvPr id="7" name="Rectángulo 6">
            <a:extLst>
              <a:ext uri="{FF2B5EF4-FFF2-40B4-BE49-F238E27FC236}">
                <a16:creationId xmlns:a16="http://schemas.microsoft.com/office/drawing/2014/main" id="{085814B7-3AE9-439B-B7DB-6049C0BDAE8D}"/>
              </a:ext>
            </a:extLst>
          </p:cNvPr>
          <p:cNvSpPr/>
          <p:nvPr/>
        </p:nvSpPr>
        <p:spPr>
          <a:xfrm>
            <a:off x="4364545" y="5170676"/>
            <a:ext cx="3365225" cy="148912"/>
          </a:xfrm>
          <a:prstGeom prst="rect">
            <a:avLst/>
          </a:prstGeom>
          <a:solidFill>
            <a:schemeClr val="bg1"/>
          </a:solid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8" name="Rectángulo 7">
            <a:extLst>
              <a:ext uri="{FF2B5EF4-FFF2-40B4-BE49-F238E27FC236}">
                <a16:creationId xmlns:a16="http://schemas.microsoft.com/office/drawing/2014/main" id="{3879FFCC-9291-FB18-5A2B-2C4A73A6152E}"/>
              </a:ext>
            </a:extLst>
          </p:cNvPr>
          <p:cNvSpPr/>
          <p:nvPr/>
        </p:nvSpPr>
        <p:spPr>
          <a:xfrm>
            <a:off x="4206671" y="5319075"/>
            <a:ext cx="3642373" cy="363164"/>
          </a:xfrm>
          <a:prstGeom prst="rect">
            <a:avLst/>
          </a:prstGeom>
          <a:solidFill>
            <a:schemeClr val="bg1"/>
          </a:solid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9" name="Rectángulo 8">
            <a:extLst>
              <a:ext uri="{FF2B5EF4-FFF2-40B4-BE49-F238E27FC236}">
                <a16:creationId xmlns:a16="http://schemas.microsoft.com/office/drawing/2014/main" id="{9EF7DD25-958B-5686-412C-9C6334E7DED7}"/>
              </a:ext>
            </a:extLst>
          </p:cNvPr>
          <p:cNvSpPr/>
          <p:nvPr/>
        </p:nvSpPr>
        <p:spPr>
          <a:xfrm>
            <a:off x="4379564" y="5252523"/>
            <a:ext cx="3337200" cy="248799"/>
          </a:xfrm>
          <a:prstGeom prst="rect">
            <a:avLst/>
          </a:prstGeom>
          <a:solidFill>
            <a:schemeClr val="bg1"/>
          </a:solidFill>
          <a:ln w="1079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10" name="Text Box 3">
            <a:extLst>
              <a:ext uri="{FF2B5EF4-FFF2-40B4-BE49-F238E27FC236}">
                <a16:creationId xmlns:a16="http://schemas.microsoft.com/office/drawing/2014/main" id="{C61F0C63-A929-026B-EB15-E9BBED11E2FD}"/>
              </a:ext>
            </a:extLst>
          </p:cNvPr>
          <p:cNvSpPr txBox="1">
            <a:spLocks noChangeArrowheads="1"/>
          </p:cNvSpPr>
          <p:nvPr/>
        </p:nvSpPr>
        <p:spPr bwMode="auto">
          <a:xfrm>
            <a:off x="4974532" y="5239742"/>
            <a:ext cx="2106650" cy="369332"/>
          </a:xfrm>
          <a:prstGeom prst="rect">
            <a:avLst/>
          </a:prstGeom>
          <a:solidFill>
            <a:schemeClr val="bg1"/>
          </a:solidFill>
          <a:ln w="9525">
            <a:noFill/>
            <a:miter lim="800000"/>
            <a:headEnd/>
            <a:tailEnd/>
          </a:ln>
        </p:spPr>
        <p:txBody>
          <a:bodyPr wrap="square">
            <a:spAutoFit/>
          </a:bodyPr>
          <a:lstStyle>
            <a:defPPr marR="0" lvl="0" algn="l" rtl="0">
              <a:lnSpc>
                <a:spcPct val="100000"/>
              </a:lnSpc>
              <a:spcBef>
                <a:spcPts val="0"/>
              </a:spcBef>
              <a:spcAft>
                <a:spcPts val="0"/>
              </a:spcAft>
              <a:defRPr/>
            </a:defPPr>
            <a:lvl1pPr algn="ctr" fontAlgn="base">
              <a:spcBef>
                <a:spcPct val="50000"/>
              </a:spcBef>
              <a:spcAft>
                <a:spcPct val="0"/>
              </a:spcAft>
              <a:defRPr sz="1800" b="1">
                <a:solidFill>
                  <a:schemeClr val="bg1"/>
                </a:solidFill>
                <a:latin typeface="Quattrocento Sans" panose="020B0502050000020003" pitchFamily="34" charset="0"/>
              </a:defRPr>
            </a:lvl1pPr>
          </a:lstStyle>
          <a:p>
            <a:pPr defTabSz="914446">
              <a:buClr>
                <a:srgbClr val="000000"/>
              </a:buClr>
              <a:defRPr/>
            </a:pPr>
            <a:r>
              <a:rPr lang="en-GB" kern="0" noProof="0">
                <a:solidFill>
                  <a:srgbClr val="000000">
                    <a:lumMod val="95000"/>
                    <a:lumOff val="5000"/>
                  </a:srgbClr>
                </a:solidFill>
                <a:cs typeface="Arial"/>
                <a:sym typeface="Arial"/>
              </a:rPr>
              <a:t>Architecture</a:t>
            </a:r>
          </a:p>
        </p:txBody>
      </p:sp>
      <p:grpSp>
        <p:nvGrpSpPr>
          <p:cNvPr id="12" name="Grupo 11">
            <a:extLst>
              <a:ext uri="{FF2B5EF4-FFF2-40B4-BE49-F238E27FC236}">
                <a16:creationId xmlns:a16="http://schemas.microsoft.com/office/drawing/2014/main" id="{840336C7-9B62-657E-40D2-9D7BCA420D43}"/>
              </a:ext>
            </a:extLst>
          </p:cNvPr>
          <p:cNvGrpSpPr/>
          <p:nvPr/>
        </p:nvGrpSpPr>
        <p:grpSpPr>
          <a:xfrm>
            <a:off x="4671207" y="3508153"/>
            <a:ext cx="646331" cy="1656000"/>
            <a:chOff x="4621921" y="3316992"/>
            <a:chExt cx="719703" cy="1680294"/>
          </a:xfrm>
          <a:solidFill>
            <a:srgbClr val="00456E"/>
          </a:solidFill>
        </p:grpSpPr>
        <p:sp>
          <p:nvSpPr>
            <p:cNvPr id="13" name="Trapecio 12">
              <a:extLst>
                <a:ext uri="{FF2B5EF4-FFF2-40B4-BE49-F238E27FC236}">
                  <a16:creationId xmlns:a16="http://schemas.microsoft.com/office/drawing/2014/main" id="{B1E25E34-94D7-D529-A7D8-2BFC2C2A9885}"/>
                </a:ext>
              </a:extLst>
            </p:cNvPr>
            <p:cNvSpPr/>
            <p:nvPr/>
          </p:nvSpPr>
          <p:spPr>
            <a:xfrm>
              <a:off x="4678746" y="3316992"/>
              <a:ext cx="646330" cy="1680294"/>
            </a:xfrm>
            <a:prstGeom prst="trapezoid">
              <a:avLst>
                <a:gd name="adj" fmla="val 0"/>
              </a:avLst>
            </a:prstGeom>
            <a:grpFill/>
            <a:ln w="25400">
              <a:solidFill>
                <a:srgbClr val="00456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14" name="Text Box 3">
              <a:extLst>
                <a:ext uri="{FF2B5EF4-FFF2-40B4-BE49-F238E27FC236}">
                  <a16:creationId xmlns:a16="http://schemas.microsoft.com/office/drawing/2014/main" id="{9918E5BC-EF7D-76C4-BE3C-339D1109E65A}"/>
                </a:ext>
              </a:extLst>
            </p:cNvPr>
            <p:cNvSpPr txBox="1">
              <a:spLocks noChangeArrowheads="1"/>
            </p:cNvSpPr>
            <p:nvPr/>
          </p:nvSpPr>
          <p:spPr bwMode="auto">
            <a:xfrm rot="16200000">
              <a:off x="4276766" y="3793397"/>
              <a:ext cx="1410014" cy="719703"/>
            </a:xfrm>
            <a:prstGeom prst="rect">
              <a:avLst/>
            </a:prstGeom>
            <a:noFill/>
            <a:ln w="9525">
              <a:noFill/>
              <a:miter lim="800000"/>
              <a:headEnd/>
              <a:tailEnd/>
            </a:ln>
          </p:spPr>
          <p:txBody>
            <a:bodyPr wrap="square" anchor="ctr">
              <a:spAutoFit/>
            </a:bodyPr>
            <a:lstStyle>
              <a:defPPr marR="0" lvl="0" algn="l" rtl="0">
                <a:lnSpc>
                  <a:spcPct val="100000"/>
                </a:lnSpc>
                <a:spcBef>
                  <a:spcPts val="0"/>
                </a:spcBef>
                <a:spcAft>
                  <a:spcPts val="0"/>
                </a:spcAft>
                <a:defRPr/>
              </a:defPPr>
              <a:lvl1pPr algn="ctr" fontAlgn="base">
                <a:spcBef>
                  <a:spcPct val="50000"/>
                </a:spcBef>
                <a:spcAft>
                  <a:spcPct val="0"/>
                </a:spcAft>
                <a:defRPr sz="2000" b="1">
                  <a:solidFill>
                    <a:srgbClr val="000A23"/>
                  </a:solidFill>
                  <a:latin typeface="Quattrocento Sans" panose="020B0502050000020003" pitchFamily="34" charset="0"/>
                </a:defRPr>
              </a:lvl1pPr>
            </a:lstStyle>
            <a:p>
              <a:pPr defTabSz="914446">
                <a:buClr>
                  <a:srgbClr val="000000"/>
                </a:buClr>
                <a:defRPr/>
              </a:pPr>
              <a:r>
                <a:rPr lang="en-GB" sz="1800" kern="0" noProof="0">
                  <a:solidFill>
                    <a:schemeClr val="bg1"/>
                  </a:solidFill>
                  <a:cs typeface="Arial"/>
                  <a:sym typeface="Arial"/>
                </a:rPr>
                <a:t>Lineage and Catalogue</a:t>
              </a:r>
            </a:p>
          </p:txBody>
        </p:sp>
      </p:grpSp>
      <p:grpSp>
        <p:nvGrpSpPr>
          <p:cNvPr id="15" name="Grupo 14">
            <a:extLst>
              <a:ext uri="{FF2B5EF4-FFF2-40B4-BE49-F238E27FC236}">
                <a16:creationId xmlns:a16="http://schemas.microsoft.com/office/drawing/2014/main" id="{B6CDF896-7C55-4F74-2011-5D9F92F3E9E7}"/>
              </a:ext>
            </a:extLst>
          </p:cNvPr>
          <p:cNvGrpSpPr/>
          <p:nvPr/>
        </p:nvGrpSpPr>
        <p:grpSpPr>
          <a:xfrm>
            <a:off x="5462266" y="3508153"/>
            <a:ext cx="580439" cy="1656000"/>
            <a:chOff x="5408193" y="3297985"/>
            <a:chExt cx="426385" cy="1680293"/>
          </a:xfrm>
        </p:grpSpPr>
        <p:sp>
          <p:nvSpPr>
            <p:cNvPr id="16" name="Trapecio 15">
              <a:extLst>
                <a:ext uri="{FF2B5EF4-FFF2-40B4-BE49-F238E27FC236}">
                  <a16:creationId xmlns:a16="http://schemas.microsoft.com/office/drawing/2014/main" id="{B5118990-450D-EBA5-CB9B-E672A7F3F42F}"/>
                </a:ext>
              </a:extLst>
            </p:cNvPr>
            <p:cNvSpPr/>
            <p:nvPr/>
          </p:nvSpPr>
          <p:spPr>
            <a:xfrm>
              <a:off x="5408193" y="3297985"/>
              <a:ext cx="426385" cy="1680293"/>
            </a:xfrm>
            <a:prstGeom prst="trapezoid">
              <a:avLst>
                <a:gd name="adj" fmla="val 0"/>
              </a:avLst>
            </a:prstGeom>
            <a:solidFill>
              <a:srgbClr val="00456E"/>
            </a:solidFill>
            <a:ln w="25400">
              <a:solidFill>
                <a:srgbClr val="00456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17" name="Text Box 3">
              <a:extLst>
                <a:ext uri="{FF2B5EF4-FFF2-40B4-BE49-F238E27FC236}">
                  <a16:creationId xmlns:a16="http://schemas.microsoft.com/office/drawing/2014/main" id="{FAD8151E-B039-69B3-FCD3-943B13B2DCF6}"/>
                </a:ext>
              </a:extLst>
            </p:cNvPr>
            <p:cNvSpPr txBox="1">
              <a:spLocks noChangeArrowheads="1"/>
            </p:cNvSpPr>
            <p:nvPr/>
          </p:nvSpPr>
          <p:spPr bwMode="auto">
            <a:xfrm rot="16200000">
              <a:off x="5047290" y="4002477"/>
              <a:ext cx="1148191" cy="271308"/>
            </a:xfrm>
            <a:prstGeom prst="rect">
              <a:avLst/>
            </a:prstGeom>
            <a:noFill/>
            <a:ln w="9525">
              <a:noFill/>
              <a:miter lim="800000"/>
              <a:headEnd/>
              <a:tailEnd/>
            </a:ln>
          </p:spPr>
          <p:txBody>
            <a:bodyPr wrap="square" anchor="ctr">
              <a:spAutoFit/>
            </a:bodyPr>
            <a:lstStyle>
              <a:defPPr marR="0" lvl="0" algn="l" rtl="0">
                <a:lnSpc>
                  <a:spcPct val="100000"/>
                </a:lnSpc>
                <a:spcBef>
                  <a:spcPts val="0"/>
                </a:spcBef>
                <a:spcAft>
                  <a:spcPts val="0"/>
                </a:spcAft>
                <a:defRPr/>
              </a:defPPr>
              <a:lvl1pPr algn="ctr" fontAlgn="base">
                <a:spcBef>
                  <a:spcPct val="50000"/>
                </a:spcBef>
                <a:spcAft>
                  <a:spcPct val="0"/>
                </a:spcAft>
                <a:defRPr sz="1800" b="1">
                  <a:solidFill>
                    <a:schemeClr val="bg1"/>
                  </a:solidFill>
                  <a:latin typeface="Quattrocento Sans" panose="020B0502050000020003" pitchFamily="34" charset="0"/>
                </a:defRPr>
              </a:lvl1pPr>
            </a:lstStyle>
            <a:p>
              <a:pPr defTabSz="914446">
                <a:buClr>
                  <a:srgbClr val="000000"/>
                </a:buClr>
                <a:defRPr/>
              </a:pPr>
              <a:r>
                <a:rPr lang="en-GB" kern="0" noProof="0">
                  <a:cs typeface="Arial"/>
                  <a:sym typeface="Arial"/>
                </a:rPr>
                <a:t>Quality</a:t>
              </a:r>
            </a:p>
          </p:txBody>
        </p:sp>
      </p:grpSp>
      <p:grpSp>
        <p:nvGrpSpPr>
          <p:cNvPr id="18" name="Grupo 17">
            <a:extLst>
              <a:ext uri="{FF2B5EF4-FFF2-40B4-BE49-F238E27FC236}">
                <a16:creationId xmlns:a16="http://schemas.microsoft.com/office/drawing/2014/main" id="{578B8D0D-0FFA-4547-C596-7360076DB25C}"/>
              </a:ext>
            </a:extLst>
          </p:cNvPr>
          <p:cNvGrpSpPr/>
          <p:nvPr/>
        </p:nvGrpSpPr>
        <p:grpSpPr>
          <a:xfrm>
            <a:off x="6799689" y="3508153"/>
            <a:ext cx="646331" cy="1656000"/>
            <a:chOff x="6708405" y="3318803"/>
            <a:chExt cx="472833" cy="1680293"/>
          </a:xfrm>
        </p:grpSpPr>
        <p:sp>
          <p:nvSpPr>
            <p:cNvPr id="19" name="Trapecio 18">
              <a:extLst>
                <a:ext uri="{FF2B5EF4-FFF2-40B4-BE49-F238E27FC236}">
                  <a16:creationId xmlns:a16="http://schemas.microsoft.com/office/drawing/2014/main" id="{F4D57981-9B6B-BA91-7788-46167EE1DF28}"/>
                </a:ext>
              </a:extLst>
            </p:cNvPr>
            <p:cNvSpPr/>
            <p:nvPr/>
          </p:nvSpPr>
          <p:spPr>
            <a:xfrm>
              <a:off x="6729081" y="3318803"/>
              <a:ext cx="426385" cy="1680293"/>
            </a:xfrm>
            <a:prstGeom prst="trapezoid">
              <a:avLst>
                <a:gd name="adj" fmla="val 0"/>
              </a:avLst>
            </a:prstGeom>
            <a:no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28" name="Text Box 3">
              <a:extLst>
                <a:ext uri="{FF2B5EF4-FFF2-40B4-BE49-F238E27FC236}">
                  <a16:creationId xmlns:a16="http://schemas.microsoft.com/office/drawing/2014/main" id="{50BB9224-4E21-5DE1-D3FE-2834F2ADE280}"/>
                </a:ext>
              </a:extLst>
            </p:cNvPr>
            <p:cNvSpPr txBox="1">
              <a:spLocks noChangeArrowheads="1"/>
            </p:cNvSpPr>
            <p:nvPr/>
          </p:nvSpPr>
          <p:spPr bwMode="auto">
            <a:xfrm rot="16200000">
              <a:off x="6303773" y="3979570"/>
              <a:ext cx="1282097" cy="472833"/>
            </a:xfrm>
            <a:prstGeom prst="rect">
              <a:avLst/>
            </a:prstGeom>
            <a:noFill/>
            <a:ln w="9525">
              <a:noFill/>
              <a:miter lim="800000"/>
              <a:headEnd/>
              <a:tailEnd/>
            </a:ln>
          </p:spPr>
          <p:txBody>
            <a:bodyPr wrap="square">
              <a:spAutoFit/>
            </a:bodyPr>
            <a:lstStyle>
              <a:defPPr marR="0" lvl="0" algn="l" rtl="0">
                <a:lnSpc>
                  <a:spcPct val="100000"/>
                </a:lnSpc>
                <a:spcBef>
                  <a:spcPts val="0"/>
                </a:spcBef>
                <a:spcAft>
                  <a:spcPts val="0"/>
                </a:spcAft>
                <a:defRPr/>
              </a:defPPr>
              <a:lvl1pPr algn="ctr" fontAlgn="base">
                <a:spcBef>
                  <a:spcPct val="50000"/>
                </a:spcBef>
                <a:spcAft>
                  <a:spcPct val="0"/>
                </a:spcAft>
                <a:defRPr sz="1800" b="1">
                  <a:solidFill>
                    <a:schemeClr val="bg1"/>
                  </a:solidFill>
                  <a:latin typeface="Quattrocento Sans" panose="020B0502050000020003" pitchFamily="34" charset="0"/>
                </a:defRPr>
              </a:lvl1pPr>
            </a:lstStyle>
            <a:p>
              <a:pPr defTabSz="914446">
                <a:buClr>
                  <a:srgbClr val="000000"/>
                </a:buClr>
                <a:defRPr/>
              </a:pPr>
              <a:r>
                <a:rPr lang="en-GB" kern="0" noProof="0">
                  <a:solidFill>
                    <a:srgbClr val="000000">
                      <a:lumMod val="95000"/>
                      <a:lumOff val="5000"/>
                    </a:srgbClr>
                  </a:solidFill>
                  <a:cs typeface="Arial"/>
                  <a:sym typeface="Arial"/>
                </a:rPr>
                <a:t>Master Data</a:t>
              </a:r>
            </a:p>
          </p:txBody>
        </p:sp>
      </p:grpSp>
      <p:cxnSp>
        <p:nvCxnSpPr>
          <p:cNvPr id="29" name="Straight Arrow Connector 70">
            <a:extLst>
              <a:ext uri="{FF2B5EF4-FFF2-40B4-BE49-F238E27FC236}">
                <a16:creationId xmlns:a16="http://schemas.microsoft.com/office/drawing/2014/main" id="{4FAEDB58-D4E6-FDC2-25A1-2BA068140778}"/>
              </a:ext>
            </a:extLst>
          </p:cNvPr>
          <p:cNvCxnSpPr>
            <a:cxnSpLocks/>
          </p:cNvCxnSpPr>
          <p:nvPr/>
        </p:nvCxnSpPr>
        <p:spPr>
          <a:xfrm flipV="1">
            <a:off x="1588322" y="3869527"/>
            <a:ext cx="3873944" cy="1"/>
          </a:xfrm>
          <a:prstGeom prst="straightConnector1">
            <a:avLst/>
          </a:prstGeom>
          <a:noFill/>
          <a:ln w="28575">
            <a:solidFill>
              <a:srgbClr val="A6A6A6"/>
            </a:solidFill>
          </a:ln>
        </p:spPr>
      </p:cxnSp>
      <p:cxnSp>
        <p:nvCxnSpPr>
          <p:cNvPr id="35" name="Straight Arrow Connector 69">
            <a:extLst>
              <a:ext uri="{FF2B5EF4-FFF2-40B4-BE49-F238E27FC236}">
                <a16:creationId xmlns:a16="http://schemas.microsoft.com/office/drawing/2014/main" id="{D0479758-9D7A-7EBB-74A7-64F3054E24BA}"/>
              </a:ext>
            </a:extLst>
          </p:cNvPr>
          <p:cNvCxnSpPr>
            <a:cxnSpLocks/>
          </p:cNvCxnSpPr>
          <p:nvPr/>
        </p:nvCxnSpPr>
        <p:spPr>
          <a:xfrm flipH="1">
            <a:off x="7410793" y="3676527"/>
            <a:ext cx="3381382" cy="0"/>
          </a:xfrm>
          <a:prstGeom prst="straightConnector1">
            <a:avLst/>
          </a:prstGeom>
          <a:noFill/>
          <a:ln w="28575">
            <a:solidFill>
              <a:srgbClr val="A6A6A6"/>
            </a:solidFill>
          </a:ln>
        </p:spPr>
      </p:cxnSp>
      <p:sp>
        <p:nvSpPr>
          <p:cNvPr id="39" name="Text Box 3">
            <a:extLst>
              <a:ext uri="{FF2B5EF4-FFF2-40B4-BE49-F238E27FC236}">
                <a16:creationId xmlns:a16="http://schemas.microsoft.com/office/drawing/2014/main" id="{0A679B23-036B-3F1D-2742-74FA346335EC}"/>
              </a:ext>
            </a:extLst>
          </p:cNvPr>
          <p:cNvSpPr txBox="1">
            <a:spLocks noChangeArrowheads="1"/>
          </p:cNvSpPr>
          <p:nvPr/>
        </p:nvSpPr>
        <p:spPr bwMode="auto">
          <a:xfrm>
            <a:off x="4376954" y="3002237"/>
            <a:ext cx="3321738" cy="369332"/>
          </a:xfrm>
          <a:prstGeom prst="rect">
            <a:avLst/>
          </a:prstGeom>
          <a:noFill/>
          <a:ln w="9525">
            <a:noFill/>
            <a:miter lim="800000"/>
            <a:headEnd/>
            <a:tailEnd/>
          </a:ln>
        </p:spPr>
        <p:txBody>
          <a:bodyPr wrap="square" anchor="ctr">
            <a:spAutoFit/>
          </a:bodyPr>
          <a:lstStyle>
            <a:defPPr marR="0" lvl="0" algn="l" rtl="0">
              <a:lnSpc>
                <a:spcPct val="100000"/>
              </a:lnSpc>
              <a:spcBef>
                <a:spcPts val="0"/>
              </a:spcBef>
              <a:spcAft>
                <a:spcPts val="0"/>
              </a:spcAft>
              <a:defRPr lang="en-US"/>
            </a:defPPr>
            <a:lvl1pPr algn="ctr" defTabSz="914446" fontAlgn="base">
              <a:spcBef>
                <a:spcPct val="50000"/>
              </a:spcBef>
              <a:spcAft>
                <a:spcPct val="0"/>
              </a:spcAft>
              <a:buClr>
                <a:srgbClr val="000000"/>
              </a:buClr>
              <a:defRPr b="1" kern="0">
                <a:solidFill>
                  <a:srgbClr val="000000">
                    <a:lumMod val="95000"/>
                    <a:lumOff val="5000"/>
                  </a:srgbClr>
                </a:solidFill>
                <a:latin typeface="Quattrocento Sans" panose="020B0502050000020003" pitchFamily="34" charset="0"/>
                <a:cs typeface="Arial"/>
              </a:defRPr>
            </a:lvl1pPr>
          </a:lstStyle>
          <a:p>
            <a:r>
              <a:rPr lang="en-GB" noProof="0">
                <a:solidFill>
                  <a:schemeClr val="tx1"/>
                </a:solidFill>
                <a:sym typeface="Arial"/>
              </a:rPr>
              <a:t>Organisation</a:t>
            </a:r>
          </a:p>
        </p:txBody>
      </p:sp>
      <p:cxnSp>
        <p:nvCxnSpPr>
          <p:cNvPr id="40" name="Straight Arrow Connector 69">
            <a:extLst>
              <a:ext uri="{FF2B5EF4-FFF2-40B4-BE49-F238E27FC236}">
                <a16:creationId xmlns:a16="http://schemas.microsoft.com/office/drawing/2014/main" id="{CA2C22E5-50E4-7173-F9D5-8AF4C6BDACC3}"/>
              </a:ext>
            </a:extLst>
          </p:cNvPr>
          <p:cNvCxnSpPr>
            <a:cxnSpLocks/>
          </p:cNvCxnSpPr>
          <p:nvPr/>
        </p:nvCxnSpPr>
        <p:spPr>
          <a:xfrm flipH="1">
            <a:off x="6705134" y="4901948"/>
            <a:ext cx="4067483" cy="0"/>
          </a:xfrm>
          <a:prstGeom prst="straightConnector1">
            <a:avLst/>
          </a:prstGeom>
          <a:noFill/>
          <a:ln w="28575">
            <a:solidFill>
              <a:srgbClr val="A6A6A6"/>
            </a:solidFill>
          </a:ln>
        </p:spPr>
      </p:cxnSp>
      <p:pic>
        <p:nvPicPr>
          <p:cNvPr id="41" name="Picture 2" descr="Home">
            <a:extLst>
              <a:ext uri="{FF2B5EF4-FFF2-40B4-BE49-F238E27FC236}">
                <a16:creationId xmlns:a16="http://schemas.microsoft.com/office/drawing/2014/main" id="{D01E553E-824F-6B8B-F2DA-19A420753A6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670253" y="5583282"/>
            <a:ext cx="1286486" cy="953868"/>
          </a:xfrm>
          <a:prstGeom prst="rect">
            <a:avLst/>
          </a:prstGeom>
          <a:noFill/>
          <a:extLst>
            <a:ext uri="{909E8E84-426E-40DD-AFC4-6F175D3DCCD1}">
              <a14:hiddenFill xmlns:a14="http://schemas.microsoft.com/office/drawing/2010/main">
                <a:solidFill>
                  <a:srgbClr val="FFFFFF"/>
                </a:solidFill>
              </a14:hiddenFill>
            </a:ext>
          </a:extLst>
        </p:spPr>
      </p:pic>
      <p:cxnSp>
        <p:nvCxnSpPr>
          <p:cNvPr id="42" name="Straight Arrow Connector 69">
            <a:extLst>
              <a:ext uri="{FF2B5EF4-FFF2-40B4-BE49-F238E27FC236}">
                <a16:creationId xmlns:a16="http://schemas.microsoft.com/office/drawing/2014/main" id="{31AF2D78-113B-3206-7135-C37BD554DC75}"/>
              </a:ext>
            </a:extLst>
          </p:cNvPr>
          <p:cNvCxnSpPr>
            <a:cxnSpLocks/>
          </p:cNvCxnSpPr>
          <p:nvPr/>
        </p:nvCxnSpPr>
        <p:spPr>
          <a:xfrm flipH="1">
            <a:off x="1539218" y="5027133"/>
            <a:ext cx="3194038" cy="0"/>
          </a:xfrm>
          <a:prstGeom prst="straightConnector1">
            <a:avLst/>
          </a:prstGeom>
          <a:noFill/>
          <a:ln w="28575">
            <a:solidFill>
              <a:srgbClr val="A6A6A6"/>
            </a:solidFill>
          </a:ln>
        </p:spPr>
      </p:cxnSp>
      <p:grpSp>
        <p:nvGrpSpPr>
          <p:cNvPr id="43" name="Grupo 42">
            <a:extLst>
              <a:ext uri="{FF2B5EF4-FFF2-40B4-BE49-F238E27FC236}">
                <a16:creationId xmlns:a16="http://schemas.microsoft.com/office/drawing/2014/main" id="{60C5D522-AF22-869C-2B3F-527B4229F109}"/>
              </a:ext>
            </a:extLst>
          </p:cNvPr>
          <p:cNvGrpSpPr/>
          <p:nvPr/>
        </p:nvGrpSpPr>
        <p:grpSpPr>
          <a:xfrm>
            <a:off x="6124695" y="3499804"/>
            <a:ext cx="580439" cy="1664349"/>
            <a:chOff x="6070186" y="3317523"/>
            <a:chExt cx="426385" cy="1680293"/>
          </a:xfrm>
        </p:grpSpPr>
        <p:sp>
          <p:nvSpPr>
            <p:cNvPr id="44" name="Trapecio 43">
              <a:extLst>
                <a:ext uri="{FF2B5EF4-FFF2-40B4-BE49-F238E27FC236}">
                  <a16:creationId xmlns:a16="http://schemas.microsoft.com/office/drawing/2014/main" id="{14DF94EE-04E7-C413-C5A2-032BAE414D41}"/>
                </a:ext>
              </a:extLst>
            </p:cNvPr>
            <p:cNvSpPr/>
            <p:nvPr/>
          </p:nvSpPr>
          <p:spPr>
            <a:xfrm>
              <a:off x="6070186" y="3317523"/>
              <a:ext cx="426385" cy="1680293"/>
            </a:xfrm>
            <a:prstGeom prst="trapezoid">
              <a:avLst>
                <a:gd name="adj" fmla="val 0"/>
              </a:avLst>
            </a:prstGeom>
            <a:solidFill>
              <a:srgbClr val="00456E"/>
            </a:solidFill>
            <a:ln w="25400">
              <a:solidFill>
                <a:srgbClr val="00456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
          <p:nvSpPr>
            <p:cNvPr id="45" name="Text Box 3">
              <a:extLst>
                <a:ext uri="{FF2B5EF4-FFF2-40B4-BE49-F238E27FC236}">
                  <a16:creationId xmlns:a16="http://schemas.microsoft.com/office/drawing/2014/main" id="{ABECA461-7EEA-454D-CAC7-D8024713C9A0}"/>
                </a:ext>
              </a:extLst>
            </p:cNvPr>
            <p:cNvSpPr txBox="1">
              <a:spLocks noChangeArrowheads="1"/>
            </p:cNvSpPr>
            <p:nvPr/>
          </p:nvSpPr>
          <p:spPr bwMode="auto">
            <a:xfrm rot="16200000">
              <a:off x="5570083" y="4049466"/>
              <a:ext cx="1424131" cy="271308"/>
            </a:xfrm>
            <a:prstGeom prst="rect">
              <a:avLst/>
            </a:prstGeom>
            <a:noFill/>
            <a:ln w="9525">
              <a:noFill/>
              <a:miter lim="800000"/>
              <a:headEnd/>
              <a:tailEnd/>
            </a:ln>
          </p:spPr>
          <p:txBody>
            <a:bodyPr wrap="square" anchor="ctr">
              <a:spAutoFit/>
            </a:bodyPr>
            <a:lstStyle>
              <a:defPPr marR="0" lvl="0" algn="l" rtl="0">
                <a:lnSpc>
                  <a:spcPct val="100000"/>
                </a:lnSpc>
                <a:spcBef>
                  <a:spcPts val="0"/>
                </a:spcBef>
                <a:spcAft>
                  <a:spcPts val="0"/>
                </a:spcAft>
                <a:defRPr/>
              </a:defPPr>
              <a:lvl1pPr algn="ctr" fontAlgn="base">
                <a:spcBef>
                  <a:spcPct val="50000"/>
                </a:spcBef>
                <a:spcAft>
                  <a:spcPct val="0"/>
                </a:spcAft>
                <a:defRPr sz="1800" b="1">
                  <a:solidFill>
                    <a:schemeClr val="bg1"/>
                  </a:solidFill>
                  <a:latin typeface="Quattrocento Sans" panose="020B0502050000020003" pitchFamily="34" charset="0"/>
                </a:defRPr>
              </a:lvl1pPr>
            </a:lstStyle>
            <a:p>
              <a:pPr defTabSz="914446">
                <a:buClr>
                  <a:srgbClr val="000000"/>
                </a:buClr>
                <a:defRPr/>
              </a:pPr>
              <a:r>
                <a:rPr lang="en-GB" kern="0" noProof="0">
                  <a:cs typeface="Arial"/>
                  <a:sym typeface="Arial"/>
                </a:rPr>
                <a:t>Security</a:t>
              </a:r>
            </a:p>
          </p:txBody>
        </p:sp>
      </p:grpSp>
      <p:sp>
        <p:nvSpPr>
          <p:cNvPr id="46" name="CuadroTexto 45">
            <a:extLst>
              <a:ext uri="{FF2B5EF4-FFF2-40B4-BE49-F238E27FC236}">
                <a16:creationId xmlns:a16="http://schemas.microsoft.com/office/drawing/2014/main" id="{2D0036F4-ADAE-BFCE-9885-A6A1C0D29DBC}"/>
              </a:ext>
            </a:extLst>
          </p:cNvPr>
          <p:cNvSpPr txBox="1"/>
          <p:nvPr/>
        </p:nvSpPr>
        <p:spPr>
          <a:xfrm>
            <a:off x="8049758" y="4177217"/>
            <a:ext cx="2742417" cy="600164"/>
          </a:xfrm>
          <a:prstGeom prst="rect">
            <a:avLst/>
          </a:prstGeom>
        </p:spPr>
        <p:txBody>
          <a:bodyPr wrap="square">
            <a:noAutofit/>
          </a:bodyPr>
          <a:lstStyle>
            <a:defPPr>
              <a:defRPr lang="en-US"/>
            </a:defPPr>
            <a:lvl1pPr defTabSz="609660">
              <a:defRPr sz="1100"/>
            </a:lvl1pPr>
          </a:lstStyle>
          <a:p>
            <a:pPr algn="r"/>
            <a:r>
              <a:rPr lang="en-GB" noProof="0"/>
              <a:t>Protects information through encryption, controls, and compliance. Role- and attribute-based access rules and levels are set. </a:t>
            </a:r>
          </a:p>
        </p:txBody>
      </p:sp>
      <p:sp>
        <p:nvSpPr>
          <p:cNvPr id="47" name="CuadroTexto 46">
            <a:extLst>
              <a:ext uri="{FF2B5EF4-FFF2-40B4-BE49-F238E27FC236}">
                <a16:creationId xmlns:a16="http://schemas.microsoft.com/office/drawing/2014/main" id="{84B29234-61C7-D8D0-A359-8B38FF3B6BA7}"/>
              </a:ext>
            </a:extLst>
          </p:cNvPr>
          <p:cNvSpPr txBox="1"/>
          <p:nvPr/>
        </p:nvSpPr>
        <p:spPr>
          <a:xfrm>
            <a:off x="8007709" y="2876069"/>
            <a:ext cx="2858422" cy="600164"/>
          </a:xfrm>
          <a:prstGeom prst="rect">
            <a:avLst/>
          </a:prstGeom>
        </p:spPr>
        <p:txBody>
          <a:bodyPr wrap="square">
            <a:noAutofit/>
          </a:bodyPr>
          <a:lstStyle>
            <a:defPPr>
              <a:defRPr lang="en-US"/>
            </a:defPPr>
            <a:lvl1pPr defTabSz="609660">
              <a:defRPr sz="1100"/>
            </a:lvl1pPr>
          </a:lstStyle>
          <a:p>
            <a:pPr algn="r"/>
            <a:r>
              <a:rPr lang="en-GB" noProof="0"/>
              <a:t>Guarantees key data (customers, products, employees, etc.). Applies consolidation and normalisation rules to achieve a reliable and unified view of information.</a:t>
            </a:r>
          </a:p>
        </p:txBody>
      </p:sp>
      <p:sp>
        <p:nvSpPr>
          <p:cNvPr id="48" name="CuadroTexto 47">
            <a:extLst>
              <a:ext uri="{FF2B5EF4-FFF2-40B4-BE49-F238E27FC236}">
                <a16:creationId xmlns:a16="http://schemas.microsoft.com/office/drawing/2014/main" id="{22BA38D3-07D7-FACF-60CA-E5365A29AE5C}"/>
              </a:ext>
            </a:extLst>
          </p:cNvPr>
          <p:cNvSpPr txBox="1"/>
          <p:nvPr/>
        </p:nvSpPr>
        <p:spPr>
          <a:xfrm>
            <a:off x="4296158" y="5966133"/>
            <a:ext cx="3642371" cy="600164"/>
          </a:xfrm>
          <a:prstGeom prst="rect">
            <a:avLst/>
          </a:prstGeom>
        </p:spPr>
        <p:txBody>
          <a:bodyPr wrap="square">
            <a:noAutofit/>
          </a:bodyPr>
          <a:lstStyle>
            <a:defPPr>
              <a:defRPr lang="en-US"/>
            </a:defPPr>
            <a:lvl1pPr defTabSz="609660">
              <a:defRPr sz="1100"/>
            </a:lvl1pPr>
          </a:lstStyle>
          <a:p>
            <a:pPr algn="ctr"/>
            <a:r>
              <a:rPr lang="en-GB" noProof="0"/>
              <a:t>Organise, integrate, and align data efficiently. It employs governance, monitoring, and exploitation tools to maximise the value of information.</a:t>
            </a:r>
          </a:p>
        </p:txBody>
      </p:sp>
      <p:sp>
        <p:nvSpPr>
          <p:cNvPr id="49" name="CuadroTexto 48">
            <a:extLst>
              <a:ext uri="{FF2B5EF4-FFF2-40B4-BE49-F238E27FC236}">
                <a16:creationId xmlns:a16="http://schemas.microsoft.com/office/drawing/2014/main" id="{49D9C544-26B3-D113-D76E-0E0CF53D0871}"/>
              </a:ext>
            </a:extLst>
          </p:cNvPr>
          <p:cNvSpPr txBox="1"/>
          <p:nvPr/>
        </p:nvSpPr>
        <p:spPr>
          <a:xfrm>
            <a:off x="4127185" y="1805363"/>
            <a:ext cx="3959704" cy="600164"/>
          </a:xfrm>
          <a:prstGeom prst="rect">
            <a:avLst/>
          </a:prstGeom>
        </p:spPr>
        <p:txBody>
          <a:bodyPr wrap="square">
            <a:noAutofit/>
          </a:bodyPr>
          <a:lstStyle>
            <a:defPPr>
              <a:defRPr lang="en-US"/>
            </a:defPPr>
            <a:lvl1pPr defTabSz="609660">
              <a:defRPr sz="1100"/>
            </a:lvl1pPr>
          </a:lstStyle>
          <a:p>
            <a:pPr algn="ctr"/>
            <a:r>
              <a:rPr lang="en-GB" noProof="0"/>
              <a:t>Structure and leadership for data management. Organisational models, committees and key guidelines. Combines effective communication.</a:t>
            </a:r>
          </a:p>
        </p:txBody>
      </p:sp>
      <p:cxnSp>
        <p:nvCxnSpPr>
          <p:cNvPr id="50" name="Straight Arrow Connector 69">
            <a:extLst>
              <a:ext uri="{FF2B5EF4-FFF2-40B4-BE49-F238E27FC236}">
                <a16:creationId xmlns:a16="http://schemas.microsoft.com/office/drawing/2014/main" id="{8C3B81B8-E338-EB13-7858-1CD8DCBF5A54}"/>
              </a:ext>
            </a:extLst>
          </p:cNvPr>
          <p:cNvCxnSpPr>
            <a:cxnSpLocks/>
          </p:cNvCxnSpPr>
          <p:nvPr/>
        </p:nvCxnSpPr>
        <p:spPr>
          <a:xfrm flipV="1">
            <a:off x="6117344" y="5682239"/>
            <a:ext cx="0" cy="291941"/>
          </a:xfrm>
          <a:prstGeom prst="straightConnector1">
            <a:avLst/>
          </a:prstGeom>
          <a:noFill/>
          <a:ln w="28575">
            <a:solidFill>
              <a:srgbClr val="A6A6A6"/>
            </a:solidFill>
          </a:ln>
        </p:spPr>
      </p:cxnSp>
      <p:cxnSp>
        <p:nvCxnSpPr>
          <p:cNvPr id="51" name="Straight Arrow Connector 69">
            <a:extLst>
              <a:ext uri="{FF2B5EF4-FFF2-40B4-BE49-F238E27FC236}">
                <a16:creationId xmlns:a16="http://schemas.microsoft.com/office/drawing/2014/main" id="{737FE29E-009B-D075-9621-7F2A6627F4C2}"/>
              </a:ext>
            </a:extLst>
          </p:cNvPr>
          <p:cNvCxnSpPr>
            <a:cxnSpLocks/>
          </p:cNvCxnSpPr>
          <p:nvPr/>
        </p:nvCxnSpPr>
        <p:spPr>
          <a:xfrm flipV="1">
            <a:off x="6107037" y="2516146"/>
            <a:ext cx="0" cy="291941"/>
          </a:xfrm>
          <a:prstGeom prst="straightConnector1">
            <a:avLst/>
          </a:prstGeom>
          <a:noFill/>
          <a:ln w="28575">
            <a:solidFill>
              <a:srgbClr val="A6A6A6"/>
            </a:solidFill>
          </a:ln>
        </p:spPr>
      </p:cxnSp>
      <p:pic>
        <p:nvPicPr>
          <p:cNvPr id="52" name="Imagen 51" descr="Logotipo&#10;&#10;Descripción generada automáticamente">
            <a:extLst>
              <a:ext uri="{FF2B5EF4-FFF2-40B4-BE49-F238E27FC236}">
                <a16:creationId xmlns:a16="http://schemas.microsoft.com/office/drawing/2014/main" id="{8E60A125-FFE6-12B8-F869-73666447611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59715" y="6016747"/>
            <a:ext cx="2085823" cy="481343"/>
          </a:xfrm>
          <a:prstGeom prst="rect">
            <a:avLst/>
          </a:prstGeom>
        </p:spPr>
      </p:pic>
      <p:sp>
        <p:nvSpPr>
          <p:cNvPr id="53" name="Rectángulo 52">
            <a:extLst>
              <a:ext uri="{FF2B5EF4-FFF2-40B4-BE49-F238E27FC236}">
                <a16:creationId xmlns:a16="http://schemas.microsoft.com/office/drawing/2014/main" id="{F9DAFEE4-3FF8-F0C2-0FB2-A2A21BDD7910}"/>
              </a:ext>
            </a:extLst>
          </p:cNvPr>
          <p:cNvSpPr/>
          <p:nvPr/>
        </p:nvSpPr>
        <p:spPr>
          <a:xfrm>
            <a:off x="4475098" y="3371221"/>
            <a:ext cx="3125450" cy="128583"/>
          </a:xfrm>
          <a:prstGeom prst="rect">
            <a:avLst/>
          </a:prstGeom>
          <a:solidFill>
            <a:schemeClr val="bg1"/>
          </a:solidFill>
          <a:ln w="25400">
            <a:solidFill>
              <a:srgbClr val="228EC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buClr>
                <a:srgbClr val="000000"/>
              </a:buClr>
              <a:defRPr/>
            </a:pPr>
            <a:endParaRPr lang="en-GB" sz="933" kern="0" noProof="0">
              <a:solidFill>
                <a:srgbClr val="000000">
                  <a:lumMod val="95000"/>
                  <a:lumOff val="5000"/>
                </a:srgbClr>
              </a:solidFill>
              <a:latin typeface="Quattrocento Sans" panose="020B0502050000020003" pitchFamily="34" charset="0"/>
              <a:cs typeface="Helvetica"/>
              <a:sym typeface="Arial"/>
            </a:endParaRPr>
          </a:p>
        </p:txBody>
      </p:sp>
    </p:spTree>
    <p:extLst>
      <p:ext uri="{BB962C8B-B14F-4D97-AF65-F5344CB8AC3E}">
        <p14:creationId xmlns:p14="http://schemas.microsoft.com/office/powerpoint/2010/main" val="446315717"/>
      </p:ext>
    </p:extLst>
  </p:cSld>
  <p:clrMapOvr>
    <a:masterClrMapping/>
  </p:clrMapOvr>
  <p:transition spd="med"/>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FE67F31C-E666-0318-DCD8-110A2CF48CA7}"/>
            </a:ext>
          </a:extLst>
        </p:cNvPr>
        <p:cNvGrpSpPr/>
        <p:nvPr/>
      </p:nvGrpSpPr>
      <p:grpSpPr>
        <a:xfrm>
          <a:off x="0" y="0"/>
          <a:ext cx="0" cy="0"/>
          <a:chOff x="0" y="0"/>
          <a:chExt cx="0" cy="0"/>
        </a:xfrm>
      </p:grpSpPr>
      <p:sp>
        <p:nvSpPr>
          <p:cNvPr id="2" name="Rectangle 57">
            <a:extLst>
              <a:ext uri="{FF2B5EF4-FFF2-40B4-BE49-F238E27FC236}">
                <a16:creationId xmlns:a16="http://schemas.microsoft.com/office/drawing/2014/main" id="{41DBB311-EEEB-E567-98DA-8B40B090FB9C}"/>
              </a:ext>
            </a:extLst>
          </p:cNvPr>
          <p:cNvSpPr>
            <a:spLocks noChangeArrowheads="1"/>
          </p:cNvSpPr>
          <p:nvPr/>
        </p:nvSpPr>
        <p:spPr bwMode="gray">
          <a:xfrm>
            <a:off x="409099" y="504523"/>
            <a:ext cx="6355089" cy="830942"/>
          </a:xfrm>
          <a:prstGeom prst="rect">
            <a:avLst/>
          </a:prstGeom>
          <a:noFill/>
          <a:ln w="9525">
            <a:noFill/>
            <a:miter lim="800000"/>
            <a:headEnd/>
            <a:tailEnd/>
          </a:ln>
          <a:effectLst/>
        </p:spPr>
        <p:txBody>
          <a:bodyPr wrap="square" lIns="91386" tIns="45693" rIns="91386" bIns="45693">
            <a:spAutoFit/>
          </a:bodyPr>
          <a:lstStyle/>
          <a:p>
            <a:pPr defTabSz="914446">
              <a:buClr>
                <a:srgbClr val="000000"/>
              </a:buClr>
            </a:pPr>
            <a:r>
              <a:rPr lang="en-GB" sz="4800" b="1" noProof="0">
                <a:latin typeface="Quattrocento Sans" panose="020B0502050000020003" pitchFamily="34" charset="0"/>
                <a:ea typeface="Lato"/>
                <a:cs typeface="Lato"/>
                <a:sym typeface="Arial"/>
              </a:rPr>
              <a:t>Security</a:t>
            </a:r>
          </a:p>
        </p:txBody>
      </p:sp>
      <p:sp>
        <p:nvSpPr>
          <p:cNvPr id="54" name="Google Shape;3348;g30e148d11da_7_119">
            <a:extLst>
              <a:ext uri="{FF2B5EF4-FFF2-40B4-BE49-F238E27FC236}">
                <a16:creationId xmlns:a16="http://schemas.microsoft.com/office/drawing/2014/main" id="{E2257FE9-3AAA-FCB3-F93A-F550BC01CE8D}"/>
              </a:ext>
            </a:extLst>
          </p:cNvPr>
          <p:cNvSpPr txBox="1"/>
          <p:nvPr/>
        </p:nvSpPr>
        <p:spPr>
          <a:xfrm>
            <a:off x="715034" y="156141"/>
            <a:ext cx="3258300" cy="615000"/>
          </a:xfrm>
          <a:prstGeom prst="rect">
            <a:avLst/>
          </a:prstGeom>
          <a:noFill/>
          <a:ln>
            <a:noFill/>
          </a:ln>
        </p:spPr>
        <p:txBody>
          <a:bodyPr spcFirstLastPara="1" wrap="square" lIns="0" tIns="45700" rIns="91425" bIns="45700" anchor="t" anchorCtr="0">
            <a:noAutofit/>
          </a:bodyPr>
          <a:lstStyle/>
          <a:p>
            <a:pPr defTabSz="914446">
              <a:buClr>
                <a:srgbClr val="FFFFFF"/>
              </a:buClr>
              <a:buSzPts val="1200"/>
              <a:defRPr/>
            </a:pPr>
            <a:r>
              <a:rPr lang="en-GB" sz="1200" b="1" kern="0" noProof="0">
                <a:solidFill>
                  <a:srgbClr val="000000"/>
                </a:solidFill>
                <a:latin typeface="Montserrat"/>
                <a:ea typeface="Montserrat"/>
                <a:cs typeface="Montserrat"/>
                <a:sym typeface="Montserrat"/>
              </a:rPr>
              <a:t>Data Driven </a:t>
            </a:r>
            <a:r>
              <a:rPr lang="en-GB" sz="1200" kern="0" noProof="0">
                <a:solidFill>
                  <a:srgbClr val="000000"/>
                </a:solidFill>
                <a:latin typeface="Montserrat"/>
                <a:ea typeface="Montserrat"/>
                <a:cs typeface="Montserrat"/>
                <a:sym typeface="Montserrat"/>
              </a:rPr>
              <a:t>Business</a:t>
            </a:r>
            <a:endParaRPr lang="en-GB" sz="1200" kern="0" baseline="30000" noProof="0">
              <a:solidFill>
                <a:srgbClr val="000000"/>
              </a:solidFill>
              <a:latin typeface="Montserrat"/>
              <a:ea typeface="Montserrat"/>
              <a:cs typeface="Montserrat"/>
              <a:sym typeface="Montserrat"/>
            </a:endParaRPr>
          </a:p>
        </p:txBody>
      </p:sp>
      <p:pic>
        <p:nvPicPr>
          <p:cNvPr id="4" name="Imagen 3" descr="Logotipo&#10;&#10;Descripción generada automáticamente">
            <a:extLst>
              <a:ext uri="{FF2B5EF4-FFF2-40B4-BE49-F238E27FC236}">
                <a16:creationId xmlns:a16="http://schemas.microsoft.com/office/drawing/2014/main" id="{392F2F36-4818-20FA-A7CD-008968B8C38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01313" y="6123044"/>
            <a:ext cx="1373263" cy="316907"/>
          </a:xfrm>
          <a:prstGeom prst="rect">
            <a:avLst/>
          </a:prstGeom>
        </p:spPr>
      </p:pic>
      <p:pic>
        <p:nvPicPr>
          <p:cNvPr id="3" name="Imagen 2">
            <a:extLst>
              <a:ext uri="{FF2B5EF4-FFF2-40B4-BE49-F238E27FC236}">
                <a16:creationId xmlns:a16="http://schemas.microsoft.com/office/drawing/2014/main" id="{1EA491C7-07C1-39FD-DF7B-05A2A7143021}"/>
              </a:ext>
            </a:extLst>
          </p:cNvPr>
          <p:cNvPicPr>
            <a:picLocks noChangeAspect="1"/>
          </p:cNvPicPr>
          <p:nvPr/>
        </p:nvPicPr>
        <p:blipFill>
          <a:blip r:embed="rId4"/>
          <a:stretch>
            <a:fillRect/>
          </a:stretch>
        </p:blipFill>
        <p:spPr>
          <a:xfrm>
            <a:off x="10570979" y="436284"/>
            <a:ext cx="1211921" cy="961874"/>
          </a:xfrm>
          <a:prstGeom prst="rect">
            <a:avLst/>
          </a:prstGeom>
        </p:spPr>
      </p:pic>
      <p:pic>
        <p:nvPicPr>
          <p:cNvPr id="11" name="Imagen 10">
            <a:extLst>
              <a:ext uri="{FF2B5EF4-FFF2-40B4-BE49-F238E27FC236}">
                <a16:creationId xmlns:a16="http://schemas.microsoft.com/office/drawing/2014/main" id="{18BB910B-9359-3821-2019-F005562D5821}"/>
              </a:ext>
            </a:extLst>
          </p:cNvPr>
          <p:cNvPicPr>
            <a:picLocks noChangeAspect="1"/>
          </p:cNvPicPr>
          <p:nvPr/>
        </p:nvPicPr>
        <p:blipFill>
          <a:blip r:embed="rId5"/>
          <a:srcRect t="8195"/>
          <a:stretch/>
        </p:blipFill>
        <p:spPr>
          <a:xfrm>
            <a:off x="317423" y="1564849"/>
            <a:ext cx="10253557" cy="4525273"/>
          </a:xfrm>
          <a:prstGeom prst="rect">
            <a:avLst/>
          </a:prstGeom>
        </p:spPr>
      </p:pic>
      <p:sp>
        <p:nvSpPr>
          <p:cNvPr id="6" name="CuadroTexto 5">
            <a:extLst>
              <a:ext uri="{FF2B5EF4-FFF2-40B4-BE49-F238E27FC236}">
                <a16:creationId xmlns:a16="http://schemas.microsoft.com/office/drawing/2014/main" id="{799DC2CA-8FE6-5985-75A8-81E5F973DC4B}"/>
              </a:ext>
            </a:extLst>
          </p:cNvPr>
          <p:cNvSpPr txBox="1"/>
          <p:nvPr/>
        </p:nvSpPr>
        <p:spPr>
          <a:xfrm>
            <a:off x="317424" y="6239896"/>
            <a:ext cx="6355089" cy="4001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GB" sz="1000" noProof="0">
                <a:hlinkClick r:id="rId6"/>
              </a:rPr>
              <a:t>https://stratesys-ts.eu10.hcs.cloud.sap/sap/fpa/ui/tenants/6bdd2/bo/story/8A8032065263163B58BDCEE7CB7C1A84</a:t>
            </a:r>
            <a:endParaRPr lang="en-GB" sz="1000" noProof="0"/>
          </a:p>
          <a:p>
            <a:endParaRPr lang="en-GB" sz="1000" noProof="0"/>
          </a:p>
        </p:txBody>
      </p:sp>
      <p:sp>
        <p:nvSpPr>
          <p:cNvPr id="5" name="CuadroTexto 1352">
            <a:extLst>
              <a:ext uri="{FF2B5EF4-FFF2-40B4-BE49-F238E27FC236}">
                <a16:creationId xmlns:a16="http://schemas.microsoft.com/office/drawing/2014/main" id="{3ED40A91-52D2-0B1B-2B70-F739F5E53F7D}"/>
              </a:ext>
            </a:extLst>
          </p:cNvPr>
          <p:cNvSpPr txBox="1"/>
          <p:nvPr/>
        </p:nvSpPr>
        <p:spPr>
          <a:xfrm>
            <a:off x="2344184" y="931010"/>
            <a:ext cx="2902139"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noProof="0">
                <a:latin typeface="Quattrocento Sans" panose="020B0502050000020003" pitchFamily="34" charset="0"/>
                <a:ea typeface="Lato"/>
                <a:cs typeface="Lato"/>
              </a:rPr>
              <a:t>Admin Monitor</a:t>
            </a:r>
          </a:p>
        </p:txBody>
      </p:sp>
    </p:spTree>
    <p:extLst>
      <p:ext uri="{BB962C8B-B14F-4D97-AF65-F5344CB8AC3E}">
        <p14:creationId xmlns:p14="http://schemas.microsoft.com/office/powerpoint/2010/main" val="392195721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Box 23">
            <a:extLst>
              <a:ext uri="{FF2B5EF4-FFF2-40B4-BE49-F238E27FC236}">
                <a16:creationId xmlns:a16="http://schemas.microsoft.com/office/drawing/2014/main" id="{4A9AE6A4-2D12-64AF-194D-CD7A0F308E73}"/>
              </a:ext>
            </a:extLst>
          </p:cNvPr>
          <p:cNvSpPr txBox="1"/>
          <p:nvPr/>
        </p:nvSpPr>
        <p:spPr>
          <a:xfrm>
            <a:off x="380221" y="1523986"/>
            <a:ext cx="6821670" cy="584775"/>
          </a:xfrm>
          <a:prstGeom prst="rect">
            <a:avLst/>
          </a:prstGeom>
          <a:noFill/>
        </p:spPr>
        <p:txBody>
          <a:bodyPr wrap="square">
            <a:spAutoFit/>
          </a:bodyPr>
          <a:lstStyle/>
          <a:p>
            <a:r>
              <a:rPr lang="en-GB" sz="1600" b="1" spc="64" noProof="0">
                <a:latin typeface="Quattrocento Sans" panose="020B0502050000020003" pitchFamily="34" charset="0"/>
                <a:cs typeface="Montserrat"/>
              </a:rPr>
              <a:t>It allows the organisation to control the consumption and expenses of tools through views and reports.</a:t>
            </a:r>
          </a:p>
        </p:txBody>
      </p:sp>
      <p:grpSp>
        <p:nvGrpSpPr>
          <p:cNvPr id="6" name="Group 15">
            <a:extLst>
              <a:ext uri="{FF2B5EF4-FFF2-40B4-BE49-F238E27FC236}">
                <a16:creationId xmlns:a16="http://schemas.microsoft.com/office/drawing/2014/main" id="{2C0B4F6E-4E57-F0F5-D646-0998B6F3F964}"/>
              </a:ext>
            </a:extLst>
          </p:cNvPr>
          <p:cNvGrpSpPr>
            <a:grpSpLocks noChangeAspect="1"/>
          </p:cNvGrpSpPr>
          <p:nvPr/>
        </p:nvGrpSpPr>
        <p:grpSpPr>
          <a:xfrm>
            <a:off x="7519268" y="4448996"/>
            <a:ext cx="3586120" cy="2011555"/>
            <a:chOff x="1416050" y="2403324"/>
            <a:chExt cx="4297800" cy="2410756"/>
          </a:xfrm>
        </p:grpSpPr>
        <p:pic>
          <p:nvPicPr>
            <p:cNvPr id="7" name="Picture 16">
              <a:extLst>
                <a:ext uri="{FF2B5EF4-FFF2-40B4-BE49-F238E27FC236}">
                  <a16:creationId xmlns:a16="http://schemas.microsoft.com/office/drawing/2014/main" id="{DCB1EEDA-2379-0A27-9D83-8F6CFEE7DEC6}"/>
                </a:ext>
              </a:extLst>
            </p:cNvPr>
            <p:cNvPicPr>
              <a:picLocks noChangeAspect="1"/>
            </p:cNvPicPr>
            <p:nvPr/>
          </p:nvPicPr>
          <p:blipFill rotWithShape="1">
            <a:blip r:embed="rId2"/>
            <a:srcRect l="14817" r="226"/>
            <a:stretch/>
          </p:blipFill>
          <p:spPr>
            <a:xfrm>
              <a:off x="1416050" y="2403324"/>
              <a:ext cx="3024000" cy="1713604"/>
            </a:xfrm>
            <a:prstGeom prst="rect">
              <a:avLst/>
            </a:prstGeom>
            <a:effectLst>
              <a:outerShdw blurRad="63500" sx="102000" sy="102000" algn="ctr" rotWithShape="0">
                <a:prstClr val="black">
                  <a:alpha val="40000"/>
                </a:prstClr>
              </a:outerShdw>
            </a:effectLst>
          </p:spPr>
        </p:pic>
        <p:pic>
          <p:nvPicPr>
            <p:cNvPr id="8" name="Picture 17" descr="A screenshot of a computer&#10;&#10;Description automatically generated">
              <a:extLst>
                <a:ext uri="{FF2B5EF4-FFF2-40B4-BE49-F238E27FC236}">
                  <a16:creationId xmlns:a16="http://schemas.microsoft.com/office/drawing/2014/main" id="{5777C723-E238-E9C3-9C1A-13B3210F15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4100" r="13935"/>
            <a:stretch/>
          </p:blipFill>
          <p:spPr>
            <a:xfrm>
              <a:off x="3625850" y="3419776"/>
              <a:ext cx="2088000" cy="1394304"/>
            </a:xfrm>
            <a:prstGeom prst="rect">
              <a:avLst/>
            </a:prstGeom>
            <a:effectLst>
              <a:outerShdw blurRad="63500" sx="102000" sy="102000" algn="ctr" rotWithShape="0">
                <a:prstClr val="black">
                  <a:alpha val="40000"/>
                </a:prstClr>
              </a:outerShdw>
            </a:effectLst>
          </p:spPr>
        </p:pic>
      </p:grpSp>
      <p:pic>
        <p:nvPicPr>
          <p:cNvPr id="9" name="Picture 18">
            <a:extLst>
              <a:ext uri="{FF2B5EF4-FFF2-40B4-BE49-F238E27FC236}">
                <a16:creationId xmlns:a16="http://schemas.microsoft.com/office/drawing/2014/main" id="{C87CA78D-1BFC-C896-1786-64562DDE12AC}"/>
              </a:ext>
            </a:extLst>
          </p:cNvPr>
          <p:cNvPicPr>
            <a:picLocks noChangeAspect="1"/>
          </p:cNvPicPr>
          <p:nvPr/>
        </p:nvPicPr>
        <p:blipFill>
          <a:blip r:embed="rId4"/>
          <a:stretch>
            <a:fillRect/>
          </a:stretch>
        </p:blipFill>
        <p:spPr>
          <a:xfrm>
            <a:off x="7675244" y="684577"/>
            <a:ext cx="4143820" cy="1980304"/>
          </a:xfrm>
          <a:prstGeom prst="rect">
            <a:avLst/>
          </a:prstGeom>
          <a:effectLst>
            <a:outerShdw blurRad="63500" sx="102000" sy="102000" algn="ctr" rotWithShape="0">
              <a:prstClr val="black">
                <a:alpha val="40000"/>
              </a:prstClr>
            </a:outerShdw>
          </a:effectLst>
        </p:spPr>
      </p:pic>
      <p:grpSp>
        <p:nvGrpSpPr>
          <p:cNvPr id="10" name="Group 19">
            <a:extLst>
              <a:ext uri="{FF2B5EF4-FFF2-40B4-BE49-F238E27FC236}">
                <a16:creationId xmlns:a16="http://schemas.microsoft.com/office/drawing/2014/main" id="{3AE4EB4C-B4FA-6DBC-80E7-FA76E4C7322B}"/>
              </a:ext>
            </a:extLst>
          </p:cNvPr>
          <p:cNvGrpSpPr>
            <a:grpSpLocks noChangeAspect="1"/>
          </p:cNvGrpSpPr>
          <p:nvPr/>
        </p:nvGrpSpPr>
        <p:grpSpPr>
          <a:xfrm>
            <a:off x="8203361" y="2809560"/>
            <a:ext cx="3816750" cy="2238149"/>
            <a:chOff x="1187450" y="6464300"/>
            <a:chExt cx="4296600" cy="2519534"/>
          </a:xfrm>
        </p:grpSpPr>
        <p:pic>
          <p:nvPicPr>
            <p:cNvPr id="11" name="Picture 20">
              <a:extLst>
                <a:ext uri="{FF2B5EF4-FFF2-40B4-BE49-F238E27FC236}">
                  <a16:creationId xmlns:a16="http://schemas.microsoft.com/office/drawing/2014/main" id="{68C5A137-84C8-C250-2BC8-A951442957CC}"/>
                </a:ext>
              </a:extLst>
            </p:cNvPr>
            <p:cNvPicPr>
              <a:picLocks noChangeAspect="1"/>
            </p:cNvPicPr>
            <p:nvPr/>
          </p:nvPicPr>
          <p:blipFill>
            <a:blip r:embed="rId5"/>
            <a:stretch>
              <a:fillRect/>
            </a:stretch>
          </p:blipFill>
          <p:spPr>
            <a:xfrm>
              <a:off x="1187450" y="6464300"/>
              <a:ext cx="3024000" cy="1682029"/>
            </a:xfrm>
            <a:prstGeom prst="rect">
              <a:avLst/>
            </a:prstGeom>
            <a:effectLst>
              <a:outerShdw blurRad="63500" sx="102000" sy="102000" algn="ctr" rotWithShape="0">
                <a:prstClr val="black">
                  <a:alpha val="40000"/>
                </a:prstClr>
              </a:outerShdw>
            </a:effectLst>
          </p:spPr>
        </p:pic>
        <p:pic>
          <p:nvPicPr>
            <p:cNvPr id="12" name="Picture 21">
              <a:extLst>
                <a:ext uri="{FF2B5EF4-FFF2-40B4-BE49-F238E27FC236}">
                  <a16:creationId xmlns:a16="http://schemas.microsoft.com/office/drawing/2014/main" id="{88F8B680-4839-B631-2640-04FCDAFD9473}"/>
                </a:ext>
              </a:extLst>
            </p:cNvPr>
            <p:cNvPicPr>
              <a:picLocks noChangeAspect="1"/>
            </p:cNvPicPr>
            <p:nvPr/>
          </p:nvPicPr>
          <p:blipFill rotWithShape="1">
            <a:blip r:embed="rId6"/>
            <a:srcRect l="14817" t="-567" r="13216" b="567"/>
            <a:stretch/>
          </p:blipFill>
          <p:spPr>
            <a:xfrm>
              <a:off x="3396050" y="7596317"/>
              <a:ext cx="2088000" cy="1387517"/>
            </a:xfrm>
            <a:prstGeom prst="rect">
              <a:avLst/>
            </a:prstGeom>
            <a:effectLst>
              <a:outerShdw blurRad="63500" sx="102000" sy="102000" algn="ctr" rotWithShape="0">
                <a:prstClr val="black">
                  <a:alpha val="40000"/>
                </a:prstClr>
              </a:outerShdw>
            </a:effectLst>
          </p:spPr>
        </p:pic>
      </p:grpSp>
      <p:sp>
        <p:nvSpPr>
          <p:cNvPr id="14" name="TextBox 10">
            <a:extLst>
              <a:ext uri="{FF2B5EF4-FFF2-40B4-BE49-F238E27FC236}">
                <a16:creationId xmlns:a16="http://schemas.microsoft.com/office/drawing/2014/main" id="{FC38963E-4D8A-9B20-A08F-65ACC63268B6}"/>
              </a:ext>
            </a:extLst>
          </p:cNvPr>
          <p:cNvSpPr txBox="1"/>
          <p:nvPr/>
        </p:nvSpPr>
        <p:spPr>
          <a:xfrm>
            <a:off x="380220" y="5140923"/>
            <a:ext cx="6551623" cy="307777"/>
          </a:xfrm>
          <a:prstGeom prst="rect">
            <a:avLst/>
          </a:prstGeom>
          <a:noFill/>
        </p:spPr>
        <p:txBody>
          <a:bodyPr wrap="square">
            <a:spAutoFit/>
          </a:bodyPr>
          <a:lstStyle/>
          <a:p>
            <a:r>
              <a:rPr lang="en-GB" sz="1400" b="1" noProof="0">
                <a:latin typeface="Quattrocento Sans" panose="020B0502050000020003" pitchFamily="34" charset="0"/>
              </a:rPr>
              <a:t>Cost optimization: </a:t>
            </a:r>
            <a:r>
              <a:rPr lang="en-GB" sz="1400" noProof="0">
                <a:latin typeface="Quattrocento Sans" panose="020B0502050000020003" pitchFamily="34" charset="0"/>
              </a:rPr>
              <a:t>Identify areas of savings and wasted resources.</a:t>
            </a:r>
          </a:p>
        </p:txBody>
      </p:sp>
      <p:sp>
        <p:nvSpPr>
          <p:cNvPr id="15" name="TextBox 12">
            <a:extLst>
              <a:ext uri="{FF2B5EF4-FFF2-40B4-BE49-F238E27FC236}">
                <a16:creationId xmlns:a16="http://schemas.microsoft.com/office/drawing/2014/main" id="{9A432494-9F65-F80D-56FE-1207D9D8292F}"/>
              </a:ext>
            </a:extLst>
          </p:cNvPr>
          <p:cNvSpPr txBox="1"/>
          <p:nvPr/>
        </p:nvSpPr>
        <p:spPr>
          <a:xfrm>
            <a:off x="380222" y="4007956"/>
            <a:ext cx="6551623" cy="523220"/>
          </a:xfrm>
          <a:prstGeom prst="rect">
            <a:avLst/>
          </a:prstGeom>
          <a:noFill/>
        </p:spPr>
        <p:txBody>
          <a:bodyPr wrap="square">
            <a:spAutoFit/>
          </a:bodyPr>
          <a:lstStyle/>
          <a:p>
            <a:r>
              <a:rPr lang="en-GB" sz="1400" b="1" noProof="0">
                <a:latin typeface="Quattrocento Sans" panose="020B0502050000020003" pitchFamily="34" charset="0"/>
              </a:rPr>
              <a:t>Informed decision-making: </a:t>
            </a:r>
            <a:r>
              <a:rPr lang="en-GB" sz="1400" noProof="0">
                <a:latin typeface="Quattrocento Sans" panose="020B0502050000020003" pitchFamily="34" charset="0"/>
              </a:rPr>
              <a:t>Provides data for decisions about use, renovation, or replacement.</a:t>
            </a:r>
          </a:p>
        </p:txBody>
      </p:sp>
      <p:sp>
        <p:nvSpPr>
          <p:cNvPr id="16" name="TextBox 14">
            <a:extLst>
              <a:ext uri="{FF2B5EF4-FFF2-40B4-BE49-F238E27FC236}">
                <a16:creationId xmlns:a16="http://schemas.microsoft.com/office/drawing/2014/main" id="{48CCE8D0-5D06-6B0E-74CF-1082BF9695CD}"/>
              </a:ext>
            </a:extLst>
          </p:cNvPr>
          <p:cNvSpPr txBox="1"/>
          <p:nvPr/>
        </p:nvSpPr>
        <p:spPr>
          <a:xfrm>
            <a:off x="380222" y="2523947"/>
            <a:ext cx="6551623" cy="307777"/>
          </a:xfrm>
          <a:prstGeom prst="rect">
            <a:avLst/>
          </a:prstGeom>
          <a:noFill/>
        </p:spPr>
        <p:txBody>
          <a:bodyPr wrap="square">
            <a:spAutoFit/>
          </a:bodyPr>
          <a:lstStyle/>
          <a:p>
            <a:r>
              <a:rPr lang="en-GB" sz="1400" b="1" noProof="0">
                <a:latin typeface="Quattrocento Sans" panose="020B0502050000020003" pitchFamily="34" charset="0"/>
              </a:rPr>
              <a:t>Budget planning: </a:t>
            </a:r>
            <a:r>
              <a:rPr lang="en-GB" sz="1400" noProof="0">
                <a:latin typeface="Quattrocento Sans" panose="020B0502050000020003" pitchFamily="34" charset="0"/>
              </a:rPr>
              <a:t>It helps to allocate resources effectively.</a:t>
            </a:r>
          </a:p>
        </p:txBody>
      </p:sp>
      <p:sp>
        <p:nvSpPr>
          <p:cNvPr id="17" name="TextBox 24">
            <a:extLst>
              <a:ext uri="{FF2B5EF4-FFF2-40B4-BE49-F238E27FC236}">
                <a16:creationId xmlns:a16="http://schemas.microsoft.com/office/drawing/2014/main" id="{8F147508-855C-5C1F-5A03-6B666763B8FF}"/>
              </a:ext>
            </a:extLst>
          </p:cNvPr>
          <p:cNvSpPr txBox="1"/>
          <p:nvPr/>
        </p:nvSpPr>
        <p:spPr>
          <a:xfrm>
            <a:off x="380222" y="3441472"/>
            <a:ext cx="6551623" cy="307777"/>
          </a:xfrm>
          <a:prstGeom prst="rect">
            <a:avLst/>
          </a:prstGeom>
          <a:noFill/>
        </p:spPr>
        <p:txBody>
          <a:bodyPr wrap="square">
            <a:spAutoFit/>
          </a:bodyPr>
          <a:lstStyle/>
          <a:p>
            <a:r>
              <a:rPr lang="en-GB" sz="1400" b="1" noProof="0">
                <a:latin typeface="Quattrocento Sans" panose="020B0502050000020003" pitchFamily="34" charset="0"/>
              </a:rPr>
              <a:t>ROI Evaluation: </a:t>
            </a:r>
            <a:r>
              <a:rPr lang="en-GB" sz="1400" noProof="0">
                <a:latin typeface="Quattrocento Sans" panose="020B0502050000020003" pitchFamily="34" charset="0"/>
              </a:rPr>
              <a:t>Determine if the investment is generating the expected benefits.</a:t>
            </a:r>
          </a:p>
        </p:txBody>
      </p:sp>
      <p:sp>
        <p:nvSpPr>
          <p:cNvPr id="18" name="TextBox 27">
            <a:extLst>
              <a:ext uri="{FF2B5EF4-FFF2-40B4-BE49-F238E27FC236}">
                <a16:creationId xmlns:a16="http://schemas.microsoft.com/office/drawing/2014/main" id="{75707B57-78C6-E060-5D0E-C5A8B73D112A}"/>
              </a:ext>
            </a:extLst>
          </p:cNvPr>
          <p:cNvSpPr txBox="1"/>
          <p:nvPr/>
        </p:nvSpPr>
        <p:spPr>
          <a:xfrm>
            <a:off x="380222" y="4574440"/>
            <a:ext cx="6551623" cy="523220"/>
          </a:xfrm>
          <a:prstGeom prst="rect">
            <a:avLst/>
          </a:prstGeom>
          <a:noFill/>
        </p:spPr>
        <p:txBody>
          <a:bodyPr wrap="square">
            <a:spAutoFit/>
          </a:bodyPr>
          <a:lstStyle/>
          <a:p>
            <a:r>
              <a:rPr lang="en-GB" sz="1400" b="1" noProof="0">
                <a:latin typeface="Quattrocento Sans" panose="020B0502050000020003" pitchFamily="34" charset="0"/>
              </a:rPr>
              <a:t>Identification of opportunities for improvement: </a:t>
            </a:r>
            <a:r>
              <a:rPr lang="en-GB" sz="1400" noProof="0">
                <a:latin typeface="Quattrocento Sans" panose="020B0502050000020003" pitchFamily="34" charset="0"/>
              </a:rPr>
              <a:t>Identify areas to increase efficiency and reduce expenses.</a:t>
            </a:r>
          </a:p>
        </p:txBody>
      </p:sp>
      <p:sp>
        <p:nvSpPr>
          <p:cNvPr id="19" name="TextBox 29">
            <a:extLst>
              <a:ext uri="{FF2B5EF4-FFF2-40B4-BE49-F238E27FC236}">
                <a16:creationId xmlns:a16="http://schemas.microsoft.com/office/drawing/2014/main" id="{F942D1C5-EA6C-81DE-BA38-87D7C505EF05}"/>
              </a:ext>
            </a:extLst>
          </p:cNvPr>
          <p:cNvSpPr txBox="1"/>
          <p:nvPr/>
        </p:nvSpPr>
        <p:spPr>
          <a:xfrm>
            <a:off x="380220" y="2874988"/>
            <a:ext cx="6551623" cy="523220"/>
          </a:xfrm>
          <a:prstGeom prst="rect">
            <a:avLst/>
          </a:prstGeom>
          <a:noFill/>
        </p:spPr>
        <p:txBody>
          <a:bodyPr wrap="square">
            <a:spAutoFit/>
          </a:bodyPr>
          <a:lstStyle/>
          <a:p>
            <a:r>
              <a:rPr lang="en-GB" sz="1400" b="1" noProof="0">
                <a:latin typeface="Quattrocento Sans" panose="020B0502050000020003" pitchFamily="34" charset="0"/>
              </a:rPr>
              <a:t>Transparency and accountability: </a:t>
            </a:r>
            <a:r>
              <a:rPr lang="en-GB" sz="1400" noProof="0">
                <a:latin typeface="Quattrocento Sans" panose="020B0502050000020003" pitchFamily="34" charset="0"/>
              </a:rPr>
              <a:t>It keeps stakeholders informed and encourages accountability.</a:t>
            </a:r>
          </a:p>
        </p:txBody>
      </p:sp>
      <p:sp>
        <p:nvSpPr>
          <p:cNvPr id="24" name="Rectangle 57">
            <a:extLst>
              <a:ext uri="{FF2B5EF4-FFF2-40B4-BE49-F238E27FC236}">
                <a16:creationId xmlns:a16="http://schemas.microsoft.com/office/drawing/2014/main" id="{8E6ECEAA-B3A8-25F3-0CEA-C7973E34572E}"/>
              </a:ext>
            </a:extLst>
          </p:cNvPr>
          <p:cNvSpPr>
            <a:spLocks noChangeArrowheads="1"/>
          </p:cNvSpPr>
          <p:nvPr/>
        </p:nvSpPr>
        <p:spPr bwMode="gray">
          <a:xfrm>
            <a:off x="409099" y="504523"/>
            <a:ext cx="6355089" cy="830942"/>
          </a:xfrm>
          <a:prstGeom prst="rect">
            <a:avLst/>
          </a:prstGeom>
          <a:noFill/>
          <a:ln w="9525">
            <a:noFill/>
            <a:miter lim="800000"/>
            <a:headEnd/>
            <a:tailEnd/>
          </a:ln>
          <a:effectLst/>
        </p:spPr>
        <p:txBody>
          <a:bodyPr wrap="square" lIns="91386" tIns="45693" rIns="91386" bIns="45693">
            <a:spAutoFit/>
          </a:bodyPr>
          <a:lstStyle/>
          <a:p>
            <a:pPr defTabSz="914446">
              <a:buClr>
                <a:srgbClr val="000000"/>
              </a:buClr>
            </a:pPr>
            <a:r>
              <a:rPr lang="en-GB" sz="4800" b="1" noProof="0">
                <a:latin typeface="Quattrocento Sans" panose="020B0502050000020003" pitchFamily="34" charset="0"/>
                <a:ea typeface="Lato"/>
                <a:cs typeface="Lato"/>
                <a:sym typeface="Arial"/>
              </a:rPr>
              <a:t>Security</a:t>
            </a:r>
          </a:p>
        </p:txBody>
      </p:sp>
      <p:sp>
        <p:nvSpPr>
          <p:cNvPr id="25" name="Google Shape;3348;g30e148d11da_7_119">
            <a:extLst>
              <a:ext uri="{FF2B5EF4-FFF2-40B4-BE49-F238E27FC236}">
                <a16:creationId xmlns:a16="http://schemas.microsoft.com/office/drawing/2014/main" id="{F1A942CF-F452-738F-BDFE-8A7DF42AFB12}"/>
              </a:ext>
            </a:extLst>
          </p:cNvPr>
          <p:cNvSpPr txBox="1"/>
          <p:nvPr/>
        </p:nvSpPr>
        <p:spPr>
          <a:xfrm>
            <a:off x="715034" y="156141"/>
            <a:ext cx="3258300" cy="615000"/>
          </a:xfrm>
          <a:prstGeom prst="rect">
            <a:avLst/>
          </a:prstGeom>
          <a:noFill/>
          <a:ln>
            <a:noFill/>
          </a:ln>
        </p:spPr>
        <p:txBody>
          <a:bodyPr spcFirstLastPara="1" wrap="square" lIns="0" tIns="45700" rIns="91425" bIns="45700" anchor="t" anchorCtr="0">
            <a:noAutofit/>
          </a:bodyPr>
          <a:lstStyle/>
          <a:p>
            <a:pPr defTabSz="914446">
              <a:buClr>
                <a:srgbClr val="FFFFFF"/>
              </a:buClr>
              <a:buSzPts val="1200"/>
              <a:defRPr/>
            </a:pPr>
            <a:r>
              <a:rPr lang="en-GB" sz="1200" b="1" kern="0" noProof="0">
                <a:solidFill>
                  <a:srgbClr val="000000"/>
                </a:solidFill>
                <a:latin typeface="Montserrat"/>
                <a:ea typeface="Montserrat"/>
                <a:cs typeface="Montserrat"/>
                <a:sym typeface="Montserrat"/>
              </a:rPr>
              <a:t>Data Driven </a:t>
            </a:r>
            <a:r>
              <a:rPr lang="en-GB" sz="1200" kern="0" noProof="0">
                <a:solidFill>
                  <a:srgbClr val="000000"/>
                </a:solidFill>
                <a:latin typeface="Montserrat"/>
                <a:ea typeface="Montserrat"/>
                <a:cs typeface="Montserrat"/>
                <a:sym typeface="Montserrat"/>
              </a:rPr>
              <a:t>Business</a:t>
            </a:r>
            <a:endParaRPr lang="en-GB" sz="1200" kern="0" baseline="30000" noProof="0">
              <a:solidFill>
                <a:srgbClr val="000000"/>
              </a:solidFill>
              <a:latin typeface="Montserrat"/>
              <a:ea typeface="Montserrat"/>
              <a:cs typeface="Montserrat"/>
              <a:sym typeface="Montserrat"/>
            </a:endParaRPr>
          </a:p>
        </p:txBody>
      </p:sp>
      <p:pic>
        <p:nvPicPr>
          <p:cNvPr id="26" name="Imagen 25" descr="Logotipo&#10;&#10;Descripción generada automáticamente">
            <a:extLst>
              <a:ext uri="{FF2B5EF4-FFF2-40B4-BE49-F238E27FC236}">
                <a16:creationId xmlns:a16="http://schemas.microsoft.com/office/drawing/2014/main" id="{AAC3D504-9048-93BE-1F94-0A1C21F45B3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067942" y="6187713"/>
            <a:ext cx="1373263" cy="316907"/>
          </a:xfrm>
          <a:prstGeom prst="rect">
            <a:avLst/>
          </a:prstGeom>
        </p:spPr>
      </p:pic>
      <p:pic>
        <p:nvPicPr>
          <p:cNvPr id="27" name="Imagen 26">
            <a:extLst>
              <a:ext uri="{FF2B5EF4-FFF2-40B4-BE49-F238E27FC236}">
                <a16:creationId xmlns:a16="http://schemas.microsoft.com/office/drawing/2014/main" id="{FC65EDB7-78D9-FAB5-F9E9-3FB07CDCFC7E}"/>
              </a:ext>
            </a:extLst>
          </p:cNvPr>
          <p:cNvPicPr>
            <a:picLocks noChangeAspect="1"/>
          </p:cNvPicPr>
          <p:nvPr/>
        </p:nvPicPr>
        <p:blipFill>
          <a:blip r:embed="rId8"/>
          <a:stretch>
            <a:fillRect/>
          </a:stretch>
        </p:blipFill>
        <p:spPr>
          <a:xfrm>
            <a:off x="409099" y="5761410"/>
            <a:ext cx="1074248" cy="852606"/>
          </a:xfrm>
          <a:prstGeom prst="rect">
            <a:avLst/>
          </a:prstGeom>
        </p:spPr>
      </p:pic>
      <p:sp>
        <p:nvSpPr>
          <p:cNvPr id="2" name="CuadroTexto 1352">
            <a:extLst>
              <a:ext uri="{FF2B5EF4-FFF2-40B4-BE49-F238E27FC236}">
                <a16:creationId xmlns:a16="http://schemas.microsoft.com/office/drawing/2014/main" id="{8C9994E9-159C-D1CD-9AC0-4AFE884FFD22}"/>
              </a:ext>
            </a:extLst>
          </p:cNvPr>
          <p:cNvSpPr txBox="1"/>
          <p:nvPr/>
        </p:nvSpPr>
        <p:spPr>
          <a:xfrm>
            <a:off x="2344184" y="931010"/>
            <a:ext cx="2902139"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noProof="0">
                <a:latin typeface="Quattrocento Sans" panose="020B0502050000020003" pitchFamily="34" charset="0"/>
                <a:ea typeface="Lato"/>
                <a:cs typeface="Lato"/>
              </a:rPr>
              <a:t>Cost Monitor</a:t>
            </a:r>
          </a:p>
        </p:txBody>
      </p:sp>
    </p:spTree>
    <p:extLst>
      <p:ext uri="{BB962C8B-B14F-4D97-AF65-F5344CB8AC3E}">
        <p14:creationId xmlns:p14="http://schemas.microsoft.com/office/powerpoint/2010/main" val="402382244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3ABA4076-1E4B-7D1A-8A3C-5C58A2D9D0CC}"/>
            </a:ext>
          </a:extLst>
        </p:cNvPr>
        <p:cNvGrpSpPr/>
        <p:nvPr/>
      </p:nvGrpSpPr>
      <p:grpSpPr>
        <a:xfrm>
          <a:off x="0" y="0"/>
          <a:ext cx="0" cy="0"/>
          <a:chOff x="0" y="0"/>
          <a:chExt cx="0" cy="0"/>
        </a:xfrm>
      </p:grpSpPr>
      <p:sp>
        <p:nvSpPr>
          <p:cNvPr id="2" name="Rectangle 57">
            <a:extLst>
              <a:ext uri="{FF2B5EF4-FFF2-40B4-BE49-F238E27FC236}">
                <a16:creationId xmlns:a16="http://schemas.microsoft.com/office/drawing/2014/main" id="{C2F58E4E-8DFE-F688-FC71-C2EC88511AAD}"/>
              </a:ext>
            </a:extLst>
          </p:cNvPr>
          <p:cNvSpPr>
            <a:spLocks noChangeArrowheads="1"/>
          </p:cNvSpPr>
          <p:nvPr/>
        </p:nvSpPr>
        <p:spPr bwMode="gray">
          <a:xfrm>
            <a:off x="409099" y="504523"/>
            <a:ext cx="6355089" cy="830942"/>
          </a:xfrm>
          <a:prstGeom prst="rect">
            <a:avLst/>
          </a:prstGeom>
          <a:noFill/>
          <a:ln w="9525">
            <a:noFill/>
            <a:miter lim="800000"/>
            <a:headEnd/>
            <a:tailEnd/>
          </a:ln>
          <a:effectLst/>
        </p:spPr>
        <p:txBody>
          <a:bodyPr wrap="square" lIns="91386" tIns="45693" rIns="91386" bIns="45693">
            <a:spAutoFit/>
          </a:bodyPr>
          <a:lstStyle/>
          <a:p>
            <a:pPr defTabSz="914446">
              <a:buClr>
                <a:srgbClr val="000000"/>
              </a:buClr>
            </a:pPr>
            <a:r>
              <a:rPr lang="en-GB" sz="4800" b="1" noProof="0">
                <a:latin typeface="Quattrocento Sans" panose="020B0502050000020003" pitchFamily="34" charset="0"/>
                <a:ea typeface="Lato"/>
                <a:cs typeface="Lato"/>
                <a:sym typeface="Arial"/>
              </a:rPr>
              <a:t>Security</a:t>
            </a:r>
          </a:p>
        </p:txBody>
      </p:sp>
      <p:sp>
        <p:nvSpPr>
          <p:cNvPr id="54" name="Google Shape;3348;g30e148d11da_7_119">
            <a:extLst>
              <a:ext uri="{FF2B5EF4-FFF2-40B4-BE49-F238E27FC236}">
                <a16:creationId xmlns:a16="http://schemas.microsoft.com/office/drawing/2014/main" id="{F039C1C0-BE6B-E178-9CB0-E04EAB89F1E1}"/>
              </a:ext>
            </a:extLst>
          </p:cNvPr>
          <p:cNvSpPr txBox="1"/>
          <p:nvPr/>
        </p:nvSpPr>
        <p:spPr>
          <a:xfrm>
            <a:off x="715034" y="156141"/>
            <a:ext cx="3258300" cy="615000"/>
          </a:xfrm>
          <a:prstGeom prst="rect">
            <a:avLst/>
          </a:prstGeom>
          <a:noFill/>
          <a:ln>
            <a:noFill/>
          </a:ln>
        </p:spPr>
        <p:txBody>
          <a:bodyPr spcFirstLastPara="1" wrap="square" lIns="0" tIns="45700" rIns="91425" bIns="45700" anchor="t" anchorCtr="0">
            <a:noAutofit/>
          </a:bodyPr>
          <a:lstStyle/>
          <a:p>
            <a:pPr defTabSz="914446">
              <a:buClr>
                <a:srgbClr val="FFFFFF"/>
              </a:buClr>
              <a:buSzPts val="1200"/>
              <a:defRPr/>
            </a:pPr>
            <a:r>
              <a:rPr lang="en-GB" sz="1200" b="1" kern="0" noProof="0">
                <a:solidFill>
                  <a:srgbClr val="000000"/>
                </a:solidFill>
                <a:latin typeface="Montserrat"/>
                <a:ea typeface="Montserrat"/>
                <a:cs typeface="Montserrat"/>
                <a:sym typeface="Montserrat"/>
              </a:rPr>
              <a:t>Data Driven </a:t>
            </a:r>
            <a:r>
              <a:rPr lang="en-GB" sz="1200" kern="0" noProof="0">
                <a:solidFill>
                  <a:srgbClr val="000000"/>
                </a:solidFill>
                <a:latin typeface="Montserrat"/>
                <a:ea typeface="Montserrat"/>
                <a:cs typeface="Montserrat"/>
                <a:sym typeface="Montserrat"/>
              </a:rPr>
              <a:t>Business</a:t>
            </a:r>
            <a:endParaRPr lang="en-GB" sz="1200" kern="0" baseline="30000" noProof="0">
              <a:solidFill>
                <a:srgbClr val="000000"/>
              </a:solidFill>
              <a:latin typeface="Montserrat"/>
              <a:ea typeface="Montserrat"/>
              <a:cs typeface="Montserrat"/>
              <a:sym typeface="Montserrat"/>
            </a:endParaRPr>
          </a:p>
        </p:txBody>
      </p:sp>
      <p:pic>
        <p:nvPicPr>
          <p:cNvPr id="4" name="Imagen 3" descr="Logotipo&#10;&#10;Descripción generada automáticamente">
            <a:extLst>
              <a:ext uri="{FF2B5EF4-FFF2-40B4-BE49-F238E27FC236}">
                <a16:creationId xmlns:a16="http://schemas.microsoft.com/office/drawing/2014/main" id="{0CEA7783-A851-6759-AE52-0DD75B5AA18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01313" y="6123044"/>
            <a:ext cx="1373263" cy="316907"/>
          </a:xfrm>
          <a:prstGeom prst="rect">
            <a:avLst/>
          </a:prstGeom>
        </p:spPr>
      </p:pic>
      <p:graphicFrame>
        <p:nvGraphicFramePr>
          <p:cNvPr id="5" name="Tabla 4">
            <a:extLst>
              <a:ext uri="{FF2B5EF4-FFF2-40B4-BE49-F238E27FC236}">
                <a16:creationId xmlns:a16="http://schemas.microsoft.com/office/drawing/2014/main" id="{8314196F-EE5D-EAC8-4358-4C2252B6AE80}"/>
              </a:ext>
            </a:extLst>
          </p:cNvPr>
          <p:cNvGraphicFramePr>
            <a:graphicFrameLocks noGrp="1"/>
          </p:cNvGraphicFramePr>
          <p:nvPr>
            <p:extLst>
              <p:ext uri="{D42A27DB-BD31-4B8C-83A1-F6EECF244321}">
                <p14:modId xmlns:p14="http://schemas.microsoft.com/office/powerpoint/2010/main" val="3582931211"/>
              </p:ext>
            </p:extLst>
          </p:nvPr>
        </p:nvGraphicFramePr>
        <p:xfrm>
          <a:off x="444578" y="2339940"/>
          <a:ext cx="11302844" cy="2106416"/>
        </p:xfrm>
        <a:graphic>
          <a:graphicData uri="http://schemas.openxmlformats.org/drawingml/2006/table">
            <a:tbl>
              <a:tblPr firstRow="1" bandRow="1">
                <a:tableStyleId>{C083E6E3-FA7D-4D7B-A595-EF9225AFEA82}</a:tableStyleId>
              </a:tblPr>
              <a:tblGrid>
                <a:gridCol w="569789">
                  <a:extLst>
                    <a:ext uri="{9D8B030D-6E8A-4147-A177-3AD203B41FA5}">
                      <a16:colId xmlns:a16="http://schemas.microsoft.com/office/drawing/2014/main" val="2751870479"/>
                    </a:ext>
                  </a:extLst>
                </a:gridCol>
                <a:gridCol w="1781035">
                  <a:extLst>
                    <a:ext uri="{9D8B030D-6E8A-4147-A177-3AD203B41FA5}">
                      <a16:colId xmlns:a16="http://schemas.microsoft.com/office/drawing/2014/main" val="2994942042"/>
                    </a:ext>
                  </a:extLst>
                </a:gridCol>
                <a:gridCol w="5501993">
                  <a:extLst>
                    <a:ext uri="{9D8B030D-6E8A-4147-A177-3AD203B41FA5}">
                      <a16:colId xmlns:a16="http://schemas.microsoft.com/office/drawing/2014/main" val="1489924822"/>
                    </a:ext>
                  </a:extLst>
                </a:gridCol>
                <a:gridCol w="3450027">
                  <a:extLst>
                    <a:ext uri="{9D8B030D-6E8A-4147-A177-3AD203B41FA5}">
                      <a16:colId xmlns:a16="http://schemas.microsoft.com/office/drawing/2014/main" val="466607041"/>
                    </a:ext>
                  </a:extLst>
                </a:gridCol>
              </a:tblGrid>
              <a:tr h="356470">
                <a:tc>
                  <a:txBody>
                    <a:bodyPr/>
                    <a:lstStyle/>
                    <a:p>
                      <a:r>
                        <a:rPr lang="en-GB" sz="1600" noProof="0"/>
                        <a:t>No.</a:t>
                      </a:r>
                    </a:p>
                  </a:txBody>
                  <a:tcPr/>
                </a:tc>
                <a:tc>
                  <a:txBody>
                    <a:bodyPr/>
                    <a:lstStyle/>
                    <a:p>
                      <a:r>
                        <a:rPr lang="en-GB" sz="1600" noProof="0"/>
                        <a:t>Item</a:t>
                      </a:r>
                    </a:p>
                  </a:txBody>
                  <a:tcPr/>
                </a:tc>
                <a:tc>
                  <a:txBody>
                    <a:bodyPr/>
                    <a:lstStyle/>
                    <a:p>
                      <a:r>
                        <a:rPr lang="en-GB" sz="1600" noProof="0"/>
                        <a:t>Description</a:t>
                      </a:r>
                    </a:p>
                  </a:txBody>
                  <a:tcPr/>
                </a:tc>
                <a:tc>
                  <a:txBody>
                    <a:bodyPr/>
                    <a:lstStyle/>
                    <a:p>
                      <a:r>
                        <a:rPr lang="en-GB" sz="1600" noProof="0"/>
                        <a:t>Duration</a:t>
                      </a:r>
                    </a:p>
                  </a:txBody>
                  <a:tcPr/>
                </a:tc>
                <a:extLst>
                  <a:ext uri="{0D108BD9-81ED-4DB2-BD59-A6C34878D82A}">
                    <a16:rowId xmlns:a16="http://schemas.microsoft.com/office/drawing/2014/main" val="206944614"/>
                  </a:ext>
                </a:extLst>
              </a:tr>
              <a:tr h="874973">
                <a:tc>
                  <a:txBody>
                    <a:bodyPr/>
                    <a:lstStyle/>
                    <a:p>
                      <a:r>
                        <a:rPr lang="en-GB" sz="1600" noProof="0"/>
                        <a:t>8</a:t>
                      </a:r>
                    </a:p>
                  </a:txBody>
                  <a:tcPr anchor="ctr"/>
                </a:tc>
                <a:tc>
                  <a:txBody>
                    <a:bodyPr/>
                    <a:lstStyle/>
                    <a:p>
                      <a:r>
                        <a:rPr lang="en-GB" sz="1600" noProof="0"/>
                        <a:t>Security</a:t>
                      </a:r>
                    </a:p>
                  </a:txBody>
                  <a:tcPr anchor="ctr"/>
                </a:tc>
                <a:tc>
                  <a:txBody>
                    <a:bodyPr/>
                    <a:lstStyle/>
                    <a:p>
                      <a:r>
                        <a:rPr lang="en-GB" sz="1600" noProof="0">
                          <a:solidFill>
                            <a:srgbClr val="FF0000"/>
                          </a:solidFill>
                        </a:rPr>
                        <a:t>We will configure “Admin Monitor” for SAC and Datasphere access control.</a:t>
                      </a:r>
                    </a:p>
                  </a:txBody>
                  <a:tcPr anchor="ctr"/>
                </a:tc>
                <a:tc>
                  <a:txBody>
                    <a:bodyPr/>
                    <a:lstStyle/>
                    <a:p>
                      <a:r>
                        <a:rPr lang="en-GB" sz="1600" noProof="0"/>
                        <a:t>1 week</a:t>
                      </a:r>
                    </a:p>
                  </a:txBody>
                  <a:tcPr anchor="ctr"/>
                </a:tc>
                <a:extLst>
                  <a:ext uri="{0D108BD9-81ED-4DB2-BD59-A6C34878D82A}">
                    <a16:rowId xmlns:a16="http://schemas.microsoft.com/office/drawing/2014/main" val="1661288958"/>
                  </a:ext>
                </a:extLst>
              </a:tr>
              <a:tr h="874973">
                <a:tc>
                  <a:txBody>
                    <a:bodyPr/>
                    <a:lstStyle/>
                    <a:p>
                      <a:r>
                        <a:rPr lang="en-GB" sz="1600" noProof="0">
                          <a:highlight>
                            <a:srgbClr val="FFFF00"/>
                          </a:highlight>
                        </a:rPr>
                        <a:t>9</a:t>
                      </a:r>
                    </a:p>
                  </a:txBody>
                  <a:tcPr anchor="ctr"/>
                </a:tc>
                <a:tc>
                  <a:txBody>
                    <a:bodyPr/>
                    <a:lstStyle/>
                    <a:p>
                      <a:r>
                        <a:rPr lang="en-GB" sz="1600" noProof="0">
                          <a:highlight>
                            <a:srgbClr val="FFFF00"/>
                          </a:highlight>
                        </a:rPr>
                        <a:t>Security</a:t>
                      </a:r>
                    </a:p>
                  </a:txBody>
                  <a:tcPr anchor="ctr"/>
                </a:tc>
                <a:tc>
                  <a:txBody>
                    <a:bodyPr/>
                    <a:lstStyle/>
                    <a:p>
                      <a:r>
                        <a:rPr lang="en-GB" sz="1600" noProof="0">
                          <a:solidFill>
                            <a:srgbClr val="FF0000"/>
                          </a:solidFill>
                          <a:highlight>
                            <a:srgbClr val="FFFF00"/>
                          </a:highlight>
                        </a:rPr>
                        <a:t>We will configure “Cost Monitor” for SAC and Datasphere usage metrics.</a:t>
                      </a:r>
                    </a:p>
                  </a:txBody>
                  <a:tcPr anchor="ctr"/>
                </a:tc>
                <a:tc>
                  <a:txBody>
                    <a:bodyPr/>
                    <a:lstStyle/>
                    <a:p>
                      <a:r>
                        <a:rPr lang="en-GB" sz="1600" noProof="0">
                          <a:highlight>
                            <a:srgbClr val="FFFF00"/>
                          </a:highlight>
                        </a:rPr>
                        <a:t>3 weeks</a:t>
                      </a:r>
                    </a:p>
                  </a:txBody>
                  <a:tcPr anchor="ctr"/>
                </a:tc>
                <a:extLst>
                  <a:ext uri="{0D108BD9-81ED-4DB2-BD59-A6C34878D82A}">
                    <a16:rowId xmlns:a16="http://schemas.microsoft.com/office/drawing/2014/main" val="55510929"/>
                  </a:ext>
                </a:extLst>
              </a:tr>
            </a:tbl>
          </a:graphicData>
        </a:graphic>
      </p:graphicFrame>
    </p:spTree>
    <p:extLst>
      <p:ext uri="{BB962C8B-B14F-4D97-AF65-F5344CB8AC3E}">
        <p14:creationId xmlns:p14="http://schemas.microsoft.com/office/powerpoint/2010/main" val="60447198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0FA0D83-1BF0-5AB4-23EF-DD4773A738F4}"/>
            </a:ext>
          </a:extLst>
        </p:cNvPr>
        <p:cNvGrpSpPr/>
        <p:nvPr/>
      </p:nvGrpSpPr>
      <p:grpSpPr>
        <a:xfrm>
          <a:off x="0" y="0"/>
          <a:ext cx="0" cy="0"/>
          <a:chOff x="0" y="0"/>
          <a:chExt cx="0" cy="0"/>
        </a:xfrm>
      </p:grpSpPr>
      <p:sp>
        <p:nvSpPr>
          <p:cNvPr id="5" name="Rectangle 57">
            <a:extLst>
              <a:ext uri="{FF2B5EF4-FFF2-40B4-BE49-F238E27FC236}">
                <a16:creationId xmlns:a16="http://schemas.microsoft.com/office/drawing/2014/main" id="{DC386C4D-89FD-A49A-D756-42DC668DDB9B}"/>
              </a:ext>
            </a:extLst>
          </p:cNvPr>
          <p:cNvSpPr>
            <a:spLocks noChangeArrowheads="1"/>
          </p:cNvSpPr>
          <p:nvPr/>
        </p:nvSpPr>
        <p:spPr bwMode="gray">
          <a:xfrm>
            <a:off x="226219" y="198916"/>
            <a:ext cx="9409394" cy="830942"/>
          </a:xfrm>
          <a:prstGeom prst="rect">
            <a:avLst/>
          </a:prstGeom>
          <a:noFill/>
          <a:ln w="9525">
            <a:noFill/>
            <a:miter lim="800000"/>
            <a:headEnd/>
            <a:tailEnd/>
          </a:ln>
          <a:effectLst/>
        </p:spPr>
        <p:txBody>
          <a:bodyPr wrap="square" lIns="91386" tIns="45693" rIns="91386" bIns="45693">
            <a:spAutoFit/>
          </a:bodyPr>
          <a:lstStyle/>
          <a:p>
            <a:pPr hangingPunct="1"/>
            <a:r>
              <a:rPr lang="en-GB" sz="3000" noProof="0">
                <a:solidFill>
                  <a:srgbClr val="00456E"/>
                </a:solidFill>
                <a:latin typeface="DM Sans Bold" pitchFamily="2" charset="0"/>
              </a:rPr>
              <a:t>	 </a:t>
            </a:r>
            <a:r>
              <a:rPr lang="en-GB" sz="4800" b="1" noProof="0">
                <a:solidFill>
                  <a:schemeClr val="tx1">
                    <a:lumMod val="95000"/>
                    <a:lumOff val="5000"/>
                  </a:schemeClr>
                </a:solidFill>
                <a:latin typeface="Quattrocento Sans" panose="020B0502050000020003" pitchFamily="34" charset="0"/>
                <a:ea typeface="Lato"/>
                <a:cs typeface="Lato"/>
              </a:rPr>
              <a:t>Datasphere </a:t>
            </a:r>
            <a:r>
              <a:rPr lang="en-GB" sz="4800" b="1" noProof="0" err="1">
                <a:solidFill>
                  <a:schemeClr val="tx1">
                    <a:lumMod val="95000"/>
                    <a:lumOff val="5000"/>
                  </a:schemeClr>
                </a:solidFill>
                <a:latin typeface="Quattrocento Sans" panose="020B0502050000020003" pitchFamily="34" charset="0"/>
                <a:ea typeface="Lato"/>
                <a:cs typeface="Lato"/>
              </a:rPr>
              <a:t>Catalog</a:t>
            </a:r>
            <a:endParaRPr lang="en-GB" sz="4800" b="1" noProof="0">
              <a:solidFill>
                <a:schemeClr val="tx1">
                  <a:lumMod val="95000"/>
                  <a:lumOff val="5000"/>
                </a:schemeClr>
              </a:solidFill>
              <a:latin typeface="Quattrocento Sans" panose="020B0502050000020003" pitchFamily="34" charset="0"/>
              <a:ea typeface="Lato"/>
              <a:cs typeface="Lato"/>
            </a:endParaRPr>
          </a:p>
        </p:txBody>
      </p:sp>
      <p:pic>
        <p:nvPicPr>
          <p:cNvPr id="6" name="Picture 6" descr="SAP Datasphere. Evolución desde SAP BW y SAP BW/4HANA. - ABAST">
            <a:extLst>
              <a:ext uri="{FF2B5EF4-FFF2-40B4-BE49-F238E27FC236}">
                <a16:creationId xmlns:a16="http://schemas.microsoft.com/office/drawing/2014/main" id="{2F58E431-605F-F6B7-5B47-4865AE104D7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9443" b="18729"/>
          <a:stretch/>
        </p:blipFill>
        <p:spPr bwMode="auto">
          <a:xfrm>
            <a:off x="341700" y="404530"/>
            <a:ext cx="1002325" cy="419713"/>
          </a:xfrm>
          <a:prstGeom prst="rect">
            <a:avLst/>
          </a:prstGeom>
          <a:noFill/>
          <a:extLst>
            <a:ext uri="{909E8E84-426E-40DD-AFC4-6F175D3DCCD1}">
              <a14:hiddenFill xmlns:a14="http://schemas.microsoft.com/office/drawing/2010/main">
                <a:solidFill>
                  <a:srgbClr val="FFFFFF"/>
                </a:solidFill>
              </a14:hiddenFill>
            </a:ext>
          </a:extLst>
        </p:spPr>
      </p:pic>
      <p:sp>
        <p:nvSpPr>
          <p:cNvPr id="2" name="CuadroTexto 1">
            <a:extLst>
              <a:ext uri="{FF2B5EF4-FFF2-40B4-BE49-F238E27FC236}">
                <a16:creationId xmlns:a16="http://schemas.microsoft.com/office/drawing/2014/main" id="{D33675A8-2141-46AD-0370-F3A60A806575}"/>
              </a:ext>
            </a:extLst>
          </p:cNvPr>
          <p:cNvSpPr txBox="1"/>
          <p:nvPr/>
        </p:nvSpPr>
        <p:spPr>
          <a:xfrm>
            <a:off x="310737" y="1415556"/>
            <a:ext cx="10946766" cy="211725"/>
          </a:xfrm>
          <a:prstGeom prst="rect">
            <a:avLst/>
          </a:prstGeom>
          <a:ln w="12700">
            <a:miter lim="400000"/>
          </a:ln>
        </p:spPr>
        <p:txBody>
          <a:bodyPr wrap="square" lIns="0" tIns="0" rIns="0" bIns="0" anchor="t">
            <a:spAutoFit/>
          </a:bodyPr>
          <a:lstStyle>
            <a:defPPr>
              <a:defRPr lang="es-ES"/>
            </a:defPPr>
            <a:lvl1pPr algn="just" defTabSz="609630" fontAlgn="base" hangingPunct="0">
              <a:lnSpc>
                <a:spcPts val="1267"/>
              </a:lnSpc>
              <a:defRPr sz="1333" kern="0">
                <a:solidFill>
                  <a:srgbClr val="2D2D2D"/>
                </a:solidFill>
                <a:latin typeface="Quattrocento Sans" panose="020B0502050000020003" pitchFamily="34" charset="0"/>
                <a:ea typeface="DM Sans Regular"/>
                <a:cs typeface="Calibri"/>
              </a:defRPr>
            </a:lvl1pPr>
          </a:lstStyle>
          <a:p>
            <a:r>
              <a:rPr lang="en-GB" sz="2400" b="1" noProof="0"/>
              <a:t>Next Steps</a:t>
            </a:r>
          </a:p>
        </p:txBody>
      </p:sp>
      <p:sp>
        <p:nvSpPr>
          <p:cNvPr id="3" name="Object13">
            <a:extLst>
              <a:ext uri="{FF2B5EF4-FFF2-40B4-BE49-F238E27FC236}">
                <a16:creationId xmlns:a16="http://schemas.microsoft.com/office/drawing/2014/main" id="{2BFFDFAF-5113-E703-C521-E75C220B9EF7}"/>
              </a:ext>
            </a:extLst>
          </p:cNvPr>
          <p:cNvSpPr txBox="1"/>
          <p:nvPr/>
        </p:nvSpPr>
        <p:spPr>
          <a:xfrm>
            <a:off x="7538795" y="116198"/>
            <a:ext cx="4311505" cy="17312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t">
            <a:spAutoFit/>
          </a:bodyPr>
          <a:lstStyle>
            <a:lvl1pPr>
              <a:lnSpc>
                <a:spcPts val="1900"/>
              </a:lnSpc>
              <a:defRPr sz="1300">
                <a:solidFill>
                  <a:srgbClr val="2D2D2D"/>
                </a:solidFill>
                <a:latin typeface="DM Sans Regular"/>
                <a:ea typeface="DM Sans Regular"/>
                <a:cs typeface="DM Sans Regular"/>
                <a:sym typeface="DM Sans Regular"/>
              </a:defRPr>
            </a:lvl1pPr>
          </a:lstStyle>
          <a:p>
            <a:pPr algn="just" defTabSz="609630" fontAlgn="base" hangingPunct="0">
              <a:lnSpc>
                <a:spcPts val="1267"/>
              </a:lnSpc>
            </a:pPr>
            <a:endParaRPr lang="en-GB" sz="1333" kern="0" noProof="0">
              <a:latin typeface="Quattrocento Sans" panose="020B0502050000020003" pitchFamily="34" charset="0"/>
              <a:cs typeface="Calibri"/>
            </a:endParaRPr>
          </a:p>
        </p:txBody>
      </p:sp>
      <p:graphicFrame>
        <p:nvGraphicFramePr>
          <p:cNvPr id="4" name="Tabla 3">
            <a:extLst>
              <a:ext uri="{FF2B5EF4-FFF2-40B4-BE49-F238E27FC236}">
                <a16:creationId xmlns:a16="http://schemas.microsoft.com/office/drawing/2014/main" id="{7E94D3E5-E18A-39DC-5495-97D0F1DD00AA}"/>
              </a:ext>
            </a:extLst>
          </p:cNvPr>
          <p:cNvGraphicFramePr>
            <a:graphicFrameLocks noGrp="1"/>
          </p:cNvGraphicFramePr>
          <p:nvPr>
            <p:extLst>
              <p:ext uri="{D42A27DB-BD31-4B8C-83A1-F6EECF244321}">
                <p14:modId xmlns:p14="http://schemas.microsoft.com/office/powerpoint/2010/main" val="2666379326"/>
              </p:ext>
            </p:extLst>
          </p:nvPr>
        </p:nvGraphicFramePr>
        <p:xfrm>
          <a:off x="444578" y="2339940"/>
          <a:ext cx="11302844" cy="2106416"/>
        </p:xfrm>
        <a:graphic>
          <a:graphicData uri="http://schemas.openxmlformats.org/drawingml/2006/table">
            <a:tbl>
              <a:tblPr firstRow="1" bandRow="1">
                <a:tableStyleId>{C083E6E3-FA7D-4D7B-A595-EF9225AFEA82}</a:tableStyleId>
              </a:tblPr>
              <a:tblGrid>
                <a:gridCol w="569789">
                  <a:extLst>
                    <a:ext uri="{9D8B030D-6E8A-4147-A177-3AD203B41FA5}">
                      <a16:colId xmlns:a16="http://schemas.microsoft.com/office/drawing/2014/main" val="2751870479"/>
                    </a:ext>
                  </a:extLst>
                </a:gridCol>
                <a:gridCol w="1781035">
                  <a:extLst>
                    <a:ext uri="{9D8B030D-6E8A-4147-A177-3AD203B41FA5}">
                      <a16:colId xmlns:a16="http://schemas.microsoft.com/office/drawing/2014/main" val="2994942042"/>
                    </a:ext>
                  </a:extLst>
                </a:gridCol>
                <a:gridCol w="5501993">
                  <a:extLst>
                    <a:ext uri="{9D8B030D-6E8A-4147-A177-3AD203B41FA5}">
                      <a16:colId xmlns:a16="http://schemas.microsoft.com/office/drawing/2014/main" val="1489924822"/>
                    </a:ext>
                  </a:extLst>
                </a:gridCol>
                <a:gridCol w="3450027">
                  <a:extLst>
                    <a:ext uri="{9D8B030D-6E8A-4147-A177-3AD203B41FA5}">
                      <a16:colId xmlns:a16="http://schemas.microsoft.com/office/drawing/2014/main" val="466607041"/>
                    </a:ext>
                  </a:extLst>
                </a:gridCol>
              </a:tblGrid>
              <a:tr h="356470">
                <a:tc>
                  <a:txBody>
                    <a:bodyPr/>
                    <a:lstStyle/>
                    <a:p>
                      <a:r>
                        <a:rPr lang="en-GB" sz="1600" noProof="0"/>
                        <a:t>No.</a:t>
                      </a:r>
                    </a:p>
                  </a:txBody>
                  <a:tcPr/>
                </a:tc>
                <a:tc>
                  <a:txBody>
                    <a:bodyPr/>
                    <a:lstStyle/>
                    <a:p>
                      <a:r>
                        <a:rPr lang="en-GB" sz="1600" noProof="0"/>
                        <a:t>Item</a:t>
                      </a:r>
                    </a:p>
                  </a:txBody>
                  <a:tcPr/>
                </a:tc>
                <a:tc>
                  <a:txBody>
                    <a:bodyPr/>
                    <a:lstStyle/>
                    <a:p>
                      <a:r>
                        <a:rPr lang="en-GB" sz="1600" noProof="0"/>
                        <a:t>Description</a:t>
                      </a:r>
                    </a:p>
                  </a:txBody>
                  <a:tcPr/>
                </a:tc>
                <a:tc>
                  <a:txBody>
                    <a:bodyPr/>
                    <a:lstStyle/>
                    <a:p>
                      <a:r>
                        <a:rPr lang="en-GB" sz="1600" noProof="0"/>
                        <a:t>Duration</a:t>
                      </a:r>
                    </a:p>
                  </a:txBody>
                  <a:tcPr/>
                </a:tc>
                <a:extLst>
                  <a:ext uri="{0D108BD9-81ED-4DB2-BD59-A6C34878D82A}">
                    <a16:rowId xmlns:a16="http://schemas.microsoft.com/office/drawing/2014/main" val="206944614"/>
                  </a:ext>
                </a:extLst>
              </a:tr>
              <a:tr h="874973">
                <a:tc>
                  <a:txBody>
                    <a:bodyPr/>
                    <a:lstStyle/>
                    <a:p>
                      <a:r>
                        <a:rPr lang="en-GB" sz="1600" noProof="0"/>
                        <a:t>4</a:t>
                      </a:r>
                    </a:p>
                  </a:txBody>
                  <a:tcPr anchor="ctr"/>
                </a:tc>
                <a:tc>
                  <a:txBody>
                    <a:bodyPr/>
                    <a:lstStyle/>
                    <a:p>
                      <a:r>
                        <a:rPr lang="en-GB" sz="1600" noProof="0"/>
                        <a:t>Catalogue</a:t>
                      </a:r>
                    </a:p>
                  </a:txBody>
                  <a:tcPr anchor="ctr"/>
                </a:tc>
                <a:tc>
                  <a:txBody>
                    <a:bodyPr/>
                    <a:lstStyle/>
                    <a:p>
                      <a:r>
                        <a:rPr lang="en-GB" sz="1600" noProof="0">
                          <a:solidFill>
                            <a:srgbClr val="FF0000"/>
                          </a:solidFill>
                        </a:rPr>
                        <a:t>We will review and complete, if necessary, the current metadata in Datasphere’s </a:t>
                      </a:r>
                      <a:r>
                        <a:rPr lang="en-GB" sz="1600" noProof="0" err="1">
                          <a:solidFill>
                            <a:srgbClr val="FF0000"/>
                          </a:solidFill>
                        </a:rPr>
                        <a:t>Catalog</a:t>
                      </a:r>
                      <a:r>
                        <a:rPr lang="en-GB" sz="1600" noProof="0">
                          <a:solidFill>
                            <a:srgbClr val="FF0000"/>
                          </a:solidFill>
                        </a:rPr>
                        <a:t> for one business area and up to 10 unique tables with up to 20 fields per table.</a:t>
                      </a:r>
                    </a:p>
                  </a:txBody>
                  <a:tcPr anchor="ctr"/>
                </a:tc>
                <a:tc>
                  <a:txBody>
                    <a:bodyPr/>
                    <a:lstStyle/>
                    <a:p>
                      <a:r>
                        <a:rPr lang="en-GB" sz="1600" noProof="0"/>
                        <a:t>2 weeks</a:t>
                      </a:r>
                    </a:p>
                  </a:txBody>
                  <a:tcPr anchor="ctr"/>
                </a:tc>
                <a:extLst>
                  <a:ext uri="{0D108BD9-81ED-4DB2-BD59-A6C34878D82A}">
                    <a16:rowId xmlns:a16="http://schemas.microsoft.com/office/drawing/2014/main" val="1661288958"/>
                  </a:ext>
                </a:extLst>
              </a:tr>
              <a:tr h="874973">
                <a:tc>
                  <a:txBody>
                    <a:bodyPr/>
                    <a:lstStyle/>
                    <a:p>
                      <a:r>
                        <a:rPr lang="en-GB" sz="1600" noProof="0"/>
                        <a:t>5</a:t>
                      </a:r>
                    </a:p>
                  </a:txBody>
                  <a:tcPr anchor="ctr"/>
                </a:tc>
                <a:tc>
                  <a:txBody>
                    <a:bodyPr/>
                    <a:lstStyle/>
                    <a:p>
                      <a:r>
                        <a:rPr lang="en-GB" sz="1600" noProof="0"/>
                        <a:t>Lineage</a:t>
                      </a:r>
                    </a:p>
                  </a:txBody>
                  <a:tcPr anchor="ctr"/>
                </a:tc>
                <a:tc>
                  <a:txBody>
                    <a:bodyPr/>
                    <a:lstStyle/>
                    <a:p>
                      <a:r>
                        <a:rPr lang="en-GB" sz="1600" noProof="0">
                          <a:solidFill>
                            <a:srgbClr val="FF0000"/>
                          </a:solidFill>
                        </a:rPr>
                        <a:t>We will map out the lineage for the business area and for the data assets catalogued in the previous step.</a:t>
                      </a:r>
                    </a:p>
                  </a:txBody>
                  <a:tcPr anchor="ctr"/>
                </a:tc>
                <a:tc>
                  <a:txBody>
                    <a:bodyPr/>
                    <a:lstStyle/>
                    <a:p>
                      <a:r>
                        <a:rPr lang="en-GB" sz="1600" noProof="0"/>
                        <a:t>2 weeks</a:t>
                      </a:r>
                    </a:p>
                  </a:txBody>
                  <a:tcPr anchor="ctr"/>
                </a:tc>
                <a:extLst>
                  <a:ext uri="{0D108BD9-81ED-4DB2-BD59-A6C34878D82A}">
                    <a16:rowId xmlns:a16="http://schemas.microsoft.com/office/drawing/2014/main" val="902096893"/>
                  </a:ext>
                </a:extLst>
              </a:tr>
            </a:tbl>
          </a:graphicData>
        </a:graphic>
      </p:graphicFrame>
    </p:spTree>
    <p:extLst>
      <p:ext uri="{BB962C8B-B14F-4D97-AF65-F5344CB8AC3E}">
        <p14:creationId xmlns:p14="http://schemas.microsoft.com/office/powerpoint/2010/main" val="191968425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Tabla 1">
            <a:extLst>
              <a:ext uri="{FF2B5EF4-FFF2-40B4-BE49-F238E27FC236}">
                <a16:creationId xmlns:a16="http://schemas.microsoft.com/office/drawing/2014/main" id="{5C825430-CCFE-4603-4731-0C5B8B5BC3A0}"/>
              </a:ext>
            </a:extLst>
          </p:cNvPr>
          <p:cNvGraphicFramePr>
            <a:graphicFrameLocks noGrp="1"/>
          </p:cNvGraphicFramePr>
          <p:nvPr>
            <p:extLst>
              <p:ext uri="{D42A27DB-BD31-4B8C-83A1-F6EECF244321}">
                <p14:modId xmlns:p14="http://schemas.microsoft.com/office/powerpoint/2010/main" val="1017412465"/>
              </p:ext>
            </p:extLst>
          </p:nvPr>
        </p:nvGraphicFramePr>
        <p:xfrm>
          <a:off x="444578" y="2339940"/>
          <a:ext cx="11302844" cy="2106416"/>
        </p:xfrm>
        <a:graphic>
          <a:graphicData uri="http://schemas.openxmlformats.org/drawingml/2006/table">
            <a:tbl>
              <a:tblPr firstRow="1" bandRow="1">
                <a:tableStyleId>{C083E6E3-FA7D-4D7B-A595-EF9225AFEA82}</a:tableStyleId>
              </a:tblPr>
              <a:tblGrid>
                <a:gridCol w="569789">
                  <a:extLst>
                    <a:ext uri="{9D8B030D-6E8A-4147-A177-3AD203B41FA5}">
                      <a16:colId xmlns:a16="http://schemas.microsoft.com/office/drawing/2014/main" val="2751870479"/>
                    </a:ext>
                  </a:extLst>
                </a:gridCol>
                <a:gridCol w="1781035">
                  <a:extLst>
                    <a:ext uri="{9D8B030D-6E8A-4147-A177-3AD203B41FA5}">
                      <a16:colId xmlns:a16="http://schemas.microsoft.com/office/drawing/2014/main" val="2994942042"/>
                    </a:ext>
                  </a:extLst>
                </a:gridCol>
                <a:gridCol w="5501993">
                  <a:extLst>
                    <a:ext uri="{9D8B030D-6E8A-4147-A177-3AD203B41FA5}">
                      <a16:colId xmlns:a16="http://schemas.microsoft.com/office/drawing/2014/main" val="1489924822"/>
                    </a:ext>
                  </a:extLst>
                </a:gridCol>
                <a:gridCol w="3450027">
                  <a:extLst>
                    <a:ext uri="{9D8B030D-6E8A-4147-A177-3AD203B41FA5}">
                      <a16:colId xmlns:a16="http://schemas.microsoft.com/office/drawing/2014/main" val="466607041"/>
                    </a:ext>
                  </a:extLst>
                </a:gridCol>
              </a:tblGrid>
              <a:tr h="356470">
                <a:tc>
                  <a:txBody>
                    <a:bodyPr/>
                    <a:lstStyle/>
                    <a:p>
                      <a:r>
                        <a:rPr lang="en-GB" sz="1600" noProof="0"/>
                        <a:t>No.</a:t>
                      </a:r>
                    </a:p>
                  </a:txBody>
                  <a:tcPr/>
                </a:tc>
                <a:tc>
                  <a:txBody>
                    <a:bodyPr/>
                    <a:lstStyle/>
                    <a:p>
                      <a:r>
                        <a:rPr lang="en-GB" sz="1600" noProof="0"/>
                        <a:t>Item</a:t>
                      </a:r>
                    </a:p>
                  </a:txBody>
                  <a:tcPr/>
                </a:tc>
                <a:tc>
                  <a:txBody>
                    <a:bodyPr/>
                    <a:lstStyle/>
                    <a:p>
                      <a:r>
                        <a:rPr lang="en-GB" sz="1600" noProof="0"/>
                        <a:t>Description</a:t>
                      </a:r>
                    </a:p>
                  </a:txBody>
                  <a:tcPr/>
                </a:tc>
                <a:tc>
                  <a:txBody>
                    <a:bodyPr/>
                    <a:lstStyle/>
                    <a:p>
                      <a:r>
                        <a:rPr lang="en-GB" sz="1600" noProof="0"/>
                        <a:t>Duration</a:t>
                      </a:r>
                    </a:p>
                  </a:txBody>
                  <a:tcPr/>
                </a:tc>
                <a:extLst>
                  <a:ext uri="{0D108BD9-81ED-4DB2-BD59-A6C34878D82A}">
                    <a16:rowId xmlns:a16="http://schemas.microsoft.com/office/drawing/2014/main" val="206944614"/>
                  </a:ext>
                </a:extLst>
              </a:tr>
              <a:tr h="874973">
                <a:tc>
                  <a:txBody>
                    <a:bodyPr/>
                    <a:lstStyle/>
                    <a:p>
                      <a:r>
                        <a:rPr lang="en-GB" sz="1600" noProof="0"/>
                        <a:t>6</a:t>
                      </a:r>
                    </a:p>
                  </a:txBody>
                  <a:tcPr anchor="ctr"/>
                </a:tc>
                <a:tc>
                  <a:txBody>
                    <a:bodyPr/>
                    <a:lstStyle/>
                    <a:p>
                      <a:r>
                        <a:rPr lang="en-GB" sz="1600" noProof="0"/>
                        <a:t>Quality Rules</a:t>
                      </a:r>
                    </a:p>
                  </a:txBody>
                  <a:tcPr anchor="ctr"/>
                </a:tc>
                <a:tc>
                  <a:txBody>
                    <a:bodyPr/>
                    <a:lstStyle/>
                    <a:p>
                      <a:r>
                        <a:rPr lang="en-GB" sz="1600" noProof="0">
                          <a:solidFill>
                            <a:srgbClr val="FF0000"/>
                          </a:solidFill>
                        </a:rPr>
                        <a:t>We will configure the Data Quality Rules available in Datasphere for the assets of one business area and up to 10 unique assets with up to 10 rules per asset.</a:t>
                      </a:r>
                    </a:p>
                  </a:txBody>
                  <a:tcPr anchor="ctr"/>
                </a:tc>
                <a:tc>
                  <a:txBody>
                    <a:bodyPr/>
                    <a:lstStyle/>
                    <a:p>
                      <a:r>
                        <a:rPr lang="en-GB" sz="1600" noProof="0"/>
                        <a:t>2 weeks</a:t>
                      </a:r>
                    </a:p>
                  </a:txBody>
                  <a:tcPr anchor="ctr"/>
                </a:tc>
                <a:extLst>
                  <a:ext uri="{0D108BD9-81ED-4DB2-BD59-A6C34878D82A}">
                    <a16:rowId xmlns:a16="http://schemas.microsoft.com/office/drawing/2014/main" val="1661288958"/>
                  </a:ext>
                </a:extLst>
              </a:tr>
              <a:tr h="874973">
                <a:tc>
                  <a:txBody>
                    <a:bodyPr/>
                    <a:lstStyle/>
                    <a:p>
                      <a:r>
                        <a:rPr lang="en-GB" sz="1600" noProof="0"/>
                        <a:t>7</a:t>
                      </a:r>
                    </a:p>
                  </a:txBody>
                  <a:tcPr anchor="ctr"/>
                </a:tc>
                <a:tc>
                  <a:txBody>
                    <a:bodyPr/>
                    <a:lstStyle/>
                    <a:p>
                      <a:r>
                        <a:rPr lang="en-GB" sz="1600" noProof="0"/>
                        <a:t>Quality Monitor</a:t>
                      </a:r>
                    </a:p>
                  </a:txBody>
                  <a:tcPr anchor="ctr"/>
                </a:tc>
                <a:tc>
                  <a:txBody>
                    <a:bodyPr/>
                    <a:lstStyle/>
                    <a:p>
                      <a:r>
                        <a:rPr lang="en-GB" sz="1600" noProof="0">
                          <a:solidFill>
                            <a:srgbClr val="FF0000"/>
                          </a:solidFill>
                        </a:rPr>
                        <a:t>We will configure the Data Quality Dashboard in SAC feeding from the data quality rules set up in the previous step.</a:t>
                      </a:r>
                    </a:p>
                  </a:txBody>
                  <a:tcPr anchor="ctr"/>
                </a:tc>
                <a:tc>
                  <a:txBody>
                    <a:bodyPr/>
                    <a:lstStyle/>
                    <a:p>
                      <a:r>
                        <a:rPr lang="en-GB" sz="1600" noProof="0"/>
                        <a:t>2 weeks</a:t>
                      </a:r>
                    </a:p>
                  </a:txBody>
                  <a:tcPr anchor="ctr"/>
                </a:tc>
                <a:extLst>
                  <a:ext uri="{0D108BD9-81ED-4DB2-BD59-A6C34878D82A}">
                    <a16:rowId xmlns:a16="http://schemas.microsoft.com/office/drawing/2014/main" val="55510929"/>
                  </a:ext>
                </a:extLst>
              </a:tr>
            </a:tbl>
          </a:graphicData>
        </a:graphic>
      </p:graphicFrame>
      <p:sp>
        <p:nvSpPr>
          <p:cNvPr id="3" name="Rectangle 57">
            <a:extLst>
              <a:ext uri="{FF2B5EF4-FFF2-40B4-BE49-F238E27FC236}">
                <a16:creationId xmlns:a16="http://schemas.microsoft.com/office/drawing/2014/main" id="{348123B1-D1D7-A6B5-9770-E64579FB9AEF}"/>
              </a:ext>
            </a:extLst>
          </p:cNvPr>
          <p:cNvSpPr>
            <a:spLocks noChangeArrowheads="1"/>
          </p:cNvSpPr>
          <p:nvPr/>
        </p:nvSpPr>
        <p:spPr bwMode="gray">
          <a:xfrm>
            <a:off x="226219" y="198916"/>
            <a:ext cx="9409394" cy="830942"/>
          </a:xfrm>
          <a:prstGeom prst="rect">
            <a:avLst/>
          </a:prstGeom>
          <a:noFill/>
          <a:ln w="9525">
            <a:noFill/>
            <a:miter lim="800000"/>
            <a:headEnd/>
            <a:tailEnd/>
          </a:ln>
          <a:effectLst/>
        </p:spPr>
        <p:txBody>
          <a:bodyPr wrap="square" lIns="91386" tIns="45693" rIns="91386" bIns="45693">
            <a:spAutoFit/>
          </a:bodyPr>
          <a:lstStyle/>
          <a:p>
            <a:pPr hangingPunct="1"/>
            <a:r>
              <a:rPr lang="en-GB" sz="3000" noProof="0">
                <a:solidFill>
                  <a:srgbClr val="00456E"/>
                </a:solidFill>
                <a:latin typeface="DM Sans Bold" pitchFamily="2" charset="0"/>
              </a:rPr>
              <a:t>	 </a:t>
            </a:r>
            <a:r>
              <a:rPr lang="en-GB" sz="4800" b="1" noProof="0">
                <a:solidFill>
                  <a:schemeClr val="tx1">
                    <a:lumMod val="95000"/>
                    <a:lumOff val="5000"/>
                  </a:schemeClr>
                </a:solidFill>
                <a:latin typeface="Quattrocento Sans" panose="020B0502050000020003" pitchFamily="34" charset="0"/>
                <a:ea typeface="Lato"/>
                <a:cs typeface="Lato"/>
              </a:rPr>
              <a:t>Datasphere Data Quality</a:t>
            </a:r>
          </a:p>
        </p:txBody>
      </p:sp>
      <p:pic>
        <p:nvPicPr>
          <p:cNvPr id="4" name="Picture 6" descr="SAP Datasphere. Evolución desde SAP BW y SAP BW/4HANA. - ABAST">
            <a:extLst>
              <a:ext uri="{FF2B5EF4-FFF2-40B4-BE49-F238E27FC236}">
                <a16:creationId xmlns:a16="http://schemas.microsoft.com/office/drawing/2014/main" id="{FE7BC6C4-F8A4-273C-A8F8-BC57C56D9C3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9443" b="18729"/>
          <a:stretch/>
        </p:blipFill>
        <p:spPr bwMode="auto">
          <a:xfrm>
            <a:off x="341700" y="404530"/>
            <a:ext cx="1002325" cy="4197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252987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9" name="Rectangle 57">
            <a:extLst>
              <a:ext uri="{FF2B5EF4-FFF2-40B4-BE49-F238E27FC236}">
                <a16:creationId xmlns:a16="http://schemas.microsoft.com/office/drawing/2014/main" id="{DDE3898B-D814-64F3-BD8C-50FF6C938DBD}"/>
              </a:ext>
            </a:extLst>
          </p:cNvPr>
          <p:cNvSpPr>
            <a:spLocks noChangeArrowheads="1"/>
          </p:cNvSpPr>
          <p:nvPr/>
        </p:nvSpPr>
        <p:spPr bwMode="gray">
          <a:xfrm>
            <a:off x="2861535" y="355058"/>
            <a:ext cx="615335" cy="553943"/>
          </a:xfrm>
          <a:prstGeom prst="rect">
            <a:avLst/>
          </a:prstGeom>
          <a:noFill/>
          <a:ln w="9525">
            <a:noFill/>
            <a:miter lim="800000"/>
            <a:headEnd/>
            <a:tailEnd/>
          </a:ln>
          <a:effectLst/>
        </p:spPr>
        <p:txBody>
          <a:bodyPr wrap="square" lIns="91386" tIns="45693" rIns="91386" bIns="45693">
            <a:spAutoFit/>
          </a:bodyPr>
          <a:lstStyle/>
          <a:p>
            <a:pPr algn="ctr" defTabSz="609630"/>
            <a:r>
              <a:rPr lang="en-GB" sz="3000" kern="0" noProof="0">
                <a:solidFill>
                  <a:srgbClr val="595959"/>
                </a:solidFill>
                <a:latin typeface="DM Sans Bold" pitchFamily="2" charset="0"/>
                <a:cs typeface="Calibri"/>
                <a:sym typeface="Calibri"/>
              </a:rPr>
              <a:t>+</a:t>
            </a:r>
            <a:endParaRPr lang="en-GB" kern="0" noProof="0">
              <a:solidFill>
                <a:srgbClr val="91ACB9"/>
              </a:solidFill>
              <a:latin typeface="DM Sans" pitchFamily="2" charset="0"/>
              <a:cs typeface="Calibri"/>
              <a:sym typeface="Calibri"/>
            </a:endParaRPr>
          </a:p>
        </p:txBody>
      </p:sp>
      <p:sp>
        <p:nvSpPr>
          <p:cNvPr id="2065" name="CuadroTexto 2064">
            <a:extLst>
              <a:ext uri="{FF2B5EF4-FFF2-40B4-BE49-F238E27FC236}">
                <a16:creationId xmlns:a16="http://schemas.microsoft.com/office/drawing/2014/main" id="{7FBD72B9-2FB5-6380-160D-214255BA2248}"/>
              </a:ext>
            </a:extLst>
          </p:cNvPr>
          <p:cNvSpPr txBox="1"/>
          <p:nvPr/>
        </p:nvSpPr>
        <p:spPr>
          <a:xfrm>
            <a:off x="440282" y="991835"/>
            <a:ext cx="10646236" cy="738664"/>
          </a:xfrm>
          <a:prstGeom prst="rect">
            <a:avLst/>
          </a:prstGeom>
          <a:noFill/>
        </p:spPr>
        <p:txBody>
          <a:bodyPr wrap="square">
            <a:spAutoFit/>
          </a:bodyPr>
          <a:lstStyle/>
          <a:p>
            <a:pPr marL="285764" indent="-285764" defTabSz="609630" hangingPunct="0">
              <a:buFont typeface="Arial" panose="020B0604020202020204" pitchFamily="34" charset="0"/>
              <a:buChar char="•"/>
            </a:pPr>
            <a:r>
              <a:rPr lang="en-GB" sz="1400" kern="0" noProof="0">
                <a:solidFill>
                  <a:srgbClr val="111111"/>
                </a:solidFill>
                <a:latin typeface="Quattrocento Sans" panose="020B0502050000020003" pitchFamily="34" charset="0"/>
                <a:cs typeface="Calibri"/>
                <a:sym typeface="Calibri"/>
              </a:rPr>
              <a:t>Essential for collaboration and democratization of data. It enables users to discover, understand, and prepare business data. 
Improve productivity by building trust in metadata through consistent data quality and governance. 
Users can search and filter data, view asset lineage and details, enrich and classify assets, and share them with other users.</a:t>
            </a:r>
          </a:p>
        </p:txBody>
      </p:sp>
      <p:pic>
        <p:nvPicPr>
          <p:cNvPr id="2066" name="Picture 2">
            <a:extLst>
              <a:ext uri="{FF2B5EF4-FFF2-40B4-BE49-F238E27FC236}">
                <a16:creationId xmlns:a16="http://schemas.microsoft.com/office/drawing/2014/main" id="{ABBD4FF6-529C-1960-C8A9-E8252DBE8B41}"/>
              </a:ext>
            </a:extLst>
          </p:cNvPr>
          <p:cNvPicPr>
            <a:picLocks noChangeAspect="1" noChangeArrowheads="1"/>
          </p:cNvPicPr>
          <p:nvPr/>
        </p:nvPicPr>
        <p:blipFill>
          <a:blip r:embed="rId4" cstate="print">
            <a:clrChange>
              <a:clrFrom>
                <a:srgbClr val="FFFFFF"/>
              </a:clrFrom>
              <a:clrTo>
                <a:srgbClr val="FFFFFF">
                  <a:alpha val="0"/>
                </a:srgbClr>
              </a:clrTo>
            </a:clrChange>
            <a:alphaModFix amt="5000"/>
            <a:extLst>
              <a:ext uri="{28A0092B-C50C-407E-A947-70E740481C1C}">
                <a14:useLocalDpi xmlns:a14="http://schemas.microsoft.com/office/drawing/2010/main" val="0"/>
              </a:ext>
            </a:extLst>
          </a:blip>
          <a:srcRect/>
          <a:stretch>
            <a:fillRect/>
          </a:stretch>
        </p:blipFill>
        <p:spPr bwMode="auto">
          <a:xfrm>
            <a:off x="1339586" y="3702110"/>
            <a:ext cx="3011310" cy="3011310"/>
          </a:xfrm>
          <a:prstGeom prst="rect">
            <a:avLst/>
          </a:prstGeom>
          <a:noFill/>
          <a:extLst>
            <a:ext uri="{909E8E84-426E-40DD-AFC4-6F175D3DCCD1}">
              <a14:hiddenFill xmlns:a14="http://schemas.microsoft.com/office/drawing/2010/main">
                <a:solidFill>
                  <a:srgbClr val="FFFFFF"/>
                </a:solidFill>
              </a14:hiddenFill>
            </a:ext>
          </a:extLst>
        </p:spPr>
      </p:pic>
      <p:pic>
        <p:nvPicPr>
          <p:cNvPr id="2067" name="Imagen 2066">
            <a:extLst>
              <a:ext uri="{FF2B5EF4-FFF2-40B4-BE49-F238E27FC236}">
                <a16:creationId xmlns:a16="http://schemas.microsoft.com/office/drawing/2014/main" id="{FFA9DB7B-1E1F-C6E3-6A4C-B117E008D494}"/>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1687694" y="4034614"/>
            <a:ext cx="2346302" cy="2346302"/>
          </a:xfrm>
          <a:prstGeom prst="rect">
            <a:avLst/>
          </a:prstGeom>
        </p:spPr>
      </p:pic>
      <p:sp>
        <p:nvSpPr>
          <p:cNvPr id="2068" name="Rectangle 152">
            <a:extLst>
              <a:ext uri="{FF2B5EF4-FFF2-40B4-BE49-F238E27FC236}">
                <a16:creationId xmlns:a16="http://schemas.microsoft.com/office/drawing/2014/main" id="{A1E3EA4C-3DF7-9340-099A-A87644086554}"/>
              </a:ext>
            </a:extLst>
          </p:cNvPr>
          <p:cNvSpPr/>
          <p:nvPr/>
        </p:nvSpPr>
        <p:spPr>
          <a:xfrm>
            <a:off x="1272807" y="2568660"/>
            <a:ext cx="3541512" cy="615553"/>
          </a:xfrm>
          <a:prstGeom prst="rect">
            <a:avLst/>
          </a:prstGeom>
          <a:noFill/>
        </p:spPr>
        <p:txBody>
          <a:bodyPr wrap="square">
            <a:spAutoFit/>
          </a:bodyPr>
          <a:lstStyle/>
          <a:p>
            <a:pPr defTabSz="609630" hangingPunct="0">
              <a:spcBef>
                <a:spcPts val="386"/>
              </a:spcBef>
            </a:pPr>
            <a:r>
              <a:rPr lang="en-GB" sz="1100" b="1" kern="0" noProof="0">
                <a:solidFill>
                  <a:srgbClr val="A7A7A7"/>
                </a:solidFill>
                <a:latin typeface="Quattrocento Sans" panose="020B0502050000020003" pitchFamily="34" charset="0"/>
                <a:cs typeface="Calibri"/>
                <a:sym typeface="Calibri"/>
              </a:rPr>
              <a:t>Organize</a:t>
            </a:r>
          </a:p>
          <a:p>
            <a:pPr defTabSz="609630" hangingPunct="0"/>
            <a:r>
              <a:rPr lang="en-GB" sz="1100" b="1" kern="0" noProof="0">
                <a:solidFill>
                  <a:srgbClr val="000000"/>
                </a:solidFill>
                <a:latin typeface="Quattrocento Sans" panose="020B0502050000020003" pitchFamily="34" charset="0"/>
                <a:cs typeface="Calibri"/>
                <a:sym typeface="Calibri"/>
              </a:rPr>
              <a:t>Sort, organize, and understand data</a:t>
            </a:r>
          </a:p>
          <a:p>
            <a:pPr defTabSz="609630" hangingPunct="0"/>
            <a:r>
              <a:rPr lang="en-GB" sz="1100" kern="0" noProof="0">
                <a:solidFill>
                  <a:srgbClr val="000000"/>
                </a:solidFill>
                <a:latin typeface="Quattrocento Sans" panose="020B0502050000020003" pitchFamily="34" charset="0"/>
                <a:cs typeface="Calibri"/>
                <a:sym typeface="Calibri"/>
              </a:rPr>
              <a:t>(</a:t>
            </a:r>
            <a:r>
              <a:rPr lang="en-GB" sz="1100" i="1" kern="0" noProof="0">
                <a:solidFill>
                  <a:srgbClr val="000000"/>
                </a:solidFill>
                <a:latin typeface="Quattrocento Sans" panose="020B0502050000020003" pitchFamily="34" charset="0"/>
                <a:cs typeface="Calibri"/>
                <a:sym typeface="Calibri"/>
              </a:rPr>
              <a:t>location, attributes, quality, lineage, sensitivity</a:t>
            </a:r>
            <a:r>
              <a:rPr lang="en-GB" sz="1200" kern="0" noProof="0">
                <a:solidFill>
                  <a:srgbClr val="000000"/>
                </a:solidFill>
                <a:latin typeface="Quattrocento Sans" panose="020B0502050000020003" pitchFamily="34" charset="0"/>
                <a:cs typeface="Calibri"/>
                <a:sym typeface="Calibri"/>
              </a:rPr>
              <a:t>)</a:t>
            </a:r>
          </a:p>
        </p:txBody>
      </p:sp>
      <p:sp>
        <p:nvSpPr>
          <p:cNvPr id="2069" name="Rectangle 156">
            <a:extLst>
              <a:ext uri="{FF2B5EF4-FFF2-40B4-BE49-F238E27FC236}">
                <a16:creationId xmlns:a16="http://schemas.microsoft.com/office/drawing/2014/main" id="{890B0E3C-685D-17B3-583B-7E37BC0BE1AE}"/>
              </a:ext>
            </a:extLst>
          </p:cNvPr>
          <p:cNvSpPr/>
          <p:nvPr/>
        </p:nvSpPr>
        <p:spPr>
          <a:xfrm>
            <a:off x="1272807" y="1833982"/>
            <a:ext cx="4259948" cy="600164"/>
          </a:xfrm>
          <a:prstGeom prst="rect">
            <a:avLst/>
          </a:prstGeom>
        </p:spPr>
        <p:txBody>
          <a:bodyPr wrap="square">
            <a:spAutoFit/>
          </a:bodyPr>
          <a:lstStyle/>
          <a:p>
            <a:pPr defTabSz="609630" hangingPunct="0">
              <a:spcBef>
                <a:spcPts val="386"/>
              </a:spcBef>
            </a:pPr>
            <a:r>
              <a:rPr lang="en-GB" sz="1100" b="1" kern="0" noProof="0">
                <a:solidFill>
                  <a:srgbClr val="A7A7A7"/>
                </a:solidFill>
                <a:latin typeface="Quattrocento Sans" panose="020B0502050000020003" pitchFamily="34" charset="0"/>
                <a:cs typeface="Calibri"/>
                <a:sym typeface="Calibri"/>
              </a:rPr>
              <a:t>Discover</a:t>
            </a:r>
          </a:p>
          <a:p>
            <a:pPr defTabSz="609630" hangingPunct="0"/>
            <a:r>
              <a:rPr lang="en-GB" sz="1100" b="1" kern="0" noProof="0">
                <a:solidFill>
                  <a:srgbClr val="000000"/>
                </a:solidFill>
                <a:latin typeface="Quattrocento Sans" panose="020B0502050000020003" pitchFamily="34" charset="0"/>
                <a:cs typeface="Calibri"/>
                <a:sym typeface="Calibri"/>
              </a:rPr>
              <a:t>Discover data </a:t>
            </a:r>
            <a:r>
              <a:rPr lang="en-GB" sz="1100" kern="0" noProof="0">
                <a:solidFill>
                  <a:srgbClr val="000000"/>
                </a:solidFill>
                <a:latin typeface="Quattrocento Sans" panose="020B0502050000020003" pitchFamily="34" charset="0"/>
                <a:cs typeface="Calibri"/>
                <a:sym typeface="Calibri"/>
              </a:rPr>
              <a:t>(Track, profile, organize, link, and enrich) and create accessible data (</a:t>
            </a:r>
            <a:r>
              <a:rPr lang="en-GB" sz="1100" i="1" kern="0" noProof="0">
                <a:solidFill>
                  <a:srgbClr val="000000"/>
                </a:solidFill>
                <a:latin typeface="Quattrocento Sans" panose="020B0502050000020003" pitchFamily="34" charset="0"/>
                <a:cs typeface="Calibri"/>
                <a:sym typeface="Calibri"/>
              </a:rPr>
              <a:t>browse, search)</a:t>
            </a:r>
            <a:endParaRPr lang="en-GB" sz="1100" kern="0" noProof="0">
              <a:solidFill>
                <a:srgbClr val="000000"/>
              </a:solidFill>
              <a:latin typeface="Quattrocento Sans" panose="020B0502050000020003" pitchFamily="34" charset="0"/>
              <a:cs typeface="Calibri"/>
              <a:sym typeface="Calibri"/>
            </a:endParaRPr>
          </a:p>
        </p:txBody>
      </p:sp>
      <p:sp>
        <p:nvSpPr>
          <p:cNvPr id="2070" name="Rectangle 14">
            <a:extLst>
              <a:ext uri="{FF2B5EF4-FFF2-40B4-BE49-F238E27FC236}">
                <a16:creationId xmlns:a16="http://schemas.microsoft.com/office/drawing/2014/main" id="{5461F4C0-6004-7EDD-DAFB-5F9637EE5ED6}"/>
              </a:ext>
            </a:extLst>
          </p:cNvPr>
          <p:cNvSpPr/>
          <p:nvPr/>
        </p:nvSpPr>
        <p:spPr>
          <a:xfrm>
            <a:off x="1254956" y="3235509"/>
            <a:ext cx="4244153" cy="622543"/>
          </a:xfrm>
          <a:prstGeom prst="rect">
            <a:avLst/>
          </a:prstGeom>
          <a:noFill/>
        </p:spPr>
        <p:txBody>
          <a:bodyPr wrap="square">
            <a:spAutoFit/>
          </a:bodyPr>
          <a:lstStyle/>
          <a:p>
            <a:pPr marL="7346" defTabSz="609630" hangingPunct="0">
              <a:lnSpc>
                <a:spcPts val="1859"/>
              </a:lnSpc>
              <a:spcBef>
                <a:spcPts val="386"/>
              </a:spcBef>
            </a:pPr>
            <a:r>
              <a:rPr lang="en-GB" sz="1100" b="1" kern="0" noProof="0">
                <a:solidFill>
                  <a:srgbClr val="A7A7A7"/>
                </a:solidFill>
                <a:latin typeface="Quattrocento Sans" panose="020B0502050000020003" pitchFamily="34" charset="0"/>
                <a:cs typeface="Calibri"/>
                <a:sym typeface="Calibri"/>
              </a:rPr>
              <a:t>Control</a:t>
            </a:r>
          </a:p>
          <a:p>
            <a:pPr defTabSz="609630" hangingPunct="0">
              <a:lnSpc>
                <a:spcPts val="1100"/>
              </a:lnSpc>
            </a:pPr>
            <a:r>
              <a:rPr lang="en-GB" sz="1100" kern="0" noProof="0">
                <a:solidFill>
                  <a:srgbClr val="000000"/>
                </a:solidFill>
                <a:latin typeface="Quattrocento Sans" panose="020B0502050000020003" pitchFamily="34" charset="0"/>
                <a:cs typeface="Calibri"/>
                <a:sym typeface="Calibri"/>
              </a:rPr>
              <a:t>Apply </a:t>
            </a:r>
            <a:r>
              <a:rPr lang="en-GB" sz="1100" b="1" kern="0" noProof="0">
                <a:solidFill>
                  <a:srgbClr val="000000"/>
                </a:solidFill>
                <a:latin typeface="Quattrocento Sans" panose="020B0502050000020003" pitchFamily="34" charset="0"/>
                <a:cs typeface="Calibri"/>
                <a:sym typeface="Calibri"/>
              </a:rPr>
              <a:t>centralized authorization and security </a:t>
            </a:r>
            <a:r>
              <a:rPr lang="en-GB" sz="1100" kern="0" noProof="0">
                <a:solidFill>
                  <a:srgbClr val="000000"/>
                </a:solidFill>
                <a:latin typeface="Quattrocento Sans" panose="020B0502050000020003" pitchFamily="34" charset="0"/>
                <a:cs typeface="Calibri"/>
                <a:sym typeface="Calibri"/>
              </a:rPr>
              <a:t>for orchestration and control of data quality standards</a:t>
            </a:r>
            <a:endParaRPr lang="en-GB" sz="1100" b="1" kern="0" noProof="0">
              <a:solidFill>
                <a:srgbClr val="000000"/>
              </a:solidFill>
              <a:latin typeface="Quattrocento Sans" panose="020B0502050000020003" pitchFamily="34" charset="0"/>
              <a:cs typeface="Calibri"/>
              <a:sym typeface="Calibri"/>
            </a:endParaRPr>
          </a:p>
        </p:txBody>
      </p:sp>
      <p:sp>
        <p:nvSpPr>
          <p:cNvPr id="2071" name="Oval 84">
            <a:extLst>
              <a:ext uri="{FF2B5EF4-FFF2-40B4-BE49-F238E27FC236}">
                <a16:creationId xmlns:a16="http://schemas.microsoft.com/office/drawing/2014/main" id="{C2FF2F87-A65F-947D-3B95-F31A80FD8353}"/>
              </a:ext>
            </a:extLst>
          </p:cNvPr>
          <p:cNvSpPr>
            <a:spLocks noChangeAspect="1"/>
          </p:cNvSpPr>
          <p:nvPr/>
        </p:nvSpPr>
        <p:spPr bwMode="gray">
          <a:xfrm>
            <a:off x="624267" y="2642208"/>
            <a:ext cx="577522" cy="577522"/>
          </a:xfrm>
          <a:prstGeom prst="ellipse">
            <a:avLst/>
          </a:prstGeom>
          <a:solidFill>
            <a:schemeClr val="bg1"/>
          </a:solidFill>
          <a:ln>
            <a:noFill/>
            <a:headEnd type="none" w="med" len="med"/>
            <a:tailEnd type="none" w="med" len="med"/>
          </a:ln>
          <a:effectLst>
            <a:outerShdw blurRad="508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239" fontAlgn="base" hangingPunct="0">
              <a:lnSpc>
                <a:spcPct val="90000"/>
              </a:lnSpc>
              <a:spcBef>
                <a:spcPct val="0"/>
              </a:spcBef>
              <a:spcAft>
                <a:spcPct val="0"/>
              </a:spcAft>
            </a:pPr>
            <a:endParaRPr lang="en-GB" sz="1999" kern="0" noProof="0">
              <a:gradFill>
                <a:gsLst>
                  <a:gs pos="0">
                    <a:srgbClr val="FFFFFF"/>
                  </a:gs>
                  <a:gs pos="100000">
                    <a:srgbClr val="FFFFFF"/>
                  </a:gs>
                </a:gsLst>
                <a:lin ang="5400000" scaled="1"/>
              </a:gradFill>
              <a:latin typeface="Helvetica"/>
              <a:cs typeface="Segoe UI" pitchFamily="34" charset="0"/>
              <a:sym typeface="Calibri"/>
            </a:endParaRPr>
          </a:p>
        </p:txBody>
      </p:sp>
      <p:pic>
        <p:nvPicPr>
          <p:cNvPr id="2072" name="Picture 5">
            <a:extLst>
              <a:ext uri="{FF2B5EF4-FFF2-40B4-BE49-F238E27FC236}">
                <a16:creationId xmlns:a16="http://schemas.microsoft.com/office/drawing/2014/main" id="{462D5D0D-D25A-42DD-13FC-A3D3981AF1C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6264" y="2744869"/>
            <a:ext cx="520850" cy="389549"/>
          </a:xfrm>
          <a:prstGeom prst="rect">
            <a:avLst/>
          </a:prstGeom>
        </p:spPr>
      </p:pic>
      <p:sp>
        <p:nvSpPr>
          <p:cNvPr id="2073" name="Oval 81">
            <a:extLst>
              <a:ext uri="{FF2B5EF4-FFF2-40B4-BE49-F238E27FC236}">
                <a16:creationId xmlns:a16="http://schemas.microsoft.com/office/drawing/2014/main" id="{8D74ACE6-AD18-6505-55EB-C7AAAE7F3569}"/>
              </a:ext>
            </a:extLst>
          </p:cNvPr>
          <p:cNvSpPr>
            <a:spLocks noChangeAspect="1"/>
          </p:cNvSpPr>
          <p:nvPr/>
        </p:nvSpPr>
        <p:spPr bwMode="gray">
          <a:xfrm>
            <a:off x="624268" y="1921474"/>
            <a:ext cx="577521" cy="577521"/>
          </a:xfrm>
          <a:prstGeom prst="ellipse">
            <a:avLst/>
          </a:prstGeom>
          <a:solidFill>
            <a:schemeClr val="bg1"/>
          </a:solidFill>
          <a:ln>
            <a:noFill/>
            <a:headEnd type="none" w="med" len="med"/>
            <a:tailEnd type="none" w="med" len="med"/>
          </a:ln>
          <a:effectLst>
            <a:outerShdw blurRad="508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239" fontAlgn="base" hangingPunct="0">
              <a:lnSpc>
                <a:spcPct val="90000"/>
              </a:lnSpc>
              <a:spcBef>
                <a:spcPct val="0"/>
              </a:spcBef>
              <a:spcAft>
                <a:spcPct val="0"/>
              </a:spcAft>
            </a:pPr>
            <a:endParaRPr lang="en-GB" sz="1999" kern="0" noProof="0">
              <a:gradFill>
                <a:gsLst>
                  <a:gs pos="0">
                    <a:srgbClr val="FFFFFF"/>
                  </a:gs>
                  <a:gs pos="100000">
                    <a:srgbClr val="FFFFFF"/>
                  </a:gs>
                </a:gsLst>
                <a:lin ang="5400000" scaled="1"/>
              </a:gradFill>
              <a:latin typeface="Helvetica"/>
              <a:cs typeface="Segoe UI" pitchFamily="34" charset="0"/>
              <a:sym typeface="Calibri"/>
            </a:endParaRPr>
          </a:p>
        </p:txBody>
      </p:sp>
      <p:pic>
        <p:nvPicPr>
          <p:cNvPr id="2074" name="Picture 82">
            <a:extLst>
              <a:ext uri="{FF2B5EF4-FFF2-40B4-BE49-F238E27FC236}">
                <a16:creationId xmlns:a16="http://schemas.microsoft.com/office/drawing/2014/main" id="{375157E0-5BAD-F1DB-D828-2D9FD4414089}"/>
              </a:ext>
            </a:extLst>
          </p:cNvPr>
          <p:cNvPicPr>
            <a:picLocks noChangeAspect="1"/>
          </p:cNvPicPr>
          <p:nvPr>
            <p:custDataLst>
              <p:tags r:id="rId1"/>
            </p:custDataLst>
          </p:nvPr>
        </p:nvPicPr>
        <p:blipFill rotWithShape="1">
          <a:blip r:embed="rId7" cstate="email">
            <a:extLst>
              <a:ext uri="{28A0092B-C50C-407E-A947-70E740481C1C}">
                <a14:useLocalDpi xmlns:a14="http://schemas.microsoft.com/office/drawing/2010/main"/>
              </a:ext>
            </a:extLst>
          </a:blip>
          <a:srcRect/>
          <a:stretch/>
        </p:blipFill>
        <p:spPr>
          <a:xfrm>
            <a:off x="705115" y="2013256"/>
            <a:ext cx="415825" cy="415825"/>
          </a:xfrm>
          <a:prstGeom prst="rect">
            <a:avLst/>
          </a:prstGeom>
        </p:spPr>
      </p:pic>
      <p:sp>
        <p:nvSpPr>
          <p:cNvPr id="2075" name="Oval 83">
            <a:extLst>
              <a:ext uri="{FF2B5EF4-FFF2-40B4-BE49-F238E27FC236}">
                <a16:creationId xmlns:a16="http://schemas.microsoft.com/office/drawing/2014/main" id="{9105E089-EC40-B6DE-DF66-E0413F208DEC}"/>
              </a:ext>
            </a:extLst>
          </p:cNvPr>
          <p:cNvSpPr>
            <a:spLocks noChangeAspect="1"/>
          </p:cNvSpPr>
          <p:nvPr/>
        </p:nvSpPr>
        <p:spPr bwMode="gray">
          <a:xfrm>
            <a:off x="646263" y="3348920"/>
            <a:ext cx="618984" cy="618984"/>
          </a:xfrm>
          <a:prstGeom prst="ellipse">
            <a:avLst/>
          </a:prstGeom>
          <a:solidFill>
            <a:schemeClr val="bg1"/>
          </a:solidFill>
          <a:ln>
            <a:noFill/>
            <a:headEnd type="none" w="med" len="med"/>
            <a:tailEnd type="none" w="med" len="med"/>
          </a:ln>
          <a:effectLst>
            <a:outerShdw blurRad="508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239" fontAlgn="base" hangingPunct="0">
              <a:lnSpc>
                <a:spcPct val="90000"/>
              </a:lnSpc>
              <a:spcBef>
                <a:spcPct val="0"/>
              </a:spcBef>
              <a:spcAft>
                <a:spcPct val="0"/>
              </a:spcAft>
            </a:pPr>
            <a:endParaRPr lang="en-GB" sz="1999" kern="0" noProof="0">
              <a:gradFill>
                <a:gsLst>
                  <a:gs pos="0">
                    <a:srgbClr val="FFFFFF"/>
                  </a:gs>
                  <a:gs pos="100000">
                    <a:srgbClr val="FFFFFF"/>
                  </a:gs>
                </a:gsLst>
                <a:lin ang="5400000" scaled="1"/>
              </a:gradFill>
              <a:latin typeface="Helvetica"/>
              <a:cs typeface="Segoe UI" pitchFamily="34" charset="0"/>
              <a:sym typeface="Calibri"/>
            </a:endParaRPr>
          </a:p>
        </p:txBody>
      </p:sp>
      <p:pic>
        <p:nvPicPr>
          <p:cNvPr id="2076" name="Picture 7">
            <a:extLst>
              <a:ext uri="{FF2B5EF4-FFF2-40B4-BE49-F238E27FC236}">
                <a16:creationId xmlns:a16="http://schemas.microsoft.com/office/drawing/2014/main" id="{A13FC153-45F2-46E5-E46C-FD06F6E0441A}"/>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05115" y="3405298"/>
            <a:ext cx="468712" cy="468712"/>
          </a:xfrm>
          <a:prstGeom prst="rect">
            <a:avLst/>
          </a:prstGeom>
        </p:spPr>
      </p:pic>
      <p:grpSp>
        <p:nvGrpSpPr>
          <p:cNvPr id="2077" name="Group 8">
            <a:extLst>
              <a:ext uri="{FF2B5EF4-FFF2-40B4-BE49-F238E27FC236}">
                <a16:creationId xmlns:a16="http://schemas.microsoft.com/office/drawing/2014/main" id="{363A96B0-91F4-FC54-59FD-E0A4862B58E9}"/>
              </a:ext>
            </a:extLst>
          </p:cNvPr>
          <p:cNvGrpSpPr/>
          <p:nvPr/>
        </p:nvGrpSpPr>
        <p:grpSpPr>
          <a:xfrm>
            <a:off x="5532128" y="1962553"/>
            <a:ext cx="6571218" cy="4010702"/>
            <a:chOff x="4778930" y="2049243"/>
            <a:chExt cx="6571218" cy="4010702"/>
          </a:xfrm>
        </p:grpSpPr>
        <p:pic>
          <p:nvPicPr>
            <p:cNvPr id="2078" name="Picture 31">
              <a:extLst>
                <a:ext uri="{FF2B5EF4-FFF2-40B4-BE49-F238E27FC236}">
                  <a16:creationId xmlns:a16="http://schemas.microsoft.com/office/drawing/2014/main" id="{6D0E2E43-AA63-0AE1-1B29-474C10CC5196}"/>
                </a:ext>
              </a:extLst>
            </p:cNvPr>
            <p:cNvPicPr>
              <a:picLocks noChangeAspect="1"/>
            </p:cNvPicPr>
            <p:nvPr/>
          </p:nvPicPr>
          <p:blipFill>
            <a:blip r:embed="rId9">
              <a:alphaModFix amt="20000"/>
              <a:extLst>
                <a:ext uri="{28A0092B-C50C-407E-A947-70E740481C1C}">
                  <a14:useLocalDpi xmlns:a14="http://schemas.microsoft.com/office/drawing/2010/main"/>
                </a:ext>
              </a:extLst>
            </a:blip>
            <a:srcRect l="9801" t="5630" r="12618" b="14764"/>
            <a:stretch>
              <a:fillRect/>
            </a:stretch>
          </p:blipFill>
          <p:spPr>
            <a:xfrm>
              <a:off x="4778930" y="2049243"/>
              <a:ext cx="6266649" cy="4010702"/>
            </a:xfrm>
            <a:custGeom>
              <a:avLst/>
              <a:gdLst>
                <a:gd name="connsiteX0" fmla="*/ 1796625 w 5614387"/>
                <a:gd name="connsiteY0" fmla="*/ 0 h 3593250"/>
                <a:gd name="connsiteX1" fmla="*/ 2801136 w 5614387"/>
                <a:gd name="connsiteY1" fmla="*/ 306835 h 3593250"/>
                <a:gd name="connsiteX2" fmla="*/ 2807194 w 5614387"/>
                <a:gd name="connsiteY2" fmla="*/ 311366 h 3593250"/>
                <a:gd name="connsiteX3" fmla="*/ 2813252 w 5614387"/>
                <a:gd name="connsiteY3" fmla="*/ 306835 h 3593250"/>
                <a:gd name="connsiteX4" fmla="*/ 3817762 w 5614387"/>
                <a:gd name="connsiteY4" fmla="*/ 0 h 3593250"/>
                <a:gd name="connsiteX5" fmla="*/ 5614387 w 5614387"/>
                <a:gd name="connsiteY5" fmla="*/ 1796625 h 3593250"/>
                <a:gd name="connsiteX6" fmla="*/ 3817762 w 5614387"/>
                <a:gd name="connsiteY6" fmla="*/ 3593250 h 3593250"/>
                <a:gd name="connsiteX7" fmla="*/ 2813252 w 5614387"/>
                <a:gd name="connsiteY7" fmla="*/ 3286415 h 3593250"/>
                <a:gd name="connsiteX8" fmla="*/ 2807194 w 5614387"/>
                <a:gd name="connsiteY8" fmla="*/ 3281885 h 3593250"/>
                <a:gd name="connsiteX9" fmla="*/ 2801136 w 5614387"/>
                <a:gd name="connsiteY9" fmla="*/ 3286415 h 3593250"/>
                <a:gd name="connsiteX10" fmla="*/ 1796625 w 5614387"/>
                <a:gd name="connsiteY10" fmla="*/ 3593250 h 3593250"/>
                <a:gd name="connsiteX11" fmla="*/ 0 w 5614387"/>
                <a:gd name="connsiteY11" fmla="*/ 1796625 h 3593250"/>
                <a:gd name="connsiteX12" fmla="*/ 1796625 w 5614387"/>
                <a:gd name="connsiteY12" fmla="*/ 0 h 359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14387" h="3593250">
                  <a:moveTo>
                    <a:pt x="1796625" y="0"/>
                  </a:moveTo>
                  <a:cubicBezTo>
                    <a:pt x="2168719" y="0"/>
                    <a:pt x="2514392" y="113116"/>
                    <a:pt x="2801136" y="306835"/>
                  </a:cubicBezTo>
                  <a:lnTo>
                    <a:pt x="2807194" y="311366"/>
                  </a:lnTo>
                  <a:lnTo>
                    <a:pt x="2813252" y="306835"/>
                  </a:lnTo>
                  <a:cubicBezTo>
                    <a:pt x="3099995" y="113116"/>
                    <a:pt x="3445669" y="0"/>
                    <a:pt x="3817762" y="0"/>
                  </a:cubicBezTo>
                  <a:cubicBezTo>
                    <a:pt x="4810011" y="0"/>
                    <a:pt x="5614387" y="804376"/>
                    <a:pt x="5614387" y="1796625"/>
                  </a:cubicBezTo>
                  <a:cubicBezTo>
                    <a:pt x="5614387" y="2788874"/>
                    <a:pt x="4810011" y="3593250"/>
                    <a:pt x="3817762" y="3593250"/>
                  </a:cubicBezTo>
                  <a:cubicBezTo>
                    <a:pt x="3445669" y="3593250"/>
                    <a:pt x="3099995" y="3480135"/>
                    <a:pt x="2813252" y="3286415"/>
                  </a:cubicBezTo>
                  <a:lnTo>
                    <a:pt x="2807194" y="3281885"/>
                  </a:lnTo>
                  <a:lnTo>
                    <a:pt x="2801136" y="3286415"/>
                  </a:lnTo>
                  <a:cubicBezTo>
                    <a:pt x="2514392" y="3480135"/>
                    <a:pt x="2168719" y="3593250"/>
                    <a:pt x="1796625" y="3593250"/>
                  </a:cubicBezTo>
                  <a:cubicBezTo>
                    <a:pt x="804376" y="3593250"/>
                    <a:pt x="0" y="2788874"/>
                    <a:pt x="0" y="1796625"/>
                  </a:cubicBezTo>
                  <a:cubicBezTo>
                    <a:pt x="0" y="804376"/>
                    <a:pt x="804376" y="0"/>
                    <a:pt x="1796625" y="0"/>
                  </a:cubicBezTo>
                  <a:close/>
                </a:path>
              </a:pathLst>
            </a:custGeom>
          </p:spPr>
        </p:pic>
        <p:sp>
          <p:nvSpPr>
            <p:cNvPr id="2079" name="Freeform: Shape 20">
              <a:extLst>
                <a:ext uri="{FF2B5EF4-FFF2-40B4-BE49-F238E27FC236}">
                  <a16:creationId xmlns:a16="http://schemas.microsoft.com/office/drawing/2014/main" id="{0B5CC1C7-4EEA-1266-1D4E-DF3BED1254A7}"/>
                </a:ext>
              </a:extLst>
            </p:cNvPr>
            <p:cNvSpPr/>
            <p:nvPr/>
          </p:nvSpPr>
          <p:spPr bwMode="gray">
            <a:xfrm>
              <a:off x="4876263" y="2049243"/>
              <a:ext cx="6266649" cy="4010702"/>
            </a:xfrm>
            <a:custGeom>
              <a:avLst/>
              <a:gdLst>
                <a:gd name="connsiteX0" fmla="*/ 1796625 w 5614387"/>
                <a:gd name="connsiteY0" fmla="*/ 0 h 3593250"/>
                <a:gd name="connsiteX1" fmla="*/ 2801136 w 5614387"/>
                <a:gd name="connsiteY1" fmla="*/ 306835 h 3593250"/>
                <a:gd name="connsiteX2" fmla="*/ 2807194 w 5614387"/>
                <a:gd name="connsiteY2" fmla="*/ 311366 h 3593250"/>
                <a:gd name="connsiteX3" fmla="*/ 2813252 w 5614387"/>
                <a:gd name="connsiteY3" fmla="*/ 306835 h 3593250"/>
                <a:gd name="connsiteX4" fmla="*/ 3817762 w 5614387"/>
                <a:gd name="connsiteY4" fmla="*/ 0 h 3593250"/>
                <a:gd name="connsiteX5" fmla="*/ 5614387 w 5614387"/>
                <a:gd name="connsiteY5" fmla="*/ 1796625 h 3593250"/>
                <a:gd name="connsiteX6" fmla="*/ 3817762 w 5614387"/>
                <a:gd name="connsiteY6" fmla="*/ 3593250 h 3593250"/>
                <a:gd name="connsiteX7" fmla="*/ 2813252 w 5614387"/>
                <a:gd name="connsiteY7" fmla="*/ 3286415 h 3593250"/>
                <a:gd name="connsiteX8" fmla="*/ 2807194 w 5614387"/>
                <a:gd name="connsiteY8" fmla="*/ 3281885 h 3593250"/>
                <a:gd name="connsiteX9" fmla="*/ 2801136 w 5614387"/>
                <a:gd name="connsiteY9" fmla="*/ 3286415 h 3593250"/>
                <a:gd name="connsiteX10" fmla="*/ 1796625 w 5614387"/>
                <a:gd name="connsiteY10" fmla="*/ 3593250 h 3593250"/>
                <a:gd name="connsiteX11" fmla="*/ 0 w 5614387"/>
                <a:gd name="connsiteY11" fmla="*/ 1796625 h 3593250"/>
                <a:gd name="connsiteX12" fmla="*/ 1796625 w 5614387"/>
                <a:gd name="connsiteY12" fmla="*/ 0 h 359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14387" h="3593250">
                  <a:moveTo>
                    <a:pt x="1796625" y="0"/>
                  </a:moveTo>
                  <a:cubicBezTo>
                    <a:pt x="2168719" y="0"/>
                    <a:pt x="2514392" y="113116"/>
                    <a:pt x="2801136" y="306835"/>
                  </a:cubicBezTo>
                  <a:lnTo>
                    <a:pt x="2807194" y="311366"/>
                  </a:lnTo>
                  <a:lnTo>
                    <a:pt x="2813252" y="306835"/>
                  </a:lnTo>
                  <a:cubicBezTo>
                    <a:pt x="3099995" y="113116"/>
                    <a:pt x="3445669" y="0"/>
                    <a:pt x="3817762" y="0"/>
                  </a:cubicBezTo>
                  <a:cubicBezTo>
                    <a:pt x="4810011" y="0"/>
                    <a:pt x="5614387" y="804376"/>
                    <a:pt x="5614387" y="1796625"/>
                  </a:cubicBezTo>
                  <a:cubicBezTo>
                    <a:pt x="5614387" y="2788874"/>
                    <a:pt x="4810011" y="3593250"/>
                    <a:pt x="3817762" y="3593250"/>
                  </a:cubicBezTo>
                  <a:cubicBezTo>
                    <a:pt x="3445669" y="3593250"/>
                    <a:pt x="3099995" y="3480135"/>
                    <a:pt x="2813252" y="3286415"/>
                  </a:cubicBezTo>
                  <a:lnTo>
                    <a:pt x="2807194" y="3281885"/>
                  </a:lnTo>
                  <a:lnTo>
                    <a:pt x="2801136" y="3286415"/>
                  </a:lnTo>
                  <a:cubicBezTo>
                    <a:pt x="2514392" y="3480135"/>
                    <a:pt x="2168719" y="3593250"/>
                    <a:pt x="1796625" y="3593250"/>
                  </a:cubicBezTo>
                  <a:cubicBezTo>
                    <a:pt x="804376" y="3593250"/>
                    <a:pt x="0" y="2788874"/>
                    <a:pt x="0" y="1796625"/>
                  </a:cubicBezTo>
                  <a:cubicBezTo>
                    <a:pt x="0" y="804376"/>
                    <a:pt x="804376" y="0"/>
                    <a:pt x="1796625" y="0"/>
                  </a:cubicBezTo>
                  <a:close/>
                </a:path>
              </a:pathLst>
            </a:custGeom>
            <a:noFill/>
            <a:ln w="25400" algn="ctr">
              <a:gradFill>
                <a:gsLst>
                  <a:gs pos="0">
                    <a:srgbClr val="0076CB"/>
                  </a:gs>
                  <a:gs pos="100000">
                    <a:schemeClr val="accent3"/>
                  </a:gs>
                </a:gsLst>
                <a:lin ang="0" scaled="0"/>
              </a:gradFill>
              <a:miter lim="800000"/>
              <a:headEnd/>
              <a:tailEnd/>
            </a:ln>
          </p:spPr>
          <p:txBody>
            <a:bodyPr lIns="89931" tIns="71943" rIns="89931" bIns="71943" rtlCol="0" anchor="ctr"/>
            <a:lstStyle/>
            <a:p>
              <a:pPr algn="ctr" defTabSz="913624" fontAlgn="base" hangingPunct="0">
                <a:spcBef>
                  <a:spcPct val="50000"/>
                </a:spcBef>
                <a:spcAft>
                  <a:spcPct val="0"/>
                </a:spcAft>
                <a:buClr>
                  <a:srgbClr val="F0AB00"/>
                </a:buClr>
                <a:buSzPct val="80000"/>
                <a:defRPr/>
              </a:pPr>
              <a:endParaRPr lang="en-GB" sz="1797" kern="0" noProof="0">
                <a:solidFill>
                  <a:srgbClr val="FFFFFF"/>
                </a:solidFill>
                <a:latin typeface="Quattrocento Sans" panose="020B0502050000020003" pitchFamily="34" charset="0"/>
                <a:ea typeface="Arial Unicode MS" pitchFamily="34" charset="-128"/>
                <a:cs typeface="Arial Unicode MS" pitchFamily="34" charset="-128"/>
                <a:sym typeface="Calibri"/>
              </a:endParaRPr>
            </a:p>
          </p:txBody>
        </p:sp>
        <p:sp>
          <p:nvSpPr>
            <p:cNvPr id="2080" name="Freeform: Shape 29">
              <a:extLst>
                <a:ext uri="{FF2B5EF4-FFF2-40B4-BE49-F238E27FC236}">
                  <a16:creationId xmlns:a16="http://schemas.microsoft.com/office/drawing/2014/main" id="{2625DAB5-940A-FE99-7117-F109FB9F90E4}"/>
                </a:ext>
              </a:extLst>
            </p:cNvPr>
            <p:cNvSpPr/>
            <p:nvPr/>
          </p:nvSpPr>
          <p:spPr>
            <a:xfrm>
              <a:off x="7326489" y="2243525"/>
              <a:ext cx="3622144" cy="3622141"/>
            </a:xfrm>
            <a:custGeom>
              <a:avLst/>
              <a:gdLst>
                <a:gd name="connsiteX0" fmla="*/ 959777 w 959777"/>
                <a:gd name="connsiteY0" fmla="*/ 479889 h 959777"/>
                <a:gd name="connsiteX1" fmla="*/ 479888 w 959777"/>
                <a:gd name="connsiteY1" fmla="*/ 959777 h 959777"/>
                <a:gd name="connsiteX2" fmla="*/ 0 w 959777"/>
                <a:gd name="connsiteY2" fmla="*/ 479889 h 959777"/>
                <a:gd name="connsiteX3" fmla="*/ 479888 w 959777"/>
                <a:gd name="connsiteY3" fmla="*/ 0 h 959777"/>
                <a:gd name="connsiteX4" fmla="*/ 959777 w 959777"/>
                <a:gd name="connsiteY4" fmla="*/ 479889 h 959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9777" h="959777">
                  <a:moveTo>
                    <a:pt x="959777" y="479889"/>
                  </a:moveTo>
                  <a:cubicBezTo>
                    <a:pt x="959777" y="744924"/>
                    <a:pt x="744924" y="959777"/>
                    <a:pt x="479888" y="959777"/>
                  </a:cubicBezTo>
                  <a:cubicBezTo>
                    <a:pt x="214853" y="959777"/>
                    <a:pt x="0" y="744924"/>
                    <a:pt x="0" y="479889"/>
                  </a:cubicBezTo>
                  <a:cubicBezTo>
                    <a:pt x="0" y="214853"/>
                    <a:pt x="214853" y="0"/>
                    <a:pt x="479888" y="0"/>
                  </a:cubicBezTo>
                  <a:cubicBezTo>
                    <a:pt x="744924" y="0"/>
                    <a:pt x="959777" y="214853"/>
                    <a:pt x="959777" y="479889"/>
                  </a:cubicBezTo>
                  <a:close/>
                </a:path>
              </a:pathLst>
            </a:custGeom>
            <a:solidFill>
              <a:srgbClr val="0078D2">
                <a:alpha val="10000"/>
              </a:srgbClr>
            </a:solidFill>
            <a:ln w="18826" cap="flat">
              <a:noFill/>
              <a:prstDash val="solid"/>
              <a:miter/>
            </a:ln>
          </p:spPr>
          <p:txBody>
            <a:bodyPr rtlCol="0" anchor="ctr"/>
            <a:lstStyle/>
            <a:p>
              <a:pPr defTabSz="913624" hangingPunct="0">
                <a:defRPr/>
              </a:pPr>
              <a:endParaRPr lang="en-GB" sz="1797" kern="0" noProof="0">
                <a:solidFill>
                  <a:srgbClr val="FFFFFF"/>
                </a:solidFill>
                <a:latin typeface="Quattrocento Sans" panose="020B0502050000020003" pitchFamily="34" charset="0"/>
                <a:cs typeface="Calibri"/>
                <a:sym typeface="Calibri"/>
              </a:endParaRPr>
            </a:p>
          </p:txBody>
        </p:sp>
        <p:sp>
          <p:nvSpPr>
            <p:cNvPr id="2081" name="Freeform: Shape 30">
              <a:extLst>
                <a:ext uri="{FF2B5EF4-FFF2-40B4-BE49-F238E27FC236}">
                  <a16:creationId xmlns:a16="http://schemas.microsoft.com/office/drawing/2014/main" id="{95676775-727A-0C35-FAB7-8E7CF24C589C}"/>
                </a:ext>
              </a:extLst>
            </p:cNvPr>
            <p:cNvSpPr/>
            <p:nvPr/>
          </p:nvSpPr>
          <p:spPr>
            <a:xfrm>
              <a:off x="5070543" y="2243525"/>
              <a:ext cx="3622144" cy="3622141"/>
            </a:xfrm>
            <a:custGeom>
              <a:avLst/>
              <a:gdLst>
                <a:gd name="connsiteX0" fmla="*/ 959777 w 959777"/>
                <a:gd name="connsiteY0" fmla="*/ 479889 h 959777"/>
                <a:gd name="connsiteX1" fmla="*/ 479889 w 959777"/>
                <a:gd name="connsiteY1" fmla="*/ 959777 h 959777"/>
                <a:gd name="connsiteX2" fmla="*/ 0 w 959777"/>
                <a:gd name="connsiteY2" fmla="*/ 479889 h 959777"/>
                <a:gd name="connsiteX3" fmla="*/ 479889 w 959777"/>
                <a:gd name="connsiteY3" fmla="*/ 0 h 959777"/>
                <a:gd name="connsiteX4" fmla="*/ 959777 w 959777"/>
                <a:gd name="connsiteY4" fmla="*/ 479889 h 959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9777" h="959777">
                  <a:moveTo>
                    <a:pt x="959777" y="479889"/>
                  </a:moveTo>
                  <a:cubicBezTo>
                    <a:pt x="959777" y="744924"/>
                    <a:pt x="744924" y="959777"/>
                    <a:pt x="479889" y="959777"/>
                  </a:cubicBezTo>
                  <a:cubicBezTo>
                    <a:pt x="214853" y="959777"/>
                    <a:pt x="0" y="744924"/>
                    <a:pt x="0" y="479889"/>
                  </a:cubicBezTo>
                  <a:cubicBezTo>
                    <a:pt x="0" y="214853"/>
                    <a:pt x="214853" y="0"/>
                    <a:pt x="479889" y="0"/>
                  </a:cubicBezTo>
                  <a:cubicBezTo>
                    <a:pt x="744924" y="0"/>
                    <a:pt x="959777" y="214853"/>
                    <a:pt x="959777" y="479889"/>
                  </a:cubicBezTo>
                  <a:close/>
                </a:path>
              </a:pathLst>
            </a:custGeom>
            <a:solidFill>
              <a:srgbClr val="5C9A00">
                <a:alpha val="10000"/>
              </a:srgbClr>
            </a:solidFill>
            <a:ln w="18826" cap="flat">
              <a:noFill/>
              <a:prstDash val="solid"/>
              <a:miter/>
            </a:ln>
          </p:spPr>
          <p:txBody>
            <a:bodyPr rtlCol="0" anchor="ctr"/>
            <a:lstStyle/>
            <a:p>
              <a:pPr defTabSz="913624" hangingPunct="0">
                <a:defRPr/>
              </a:pPr>
              <a:endParaRPr lang="en-GB" sz="1797" kern="0" noProof="0">
                <a:solidFill>
                  <a:srgbClr val="FFFFFF"/>
                </a:solidFill>
                <a:latin typeface="Quattrocento Sans" panose="020B0502050000020003" pitchFamily="34" charset="0"/>
                <a:cs typeface="Calibri"/>
                <a:sym typeface="Calibri"/>
              </a:endParaRPr>
            </a:p>
          </p:txBody>
        </p:sp>
        <p:pic>
          <p:nvPicPr>
            <p:cNvPr id="2082" name="Picture 2">
              <a:extLst>
                <a:ext uri="{FF2B5EF4-FFF2-40B4-BE49-F238E27FC236}">
                  <a16:creationId xmlns:a16="http://schemas.microsoft.com/office/drawing/2014/main" id="{2DBA86A9-9B7F-A7E8-566A-6E72BD69A65B}"/>
                </a:ext>
              </a:extLst>
            </p:cNvPr>
            <p:cNvPicPr>
              <a:picLocks noChangeAspect="1"/>
            </p:cNvPicPr>
            <p:nvPr/>
          </p:nvPicPr>
          <p:blipFill>
            <a:blip r:embed="rId10"/>
            <a:stretch>
              <a:fillRect/>
            </a:stretch>
          </p:blipFill>
          <p:spPr>
            <a:xfrm>
              <a:off x="8858446" y="3871037"/>
              <a:ext cx="779155" cy="385926"/>
            </a:xfrm>
            <a:prstGeom prst="rect">
              <a:avLst/>
            </a:prstGeom>
          </p:spPr>
        </p:pic>
        <p:grpSp>
          <p:nvGrpSpPr>
            <p:cNvPr id="2084" name="Group 39">
              <a:extLst>
                <a:ext uri="{FF2B5EF4-FFF2-40B4-BE49-F238E27FC236}">
                  <a16:creationId xmlns:a16="http://schemas.microsoft.com/office/drawing/2014/main" id="{037E1ABB-D619-E0B0-1181-BF4ACE014C6C}"/>
                </a:ext>
              </a:extLst>
            </p:cNvPr>
            <p:cNvGrpSpPr>
              <a:grpSpLocks/>
            </p:cNvGrpSpPr>
            <p:nvPr/>
          </p:nvGrpSpPr>
          <p:grpSpPr>
            <a:xfrm>
              <a:off x="8509884" y="2668743"/>
              <a:ext cx="2840264" cy="3060284"/>
              <a:chOff x="6630801" y="2297982"/>
              <a:chExt cx="2543311" cy="2740328"/>
            </a:xfrm>
          </p:grpSpPr>
          <p:sp>
            <p:nvSpPr>
              <p:cNvPr id="2099" name="TextBox 17">
                <a:extLst>
                  <a:ext uri="{FF2B5EF4-FFF2-40B4-BE49-F238E27FC236}">
                    <a16:creationId xmlns:a16="http://schemas.microsoft.com/office/drawing/2014/main" id="{8747A949-A58D-C162-7F86-0955BF2E88CB}"/>
                  </a:ext>
                </a:extLst>
              </p:cNvPr>
              <p:cNvSpPr txBox="1">
                <a:spLocks/>
              </p:cNvSpPr>
              <p:nvPr/>
            </p:nvSpPr>
            <p:spPr>
              <a:xfrm>
                <a:off x="6630801" y="4886731"/>
                <a:ext cx="1773620" cy="151579"/>
              </a:xfrm>
              <a:prstGeom prst="rect">
                <a:avLst/>
              </a:prstGeom>
              <a:noFill/>
            </p:spPr>
            <p:txBody>
              <a:bodyPr wrap="square" lIns="0" tIns="0" rIns="0" bIns="0" rtlCol="0">
                <a:spAutoFit/>
              </a:bodyPr>
              <a:lstStyle/>
              <a:p>
                <a:pPr defTabSz="609630" fontAlgn="base" hangingPunct="0">
                  <a:spcBef>
                    <a:spcPct val="50000"/>
                  </a:spcBef>
                  <a:spcAft>
                    <a:spcPct val="0"/>
                  </a:spcAft>
                  <a:buClr>
                    <a:srgbClr val="F0AB00"/>
                  </a:buClr>
                  <a:buSzPct val="80000"/>
                </a:pPr>
                <a:r>
                  <a:rPr lang="en-GB" sz="1100" b="1" i="1" kern="0" noProof="0">
                    <a:solidFill>
                      <a:srgbClr val="FFFFFF">
                        <a:lumMod val="50000"/>
                      </a:srgbClr>
                    </a:solidFill>
                    <a:latin typeface="Quattrocento Sans" panose="020B0502050000020003" pitchFamily="34" charset="0"/>
                    <a:ea typeface="Arial Unicode MS" pitchFamily="34" charset="-128"/>
                    <a:cs typeface="Arial Unicode MS" pitchFamily="34" charset="-128"/>
                    <a:sym typeface="Calibri"/>
                  </a:rPr>
                  <a:t>SAP data landscape</a:t>
                </a:r>
              </a:p>
            </p:txBody>
          </p:sp>
          <p:sp>
            <p:nvSpPr>
              <p:cNvPr id="2100" name="TextBox 19">
                <a:extLst>
                  <a:ext uri="{FF2B5EF4-FFF2-40B4-BE49-F238E27FC236}">
                    <a16:creationId xmlns:a16="http://schemas.microsoft.com/office/drawing/2014/main" id="{569504CD-5CD0-C27F-D969-340AEAFEBA25}"/>
                  </a:ext>
                </a:extLst>
              </p:cNvPr>
              <p:cNvSpPr txBox="1"/>
              <p:nvPr/>
            </p:nvSpPr>
            <p:spPr>
              <a:xfrm>
                <a:off x="6661609" y="2297982"/>
                <a:ext cx="1742811" cy="151579"/>
              </a:xfrm>
              <a:prstGeom prst="rect">
                <a:avLst/>
              </a:prstGeom>
              <a:noFill/>
            </p:spPr>
            <p:txBody>
              <a:bodyPr wrap="square" lIns="0" tIns="0" rIns="0" bIns="0" rtlCol="0">
                <a:spAutoFit/>
              </a:bodyPr>
              <a:lstStyle/>
              <a:p>
                <a:pPr defTabSz="609630" fontAlgn="base" hangingPunct="0">
                  <a:spcBef>
                    <a:spcPct val="50000"/>
                  </a:spcBef>
                  <a:spcAft>
                    <a:spcPct val="0"/>
                  </a:spcAft>
                  <a:buClr>
                    <a:srgbClr val="F0AB00"/>
                  </a:buClr>
                  <a:buSzPct val="80000"/>
                </a:pPr>
                <a:r>
                  <a:rPr lang="en-GB" sz="1100" kern="0" noProof="0">
                    <a:solidFill>
                      <a:srgbClr val="000000"/>
                    </a:solidFill>
                    <a:latin typeface="Quattrocento Sans" panose="020B0502050000020003" pitchFamily="34" charset="0"/>
                    <a:ea typeface="Arial Unicode MS" pitchFamily="34" charset="-128"/>
                    <a:cs typeface="Arial Unicode MS" pitchFamily="34" charset="-128"/>
                    <a:sym typeface="Calibri"/>
                  </a:rPr>
                  <a:t>SAP Analytics Cloud*</a:t>
                </a:r>
              </a:p>
            </p:txBody>
          </p:sp>
          <p:sp>
            <p:nvSpPr>
              <p:cNvPr id="2101" name="TextBox 22">
                <a:extLst>
                  <a:ext uri="{FF2B5EF4-FFF2-40B4-BE49-F238E27FC236}">
                    <a16:creationId xmlns:a16="http://schemas.microsoft.com/office/drawing/2014/main" id="{A5B4F203-9DF1-ED0D-AF57-F8DC13D43675}"/>
                  </a:ext>
                </a:extLst>
              </p:cNvPr>
              <p:cNvSpPr txBox="1"/>
              <p:nvPr/>
            </p:nvSpPr>
            <p:spPr>
              <a:xfrm>
                <a:off x="6968460" y="2668863"/>
                <a:ext cx="1307020" cy="151579"/>
              </a:xfrm>
              <a:prstGeom prst="rect">
                <a:avLst/>
              </a:prstGeom>
              <a:noFill/>
            </p:spPr>
            <p:txBody>
              <a:bodyPr wrap="square" lIns="0" tIns="0" rIns="0" bIns="0" rtlCol="0">
                <a:spAutoFit/>
              </a:bodyPr>
              <a:lstStyle/>
              <a:p>
                <a:pPr defTabSz="609630" fontAlgn="base" hangingPunct="0">
                  <a:spcBef>
                    <a:spcPct val="50000"/>
                  </a:spcBef>
                  <a:spcAft>
                    <a:spcPct val="0"/>
                  </a:spcAft>
                  <a:buClr>
                    <a:srgbClr val="F0AB00"/>
                  </a:buClr>
                  <a:buSzPct val="80000"/>
                </a:pPr>
                <a:r>
                  <a:rPr lang="en-GB" sz="1100" kern="0" noProof="0">
                    <a:solidFill>
                      <a:srgbClr val="000000"/>
                    </a:solidFill>
                    <a:latin typeface="Quattrocento Sans" panose="020B0502050000020003" pitchFamily="34" charset="0"/>
                    <a:ea typeface="Arial Unicode MS" pitchFamily="34" charset="-128"/>
                    <a:cs typeface="Arial Unicode MS" pitchFamily="34" charset="-128"/>
                    <a:sym typeface="Calibri"/>
                  </a:rPr>
                  <a:t>SAP Datasphere**</a:t>
                </a:r>
              </a:p>
            </p:txBody>
          </p:sp>
          <p:sp>
            <p:nvSpPr>
              <p:cNvPr id="2102" name="TextBox 23">
                <a:extLst>
                  <a:ext uri="{FF2B5EF4-FFF2-40B4-BE49-F238E27FC236}">
                    <a16:creationId xmlns:a16="http://schemas.microsoft.com/office/drawing/2014/main" id="{B94C7F7D-8C00-E5F7-08F6-3BF4E5B3CC21}"/>
                  </a:ext>
                </a:extLst>
              </p:cNvPr>
              <p:cNvSpPr txBox="1"/>
              <p:nvPr/>
            </p:nvSpPr>
            <p:spPr>
              <a:xfrm>
                <a:off x="7235386" y="3039743"/>
                <a:ext cx="1307020" cy="151579"/>
              </a:xfrm>
              <a:prstGeom prst="rect">
                <a:avLst/>
              </a:prstGeom>
              <a:noFill/>
            </p:spPr>
            <p:txBody>
              <a:bodyPr wrap="square" lIns="0" tIns="0" rIns="0" bIns="0" rtlCol="0">
                <a:spAutoFit/>
              </a:bodyPr>
              <a:lstStyle/>
              <a:p>
                <a:pPr defTabSz="609630" fontAlgn="base" hangingPunct="0">
                  <a:spcBef>
                    <a:spcPct val="50000"/>
                  </a:spcBef>
                  <a:spcAft>
                    <a:spcPct val="0"/>
                  </a:spcAft>
                  <a:buClr>
                    <a:srgbClr val="F0AB00"/>
                  </a:buClr>
                  <a:buSzPct val="80000"/>
                </a:pPr>
                <a:r>
                  <a:rPr lang="en-GB" sz="1100" kern="0" noProof="0">
                    <a:solidFill>
                      <a:srgbClr val="000000"/>
                    </a:solidFill>
                    <a:latin typeface="Quattrocento Sans" panose="020B0502050000020003" pitchFamily="34" charset="0"/>
                    <a:ea typeface="Arial Unicode MS" pitchFamily="34" charset="-128"/>
                    <a:cs typeface="Arial Unicode MS" pitchFamily="34" charset="-128"/>
                    <a:sym typeface="Calibri"/>
                  </a:rPr>
                  <a:t>SAP BW4/HANA**</a:t>
                </a:r>
              </a:p>
            </p:txBody>
          </p:sp>
          <p:sp>
            <p:nvSpPr>
              <p:cNvPr id="2103" name="TextBox 24">
                <a:extLst>
                  <a:ext uri="{FF2B5EF4-FFF2-40B4-BE49-F238E27FC236}">
                    <a16:creationId xmlns:a16="http://schemas.microsoft.com/office/drawing/2014/main" id="{6B48333A-52AE-44F8-CC10-BEAB56067183}"/>
                  </a:ext>
                </a:extLst>
              </p:cNvPr>
              <p:cNvSpPr txBox="1"/>
              <p:nvPr/>
            </p:nvSpPr>
            <p:spPr>
              <a:xfrm>
                <a:off x="6848875" y="4341390"/>
                <a:ext cx="1307020" cy="151579"/>
              </a:xfrm>
              <a:prstGeom prst="rect">
                <a:avLst/>
              </a:prstGeom>
              <a:noFill/>
            </p:spPr>
            <p:txBody>
              <a:bodyPr wrap="square" lIns="0" tIns="0" rIns="0" bIns="0" rtlCol="0">
                <a:spAutoFit/>
              </a:bodyPr>
              <a:lstStyle/>
              <a:p>
                <a:pPr defTabSz="609630" fontAlgn="base" hangingPunct="0">
                  <a:spcBef>
                    <a:spcPct val="50000"/>
                  </a:spcBef>
                  <a:spcAft>
                    <a:spcPct val="0"/>
                  </a:spcAft>
                  <a:buClr>
                    <a:srgbClr val="F0AB00"/>
                  </a:buClr>
                  <a:buSzPct val="80000"/>
                </a:pPr>
                <a:r>
                  <a:rPr lang="en-GB" sz="1100" kern="0" noProof="0">
                    <a:solidFill>
                      <a:srgbClr val="000000"/>
                    </a:solidFill>
                    <a:latin typeface="Quattrocento Sans" panose="020B0502050000020003" pitchFamily="34" charset="0"/>
                    <a:ea typeface="Arial Unicode MS" pitchFamily="34" charset="-128"/>
                    <a:cs typeface="Arial Unicode MS" pitchFamily="34" charset="-128"/>
                    <a:sym typeface="Calibri"/>
                  </a:rPr>
                  <a:t>SAP S/4HANA**</a:t>
                </a:r>
              </a:p>
            </p:txBody>
          </p:sp>
          <p:sp>
            <p:nvSpPr>
              <p:cNvPr id="2104" name="TextBox 25">
                <a:extLst>
                  <a:ext uri="{FF2B5EF4-FFF2-40B4-BE49-F238E27FC236}">
                    <a16:creationId xmlns:a16="http://schemas.microsoft.com/office/drawing/2014/main" id="{7FAD9C95-EFD2-754E-1BFF-7666ED3E097A}"/>
                  </a:ext>
                </a:extLst>
              </p:cNvPr>
              <p:cNvSpPr txBox="1"/>
              <p:nvPr/>
            </p:nvSpPr>
            <p:spPr>
              <a:xfrm>
                <a:off x="7867092" y="3508331"/>
                <a:ext cx="1307020" cy="151579"/>
              </a:xfrm>
              <a:prstGeom prst="rect">
                <a:avLst/>
              </a:prstGeom>
              <a:noFill/>
            </p:spPr>
            <p:txBody>
              <a:bodyPr wrap="square" lIns="0" tIns="0" rIns="0" bIns="0" rtlCol="0">
                <a:spAutoFit/>
              </a:bodyPr>
              <a:lstStyle/>
              <a:p>
                <a:pPr defTabSz="609630" fontAlgn="base" hangingPunct="0">
                  <a:spcBef>
                    <a:spcPct val="50000"/>
                  </a:spcBef>
                  <a:spcAft>
                    <a:spcPct val="0"/>
                  </a:spcAft>
                  <a:buClr>
                    <a:srgbClr val="F0AB00"/>
                  </a:buClr>
                  <a:buSzPct val="80000"/>
                </a:pPr>
                <a:r>
                  <a:rPr lang="en-GB" sz="1100" kern="0" noProof="0">
                    <a:solidFill>
                      <a:srgbClr val="000000"/>
                    </a:solidFill>
                    <a:latin typeface="Quattrocento Sans" panose="020B0502050000020003" pitchFamily="34" charset="0"/>
                    <a:ea typeface="Arial Unicode MS" pitchFamily="34" charset="-128"/>
                    <a:cs typeface="Arial Unicode MS" pitchFamily="34" charset="-128"/>
                    <a:sym typeface="Calibri"/>
                  </a:rPr>
                  <a:t>SAP ECC*</a:t>
                </a:r>
              </a:p>
            </p:txBody>
          </p:sp>
          <p:sp>
            <p:nvSpPr>
              <p:cNvPr id="2105" name="TextBox 3">
                <a:extLst>
                  <a:ext uri="{FF2B5EF4-FFF2-40B4-BE49-F238E27FC236}">
                    <a16:creationId xmlns:a16="http://schemas.microsoft.com/office/drawing/2014/main" id="{95FC54C6-6933-9944-B162-83E96469066D}"/>
                  </a:ext>
                </a:extLst>
              </p:cNvPr>
              <p:cNvSpPr txBox="1"/>
              <p:nvPr/>
            </p:nvSpPr>
            <p:spPr>
              <a:xfrm>
                <a:off x="7291767" y="3954017"/>
                <a:ext cx="1307020" cy="151579"/>
              </a:xfrm>
              <a:prstGeom prst="rect">
                <a:avLst/>
              </a:prstGeom>
              <a:noFill/>
            </p:spPr>
            <p:txBody>
              <a:bodyPr wrap="square" lIns="0" tIns="0" rIns="0" bIns="0" rtlCol="0">
                <a:spAutoFit/>
              </a:bodyPr>
              <a:lstStyle/>
              <a:p>
                <a:pPr defTabSz="609630" fontAlgn="base" hangingPunct="0">
                  <a:spcBef>
                    <a:spcPct val="50000"/>
                  </a:spcBef>
                  <a:spcAft>
                    <a:spcPct val="0"/>
                  </a:spcAft>
                  <a:buClr>
                    <a:srgbClr val="F0AB00"/>
                  </a:buClr>
                  <a:buSzPct val="80000"/>
                </a:pPr>
                <a:r>
                  <a:rPr lang="en-GB" sz="1100" kern="0" noProof="0">
                    <a:solidFill>
                      <a:srgbClr val="000000"/>
                    </a:solidFill>
                    <a:latin typeface="Quattrocento Sans" panose="020B0502050000020003" pitchFamily="34" charset="0"/>
                    <a:ea typeface="Arial Unicode MS" pitchFamily="34" charset="-128"/>
                    <a:cs typeface="Arial Unicode MS" pitchFamily="34" charset="-128"/>
                    <a:sym typeface="Calibri"/>
                  </a:rPr>
                  <a:t>SAP HANA Cloud**</a:t>
                </a:r>
              </a:p>
            </p:txBody>
          </p:sp>
        </p:grpSp>
        <p:grpSp>
          <p:nvGrpSpPr>
            <p:cNvPr id="2085" name="Group 11">
              <a:extLst>
                <a:ext uri="{FF2B5EF4-FFF2-40B4-BE49-F238E27FC236}">
                  <a16:creationId xmlns:a16="http://schemas.microsoft.com/office/drawing/2014/main" id="{53127333-9B29-AA60-2597-417B8EB5986F}"/>
                </a:ext>
              </a:extLst>
            </p:cNvPr>
            <p:cNvGrpSpPr/>
            <p:nvPr/>
          </p:nvGrpSpPr>
          <p:grpSpPr>
            <a:xfrm>
              <a:off x="5323653" y="2275749"/>
              <a:ext cx="2605664" cy="3453279"/>
              <a:chOff x="3457144" y="1553982"/>
              <a:chExt cx="2605664" cy="3453279"/>
            </a:xfrm>
          </p:grpSpPr>
          <p:pic>
            <p:nvPicPr>
              <p:cNvPr id="2087" name="Picture 2" descr="Tableau Logo, symbol, meaning, history, PNG, brand">
                <a:extLst>
                  <a:ext uri="{FF2B5EF4-FFF2-40B4-BE49-F238E27FC236}">
                    <a16:creationId xmlns:a16="http://schemas.microsoft.com/office/drawing/2014/main" id="{6457098A-0921-471F-4198-F0B0DC12A814}"/>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799388" y="2205055"/>
                <a:ext cx="409613" cy="230405"/>
              </a:xfrm>
              <a:prstGeom prst="rect">
                <a:avLst/>
              </a:prstGeom>
              <a:noFill/>
              <a:extLst>
                <a:ext uri="{909E8E84-426E-40DD-AFC4-6F175D3DCCD1}">
                  <a14:hiddenFill xmlns:a14="http://schemas.microsoft.com/office/drawing/2010/main">
                    <a:solidFill>
                      <a:srgbClr val="FFFFFF"/>
                    </a:solidFill>
                  </a14:hiddenFill>
                </a:ext>
              </a:extLst>
            </p:spPr>
          </p:pic>
          <p:grpSp>
            <p:nvGrpSpPr>
              <p:cNvPr id="2088" name="Group 38">
                <a:extLst>
                  <a:ext uri="{FF2B5EF4-FFF2-40B4-BE49-F238E27FC236}">
                    <a16:creationId xmlns:a16="http://schemas.microsoft.com/office/drawing/2014/main" id="{B72C3E68-C39D-CB53-570F-32B7F8087C53}"/>
                  </a:ext>
                </a:extLst>
              </p:cNvPr>
              <p:cNvGrpSpPr/>
              <p:nvPr/>
            </p:nvGrpSpPr>
            <p:grpSpPr>
              <a:xfrm>
                <a:off x="3457144" y="1553982"/>
                <a:ext cx="2605664" cy="3453279"/>
                <a:chOff x="3777694" y="1950119"/>
                <a:chExt cx="2333239" cy="3092235"/>
              </a:xfrm>
            </p:grpSpPr>
            <p:pic>
              <p:nvPicPr>
                <p:cNvPr id="2089" name="Picture 10">
                  <a:extLst>
                    <a:ext uri="{FF2B5EF4-FFF2-40B4-BE49-F238E27FC236}">
                      <a16:creationId xmlns:a16="http://schemas.microsoft.com/office/drawing/2014/main" id="{2627DDEE-400C-05B3-9ABA-2AAB4AB8E496}"/>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161843" y="2110977"/>
                  <a:ext cx="408018" cy="117823"/>
                </a:xfrm>
                <a:prstGeom prst="rect">
                  <a:avLst/>
                </a:prstGeom>
                <a:noFill/>
                <a:extLst>
                  <a:ext uri="{909E8E84-426E-40DD-AFC4-6F175D3DCCD1}">
                    <a14:hiddenFill xmlns:a14="http://schemas.microsoft.com/office/drawing/2010/main">
                      <a:solidFill>
                        <a:srgbClr val="FFFFFF"/>
                      </a:solidFill>
                    </a14:hiddenFill>
                  </a:ext>
                </a:extLst>
              </p:spPr>
            </p:pic>
            <p:pic>
              <p:nvPicPr>
                <p:cNvPr id="2090" name="Picture 12" descr="Logo Google Cloud">
                  <a:extLst>
                    <a:ext uri="{FF2B5EF4-FFF2-40B4-BE49-F238E27FC236}">
                      <a16:creationId xmlns:a16="http://schemas.microsoft.com/office/drawing/2014/main" id="{70E273DD-C84F-C349-D04B-B3A5B57D464F}"/>
                    </a:ext>
                  </a:extLst>
                </p:cNvPr>
                <p:cNvPicPr>
                  <a:picLocks noChangeAspect="1" noChangeArrowheads="1"/>
                </p:cNvPicPr>
                <p:nvPr/>
              </p:nvPicPr>
              <p:blipFill rotWithShape="1">
                <a:blip r:embed="rId13">
                  <a:alphaModFix amt="84000"/>
                  <a:extLst>
                    <a:ext uri="{28A0092B-C50C-407E-A947-70E740481C1C}">
                      <a14:useLocalDpi xmlns:a14="http://schemas.microsoft.com/office/drawing/2010/main" val="0"/>
                    </a:ext>
                  </a:extLst>
                </a:blip>
                <a:srcRect/>
                <a:stretch/>
              </p:blipFill>
              <p:spPr bwMode="auto">
                <a:xfrm>
                  <a:off x="4450944" y="1950119"/>
                  <a:ext cx="654836" cy="741539"/>
                </a:xfrm>
                <a:prstGeom prst="rect">
                  <a:avLst/>
                </a:prstGeom>
                <a:noFill/>
                <a:extLst>
                  <a:ext uri="{909E8E84-426E-40DD-AFC4-6F175D3DCCD1}">
                    <a14:hiddenFill xmlns:a14="http://schemas.microsoft.com/office/drawing/2010/main">
                      <a:solidFill>
                        <a:srgbClr val="FFFFFF"/>
                      </a:solidFill>
                    </a14:hiddenFill>
                  </a:ext>
                </a:extLst>
              </p:spPr>
            </p:pic>
            <p:sp>
              <p:nvSpPr>
                <p:cNvPr id="2091" name="TextBox 16">
                  <a:extLst>
                    <a:ext uri="{FF2B5EF4-FFF2-40B4-BE49-F238E27FC236}">
                      <a16:creationId xmlns:a16="http://schemas.microsoft.com/office/drawing/2014/main" id="{9C839852-656E-AA34-84AB-D6C98D8A03D2}"/>
                    </a:ext>
                  </a:extLst>
                </p:cNvPr>
                <p:cNvSpPr txBox="1">
                  <a:spLocks/>
                </p:cNvSpPr>
                <p:nvPr/>
              </p:nvSpPr>
              <p:spPr>
                <a:xfrm>
                  <a:off x="4337313" y="4890775"/>
                  <a:ext cx="1773620" cy="151579"/>
                </a:xfrm>
                <a:prstGeom prst="rect">
                  <a:avLst/>
                </a:prstGeom>
                <a:noFill/>
              </p:spPr>
              <p:txBody>
                <a:bodyPr wrap="square" lIns="0" tIns="0" rIns="0" bIns="0" rtlCol="0">
                  <a:spAutoFit/>
                </a:bodyPr>
                <a:lstStyle/>
                <a:p>
                  <a:pPr defTabSz="609630" fontAlgn="base" hangingPunct="0">
                    <a:spcBef>
                      <a:spcPct val="50000"/>
                    </a:spcBef>
                    <a:spcAft>
                      <a:spcPct val="0"/>
                    </a:spcAft>
                    <a:buClr>
                      <a:srgbClr val="F0AB00"/>
                    </a:buClr>
                    <a:buSzPct val="80000"/>
                  </a:pPr>
                  <a:r>
                    <a:rPr lang="en-GB" sz="1100" b="1" i="1" kern="0" noProof="0">
                      <a:solidFill>
                        <a:srgbClr val="FFFFFF">
                          <a:lumMod val="50000"/>
                        </a:srgbClr>
                      </a:solidFill>
                      <a:latin typeface="Quattrocento Sans" panose="020B0502050000020003" pitchFamily="34" charset="0"/>
                      <a:ea typeface="Arial Unicode MS" pitchFamily="34" charset="-128"/>
                      <a:cs typeface="Arial Unicode MS" pitchFamily="34" charset="-128"/>
                      <a:sym typeface="Calibri"/>
                    </a:rPr>
                    <a:t>Non-SAP data landscape</a:t>
                  </a:r>
                </a:p>
              </p:txBody>
            </p:sp>
            <p:pic>
              <p:nvPicPr>
                <p:cNvPr id="2092" name="Picture 26">
                  <a:extLst>
                    <a:ext uri="{FF2B5EF4-FFF2-40B4-BE49-F238E27FC236}">
                      <a16:creationId xmlns:a16="http://schemas.microsoft.com/office/drawing/2014/main" id="{A3818A7C-6314-EBE7-89B2-7987A1787CF7}"/>
                    </a:ext>
                  </a:extLst>
                </p:cNvPr>
                <p:cNvPicPr>
                  <a:picLocks noChangeAspect="1"/>
                </p:cNvPicPr>
                <p:nvPr/>
              </p:nvPicPr>
              <p:blipFill>
                <a:blip r:embed="rId14">
                  <a:alphaModFix amt="74000"/>
                </a:blip>
                <a:srcRect/>
                <a:stretch/>
              </p:blipFill>
              <p:spPr>
                <a:xfrm>
                  <a:off x="4300323" y="2990927"/>
                  <a:ext cx="454556" cy="255563"/>
                </a:xfrm>
                <a:prstGeom prst="rect">
                  <a:avLst/>
                </a:prstGeom>
              </p:spPr>
            </p:pic>
            <p:pic>
              <p:nvPicPr>
                <p:cNvPr id="2093" name="Picture 27">
                  <a:extLst>
                    <a:ext uri="{FF2B5EF4-FFF2-40B4-BE49-F238E27FC236}">
                      <a16:creationId xmlns:a16="http://schemas.microsoft.com/office/drawing/2014/main" id="{BEEF08BC-A2B2-CF4F-12E0-4F9DCEA6A698}"/>
                    </a:ext>
                  </a:extLst>
                </p:cNvPr>
                <p:cNvPicPr>
                  <a:picLocks noChangeAspect="1"/>
                </p:cNvPicPr>
                <p:nvPr/>
              </p:nvPicPr>
              <p:blipFill>
                <a:blip r:embed="rId15">
                  <a:alphaModFix amt="56000"/>
                </a:blip>
                <a:stretch>
                  <a:fillRect/>
                </a:stretch>
              </p:blipFill>
              <p:spPr>
                <a:xfrm>
                  <a:off x="4664508" y="2632719"/>
                  <a:ext cx="777153" cy="122593"/>
                </a:xfrm>
                <a:prstGeom prst="rect">
                  <a:avLst/>
                </a:prstGeom>
              </p:spPr>
            </p:pic>
            <p:sp>
              <p:nvSpPr>
                <p:cNvPr id="2094" name="TextBox 6">
                  <a:extLst>
                    <a:ext uri="{FF2B5EF4-FFF2-40B4-BE49-F238E27FC236}">
                      <a16:creationId xmlns:a16="http://schemas.microsoft.com/office/drawing/2014/main" id="{F915B020-73B5-8CEE-0AA7-154DCB579EF7}"/>
                    </a:ext>
                  </a:extLst>
                </p:cNvPr>
                <p:cNvSpPr txBox="1">
                  <a:spLocks/>
                </p:cNvSpPr>
                <p:nvPr/>
              </p:nvSpPr>
              <p:spPr>
                <a:xfrm>
                  <a:off x="4176954" y="4059053"/>
                  <a:ext cx="1307020" cy="151579"/>
                </a:xfrm>
                <a:prstGeom prst="rect">
                  <a:avLst/>
                </a:prstGeom>
                <a:noFill/>
              </p:spPr>
              <p:txBody>
                <a:bodyPr wrap="square" lIns="0" tIns="0" rIns="0" bIns="0" rtlCol="0">
                  <a:spAutoFit/>
                </a:bodyPr>
                <a:lstStyle>
                  <a:defPPr>
                    <a:defRPr lang="en-US"/>
                  </a:defPPr>
                  <a:lvl1pPr fontAlgn="base">
                    <a:spcBef>
                      <a:spcPct val="50000"/>
                    </a:spcBef>
                    <a:spcAft>
                      <a:spcPct val="0"/>
                    </a:spcAft>
                    <a:buClr>
                      <a:srgbClr val="F0AB00"/>
                    </a:buClr>
                    <a:buSzPct val="80000"/>
                    <a:defRPr sz="1100" kern="0" baseline="30000">
                      <a:ea typeface="Arial Unicode MS" pitchFamily="34" charset="-128"/>
                      <a:cs typeface="Arial Unicode MS" pitchFamily="34" charset="-128"/>
                    </a:defRPr>
                  </a:lvl1pPr>
                </a:lstStyle>
                <a:p>
                  <a:pPr defTabSz="609630" hangingPunct="0"/>
                  <a:r>
                    <a:rPr lang="en-GB" baseline="0" noProof="0">
                      <a:solidFill>
                        <a:srgbClr val="000000"/>
                      </a:solidFill>
                      <a:latin typeface="Quattrocento Sans" panose="020B0502050000020003" pitchFamily="34" charset="0"/>
                      <a:sym typeface="Calibri"/>
                    </a:rPr>
                    <a:t>Cloud applications</a:t>
                  </a:r>
                </a:p>
              </p:txBody>
            </p:sp>
            <p:sp>
              <p:nvSpPr>
                <p:cNvPr id="2095" name="TextBox 7">
                  <a:extLst>
                    <a:ext uri="{FF2B5EF4-FFF2-40B4-BE49-F238E27FC236}">
                      <a16:creationId xmlns:a16="http://schemas.microsoft.com/office/drawing/2014/main" id="{341954F7-7E15-282B-2EB3-A4261FA215C0}"/>
                    </a:ext>
                  </a:extLst>
                </p:cNvPr>
                <p:cNvSpPr txBox="1">
                  <a:spLocks/>
                </p:cNvSpPr>
                <p:nvPr/>
              </p:nvSpPr>
              <p:spPr>
                <a:xfrm>
                  <a:off x="4541006" y="4417671"/>
                  <a:ext cx="1307020" cy="151579"/>
                </a:xfrm>
                <a:prstGeom prst="rect">
                  <a:avLst/>
                </a:prstGeom>
                <a:noFill/>
              </p:spPr>
              <p:txBody>
                <a:bodyPr wrap="square" lIns="0" tIns="0" rIns="0" bIns="0" rtlCol="0">
                  <a:spAutoFit/>
                </a:bodyPr>
                <a:lstStyle/>
                <a:p>
                  <a:pPr defTabSz="609630" fontAlgn="base" hangingPunct="0">
                    <a:spcBef>
                      <a:spcPct val="50000"/>
                    </a:spcBef>
                    <a:spcAft>
                      <a:spcPct val="0"/>
                    </a:spcAft>
                    <a:buClr>
                      <a:srgbClr val="F0AB00"/>
                    </a:buClr>
                    <a:buSzPct val="80000"/>
                  </a:pPr>
                  <a:r>
                    <a:rPr lang="en-GB" sz="1100" kern="0" noProof="0">
                      <a:solidFill>
                        <a:srgbClr val="000000"/>
                      </a:solidFill>
                      <a:latin typeface="Quattrocento Sans" panose="020B0502050000020003" pitchFamily="34" charset="0"/>
                      <a:ea typeface="Arial Unicode MS" pitchFamily="34" charset="-128"/>
                      <a:cs typeface="Arial Unicode MS" pitchFamily="34" charset="-128"/>
                      <a:sym typeface="Calibri"/>
                    </a:rPr>
                    <a:t>On-premise sources</a:t>
                  </a:r>
                </a:p>
              </p:txBody>
            </p:sp>
            <p:pic>
              <p:nvPicPr>
                <p:cNvPr id="2096" name="Picture 6" descr="MongoDB Logo transparent PNG - StickPNG">
                  <a:extLst>
                    <a:ext uri="{FF2B5EF4-FFF2-40B4-BE49-F238E27FC236}">
                      <a16:creationId xmlns:a16="http://schemas.microsoft.com/office/drawing/2014/main" id="{81EE3362-65E2-793F-723A-8425580CC2D6}"/>
                    </a:ext>
                  </a:extLst>
                </p:cNvPr>
                <p:cNvPicPr>
                  <a:picLocks noChangeAspect="1" noChangeArrowheads="1"/>
                </p:cNvPicPr>
                <p:nvPr/>
              </p:nvPicPr>
              <p:blipFill rotWithShape="1">
                <a:blip r:embed="rId16" cstate="print">
                  <a:alphaModFix amt="76000"/>
                  <a:extLst>
                    <a:ext uri="{28A0092B-C50C-407E-A947-70E740481C1C}">
                      <a14:useLocalDpi xmlns:a14="http://schemas.microsoft.com/office/drawing/2010/main" val="0"/>
                    </a:ext>
                  </a:extLst>
                </a:blip>
                <a:srcRect t="27701" b="29258"/>
                <a:stretch/>
              </p:blipFill>
              <p:spPr bwMode="auto">
                <a:xfrm>
                  <a:off x="4810044" y="2733874"/>
                  <a:ext cx="834641" cy="359238"/>
                </a:xfrm>
                <a:prstGeom prst="rect">
                  <a:avLst/>
                </a:prstGeom>
                <a:noFill/>
                <a:extLst>
                  <a:ext uri="{909E8E84-426E-40DD-AFC4-6F175D3DCCD1}">
                    <a14:hiddenFill xmlns:a14="http://schemas.microsoft.com/office/drawing/2010/main">
                      <a:solidFill>
                        <a:srgbClr val="FFFFFF"/>
                      </a:solidFill>
                    </a14:hiddenFill>
                  </a:ext>
                </a:extLst>
              </p:spPr>
            </p:pic>
            <p:pic>
              <p:nvPicPr>
                <p:cNvPr id="2097" name="Picture 10" descr="ServiceNow Logo and symbol, meaning, history, PNG">
                  <a:extLst>
                    <a:ext uri="{FF2B5EF4-FFF2-40B4-BE49-F238E27FC236}">
                      <a16:creationId xmlns:a16="http://schemas.microsoft.com/office/drawing/2014/main" id="{5C3A9D08-7032-93A4-9E04-193CF2A87E36}"/>
                    </a:ext>
                  </a:extLst>
                </p:cNvPr>
                <p:cNvPicPr>
                  <a:picLocks noChangeAspect="1" noChangeArrowheads="1"/>
                </p:cNvPicPr>
                <p:nvPr/>
              </p:nvPicPr>
              <p:blipFill>
                <a:blip r:embed="rId17" cstate="print">
                  <a:alphaModFix amt="64000"/>
                  <a:extLst>
                    <a:ext uri="{28A0092B-C50C-407E-A947-70E740481C1C}">
                      <a14:useLocalDpi xmlns:a14="http://schemas.microsoft.com/office/drawing/2010/main" val="0"/>
                    </a:ext>
                  </a:extLst>
                </a:blip>
                <a:srcRect/>
                <a:stretch>
                  <a:fillRect/>
                </a:stretch>
              </p:blipFill>
              <p:spPr bwMode="auto">
                <a:xfrm>
                  <a:off x="5163837" y="2177201"/>
                  <a:ext cx="779722" cy="490448"/>
                </a:xfrm>
                <a:prstGeom prst="rect">
                  <a:avLst/>
                </a:prstGeom>
                <a:noFill/>
                <a:extLst>
                  <a:ext uri="{909E8E84-426E-40DD-AFC4-6F175D3DCCD1}">
                    <a14:hiddenFill xmlns:a14="http://schemas.microsoft.com/office/drawing/2010/main">
                      <a:solidFill>
                        <a:srgbClr val="FFFFFF"/>
                      </a:solidFill>
                    </a14:hiddenFill>
                  </a:ext>
                </a:extLst>
              </p:spPr>
            </p:pic>
            <p:pic>
              <p:nvPicPr>
                <p:cNvPr id="2098" name="Picture 14" descr="Salesforce Logo PNG Transparent – Brands Logos">
                  <a:extLst>
                    <a:ext uri="{FF2B5EF4-FFF2-40B4-BE49-F238E27FC236}">
                      <a16:creationId xmlns:a16="http://schemas.microsoft.com/office/drawing/2014/main" id="{2B535FD1-8F75-051D-4BEE-4B390F57E23C}"/>
                    </a:ext>
                  </a:extLst>
                </p:cNvPr>
                <p:cNvPicPr>
                  <a:picLocks noChangeAspect="1" noChangeArrowheads="1"/>
                </p:cNvPicPr>
                <p:nvPr/>
              </p:nvPicPr>
              <p:blipFill>
                <a:blip r:embed="rId18" cstate="print">
                  <a:alphaModFix amt="64000"/>
                  <a:extLst>
                    <a:ext uri="{28A0092B-C50C-407E-A947-70E740481C1C}">
                      <a14:useLocalDpi xmlns:a14="http://schemas.microsoft.com/office/drawing/2010/main" val="0"/>
                    </a:ext>
                  </a:extLst>
                </a:blip>
                <a:srcRect/>
                <a:stretch>
                  <a:fillRect/>
                </a:stretch>
              </p:blipFill>
              <p:spPr bwMode="auto">
                <a:xfrm>
                  <a:off x="3777694" y="2816584"/>
                  <a:ext cx="417790" cy="292473"/>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2086" name="TextBox 1">
              <a:extLst>
                <a:ext uri="{FF2B5EF4-FFF2-40B4-BE49-F238E27FC236}">
                  <a16:creationId xmlns:a16="http://schemas.microsoft.com/office/drawing/2014/main" id="{183EF247-1C6C-8390-FFC6-A4F30769F731}"/>
                </a:ext>
              </a:extLst>
            </p:cNvPr>
            <p:cNvSpPr txBox="1"/>
            <p:nvPr/>
          </p:nvSpPr>
          <p:spPr>
            <a:xfrm>
              <a:off x="7516724" y="3541716"/>
              <a:ext cx="993160" cy="1015663"/>
            </a:xfrm>
            <a:prstGeom prst="rect">
              <a:avLst/>
            </a:prstGeom>
            <a:noFill/>
          </p:spPr>
          <p:txBody>
            <a:bodyPr wrap="square" lIns="0" tIns="0" rIns="0" bIns="0" rtlCol="0">
              <a:spAutoFit/>
            </a:bodyPr>
            <a:lstStyle/>
            <a:p>
              <a:pPr algn="ctr" defTabSz="912984" fontAlgn="base" hangingPunct="0">
                <a:spcBef>
                  <a:spcPct val="50000"/>
                </a:spcBef>
                <a:spcAft>
                  <a:spcPct val="0"/>
                </a:spcAft>
                <a:buClr>
                  <a:srgbClr val="F0AB00"/>
                </a:buClr>
                <a:buSzPct val="80000"/>
              </a:pPr>
              <a:r>
                <a:rPr lang="en-GB" sz="1200" b="1" kern="0" noProof="0">
                  <a:solidFill>
                    <a:srgbClr val="0070F2"/>
                  </a:solidFill>
                  <a:latin typeface="Quattrocento Sans" panose="020B0502050000020003" pitchFamily="34" charset="0"/>
                  <a:ea typeface="Arial Unicode MS" pitchFamily="34" charset="-128"/>
                  <a:cs typeface="Arial Unicode MS" pitchFamily="34" charset="-128"/>
                  <a:sym typeface="Calibri"/>
                </a:rPr>
                <a:t>Metadata</a:t>
              </a:r>
            </a:p>
            <a:p>
              <a:pPr algn="ctr" defTabSz="912984" fontAlgn="base" hangingPunct="0">
                <a:spcBef>
                  <a:spcPct val="50000"/>
                </a:spcBef>
                <a:spcAft>
                  <a:spcPct val="0"/>
                </a:spcAft>
                <a:buClr>
                  <a:srgbClr val="F0AB00"/>
                </a:buClr>
                <a:buSzPct val="80000"/>
              </a:pPr>
              <a:r>
                <a:rPr lang="en-GB" sz="1200" b="1" kern="0" noProof="0">
                  <a:solidFill>
                    <a:srgbClr val="0070F2"/>
                  </a:solidFill>
                  <a:latin typeface="Quattrocento Sans" panose="020B0502050000020003" pitchFamily="34" charset="0"/>
                  <a:ea typeface="Arial Unicode MS" pitchFamily="34" charset="-128"/>
                  <a:cs typeface="Arial Unicode MS" pitchFamily="34" charset="-128"/>
                  <a:sym typeface="Calibri"/>
                </a:rPr>
                <a:t>Data Lineage</a:t>
              </a:r>
            </a:p>
            <a:p>
              <a:pPr algn="ctr" defTabSz="912984" fontAlgn="base" hangingPunct="0">
                <a:spcBef>
                  <a:spcPct val="50000"/>
                </a:spcBef>
                <a:spcAft>
                  <a:spcPct val="0"/>
                </a:spcAft>
                <a:buClr>
                  <a:srgbClr val="F0AB00"/>
                </a:buClr>
                <a:buSzPct val="80000"/>
              </a:pPr>
              <a:r>
                <a:rPr lang="en-GB" sz="1200" b="1" kern="0" noProof="0">
                  <a:solidFill>
                    <a:srgbClr val="0070F2"/>
                  </a:solidFill>
                  <a:latin typeface="Quattrocento Sans" panose="020B0502050000020003" pitchFamily="34" charset="0"/>
                  <a:ea typeface="Arial Unicode MS" pitchFamily="34" charset="-128"/>
                  <a:cs typeface="Arial Unicode MS" pitchFamily="34" charset="-128"/>
                  <a:sym typeface="Calibri"/>
                </a:rPr>
                <a:t>Glossary</a:t>
              </a:r>
            </a:p>
            <a:p>
              <a:pPr algn="ctr" defTabSz="912984" fontAlgn="base" hangingPunct="0">
                <a:spcBef>
                  <a:spcPct val="50000"/>
                </a:spcBef>
                <a:spcAft>
                  <a:spcPct val="0"/>
                </a:spcAft>
                <a:buClr>
                  <a:srgbClr val="F0AB00"/>
                </a:buClr>
                <a:buSzPct val="80000"/>
              </a:pPr>
              <a:r>
                <a:rPr lang="en-GB" sz="1200" b="1" kern="0" noProof="0">
                  <a:solidFill>
                    <a:srgbClr val="0070F2"/>
                  </a:solidFill>
                  <a:latin typeface="Quattrocento Sans" panose="020B0502050000020003" pitchFamily="34" charset="0"/>
                  <a:ea typeface="Arial Unicode MS" pitchFamily="34" charset="-128"/>
                  <a:cs typeface="Arial Unicode MS" pitchFamily="34" charset="-128"/>
                  <a:sym typeface="Calibri"/>
                </a:rPr>
                <a:t>Classification</a:t>
              </a:r>
              <a:endParaRPr lang="en-GB" sz="1200" b="1" kern="0" noProof="0">
                <a:solidFill>
                  <a:srgbClr val="0070F2"/>
                </a:solidFill>
                <a:latin typeface="Quattrocento Sans" panose="020B0502050000020003" pitchFamily="34" charset="0"/>
                <a:cs typeface="Calibri"/>
                <a:sym typeface="Calibri"/>
              </a:endParaRPr>
            </a:p>
          </p:txBody>
        </p:sp>
      </p:grpSp>
      <p:pic>
        <p:nvPicPr>
          <p:cNvPr id="2" name="Picture 4">
            <a:extLst>
              <a:ext uri="{FF2B5EF4-FFF2-40B4-BE49-F238E27FC236}">
                <a16:creationId xmlns:a16="http://schemas.microsoft.com/office/drawing/2014/main" id="{A7995189-E086-35BE-FB2A-33979BFF4B0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2601" y="303742"/>
            <a:ext cx="2214875" cy="58140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4">
            <a:extLst>
              <a:ext uri="{FF2B5EF4-FFF2-40B4-BE49-F238E27FC236}">
                <a16:creationId xmlns:a16="http://schemas.microsoft.com/office/drawing/2014/main" id="{C0BD18A9-7A03-F3C2-533E-BCC81E754E50}"/>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953959" y="3752666"/>
            <a:ext cx="2028588" cy="53250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10" descr="SAP Datasphere. Evolución desde SAP BW y SAP BW/4HANA. - ABAST">
            <a:extLst>
              <a:ext uri="{FF2B5EF4-FFF2-40B4-BE49-F238E27FC236}">
                <a16:creationId xmlns:a16="http://schemas.microsoft.com/office/drawing/2014/main" id="{1376D9EE-7C6D-988F-5333-AB0C12D34249}"/>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a:stretch/>
        </p:blipFill>
        <p:spPr bwMode="auto">
          <a:xfrm>
            <a:off x="3640929" y="303742"/>
            <a:ext cx="1371445" cy="522427"/>
          </a:xfrm>
          <a:prstGeom prst="rect">
            <a:avLst/>
          </a:prstGeom>
          <a:noFill/>
          <a:extLst>
            <a:ext uri="{909E8E84-426E-40DD-AFC4-6F175D3DCCD1}">
              <a14:hiddenFill xmlns:a14="http://schemas.microsoft.com/office/drawing/2010/main">
                <a:solidFill>
                  <a:srgbClr val="FFFFFF"/>
                </a:solidFill>
              </a14:hiddenFill>
            </a:ext>
          </a:extLst>
        </p:spPr>
      </p:pic>
      <p:pic>
        <p:nvPicPr>
          <p:cNvPr id="6" name="Imagen 5" descr="Logotipo&#10;&#10;Descripción generada automáticamente">
            <a:extLst>
              <a:ext uri="{FF2B5EF4-FFF2-40B4-BE49-F238E27FC236}">
                <a16:creationId xmlns:a16="http://schemas.microsoft.com/office/drawing/2014/main" id="{9A6447A6-DA1C-3A98-DAAC-D7084B6C122D}"/>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9712954" y="394465"/>
            <a:ext cx="2085823" cy="481343"/>
          </a:xfrm>
          <a:prstGeom prst="rect">
            <a:avLst/>
          </a:prstGeom>
        </p:spPr>
      </p:pic>
    </p:spTree>
    <p:extLst>
      <p:ext uri="{BB962C8B-B14F-4D97-AF65-F5344CB8AC3E}">
        <p14:creationId xmlns:p14="http://schemas.microsoft.com/office/powerpoint/2010/main" val="38978537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57">
            <a:extLst>
              <a:ext uri="{FF2B5EF4-FFF2-40B4-BE49-F238E27FC236}">
                <a16:creationId xmlns:a16="http://schemas.microsoft.com/office/drawing/2014/main" id="{95A7E50F-9FBA-CEB7-EC01-3FA3DC44AD3D}"/>
              </a:ext>
            </a:extLst>
          </p:cNvPr>
          <p:cNvSpPr>
            <a:spLocks noChangeArrowheads="1"/>
          </p:cNvSpPr>
          <p:nvPr/>
        </p:nvSpPr>
        <p:spPr bwMode="gray">
          <a:xfrm>
            <a:off x="2861535" y="355058"/>
            <a:ext cx="615335" cy="553943"/>
          </a:xfrm>
          <a:prstGeom prst="rect">
            <a:avLst/>
          </a:prstGeom>
          <a:noFill/>
          <a:ln w="9525">
            <a:noFill/>
            <a:miter lim="800000"/>
            <a:headEnd/>
            <a:tailEnd/>
          </a:ln>
          <a:effectLst/>
        </p:spPr>
        <p:txBody>
          <a:bodyPr wrap="square" lIns="91386" tIns="45693" rIns="91386" bIns="45693">
            <a:spAutoFit/>
          </a:bodyPr>
          <a:lstStyle/>
          <a:p>
            <a:pPr algn="ctr" defTabSz="609630"/>
            <a:r>
              <a:rPr lang="en-GB" sz="3000" kern="0" noProof="0">
                <a:solidFill>
                  <a:srgbClr val="595959"/>
                </a:solidFill>
                <a:latin typeface="DM Sans Bold" pitchFamily="2" charset="0"/>
                <a:cs typeface="Calibri"/>
                <a:sym typeface="Calibri"/>
              </a:rPr>
              <a:t>+</a:t>
            </a:r>
            <a:endParaRPr lang="en-GB" kern="0" noProof="0">
              <a:solidFill>
                <a:srgbClr val="91ACB9"/>
              </a:solidFill>
              <a:latin typeface="DM Sans" pitchFamily="2" charset="0"/>
              <a:cs typeface="Calibri"/>
              <a:sym typeface="Calibri"/>
            </a:endParaRPr>
          </a:p>
        </p:txBody>
      </p:sp>
      <p:pic>
        <p:nvPicPr>
          <p:cNvPr id="5" name="Picture 4">
            <a:extLst>
              <a:ext uri="{FF2B5EF4-FFF2-40B4-BE49-F238E27FC236}">
                <a16:creationId xmlns:a16="http://schemas.microsoft.com/office/drawing/2014/main" id="{753361BB-FD69-0FA5-1F79-848B93104BA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2601" y="303742"/>
            <a:ext cx="2214875" cy="58140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0" descr="SAP Datasphere. Evolución desde SAP BW y SAP BW/4HANA. - ABAST">
            <a:extLst>
              <a:ext uri="{FF2B5EF4-FFF2-40B4-BE49-F238E27FC236}">
                <a16:creationId xmlns:a16="http://schemas.microsoft.com/office/drawing/2014/main" id="{B901D417-7405-B83B-6BA3-E3B888E08E4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3640929" y="303742"/>
            <a:ext cx="1371445" cy="522427"/>
          </a:xfrm>
          <a:prstGeom prst="rect">
            <a:avLst/>
          </a:prstGeom>
          <a:noFill/>
          <a:extLst>
            <a:ext uri="{909E8E84-426E-40DD-AFC4-6F175D3DCCD1}">
              <a14:hiddenFill xmlns:a14="http://schemas.microsoft.com/office/drawing/2010/main">
                <a:solidFill>
                  <a:srgbClr val="FFFFFF"/>
                </a:solidFill>
              </a14:hiddenFill>
            </a:ext>
          </a:extLst>
        </p:spPr>
      </p:pic>
      <p:pic>
        <p:nvPicPr>
          <p:cNvPr id="7" name="Imagen 6" descr="Logotipo&#10;&#10;Descripción generada automáticamente">
            <a:extLst>
              <a:ext uri="{FF2B5EF4-FFF2-40B4-BE49-F238E27FC236}">
                <a16:creationId xmlns:a16="http://schemas.microsoft.com/office/drawing/2014/main" id="{549891D8-230E-9246-35EC-13746494B4B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12954" y="394465"/>
            <a:ext cx="2085823" cy="481343"/>
          </a:xfrm>
          <a:prstGeom prst="rect">
            <a:avLst/>
          </a:prstGeom>
        </p:spPr>
      </p:pic>
      <p:graphicFrame>
        <p:nvGraphicFramePr>
          <p:cNvPr id="8" name="Tabla 7">
            <a:extLst>
              <a:ext uri="{FF2B5EF4-FFF2-40B4-BE49-F238E27FC236}">
                <a16:creationId xmlns:a16="http://schemas.microsoft.com/office/drawing/2014/main" id="{EC7092CB-7502-3DBF-B66F-15A2CB2E7013}"/>
              </a:ext>
            </a:extLst>
          </p:cNvPr>
          <p:cNvGraphicFramePr>
            <a:graphicFrameLocks noGrp="1"/>
          </p:cNvGraphicFramePr>
          <p:nvPr>
            <p:extLst>
              <p:ext uri="{D42A27DB-BD31-4B8C-83A1-F6EECF244321}">
                <p14:modId xmlns:p14="http://schemas.microsoft.com/office/powerpoint/2010/main" val="1257391085"/>
              </p:ext>
            </p:extLst>
          </p:nvPr>
        </p:nvGraphicFramePr>
        <p:xfrm>
          <a:off x="444578" y="2339940"/>
          <a:ext cx="11302844" cy="1231443"/>
        </p:xfrm>
        <a:graphic>
          <a:graphicData uri="http://schemas.openxmlformats.org/drawingml/2006/table">
            <a:tbl>
              <a:tblPr firstRow="1" bandRow="1">
                <a:tableStyleId>{C083E6E3-FA7D-4D7B-A595-EF9225AFEA82}</a:tableStyleId>
              </a:tblPr>
              <a:tblGrid>
                <a:gridCol w="569789">
                  <a:extLst>
                    <a:ext uri="{9D8B030D-6E8A-4147-A177-3AD203B41FA5}">
                      <a16:colId xmlns:a16="http://schemas.microsoft.com/office/drawing/2014/main" val="2751870479"/>
                    </a:ext>
                  </a:extLst>
                </a:gridCol>
                <a:gridCol w="1781035">
                  <a:extLst>
                    <a:ext uri="{9D8B030D-6E8A-4147-A177-3AD203B41FA5}">
                      <a16:colId xmlns:a16="http://schemas.microsoft.com/office/drawing/2014/main" val="2994942042"/>
                    </a:ext>
                  </a:extLst>
                </a:gridCol>
                <a:gridCol w="5554778">
                  <a:extLst>
                    <a:ext uri="{9D8B030D-6E8A-4147-A177-3AD203B41FA5}">
                      <a16:colId xmlns:a16="http://schemas.microsoft.com/office/drawing/2014/main" val="1489924822"/>
                    </a:ext>
                  </a:extLst>
                </a:gridCol>
                <a:gridCol w="3397242">
                  <a:extLst>
                    <a:ext uri="{9D8B030D-6E8A-4147-A177-3AD203B41FA5}">
                      <a16:colId xmlns:a16="http://schemas.microsoft.com/office/drawing/2014/main" val="466607041"/>
                    </a:ext>
                  </a:extLst>
                </a:gridCol>
              </a:tblGrid>
              <a:tr h="356470">
                <a:tc>
                  <a:txBody>
                    <a:bodyPr/>
                    <a:lstStyle/>
                    <a:p>
                      <a:r>
                        <a:rPr lang="en-GB" sz="1600" noProof="0"/>
                        <a:t>No.</a:t>
                      </a:r>
                    </a:p>
                  </a:txBody>
                  <a:tcPr/>
                </a:tc>
                <a:tc>
                  <a:txBody>
                    <a:bodyPr/>
                    <a:lstStyle/>
                    <a:p>
                      <a:r>
                        <a:rPr lang="en-GB" sz="1600" noProof="0"/>
                        <a:t>Item</a:t>
                      </a:r>
                    </a:p>
                  </a:txBody>
                  <a:tcPr/>
                </a:tc>
                <a:tc>
                  <a:txBody>
                    <a:bodyPr/>
                    <a:lstStyle/>
                    <a:p>
                      <a:r>
                        <a:rPr lang="en-GB" sz="1600" noProof="0"/>
                        <a:t>Description</a:t>
                      </a:r>
                    </a:p>
                  </a:txBody>
                  <a:tcPr/>
                </a:tc>
                <a:tc>
                  <a:txBody>
                    <a:bodyPr/>
                    <a:lstStyle/>
                    <a:p>
                      <a:r>
                        <a:rPr lang="en-GB" sz="1600" noProof="0"/>
                        <a:t>Duration</a:t>
                      </a:r>
                    </a:p>
                  </a:txBody>
                  <a:tcPr/>
                </a:tc>
                <a:extLst>
                  <a:ext uri="{0D108BD9-81ED-4DB2-BD59-A6C34878D82A}">
                    <a16:rowId xmlns:a16="http://schemas.microsoft.com/office/drawing/2014/main" val="206944614"/>
                  </a:ext>
                </a:extLst>
              </a:tr>
              <a:tr h="874973">
                <a:tc>
                  <a:txBody>
                    <a:bodyPr/>
                    <a:lstStyle/>
                    <a:p>
                      <a:r>
                        <a:rPr lang="en-GB" sz="1600" noProof="0"/>
                        <a:t>10</a:t>
                      </a:r>
                    </a:p>
                  </a:txBody>
                  <a:tcPr anchor="ctr"/>
                </a:tc>
                <a:tc>
                  <a:txBody>
                    <a:bodyPr/>
                    <a:lstStyle/>
                    <a:p>
                      <a:r>
                        <a:rPr lang="en-GB" sz="1600" noProof="0"/>
                        <a:t>Data Governance</a:t>
                      </a:r>
                    </a:p>
                  </a:txBody>
                  <a:tcPr anchor="ctr"/>
                </a:tc>
                <a:tc>
                  <a:txBody>
                    <a:bodyPr/>
                    <a:lstStyle/>
                    <a:p>
                      <a:r>
                        <a:rPr lang="en-GB" sz="1600" noProof="0">
                          <a:solidFill>
                            <a:srgbClr val="FF0000"/>
                          </a:solidFill>
                        </a:rPr>
                        <a:t>We will connect Datasphere with Collibra and ensure the metadata is flowing correctly from Datasphere’s </a:t>
                      </a:r>
                      <a:r>
                        <a:rPr lang="en-GB" sz="1600" noProof="0" err="1">
                          <a:solidFill>
                            <a:srgbClr val="FF0000"/>
                          </a:solidFill>
                        </a:rPr>
                        <a:t>Catalog</a:t>
                      </a:r>
                      <a:r>
                        <a:rPr lang="en-GB" sz="1600" noProof="0">
                          <a:solidFill>
                            <a:srgbClr val="FF0000"/>
                          </a:solidFill>
                        </a:rPr>
                        <a:t> into Collibra. </a:t>
                      </a:r>
                    </a:p>
                  </a:txBody>
                  <a:tcPr anchor="ctr"/>
                </a:tc>
                <a:tc>
                  <a:txBody>
                    <a:bodyPr/>
                    <a:lstStyle/>
                    <a:p>
                      <a:r>
                        <a:rPr lang="en-GB" sz="1600" noProof="0"/>
                        <a:t>3 weeks</a:t>
                      </a:r>
                    </a:p>
                  </a:txBody>
                  <a:tcPr anchor="ctr"/>
                </a:tc>
                <a:extLst>
                  <a:ext uri="{0D108BD9-81ED-4DB2-BD59-A6C34878D82A}">
                    <a16:rowId xmlns:a16="http://schemas.microsoft.com/office/drawing/2014/main" val="1661288958"/>
                  </a:ext>
                </a:extLst>
              </a:tr>
            </a:tbl>
          </a:graphicData>
        </a:graphic>
      </p:graphicFrame>
    </p:spTree>
    <p:extLst>
      <p:ext uri="{BB962C8B-B14F-4D97-AF65-F5344CB8AC3E}">
        <p14:creationId xmlns:p14="http://schemas.microsoft.com/office/powerpoint/2010/main" val="103722449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7C8A734-4DAF-6D55-5E17-C9BFF6F21D8D}"/>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B9C864BE-49CB-8907-66C5-98195DD0BB65}"/>
              </a:ext>
            </a:extLst>
          </p:cNvPr>
          <p:cNvSpPr>
            <a:spLocks noGrp="1"/>
          </p:cNvSpPr>
          <p:nvPr>
            <p:ph type="title"/>
          </p:nvPr>
        </p:nvSpPr>
        <p:spPr/>
        <p:txBody>
          <a:bodyPr/>
          <a:lstStyle/>
          <a:p>
            <a:r>
              <a:rPr lang="en-GB" noProof="0"/>
              <a:t>2. Data Governance</a:t>
            </a:r>
          </a:p>
        </p:txBody>
      </p:sp>
      <p:sp>
        <p:nvSpPr>
          <p:cNvPr id="3" name="CuadroTexto 2">
            <a:extLst>
              <a:ext uri="{FF2B5EF4-FFF2-40B4-BE49-F238E27FC236}">
                <a16:creationId xmlns:a16="http://schemas.microsoft.com/office/drawing/2014/main" id="{D04A0B1A-5775-C5AE-1ECA-F1C78992877A}"/>
              </a:ext>
            </a:extLst>
          </p:cNvPr>
          <p:cNvSpPr txBox="1"/>
          <p:nvPr/>
        </p:nvSpPr>
        <p:spPr>
          <a:xfrm>
            <a:off x="1326382" y="994787"/>
            <a:ext cx="1655903" cy="1200329"/>
          </a:xfrm>
          <a:prstGeom prst="rect">
            <a:avLst/>
          </a:prstGeom>
          <a:noFill/>
        </p:spPr>
        <p:txBody>
          <a:bodyPr wrap="none" rtlCol="0">
            <a:spAutoFit/>
          </a:bodyPr>
          <a:lstStyle/>
          <a:p>
            <a:pPr marL="285750" indent="-285750">
              <a:buFont typeface="Arial" panose="020B0604020202020204" pitchFamily="34" charset="0"/>
              <a:buChar char="•"/>
            </a:pPr>
            <a:r>
              <a:rPr lang="en-GB" noProof="0" err="1"/>
              <a:t>DataSphere</a:t>
            </a:r>
            <a:endParaRPr lang="en-GB" noProof="0"/>
          </a:p>
          <a:p>
            <a:pPr marL="742950" lvl="1" indent="-285750">
              <a:buFont typeface="Arial" panose="020B0604020202020204" pitchFamily="34" charset="0"/>
              <a:buChar char="•"/>
            </a:pPr>
            <a:r>
              <a:rPr lang="en-GB" noProof="0" err="1"/>
              <a:t>Catalog</a:t>
            </a:r>
            <a:endParaRPr lang="en-GB" noProof="0"/>
          </a:p>
          <a:p>
            <a:pPr marL="742950" lvl="1" indent="-285750">
              <a:buFont typeface="Arial" panose="020B0604020202020204" pitchFamily="34" charset="0"/>
              <a:buChar char="•"/>
            </a:pPr>
            <a:r>
              <a:rPr lang="en-GB" noProof="0"/>
              <a:t>Lineage</a:t>
            </a:r>
          </a:p>
          <a:p>
            <a:pPr marL="742950" lvl="1" indent="-285750">
              <a:buFont typeface="Arial" panose="020B0604020202020204" pitchFamily="34" charset="0"/>
              <a:buChar char="•"/>
            </a:pPr>
            <a:r>
              <a:rPr lang="en-GB" noProof="0"/>
              <a:t>Calidad</a:t>
            </a:r>
          </a:p>
        </p:txBody>
      </p:sp>
      <p:graphicFrame>
        <p:nvGraphicFramePr>
          <p:cNvPr id="4" name="Tabla 3">
            <a:extLst>
              <a:ext uri="{FF2B5EF4-FFF2-40B4-BE49-F238E27FC236}">
                <a16:creationId xmlns:a16="http://schemas.microsoft.com/office/drawing/2014/main" id="{495A1930-DE74-52ED-EF34-F33C14279444}"/>
              </a:ext>
            </a:extLst>
          </p:cNvPr>
          <p:cNvGraphicFramePr>
            <a:graphicFrameLocks noGrp="1"/>
          </p:cNvGraphicFramePr>
          <p:nvPr>
            <p:extLst>
              <p:ext uri="{D42A27DB-BD31-4B8C-83A1-F6EECF244321}">
                <p14:modId xmlns:p14="http://schemas.microsoft.com/office/powerpoint/2010/main" val="1370632470"/>
              </p:ext>
            </p:extLst>
          </p:nvPr>
        </p:nvGraphicFramePr>
        <p:xfrm>
          <a:off x="834013" y="2605112"/>
          <a:ext cx="10590963" cy="3315966"/>
        </p:xfrm>
        <a:graphic>
          <a:graphicData uri="http://schemas.openxmlformats.org/drawingml/2006/table">
            <a:tbl>
              <a:tblPr/>
              <a:tblGrid>
                <a:gridCol w="345330">
                  <a:extLst>
                    <a:ext uri="{9D8B030D-6E8A-4147-A177-3AD203B41FA5}">
                      <a16:colId xmlns:a16="http://schemas.microsoft.com/office/drawing/2014/main" val="185846533"/>
                    </a:ext>
                  </a:extLst>
                </a:gridCol>
                <a:gridCol w="2088047">
                  <a:extLst>
                    <a:ext uri="{9D8B030D-6E8A-4147-A177-3AD203B41FA5}">
                      <a16:colId xmlns:a16="http://schemas.microsoft.com/office/drawing/2014/main" val="4088313121"/>
                    </a:ext>
                  </a:extLst>
                </a:gridCol>
                <a:gridCol w="3218251">
                  <a:extLst>
                    <a:ext uri="{9D8B030D-6E8A-4147-A177-3AD203B41FA5}">
                      <a16:colId xmlns:a16="http://schemas.microsoft.com/office/drawing/2014/main" val="3632054443"/>
                    </a:ext>
                  </a:extLst>
                </a:gridCol>
                <a:gridCol w="2316715">
                  <a:extLst>
                    <a:ext uri="{9D8B030D-6E8A-4147-A177-3AD203B41FA5}">
                      <a16:colId xmlns:a16="http://schemas.microsoft.com/office/drawing/2014/main" val="3092861716"/>
                    </a:ext>
                  </a:extLst>
                </a:gridCol>
                <a:gridCol w="2622620">
                  <a:extLst>
                    <a:ext uri="{9D8B030D-6E8A-4147-A177-3AD203B41FA5}">
                      <a16:colId xmlns:a16="http://schemas.microsoft.com/office/drawing/2014/main" val="1823307303"/>
                    </a:ext>
                  </a:extLst>
                </a:gridCol>
              </a:tblGrid>
              <a:tr h="154086">
                <a:tc>
                  <a:txBody>
                    <a:bodyPr/>
                    <a:lstStyle/>
                    <a:p>
                      <a:r>
                        <a:rPr lang="en-GB" sz="1400" noProof="0"/>
                        <a:t>#</a:t>
                      </a:r>
                    </a:p>
                  </a:txBody>
                  <a:tcPr marL="38521" marR="38521" marT="19261" marB="19261" anchor="ctr">
                    <a:lnL>
                      <a:noFill/>
                    </a:lnL>
                    <a:lnR>
                      <a:noFill/>
                    </a:lnR>
                    <a:lnT>
                      <a:noFill/>
                    </a:lnT>
                    <a:lnB>
                      <a:noFill/>
                    </a:lnB>
                    <a:noFill/>
                  </a:tcPr>
                </a:tc>
                <a:tc>
                  <a:txBody>
                    <a:bodyPr/>
                    <a:lstStyle/>
                    <a:p>
                      <a:r>
                        <a:rPr lang="en-GB" sz="1400" noProof="0"/>
                        <a:t>Pitch module</a:t>
                      </a:r>
                    </a:p>
                  </a:txBody>
                  <a:tcPr marL="38521" marR="38521" marT="19261" marB="19261" anchor="ctr">
                    <a:lnL>
                      <a:noFill/>
                    </a:lnL>
                    <a:lnR>
                      <a:noFill/>
                    </a:lnR>
                    <a:lnT>
                      <a:noFill/>
                    </a:lnT>
                    <a:lnB>
                      <a:noFill/>
                    </a:lnB>
                    <a:noFill/>
                  </a:tcPr>
                </a:tc>
                <a:tc>
                  <a:txBody>
                    <a:bodyPr/>
                    <a:lstStyle/>
                    <a:p>
                      <a:r>
                        <a:rPr lang="en-GB" sz="1400" noProof="0"/>
                        <a:t>What you offer</a:t>
                      </a:r>
                    </a:p>
                  </a:txBody>
                  <a:tcPr marL="38521" marR="38521" marT="19261" marB="19261" anchor="ctr">
                    <a:lnL>
                      <a:noFill/>
                    </a:lnL>
                    <a:lnR>
                      <a:noFill/>
                    </a:lnR>
                    <a:lnT>
                      <a:noFill/>
                    </a:lnT>
                    <a:lnB>
                      <a:noFill/>
                    </a:lnB>
                    <a:noFill/>
                  </a:tcPr>
                </a:tc>
                <a:tc>
                  <a:txBody>
                    <a:bodyPr/>
                    <a:lstStyle/>
                    <a:p>
                      <a:r>
                        <a:rPr lang="en-GB" sz="1400" noProof="0"/>
                        <a:t>Why Simon cares</a:t>
                      </a:r>
                    </a:p>
                  </a:txBody>
                  <a:tcPr marL="38521" marR="38521" marT="19261" marB="19261" anchor="ctr">
                    <a:lnL>
                      <a:noFill/>
                    </a:lnL>
                    <a:lnR>
                      <a:noFill/>
                    </a:lnR>
                    <a:lnT>
                      <a:noFill/>
                    </a:lnT>
                    <a:lnB>
                      <a:noFill/>
                    </a:lnB>
                    <a:noFill/>
                  </a:tcPr>
                </a:tc>
                <a:tc>
                  <a:txBody>
                    <a:bodyPr/>
                    <a:lstStyle/>
                    <a:p>
                      <a:r>
                        <a:rPr lang="en-GB" sz="1400" noProof="0"/>
                        <a:t>Quick proof / activity</a:t>
                      </a:r>
                    </a:p>
                  </a:txBody>
                  <a:tcPr marL="38521" marR="38521" marT="19261" marB="19261" anchor="ctr">
                    <a:lnL>
                      <a:noFill/>
                    </a:lnL>
                    <a:lnR>
                      <a:noFill/>
                    </a:lnR>
                    <a:lnT>
                      <a:noFill/>
                    </a:lnT>
                    <a:lnB>
                      <a:noFill/>
                    </a:lnB>
                    <a:noFill/>
                  </a:tcPr>
                </a:tc>
                <a:extLst>
                  <a:ext uri="{0D108BD9-81ED-4DB2-BD59-A6C34878D82A}">
                    <a16:rowId xmlns:a16="http://schemas.microsoft.com/office/drawing/2014/main" val="417535307"/>
                  </a:ext>
                </a:extLst>
              </a:tr>
              <a:tr h="1309730">
                <a:tc>
                  <a:txBody>
                    <a:bodyPr/>
                    <a:lstStyle/>
                    <a:p>
                      <a:r>
                        <a:rPr lang="en-GB" sz="1400" b="1" noProof="0"/>
                        <a:t>3.1</a:t>
                      </a:r>
                      <a:endParaRPr lang="en-GB" sz="1400" noProof="0"/>
                    </a:p>
                  </a:txBody>
                  <a:tcPr marL="38521" marR="38521" marT="19261" marB="19261" anchor="ctr">
                    <a:lnL>
                      <a:noFill/>
                    </a:lnL>
                    <a:lnR>
                      <a:noFill/>
                    </a:lnR>
                    <a:lnT>
                      <a:noFill/>
                    </a:lnT>
                    <a:lnB>
                      <a:noFill/>
                    </a:lnB>
                    <a:noFill/>
                  </a:tcPr>
                </a:tc>
                <a:tc>
                  <a:txBody>
                    <a:bodyPr/>
                    <a:lstStyle/>
                    <a:p>
                      <a:r>
                        <a:rPr lang="en-GB" sz="1400" b="1" noProof="0"/>
                        <a:t>Build Governance in Datasphere</a:t>
                      </a:r>
                      <a:br>
                        <a:rPr lang="en-GB" sz="1400" noProof="0"/>
                      </a:br>
                      <a:r>
                        <a:rPr lang="en-GB" sz="1400" i="1" noProof="0"/>
                        <a:t>(</a:t>
                      </a:r>
                      <a:r>
                        <a:rPr lang="en-GB" sz="1400" i="1" noProof="0" err="1"/>
                        <a:t>catalog</a:t>
                      </a:r>
                      <a:r>
                        <a:rPr lang="en-GB" sz="1400" i="1" noProof="0"/>
                        <a:t> + lineage + quality)</a:t>
                      </a:r>
                      <a:endParaRPr lang="en-GB" sz="1400" noProof="0"/>
                    </a:p>
                  </a:txBody>
                  <a:tcPr marL="38521" marR="38521" marT="19261" marB="19261" anchor="ctr">
                    <a:lnL>
                      <a:noFill/>
                    </a:lnL>
                    <a:lnR>
                      <a:noFill/>
                    </a:lnR>
                    <a:lnT>
                      <a:noFill/>
                    </a:lnT>
                    <a:lnB>
                      <a:noFill/>
                    </a:lnB>
                    <a:noFill/>
                  </a:tcPr>
                </a:tc>
                <a:tc>
                  <a:txBody>
                    <a:bodyPr/>
                    <a:lstStyle/>
                    <a:p>
                      <a:r>
                        <a:rPr lang="en-GB" sz="1400" noProof="0"/>
                        <a:t>• Turn on Datasphere </a:t>
                      </a:r>
                      <a:r>
                        <a:rPr lang="en-GB" sz="1400" noProof="0" err="1"/>
                        <a:t>catalog</a:t>
                      </a:r>
                      <a:r>
                        <a:rPr lang="en-GB" sz="1400" noProof="0"/>
                        <a:t>, activate technical lineage &amp; impact analysis.</a:t>
                      </a:r>
                      <a:br>
                        <a:rPr lang="en-GB" sz="1400" noProof="0"/>
                      </a:br>
                      <a:r>
                        <a:rPr lang="en-GB" sz="1400" noProof="0"/>
                        <a:t>• Configure rule-based data-quality scoring and alerts.</a:t>
                      </a:r>
                      <a:br>
                        <a:rPr lang="en-GB" sz="1400" noProof="0"/>
                      </a:br>
                      <a:r>
                        <a:rPr lang="en-GB" sz="1400" noProof="0"/>
                        <a:t>• Enforce naming &amp; canonical-model conventions in harmonisation layer.</a:t>
                      </a:r>
                    </a:p>
                  </a:txBody>
                  <a:tcPr marL="38521" marR="38521" marT="19261" marB="19261" anchor="ctr">
                    <a:lnL>
                      <a:noFill/>
                    </a:lnL>
                    <a:lnR>
                      <a:noFill/>
                    </a:lnR>
                    <a:lnT>
                      <a:noFill/>
                    </a:lnT>
                    <a:lnB>
                      <a:noFill/>
                    </a:lnB>
                    <a:noFill/>
                  </a:tcPr>
                </a:tc>
                <a:tc>
                  <a:txBody>
                    <a:bodyPr/>
                    <a:lstStyle/>
                    <a:p>
                      <a:r>
                        <a:rPr lang="en-GB" sz="1400" noProof="0"/>
                        <a:t>Stops the “six naming standards in one view” problem and surfaces data issues before users see them.</a:t>
                      </a:r>
                    </a:p>
                  </a:txBody>
                  <a:tcPr marL="38521" marR="38521" marT="19261" marB="19261" anchor="ctr">
                    <a:lnL>
                      <a:noFill/>
                    </a:lnL>
                    <a:lnR>
                      <a:noFill/>
                    </a:lnR>
                    <a:lnT>
                      <a:noFill/>
                    </a:lnT>
                    <a:lnB>
                      <a:noFill/>
                    </a:lnB>
                    <a:noFill/>
                  </a:tcPr>
                </a:tc>
                <a:tc>
                  <a:txBody>
                    <a:bodyPr/>
                    <a:lstStyle/>
                    <a:p>
                      <a:r>
                        <a:rPr lang="en-GB" sz="1400" noProof="0"/>
                        <a:t>•</a:t>
                      </a:r>
                      <a:r>
                        <a:rPr lang="en-GB" sz="1400" noProof="0">
                          <a:solidFill>
                            <a:srgbClr val="FF0000"/>
                          </a:solidFill>
                        </a:rPr>
                        <a:t>PILOTO</a:t>
                      </a:r>
                    </a:p>
                    <a:p>
                      <a:r>
                        <a:rPr lang="en-GB" sz="1400" noProof="0"/>
                        <a:t> Live lineage demo for Finance &amp; Supply-Chain domains</a:t>
                      </a:r>
                      <a:br>
                        <a:rPr lang="en-GB" sz="1400" noProof="0"/>
                      </a:br>
                      <a:r>
                        <a:rPr lang="en-GB" sz="1400" noProof="0"/>
                        <a:t>• Governance playbook v1.0</a:t>
                      </a:r>
                    </a:p>
                  </a:txBody>
                  <a:tcPr marL="38521" marR="38521" marT="19261" marB="19261" anchor="ctr">
                    <a:lnL>
                      <a:noFill/>
                    </a:lnL>
                    <a:lnR>
                      <a:noFill/>
                    </a:lnR>
                    <a:lnT>
                      <a:noFill/>
                    </a:lnT>
                    <a:lnB>
                      <a:noFill/>
                    </a:lnB>
                    <a:noFill/>
                  </a:tcPr>
                </a:tc>
                <a:extLst>
                  <a:ext uri="{0D108BD9-81ED-4DB2-BD59-A6C34878D82A}">
                    <a16:rowId xmlns:a16="http://schemas.microsoft.com/office/drawing/2014/main" val="2793031910"/>
                  </a:ext>
                </a:extLst>
              </a:tr>
              <a:tr h="1656423">
                <a:tc>
                  <a:txBody>
                    <a:bodyPr/>
                    <a:lstStyle/>
                    <a:p>
                      <a:r>
                        <a:rPr lang="en-GB" sz="1400" b="1" noProof="0"/>
                        <a:t>3.2</a:t>
                      </a:r>
                      <a:endParaRPr lang="en-GB" sz="1400" noProof="0"/>
                    </a:p>
                  </a:txBody>
                  <a:tcPr marL="38521" marR="38521" marT="19261" marB="19261" anchor="ctr">
                    <a:lnL>
                      <a:noFill/>
                    </a:lnL>
                    <a:lnR>
                      <a:noFill/>
                    </a:lnR>
                    <a:lnT>
                      <a:noFill/>
                    </a:lnT>
                    <a:lnB>
                      <a:noFill/>
                    </a:lnB>
                    <a:noFill/>
                  </a:tcPr>
                </a:tc>
                <a:tc>
                  <a:txBody>
                    <a:bodyPr/>
                    <a:lstStyle/>
                    <a:p>
                      <a:r>
                        <a:rPr lang="en-GB" sz="1400" b="1" noProof="0"/>
                        <a:t>Connect &amp; Enrich in Collibra</a:t>
                      </a:r>
                      <a:endParaRPr lang="en-GB" sz="1400" noProof="0"/>
                    </a:p>
                  </a:txBody>
                  <a:tcPr marL="38521" marR="38521" marT="19261" marB="19261" anchor="ctr">
                    <a:lnL>
                      <a:noFill/>
                    </a:lnL>
                    <a:lnR>
                      <a:noFill/>
                    </a:lnR>
                    <a:lnT>
                      <a:noFill/>
                    </a:lnT>
                    <a:lnB>
                      <a:noFill/>
                    </a:lnB>
                    <a:noFill/>
                  </a:tcPr>
                </a:tc>
                <a:tc>
                  <a:txBody>
                    <a:bodyPr/>
                    <a:lstStyle/>
                    <a:p>
                      <a:r>
                        <a:rPr lang="en-GB" sz="1400" noProof="0"/>
                        <a:t>• Bi-directional metadata sync (Datasphere API → Collibra).</a:t>
                      </a:r>
                      <a:br>
                        <a:rPr lang="en-GB" sz="1400" noProof="0"/>
                      </a:br>
                      <a:r>
                        <a:rPr lang="en-GB" sz="1400" noProof="0"/>
                        <a:t>• Map technical lineage to business glossary &amp; policies.</a:t>
                      </a:r>
                      <a:br>
                        <a:rPr lang="en-GB" sz="1400" noProof="0"/>
                      </a:br>
                      <a:r>
                        <a:rPr lang="en-GB" sz="1400" noProof="0"/>
                        <a:t>• Stewardship workflow: request / approve / certify datasets.</a:t>
                      </a:r>
                      <a:br>
                        <a:rPr lang="en-GB" sz="1400" noProof="0"/>
                      </a:br>
                      <a:r>
                        <a:rPr lang="en-GB" sz="1400" noProof="0"/>
                        <a:t>• Auto-publish quality scores &amp; usage metrics.</a:t>
                      </a:r>
                    </a:p>
                  </a:txBody>
                  <a:tcPr marL="38521" marR="38521" marT="19261" marB="19261" anchor="ctr">
                    <a:lnL>
                      <a:noFill/>
                    </a:lnL>
                    <a:lnR>
                      <a:noFill/>
                    </a:lnR>
                    <a:lnT>
                      <a:noFill/>
                    </a:lnT>
                    <a:lnB>
                      <a:noFill/>
                    </a:lnB>
                    <a:noFill/>
                  </a:tcPr>
                </a:tc>
                <a:tc>
                  <a:txBody>
                    <a:bodyPr/>
                    <a:lstStyle/>
                    <a:p>
                      <a:r>
                        <a:rPr lang="en-GB" sz="1400" noProof="0"/>
                        <a:t>Unifies AZ’s enterprise catalogue; lets 20 000 users </a:t>
                      </a:r>
                      <a:r>
                        <a:rPr lang="en-GB" sz="1400" i="1" noProof="0"/>
                        <a:t>find</a:t>
                      </a:r>
                      <a:r>
                        <a:rPr lang="en-GB" sz="1400" noProof="0"/>
                        <a:t>, </a:t>
                      </a:r>
                      <a:r>
                        <a:rPr lang="en-GB" sz="1400" i="1" noProof="0"/>
                        <a:t>trust</a:t>
                      </a:r>
                      <a:r>
                        <a:rPr lang="en-GB" sz="1400" noProof="0"/>
                        <a:t> and </a:t>
                      </a:r>
                      <a:r>
                        <a:rPr lang="en-GB" sz="1400" i="1" noProof="0"/>
                        <a:t>request</a:t>
                      </a:r>
                      <a:r>
                        <a:rPr lang="en-GB" sz="1400" noProof="0"/>
                        <a:t> data in one place.</a:t>
                      </a:r>
                    </a:p>
                  </a:txBody>
                  <a:tcPr marL="38521" marR="38521" marT="19261" marB="19261" anchor="ctr">
                    <a:lnL>
                      <a:noFill/>
                    </a:lnL>
                    <a:lnR>
                      <a:noFill/>
                    </a:lnR>
                    <a:lnT>
                      <a:noFill/>
                    </a:lnT>
                    <a:lnB>
                      <a:noFill/>
                    </a:lnB>
                    <a:noFill/>
                  </a:tcPr>
                </a:tc>
                <a:tc>
                  <a:txBody>
                    <a:bodyPr/>
                    <a:lstStyle/>
                    <a:p>
                      <a:r>
                        <a:rPr lang="en-GB" sz="1400" noProof="0"/>
                        <a:t>• Collibra workspace populated with two critical domains</a:t>
                      </a:r>
                      <a:br>
                        <a:rPr lang="en-GB" sz="1400" noProof="0"/>
                      </a:br>
                      <a:r>
                        <a:rPr lang="en-GB" sz="1400" noProof="0"/>
                        <a:t>• Sample “shopping-cart” access workflow</a:t>
                      </a:r>
                    </a:p>
                  </a:txBody>
                  <a:tcPr marL="38521" marR="38521" marT="19261" marB="19261" anchor="ctr">
                    <a:lnL>
                      <a:noFill/>
                    </a:lnL>
                    <a:lnR>
                      <a:noFill/>
                    </a:lnR>
                    <a:lnT>
                      <a:noFill/>
                    </a:lnT>
                    <a:lnB>
                      <a:noFill/>
                    </a:lnB>
                    <a:noFill/>
                  </a:tcPr>
                </a:tc>
                <a:extLst>
                  <a:ext uri="{0D108BD9-81ED-4DB2-BD59-A6C34878D82A}">
                    <a16:rowId xmlns:a16="http://schemas.microsoft.com/office/drawing/2014/main" val="3328554339"/>
                  </a:ext>
                </a:extLst>
              </a:tr>
            </a:tbl>
          </a:graphicData>
        </a:graphic>
      </p:graphicFrame>
    </p:spTree>
    <p:extLst>
      <p:ext uri="{BB962C8B-B14F-4D97-AF65-F5344CB8AC3E}">
        <p14:creationId xmlns:p14="http://schemas.microsoft.com/office/powerpoint/2010/main" val="42539915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C71CC6C-EA84-172F-6036-8E4104B020DD}"/>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52DBA094-AFEB-CB10-5B2E-E041E3766D1A}"/>
              </a:ext>
            </a:extLst>
          </p:cNvPr>
          <p:cNvSpPr>
            <a:spLocks noGrp="1"/>
          </p:cNvSpPr>
          <p:nvPr>
            <p:ph type="title"/>
          </p:nvPr>
        </p:nvSpPr>
        <p:spPr/>
        <p:txBody>
          <a:bodyPr/>
          <a:lstStyle/>
          <a:p>
            <a:r>
              <a:rPr lang="en-GB" noProof="0"/>
              <a:t>2. Data Governance</a:t>
            </a:r>
          </a:p>
        </p:txBody>
      </p:sp>
      <p:sp>
        <p:nvSpPr>
          <p:cNvPr id="3" name="CuadroTexto 2">
            <a:extLst>
              <a:ext uri="{FF2B5EF4-FFF2-40B4-BE49-F238E27FC236}">
                <a16:creationId xmlns:a16="http://schemas.microsoft.com/office/drawing/2014/main" id="{CFABF21B-5AC4-1210-F11D-7241938D1A8A}"/>
              </a:ext>
            </a:extLst>
          </p:cNvPr>
          <p:cNvSpPr txBox="1"/>
          <p:nvPr/>
        </p:nvSpPr>
        <p:spPr>
          <a:xfrm>
            <a:off x="1326382" y="994787"/>
            <a:ext cx="4589333" cy="923330"/>
          </a:xfrm>
          <a:prstGeom prst="rect">
            <a:avLst/>
          </a:prstGeom>
          <a:noFill/>
        </p:spPr>
        <p:txBody>
          <a:bodyPr wrap="none" rtlCol="0">
            <a:spAutoFit/>
          </a:bodyPr>
          <a:lstStyle/>
          <a:p>
            <a:pPr marL="285750" indent="-285750">
              <a:buFont typeface="Arial" panose="020B0604020202020204" pitchFamily="34" charset="0"/>
              <a:buChar char="•"/>
            </a:pPr>
            <a:r>
              <a:rPr lang="en-GB" noProof="0" err="1"/>
              <a:t>Seguridad</a:t>
            </a:r>
            <a:endParaRPr lang="en-GB" noProof="0"/>
          </a:p>
          <a:p>
            <a:pPr marL="742950" lvl="1" indent="-285750">
              <a:buFont typeface="Arial" panose="020B0604020202020204" pitchFamily="34" charset="0"/>
              <a:buChar char="•"/>
            </a:pPr>
            <a:r>
              <a:rPr lang="en-GB" noProof="0" err="1"/>
              <a:t>Analítica</a:t>
            </a:r>
            <a:endParaRPr lang="en-GB" noProof="0"/>
          </a:p>
          <a:p>
            <a:pPr marL="1200150" lvl="2" indent="-285750">
              <a:buFont typeface="Arial" panose="020B0604020202020204" pitchFamily="34" charset="0"/>
              <a:buChar char="•"/>
            </a:pPr>
            <a:r>
              <a:rPr lang="en-GB" noProof="0"/>
              <a:t>Dashboard de </a:t>
            </a:r>
            <a:r>
              <a:rPr lang="en-GB" noProof="0" err="1"/>
              <a:t>seguridad</a:t>
            </a:r>
            <a:r>
              <a:rPr lang="en-GB" noProof="0"/>
              <a:t> Iberdrola</a:t>
            </a:r>
          </a:p>
        </p:txBody>
      </p:sp>
      <p:sp>
        <p:nvSpPr>
          <p:cNvPr id="4" name="CuadroTexto 3">
            <a:extLst>
              <a:ext uri="{FF2B5EF4-FFF2-40B4-BE49-F238E27FC236}">
                <a16:creationId xmlns:a16="http://schemas.microsoft.com/office/drawing/2014/main" id="{88E1DA00-78A0-5B13-D10E-E2DD569B8712}"/>
              </a:ext>
            </a:extLst>
          </p:cNvPr>
          <p:cNvSpPr txBox="1"/>
          <p:nvPr/>
        </p:nvSpPr>
        <p:spPr>
          <a:xfrm>
            <a:off x="6919274" y="401930"/>
            <a:ext cx="1037463" cy="646331"/>
          </a:xfrm>
          <a:prstGeom prst="rect">
            <a:avLst/>
          </a:prstGeom>
          <a:noFill/>
        </p:spPr>
        <p:txBody>
          <a:bodyPr wrap="none" rtlCol="0">
            <a:spAutoFit/>
          </a:bodyPr>
          <a:lstStyle/>
          <a:p>
            <a:r>
              <a:rPr lang="en-GB" sz="3600" noProof="0">
                <a:solidFill>
                  <a:srgbClr val="FF0000"/>
                </a:solidFill>
              </a:rPr>
              <a:t>Juan</a:t>
            </a:r>
          </a:p>
        </p:txBody>
      </p:sp>
    </p:spTree>
    <p:extLst>
      <p:ext uri="{BB962C8B-B14F-4D97-AF65-F5344CB8AC3E}">
        <p14:creationId xmlns:p14="http://schemas.microsoft.com/office/powerpoint/2010/main" val="384435274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3C9F1090-6996-B6AD-FC99-2E9FA8AD0A0A}"/>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B210B9ED-C87F-3717-4664-EDCE471019D4}"/>
              </a:ext>
            </a:extLst>
          </p:cNvPr>
          <p:cNvSpPr>
            <a:spLocks noGrp="1"/>
          </p:cNvSpPr>
          <p:nvPr>
            <p:ph type="title"/>
          </p:nvPr>
        </p:nvSpPr>
        <p:spPr/>
        <p:txBody>
          <a:bodyPr/>
          <a:lstStyle/>
          <a:p>
            <a:r>
              <a:rPr lang="en-GB" noProof="0"/>
              <a:t>2. Data Governance</a:t>
            </a:r>
          </a:p>
        </p:txBody>
      </p:sp>
      <p:sp>
        <p:nvSpPr>
          <p:cNvPr id="3" name="CuadroTexto 2">
            <a:extLst>
              <a:ext uri="{FF2B5EF4-FFF2-40B4-BE49-F238E27FC236}">
                <a16:creationId xmlns:a16="http://schemas.microsoft.com/office/drawing/2014/main" id="{917D5738-C349-C758-5D41-09259C41EB59}"/>
              </a:ext>
            </a:extLst>
          </p:cNvPr>
          <p:cNvSpPr txBox="1"/>
          <p:nvPr/>
        </p:nvSpPr>
        <p:spPr>
          <a:xfrm>
            <a:off x="1326382" y="994787"/>
            <a:ext cx="4352282" cy="923330"/>
          </a:xfrm>
          <a:prstGeom prst="rect">
            <a:avLst/>
          </a:prstGeom>
          <a:noFill/>
        </p:spPr>
        <p:txBody>
          <a:bodyPr wrap="none" rtlCol="0">
            <a:spAutoFit/>
          </a:bodyPr>
          <a:lstStyle/>
          <a:p>
            <a:pPr marL="285750" indent="-285750">
              <a:buFont typeface="Arial" panose="020B0604020202020204" pitchFamily="34" charset="0"/>
              <a:buChar char="•"/>
            </a:pPr>
            <a:r>
              <a:rPr lang="en-GB" noProof="0" err="1"/>
              <a:t>Seguridad</a:t>
            </a:r>
            <a:endParaRPr lang="en-GB" noProof="0"/>
          </a:p>
          <a:p>
            <a:pPr marL="742950" lvl="1" indent="-285750">
              <a:buFont typeface="Arial" panose="020B0604020202020204" pitchFamily="34" charset="0"/>
              <a:buChar char="•"/>
            </a:pPr>
            <a:r>
              <a:rPr lang="en-GB" noProof="0" err="1"/>
              <a:t>Automatizaciones</a:t>
            </a:r>
            <a:r>
              <a:rPr lang="en-GB" noProof="0"/>
              <a:t> de </a:t>
            </a:r>
            <a:r>
              <a:rPr lang="en-GB" noProof="0" err="1"/>
              <a:t>accesos</a:t>
            </a:r>
            <a:r>
              <a:rPr lang="en-GB" noProof="0"/>
              <a:t>.. </a:t>
            </a:r>
            <a:r>
              <a:rPr lang="en-GB" noProof="0" err="1"/>
              <a:t>Flujos</a:t>
            </a:r>
            <a:endParaRPr lang="en-GB" noProof="0"/>
          </a:p>
          <a:p>
            <a:pPr marL="742950" lvl="1" indent="-285750">
              <a:buFont typeface="Arial" panose="020B0604020202020204" pitchFamily="34" charset="0"/>
              <a:buChar char="•"/>
            </a:pPr>
            <a:r>
              <a:rPr lang="en-GB" noProof="0" err="1"/>
              <a:t>Arquitectura</a:t>
            </a:r>
            <a:r>
              <a:rPr lang="en-GB" noProof="0"/>
              <a:t> de </a:t>
            </a:r>
            <a:r>
              <a:rPr lang="en-GB" noProof="0" err="1"/>
              <a:t>esto</a:t>
            </a:r>
            <a:r>
              <a:rPr lang="en-GB" noProof="0"/>
              <a:t> </a:t>
            </a:r>
            <a:r>
              <a:rPr lang="en-GB" noProof="0" err="1"/>
              <a:t>cómo</a:t>
            </a:r>
            <a:r>
              <a:rPr lang="en-GB" noProof="0"/>
              <a:t> se </a:t>
            </a:r>
            <a:r>
              <a:rPr lang="en-GB" noProof="0" err="1"/>
              <a:t>hace</a:t>
            </a:r>
            <a:endParaRPr lang="en-GB" noProof="0"/>
          </a:p>
        </p:txBody>
      </p:sp>
      <p:sp>
        <p:nvSpPr>
          <p:cNvPr id="4" name="CuadroTexto 3">
            <a:extLst>
              <a:ext uri="{FF2B5EF4-FFF2-40B4-BE49-F238E27FC236}">
                <a16:creationId xmlns:a16="http://schemas.microsoft.com/office/drawing/2014/main" id="{8D2611D1-108B-0400-71AD-B7BE34BC325B}"/>
              </a:ext>
            </a:extLst>
          </p:cNvPr>
          <p:cNvSpPr txBox="1"/>
          <p:nvPr/>
        </p:nvSpPr>
        <p:spPr>
          <a:xfrm>
            <a:off x="6919274" y="401930"/>
            <a:ext cx="3858749" cy="646331"/>
          </a:xfrm>
          <a:prstGeom prst="rect">
            <a:avLst/>
          </a:prstGeom>
          <a:noFill/>
        </p:spPr>
        <p:txBody>
          <a:bodyPr wrap="none" rtlCol="0">
            <a:spAutoFit/>
          </a:bodyPr>
          <a:lstStyle/>
          <a:p>
            <a:r>
              <a:rPr lang="en-GB" sz="3600" noProof="0">
                <a:solidFill>
                  <a:srgbClr val="FF0000"/>
                </a:solidFill>
              </a:rPr>
              <a:t>Juan y Miguel y </a:t>
            </a:r>
            <a:r>
              <a:rPr lang="en-GB" sz="3600" noProof="0" err="1">
                <a:solidFill>
                  <a:srgbClr val="FF0000"/>
                </a:solidFill>
              </a:rPr>
              <a:t>bea</a:t>
            </a:r>
            <a:endParaRPr lang="en-GB" sz="3600" noProof="0">
              <a:solidFill>
                <a:srgbClr val="FF0000"/>
              </a:solidFill>
            </a:endParaRPr>
          </a:p>
        </p:txBody>
      </p:sp>
    </p:spTree>
    <p:extLst>
      <p:ext uri="{BB962C8B-B14F-4D97-AF65-F5344CB8AC3E}">
        <p14:creationId xmlns:p14="http://schemas.microsoft.com/office/powerpoint/2010/main" val="39520875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B74BED-9CF1-7507-721B-F490148C94B5}"/>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93F65DB3-325F-8AA6-6B10-F16FC74168C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4524" b="-1252"/>
          <a:stretch/>
        </p:blipFill>
        <p:spPr bwMode="auto">
          <a:xfrm>
            <a:off x="135399" y="1306857"/>
            <a:ext cx="11921202" cy="5480768"/>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57">
            <a:extLst>
              <a:ext uri="{FF2B5EF4-FFF2-40B4-BE49-F238E27FC236}">
                <a16:creationId xmlns:a16="http://schemas.microsoft.com/office/drawing/2014/main" id="{F5622305-55E4-7611-4F00-D2F7E3E22966}"/>
              </a:ext>
            </a:extLst>
          </p:cNvPr>
          <p:cNvSpPr>
            <a:spLocks noChangeArrowheads="1"/>
          </p:cNvSpPr>
          <p:nvPr/>
        </p:nvSpPr>
        <p:spPr bwMode="gray">
          <a:xfrm>
            <a:off x="226219" y="198916"/>
            <a:ext cx="9409394" cy="830942"/>
          </a:xfrm>
          <a:prstGeom prst="rect">
            <a:avLst/>
          </a:prstGeom>
          <a:noFill/>
          <a:ln w="9525">
            <a:noFill/>
            <a:miter lim="800000"/>
            <a:headEnd/>
            <a:tailEnd/>
          </a:ln>
          <a:effectLst/>
        </p:spPr>
        <p:txBody>
          <a:bodyPr wrap="square" lIns="91386" tIns="45693" rIns="91386" bIns="45693">
            <a:spAutoFit/>
          </a:bodyPr>
          <a:lstStyle/>
          <a:p>
            <a:pPr hangingPunct="1"/>
            <a:r>
              <a:rPr lang="en-GB" sz="3000" noProof="0">
                <a:solidFill>
                  <a:srgbClr val="00456E"/>
                </a:solidFill>
                <a:latin typeface="DM Sans Bold" pitchFamily="2" charset="0"/>
              </a:rPr>
              <a:t>	 </a:t>
            </a:r>
            <a:r>
              <a:rPr lang="en-GB" sz="4800" b="1" noProof="0">
                <a:solidFill>
                  <a:schemeClr val="tx1">
                    <a:lumMod val="95000"/>
                    <a:lumOff val="5000"/>
                  </a:schemeClr>
                </a:solidFill>
                <a:latin typeface="Quattrocento Sans" panose="020B0502050000020003" pitchFamily="34" charset="0"/>
                <a:ea typeface="Lato"/>
                <a:cs typeface="Lato"/>
              </a:rPr>
              <a:t>Datasphere </a:t>
            </a:r>
            <a:r>
              <a:rPr lang="en-GB" sz="4800" b="1" noProof="0" err="1">
                <a:solidFill>
                  <a:schemeClr val="tx1">
                    <a:lumMod val="95000"/>
                    <a:lumOff val="5000"/>
                  </a:schemeClr>
                </a:solidFill>
                <a:latin typeface="Quattrocento Sans" panose="020B0502050000020003" pitchFamily="34" charset="0"/>
                <a:ea typeface="Lato"/>
                <a:cs typeface="Lato"/>
              </a:rPr>
              <a:t>Catalog</a:t>
            </a:r>
            <a:endParaRPr lang="en-GB" sz="4800" b="1" noProof="0">
              <a:solidFill>
                <a:schemeClr val="tx1">
                  <a:lumMod val="95000"/>
                  <a:lumOff val="5000"/>
                </a:schemeClr>
              </a:solidFill>
              <a:latin typeface="Quattrocento Sans" panose="020B0502050000020003" pitchFamily="34" charset="0"/>
              <a:ea typeface="Lato"/>
              <a:cs typeface="Lato"/>
            </a:endParaRPr>
          </a:p>
        </p:txBody>
      </p:sp>
      <p:pic>
        <p:nvPicPr>
          <p:cNvPr id="10" name="Picture 6" descr="SAP Datasphere. Evolución desde SAP BW y SAP BW/4HANA. - ABAST">
            <a:extLst>
              <a:ext uri="{FF2B5EF4-FFF2-40B4-BE49-F238E27FC236}">
                <a16:creationId xmlns:a16="http://schemas.microsoft.com/office/drawing/2014/main" id="{1417851B-CBD4-69C9-109D-6CD86D25FA7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9443" b="18729"/>
          <a:stretch/>
        </p:blipFill>
        <p:spPr bwMode="auto">
          <a:xfrm>
            <a:off x="341700" y="404530"/>
            <a:ext cx="1002325" cy="419713"/>
          </a:xfrm>
          <a:prstGeom prst="rect">
            <a:avLst/>
          </a:prstGeom>
          <a:noFill/>
          <a:extLst>
            <a:ext uri="{909E8E84-426E-40DD-AFC4-6F175D3DCCD1}">
              <a14:hiddenFill xmlns:a14="http://schemas.microsoft.com/office/drawing/2010/main">
                <a:solidFill>
                  <a:srgbClr val="FFFFFF"/>
                </a:solidFill>
              </a14:hiddenFill>
            </a:ext>
          </a:extLst>
        </p:spPr>
      </p:pic>
      <p:pic>
        <p:nvPicPr>
          <p:cNvPr id="2" name="Imagen 1" descr="Logotipo&#10;&#10;Descripción generada automáticamente">
            <a:extLst>
              <a:ext uri="{FF2B5EF4-FFF2-40B4-BE49-F238E27FC236}">
                <a16:creationId xmlns:a16="http://schemas.microsoft.com/office/drawing/2014/main" id="{CF77700B-FECF-9E9E-E43D-08DD4976F7F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75643" y="422965"/>
            <a:ext cx="1935381" cy="446626"/>
          </a:xfrm>
          <a:prstGeom prst="rect">
            <a:avLst/>
          </a:prstGeom>
        </p:spPr>
      </p:pic>
      <p:pic>
        <p:nvPicPr>
          <p:cNvPr id="5" name="Picture 2" descr="AstraZeneca Logo, symbol, meaning, history, PNG, brand">
            <a:extLst>
              <a:ext uri="{FF2B5EF4-FFF2-40B4-BE49-F238E27FC236}">
                <a16:creationId xmlns:a16="http://schemas.microsoft.com/office/drawing/2014/main" id="{E0917B86-C79D-938D-D0A4-8F58DB820AE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75018" y="213658"/>
            <a:ext cx="1267373" cy="7128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305515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5AECC647-433B-F0A9-7E8E-A5B33EB5C45F}"/>
            </a:ext>
          </a:extLst>
        </p:cNvPr>
        <p:cNvGrpSpPr/>
        <p:nvPr/>
      </p:nvGrpSpPr>
      <p:grpSpPr>
        <a:xfrm>
          <a:off x="0" y="0"/>
          <a:ext cx="0" cy="0"/>
          <a:chOff x="0" y="0"/>
          <a:chExt cx="0" cy="0"/>
        </a:xfrm>
      </p:grpSpPr>
      <p:sp>
        <p:nvSpPr>
          <p:cNvPr id="2" name="Rectangle 57">
            <a:extLst>
              <a:ext uri="{FF2B5EF4-FFF2-40B4-BE49-F238E27FC236}">
                <a16:creationId xmlns:a16="http://schemas.microsoft.com/office/drawing/2014/main" id="{E623FF38-D98E-7ED4-5631-90A521BEE79B}"/>
              </a:ext>
            </a:extLst>
          </p:cNvPr>
          <p:cNvSpPr>
            <a:spLocks noChangeArrowheads="1"/>
          </p:cNvSpPr>
          <p:nvPr/>
        </p:nvSpPr>
        <p:spPr bwMode="gray">
          <a:xfrm>
            <a:off x="226220" y="198916"/>
            <a:ext cx="7407741" cy="984830"/>
          </a:xfrm>
          <a:prstGeom prst="rect">
            <a:avLst/>
          </a:prstGeom>
          <a:noFill/>
          <a:ln w="9525">
            <a:noFill/>
            <a:miter lim="800000"/>
            <a:headEnd/>
            <a:tailEnd/>
          </a:ln>
          <a:effectLst/>
        </p:spPr>
        <p:txBody>
          <a:bodyPr wrap="square" lIns="91386" tIns="45693" rIns="91386" bIns="45693">
            <a:spAutoFit/>
          </a:bodyPr>
          <a:lstStyle/>
          <a:p>
            <a:pPr defTabSz="609630"/>
            <a:r>
              <a:rPr lang="en-GB" sz="4000" b="1" kern="0" noProof="0">
                <a:solidFill>
                  <a:srgbClr val="000000">
                    <a:lumMod val="95000"/>
                    <a:lumOff val="5000"/>
                  </a:srgbClr>
                </a:solidFill>
                <a:latin typeface="Quattrocento Sans" panose="020B0502050000020003" pitchFamily="34" charset="0"/>
                <a:ea typeface="Lato"/>
                <a:cs typeface="Lato"/>
                <a:sym typeface="Calibri"/>
              </a:rPr>
              <a:t>Access Automation</a:t>
            </a:r>
          </a:p>
          <a:p>
            <a:pPr defTabSz="609630" hangingPunct="0"/>
            <a:r>
              <a:rPr lang="en-GB" kern="0" noProof="0">
                <a:solidFill>
                  <a:srgbClr val="8A0051"/>
                </a:solidFill>
                <a:latin typeface="Quattrocento Sans" panose="020B0502050000020003" pitchFamily="34" charset="0"/>
                <a:cs typeface="Calibri"/>
                <a:sym typeface="Calibri"/>
              </a:rPr>
              <a:t>Demo</a:t>
            </a:r>
          </a:p>
        </p:txBody>
      </p:sp>
      <p:pic>
        <p:nvPicPr>
          <p:cNvPr id="4" name="Imagen 3" descr="Logotipo&#10;&#10;Descripción generada automáticamente">
            <a:extLst>
              <a:ext uri="{FF2B5EF4-FFF2-40B4-BE49-F238E27FC236}">
                <a16:creationId xmlns:a16="http://schemas.microsoft.com/office/drawing/2014/main" id="{7C49F052-00A3-5060-7AB5-796E732EA75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75643" y="422965"/>
            <a:ext cx="1935381" cy="446626"/>
          </a:xfrm>
          <a:prstGeom prst="rect">
            <a:avLst/>
          </a:prstGeom>
        </p:spPr>
      </p:pic>
      <p:pic>
        <p:nvPicPr>
          <p:cNvPr id="5" name="Picture 2" descr="AstraZeneca Logo, symbol, meaning, history, PNG, brand">
            <a:extLst>
              <a:ext uri="{FF2B5EF4-FFF2-40B4-BE49-F238E27FC236}">
                <a16:creationId xmlns:a16="http://schemas.microsoft.com/office/drawing/2014/main" id="{95198020-13C8-B8CA-28FA-2FC11D4079A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75018" y="213658"/>
            <a:ext cx="1267373" cy="7128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052187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D2562E23-C622-2960-2065-A169D6592D5C}"/>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48DD789E-A9FE-B372-5A27-1AFC4B15596D}"/>
              </a:ext>
            </a:extLst>
          </p:cNvPr>
          <p:cNvSpPr>
            <a:spLocks noGrp="1"/>
          </p:cNvSpPr>
          <p:nvPr>
            <p:ph type="title"/>
          </p:nvPr>
        </p:nvSpPr>
        <p:spPr/>
        <p:txBody>
          <a:bodyPr/>
          <a:lstStyle/>
          <a:p>
            <a:r>
              <a:rPr lang="en-GB" noProof="0"/>
              <a:t>2. Data Governance</a:t>
            </a:r>
          </a:p>
        </p:txBody>
      </p:sp>
      <p:sp>
        <p:nvSpPr>
          <p:cNvPr id="3" name="CuadroTexto 2">
            <a:extLst>
              <a:ext uri="{FF2B5EF4-FFF2-40B4-BE49-F238E27FC236}">
                <a16:creationId xmlns:a16="http://schemas.microsoft.com/office/drawing/2014/main" id="{EE11F5B3-CAF0-E17F-A979-763601E5317F}"/>
              </a:ext>
            </a:extLst>
          </p:cNvPr>
          <p:cNvSpPr txBox="1"/>
          <p:nvPr/>
        </p:nvSpPr>
        <p:spPr>
          <a:xfrm>
            <a:off x="1326382" y="994787"/>
            <a:ext cx="2606611" cy="923330"/>
          </a:xfrm>
          <a:prstGeom prst="rect">
            <a:avLst/>
          </a:prstGeom>
          <a:noFill/>
        </p:spPr>
        <p:txBody>
          <a:bodyPr wrap="none" rtlCol="0">
            <a:spAutoFit/>
          </a:bodyPr>
          <a:lstStyle/>
          <a:p>
            <a:pPr marL="285750" indent="-285750">
              <a:buFont typeface="Arial" panose="020B0604020202020204" pitchFamily="34" charset="0"/>
              <a:buChar char="•"/>
            </a:pPr>
            <a:r>
              <a:rPr lang="en-GB" noProof="0" err="1"/>
              <a:t>Seguridad</a:t>
            </a:r>
            <a:endParaRPr lang="en-GB" noProof="0"/>
          </a:p>
          <a:p>
            <a:pPr marL="742950" lvl="1" indent="-285750">
              <a:buFont typeface="Arial" panose="020B0604020202020204" pitchFamily="34" charset="0"/>
              <a:buChar char="•"/>
            </a:pPr>
            <a:r>
              <a:rPr lang="en-GB" noProof="0" err="1"/>
              <a:t>Analítica</a:t>
            </a:r>
            <a:endParaRPr lang="en-GB" noProof="0"/>
          </a:p>
          <a:p>
            <a:pPr marL="742950" lvl="1" indent="-285750">
              <a:buFont typeface="Arial" panose="020B0604020202020204" pitchFamily="34" charset="0"/>
              <a:buChar char="•"/>
            </a:pPr>
            <a:r>
              <a:rPr lang="en-GB" noProof="0" err="1"/>
              <a:t>Automatizaciones</a:t>
            </a:r>
            <a:endParaRPr lang="en-GB" noProof="0"/>
          </a:p>
        </p:txBody>
      </p:sp>
      <p:graphicFrame>
        <p:nvGraphicFramePr>
          <p:cNvPr id="6" name="Tabla 5">
            <a:extLst>
              <a:ext uri="{FF2B5EF4-FFF2-40B4-BE49-F238E27FC236}">
                <a16:creationId xmlns:a16="http://schemas.microsoft.com/office/drawing/2014/main" id="{141C3DF6-63F8-033F-052A-155FF9801310}"/>
              </a:ext>
            </a:extLst>
          </p:cNvPr>
          <p:cNvGraphicFramePr>
            <a:graphicFrameLocks noGrp="1"/>
          </p:cNvGraphicFramePr>
          <p:nvPr>
            <p:extLst>
              <p:ext uri="{D42A27DB-BD31-4B8C-83A1-F6EECF244321}">
                <p14:modId xmlns:p14="http://schemas.microsoft.com/office/powerpoint/2010/main" val="2605577191"/>
              </p:ext>
            </p:extLst>
          </p:nvPr>
        </p:nvGraphicFramePr>
        <p:xfrm>
          <a:off x="214507" y="2478437"/>
          <a:ext cx="11381291" cy="3490283"/>
        </p:xfrm>
        <a:graphic>
          <a:graphicData uri="http://schemas.openxmlformats.org/drawingml/2006/table">
            <a:tbl>
              <a:tblPr/>
              <a:tblGrid>
                <a:gridCol w="145755">
                  <a:extLst>
                    <a:ext uri="{9D8B030D-6E8A-4147-A177-3AD203B41FA5}">
                      <a16:colId xmlns:a16="http://schemas.microsoft.com/office/drawing/2014/main" val="3291284738"/>
                    </a:ext>
                  </a:extLst>
                </a:gridCol>
                <a:gridCol w="2808884">
                  <a:extLst>
                    <a:ext uri="{9D8B030D-6E8A-4147-A177-3AD203B41FA5}">
                      <a16:colId xmlns:a16="http://schemas.microsoft.com/office/drawing/2014/main" val="905413133"/>
                    </a:ext>
                  </a:extLst>
                </a:gridCol>
                <a:gridCol w="2808884">
                  <a:extLst>
                    <a:ext uri="{9D8B030D-6E8A-4147-A177-3AD203B41FA5}">
                      <a16:colId xmlns:a16="http://schemas.microsoft.com/office/drawing/2014/main" val="1832388213"/>
                    </a:ext>
                  </a:extLst>
                </a:gridCol>
                <a:gridCol w="2808884">
                  <a:extLst>
                    <a:ext uri="{9D8B030D-6E8A-4147-A177-3AD203B41FA5}">
                      <a16:colId xmlns:a16="http://schemas.microsoft.com/office/drawing/2014/main" val="2619890013"/>
                    </a:ext>
                  </a:extLst>
                </a:gridCol>
                <a:gridCol w="2808884">
                  <a:extLst>
                    <a:ext uri="{9D8B030D-6E8A-4147-A177-3AD203B41FA5}">
                      <a16:colId xmlns:a16="http://schemas.microsoft.com/office/drawing/2014/main" val="440093676"/>
                    </a:ext>
                  </a:extLst>
                </a:gridCol>
              </a:tblGrid>
              <a:tr h="379882">
                <a:tc>
                  <a:txBody>
                    <a:bodyPr/>
                    <a:lstStyle/>
                    <a:p>
                      <a:r>
                        <a:rPr lang="en-GB" sz="1600" noProof="0"/>
                        <a:t>#</a:t>
                      </a:r>
                    </a:p>
                  </a:txBody>
                  <a:tcPr marL="32007" marR="32007" marT="16003" marB="16003" anchor="ctr">
                    <a:lnL>
                      <a:noFill/>
                    </a:lnL>
                    <a:lnR>
                      <a:noFill/>
                    </a:lnR>
                    <a:lnT>
                      <a:noFill/>
                    </a:lnT>
                    <a:lnB>
                      <a:noFill/>
                    </a:lnB>
                    <a:noFill/>
                  </a:tcPr>
                </a:tc>
                <a:tc>
                  <a:txBody>
                    <a:bodyPr/>
                    <a:lstStyle/>
                    <a:p>
                      <a:r>
                        <a:rPr lang="en-GB" sz="1600" noProof="0"/>
                        <a:t>Pitch module</a:t>
                      </a:r>
                    </a:p>
                  </a:txBody>
                  <a:tcPr marL="32007" marR="32007" marT="16003" marB="16003" anchor="ctr">
                    <a:lnL>
                      <a:noFill/>
                    </a:lnL>
                    <a:lnR>
                      <a:noFill/>
                    </a:lnR>
                    <a:lnT>
                      <a:noFill/>
                    </a:lnT>
                    <a:lnB>
                      <a:noFill/>
                    </a:lnB>
                    <a:noFill/>
                  </a:tcPr>
                </a:tc>
                <a:tc>
                  <a:txBody>
                    <a:bodyPr/>
                    <a:lstStyle/>
                    <a:p>
                      <a:r>
                        <a:rPr lang="en-GB" sz="1600" noProof="0"/>
                        <a:t>What you offer</a:t>
                      </a:r>
                    </a:p>
                  </a:txBody>
                  <a:tcPr marL="32007" marR="32007" marT="16003" marB="16003" anchor="ctr">
                    <a:lnL>
                      <a:noFill/>
                    </a:lnL>
                    <a:lnR>
                      <a:noFill/>
                    </a:lnR>
                    <a:lnT>
                      <a:noFill/>
                    </a:lnT>
                    <a:lnB>
                      <a:noFill/>
                    </a:lnB>
                    <a:noFill/>
                  </a:tcPr>
                </a:tc>
                <a:tc>
                  <a:txBody>
                    <a:bodyPr/>
                    <a:lstStyle/>
                    <a:p>
                      <a:r>
                        <a:rPr lang="en-GB" sz="1600" noProof="0"/>
                        <a:t>Why Simon cares</a:t>
                      </a:r>
                    </a:p>
                  </a:txBody>
                  <a:tcPr marL="32007" marR="32007" marT="16003" marB="16003" anchor="ctr">
                    <a:lnL>
                      <a:noFill/>
                    </a:lnL>
                    <a:lnR>
                      <a:noFill/>
                    </a:lnR>
                    <a:lnT>
                      <a:noFill/>
                    </a:lnT>
                    <a:lnB>
                      <a:noFill/>
                    </a:lnB>
                    <a:noFill/>
                  </a:tcPr>
                </a:tc>
                <a:tc>
                  <a:txBody>
                    <a:bodyPr/>
                    <a:lstStyle/>
                    <a:p>
                      <a:r>
                        <a:rPr lang="en-GB" sz="1600" noProof="0"/>
                        <a:t>Quick proof / activity</a:t>
                      </a:r>
                    </a:p>
                  </a:txBody>
                  <a:tcPr marL="32007" marR="32007" marT="16003" marB="16003" anchor="ctr">
                    <a:lnL>
                      <a:noFill/>
                    </a:lnL>
                    <a:lnR>
                      <a:noFill/>
                    </a:lnR>
                    <a:lnT>
                      <a:noFill/>
                    </a:lnT>
                    <a:lnB>
                      <a:noFill/>
                    </a:lnB>
                    <a:noFill/>
                  </a:tcPr>
                </a:tc>
                <a:extLst>
                  <a:ext uri="{0D108BD9-81ED-4DB2-BD59-A6C34878D82A}">
                    <a16:rowId xmlns:a16="http://schemas.microsoft.com/office/drawing/2014/main" val="1550710417"/>
                  </a:ext>
                </a:extLst>
              </a:tr>
              <a:tr h="1723103">
                <a:tc>
                  <a:txBody>
                    <a:bodyPr/>
                    <a:lstStyle/>
                    <a:p>
                      <a:r>
                        <a:rPr lang="en-GB" sz="1600" b="1" noProof="0"/>
                        <a:t>4</a:t>
                      </a:r>
                      <a:endParaRPr lang="en-GB" sz="1600" noProof="0"/>
                    </a:p>
                  </a:txBody>
                  <a:tcPr marL="32007" marR="32007" marT="16003" marB="16003" anchor="ctr">
                    <a:lnL>
                      <a:noFill/>
                    </a:lnL>
                    <a:lnR>
                      <a:noFill/>
                    </a:lnR>
                    <a:lnT>
                      <a:noFill/>
                    </a:lnT>
                    <a:lnB>
                      <a:noFill/>
                    </a:lnB>
                    <a:noFill/>
                  </a:tcPr>
                </a:tc>
                <a:tc>
                  <a:txBody>
                    <a:bodyPr/>
                    <a:lstStyle/>
                    <a:p>
                      <a:r>
                        <a:rPr lang="en-GB" sz="1600" b="1" noProof="0"/>
                        <a:t>Secure Self-Service &amp; FinOps Automation</a:t>
                      </a:r>
                      <a:endParaRPr lang="en-GB" sz="1600" noProof="0"/>
                    </a:p>
                  </a:txBody>
                  <a:tcPr marL="32007" marR="32007" marT="16003" marB="16003" anchor="ctr">
                    <a:lnL>
                      <a:noFill/>
                    </a:lnL>
                    <a:lnR>
                      <a:noFill/>
                    </a:lnR>
                    <a:lnT>
                      <a:noFill/>
                    </a:lnT>
                    <a:lnB>
                      <a:noFill/>
                    </a:lnB>
                    <a:noFill/>
                  </a:tcPr>
                </a:tc>
                <a:tc>
                  <a:txBody>
                    <a:bodyPr/>
                    <a:lstStyle/>
                    <a:p>
                      <a:r>
                        <a:rPr lang="en-GB" sz="1600" noProof="0"/>
                        <a:t>API-driven space/role provisioning, charge-back dashboards, privacy patterns for M&amp;A/tax work.</a:t>
                      </a:r>
                    </a:p>
                  </a:txBody>
                  <a:tcPr marL="32007" marR="32007" marT="16003" marB="16003" anchor="ctr">
                    <a:lnL>
                      <a:noFill/>
                    </a:lnL>
                    <a:lnR>
                      <a:noFill/>
                    </a:lnR>
                    <a:lnT>
                      <a:noFill/>
                    </a:lnT>
                    <a:lnB>
                      <a:noFill/>
                    </a:lnB>
                    <a:noFill/>
                  </a:tcPr>
                </a:tc>
                <a:tc>
                  <a:txBody>
                    <a:bodyPr/>
                    <a:lstStyle/>
                    <a:p>
                      <a:r>
                        <a:rPr lang="en-GB" sz="1600" noProof="0"/>
                        <a:t>Eliminates manual tickets and gives cost transparency.</a:t>
                      </a:r>
                    </a:p>
                  </a:txBody>
                  <a:tcPr marL="32007" marR="32007" marT="16003" marB="16003" anchor="ctr">
                    <a:lnL>
                      <a:noFill/>
                    </a:lnL>
                    <a:lnR>
                      <a:noFill/>
                    </a:lnR>
                    <a:lnT>
                      <a:noFill/>
                    </a:lnT>
                    <a:lnB>
                      <a:noFill/>
                    </a:lnB>
                    <a:noFill/>
                  </a:tcPr>
                </a:tc>
                <a:tc>
                  <a:txBody>
                    <a:bodyPr/>
                    <a:lstStyle/>
                    <a:p>
                      <a:r>
                        <a:rPr lang="en-GB" sz="1600" noProof="0"/>
                        <a:t>• POC in non-prod tenant with automated approval</a:t>
                      </a:r>
                    </a:p>
                  </a:txBody>
                  <a:tcPr marL="32007" marR="32007" marT="16003" marB="16003" anchor="ctr">
                    <a:lnL>
                      <a:noFill/>
                    </a:lnL>
                    <a:lnR>
                      <a:noFill/>
                    </a:lnR>
                    <a:lnT>
                      <a:noFill/>
                    </a:lnT>
                    <a:lnB>
                      <a:noFill/>
                    </a:lnB>
                    <a:noFill/>
                  </a:tcPr>
                </a:tc>
                <a:extLst>
                  <a:ext uri="{0D108BD9-81ED-4DB2-BD59-A6C34878D82A}">
                    <a16:rowId xmlns:a16="http://schemas.microsoft.com/office/drawing/2014/main" val="372935898"/>
                  </a:ext>
                </a:extLst>
              </a:tr>
              <a:tr h="1387298">
                <a:tc>
                  <a:txBody>
                    <a:bodyPr/>
                    <a:lstStyle/>
                    <a:p>
                      <a:r>
                        <a:rPr lang="en-GB" sz="1600" b="1" noProof="0"/>
                        <a:t>5</a:t>
                      </a:r>
                      <a:endParaRPr lang="en-GB" sz="1600" noProof="0"/>
                    </a:p>
                  </a:txBody>
                  <a:tcPr marL="32007" marR="32007" marT="16003" marB="16003" anchor="ctr">
                    <a:lnL>
                      <a:noFill/>
                    </a:lnL>
                    <a:lnR>
                      <a:noFill/>
                    </a:lnR>
                    <a:lnT>
                      <a:noFill/>
                    </a:lnT>
                    <a:lnB>
                      <a:noFill/>
                    </a:lnB>
                    <a:noFill/>
                  </a:tcPr>
                </a:tc>
                <a:tc>
                  <a:txBody>
                    <a:bodyPr/>
                    <a:lstStyle/>
                    <a:p>
                      <a:r>
                        <a:rPr lang="en-GB" sz="1600" b="1" noProof="0"/>
                        <a:t>Adoption &amp; UX Enablement</a:t>
                      </a:r>
                      <a:endParaRPr lang="en-GB" sz="1600" noProof="0"/>
                    </a:p>
                  </a:txBody>
                  <a:tcPr marL="32007" marR="32007" marT="16003" marB="16003" anchor="ctr">
                    <a:lnL>
                      <a:noFill/>
                    </a:lnL>
                    <a:lnR>
                      <a:noFill/>
                    </a:lnR>
                    <a:lnT>
                      <a:noFill/>
                    </a:lnT>
                    <a:lnB>
                      <a:noFill/>
                    </a:lnB>
                    <a:noFill/>
                  </a:tcPr>
                </a:tc>
                <a:tc>
                  <a:txBody>
                    <a:bodyPr/>
                    <a:lstStyle/>
                    <a:p>
                      <a:r>
                        <a:rPr lang="en-GB" sz="1600" noProof="0"/>
                        <a:t>Unified semantic layer + metric store, SAC &amp; Power BI starter kits, tiered self-service playbook.</a:t>
                      </a:r>
                    </a:p>
                  </a:txBody>
                  <a:tcPr marL="32007" marR="32007" marT="16003" marB="16003" anchor="ctr">
                    <a:lnL>
                      <a:noFill/>
                    </a:lnL>
                    <a:lnR>
                      <a:noFill/>
                    </a:lnR>
                    <a:lnT>
                      <a:noFill/>
                    </a:lnT>
                    <a:lnB>
                      <a:noFill/>
                    </a:lnB>
                    <a:noFill/>
                  </a:tcPr>
                </a:tc>
                <a:tc>
                  <a:txBody>
                    <a:bodyPr/>
                    <a:lstStyle/>
                    <a:p>
                      <a:r>
                        <a:rPr lang="en-GB" sz="1600" noProof="0"/>
                        <a:t>Keeps users from defaulting to legacy BI; “build once, consume many.”</a:t>
                      </a:r>
                    </a:p>
                  </a:txBody>
                  <a:tcPr marL="32007" marR="32007" marT="16003" marB="16003" anchor="ctr">
                    <a:lnL>
                      <a:noFill/>
                    </a:lnL>
                    <a:lnR>
                      <a:noFill/>
                    </a:lnR>
                    <a:lnT>
                      <a:noFill/>
                    </a:lnT>
                    <a:lnB>
                      <a:noFill/>
                    </a:lnB>
                    <a:noFill/>
                  </a:tcPr>
                </a:tc>
                <a:tc>
                  <a:txBody>
                    <a:bodyPr/>
                    <a:lstStyle/>
                    <a:p>
                      <a:r>
                        <a:rPr lang="en-GB" sz="1600" noProof="0"/>
                        <a:t>• Twin reference dashboards (SAC + Power BI) on same KPI• 1-day user clinic</a:t>
                      </a:r>
                    </a:p>
                  </a:txBody>
                  <a:tcPr marL="32007" marR="32007" marT="16003" marB="16003" anchor="ctr">
                    <a:lnL>
                      <a:noFill/>
                    </a:lnL>
                    <a:lnR>
                      <a:noFill/>
                    </a:lnR>
                    <a:lnT>
                      <a:noFill/>
                    </a:lnT>
                    <a:lnB>
                      <a:noFill/>
                    </a:lnB>
                    <a:noFill/>
                  </a:tcPr>
                </a:tc>
                <a:extLst>
                  <a:ext uri="{0D108BD9-81ED-4DB2-BD59-A6C34878D82A}">
                    <a16:rowId xmlns:a16="http://schemas.microsoft.com/office/drawing/2014/main" val="349993012"/>
                  </a:ext>
                </a:extLst>
              </a:tr>
            </a:tbl>
          </a:graphicData>
        </a:graphic>
      </p:graphicFrame>
    </p:spTree>
    <p:extLst>
      <p:ext uri="{BB962C8B-B14F-4D97-AF65-F5344CB8AC3E}">
        <p14:creationId xmlns:p14="http://schemas.microsoft.com/office/powerpoint/2010/main" val="355950746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098" name="Picture 2">
            <a:extLst>
              <a:ext uri="{FF2B5EF4-FFF2-40B4-BE49-F238E27FC236}">
                <a16:creationId xmlns:a16="http://schemas.microsoft.com/office/drawing/2014/main" id="{F097EBAB-4FF9-245E-C7CD-D322F7FD376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1498" y="1168912"/>
            <a:ext cx="10805001" cy="5184565"/>
          </a:xfrm>
          <a:prstGeom prst="rect">
            <a:avLst/>
          </a:prstGeom>
          <a:noFill/>
          <a:extLst>
            <a:ext uri="{909E8E84-426E-40DD-AFC4-6F175D3DCCD1}">
              <a14:hiddenFill xmlns:a14="http://schemas.microsoft.com/office/drawing/2010/main">
                <a:solidFill>
                  <a:srgbClr val="FFFFFF"/>
                </a:solidFill>
              </a14:hiddenFill>
            </a:ext>
          </a:extLst>
        </p:spPr>
      </p:pic>
      <p:sp>
        <p:nvSpPr>
          <p:cNvPr id="4" name="CuadroTexto 3">
            <a:extLst>
              <a:ext uri="{FF2B5EF4-FFF2-40B4-BE49-F238E27FC236}">
                <a16:creationId xmlns:a16="http://schemas.microsoft.com/office/drawing/2014/main" id="{E92909FD-1885-A311-8F35-3FCA05EB1FA3}"/>
              </a:ext>
            </a:extLst>
          </p:cNvPr>
          <p:cNvSpPr txBox="1"/>
          <p:nvPr/>
        </p:nvSpPr>
        <p:spPr>
          <a:xfrm>
            <a:off x="3225800" y="483573"/>
            <a:ext cx="7823200" cy="738664"/>
          </a:xfrm>
          <a:prstGeom prst="rect">
            <a:avLst/>
          </a:prstGeom>
          <a:noFill/>
        </p:spPr>
        <p:txBody>
          <a:bodyPr wrap="square">
            <a:spAutoFit/>
          </a:bodyPr>
          <a:lstStyle/>
          <a:p>
            <a:r>
              <a:rPr lang="en-GB" sz="1400" noProof="0">
                <a:latin typeface="Quattrocento Sans" panose="020B0502050000020003" pitchFamily="34" charset="0"/>
              </a:rPr>
              <a:t>SAP BTP enables organisations to </a:t>
            </a:r>
            <a:r>
              <a:rPr lang="en-GB" sz="1400" b="1" noProof="0">
                <a:latin typeface="Quattrocento Sans" panose="020B0502050000020003" pitchFamily="34" charset="0"/>
              </a:rPr>
              <a:t>outperform the competition</a:t>
            </a:r>
            <a:r>
              <a:rPr lang="en-GB" sz="1400" noProof="0">
                <a:latin typeface="Quattrocento Sans" panose="020B0502050000020003" pitchFamily="34" charset="0"/>
              </a:rPr>
              <a:t>, drive business value, and deliver great customer experiences, all through a single platform that includes applications, automation, integration, data and analytics, and artificial intelligence.</a:t>
            </a:r>
          </a:p>
        </p:txBody>
      </p:sp>
      <p:sp>
        <p:nvSpPr>
          <p:cNvPr id="5" name="Rectangle 57">
            <a:extLst>
              <a:ext uri="{FF2B5EF4-FFF2-40B4-BE49-F238E27FC236}">
                <a16:creationId xmlns:a16="http://schemas.microsoft.com/office/drawing/2014/main" id="{B9145FA5-28AF-ECFD-CE27-983522E02D27}"/>
              </a:ext>
            </a:extLst>
          </p:cNvPr>
          <p:cNvSpPr>
            <a:spLocks noChangeArrowheads="1"/>
          </p:cNvSpPr>
          <p:nvPr/>
        </p:nvSpPr>
        <p:spPr bwMode="gray">
          <a:xfrm>
            <a:off x="409099" y="504523"/>
            <a:ext cx="6355089" cy="830942"/>
          </a:xfrm>
          <a:prstGeom prst="rect">
            <a:avLst/>
          </a:prstGeom>
          <a:noFill/>
          <a:ln w="9525">
            <a:noFill/>
            <a:miter lim="800000"/>
            <a:headEnd/>
            <a:tailEnd/>
          </a:ln>
          <a:effectLst/>
        </p:spPr>
        <p:txBody>
          <a:bodyPr wrap="square" lIns="91386" tIns="45693" rIns="91386" bIns="45693">
            <a:spAutoFit/>
          </a:bodyPr>
          <a:lstStyle/>
          <a:p>
            <a:pPr defTabSz="914446">
              <a:buClr>
                <a:srgbClr val="000000"/>
              </a:buClr>
            </a:pPr>
            <a:r>
              <a:rPr lang="en-GB" sz="4800" b="1" noProof="0">
                <a:latin typeface="Quattrocento Sans" panose="020B0502050000020003" pitchFamily="34" charset="0"/>
                <a:ea typeface="Lato"/>
                <a:cs typeface="Lato"/>
                <a:sym typeface="Arial"/>
              </a:rPr>
              <a:t>SAP BTP</a:t>
            </a:r>
          </a:p>
        </p:txBody>
      </p:sp>
      <p:sp>
        <p:nvSpPr>
          <p:cNvPr id="6" name="Google Shape;3348;g30e148d11da_7_119">
            <a:extLst>
              <a:ext uri="{FF2B5EF4-FFF2-40B4-BE49-F238E27FC236}">
                <a16:creationId xmlns:a16="http://schemas.microsoft.com/office/drawing/2014/main" id="{61143EC0-CF25-AAF5-D4F1-A30D2DD8D777}"/>
              </a:ext>
            </a:extLst>
          </p:cNvPr>
          <p:cNvSpPr txBox="1"/>
          <p:nvPr/>
        </p:nvSpPr>
        <p:spPr>
          <a:xfrm>
            <a:off x="715034" y="156141"/>
            <a:ext cx="2510766" cy="348382"/>
          </a:xfrm>
          <a:prstGeom prst="rect">
            <a:avLst/>
          </a:prstGeom>
          <a:noFill/>
          <a:ln>
            <a:noFill/>
          </a:ln>
        </p:spPr>
        <p:txBody>
          <a:bodyPr spcFirstLastPara="1" wrap="square" lIns="0" tIns="45700" rIns="91425" bIns="45700" anchor="t" anchorCtr="0">
            <a:noAutofit/>
          </a:bodyPr>
          <a:lstStyle/>
          <a:p>
            <a:pPr defTabSz="914446">
              <a:buClr>
                <a:srgbClr val="FFFFFF"/>
              </a:buClr>
              <a:buSzPts val="1200"/>
              <a:defRPr/>
            </a:pPr>
            <a:r>
              <a:rPr lang="en-GB" sz="1200" b="1" kern="0" noProof="0">
                <a:solidFill>
                  <a:srgbClr val="000000"/>
                </a:solidFill>
                <a:latin typeface="Montserrat"/>
                <a:ea typeface="Montserrat"/>
                <a:cs typeface="Montserrat"/>
                <a:sym typeface="Montserrat"/>
              </a:rPr>
              <a:t>Data Driven </a:t>
            </a:r>
            <a:r>
              <a:rPr lang="en-GB" sz="1200" kern="0" noProof="0">
                <a:solidFill>
                  <a:srgbClr val="000000"/>
                </a:solidFill>
                <a:latin typeface="Montserrat"/>
                <a:ea typeface="Montserrat"/>
                <a:cs typeface="Montserrat"/>
                <a:sym typeface="Montserrat"/>
              </a:rPr>
              <a:t>Business</a:t>
            </a:r>
            <a:endParaRPr lang="en-GB" sz="1200" kern="0" baseline="30000" noProof="0">
              <a:solidFill>
                <a:srgbClr val="000000"/>
              </a:solidFill>
              <a:latin typeface="Montserrat"/>
              <a:ea typeface="Montserrat"/>
              <a:cs typeface="Montserrat"/>
              <a:sym typeface="Montserrat"/>
            </a:endParaRPr>
          </a:p>
        </p:txBody>
      </p:sp>
    </p:spTree>
    <p:extLst>
      <p:ext uri="{BB962C8B-B14F-4D97-AF65-F5344CB8AC3E}">
        <p14:creationId xmlns:p14="http://schemas.microsoft.com/office/powerpoint/2010/main" val="196805608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62F2162-8461-FE98-C353-005EA07348B6}"/>
            </a:ext>
          </a:extLst>
        </p:cNvPr>
        <p:cNvGrpSpPr/>
        <p:nvPr/>
      </p:nvGrpSpPr>
      <p:grpSpPr>
        <a:xfrm>
          <a:off x="0" y="0"/>
          <a:ext cx="0" cy="0"/>
          <a:chOff x="0" y="0"/>
          <a:chExt cx="0" cy="0"/>
        </a:xfrm>
      </p:grpSpPr>
      <p:grpSp>
        <p:nvGrpSpPr>
          <p:cNvPr id="3" name="object 5">
            <a:extLst>
              <a:ext uri="{FF2B5EF4-FFF2-40B4-BE49-F238E27FC236}">
                <a16:creationId xmlns:a16="http://schemas.microsoft.com/office/drawing/2014/main" id="{6F7A2E96-7483-47FD-018D-621AA5BBA2E0}"/>
              </a:ext>
            </a:extLst>
          </p:cNvPr>
          <p:cNvGrpSpPr/>
          <p:nvPr/>
        </p:nvGrpSpPr>
        <p:grpSpPr>
          <a:xfrm>
            <a:off x="409099" y="1799324"/>
            <a:ext cx="1781175" cy="2667635"/>
            <a:chOff x="474116" y="2252878"/>
            <a:chExt cx="1781175" cy="2667635"/>
          </a:xfrm>
        </p:grpSpPr>
        <p:sp>
          <p:nvSpPr>
            <p:cNvPr id="29" name="object 6">
              <a:extLst>
                <a:ext uri="{FF2B5EF4-FFF2-40B4-BE49-F238E27FC236}">
                  <a16:creationId xmlns:a16="http://schemas.microsoft.com/office/drawing/2014/main" id="{0E741B32-41F6-5FDF-965E-83ADA24ED02C}"/>
                </a:ext>
              </a:extLst>
            </p:cNvPr>
            <p:cNvSpPr/>
            <p:nvPr/>
          </p:nvSpPr>
          <p:spPr>
            <a:xfrm>
              <a:off x="474116" y="2252878"/>
              <a:ext cx="1781175" cy="2667635"/>
            </a:xfrm>
            <a:custGeom>
              <a:avLst/>
              <a:gdLst/>
              <a:ahLst/>
              <a:cxnLst/>
              <a:rect l="l" t="t" r="r" b="b"/>
              <a:pathLst>
                <a:path w="1781175" h="2667635">
                  <a:moveTo>
                    <a:pt x="1665008" y="0"/>
                  </a:moveTo>
                  <a:lnTo>
                    <a:pt x="115557" y="0"/>
                  </a:lnTo>
                  <a:lnTo>
                    <a:pt x="100485" y="1000"/>
                  </a:lnTo>
                  <a:lnTo>
                    <a:pt x="57962" y="15481"/>
                  </a:lnTo>
                  <a:lnTo>
                    <a:pt x="23892" y="45151"/>
                  </a:lnTo>
                  <a:lnTo>
                    <a:pt x="3950" y="85683"/>
                  </a:lnTo>
                  <a:lnTo>
                    <a:pt x="0" y="115557"/>
                  </a:lnTo>
                  <a:lnTo>
                    <a:pt x="0" y="2552039"/>
                  </a:lnTo>
                  <a:lnTo>
                    <a:pt x="977" y="2566762"/>
                  </a:lnTo>
                  <a:lnTo>
                    <a:pt x="1000" y="2567118"/>
                  </a:lnTo>
                  <a:lnTo>
                    <a:pt x="15481" y="2609646"/>
                  </a:lnTo>
                  <a:lnTo>
                    <a:pt x="45151" y="2643711"/>
                  </a:lnTo>
                  <a:lnTo>
                    <a:pt x="85639" y="2663637"/>
                  </a:lnTo>
                  <a:lnTo>
                    <a:pt x="115557" y="2667596"/>
                  </a:lnTo>
                  <a:lnTo>
                    <a:pt x="1665363" y="2667241"/>
                  </a:lnTo>
                  <a:lnTo>
                    <a:pt x="1709506" y="2658433"/>
                  </a:lnTo>
                  <a:lnTo>
                    <a:pt x="1747037" y="2633398"/>
                  </a:lnTo>
                  <a:lnTo>
                    <a:pt x="1772011" y="2596189"/>
                  </a:lnTo>
                  <a:lnTo>
                    <a:pt x="1780897" y="2552039"/>
                  </a:lnTo>
                  <a:lnTo>
                    <a:pt x="1780921" y="2551684"/>
                  </a:lnTo>
                  <a:lnTo>
                    <a:pt x="1780565" y="115557"/>
                  </a:lnTo>
                  <a:lnTo>
                    <a:pt x="1771757" y="71419"/>
                  </a:lnTo>
                  <a:lnTo>
                    <a:pt x="1746721" y="33888"/>
                  </a:lnTo>
                  <a:lnTo>
                    <a:pt x="1709295" y="8808"/>
                  </a:lnTo>
                  <a:lnTo>
                    <a:pt x="1680084" y="1000"/>
                  </a:lnTo>
                  <a:lnTo>
                    <a:pt x="1665008" y="0"/>
                  </a:lnTo>
                  <a:close/>
                </a:path>
              </a:pathLst>
            </a:custGeom>
            <a:solidFill>
              <a:srgbClr val="2F4168"/>
            </a:solidFill>
          </p:spPr>
          <p:txBody>
            <a:bodyPr wrap="square" lIns="0" tIns="0" rIns="0" bIns="0" rtlCol="0" anchor="t"/>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lang="en-GB" sz="1800" b="0" i="0" u="none" strike="noStrike" kern="0" cap="none" spc="0" normalizeH="0" baseline="0" noProof="0">
                <a:ln>
                  <a:noFill/>
                </a:ln>
                <a:solidFill>
                  <a:sysClr val="windowText" lastClr="000000"/>
                </a:solidFill>
                <a:effectLst/>
                <a:uLnTx/>
                <a:uFillTx/>
                <a:ea typeface="Calibri"/>
                <a:cs typeface="Calibri"/>
              </a:endParaRPr>
            </a:p>
          </p:txBody>
        </p:sp>
        <p:sp>
          <p:nvSpPr>
            <p:cNvPr id="30" name="object 7">
              <a:extLst>
                <a:ext uri="{FF2B5EF4-FFF2-40B4-BE49-F238E27FC236}">
                  <a16:creationId xmlns:a16="http://schemas.microsoft.com/office/drawing/2014/main" id="{259A9193-C0E3-C6AE-C0B8-99DC75FFE673}"/>
                </a:ext>
              </a:extLst>
            </p:cNvPr>
            <p:cNvSpPr/>
            <p:nvPr/>
          </p:nvSpPr>
          <p:spPr>
            <a:xfrm>
              <a:off x="474116" y="2252878"/>
              <a:ext cx="1781175" cy="2667635"/>
            </a:xfrm>
            <a:custGeom>
              <a:avLst/>
              <a:gdLst/>
              <a:ahLst/>
              <a:cxnLst/>
              <a:rect l="l" t="t" r="r" b="b"/>
              <a:pathLst>
                <a:path w="1781175" h="2667635">
                  <a:moveTo>
                    <a:pt x="0" y="115557"/>
                  </a:moveTo>
                  <a:lnTo>
                    <a:pt x="1000" y="100480"/>
                  </a:lnTo>
                  <a:lnTo>
                    <a:pt x="3959" y="85639"/>
                  </a:lnTo>
                  <a:lnTo>
                    <a:pt x="23892" y="45151"/>
                  </a:lnTo>
                  <a:lnTo>
                    <a:pt x="57962" y="15481"/>
                  </a:lnTo>
                  <a:lnTo>
                    <a:pt x="100485" y="1000"/>
                  </a:lnTo>
                  <a:lnTo>
                    <a:pt x="115557" y="0"/>
                  </a:lnTo>
                  <a:lnTo>
                    <a:pt x="1665008" y="0"/>
                  </a:lnTo>
                  <a:lnTo>
                    <a:pt x="1709295" y="8808"/>
                  </a:lnTo>
                  <a:lnTo>
                    <a:pt x="1746721" y="33888"/>
                  </a:lnTo>
                  <a:lnTo>
                    <a:pt x="1771757" y="71419"/>
                  </a:lnTo>
                  <a:lnTo>
                    <a:pt x="1780565" y="115557"/>
                  </a:lnTo>
                  <a:lnTo>
                    <a:pt x="1780921" y="2551684"/>
                  </a:lnTo>
                  <a:lnTo>
                    <a:pt x="1779920" y="2566762"/>
                  </a:lnTo>
                  <a:lnTo>
                    <a:pt x="1776961" y="2581608"/>
                  </a:lnTo>
                  <a:lnTo>
                    <a:pt x="1757033" y="2622095"/>
                  </a:lnTo>
                  <a:lnTo>
                    <a:pt x="1722958" y="2651760"/>
                  </a:lnTo>
                  <a:lnTo>
                    <a:pt x="1680436" y="2666240"/>
                  </a:lnTo>
                  <a:lnTo>
                    <a:pt x="115557" y="2667596"/>
                  </a:lnTo>
                  <a:lnTo>
                    <a:pt x="71269" y="2658788"/>
                  </a:lnTo>
                  <a:lnTo>
                    <a:pt x="33843" y="2633719"/>
                  </a:lnTo>
                  <a:lnTo>
                    <a:pt x="8808" y="2596189"/>
                  </a:lnTo>
                  <a:lnTo>
                    <a:pt x="0" y="2552039"/>
                  </a:lnTo>
                  <a:lnTo>
                    <a:pt x="0" y="115557"/>
                  </a:lnTo>
                  <a:close/>
                </a:path>
              </a:pathLst>
            </a:custGeom>
            <a:ln w="12599">
              <a:solidFill>
                <a:srgbClr val="D8D8D8"/>
              </a:solidFill>
            </a:ln>
          </p:spPr>
          <p:txBody>
            <a:bodyPr wrap="square" lIns="0" tIns="0" rIns="0" bIns="0" rtlCol="0"/>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grpSp>
        <p:nvGrpSpPr>
          <p:cNvPr id="5" name="object 10">
            <a:extLst>
              <a:ext uri="{FF2B5EF4-FFF2-40B4-BE49-F238E27FC236}">
                <a16:creationId xmlns:a16="http://schemas.microsoft.com/office/drawing/2014/main" id="{6F50EBA6-4972-4BF1-9B9C-60DC1C0F09EC}"/>
              </a:ext>
            </a:extLst>
          </p:cNvPr>
          <p:cNvGrpSpPr/>
          <p:nvPr/>
        </p:nvGrpSpPr>
        <p:grpSpPr>
          <a:xfrm>
            <a:off x="2301628" y="1799324"/>
            <a:ext cx="1781175" cy="2667635"/>
            <a:chOff x="2366645" y="2252878"/>
            <a:chExt cx="1781175" cy="2667635"/>
          </a:xfrm>
        </p:grpSpPr>
        <p:sp>
          <p:nvSpPr>
            <p:cNvPr id="27" name="object 11">
              <a:extLst>
                <a:ext uri="{FF2B5EF4-FFF2-40B4-BE49-F238E27FC236}">
                  <a16:creationId xmlns:a16="http://schemas.microsoft.com/office/drawing/2014/main" id="{988A8CE6-A170-D4DB-8C39-EEAF4B7338A5}"/>
                </a:ext>
              </a:extLst>
            </p:cNvPr>
            <p:cNvSpPr/>
            <p:nvPr/>
          </p:nvSpPr>
          <p:spPr>
            <a:xfrm>
              <a:off x="2366645" y="2252878"/>
              <a:ext cx="1781175" cy="2667635"/>
            </a:xfrm>
            <a:custGeom>
              <a:avLst/>
              <a:gdLst/>
              <a:ahLst/>
              <a:cxnLst/>
              <a:rect l="l" t="t" r="r" b="b"/>
              <a:pathLst>
                <a:path w="1781175" h="2667635">
                  <a:moveTo>
                    <a:pt x="1664995" y="0"/>
                  </a:moveTo>
                  <a:lnTo>
                    <a:pt x="115557" y="0"/>
                  </a:lnTo>
                  <a:lnTo>
                    <a:pt x="100478" y="1000"/>
                  </a:lnTo>
                  <a:lnTo>
                    <a:pt x="57950" y="15481"/>
                  </a:lnTo>
                  <a:lnTo>
                    <a:pt x="23885" y="45151"/>
                  </a:lnTo>
                  <a:lnTo>
                    <a:pt x="3950" y="85683"/>
                  </a:lnTo>
                  <a:lnTo>
                    <a:pt x="0" y="115557"/>
                  </a:lnTo>
                  <a:lnTo>
                    <a:pt x="0" y="2552039"/>
                  </a:lnTo>
                  <a:lnTo>
                    <a:pt x="977" y="2566762"/>
                  </a:lnTo>
                  <a:lnTo>
                    <a:pt x="1000" y="2567118"/>
                  </a:lnTo>
                  <a:lnTo>
                    <a:pt x="3896" y="2581608"/>
                  </a:lnTo>
                  <a:lnTo>
                    <a:pt x="3959" y="2581924"/>
                  </a:lnTo>
                  <a:lnTo>
                    <a:pt x="8737" y="2595982"/>
                  </a:lnTo>
                  <a:lnTo>
                    <a:pt x="8808" y="2596189"/>
                  </a:lnTo>
                  <a:lnTo>
                    <a:pt x="15481" y="2609646"/>
                  </a:lnTo>
                  <a:lnTo>
                    <a:pt x="45138" y="2643711"/>
                  </a:lnTo>
                  <a:lnTo>
                    <a:pt x="85628" y="2663637"/>
                  </a:lnTo>
                  <a:lnTo>
                    <a:pt x="115557" y="2667596"/>
                  </a:lnTo>
                  <a:lnTo>
                    <a:pt x="1665351" y="2667241"/>
                  </a:lnTo>
                  <a:lnTo>
                    <a:pt x="1709501" y="2658433"/>
                  </a:lnTo>
                  <a:lnTo>
                    <a:pt x="1747032" y="2633398"/>
                  </a:lnTo>
                  <a:lnTo>
                    <a:pt x="1772006" y="2596189"/>
                  </a:lnTo>
                  <a:lnTo>
                    <a:pt x="1776850" y="2581924"/>
                  </a:lnTo>
                  <a:lnTo>
                    <a:pt x="1776957" y="2581608"/>
                  </a:lnTo>
                  <a:lnTo>
                    <a:pt x="1779847" y="2567118"/>
                  </a:lnTo>
                  <a:lnTo>
                    <a:pt x="1779918" y="2566762"/>
                  </a:lnTo>
                  <a:lnTo>
                    <a:pt x="1780897" y="2552039"/>
                  </a:lnTo>
                  <a:lnTo>
                    <a:pt x="1780552" y="115557"/>
                  </a:lnTo>
                  <a:lnTo>
                    <a:pt x="1771744" y="71419"/>
                  </a:lnTo>
                  <a:lnTo>
                    <a:pt x="1746715" y="33888"/>
                  </a:lnTo>
                  <a:lnTo>
                    <a:pt x="1709293" y="8808"/>
                  </a:lnTo>
                  <a:lnTo>
                    <a:pt x="1680074" y="1000"/>
                  </a:lnTo>
                  <a:lnTo>
                    <a:pt x="1664995" y="0"/>
                  </a:lnTo>
                  <a:close/>
                </a:path>
              </a:pathLst>
            </a:custGeom>
            <a:solidFill>
              <a:srgbClr val="90BDD3"/>
            </a:solidFill>
          </p:spPr>
          <p:txBody>
            <a:bodyPr wrap="square" lIns="0" tIns="0" rIns="0" bIns="0" rtlCol="0"/>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8" name="object 12">
              <a:extLst>
                <a:ext uri="{FF2B5EF4-FFF2-40B4-BE49-F238E27FC236}">
                  <a16:creationId xmlns:a16="http://schemas.microsoft.com/office/drawing/2014/main" id="{6E37D334-E61B-7F25-F5F2-B1241E1F7C61}"/>
                </a:ext>
              </a:extLst>
            </p:cNvPr>
            <p:cNvSpPr/>
            <p:nvPr/>
          </p:nvSpPr>
          <p:spPr>
            <a:xfrm>
              <a:off x="2366645" y="2252878"/>
              <a:ext cx="1781175" cy="2667635"/>
            </a:xfrm>
            <a:custGeom>
              <a:avLst/>
              <a:gdLst/>
              <a:ahLst/>
              <a:cxnLst/>
              <a:rect l="l" t="t" r="r" b="b"/>
              <a:pathLst>
                <a:path w="1781175" h="2667635">
                  <a:moveTo>
                    <a:pt x="0" y="115557"/>
                  </a:moveTo>
                  <a:lnTo>
                    <a:pt x="1000" y="100480"/>
                  </a:lnTo>
                  <a:lnTo>
                    <a:pt x="3959" y="85639"/>
                  </a:lnTo>
                  <a:lnTo>
                    <a:pt x="23885" y="45151"/>
                  </a:lnTo>
                  <a:lnTo>
                    <a:pt x="57950" y="15481"/>
                  </a:lnTo>
                  <a:lnTo>
                    <a:pt x="100478" y="1000"/>
                  </a:lnTo>
                  <a:lnTo>
                    <a:pt x="115557" y="0"/>
                  </a:lnTo>
                  <a:lnTo>
                    <a:pt x="1664995" y="0"/>
                  </a:lnTo>
                  <a:lnTo>
                    <a:pt x="1709293" y="8808"/>
                  </a:lnTo>
                  <a:lnTo>
                    <a:pt x="1746715" y="33888"/>
                  </a:lnTo>
                  <a:lnTo>
                    <a:pt x="1771744" y="71419"/>
                  </a:lnTo>
                  <a:lnTo>
                    <a:pt x="1780552" y="115557"/>
                  </a:lnTo>
                  <a:lnTo>
                    <a:pt x="1780920" y="2551684"/>
                  </a:lnTo>
                  <a:lnTo>
                    <a:pt x="1779918" y="2566762"/>
                  </a:lnTo>
                  <a:lnTo>
                    <a:pt x="1776957" y="2581608"/>
                  </a:lnTo>
                  <a:lnTo>
                    <a:pt x="1757028" y="2622095"/>
                  </a:lnTo>
                  <a:lnTo>
                    <a:pt x="1722958" y="2651760"/>
                  </a:lnTo>
                  <a:lnTo>
                    <a:pt x="1680429" y="2666240"/>
                  </a:lnTo>
                  <a:lnTo>
                    <a:pt x="115557" y="2667596"/>
                  </a:lnTo>
                  <a:lnTo>
                    <a:pt x="71257" y="2658788"/>
                  </a:lnTo>
                  <a:lnTo>
                    <a:pt x="33832" y="2633719"/>
                  </a:lnTo>
                  <a:lnTo>
                    <a:pt x="8808" y="2596189"/>
                  </a:lnTo>
                  <a:lnTo>
                    <a:pt x="0" y="2552039"/>
                  </a:lnTo>
                  <a:lnTo>
                    <a:pt x="0" y="115557"/>
                  </a:lnTo>
                  <a:close/>
                </a:path>
              </a:pathLst>
            </a:custGeom>
            <a:ln w="12599">
              <a:solidFill>
                <a:srgbClr val="D8D8D8"/>
              </a:solidFill>
            </a:ln>
          </p:spPr>
          <p:txBody>
            <a:bodyPr wrap="square" lIns="0" tIns="0" rIns="0" bIns="0" rtlCol="0"/>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sp>
        <p:nvSpPr>
          <p:cNvPr id="6" name="object 13">
            <a:extLst>
              <a:ext uri="{FF2B5EF4-FFF2-40B4-BE49-F238E27FC236}">
                <a16:creationId xmlns:a16="http://schemas.microsoft.com/office/drawing/2014/main" id="{9B56713A-8E1D-5F13-F621-8E3FFDDC6884}"/>
              </a:ext>
            </a:extLst>
          </p:cNvPr>
          <p:cNvSpPr txBox="1"/>
          <p:nvPr/>
        </p:nvSpPr>
        <p:spPr>
          <a:xfrm>
            <a:off x="2479922" y="3685842"/>
            <a:ext cx="1397370" cy="644407"/>
          </a:xfrm>
          <a:prstGeom prst="rect">
            <a:avLst/>
          </a:prstGeom>
        </p:spPr>
        <p:txBody>
          <a:bodyPr vert="horz" wrap="square" lIns="0" tIns="28575" rIns="0" bIns="0" rtlCol="0" anchor="t">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5080" algn="ctr">
              <a:lnSpc>
                <a:spcPts val="1590"/>
              </a:lnSpc>
              <a:spcBef>
                <a:spcPts val="225"/>
              </a:spcBef>
              <a:defRPr/>
            </a:pPr>
            <a:r>
              <a:rPr lang="en-GB" sz="1400" kern="0" spc="-20" noProof="0">
                <a:solidFill>
                  <a:srgbClr val="2F4168"/>
                </a:solidFill>
                <a:latin typeface="Arial Black"/>
                <a:cs typeface="Arial Black"/>
              </a:rPr>
              <a:t>Approval Workflow activation</a:t>
            </a:r>
            <a:endParaRPr lang="en-GB" sz="1400" b="0" i="0" u="none" strike="noStrike" kern="0" cap="none" spc="-20" normalizeH="0" baseline="0" noProof="0">
              <a:ln>
                <a:noFill/>
              </a:ln>
              <a:solidFill>
                <a:srgbClr val="2F4168"/>
              </a:solidFill>
              <a:effectLst/>
              <a:uLnTx/>
              <a:uFillTx/>
              <a:latin typeface="Arial Black"/>
              <a:cs typeface="Arial Black"/>
            </a:endParaRPr>
          </a:p>
        </p:txBody>
      </p:sp>
      <p:grpSp>
        <p:nvGrpSpPr>
          <p:cNvPr id="7" name="object 14">
            <a:extLst>
              <a:ext uri="{FF2B5EF4-FFF2-40B4-BE49-F238E27FC236}">
                <a16:creationId xmlns:a16="http://schemas.microsoft.com/office/drawing/2014/main" id="{9A41D6D6-7D01-D067-1047-56B454423140}"/>
              </a:ext>
            </a:extLst>
          </p:cNvPr>
          <p:cNvGrpSpPr/>
          <p:nvPr/>
        </p:nvGrpSpPr>
        <p:grpSpPr>
          <a:xfrm>
            <a:off x="4194143" y="1799324"/>
            <a:ext cx="1781175" cy="2667635"/>
            <a:chOff x="4259160" y="2252878"/>
            <a:chExt cx="1781175" cy="2667635"/>
          </a:xfrm>
        </p:grpSpPr>
        <p:sp>
          <p:nvSpPr>
            <p:cNvPr id="25" name="object 15">
              <a:extLst>
                <a:ext uri="{FF2B5EF4-FFF2-40B4-BE49-F238E27FC236}">
                  <a16:creationId xmlns:a16="http://schemas.microsoft.com/office/drawing/2014/main" id="{6D57266A-FF8D-D34F-A2C3-EE617DF1A7E7}"/>
                </a:ext>
              </a:extLst>
            </p:cNvPr>
            <p:cNvSpPr/>
            <p:nvPr/>
          </p:nvSpPr>
          <p:spPr>
            <a:xfrm>
              <a:off x="4259160" y="2252878"/>
              <a:ext cx="1781175" cy="2667635"/>
            </a:xfrm>
            <a:custGeom>
              <a:avLst/>
              <a:gdLst/>
              <a:ahLst/>
              <a:cxnLst/>
              <a:rect l="l" t="t" r="r" b="b"/>
              <a:pathLst>
                <a:path w="1781175" h="2667635">
                  <a:moveTo>
                    <a:pt x="1664995" y="0"/>
                  </a:moveTo>
                  <a:lnTo>
                    <a:pt x="115557" y="0"/>
                  </a:lnTo>
                  <a:lnTo>
                    <a:pt x="100484" y="1000"/>
                  </a:lnTo>
                  <a:lnTo>
                    <a:pt x="57962" y="15481"/>
                  </a:lnTo>
                  <a:lnTo>
                    <a:pt x="23892" y="45151"/>
                  </a:lnTo>
                  <a:lnTo>
                    <a:pt x="3950" y="85683"/>
                  </a:lnTo>
                  <a:lnTo>
                    <a:pt x="0" y="115557"/>
                  </a:lnTo>
                  <a:lnTo>
                    <a:pt x="0" y="2552039"/>
                  </a:lnTo>
                  <a:lnTo>
                    <a:pt x="977" y="2566762"/>
                  </a:lnTo>
                  <a:lnTo>
                    <a:pt x="1000" y="2567118"/>
                  </a:lnTo>
                  <a:lnTo>
                    <a:pt x="3896" y="2581608"/>
                  </a:lnTo>
                  <a:lnTo>
                    <a:pt x="3959" y="2581924"/>
                  </a:lnTo>
                  <a:lnTo>
                    <a:pt x="8737" y="2595982"/>
                  </a:lnTo>
                  <a:lnTo>
                    <a:pt x="33842" y="2633719"/>
                  </a:lnTo>
                  <a:lnTo>
                    <a:pt x="71258" y="2658788"/>
                  </a:lnTo>
                  <a:lnTo>
                    <a:pt x="115557" y="2667596"/>
                  </a:lnTo>
                  <a:lnTo>
                    <a:pt x="1665363" y="2667241"/>
                  </a:lnTo>
                  <a:lnTo>
                    <a:pt x="1709501" y="2658433"/>
                  </a:lnTo>
                  <a:lnTo>
                    <a:pt x="1747032" y="2633398"/>
                  </a:lnTo>
                  <a:lnTo>
                    <a:pt x="1772011" y="2596189"/>
                  </a:lnTo>
                  <a:lnTo>
                    <a:pt x="1772112" y="2595982"/>
                  </a:lnTo>
                  <a:lnTo>
                    <a:pt x="1776855" y="2581924"/>
                  </a:lnTo>
                  <a:lnTo>
                    <a:pt x="1776961" y="2581608"/>
                  </a:lnTo>
                  <a:lnTo>
                    <a:pt x="1779849" y="2567118"/>
                  </a:lnTo>
                  <a:lnTo>
                    <a:pt x="1779920" y="2566762"/>
                  </a:lnTo>
                  <a:lnTo>
                    <a:pt x="1780897" y="2552039"/>
                  </a:lnTo>
                  <a:lnTo>
                    <a:pt x="1780920" y="2551684"/>
                  </a:lnTo>
                  <a:lnTo>
                    <a:pt x="1780565" y="115557"/>
                  </a:lnTo>
                  <a:lnTo>
                    <a:pt x="1771751" y="71419"/>
                  </a:lnTo>
                  <a:lnTo>
                    <a:pt x="1746721" y="33888"/>
                  </a:lnTo>
                  <a:lnTo>
                    <a:pt x="1709295" y="8808"/>
                  </a:lnTo>
                  <a:lnTo>
                    <a:pt x="1680079" y="1000"/>
                  </a:lnTo>
                  <a:lnTo>
                    <a:pt x="1664995" y="0"/>
                  </a:lnTo>
                  <a:close/>
                </a:path>
              </a:pathLst>
            </a:custGeom>
            <a:solidFill>
              <a:srgbClr val="D8E7F4"/>
            </a:solidFill>
          </p:spPr>
          <p:txBody>
            <a:bodyPr wrap="square" lIns="0" tIns="0" rIns="0" bIns="0" rtlCol="0"/>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6" name="object 16">
              <a:extLst>
                <a:ext uri="{FF2B5EF4-FFF2-40B4-BE49-F238E27FC236}">
                  <a16:creationId xmlns:a16="http://schemas.microsoft.com/office/drawing/2014/main" id="{28AA2BA6-E3F8-1465-01D6-996144C052E2}"/>
                </a:ext>
              </a:extLst>
            </p:cNvPr>
            <p:cNvSpPr/>
            <p:nvPr/>
          </p:nvSpPr>
          <p:spPr>
            <a:xfrm>
              <a:off x="4259160" y="2252878"/>
              <a:ext cx="1781175" cy="2667635"/>
            </a:xfrm>
            <a:custGeom>
              <a:avLst/>
              <a:gdLst/>
              <a:ahLst/>
              <a:cxnLst/>
              <a:rect l="l" t="t" r="r" b="b"/>
              <a:pathLst>
                <a:path w="1781175" h="2667635">
                  <a:moveTo>
                    <a:pt x="0" y="115557"/>
                  </a:moveTo>
                  <a:lnTo>
                    <a:pt x="1000" y="100480"/>
                  </a:lnTo>
                  <a:lnTo>
                    <a:pt x="3959" y="85639"/>
                  </a:lnTo>
                  <a:lnTo>
                    <a:pt x="23892" y="45151"/>
                  </a:lnTo>
                  <a:lnTo>
                    <a:pt x="57962" y="15481"/>
                  </a:lnTo>
                  <a:lnTo>
                    <a:pt x="100484" y="1000"/>
                  </a:lnTo>
                  <a:lnTo>
                    <a:pt x="115557" y="0"/>
                  </a:lnTo>
                  <a:lnTo>
                    <a:pt x="1664995" y="0"/>
                  </a:lnTo>
                  <a:lnTo>
                    <a:pt x="1709295" y="8808"/>
                  </a:lnTo>
                  <a:lnTo>
                    <a:pt x="1746721" y="33888"/>
                  </a:lnTo>
                  <a:lnTo>
                    <a:pt x="1771751" y="71419"/>
                  </a:lnTo>
                  <a:lnTo>
                    <a:pt x="1780565" y="115557"/>
                  </a:lnTo>
                  <a:lnTo>
                    <a:pt x="1780920" y="2551684"/>
                  </a:lnTo>
                  <a:lnTo>
                    <a:pt x="1779920" y="2566762"/>
                  </a:lnTo>
                  <a:lnTo>
                    <a:pt x="1776961" y="2581608"/>
                  </a:lnTo>
                  <a:lnTo>
                    <a:pt x="1757028" y="2622095"/>
                  </a:lnTo>
                  <a:lnTo>
                    <a:pt x="1722958" y="2651760"/>
                  </a:lnTo>
                  <a:lnTo>
                    <a:pt x="1680435" y="2666240"/>
                  </a:lnTo>
                  <a:lnTo>
                    <a:pt x="115557" y="2667596"/>
                  </a:lnTo>
                  <a:lnTo>
                    <a:pt x="71258" y="2658788"/>
                  </a:lnTo>
                  <a:lnTo>
                    <a:pt x="33842" y="2633719"/>
                  </a:lnTo>
                  <a:lnTo>
                    <a:pt x="8808" y="2596189"/>
                  </a:lnTo>
                  <a:lnTo>
                    <a:pt x="0" y="2552039"/>
                  </a:lnTo>
                  <a:lnTo>
                    <a:pt x="0" y="115557"/>
                  </a:lnTo>
                  <a:close/>
                </a:path>
              </a:pathLst>
            </a:custGeom>
            <a:ln w="12599">
              <a:solidFill>
                <a:srgbClr val="D8D8D8"/>
              </a:solidFill>
            </a:ln>
          </p:spPr>
          <p:txBody>
            <a:bodyPr wrap="square" lIns="0" tIns="0" rIns="0" bIns="0" rtlCol="0"/>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sp>
        <p:nvSpPr>
          <p:cNvPr id="8" name="object 17">
            <a:extLst>
              <a:ext uri="{FF2B5EF4-FFF2-40B4-BE49-F238E27FC236}">
                <a16:creationId xmlns:a16="http://schemas.microsoft.com/office/drawing/2014/main" id="{F21AB7D3-65D0-362C-FB99-7B07D84A065A}"/>
              </a:ext>
            </a:extLst>
          </p:cNvPr>
          <p:cNvSpPr txBox="1"/>
          <p:nvPr/>
        </p:nvSpPr>
        <p:spPr>
          <a:xfrm>
            <a:off x="4279679" y="3685842"/>
            <a:ext cx="1566608" cy="644407"/>
          </a:xfrm>
          <a:prstGeom prst="rect">
            <a:avLst/>
          </a:prstGeom>
        </p:spPr>
        <p:txBody>
          <a:bodyPr vert="horz" wrap="square" lIns="0" tIns="28575" rIns="0" bIns="0" rtlCol="0" anchor="t">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5080" algn="ctr">
              <a:lnSpc>
                <a:spcPts val="1590"/>
              </a:lnSpc>
              <a:spcBef>
                <a:spcPts val="225"/>
              </a:spcBef>
              <a:defRPr/>
            </a:pPr>
            <a:r>
              <a:rPr lang="en-GB" sz="1400" kern="0" spc="-20" noProof="0">
                <a:solidFill>
                  <a:srgbClr val="2F4168"/>
                </a:solidFill>
                <a:latin typeface="Arial Black"/>
                <a:cs typeface="Arial Black"/>
              </a:rPr>
              <a:t>Approval process completion</a:t>
            </a:r>
            <a:endParaRPr lang="en-GB" sz="1400" b="0" i="0" u="none" strike="noStrike" kern="0" cap="none" spc="-20" normalizeH="0" baseline="0" noProof="0">
              <a:ln>
                <a:noFill/>
              </a:ln>
              <a:solidFill>
                <a:srgbClr val="2F4168"/>
              </a:solidFill>
              <a:effectLst/>
              <a:uLnTx/>
              <a:uFillTx/>
              <a:latin typeface="Arial Black"/>
              <a:cs typeface="Arial Black"/>
            </a:endParaRPr>
          </a:p>
        </p:txBody>
      </p:sp>
      <p:grpSp>
        <p:nvGrpSpPr>
          <p:cNvPr id="9" name="object 18">
            <a:extLst>
              <a:ext uri="{FF2B5EF4-FFF2-40B4-BE49-F238E27FC236}">
                <a16:creationId xmlns:a16="http://schemas.microsoft.com/office/drawing/2014/main" id="{432914F2-22C5-6452-175E-53931347D63E}"/>
              </a:ext>
            </a:extLst>
          </p:cNvPr>
          <p:cNvGrpSpPr/>
          <p:nvPr/>
        </p:nvGrpSpPr>
        <p:grpSpPr>
          <a:xfrm>
            <a:off x="6087028" y="1799324"/>
            <a:ext cx="1781175" cy="2667635"/>
            <a:chOff x="6152045" y="2252878"/>
            <a:chExt cx="1781175" cy="2667635"/>
          </a:xfrm>
        </p:grpSpPr>
        <p:sp>
          <p:nvSpPr>
            <p:cNvPr id="23" name="object 19">
              <a:extLst>
                <a:ext uri="{FF2B5EF4-FFF2-40B4-BE49-F238E27FC236}">
                  <a16:creationId xmlns:a16="http://schemas.microsoft.com/office/drawing/2014/main" id="{44052CAA-6692-1878-B730-B6C3B1B25BFC}"/>
                </a:ext>
              </a:extLst>
            </p:cNvPr>
            <p:cNvSpPr/>
            <p:nvPr/>
          </p:nvSpPr>
          <p:spPr>
            <a:xfrm>
              <a:off x="6152045" y="2252878"/>
              <a:ext cx="1781175" cy="2667635"/>
            </a:xfrm>
            <a:custGeom>
              <a:avLst/>
              <a:gdLst/>
              <a:ahLst/>
              <a:cxnLst/>
              <a:rect l="l" t="t" r="r" b="b"/>
              <a:pathLst>
                <a:path w="1781175" h="2667635">
                  <a:moveTo>
                    <a:pt x="1664995" y="0"/>
                  </a:moveTo>
                  <a:lnTo>
                    <a:pt x="115557" y="0"/>
                  </a:lnTo>
                  <a:lnTo>
                    <a:pt x="100478" y="1000"/>
                  </a:lnTo>
                  <a:lnTo>
                    <a:pt x="57950" y="15481"/>
                  </a:lnTo>
                  <a:lnTo>
                    <a:pt x="23879" y="45151"/>
                  </a:lnTo>
                  <a:lnTo>
                    <a:pt x="3948" y="85683"/>
                  </a:lnTo>
                  <a:lnTo>
                    <a:pt x="0" y="115557"/>
                  </a:lnTo>
                  <a:lnTo>
                    <a:pt x="0" y="2552039"/>
                  </a:lnTo>
                  <a:lnTo>
                    <a:pt x="977" y="2566762"/>
                  </a:lnTo>
                  <a:lnTo>
                    <a:pt x="1000" y="2567118"/>
                  </a:lnTo>
                  <a:lnTo>
                    <a:pt x="3894" y="2581608"/>
                  </a:lnTo>
                  <a:lnTo>
                    <a:pt x="3957" y="2581924"/>
                  </a:lnTo>
                  <a:lnTo>
                    <a:pt x="8732" y="2595982"/>
                  </a:lnTo>
                  <a:lnTo>
                    <a:pt x="33831" y="2633719"/>
                  </a:lnTo>
                  <a:lnTo>
                    <a:pt x="71257" y="2658788"/>
                  </a:lnTo>
                  <a:lnTo>
                    <a:pt x="115557" y="2667596"/>
                  </a:lnTo>
                  <a:lnTo>
                    <a:pt x="1665351" y="2667241"/>
                  </a:lnTo>
                  <a:lnTo>
                    <a:pt x="1709501" y="2658433"/>
                  </a:lnTo>
                  <a:lnTo>
                    <a:pt x="1747032" y="2633398"/>
                  </a:lnTo>
                  <a:lnTo>
                    <a:pt x="1772006" y="2596189"/>
                  </a:lnTo>
                  <a:lnTo>
                    <a:pt x="1779847" y="2567118"/>
                  </a:lnTo>
                  <a:lnTo>
                    <a:pt x="1779918" y="2566762"/>
                  </a:lnTo>
                  <a:lnTo>
                    <a:pt x="1780897" y="2552039"/>
                  </a:lnTo>
                  <a:lnTo>
                    <a:pt x="1780921" y="2551684"/>
                  </a:lnTo>
                  <a:lnTo>
                    <a:pt x="1780552" y="115557"/>
                  </a:lnTo>
                  <a:lnTo>
                    <a:pt x="1771744" y="71419"/>
                  </a:lnTo>
                  <a:lnTo>
                    <a:pt x="1746715" y="33888"/>
                  </a:lnTo>
                  <a:lnTo>
                    <a:pt x="1709293" y="8808"/>
                  </a:lnTo>
                  <a:lnTo>
                    <a:pt x="1680074" y="1000"/>
                  </a:lnTo>
                  <a:lnTo>
                    <a:pt x="1664995" y="0"/>
                  </a:lnTo>
                  <a:close/>
                </a:path>
              </a:pathLst>
            </a:custGeom>
            <a:solidFill>
              <a:srgbClr val="F1F1F1"/>
            </a:solidFill>
          </p:spPr>
          <p:txBody>
            <a:bodyPr wrap="square" lIns="0" tIns="0" rIns="0" bIns="0" rtlCol="0"/>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4" name="object 20">
              <a:extLst>
                <a:ext uri="{FF2B5EF4-FFF2-40B4-BE49-F238E27FC236}">
                  <a16:creationId xmlns:a16="http://schemas.microsoft.com/office/drawing/2014/main" id="{95F5E446-59D1-017B-7A6A-D99C6C845A1D}"/>
                </a:ext>
              </a:extLst>
            </p:cNvPr>
            <p:cNvSpPr/>
            <p:nvPr/>
          </p:nvSpPr>
          <p:spPr>
            <a:xfrm>
              <a:off x="6152045" y="2252878"/>
              <a:ext cx="1781175" cy="2667635"/>
            </a:xfrm>
            <a:custGeom>
              <a:avLst/>
              <a:gdLst/>
              <a:ahLst/>
              <a:cxnLst/>
              <a:rect l="l" t="t" r="r" b="b"/>
              <a:pathLst>
                <a:path w="1781175" h="2667635">
                  <a:moveTo>
                    <a:pt x="0" y="115557"/>
                  </a:moveTo>
                  <a:lnTo>
                    <a:pt x="1000" y="100480"/>
                  </a:lnTo>
                  <a:lnTo>
                    <a:pt x="3957" y="85639"/>
                  </a:lnTo>
                  <a:lnTo>
                    <a:pt x="23879" y="45151"/>
                  </a:lnTo>
                  <a:lnTo>
                    <a:pt x="57950" y="15481"/>
                  </a:lnTo>
                  <a:lnTo>
                    <a:pt x="100478" y="1000"/>
                  </a:lnTo>
                  <a:lnTo>
                    <a:pt x="115557" y="0"/>
                  </a:lnTo>
                  <a:lnTo>
                    <a:pt x="1664995" y="0"/>
                  </a:lnTo>
                  <a:lnTo>
                    <a:pt x="1709293" y="8808"/>
                  </a:lnTo>
                  <a:lnTo>
                    <a:pt x="1746715" y="33888"/>
                  </a:lnTo>
                  <a:lnTo>
                    <a:pt x="1771744" y="71419"/>
                  </a:lnTo>
                  <a:lnTo>
                    <a:pt x="1780552" y="115557"/>
                  </a:lnTo>
                  <a:lnTo>
                    <a:pt x="1780921" y="2551684"/>
                  </a:lnTo>
                  <a:lnTo>
                    <a:pt x="1779918" y="2566762"/>
                  </a:lnTo>
                  <a:lnTo>
                    <a:pt x="1776957" y="2581608"/>
                  </a:lnTo>
                  <a:lnTo>
                    <a:pt x="1757028" y="2622095"/>
                  </a:lnTo>
                  <a:lnTo>
                    <a:pt x="1722958" y="2651760"/>
                  </a:lnTo>
                  <a:lnTo>
                    <a:pt x="1680429" y="2666240"/>
                  </a:lnTo>
                  <a:lnTo>
                    <a:pt x="115557" y="2667596"/>
                  </a:lnTo>
                  <a:lnTo>
                    <a:pt x="71257" y="2658788"/>
                  </a:lnTo>
                  <a:lnTo>
                    <a:pt x="33831" y="2633719"/>
                  </a:lnTo>
                  <a:lnTo>
                    <a:pt x="8802" y="2596189"/>
                  </a:lnTo>
                  <a:lnTo>
                    <a:pt x="0" y="2552039"/>
                  </a:lnTo>
                  <a:lnTo>
                    <a:pt x="0" y="115557"/>
                  </a:lnTo>
                  <a:close/>
                </a:path>
              </a:pathLst>
            </a:custGeom>
            <a:ln w="12599">
              <a:solidFill>
                <a:srgbClr val="D8D8D8"/>
              </a:solidFill>
            </a:ln>
          </p:spPr>
          <p:txBody>
            <a:bodyPr wrap="square" lIns="0" tIns="0" rIns="0" bIns="0" rtlCol="0"/>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sp>
        <p:nvSpPr>
          <p:cNvPr id="10" name="object 21">
            <a:extLst>
              <a:ext uri="{FF2B5EF4-FFF2-40B4-BE49-F238E27FC236}">
                <a16:creationId xmlns:a16="http://schemas.microsoft.com/office/drawing/2014/main" id="{D6FEB606-7D2E-977B-79F1-E6BF6D4EE2BE}"/>
              </a:ext>
            </a:extLst>
          </p:cNvPr>
          <p:cNvSpPr txBox="1"/>
          <p:nvPr/>
        </p:nvSpPr>
        <p:spPr>
          <a:xfrm>
            <a:off x="6311481" y="3692830"/>
            <a:ext cx="1320481" cy="644407"/>
          </a:xfrm>
          <a:prstGeom prst="rect">
            <a:avLst/>
          </a:prstGeom>
        </p:spPr>
        <p:txBody>
          <a:bodyPr vert="horz" wrap="square" lIns="0" tIns="28575" rIns="0" bIns="0" rtlCol="0" anchor="t">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5080" algn="ctr">
              <a:lnSpc>
                <a:spcPts val="1590"/>
              </a:lnSpc>
              <a:spcBef>
                <a:spcPts val="225"/>
              </a:spcBef>
              <a:defRPr/>
            </a:pPr>
            <a:r>
              <a:rPr lang="en-GB" sz="1400" kern="0" spc="-20" noProof="0">
                <a:solidFill>
                  <a:srgbClr val="2F4168"/>
                </a:solidFill>
                <a:latin typeface="Arial Black"/>
                <a:cs typeface="Arial Black"/>
              </a:rPr>
              <a:t>System access provision</a:t>
            </a:r>
            <a:endParaRPr lang="en-GB" sz="1400" b="0" i="0" u="none" strike="noStrike" kern="0" cap="none" spc="-20" normalizeH="0" baseline="0" noProof="0">
              <a:ln>
                <a:noFill/>
              </a:ln>
              <a:solidFill>
                <a:srgbClr val="2F4168"/>
              </a:solidFill>
              <a:effectLst/>
              <a:uLnTx/>
              <a:uFillTx/>
              <a:latin typeface="Arial Black"/>
              <a:cs typeface="Arial Black"/>
            </a:endParaRPr>
          </a:p>
        </p:txBody>
      </p:sp>
      <p:sp>
        <p:nvSpPr>
          <p:cNvPr id="11" name="object 22">
            <a:extLst>
              <a:ext uri="{FF2B5EF4-FFF2-40B4-BE49-F238E27FC236}">
                <a16:creationId xmlns:a16="http://schemas.microsoft.com/office/drawing/2014/main" id="{AC7DD32D-E263-3338-6501-3A8A49DDE29F}"/>
              </a:ext>
            </a:extLst>
          </p:cNvPr>
          <p:cNvSpPr/>
          <p:nvPr/>
        </p:nvSpPr>
        <p:spPr>
          <a:xfrm>
            <a:off x="7979543" y="1799324"/>
            <a:ext cx="1781175" cy="2667635"/>
          </a:xfrm>
          <a:custGeom>
            <a:avLst/>
            <a:gdLst/>
            <a:ahLst/>
            <a:cxnLst/>
            <a:rect l="l" t="t" r="r" b="b"/>
            <a:pathLst>
              <a:path w="1781175" h="2667635">
                <a:moveTo>
                  <a:pt x="0" y="115557"/>
                </a:moveTo>
                <a:lnTo>
                  <a:pt x="1000" y="100480"/>
                </a:lnTo>
                <a:lnTo>
                  <a:pt x="3959" y="85639"/>
                </a:lnTo>
                <a:lnTo>
                  <a:pt x="23892" y="45151"/>
                </a:lnTo>
                <a:lnTo>
                  <a:pt x="57962" y="15481"/>
                </a:lnTo>
                <a:lnTo>
                  <a:pt x="100484" y="1000"/>
                </a:lnTo>
                <a:lnTo>
                  <a:pt x="115557" y="0"/>
                </a:lnTo>
                <a:lnTo>
                  <a:pt x="1664995" y="0"/>
                </a:lnTo>
                <a:lnTo>
                  <a:pt x="1709295" y="8808"/>
                </a:lnTo>
                <a:lnTo>
                  <a:pt x="1746721" y="33888"/>
                </a:lnTo>
                <a:lnTo>
                  <a:pt x="1771749" y="71419"/>
                </a:lnTo>
                <a:lnTo>
                  <a:pt x="1780552" y="115557"/>
                </a:lnTo>
                <a:lnTo>
                  <a:pt x="1780921" y="2551684"/>
                </a:lnTo>
                <a:lnTo>
                  <a:pt x="1779920" y="2566762"/>
                </a:lnTo>
                <a:lnTo>
                  <a:pt x="1776961" y="2581608"/>
                </a:lnTo>
                <a:lnTo>
                  <a:pt x="1757028" y="2622095"/>
                </a:lnTo>
                <a:lnTo>
                  <a:pt x="1722958" y="2651760"/>
                </a:lnTo>
                <a:lnTo>
                  <a:pt x="1680435" y="2666240"/>
                </a:lnTo>
                <a:lnTo>
                  <a:pt x="115557" y="2667596"/>
                </a:lnTo>
                <a:lnTo>
                  <a:pt x="71258" y="2658788"/>
                </a:lnTo>
                <a:lnTo>
                  <a:pt x="33842" y="2633719"/>
                </a:lnTo>
                <a:lnTo>
                  <a:pt x="8808" y="2596189"/>
                </a:lnTo>
                <a:lnTo>
                  <a:pt x="0" y="2552039"/>
                </a:lnTo>
                <a:lnTo>
                  <a:pt x="0" y="115557"/>
                </a:lnTo>
                <a:close/>
              </a:path>
            </a:pathLst>
          </a:custGeom>
          <a:ln w="12599">
            <a:solidFill>
              <a:srgbClr val="D8D8D8"/>
            </a:solidFill>
          </a:ln>
        </p:spPr>
        <p:txBody>
          <a:bodyPr wrap="square" lIns="0" tIns="0" rIns="0" bIns="0" rtlCol="0"/>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nvGrpSpPr>
          <p:cNvPr id="13" name="object 24">
            <a:extLst>
              <a:ext uri="{FF2B5EF4-FFF2-40B4-BE49-F238E27FC236}">
                <a16:creationId xmlns:a16="http://schemas.microsoft.com/office/drawing/2014/main" id="{11A31A44-355D-63A0-72B2-497000AF2AFE}"/>
              </a:ext>
            </a:extLst>
          </p:cNvPr>
          <p:cNvGrpSpPr/>
          <p:nvPr/>
        </p:nvGrpSpPr>
        <p:grpSpPr>
          <a:xfrm>
            <a:off x="9872060" y="1799324"/>
            <a:ext cx="1781175" cy="2667635"/>
            <a:chOff x="9937077" y="2252878"/>
            <a:chExt cx="1781175" cy="2667635"/>
          </a:xfrm>
        </p:grpSpPr>
        <p:sp>
          <p:nvSpPr>
            <p:cNvPr id="21" name="object 25">
              <a:extLst>
                <a:ext uri="{FF2B5EF4-FFF2-40B4-BE49-F238E27FC236}">
                  <a16:creationId xmlns:a16="http://schemas.microsoft.com/office/drawing/2014/main" id="{3E457E16-863A-2B5C-B6B1-C06413A2ED95}"/>
                </a:ext>
              </a:extLst>
            </p:cNvPr>
            <p:cNvSpPr/>
            <p:nvPr/>
          </p:nvSpPr>
          <p:spPr>
            <a:xfrm>
              <a:off x="9937077" y="2252878"/>
              <a:ext cx="1781175" cy="2667635"/>
            </a:xfrm>
            <a:custGeom>
              <a:avLst/>
              <a:gdLst/>
              <a:ahLst/>
              <a:cxnLst/>
              <a:rect l="l" t="t" r="r" b="b"/>
              <a:pathLst>
                <a:path w="1781175" h="2667635">
                  <a:moveTo>
                    <a:pt x="1665008" y="0"/>
                  </a:moveTo>
                  <a:lnTo>
                    <a:pt x="115557" y="0"/>
                  </a:lnTo>
                  <a:lnTo>
                    <a:pt x="100485" y="1000"/>
                  </a:lnTo>
                  <a:lnTo>
                    <a:pt x="57962" y="15481"/>
                  </a:lnTo>
                  <a:lnTo>
                    <a:pt x="23892" y="45151"/>
                  </a:lnTo>
                  <a:lnTo>
                    <a:pt x="3950" y="85683"/>
                  </a:lnTo>
                  <a:lnTo>
                    <a:pt x="0" y="115557"/>
                  </a:lnTo>
                  <a:lnTo>
                    <a:pt x="0" y="2552039"/>
                  </a:lnTo>
                  <a:lnTo>
                    <a:pt x="977" y="2566762"/>
                  </a:lnTo>
                  <a:lnTo>
                    <a:pt x="1000" y="2567118"/>
                  </a:lnTo>
                  <a:lnTo>
                    <a:pt x="3896" y="2581608"/>
                  </a:lnTo>
                  <a:lnTo>
                    <a:pt x="3959" y="2581924"/>
                  </a:lnTo>
                  <a:lnTo>
                    <a:pt x="8737" y="2595982"/>
                  </a:lnTo>
                  <a:lnTo>
                    <a:pt x="8808" y="2596189"/>
                  </a:lnTo>
                  <a:lnTo>
                    <a:pt x="15481" y="2609646"/>
                  </a:lnTo>
                  <a:lnTo>
                    <a:pt x="45151" y="2643711"/>
                  </a:lnTo>
                  <a:lnTo>
                    <a:pt x="85639" y="2663637"/>
                  </a:lnTo>
                  <a:lnTo>
                    <a:pt x="115557" y="2667596"/>
                  </a:lnTo>
                  <a:lnTo>
                    <a:pt x="1665363" y="2667241"/>
                  </a:lnTo>
                  <a:lnTo>
                    <a:pt x="1709506" y="2658433"/>
                  </a:lnTo>
                  <a:lnTo>
                    <a:pt x="1747037" y="2633398"/>
                  </a:lnTo>
                  <a:lnTo>
                    <a:pt x="1772011" y="2596189"/>
                  </a:lnTo>
                  <a:lnTo>
                    <a:pt x="1772112" y="2595982"/>
                  </a:lnTo>
                  <a:lnTo>
                    <a:pt x="1776855" y="2581924"/>
                  </a:lnTo>
                  <a:lnTo>
                    <a:pt x="1776961" y="2581608"/>
                  </a:lnTo>
                  <a:lnTo>
                    <a:pt x="1779849" y="2567118"/>
                  </a:lnTo>
                  <a:lnTo>
                    <a:pt x="1779920" y="2566762"/>
                  </a:lnTo>
                  <a:lnTo>
                    <a:pt x="1780897" y="2552039"/>
                  </a:lnTo>
                  <a:lnTo>
                    <a:pt x="1780921" y="2551684"/>
                  </a:lnTo>
                  <a:lnTo>
                    <a:pt x="1780565" y="115557"/>
                  </a:lnTo>
                  <a:lnTo>
                    <a:pt x="1771757" y="71419"/>
                  </a:lnTo>
                  <a:lnTo>
                    <a:pt x="1746721" y="33888"/>
                  </a:lnTo>
                  <a:lnTo>
                    <a:pt x="1709295" y="8808"/>
                  </a:lnTo>
                  <a:lnTo>
                    <a:pt x="1680084" y="1000"/>
                  </a:lnTo>
                  <a:lnTo>
                    <a:pt x="1665008" y="0"/>
                  </a:lnTo>
                  <a:close/>
                </a:path>
              </a:pathLst>
            </a:custGeom>
            <a:solidFill>
              <a:srgbClr val="F16000"/>
            </a:solidFill>
          </p:spPr>
          <p:txBody>
            <a:bodyPr wrap="square" lIns="0" tIns="0" rIns="0" bIns="0" rtlCol="0"/>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2" name="object 26">
              <a:extLst>
                <a:ext uri="{FF2B5EF4-FFF2-40B4-BE49-F238E27FC236}">
                  <a16:creationId xmlns:a16="http://schemas.microsoft.com/office/drawing/2014/main" id="{0A9FC3B7-7841-8E30-4ADE-08F37BE54F7C}"/>
                </a:ext>
              </a:extLst>
            </p:cNvPr>
            <p:cNvSpPr/>
            <p:nvPr/>
          </p:nvSpPr>
          <p:spPr>
            <a:xfrm>
              <a:off x="9937077" y="2252878"/>
              <a:ext cx="1781175" cy="2667635"/>
            </a:xfrm>
            <a:custGeom>
              <a:avLst/>
              <a:gdLst/>
              <a:ahLst/>
              <a:cxnLst/>
              <a:rect l="l" t="t" r="r" b="b"/>
              <a:pathLst>
                <a:path w="1781175" h="2667635">
                  <a:moveTo>
                    <a:pt x="0" y="115557"/>
                  </a:moveTo>
                  <a:lnTo>
                    <a:pt x="1000" y="100480"/>
                  </a:lnTo>
                  <a:lnTo>
                    <a:pt x="3959" y="85639"/>
                  </a:lnTo>
                  <a:lnTo>
                    <a:pt x="23892" y="45151"/>
                  </a:lnTo>
                  <a:lnTo>
                    <a:pt x="57962" y="15481"/>
                  </a:lnTo>
                  <a:lnTo>
                    <a:pt x="100485" y="1000"/>
                  </a:lnTo>
                  <a:lnTo>
                    <a:pt x="115557" y="0"/>
                  </a:lnTo>
                  <a:lnTo>
                    <a:pt x="1665008" y="0"/>
                  </a:lnTo>
                  <a:lnTo>
                    <a:pt x="1709295" y="8808"/>
                  </a:lnTo>
                  <a:lnTo>
                    <a:pt x="1746721" y="33888"/>
                  </a:lnTo>
                  <a:lnTo>
                    <a:pt x="1771757" y="71419"/>
                  </a:lnTo>
                  <a:lnTo>
                    <a:pt x="1780565" y="115557"/>
                  </a:lnTo>
                  <a:lnTo>
                    <a:pt x="1780921" y="2551684"/>
                  </a:lnTo>
                  <a:lnTo>
                    <a:pt x="1779920" y="2566762"/>
                  </a:lnTo>
                  <a:lnTo>
                    <a:pt x="1776961" y="2581608"/>
                  </a:lnTo>
                  <a:lnTo>
                    <a:pt x="1757033" y="2622095"/>
                  </a:lnTo>
                  <a:lnTo>
                    <a:pt x="1722958" y="2651760"/>
                  </a:lnTo>
                  <a:lnTo>
                    <a:pt x="1680436" y="2666240"/>
                  </a:lnTo>
                  <a:lnTo>
                    <a:pt x="115557" y="2667596"/>
                  </a:lnTo>
                  <a:lnTo>
                    <a:pt x="71269" y="2658788"/>
                  </a:lnTo>
                  <a:lnTo>
                    <a:pt x="33843" y="2633719"/>
                  </a:lnTo>
                  <a:lnTo>
                    <a:pt x="8808" y="2596189"/>
                  </a:lnTo>
                  <a:lnTo>
                    <a:pt x="0" y="2552039"/>
                  </a:lnTo>
                  <a:lnTo>
                    <a:pt x="0" y="115557"/>
                  </a:lnTo>
                  <a:close/>
                </a:path>
              </a:pathLst>
            </a:custGeom>
            <a:ln w="12599">
              <a:solidFill>
                <a:srgbClr val="D8D8D8"/>
              </a:solidFill>
            </a:ln>
          </p:spPr>
          <p:txBody>
            <a:bodyPr wrap="square" lIns="0" tIns="0" rIns="0" bIns="0" rtlCol="0"/>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sp>
        <p:nvSpPr>
          <p:cNvPr id="14" name="object 27">
            <a:extLst>
              <a:ext uri="{FF2B5EF4-FFF2-40B4-BE49-F238E27FC236}">
                <a16:creationId xmlns:a16="http://schemas.microsoft.com/office/drawing/2014/main" id="{FCDCFF38-DCD6-C5A4-7B5F-AD38E0DBA728}"/>
              </a:ext>
            </a:extLst>
          </p:cNvPr>
          <p:cNvSpPr txBox="1"/>
          <p:nvPr/>
        </p:nvSpPr>
        <p:spPr>
          <a:xfrm>
            <a:off x="10148948" y="3643583"/>
            <a:ext cx="1226446" cy="439223"/>
          </a:xfrm>
          <a:prstGeom prst="rect">
            <a:avLst/>
          </a:prstGeom>
        </p:spPr>
        <p:txBody>
          <a:bodyPr vert="horz" wrap="square" lIns="0" tIns="28575" rIns="0" bIns="0" rtlCol="0" anchor="t">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5080" algn="ctr">
              <a:lnSpc>
                <a:spcPts val="1590"/>
              </a:lnSpc>
              <a:spcBef>
                <a:spcPts val="225"/>
              </a:spcBef>
              <a:defRPr/>
            </a:pPr>
            <a:r>
              <a:rPr lang="en-GB" sz="1400" kern="0" spc="-10" noProof="0">
                <a:solidFill>
                  <a:srgbClr val="FFFFFF"/>
                </a:solidFill>
                <a:latin typeface="Arial Black"/>
                <a:cs typeface="Arial Black"/>
              </a:rPr>
              <a:t>Access Allowed</a:t>
            </a:r>
            <a:endParaRPr lang="en-GB" sz="1400" b="0" i="0" u="none" strike="noStrike" kern="0" cap="none" spc="-10" normalizeH="0" baseline="0" noProof="0">
              <a:ln>
                <a:noFill/>
              </a:ln>
              <a:solidFill>
                <a:srgbClr val="FFFFFF"/>
              </a:solidFill>
              <a:effectLst/>
              <a:uLnTx/>
              <a:uFillTx/>
              <a:latin typeface="Arial Black"/>
              <a:cs typeface="Arial Black"/>
            </a:endParaRPr>
          </a:p>
        </p:txBody>
      </p:sp>
      <p:pic>
        <p:nvPicPr>
          <p:cNvPr id="15" name="object 28">
            <a:extLst>
              <a:ext uri="{FF2B5EF4-FFF2-40B4-BE49-F238E27FC236}">
                <a16:creationId xmlns:a16="http://schemas.microsoft.com/office/drawing/2014/main" id="{13EDE9A9-A37C-E081-81F7-1BECCC8152FA}"/>
              </a:ext>
            </a:extLst>
          </p:cNvPr>
          <p:cNvPicPr/>
          <p:nvPr/>
        </p:nvPicPr>
        <p:blipFill>
          <a:blip r:embed="rId3" cstate="print"/>
          <a:stretch>
            <a:fillRect/>
          </a:stretch>
        </p:blipFill>
        <p:spPr>
          <a:xfrm>
            <a:off x="817824" y="2161478"/>
            <a:ext cx="1006563" cy="1006563"/>
          </a:xfrm>
          <a:prstGeom prst="rect">
            <a:avLst/>
          </a:prstGeom>
        </p:spPr>
      </p:pic>
      <p:pic>
        <p:nvPicPr>
          <p:cNvPr id="16" name="object 29">
            <a:extLst>
              <a:ext uri="{FF2B5EF4-FFF2-40B4-BE49-F238E27FC236}">
                <a16:creationId xmlns:a16="http://schemas.microsoft.com/office/drawing/2014/main" id="{60B89EE2-B6E0-EB83-7637-D51090B6243E}"/>
              </a:ext>
            </a:extLst>
          </p:cNvPr>
          <p:cNvPicPr/>
          <p:nvPr/>
        </p:nvPicPr>
        <p:blipFill>
          <a:blip r:embed="rId4" cstate="print"/>
          <a:stretch>
            <a:fillRect/>
          </a:stretch>
        </p:blipFill>
        <p:spPr>
          <a:xfrm>
            <a:off x="2687428" y="2164694"/>
            <a:ext cx="971638" cy="971638"/>
          </a:xfrm>
          <a:prstGeom prst="rect">
            <a:avLst/>
          </a:prstGeom>
        </p:spPr>
      </p:pic>
      <p:pic>
        <p:nvPicPr>
          <p:cNvPr id="17" name="object 30">
            <a:extLst>
              <a:ext uri="{FF2B5EF4-FFF2-40B4-BE49-F238E27FC236}">
                <a16:creationId xmlns:a16="http://schemas.microsoft.com/office/drawing/2014/main" id="{3165BCE7-F8D8-C80E-6777-90D1556A97DF}"/>
              </a:ext>
            </a:extLst>
          </p:cNvPr>
          <p:cNvPicPr/>
          <p:nvPr/>
        </p:nvPicPr>
        <p:blipFill>
          <a:blip r:embed="rId5" cstate="print"/>
          <a:stretch>
            <a:fillRect/>
          </a:stretch>
        </p:blipFill>
        <p:spPr>
          <a:xfrm>
            <a:off x="6584182" y="2278482"/>
            <a:ext cx="775080" cy="775081"/>
          </a:xfrm>
          <a:prstGeom prst="rect">
            <a:avLst/>
          </a:prstGeom>
        </p:spPr>
      </p:pic>
      <p:pic>
        <p:nvPicPr>
          <p:cNvPr id="18" name="object 31">
            <a:extLst>
              <a:ext uri="{FF2B5EF4-FFF2-40B4-BE49-F238E27FC236}">
                <a16:creationId xmlns:a16="http://schemas.microsoft.com/office/drawing/2014/main" id="{490E7797-1D49-BF67-E1B7-9AA55978ABC8}"/>
              </a:ext>
            </a:extLst>
          </p:cNvPr>
          <p:cNvPicPr/>
          <p:nvPr/>
        </p:nvPicPr>
        <p:blipFill>
          <a:blip r:embed="rId6" cstate="print"/>
          <a:stretch>
            <a:fillRect/>
          </a:stretch>
        </p:blipFill>
        <p:spPr>
          <a:xfrm>
            <a:off x="8369421" y="2156080"/>
            <a:ext cx="1011961" cy="1011961"/>
          </a:xfrm>
          <a:prstGeom prst="rect">
            <a:avLst/>
          </a:prstGeom>
        </p:spPr>
      </p:pic>
      <p:pic>
        <p:nvPicPr>
          <p:cNvPr id="19" name="object 32">
            <a:extLst>
              <a:ext uri="{FF2B5EF4-FFF2-40B4-BE49-F238E27FC236}">
                <a16:creationId xmlns:a16="http://schemas.microsoft.com/office/drawing/2014/main" id="{B7E95390-4BF5-DC7F-E4AF-5239F9243B5B}"/>
              </a:ext>
            </a:extLst>
          </p:cNvPr>
          <p:cNvPicPr/>
          <p:nvPr/>
        </p:nvPicPr>
        <p:blipFill>
          <a:blip r:embed="rId7" cstate="print"/>
          <a:stretch>
            <a:fillRect/>
          </a:stretch>
        </p:blipFill>
        <p:spPr>
          <a:xfrm>
            <a:off x="10348348" y="2251482"/>
            <a:ext cx="827646" cy="827646"/>
          </a:xfrm>
          <a:prstGeom prst="rect">
            <a:avLst/>
          </a:prstGeom>
        </p:spPr>
      </p:pic>
      <p:pic>
        <p:nvPicPr>
          <p:cNvPr id="20" name="object 9">
            <a:extLst>
              <a:ext uri="{FF2B5EF4-FFF2-40B4-BE49-F238E27FC236}">
                <a16:creationId xmlns:a16="http://schemas.microsoft.com/office/drawing/2014/main" id="{78C39A7E-AE5C-4107-3A51-2A543D3AB580}"/>
              </a:ext>
            </a:extLst>
          </p:cNvPr>
          <p:cNvPicPr/>
          <p:nvPr/>
        </p:nvPicPr>
        <p:blipFill>
          <a:blip r:embed="rId8" cstate="print">
            <a:duotone>
              <a:prstClr val="black"/>
              <a:srgbClr val="003B75">
                <a:tint val="45000"/>
                <a:satMod val="400000"/>
              </a:srgbClr>
            </a:duotone>
            <a:extLst>
              <a:ext uri="{BEBA8EAE-BF5A-486C-A8C5-ECC9F3942E4B}">
                <a14:imgProps xmlns:a14="http://schemas.microsoft.com/office/drawing/2010/main">
                  <a14:imgLayer r:embed="rId9">
                    <a14:imgEffect>
                      <a14:artisticGlowEdges/>
                    </a14:imgEffect>
                    <a14:imgEffect>
                      <a14:saturation sat="400000"/>
                    </a14:imgEffect>
                  </a14:imgLayer>
                </a14:imgProps>
              </a:ext>
            </a:extLst>
          </a:blip>
          <a:stretch>
            <a:fillRect/>
          </a:stretch>
        </p:blipFill>
        <p:spPr>
          <a:xfrm>
            <a:off x="4579957" y="2190792"/>
            <a:ext cx="919441" cy="919441"/>
          </a:xfrm>
          <a:prstGeom prst="rect">
            <a:avLst/>
          </a:prstGeom>
          <a:noFill/>
        </p:spPr>
      </p:pic>
      <p:sp>
        <p:nvSpPr>
          <p:cNvPr id="4" name="object 13">
            <a:extLst>
              <a:ext uri="{FF2B5EF4-FFF2-40B4-BE49-F238E27FC236}">
                <a16:creationId xmlns:a16="http://schemas.microsoft.com/office/drawing/2014/main" id="{5DE27B87-05C1-1455-FF5D-CDCA6301891D}"/>
              </a:ext>
            </a:extLst>
          </p:cNvPr>
          <p:cNvSpPr txBox="1"/>
          <p:nvPr/>
        </p:nvSpPr>
        <p:spPr>
          <a:xfrm>
            <a:off x="616111" y="3747626"/>
            <a:ext cx="1397370" cy="670055"/>
          </a:xfrm>
          <a:prstGeom prst="rect">
            <a:avLst/>
          </a:prstGeom>
        </p:spPr>
        <p:txBody>
          <a:bodyPr vert="horz" wrap="square" lIns="0" tIns="28575" rIns="0" bIns="0" rtlCol="0" anchor="t">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5080" algn="ctr">
              <a:lnSpc>
                <a:spcPts val="1590"/>
              </a:lnSpc>
              <a:spcBef>
                <a:spcPts val="225"/>
              </a:spcBef>
              <a:defRPr/>
            </a:pPr>
            <a:r>
              <a:rPr lang="en-GB" sz="1400" kern="0" spc="-20" noProof="0">
                <a:solidFill>
                  <a:schemeClr val="bg1"/>
                </a:solidFill>
                <a:latin typeface="Arial Black"/>
                <a:cs typeface="Arial Black"/>
              </a:rPr>
              <a:t>Chatbot User request</a:t>
            </a:r>
          </a:p>
          <a:p>
            <a:pPr marR="5080" algn="ctr">
              <a:lnSpc>
                <a:spcPts val="1590"/>
              </a:lnSpc>
              <a:spcBef>
                <a:spcPts val="225"/>
              </a:spcBef>
              <a:defRPr/>
            </a:pPr>
            <a:endParaRPr lang="en-GB" sz="1400" kern="0" spc="-20" noProof="0">
              <a:solidFill>
                <a:schemeClr val="bg1"/>
              </a:solidFill>
              <a:latin typeface="Arial Black"/>
              <a:cs typeface="Arial Black"/>
            </a:endParaRPr>
          </a:p>
        </p:txBody>
      </p:sp>
      <p:sp>
        <p:nvSpPr>
          <p:cNvPr id="31" name="object 21">
            <a:extLst>
              <a:ext uri="{FF2B5EF4-FFF2-40B4-BE49-F238E27FC236}">
                <a16:creationId xmlns:a16="http://schemas.microsoft.com/office/drawing/2014/main" id="{A3AA7DBC-298C-DC6A-5A63-660662D778C0}"/>
              </a:ext>
            </a:extLst>
          </p:cNvPr>
          <p:cNvSpPr txBox="1"/>
          <p:nvPr/>
        </p:nvSpPr>
        <p:spPr>
          <a:xfrm>
            <a:off x="8216481" y="3682533"/>
            <a:ext cx="1320481" cy="439223"/>
          </a:xfrm>
          <a:prstGeom prst="rect">
            <a:avLst/>
          </a:prstGeom>
        </p:spPr>
        <p:txBody>
          <a:bodyPr vert="horz" wrap="square" lIns="0" tIns="28575" rIns="0" bIns="0" rtlCol="0" anchor="t">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5080" algn="ctr">
              <a:lnSpc>
                <a:spcPts val="1590"/>
              </a:lnSpc>
              <a:spcBef>
                <a:spcPts val="225"/>
              </a:spcBef>
              <a:defRPr/>
            </a:pPr>
            <a:r>
              <a:rPr lang="en-GB" sz="1400" kern="0" spc="-20" noProof="0">
                <a:solidFill>
                  <a:srgbClr val="2F4168"/>
                </a:solidFill>
                <a:latin typeface="Arial Black"/>
                <a:cs typeface="Arial Black"/>
              </a:rPr>
              <a:t>User Notification</a:t>
            </a:r>
            <a:endParaRPr lang="en-GB" sz="1400" b="0" i="0" u="none" strike="noStrike" kern="0" cap="none" spc="-20" normalizeH="0" baseline="0" noProof="0">
              <a:ln>
                <a:noFill/>
              </a:ln>
              <a:solidFill>
                <a:srgbClr val="2F4168"/>
              </a:solidFill>
              <a:effectLst/>
              <a:uLnTx/>
              <a:uFillTx/>
              <a:latin typeface="Arial Black"/>
              <a:cs typeface="Arial Black"/>
            </a:endParaRPr>
          </a:p>
        </p:txBody>
      </p:sp>
      <p:pic>
        <p:nvPicPr>
          <p:cNvPr id="1026" name="Picture 2" descr="Microsoft Teams - Wikipedia">
            <a:extLst>
              <a:ext uri="{FF2B5EF4-FFF2-40B4-BE49-F238E27FC236}">
                <a16:creationId xmlns:a16="http://schemas.microsoft.com/office/drawing/2014/main" id="{718224AE-D1B7-7D92-0FF3-5078367EAB1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6854" y="4768550"/>
            <a:ext cx="648456" cy="60392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P BTP, the SAP Cloud Platform - Conseils-Plus">
            <a:extLst>
              <a:ext uri="{FF2B5EF4-FFF2-40B4-BE49-F238E27FC236}">
                <a16:creationId xmlns:a16="http://schemas.microsoft.com/office/drawing/2014/main" id="{05333BAD-DC9C-F2A1-E7A2-2511F47D38D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94075" y="4677028"/>
            <a:ext cx="887957" cy="79803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Automated data replication (ETL/ELT) from every SaaS API into SAP Datasphere  | Precog">
            <a:extLst>
              <a:ext uri="{FF2B5EF4-FFF2-40B4-BE49-F238E27FC236}">
                <a16:creationId xmlns:a16="http://schemas.microsoft.com/office/drawing/2014/main" id="{61278536-A4DB-FF98-E9C3-57D80EBA536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826948" y="4519086"/>
            <a:ext cx="1219719" cy="435846"/>
          </a:xfrm>
          <a:prstGeom prst="rect">
            <a:avLst/>
          </a:prstGeom>
          <a:noFill/>
          <a:extLst>
            <a:ext uri="{909E8E84-426E-40DD-AFC4-6F175D3DCCD1}">
              <a14:hiddenFill xmlns:a14="http://schemas.microsoft.com/office/drawing/2010/main">
                <a:solidFill>
                  <a:srgbClr val="FFFFFF"/>
                </a:solidFill>
              </a14:hiddenFill>
            </a:ext>
          </a:extLst>
        </p:spPr>
      </p:pic>
      <p:pic>
        <p:nvPicPr>
          <p:cNvPr id="32" name="Gráfico 31" descr="Mujer encogiéndose de hombros con relleno sólido">
            <a:extLst>
              <a:ext uri="{FF2B5EF4-FFF2-40B4-BE49-F238E27FC236}">
                <a16:creationId xmlns:a16="http://schemas.microsoft.com/office/drawing/2014/main" id="{79148EB5-D39D-46BD-9F00-04CDA2B2F7B0}"/>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144113" y="4693877"/>
            <a:ext cx="670403" cy="670403"/>
          </a:xfrm>
          <a:prstGeom prst="rect">
            <a:avLst/>
          </a:prstGeom>
        </p:spPr>
      </p:pic>
      <p:pic>
        <p:nvPicPr>
          <p:cNvPr id="1032" name="Picture 8" descr="Unleashing the Power of Data Insights with SAP Analytics Cloud">
            <a:extLst>
              <a:ext uri="{FF2B5EF4-FFF2-40B4-BE49-F238E27FC236}">
                <a16:creationId xmlns:a16="http://schemas.microsoft.com/office/drawing/2014/main" id="{F15228AE-109D-F6EE-5A68-CB3A27C58E3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826948" y="5148619"/>
            <a:ext cx="1204792" cy="428481"/>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 descr="Microsoft Teams - Wikipedia">
            <a:extLst>
              <a:ext uri="{FF2B5EF4-FFF2-40B4-BE49-F238E27FC236}">
                <a16:creationId xmlns:a16="http://schemas.microsoft.com/office/drawing/2014/main" id="{8C3B2FE1-82F3-6DDD-35CC-0A6B031C72D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552493" y="4665122"/>
            <a:ext cx="648456" cy="603927"/>
          </a:xfrm>
          <a:prstGeom prst="rect">
            <a:avLst/>
          </a:prstGeom>
          <a:noFill/>
          <a:extLst>
            <a:ext uri="{909E8E84-426E-40DD-AFC4-6F175D3DCCD1}">
              <a14:hiddenFill xmlns:a14="http://schemas.microsoft.com/office/drawing/2010/main">
                <a:solidFill>
                  <a:srgbClr val="FFFFFF"/>
                </a:solidFill>
              </a14:hiddenFill>
            </a:ext>
          </a:extLst>
        </p:spPr>
      </p:pic>
      <p:pic>
        <p:nvPicPr>
          <p:cNvPr id="35" name="Gráfico 34" descr="Aspiración con relleno sólido">
            <a:extLst>
              <a:ext uri="{FF2B5EF4-FFF2-40B4-BE49-F238E27FC236}">
                <a16:creationId xmlns:a16="http://schemas.microsoft.com/office/drawing/2014/main" id="{D7A6C9C4-AE11-50C1-CF18-26E514D1E956}"/>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871251" y="4524263"/>
            <a:ext cx="914400" cy="914400"/>
          </a:xfrm>
          <a:prstGeom prst="rect">
            <a:avLst/>
          </a:prstGeom>
        </p:spPr>
      </p:pic>
      <p:pic>
        <p:nvPicPr>
          <p:cNvPr id="36" name="Picture 6" descr="Automated data replication (ETL/ELT) from every SaaS API into SAP Datasphere  | Precog">
            <a:extLst>
              <a:ext uri="{FF2B5EF4-FFF2-40B4-BE49-F238E27FC236}">
                <a16:creationId xmlns:a16="http://schemas.microsoft.com/office/drawing/2014/main" id="{E60ACE6A-E895-4943-A2F1-3897F58D514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535496" y="4553613"/>
            <a:ext cx="1219719" cy="435846"/>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8" descr="Unleashing the Power of Data Insights with SAP Analytics Cloud">
            <a:extLst>
              <a:ext uri="{FF2B5EF4-FFF2-40B4-BE49-F238E27FC236}">
                <a16:creationId xmlns:a16="http://schemas.microsoft.com/office/drawing/2014/main" id="{789AEA1A-B176-4077-746D-C42F83B35A4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0534138" y="5146861"/>
            <a:ext cx="1319810" cy="471612"/>
          </a:xfrm>
          <a:prstGeom prst="rect">
            <a:avLst/>
          </a:prstGeom>
          <a:noFill/>
          <a:extLst>
            <a:ext uri="{909E8E84-426E-40DD-AFC4-6F175D3DCCD1}">
              <a14:hiddenFill xmlns:a14="http://schemas.microsoft.com/office/drawing/2010/main">
                <a:solidFill>
                  <a:srgbClr val="FFFFFF"/>
                </a:solidFill>
              </a14:hiddenFill>
            </a:ext>
          </a:extLst>
        </p:spPr>
      </p:pic>
      <p:sp>
        <p:nvSpPr>
          <p:cNvPr id="12" name="Flecha: a la derecha 11">
            <a:extLst>
              <a:ext uri="{FF2B5EF4-FFF2-40B4-BE49-F238E27FC236}">
                <a16:creationId xmlns:a16="http://schemas.microsoft.com/office/drawing/2014/main" id="{C8BA9B51-97EF-D7B1-0C0F-A109C5C06A1B}"/>
              </a:ext>
            </a:extLst>
          </p:cNvPr>
          <p:cNvSpPr/>
          <p:nvPr/>
        </p:nvSpPr>
        <p:spPr>
          <a:xfrm>
            <a:off x="1911130" y="2902431"/>
            <a:ext cx="687076" cy="515757"/>
          </a:xfrm>
          <a:prstGeom prst="rightArrow">
            <a:avLst/>
          </a:prstGeom>
          <a:solidFill>
            <a:schemeClr val="bg1"/>
          </a:solidFill>
          <a:ln w="38100">
            <a:solidFill>
              <a:srgbClr val="8A00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4" name="Flecha: a la derecha 33">
            <a:extLst>
              <a:ext uri="{FF2B5EF4-FFF2-40B4-BE49-F238E27FC236}">
                <a16:creationId xmlns:a16="http://schemas.microsoft.com/office/drawing/2014/main" id="{B01A6319-EF06-4113-213D-45D29DB1BC9E}"/>
              </a:ext>
            </a:extLst>
          </p:cNvPr>
          <p:cNvSpPr/>
          <p:nvPr/>
        </p:nvSpPr>
        <p:spPr>
          <a:xfrm>
            <a:off x="3794750" y="2910162"/>
            <a:ext cx="687076" cy="515757"/>
          </a:xfrm>
          <a:prstGeom prst="rightArrow">
            <a:avLst/>
          </a:prstGeom>
          <a:solidFill>
            <a:schemeClr val="bg1"/>
          </a:solidFill>
          <a:ln w="38100">
            <a:solidFill>
              <a:srgbClr val="8A00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Flecha: a la derecha 37">
            <a:extLst>
              <a:ext uri="{FF2B5EF4-FFF2-40B4-BE49-F238E27FC236}">
                <a16:creationId xmlns:a16="http://schemas.microsoft.com/office/drawing/2014/main" id="{F6716578-6ED8-6084-9008-F26A3B3E5A58}"/>
              </a:ext>
            </a:extLst>
          </p:cNvPr>
          <p:cNvSpPr/>
          <p:nvPr/>
        </p:nvSpPr>
        <p:spPr>
          <a:xfrm>
            <a:off x="5707692" y="2884792"/>
            <a:ext cx="687076" cy="515757"/>
          </a:xfrm>
          <a:prstGeom prst="rightArrow">
            <a:avLst/>
          </a:prstGeom>
          <a:solidFill>
            <a:schemeClr val="bg1"/>
          </a:solidFill>
          <a:ln w="38100">
            <a:solidFill>
              <a:srgbClr val="8A00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Flecha: a la derecha 38">
            <a:extLst>
              <a:ext uri="{FF2B5EF4-FFF2-40B4-BE49-F238E27FC236}">
                <a16:creationId xmlns:a16="http://schemas.microsoft.com/office/drawing/2014/main" id="{ED852215-2D4D-C162-23B8-580C3351D160}"/>
              </a:ext>
            </a:extLst>
          </p:cNvPr>
          <p:cNvSpPr/>
          <p:nvPr/>
        </p:nvSpPr>
        <p:spPr>
          <a:xfrm>
            <a:off x="7620634" y="2959240"/>
            <a:ext cx="687076" cy="515757"/>
          </a:xfrm>
          <a:prstGeom prst="rightArrow">
            <a:avLst/>
          </a:prstGeom>
          <a:solidFill>
            <a:schemeClr val="bg1"/>
          </a:solidFill>
          <a:ln w="38100">
            <a:solidFill>
              <a:srgbClr val="8A00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Flecha: a la derecha 39">
            <a:extLst>
              <a:ext uri="{FF2B5EF4-FFF2-40B4-BE49-F238E27FC236}">
                <a16:creationId xmlns:a16="http://schemas.microsoft.com/office/drawing/2014/main" id="{43589DA6-4BEC-BEB6-67AA-348DE0A69371}"/>
              </a:ext>
            </a:extLst>
          </p:cNvPr>
          <p:cNvSpPr/>
          <p:nvPr/>
        </p:nvSpPr>
        <p:spPr>
          <a:xfrm>
            <a:off x="9533576" y="2939516"/>
            <a:ext cx="687076" cy="515757"/>
          </a:xfrm>
          <a:prstGeom prst="rightArrow">
            <a:avLst/>
          </a:prstGeom>
          <a:solidFill>
            <a:schemeClr val="bg1"/>
          </a:solidFill>
          <a:ln w="38100">
            <a:solidFill>
              <a:srgbClr val="8A00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57">
            <a:extLst>
              <a:ext uri="{FF2B5EF4-FFF2-40B4-BE49-F238E27FC236}">
                <a16:creationId xmlns:a16="http://schemas.microsoft.com/office/drawing/2014/main" id="{23D9B1E5-9214-E429-2AED-461DFA8863DF}"/>
              </a:ext>
            </a:extLst>
          </p:cNvPr>
          <p:cNvSpPr>
            <a:spLocks noChangeArrowheads="1"/>
          </p:cNvSpPr>
          <p:nvPr/>
        </p:nvSpPr>
        <p:spPr bwMode="gray">
          <a:xfrm>
            <a:off x="409099" y="504523"/>
            <a:ext cx="10728801" cy="830942"/>
          </a:xfrm>
          <a:prstGeom prst="rect">
            <a:avLst/>
          </a:prstGeom>
          <a:noFill/>
          <a:ln w="9525">
            <a:noFill/>
            <a:miter lim="800000"/>
            <a:headEnd/>
            <a:tailEnd/>
          </a:ln>
          <a:effectLst/>
        </p:spPr>
        <p:txBody>
          <a:bodyPr wrap="square" lIns="91386" tIns="45693" rIns="91386" bIns="45693">
            <a:spAutoFit/>
          </a:bodyPr>
          <a:lstStyle/>
          <a:p>
            <a:pPr defTabSz="914446">
              <a:buClr>
                <a:srgbClr val="000000"/>
              </a:buClr>
            </a:pPr>
            <a:r>
              <a:rPr lang="en-GB" sz="4800" b="1" noProof="0">
                <a:latin typeface="Quattrocento Sans" panose="020B0502050000020003" pitchFamily="34" charset="0"/>
                <a:ea typeface="Lato"/>
                <a:cs typeface="Lato"/>
                <a:sym typeface="Arial"/>
              </a:rPr>
              <a:t>Data Access Solution Architecture</a:t>
            </a:r>
          </a:p>
        </p:txBody>
      </p:sp>
      <p:sp>
        <p:nvSpPr>
          <p:cNvPr id="44" name="TextBox 43">
            <a:extLst>
              <a:ext uri="{FF2B5EF4-FFF2-40B4-BE49-F238E27FC236}">
                <a16:creationId xmlns:a16="http://schemas.microsoft.com/office/drawing/2014/main" id="{F0D662FD-B286-FD82-DE2D-456ACAE540F2}"/>
              </a:ext>
            </a:extLst>
          </p:cNvPr>
          <p:cNvSpPr txBox="1"/>
          <p:nvPr/>
        </p:nvSpPr>
        <p:spPr>
          <a:xfrm>
            <a:off x="409099" y="5642346"/>
            <a:ext cx="1775548" cy="738664"/>
          </a:xfrm>
          <a:prstGeom prst="rect">
            <a:avLst/>
          </a:prstGeom>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400" noProof="0">
                <a:ea typeface="Calibri"/>
                <a:cs typeface="Calibri"/>
              </a:rPr>
              <a:t>Microsoft Teams using Auth2 connection</a:t>
            </a:r>
          </a:p>
        </p:txBody>
      </p:sp>
      <p:sp>
        <p:nvSpPr>
          <p:cNvPr id="47" name="TextBox 46">
            <a:extLst>
              <a:ext uri="{FF2B5EF4-FFF2-40B4-BE49-F238E27FC236}">
                <a16:creationId xmlns:a16="http://schemas.microsoft.com/office/drawing/2014/main" id="{C278D72C-E675-8F9E-FC12-69D0BD241E62}"/>
              </a:ext>
            </a:extLst>
          </p:cNvPr>
          <p:cNvSpPr txBox="1"/>
          <p:nvPr/>
        </p:nvSpPr>
        <p:spPr>
          <a:xfrm>
            <a:off x="4193949" y="5642346"/>
            <a:ext cx="1852717" cy="523220"/>
          </a:xfrm>
          <a:prstGeom prst="rect">
            <a:avLst/>
          </a:prstGeom>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400" noProof="0">
                <a:ea typeface="Calibri"/>
                <a:cs typeface="Calibri"/>
              </a:rPr>
              <a:t>SAP Workflow Management</a:t>
            </a:r>
          </a:p>
        </p:txBody>
      </p:sp>
      <p:sp>
        <p:nvSpPr>
          <p:cNvPr id="48" name="TextBox 47">
            <a:extLst>
              <a:ext uri="{FF2B5EF4-FFF2-40B4-BE49-F238E27FC236}">
                <a16:creationId xmlns:a16="http://schemas.microsoft.com/office/drawing/2014/main" id="{6250B7A2-E7BA-26D9-F45D-053CED6F277F}"/>
              </a:ext>
            </a:extLst>
          </p:cNvPr>
          <p:cNvSpPr txBox="1"/>
          <p:nvPr/>
        </p:nvSpPr>
        <p:spPr>
          <a:xfrm>
            <a:off x="6130509" y="5642346"/>
            <a:ext cx="1852717" cy="954107"/>
          </a:xfrm>
          <a:prstGeom prst="rect">
            <a:avLst/>
          </a:prstGeom>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400" noProof="0">
                <a:ea typeface="Calibri"/>
                <a:cs typeface="Calibri"/>
              </a:rPr>
              <a:t>Access to SAC or datasphere leveraging SAP Integration Suite API Management</a:t>
            </a:r>
          </a:p>
        </p:txBody>
      </p:sp>
      <p:sp>
        <p:nvSpPr>
          <p:cNvPr id="51" name="TextBox 50">
            <a:extLst>
              <a:ext uri="{FF2B5EF4-FFF2-40B4-BE49-F238E27FC236}">
                <a16:creationId xmlns:a16="http://schemas.microsoft.com/office/drawing/2014/main" id="{D9CC3D73-B6F1-F8DB-5C21-D666A8F9B5D5}"/>
              </a:ext>
            </a:extLst>
          </p:cNvPr>
          <p:cNvSpPr txBox="1"/>
          <p:nvPr/>
        </p:nvSpPr>
        <p:spPr>
          <a:xfrm>
            <a:off x="10089979" y="5642346"/>
            <a:ext cx="1852717" cy="523220"/>
          </a:xfrm>
          <a:prstGeom prst="rect">
            <a:avLst/>
          </a:prstGeom>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400" noProof="0">
                <a:ea typeface="Calibri"/>
                <a:cs typeface="Calibri"/>
              </a:rPr>
              <a:t>SAP/Datasphere access</a:t>
            </a:r>
          </a:p>
        </p:txBody>
      </p:sp>
      <p:sp>
        <p:nvSpPr>
          <p:cNvPr id="2" name="TextBox 46">
            <a:extLst>
              <a:ext uri="{FF2B5EF4-FFF2-40B4-BE49-F238E27FC236}">
                <a16:creationId xmlns:a16="http://schemas.microsoft.com/office/drawing/2014/main" id="{ACD51BA6-EB14-E9A1-EA9E-E3C0594DBD0E}"/>
              </a:ext>
            </a:extLst>
          </p:cNvPr>
          <p:cNvSpPr txBox="1"/>
          <p:nvPr/>
        </p:nvSpPr>
        <p:spPr>
          <a:xfrm>
            <a:off x="2246888" y="5642346"/>
            <a:ext cx="1852717" cy="307777"/>
          </a:xfrm>
          <a:prstGeom prst="rect">
            <a:avLst/>
          </a:prstGeom>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400" noProof="0">
                <a:ea typeface="Calibri"/>
                <a:cs typeface="Calibri"/>
              </a:rPr>
              <a:t>LLM Agentic Layer</a:t>
            </a:r>
          </a:p>
        </p:txBody>
      </p:sp>
      <p:sp>
        <p:nvSpPr>
          <p:cNvPr id="42" name="TextBox 43">
            <a:extLst>
              <a:ext uri="{FF2B5EF4-FFF2-40B4-BE49-F238E27FC236}">
                <a16:creationId xmlns:a16="http://schemas.microsoft.com/office/drawing/2014/main" id="{32834177-65F7-7ED0-B3E7-8B78F01446DF}"/>
              </a:ext>
            </a:extLst>
          </p:cNvPr>
          <p:cNvSpPr txBox="1"/>
          <p:nvPr/>
        </p:nvSpPr>
        <p:spPr>
          <a:xfrm>
            <a:off x="8095703" y="5642346"/>
            <a:ext cx="1775548" cy="738664"/>
          </a:xfrm>
          <a:prstGeom prst="rect">
            <a:avLst/>
          </a:prstGeom>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400" noProof="0">
                <a:ea typeface="Calibri"/>
                <a:cs typeface="Calibri"/>
              </a:rPr>
              <a:t>Microsoft Teams using Auth2 connection</a:t>
            </a:r>
          </a:p>
        </p:txBody>
      </p:sp>
    </p:spTree>
    <p:extLst>
      <p:ext uri="{BB962C8B-B14F-4D97-AF65-F5344CB8AC3E}">
        <p14:creationId xmlns:p14="http://schemas.microsoft.com/office/powerpoint/2010/main" val="407331178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E0E1C6B-9ECD-F90C-AE00-45C88893ADF6}"/>
            </a:ext>
          </a:extLst>
        </p:cNvPr>
        <p:cNvGrpSpPr/>
        <p:nvPr/>
      </p:nvGrpSpPr>
      <p:grpSpPr>
        <a:xfrm>
          <a:off x="0" y="0"/>
          <a:ext cx="0" cy="0"/>
          <a:chOff x="0" y="0"/>
          <a:chExt cx="0" cy="0"/>
        </a:xfrm>
      </p:grpSpPr>
      <p:sp>
        <p:nvSpPr>
          <p:cNvPr id="3" name="Rectangle 57">
            <a:extLst>
              <a:ext uri="{FF2B5EF4-FFF2-40B4-BE49-F238E27FC236}">
                <a16:creationId xmlns:a16="http://schemas.microsoft.com/office/drawing/2014/main" id="{020EE265-71C0-06E8-13B6-CB3BF6242DD0}"/>
              </a:ext>
            </a:extLst>
          </p:cNvPr>
          <p:cNvSpPr>
            <a:spLocks noChangeArrowheads="1"/>
          </p:cNvSpPr>
          <p:nvPr/>
        </p:nvSpPr>
        <p:spPr bwMode="gray">
          <a:xfrm>
            <a:off x="396399" y="301323"/>
            <a:ext cx="10728801" cy="830942"/>
          </a:xfrm>
          <a:prstGeom prst="rect">
            <a:avLst/>
          </a:prstGeom>
          <a:noFill/>
          <a:ln w="9525">
            <a:noFill/>
            <a:miter lim="800000"/>
            <a:headEnd/>
            <a:tailEnd/>
          </a:ln>
          <a:effectLst/>
        </p:spPr>
        <p:txBody>
          <a:bodyPr wrap="square" lIns="91386" tIns="45693" rIns="91386" bIns="45693">
            <a:spAutoFit/>
          </a:bodyPr>
          <a:lstStyle/>
          <a:p>
            <a:pPr defTabSz="914446">
              <a:buClr>
                <a:srgbClr val="000000"/>
              </a:buClr>
            </a:pPr>
            <a:r>
              <a:rPr lang="en-GB" sz="4800" b="1" noProof="0">
                <a:latin typeface="Quattrocento Sans" panose="020B0502050000020003" pitchFamily="34" charset="0"/>
                <a:ea typeface="Lato"/>
                <a:cs typeface="Lato"/>
                <a:sym typeface="Arial"/>
              </a:rPr>
              <a:t>BTP Workflow Demo</a:t>
            </a:r>
          </a:p>
        </p:txBody>
      </p:sp>
    </p:spTree>
    <p:extLst>
      <p:ext uri="{BB962C8B-B14F-4D97-AF65-F5344CB8AC3E}">
        <p14:creationId xmlns:p14="http://schemas.microsoft.com/office/powerpoint/2010/main" val="149550063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83A302AD-BE39-BE0B-982B-58C082960120}"/>
            </a:ext>
          </a:extLst>
        </p:cNvPr>
        <p:cNvGrpSpPr/>
        <p:nvPr/>
      </p:nvGrpSpPr>
      <p:grpSpPr>
        <a:xfrm>
          <a:off x="0" y="0"/>
          <a:ext cx="0" cy="0"/>
          <a:chOff x="0" y="0"/>
          <a:chExt cx="0" cy="0"/>
        </a:xfrm>
      </p:grpSpPr>
      <p:sp>
        <p:nvSpPr>
          <p:cNvPr id="3" name="Rectangle 57">
            <a:extLst>
              <a:ext uri="{FF2B5EF4-FFF2-40B4-BE49-F238E27FC236}">
                <a16:creationId xmlns:a16="http://schemas.microsoft.com/office/drawing/2014/main" id="{5729C1D0-13D2-ED65-29CC-9E596D07C7EB}"/>
              </a:ext>
            </a:extLst>
          </p:cNvPr>
          <p:cNvSpPr>
            <a:spLocks noChangeArrowheads="1"/>
          </p:cNvSpPr>
          <p:nvPr/>
        </p:nvSpPr>
        <p:spPr bwMode="gray">
          <a:xfrm>
            <a:off x="396399" y="301323"/>
            <a:ext cx="10728801" cy="830942"/>
          </a:xfrm>
          <a:prstGeom prst="rect">
            <a:avLst/>
          </a:prstGeom>
          <a:noFill/>
          <a:ln w="9525">
            <a:noFill/>
            <a:miter lim="800000"/>
            <a:headEnd/>
            <a:tailEnd/>
          </a:ln>
          <a:effectLst/>
        </p:spPr>
        <p:txBody>
          <a:bodyPr wrap="square" lIns="91386" tIns="45693" rIns="91386" bIns="45693" anchor="t">
            <a:spAutoFit/>
          </a:bodyPr>
          <a:lstStyle/>
          <a:p>
            <a:pPr defTabSz="914446">
              <a:buClr>
                <a:srgbClr val="000000"/>
              </a:buClr>
            </a:pPr>
            <a:r>
              <a:rPr lang="en-GB" sz="4800" b="1" noProof="0">
                <a:latin typeface="Quattrocento Sans"/>
                <a:ea typeface="Lato"/>
                <a:cs typeface="Lato"/>
              </a:rPr>
              <a:t>PoC Data Access Solution </a:t>
            </a:r>
            <a:endParaRPr lang="en-GB" sz="4800" b="1" noProof="0">
              <a:latin typeface="Quattrocento Sans" panose="020B0502050000020003" pitchFamily="34" charset="0"/>
              <a:ea typeface="Lato"/>
              <a:cs typeface="Lato"/>
            </a:endParaRPr>
          </a:p>
        </p:txBody>
      </p:sp>
      <p:graphicFrame>
        <p:nvGraphicFramePr>
          <p:cNvPr id="5" name="Tabla 3">
            <a:extLst>
              <a:ext uri="{FF2B5EF4-FFF2-40B4-BE49-F238E27FC236}">
                <a16:creationId xmlns:a16="http://schemas.microsoft.com/office/drawing/2014/main" id="{CDE4CCA8-98EF-1905-C9D1-9F09A438D454}"/>
              </a:ext>
            </a:extLst>
          </p:cNvPr>
          <p:cNvGraphicFramePr>
            <a:graphicFrameLocks noGrp="1"/>
          </p:cNvGraphicFramePr>
          <p:nvPr>
            <p:extLst>
              <p:ext uri="{D42A27DB-BD31-4B8C-83A1-F6EECF244321}">
                <p14:modId xmlns:p14="http://schemas.microsoft.com/office/powerpoint/2010/main" val="1292618915"/>
              </p:ext>
            </p:extLst>
          </p:nvPr>
        </p:nvGraphicFramePr>
        <p:xfrm>
          <a:off x="624687" y="1550231"/>
          <a:ext cx="11302844" cy="4127043"/>
        </p:xfrm>
        <a:graphic>
          <a:graphicData uri="http://schemas.openxmlformats.org/drawingml/2006/table">
            <a:tbl>
              <a:tblPr firstRow="1" bandRow="1">
                <a:tableStyleId>{C083E6E3-FA7D-4D7B-A595-EF9225AFEA82}</a:tableStyleId>
              </a:tblPr>
              <a:tblGrid>
                <a:gridCol w="569789">
                  <a:extLst>
                    <a:ext uri="{9D8B030D-6E8A-4147-A177-3AD203B41FA5}">
                      <a16:colId xmlns:a16="http://schemas.microsoft.com/office/drawing/2014/main" val="2751870479"/>
                    </a:ext>
                  </a:extLst>
                </a:gridCol>
                <a:gridCol w="1781035">
                  <a:extLst>
                    <a:ext uri="{9D8B030D-6E8A-4147-A177-3AD203B41FA5}">
                      <a16:colId xmlns:a16="http://schemas.microsoft.com/office/drawing/2014/main" val="2994942042"/>
                    </a:ext>
                  </a:extLst>
                </a:gridCol>
                <a:gridCol w="5501993">
                  <a:extLst>
                    <a:ext uri="{9D8B030D-6E8A-4147-A177-3AD203B41FA5}">
                      <a16:colId xmlns:a16="http://schemas.microsoft.com/office/drawing/2014/main" val="1489924822"/>
                    </a:ext>
                  </a:extLst>
                </a:gridCol>
                <a:gridCol w="3450027">
                  <a:extLst>
                    <a:ext uri="{9D8B030D-6E8A-4147-A177-3AD203B41FA5}">
                      <a16:colId xmlns:a16="http://schemas.microsoft.com/office/drawing/2014/main" val="466607041"/>
                    </a:ext>
                  </a:extLst>
                </a:gridCol>
              </a:tblGrid>
              <a:tr h="356470">
                <a:tc>
                  <a:txBody>
                    <a:bodyPr/>
                    <a:lstStyle/>
                    <a:p>
                      <a:r>
                        <a:rPr lang="en-GB" sz="1600" noProof="0"/>
                        <a:t>No.</a:t>
                      </a:r>
                    </a:p>
                  </a:txBody>
                  <a:tcPr/>
                </a:tc>
                <a:tc>
                  <a:txBody>
                    <a:bodyPr/>
                    <a:lstStyle/>
                    <a:p>
                      <a:r>
                        <a:rPr lang="en-GB" sz="1600" noProof="0"/>
                        <a:t>Item</a:t>
                      </a:r>
                    </a:p>
                  </a:txBody>
                  <a:tcPr/>
                </a:tc>
                <a:tc>
                  <a:txBody>
                    <a:bodyPr/>
                    <a:lstStyle/>
                    <a:p>
                      <a:r>
                        <a:rPr lang="en-GB" sz="1600" noProof="0"/>
                        <a:t>Description</a:t>
                      </a:r>
                    </a:p>
                  </a:txBody>
                  <a:tcPr/>
                </a:tc>
                <a:tc>
                  <a:txBody>
                    <a:bodyPr/>
                    <a:lstStyle/>
                    <a:p>
                      <a:r>
                        <a:rPr lang="en-GB" sz="1600" noProof="0"/>
                        <a:t>Duration</a:t>
                      </a:r>
                    </a:p>
                  </a:txBody>
                  <a:tcPr/>
                </a:tc>
                <a:extLst>
                  <a:ext uri="{0D108BD9-81ED-4DB2-BD59-A6C34878D82A}">
                    <a16:rowId xmlns:a16="http://schemas.microsoft.com/office/drawing/2014/main" val="206944614"/>
                  </a:ext>
                </a:extLst>
              </a:tr>
              <a:tr h="874973">
                <a:tc>
                  <a:txBody>
                    <a:bodyPr/>
                    <a:lstStyle/>
                    <a:p>
                      <a:r>
                        <a:rPr lang="en-GB" sz="1600" noProof="0"/>
                        <a:t>11</a:t>
                      </a:r>
                    </a:p>
                  </a:txBody>
                  <a:tcPr anchor="ctr"/>
                </a:tc>
                <a:tc>
                  <a:txBody>
                    <a:bodyPr/>
                    <a:lstStyle/>
                    <a:p>
                      <a:r>
                        <a:rPr lang="en-GB" sz="1600" noProof="0"/>
                        <a:t>Scope </a:t>
                      </a:r>
                    </a:p>
                  </a:txBody>
                  <a:tcPr anchor="ctr"/>
                </a:tc>
                <a:tc>
                  <a:txBody>
                    <a:bodyPr/>
                    <a:lstStyle/>
                    <a:p>
                      <a:pPr marL="285750" lvl="0" indent="-285750" algn="l">
                        <a:lnSpc>
                          <a:spcPct val="100000"/>
                        </a:lnSpc>
                        <a:spcBef>
                          <a:spcPts val="0"/>
                        </a:spcBef>
                        <a:spcAft>
                          <a:spcPts val="0"/>
                        </a:spcAft>
                        <a:buFont typeface="Arial"/>
                        <a:buChar char="•"/>
                      </a:pPr>
                      <a:r>
                        <a:rPr lang="en-GB" sz="1600" b="1" i="0" u="none" strike="noStrike" noProof="0">
                          <a:solidFill>
                            <a:srgbClr val="FF0000"/>
                          </a:solidFill>
                          <a:latin typeface="Calibri"/>
                        </a:rPr>
                        <a:t>Users:</a:t>
                      </a:r>
                      <a:r>
                        <a:rPr lang="en-GB" sz="1600" b="0" i="0" u="none" strike="noStrike" noProof="0">
                          <a:solidFill>
                            <a:srgbClr val="FF0000"/>
                          </a:solidFill>
                          <a:latin typeface="Calibri"/>
                        </a:rPr>
                        <a:t> 10 end users + 1 approver</a:t>
                      </a:r>
                      <a:endParaRPr lang="en-GB" noProof="0"/>
                    </a:p>
                    <a:p>
                      <a:pPr marL="285750" lvl="0" indent="-285750" algn="l">
                        <a:lnSpc>
                          <a:spcPct val="100000"/>
                        </a:lnSpc>
                        <a:spcBef>
                          <a:spcPts val="0"/>
                        </a:spcBef>
                        <a:spcAft>
                          <a:spcPts val="0"/>
                        </a:spcAft>
                        <a:buFont typeface="Arial"/>
                        <a:buChar char="•"/>
                      </a:pPr>
                      <a:r>
                        <a:rPr lang="en-GB" sz="1600" b="1" i="0" u="none" strike="noStrike" noProof="0">
                          <a:solidFill>
                            <a:srgbClr val="FF0000"/>
                          </a:solidFill>
                          <a:latin typeface="Calibri"/>
                        </a:rPr>
                        <a:t>Report:</a:t>
                      </a:r>
                      <a:r>
                        <a:rPr lang="en-GB" sz="1600" b="0" i="0" u="none" strike="noStrike" noProof="0">
                          <a:solidFill>
                            <a:srgbClr val="FF0000"/>
                          </a:solidFill>
                          <a:latin typeface="Calibri"/>
                        </a:rPr>
                        <a:t> 1 existing SAC report connected to Datasphere</a:t>
                      </a:r>
                      <a:endParaRPr lang="en-GB" noProof="0"/>
                    </a:p>
                  </a:txBody>
                  <a:tcPr anchor="ctr"/>
                </a:tc>
                <a:tc>
                  <a:txBody>
                    <a:bodyPr/>
                    <a:lstStyle/>
                    <a:p>
                      <a:r>
                        <a:rPr lang="en-GB" sz="1600" noProof="0"/>
                        <a:t>5 – 7 weeks</a:t>
                      </a:r>
                    </a:p>
                  </a:txBody>
                  <a:tcPr anchor="ctr"/>
                </a:tc>
                <a:extLst>
                  <a:ext uri="{0D108BD9-81ED-4DB2-BD59-A6C34878D82A}">
                    <a16:rowId xmlns:a16="http://schemas.microsoft.com/office/drawing/2014/main" val="1661288958"/>
                  </a:ext>
                </a:extLst>
              </a:tr>
              <a:tr h="356470">
                <a:tc rowSpan="5">
                  <a:txBody>
                    <a:bodyPr/>
                    <a:lstStyle/>
                    <a:p>
                      <a:pPr marL="0" algn="l" defTabSz="914400" rtl="0" eaLnBrk="1" latinLnBrk="0" hangingPunct="1"/>
                      <a:endParaRPr lang="en-GB" sz="1600" kern="1200" noProof="0">
                        <a:solidFill>
                          <a:schemeClr val="tx1"/>
                        </a:solidFill>
                        <a:latin typeface="+mn-lt"/>
                        <a:ea typeface="+mn-ea"/>
                        <a:cs typeface="+mn-cs"/>
                      </a:endParaRPr>
                    </a:p>
                  </a:txBody>
                  <a:tcPr anchor="ctr"/>
                </a:tc>
                <a:tc rowSpan="5">
                  <a:txBody>
                    <a:bodyPr/>
                    <a:lstStyle/>
                    <a:p>
                      <a:pPr marL="0" lvl="0" algn="l" defTabSz="914400" rtl="0" eaLnBrk="1" latinLnBrk="0" hangingPunct="1">
                        <a:buNone/>
                      </a:pPr>
                      <a:r>
                        <a:rPr lang="en-GB" sz="1600" kern="1200" noProof="0">
                          <a:solidFill>
                            <a:schemeClr val="tx1"/>
                          </a:solidFill>
                          <a:latin typeface="+mn-lt"/>
                          <a:ea typeface="+mn-ea"/>
                          <a:cs typeface="+mn-cs"/>
                        </a:rPr>
                        <a:t>Main tasks</a:t>
                      </a:r>
                    </a:p>
                  </a:txBody>
                  <a:tcPr anchor="ctr"/>
                </a:tc>
                <a:tc>
                  <a:txBody>
                    <a:bodyPr/>
                    <a:lstStyle/>
                    <a:p>
                      <a:pPr lvl="0">
                        <a:buNone/>
                      </a:pPr>
                      <a:r>
                        <a:rPr lang="en-GB" sz="1600" b="0" i="0" u="none" strike="noStrike" noProof="0">
                          <a:solidFill>
                            <a:srgbClr val="FF0000"/>
                          </a:solidFill>
                          <a:latin typeface="Calibri"/>
                        </a:rPr>
                        <a:t>Create request form in Teams chatbot, integrate with SAP BTP, validate OAuth2 permissions</a:t>
                      </a:r>
                      <a:endParaRPr lang="en-GB" noProof="0"/>
                    </a:p>
                  </a:txBody>
                  <a:tcPr anchor="ctr"/>
                </a:tc>
                <a:tc>
                  <a:txBody>
                    <a:bodyPr/>
                    <a:lstStyle/>
                    <a:p>
                      <a:endParaRPr lang="en-GB" sz="1600" noProof="0"/>
                    </a:p>
                  </a:txBody>
                  <a:tcPr anchor="ctr"/>
                </a:tc>
                <a:extLst>
                  <a:ext uri="{0D108BD9-81ED-4DB2-BD59-A6C34878D82A}">
                    <a16:rowId xmlns:a16="http://schemas.microsoft.com/office/drawing/2014/main" val="2771796317"/>
                  </a:ext>
                </a:extLst>
              </a:tr>
              <a:tr h="356470">
                <a:tc vMerge="1">
                  <a:txBody>
                    <a:bodyPr/>
                    <a:lstStyle/>
                    <a:p>
                      <a:endParaRPr lang="en-US"/>
                    </a:p>
                  </a:txBody>
                  <a:tcPr anchor="ctr"/>
                </a:tc>
                <a:tc vMerge="1">
                  <a:txBody>
                    <a:bodyPr/>
                    <a:lstStyle/>
                    <a:p>
                      <a:endParaRPr lang="en-US"/>
                    </a:p>
                  </a:txBody>
                  <a:tcPr anchor="ctr"/>
                </a:tc>
                <a:tc>
                  <a:txBody>
                    <a:bodyPr/>
                    <a:lstStyle/>
                    <a:p>
                      <a:pPr lvl="0">
                        <a:buNone/>
                      </a:pPr>
                      <a:r>
                        <a:rPr lang="en-GB" sz="1600" b="0" i="0" u="none" strike="noStrike" noProof="0">
                          <a:solidFill>
                            <a:srgbClr val="FF0000"/>
                          </a:solidFill>
                          <a:latin typeface="Calibri"/>
                        </a:rPr>
                        <a:t>Model approval flow, include multi-level rules, simulate scenarios (denied, escalated)</a:t>
                      </a:r>
                      <a:endParaRPr lang="en-GB" noProof="0"/>
                    </a:p>
                  </a:txBody>
                  <a:tcPr anchor="ctr"/>
                </a:tc>
                <a:tc>
                  <a:txBody>
                    <a:bodyPr/>
                    <a:lstStyle/>
                    <a:p>
                      <a:endParaRPr lang="en-GB" sz="1600" noProof="0"/>
                    </a:p>
                  </a:txBody>
                  <a:tcPr anchor="ctr"/>
                </a:tc>
                <a:extLst>
                  <a:ext uri="{0D108BD9-81ED-4DB2-BD59-A6C34878D82A}">
                    <a16:rowId xmlns:a16="http://schemas.microsoft.com/office/drawing/2014/main" val="179756981"/>
                  </a:ext>
                </a:extLst>
              </a:tr>
              <a:tr h="356469">
                <a:tc vMerge="1">
                  <a:txBody>
                    <a:bodyPr/>
                    <a:lstStyle/>
                    <a:p>
                      <a:endParaRPr lang="en-US"/>
                    </a:p>
                  </a:txBody>
                  <a:tcPr anchor="ctr"/>
                </a:tc>
                <a:tc vMerge="1">
                  <a:txBody>
                    <a:bodyPr/>
                    <a:lstStyle/>
                    <a:p>
                      <a:endParaRPr lang="en-US"/>
                    </a:p>
                  </a:txBody>
                  <a:tcPr anchor="ctr"/>
                </a:tc>
                <a:tc>
                  <a:txBody>
                    <a:bodyPr/>
                    <a:lstStyle/>
                    <a:p>
                      <a:pPr lvl="0">
                        <a:buNone/>
                      </a:pPr>
                      <a:r>
                        <a:rPr lang="en-GB" sz="1600" b="0" i="0" u="none" strike="noStrike" noProof="0">
                          <a:solidFill>
                            <a:srgbClr val="FF0000"/>
                          </a:solidFill>
                          <a:latin typeface="Calibri"/>
                        </a:rPr>
                        <a:t>Configure RBAC policies in Datasphere, connect API calls to workflow outputs</a:t>
                      </a:r>
                      <a:endParaRPr lang="en-GB" noProof="0"/>
                    </a:p>
                  </a:txBody>
                  <a:tcPr anchor="ctr"/>
                </a:tc>
                <a:tc>
                  <a:txBody>
                    <a:bodyPr/>
                    <a:lstStyle/>
                    <a:p>
                      <a:pPr lvl="0">
                        <a:buNone/>
                      </a:pPr>
                      <a:endParaRPr lang="en-GB" sz="1600" noProof="0"/>
                    </a:p>
                  </a:txBody>
                  <a:tcPr anchor="ctr"/>
                </a:tc>
                <a:extLst>
                  <a:ext uri="{0D108BD9-81ED-4DB2-BD59-A6C34878D82A}">
                    <a16:rowId xmlns:a16="http://schemas.microsoft.com/office/drawing/2014/main" val="3993325507"/>
                  </a:ext>
                </a:extLst>
              </a:tr>
              <a:tr h="356469">
                <a:tc vMerge="1">
                  <a:txBody>
                    <a:bodyPr/>
                    <a:lstStyle/>
                    <a:p>
                      <a:endParaRPr lang="en-US"/>
                    </a:p>
                  </a:txBody>
                  <a:tcPr anchor="ctr"/>
                </a:tc>
                <a:tc vMerge="1">
                  <a:txBody>
                    <a:bodyPr/>
                    <a:lstStyle/>
                    <a:p>
                      <a:endParaRPr lang="en-US"/>
                    </a:p>
                  </a:txBody>
                  <a:tcPr anchor="ctr"/>
                </a:tc>
                <a:tc>
                  <a:txBody>
                    <a:bodyPr/>
                    <a:lstStyle/>
                    <a:p>
                      <a:pPr lvl="0">
                        <a:buNone/>
                      </a:pPr>
                      <a:r>
                        <a:rPr lang="en-GB" sz="1600" b="0" i="0" u="none" strike="noStrike" noProof="0">
                          <a:solidFill>
                            <a:srgbClr val="FF0000"/>
                          </a:solidFill>
                          <a:latin typeface="Calibri"/>
                        </a:rPr>
                        <a:t>Notify users (Teams/Webhook), test SAC access, simulate revoked access or change of role</a:t>
                      </a:r>
                      <a:endParaRPr lang="en-GB" noProof="0"/>
                    </a:p>
                  </a:txBody>
                  <a:tcPr anchor="ctr"/>
                </a:tc>
                <a:tc>
                  <a:txBody>
                    <a:bodyPr/>
                    <a:lstStyle/>
                    <a:p>
                      <a:pPr lvl="0">
                        <a:buNone/>
                      </a:pPr>
                      <a:endParaRPr lang="en-GB" sz="1600" noProof="0"/>
                    </a:p>
                  </a:txBody>
                  <a:tcPr anchor="ctr"/>
                </a:tc>
                <a:extLst>
                  <a:ext uri="{0D108BD9-81ED-4DB2-BD59-A6C34878D82A}">
                    <a16:rowId xmlns:a16="http://schemas.microsoft.com/office/drawing/2014/main" val="319912299"/>
                  </a:ext>
                </a:extLst>
              </a:tr>
              <a:tr h="356469">
                <a:tc vMerge="1">
                  <a:txBody>
                    <a:bodyPr/>
                    <a:lstStyle/>
                    <a:p>
                      <a:endParaRPr lang="en-US"/>
                    </a:p>
                  </a:txBody>
                  <a:tcPr anchor="ctr"/>
                </a:tc>
                <a:tc vMerge="1">
                  <a:txBody>
                    <a:bodyPr/>
                    <a:lstStyle/>
                    <a:p>
                      <a:endParaRPr lang="en-US"/>
                    </a:p>
                  </a:txBody>
                  <a:tcPr anchor="ctr"/>
                </a:tc>
                <a:tc>
                  <a:txBody>
                    <a:bodyPr/>
                    <a:lstStyle/>
                    <a:p>
                      <a:pPr lvl="0">
                        <a:buNone/>
                      </a:pPr>
                      <a:r>
                        <a:rPr lang="en-GB" sz="1600" b="0" i="0" u="none" strike="noStrike" noProof="0">
                          <a:solidFill>
                            <a:srgbClr val="FF0000"/>
                          </a:solidFill>
                          <a:latin typeface="Calibri"/>
                        </a:rPr>
                        <a:t>Perform full testing, document outcomes, monitor audit logs, present results</a:t>
                      </a:r>
                      <a:endParaRPr lang="en-GB" noProof="0"/>
                    </a:p>
                  </a:txBody>
                  <a:tcPr anchor="ctr"/>
                </a:tc>
                <a:tc>
                  <a:txBody>
                    <a:bodyPr/>
                    <a:lstStyle/>
                    <a:p>
                      <a:pPr lvl="0">
                        <a:buNone/>
                      </a:pPr>
                      <a:endParaRPr lang="en-GB" sz="1600" noProof="0"/>
                    </a:p>
                  </a:txBody>
                  <a:tcPr anchor="ctr"/>
                </a:tc>
                <a:extLst>
                  <a:ext uri="{0D108BD9-81ED-4DB2-BD59-A6C34878D82A}">
                    <a16:rowId xmlns:a16="http://schemas.microsoft.com/office/drawing/2014/main" val="3422318688"/>
                  </a:ext>
                </a:extLst>
              </a:tr>
            </a:tbl>
          </a:graphicData>
        </a:graphic>
      </p:graphicFrame>
    </p:spTree>
    <p:extLst>
      <p:ext uri="{BB962C8B-B14F-4D97-AF65-F5344CB8AC3E}">
        <p14:creationId xmlns:p14="http://schemas.microsoft.com/office/powerpoint/2010/main" val="143750270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tangle 57">
            <a:extLst>
              <a:ext uri="{FF2B5EF4-FFF2-40B4-BE49-F238E27FC236}">
                <a16:creationId xmlns:a16="http://schemas.microsoft.com/office/drawing/2014/main" id="{AA19C6CA-63AB-73CB-BFF2-511C51F28CB8}"/>
              </a:ext>
            </a:extLst>
          </p:cNvPr>
          <p:cNvSpPr>
            <a:spLocks noChangeArrowheads="1"/>
          </p:cNvSpPr>
          <p:nvPr/>
        </p:nvSpPr>
        <p:spPr bwMode="gray">
          <a:xfrm>
            <a:off x="396399" y="301323"/>
            <a:ext cx="10728801" cy="830942"/>
          </a:xfrm>
          <a:prstGeom prst="rect">
            <a:avLst/>
          </a:prstGeom>
          <a:noFill/>
          <a:ln w="9525">
            <a:noFill/>
            <a:miter lim="800000"/>
            <a:headEnd/>
            <a:tailEnd/>
          </a:ln>
          <a:effectLst/>
        </p:spPr>
        <p:txBody>
          <a:bodyPr wrap="square" lIns="91386" tIns="45693" rIns="91386" bIns="45693" anchor="t">
            <a:spAutoFit/>
          </a:bodyPr>
          <a:lstStyle/>
          <a:p>
            <a:pPr defTabSz="914446">
              <a:buClr>
                <a:srgbClr val="000000"/>
              </a:buClr>
            </a:pPr>
            <a:r>
              <a:rPr lang="en-GB" sz="4800" b="1" noProof="0">
                <a:latin typeface="Quattrocento Sans"/>
                <a:ea typeface="Lato"/>
                <a:cs typeface="Lato"/>
              </a:rPr>
              <a:t>Data Access Solution Architecture</a:t>
            </a:r>
            <a:endParaRPr lang="en-GB" sz="4800" b="1" noProof="0">
              <a:latin typeface="Quattrocento Sans" panose="020B0502050000020003" pitchFamily="34" charset="0"/>
              <a:ea typeface="Lato"/>
              <a:cs typeface="Lato"/>
            </a:endParaRPr>
          </a:p>
        </p:txBody>
      </p:sp>
      <p:graphicFrame>
        <p:nvGraphicFramePr>
          <p:cNvPr id="4" name="Table 3">
            <a:extLst>
              <a:ext uri="{FF2B5EF4-FFF2-40B4-BE49-F238E27FC236}">
                <a16:creationId xmlns:a16="http://schemas.microsoft.com/office/drawing/2014/main" id="{992B76CC-7ACA-8C8E-E901-DF2325DFABFC}"/>
              </a:ext>
            </a:extLst>
          </p:cNvPr>
          <p:cNvGraphicFramePr>
            <a:graphicFrameLocks noGrp="1"/>
          </p:cNvGraphicFramePr>
          <p:nvPr>
            <p:extLst>
              <p:ext uri="{D42A27DB-BD31-4B8C-83A1-F6EECF244321}">
                <p14:modId xmlns:p14="http://schemas.microsoft.com/office/powerpoint/2010/main" val="1285551836"/>
              </p:ext>
            </p:extLst>
          </p:nvPr>
        </p:nvGraphicFramePr>
        <p:xfrm>
          <a:off x="692727" y="1450571"/>
          <a:ext cx="11048998" cy="4480560"/>
        </p:xfrm>
        <a:graphic>
          <a:graphicData uri="http://schemas.openxmlformats.org/drawingml/2006/table">
            <a:tbl>
              <a:tblPr bandRow="1">
                <a:tableStyleId>{5C22544A-7EE6-4342-B048-85BDC9FD1C3A}</a:tableStyleId>
              </a:tblPr>
              <a:tblGrid>
                <a:gridCol w="5524499">
                  <a:extLst>
                    <a:ext uri="{9D8B030D-6E8A-4147-A177-3AD203B41FA5}">
                      <a16:colId xmlns:a16="http://schemas.microsoft.com/office/drawing/2014/main" val="282810770"/>
                    </a:ext>
                  </a:extLst>
                </a:gridCol>
                <a:gridCol w="5524499">
                  <a:extLst>
                    <a:ext uri="{9D8B030D-6E8A-4147-A177-3AD203B41FA5}">
                      <a16:colId xmlns:a16="http://schemas.microsoft.com/office/drawing/2014/main" val="3302869603"/>
                    </a:ext>
                  </a:extLst>
                </a:gridCol>
              </a:tblGrid>
              <a:tr h="0">
                <a:tc>
                  <a:txBody>
                    <a:bodyPr/>
                    <a:lstStyle/>
                    <a:p>
                      <a:r>
                        <a:rPr lang="en-GB" b="1" noProof="0"/>
                        <a:t>Stage</a:t>
                      </a:r>
                      <a:endParaRPr lang="en-GB" noProof="0"/>
                    </a:p>
                  </a:txBody>
                  <a:tcPr anchor="ctr">
                    <a:lnL>
                      <a:noFill/>
                    </a:lnL>
                    <a:lnR>
                      <a:noFill/>
                    </a:lnR>
                    <a:lnT>
                      <a:noFill/>
                    </a:lnT>
                    <a:lnB>
                      <a:noFill/>
                    </a:lnB>
                    <a:noFill/>
                  </a:tcPr>
                </a:tc>
                <a:tc>
                  <a:txBody>
                    <a:bodyPr/>
                    <a:lstStyle/>
                    <a:p>
                      <a:r>
                        <a:rPr lang="en-GB" b="1" noProof="0"/>
                        <a:t>Best Practices</a:t>
                      </a:r>
                      <a:endParaRPr lang="en-GB" noProof="0"/>
                    </a:p>
                  </a:txBody>
                  <a:tcPr anchor="ctr">
                    <a:lnL>
                      <a:noFill/>
                    </a:lnL>
                    <a:lnR>
                      <a:noFill/>
                    </a:lnR>
                    <a:lnT>
                      <a:noFill/>
                    </a:lnT>
                    <a:lnB>
                      <a:noFill/>
                    </a:lnB>
                    <a:noFill/>
                  </a:tcPr>
                </a:tc>
                <a:extLst>
                  <a:ext uri="{0D108BD9-81ED-4DB2-BD59-A6C34878D82A}">
                    <a16:rowId xmlns:a16="http://schemas.microsoft.com/office/drawing/2014/main" val="4286005033"/>
                  </a:ext>
                </a:extLst>
              </a:tr>
              <a:tr h="0">
                <a:tc>
                  <a:txBody>
                    <a:bodyPr/>
                    <a:lstStyle/>
                    <a:p>
                      <a:r>
                        <a:rPr lang="en-GB" noProof="0"/>
                        <a:t>Chatbot User Request</a:t>
                      </a:r>
                    </a:p>
                  </a:txBody>
                  <a:tcPr anchor="ctr">
                    <a:lnL>
                      <a:noFill/>
                    </a:lnL>
                    <a:lnR>
                      <a:noFill/>
                    </a:lnR>
                    <a:lnT>
                      <a:noFill/>
                    </a:lnT>
                    <a:lnB>
                      <a:noFill/>
                    </a:lnB>
                    <a:noFill/>
                  </a:tcPr>
                </a:tc>
                <a:tc>
                  <a:txBody>
                    <a:bodyPr/>
                    <a:lstStyle/>
                    <a:p>
                      <a:r>
                        <a:rPr lang="en-GB" noProof="0"/>
                        <a:t>✔️ Teams + SAP CAI or Build Process Automation👉 OAuth2 connection, defined permissions</a:t>
                      </a:r>
                    </a:p>
                  </a:txBody>
                  <a:tcPr anchor="ctr">
                    <a:lnL>
                      <a:noFill/>
                    </a:lnL>
                    <a:lnR>
                      <a:noFill/>
                    </a:lnR>
                    <a:lnT>
                      <a:noFill/>
                    </a:lnT>
                    <a:lnB>
                      <a:noFill/>
                    </a:lnB>
                    <a:noFill/>
                  </a:tcPr>
                </a:tc>
                <a:extLst>
                  <a:ext uri="{0D108BD9-81ED-4DB2-BD59-A6C34878D82A}">
                    <a16:rowId xmlns:a16="http://schemas.microsoft.com/office/drawing/2014/main" val="502032855"/>
                  </a:ext>
                </a:extLst>
              </a:tr>
              <a:tr h="0">
                <a:tc>
                  <a:txBody>
                    <a:bodyPr/>
                    <a:lstStyle/>
                    <a:p>
                      <a:r>
                        <a:rPr lang="en-GB" noProof="0"/>
                        <a:t>Approval Workflow Activation</a:t>
                      </a:r>
                    </a:p>
                  </a:txBody>
                  <a:tcPr anchor="ctr">
                    <a:lnL>
                      <a:noFill/>
                    </a:lnL>
                    <a:lnR>
                      <a:noFill/>
                    </a:lnR>
                    <a:lnT>
                      <a:noFill/>
                    </a:lnT>
                    <a:lnB>
                      <a:noFill/>
                    </a:lnB>
                    <a:noFill/>
                  </a:tcPr>
                </a:tc>
                <a:tc>
                  <a:txBody>
                    <a:bodyPr/>
                    <a:lstStyle/>
                    <a:p>
                      <a:r>
                        <a:rPr lang="en-GB" noProof="0"/>
                        <a:t>✔️ SAP Workflow Management / Build Process Automation👉 Conditional approval rules, multi-level approvers</a:t>
                      </a:r>
                    </a:p>
                  </a:txBody>
                  <a:tcPr anchor="ctr">
                    <a:lnL>
                      <a:noFill/>
                    </a:lnL>
                    <a:lnR>
                      <a:noFill/>
                    </a:lnR>
                    <a:lnT>
                      <a:noFill/>
                    </a:lnT>
                    <a:lnB>
                      <a:noFill/>
                    </a:lnB>
                    <a:noFill/>
                  </a:tcPr>
                </a:tc>
                <a:extLst>
                  <a:ext uri="{0D108BD9-81ED-4DB2-BD59-A6C34878D82A}">
                    <a16:rowId xmlns:a16="http://schemas.microsoft.com/office/drawing/2014/main" val="3386912833"/>
                  </a:ext>
                </a:extLst>
              </a:tr>
              <a:tr h="0">
                <a:tc>
                  <a:txBody>
                    <a:bodyPr/>
                    <a:lstStyle/>
                    <a:p>
                      <a:r>
                        <a:rPr lang="en-GB" noProof="0"/>
                        <a:t>Approval Process Completion</a:t>
                      </a:r>
                    </a:p>
                  </a:txBody>
                  <a:tcPr anchor="ctr">
                    <a:lnL>
                      <a:noFill/>
                    </a:lnL>
                    <a:lnR>
                      <a:noFill/>
                    </a:lnR>
                    <a:lnT>
                      <a:noFill/>
                    </a:lnT>
                    <a:lnB>
                      <a:noFill/>
                    </a:lnB>
                    <a:noFill/>
                  </a:tcPr>
                </a:tc>
                <a:tc>
                  <a:txBody>
                    <a:bodyPr/>
                    <a:lstStyle/>
                    <a:p>
                      <a:r>
                        <a:rPr lang="en-GB" noProof="0"/>
                        <a:t>✔️ Access trigger point❗ Fix typo: “</a:t>
                      </a:r>
                      <a:r>
                        <a:rPr lang="en-GB" noProof="0" err="1"/>
                        <a:t>completition</a:t>
                      </a:r>
                      <a:r>
                        <a:rPr lang="en-GB" noProof="0"/>
                        <a:t>” → “completion”</a:t>
                      </a:r>
                    </a:p>
                  </a:txBody>
                  <a:tcPr anchor="ctr">
                    <a:lnL>
                      <a:noFill/>
                    </a:lnL>
                    <a:lnR>
                      <a:noFill/>
                    </a:lnR>
                    <a:lnT>
                      <a:noFill/>
                    </a:lnT>
                    <a:lnB>
                      <a:noFill/>
                    </a:lnB>
                    <a:noFill/>
                  </a:tcPr>
                </a:tc>
                <a:extLst>
                  <a:ext uri="{0D108BD9-81ED-4DB2-BD59-A6C34878D82A}">
                    <a16:rowId xmlns:a16="http://schemas.microsoft.com/office/drawing/2014/main" val="3358595414"/>
                  </a:ext>
                </a:extLst>
              </a:tr>
              <a:tr h="0">
                <a:tc>
                  <a:txBody>
                    <a:bodyPr/>
                    <a:lstStyle/>
                    <a:p>
                      <a:r>
                        <a:rPr lang="en-GB" noProof="0"/>
                        <a:t>API User Access Provision</a:t>
                      </a:r>
                    </a:p>
                  </a:txBody>
                  <a:tcPr anchor="ctr">
                    <a:lnL>
                      <a:noFill/>
                    </a:lnL>
                    <a:lnR>
                      <a:noFill/>
                    </a:lnR>
                    <a:lnT>
                      <a:noFill/>
                    </a:lnT>
                    <a:lnB>
                      <a:noFill/>
                    </a:lnB>
                    <a:noFill/>
                  </a:tcPr>
                </a:tc>
                <a:tc>
                  <a:txBody>
                    <a:bodyPr/>
                    <a:lstStyle/>
                    <a:p>
                      <a:r>
                        <a:rPr lang="en-GB" noProof="0"/>
                        <a:t>✔️ Datasphere APIs (RBAC)👉 OAuth2 authentication + properly enforced security policies</a:t>
                      </a:r>
                    </a:p>
                  </a:txBody>
                  <a:tcPr anchor="ctr">
                    <a:lnL>
                      <a:noFill/>
                    </a:lnL>
                    <a:lnR>
                      <a:noFill/>
                    </a:lnR>
                    <a:lnT>
                      <a:noFill/>
                    </a:lnT>
                    <a:lnB>
                      <a:noFill/>
                    </a:lnB>
                    <a:noFill/>
                  </a:tcPr>
                </a:tc>
                <a:extLst>
                  <a:ext uri="{0D108BD9-81ED-4DB2-BD59-A6C34878D82A}">
                    <a16:rowId xmlns:a16="http://schemas.microsoft.com/office/drawing/2014/main" val="850949833"/>
                  </a:ext>
                </a:extLst>
              </a:tr>
              <a:tr h="0">
                <a:tc>
                  <a:txBody>
                    <a:bodyPr/>
                    <a:lstStyle/>
                    <a:p>
                      <a:r>
                        <a:rPr lang="en-GB" noProof="0"/>
                        <a:t>User Notification</a:t>
                      </a:r>
                    </a:p>
                  </a:txBody>
                  <a:tcPr anchor="ctr">
                    <a:lnL>
                      <a:noFill/>
                    </a:lnL>
                    <a:lnR>
                      <a:noFill/>
                    </a:lnR>
                    <a:lnT>
                      <a:noFill/>
                    </a:lnT>
                    <a:lnB>
                      <a:noFill/>
                    </a:lnB>
                    <a:noFill/>
                  </a:tcPr>
                </a:tc>
                <a:tc>
                  <a:txBody>
                    <a:bodyPr/>
                    <a:lstStyle/>
                    <a:p>
                      <a:r>
                        <a:rPr lang="en-GB" noProof="0"/>
                        <a:t>✔️ User notification after approval👉 Use Webhook or SAP BTP destinations</a:t>
                      </a:r>
                    </a:p>
                  </a:txBody>
                  <a:tcPr anchor="ctr">
                    <a:lnL>
                      <a:noFill/>
                    </a:lnL>
                    <a:lnR>
                      <a:noFill/>
                    </a:lnR>
                    <a:lnT>
                      <a:noFill/>
                    </a:lnT>
                    <a:lnB>
                      <a:noFill/>
                    </a:lnB>
                    <a:noFill/>
                  </a:tcPr>
                </a:tc>
                <a:extLst>
                  <a:ext uri="{0D108BD9-81ED-4DB2-BD59-A6C34878D82A}">
                    <a16:rowId xmlns:a16="http://schemas.microsoft.com/office/drawing/2014/main" val="1810269425"/>
                  </a:ext>
                </a:extLst>
              </a:tr>
              <a:tr h="0">
                <a:tc>
                  <a:txBody>
                    <a:bodyPr/>
                    <a:lstStyle/>
                    <a:p>
                      <a:r>
                        <a:rPr lang="en-GB" noProof="0"/>
                        <a:t>Access Allowed</a:t>
                      </a:r>
                    </a:p>
                  </a:txBody>
                  <a:tcPr anchor="ctr">
                    <a:lnL>
                      <a:noFill/>
                    </a:lnL>
                    <a:lnR>
                      <a:noFill/>
                    </a:lnR>
                    <a:lnT>
                      <a:noFill/>
                    </a:lnT>
                    <a:lnB>
                      <a:noFill/>
                    </a:lnB>
                    <a:noFill/>
                  </a:tcPr>
                </a:tc>
                <a:tc>
                  <a:txBody>
                    <a:bodyPr/>
                    <a:lstStyle/>
                    <a:p>
                      <a:r>
                        <a:rPr lang="en-GB" noProof="0"/>
                        <a:t>✔️ Access granted in SAC with correct roles/views🔍 Post-provision validation</a:t>
                      </a:r>
                    </a:p>
                  </a:txBody>
                  <a:tcPr anchor="ctr">
                    <a:lnL>
                      <a:noFill/>
                    </a:lnL>
                    <a:lnR>
                      <a:noFill/>
                    </a:lnR>
                    <a:lnT>
                      <a:noFill/>
                    </a:lnT>
                    <a:lnB>
                      <a:noFill/>
                    </a:lnB>
                    <a:noFill/>
                  </a:tcPr>
                </a:tc>
                <a:extLst>
                  <a:ext uri="{0D108BD9-81ED-4DB2-BD59-A6C34878D82A}">
                    <a16:rowId xmlns:a16="http://schemas.microsoft.com/office/drawing/2014/main" val="2507534376"/>
                  </a:ext>
                </a:extLst>
              </a:tr>
            </a:tbl>
          </a:graphicData>
        </a:graphic>
      </p:graphicFrame>
    </p:spTree>
    <p:extLst>
      <p:ext uri="{BB962C8B-B14F-4D97-AF65-F5344CB8AC3E}">
        <p14:creationId xmlns:p14="http://schemas.microsoft.com/office/powerpoint/2010/main" val="373678978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39C36852-FF13-7761-8F15-6C9F5390F060}"/>
            </a:ext>
          </a:extLst>
        </p:cNvPr>
        <p:cNvGrpSpPr/>
        <p:nvPr/>
      </p:nvGrpSpPr>
      <p:grpSpPr>
        <a:xfrm>
          <a:off x="0" y="0"/>
          <a:ext cx="0" cy="0"/>
          <a:chOff x="0" y="0"/>
          <a:chExt cx="0" cy="0"/>
        </a:xfrm>
      </p:grpSpPr>
      <p:sp>
        <p:nvSpPr>
          <p:cNvPr id="3" name="Rectangle 57">
            <a:extLst>
              <a:ext uri="{FF2B5EF4-FFF2-40B4-BE49-F238E27FC236}">
                <a16:creationId xmlns:a16="http://schemas.microsoft.com/office/drawing/2014/main" id="{D59F897A-BBC6-824C-B622-E868071138ED}"/>
              </a:ext>
            </a:extLst>
          </p:cNvPr>
          <p:cNvSpPr>
            <a:spLocks noChangeArrowheads="1"/>
          </p:cNvSpPr>
          <p:nvPr/>
        </p:nvSpPr>
        <p:spPr bwMode="gray">
          <a:xfrm>
            <a:off x="396399" y="301323"/>
            <a:ext cx="10728801" cy="830942"/>
          </a:xfrm>
          <a:prstGeom prst="rect">
            <a:avLst/>
          </a:prstGeom>
          <a:noFill/>
          <a:ln w="9525">
            <a:noFill/>
            <a:miter lim="800000"/>
            <a:headEnd/>
            <a:tailEnd/>
          </a:ln>
          <a:effectLst/>
        </p:spPr>
        <p:txBody>
          <a:bodyPr wrap="square" lIns="91386" tIns="45693" rIns="91386" bIns="45693">
            <a:spAutoFit/>
          </a:bodyPr>
          <a:lstStyle/>
          <a:p>
            <a:pPr defTabSz="914446">
              <a:buClr>
                <a:srgbClr val="000000"/>
              </a:buClr>
            </a:pPr>
            <a:r>
              <a:rPr lang="en-GB" sz="4800" b="1" noProof="0">
                <a:latin typeface="Quattrocento Sans" panose="020B0502050000020003" pitchFamily="34" charset="0"/>
                <a:ea typeface="Lato"/>
                <a:cs typeface="Lato"/>
                <a:sym typeface="Arial"/>
              </a:rPr>
              <a:t>Proposed Scope (summary)</a:t>
            </a:r>
          </a:p>
        </p:txBody>
      </p:sp>
      <p:graphicFrame>
        <p:nvGraphicFramePr>
          <p:cNvPr id="2" name="Tabla 1">
            <a:extLst>
              <a:ext uri="{FF2B5EF4-FFF2-40B4-BE49-F238E27FC236}">
                <a16:creationId xmlns:a16="http://schemas.microsoft.com/office/drawing/2014/main" id="{0F16EBC7-85F5-97E5-BAE0-E86C34605A92}"/>
              </a:ext>
            </a:extLst>
          </p:cNvPr>
          <p:cNvGraphicFramePr>
            <a:graphicFrameLocks noGrp="1"/>
          </p:cNvGraphicFramePr>
          <p:nvPr>
            <p:extLst>
              <p:ext uri="{D42A27DB-BD31-4B8C-83A1-F6EECF244321}">
                <p14:modId xmlns:p14="http://schemas.microsoft.com/office/powerpoint/2010/main" val="2402784587"/>
              </p:ext>
            </p:extLst>
          </p:nvPr>
        </p:nvGraphicFramePr>
        <p:xfrm>
          <a:off x="396399" y="1253157"/>
          <a:ext cx="11735898" cy="5059680"/>
        </p:xfrm>
        <a:graphic>
          <a:graphicData uri="http://schemas.openxmlformats.org/drawingml/2006/table">
            <a:tbl>
              <a:tblPr firstRow="1" bandRow="1">
                <a:tableStyleId>{C083E6E3-FA7D-4D7B-A595-EF9225AFEA82}</a:tableStyleId>
              </a:tblPr>
              <a:tblGrid>
                <a:gridCol w="525780">
                  <a:extLst>
                    <a:ext uri="{9D8B030D-6E8A-4147-A177-3AD203B41FA5}">
                      <a16:colId xmlns:a16="http://schemas.microsoft.com/office/drawing/2014/main" val="491116858"/>
                    </a:ext>
                  </a:extLst>
                </a:gridCol>
                <a:gridCol w="1306074">
                  <a:extLst>
                    <a:ext uri="{9D8B030D-6E8A-4147-A177-3AD203B41FA5}">
                      <a16:colId xmlns:a16="http://schemas.microsoft.com/office/drawing/2014/main" val="335517759"/>
                    </a:ext>
                  </a:extLst>
                </a:gridCol>
                <a:gridCol w="3045968">
                  <a:extLst>
                    <a:ext uri="{9D8B030D-6E8A-4147-A177-3AD203B41FA5}">
                      <a16:colId xmlns:a16="http://schemas.microsoft.com/office/drawing/2014/main" val="2247810313"/>
                    </a:ext>
                  </a:extLst>
                </a:gridCol>
                <a:gridCol w="3674526">
                  <a:extLst>
                    <a:ext uri="{9D8B030D-6E8A-4147-A177-3AD203B41FA5}">
                      <a16:colId xmlns:a16="http://schemas.microsoft.com/office/drawing/2014/main" val="2005446076"/>
                    </a:ext>
                  </a:extLst>
                </a:gridCol>
                <a:gridCol w="3183550">
                  <a:extLst>
                    <a:ext uri="{9D8B030D-6E8A-4147-A177-3AD203B41FA5}">
                      <a16:colId xmlns:a16="http://schemas.microsoft.com/office/drawing/2014/main" val="2964250530"/>
                    </a:ext>
                  </a:extLst>
                </a:gridCol>
              </a:tblGrid>
              <a:tr h="0">
                <a:tc>
                  <a:txBody>
                    <a:bodyPr/>
                    <a:lstStyle/>
                    <a:p>
                      <a:r>
                        <a:rPr lang="en-GB" sz="1600" noProof="0"/>
                        <a:t>No.</a:t>
                      </a:r>
                    </a:p>
                  </a:txBody>
                  <a:tcPr/>
                </a:tc>
                <a:tc>
                  <a:txBody>
                    <a:bodyPr/>
                    <a:lstStyle/>
                    <a:p>
                      <a:r>
                        <a:rPr lang="en-GB" sz="1600" noProof="0"/>
                        <a:t>Category</a:t>
                      </a:r>
                    </a:p>
                  </a:txBody>
                  <a:tcPr/>
                </a:tc>
                <a:tc>
                  <a:txBody>
                    <a:bodyPr/>
                    <a:lstStyle/>
                    <a:p>
                      <a:r>
                        <a:rPr lang="en-GB" sz="1600" noProof="0"/>
                        <a:t>Item</a:t>
                      </a:r>
                    </a:p>
                  </a:txBody>
                  <a:tcPr/>
                </a:tc>
                <a:tc>
                  <a:txBody>
                    <a:bodyPr/>
                    <a:lstStyle/>
                    <a:p>
                      <a:r>
                        <a:rPr lang="en-GB" sz="1600" noProof="0"/>
                        <a:t>Description</a:t>
                      </a:r>
                    </a:p>
                  </a:txBody>
                  <a:tcPr/>
                </a:tc>
                <a:tc>
                  <a:txBody>
                    <a:bodyPr/>
                    <a:lstStyle/>
                    <a:p>
                      <a:r>
                        <a:rPr lang="en-GB" sz="1600" noProof="0"/>
                        <a:t>Duration</a:t>
                      </a:r>
                    </a:p>
                  </a:txBody>
                  <a:tcPr/>
                </a:tc>
                <a:extLst>
                  <a:ext uri="{0D108BD9-81ED-4DB2-BD59-A6C34878D82A}">
                    <a16:rowId xmlns:a16="http://schemas.microsoft.com/office/drawing/2014/main" val="830569011"/>
                  </a:ext>
                </a:extLst>
              </a:tr>
              <a:tr h="0">
                <a:tc>
                  <a:txBody>
                    <a:bodyPr/>
                    <a:lstStyle/>
                    <a:p>
                      <a:r>
                        <a:rPr lang="en-GB" sz="1600" noProof="0"/>
                        <a:t>1</a:t>
                      </a:r>
                    </a:p>
                  </a:txBody>
                  <a:tcPr anchor="ctr"/>
                </a:tc>
                <a:tc>
                  <a:txBody>
                    <a:bodyPr/>
                    <a:lstStyle/>
                    <a:p>
                      <a:r>
                        <a:rPr lang="en-GB" sz="1600" noProof="0"/>
                        <a:t>Advisory</a:t>
                      </a:r>
                    </a:p>
                  </a:txBody>
                  <a:tcPr anchor="ctr"/>
                </a:tc>
                <a:tc>
                  <a:txBody>
                    <a:bodyPr/>
                    <a:lstStyle/>
                    <a:p>
                      <a:r>
                        <a:rPr lang="en-GB" sz="1600" noProof="0"/>
                        <a:t>As-Is</a:t>
                      </a:r>
                    </a:p>
                  </a:txBody>
                  <a:tcPr anchor="ctr"/>
                </a:tc>
                <a:tc>
                  <a:txBody>
                    <a:bodyPr/>
                    <a:lstStyle/>
                    <a:p>
                      <a:endParaRPr lang="en-GB" sz="1600" noProof="0"/>
                    </a:p>
                  </a:txBody>
                  <a:tcPr anchor="ctr"/>
                </a:tc>
                <a:tc>
                  <a:txBody>
                    <a:bodyPr/>
                    <a:lstStyle/>
                    <a:p>
                      <a:r>
                        <a:rPr lang="en-GB" sz="1600" noProof="0"/>
                        <a:t>4 – 6 weeks</a:t>
                      </a:r>
                    </a:p>
                  </a:txBody>
                  <a:tcPr anchor="ctr"/>
                </a:tc>
                <a:extLst>
                  <a:ext uri="{0D108BD9-81ED-4DB2-BD59-A6C34878D82A}">
                    <a16:rowId xmlns:a16="http://schemas.microsoft.com/office/drawing/2014/main" val="4155318888"/>
                  </a:ext>
                </a:extLst>
              </a:tr>
              <a:tr h="0">
                <a:tc>
                  <a:txBody>
                    <a:bodyPr/>
                    <a:lstStyle/>
                    <a:p>
                      <a:r>
                        <a:rPr lang="en-GB" sz="1600" noProof="0"/>
                        <a:t>2</a:t>
                      </a:r>
                    </a:p>
                  </a:txBody>
                  <a:tcPr anchor="ctr"/>
                </a:tc>
                <a:tc>
                  <a:txBody>
                    <a:bodyPr/>
                    <a:lstStyle/>
                    <a:p>
                      <a:r>
                        <a:rPr lang="en-GB" sz="1600" noProof="0"/>
                        <a:t>Advisory</a:t>
                      </a:r>
                    </a:p>
                  </a:txBody>
                  <a:tcPr anchor="ctr"/>
                </a:tc>
                <a:tc>
                  <a:txBody>
                    <a:bodyPr/>
                    <a:lstStyle/>
                    <a:p>
                      <a:r>
                        <a:rPr lang="en-GB" sz="1600" noProof="0"/>
                        <a:t>On-going</a:t>
                      </a:r>
                    </a:p>
                  </a:txBody>
                  <a:tcPr anchor="ctr"/>
                </a:tc>
                <a:tc>
                  <a:txBody>
                    <a:bodyPr/>
                    <a:lstStyle/>
                    <a:p>
                      <a:endParaRPr lang="en-GB" sz="1600" noProof="0"/>
                    </a:p>
                  </a:txBody>
                  <a:tcPr anchor="ctr"/>
                </a:tc>
                <a:tc>
                  <a:txBody>
                    <a:bodyPr/>
                    <a:lstStyle/>
                    <a:p>
                      <a:r>
                        <a:rPr lang="en-GB" sz="1600" noProof="0"/>
                        <a:t>2 FTEs until 31</a:t>
                      </a:r>
                      <a:r>
                        <a:rPr lang="en-GB" sz="1600" baseline="30000" noProof="0"/>
                        <a:t>st</a:t>
                      </a:r>
                      <a:r>
                        <a:rPr lang="en-GB" sz="1600" noProof="0"/>
                        <a:t> December 2025</a:t>
                      </a:r>
                    </a:p>
                  </a:txBody>
                  <a:tcPr anchor="ctr"/>
                </a:tc>
                <a:extLst>
                  <a:ext uri="{0D108BD9-81ED-4DB2-BD59-A6C34878D82A}">
                    <a16:rowId xmlns:a16="http://schemas.microsoft.com/office/drawing/2014/main" val="3168428683"/>
                  </a:ext>
                </a:extLst>
              </a:tr>
              <a:tr h="0">
                <a:tc>
                  <a:txBody>
                    <a:bodyPr/>
                    <a:lstStyle/>
                    <a:p>
                      <a:r>
                        <a:rPr lang="en-GB" sz="1600" noProof="0"/>
                        <a:t>3</a:t>
                      </a:r>
                    </a:p>
                  </a:txBody>
                  <a:tcPr anchor="ctr"/>
                </a:tc>
                <a:tc>
                  <a:txBody>
                    <a:bodyPr/>
                    <a:lstStyle/>
                    <a:p>
                      <a:r>
                        <a:rPr lang="en-GB" sz="1600" noProof="0"/>
                        <a:t>Advisory</a:t>
                      </a:r>
                    </a:p>
                  </a:txBody>
                  <a:tcPr anchor="ctr"/>
                </a:tc>
                <a:tc>
                  <a:txBody>
                    <a:bodyPr/>
                    <a:lstStyle/>
                    <a:p>
                      <a:r>
                        <a:rPr lang="en-GB" sz="1600" noProof="0"/>
                        <a:t>Architecture</a:t>
                      </a:r>
                    </a:p>
                  </a:txBody>
                  <a:tcPr anchor="ctr"/>
                </a:tc>
                <a:tc>
                  <a:txBody>
                    <a:bodyPr/>
                    <a:lstStyle/>
                    <a:p>
                      <a:endParaRPr lang="en-GB" sz="1600" noProof="0"/>
                    </a:p>
                  </a:txBody>
                  <a:tcPr anchor="ctr"/>
                </a:tc>
                <a:tc>
                  <a:txBody>
                    <a:bodyPr/>
                    <a:lstStyle/>
                    <a:p>
                      <a:r>
                        <a:rPr lang="en-GB" sz="1600" noProof="0"/>
                        <a:t>1 week</a:t>
                      </a:r>
                    </a:p>
                  </a:txBody>
                  <a:tcPr anchor="ctr"/>
                </a:tc>
                <a:extLst>
                  <a:ext uri="{0D108BD9-81ED-4DB2-BD59-A6C34878D82A}">
                    <a16:rowId xmlns:a16="http://schemas.microsoft.com/office/drawing/2014/main" val="538237383"/>
                  </a:ext>
                </a:extLst>
              </a:tr>
              <a:tr h="0">
                <a:tc>
                  <a:txBody>
                    <a:bodyPr/>
                    <a:lstStyle/>
                    <a:p>
                      <a:r>
                        <a:rPr lang="en-GB" sz="1600" noProof="0"/>
                        <a:t>4</a:t>
                      </a:r>
                    </a:p>
                  </a:txBody>
                  <a:tcPr anchor="ctr"/>
                </a:tc>
                <a:tc>
                  <a:txBody>
                    <a:bodyPr/>
                    <a:lstStyle/>
                    <a:p>
                      <a:r>
                        <a:rPr lang="en-GB" sz="1600" noProof="0"/>
                        <a:t>Data Governance</a:t>
                      </a:r>
                    </a:p>
                  </a:txBody>
                  <a:tcPr anchor="ctr"/>
                </a:tc>
                <a:tc>
                  <a:txBody>
                    <a:bodyPr/>
                    <a:lstStyle/>
                    <a:p>
                      <a:r>
                        <a:rPr lang="en-GB" sz="1600" noProof="0"/>
                        <a:t>Catalogue</a:t>
                      </a:r>
                    </a:p>
                  </a:txBody>
                  <a:tcPr anchor="ctr"/>
                </a:tc>
                <a:tc>
                  <a:txBody>
                    <a:bodyPr/>
                    <a:lstStyle/>
                    <a:p>
                      <a:endParaRPr lang="en-GB" sz="1600" noProof="0"/>
                    </a:p>
                  </a:txBody>
                  <a:tcPr anchor="ctr"/>
                </a:tc>
                <a:tc>
                  <a:txBody>
                    <a:bodyPr/>
                    <a:lstStyle/>
                    <a:p>
                      <a:r>
                        <a:rPr lang="en-GB" sz="1600" noProof="0"/>
                        <a:t>Depends on number of objects to catalogue</a:t>
                      </a:r>
                    </a:p>
                    <a:p>
                      <a:r>
                        <a:rPr lang="en-GB" sz="1600" noProof="0"/>
                        <a:t>3 – 5 days per data Asset</a:t>
                      </a:r>
                    </a:p>
                  </a:txBody>
                  <a:tcPr anchor="ctr"/>
                </a:tc>
                <a:extLst>
                  <a:ext uri="{0D108BD9-81ED-4DB2-BD59-A6C34878D82A}">
                    <a16:rowId xmlns:a16="http://schemas.microsoft.com/office/drawing/2014/main" val="2913834745"/>
                  </a:ext>
                </a:extLst>
              </a:tr>
              <a:tr h="0">
                <a:tc>
                  <a:txBody>
                    <a:bodyPr/>
                    <a:lstStyle/>
                    <a:p>
                      <a:r>
                        <a:rPr lang="en-GB" sz="1600" noProof="0"/>
                        <a:t>5</a:t>
                      </a:r>
                    </a:p>
                  </a:txBody>
                  <a:tcPr anchor="ctr"/>
                </a:tc>
                <a:tc>
                  <a:txBody>
                    <a:bodyPr/>
                    <a:lstStyle/>
                    <a:p>
                      <a:r>
                        <a:rPr lang="en-GB" sz="1600" noProof="0"/>
                        <a:t>Data Governance</a:t>
                      </a:r>
                    </a:p>
                  </a:txBody>
                  <a:tcPr anchor="ctr"/>
                </a:tc>
                <a:tc>
                  <a:txBody>
                    <a:bodyPr/>
                    <a:lstStyle/>
                    <a:p>
                      <a:r>
                        <a:rPr lang="en-GB" sz="1600" noProof="0"/>
                        <a:t>Lineage</a:t>
                      </a:r>
                    </a:p>
                  </a:txBody>
                  <a:tcPr anchor="ctr"/>
                </a:tc>
                <a:tc>
                  <a:txBody>
                    <a:bodyPr/>
                    <a:lstStyle/>
                    <a:p>
                      <a:endParaRPr lang="en-GB" sz="1600" noProof="0"/>
                    </a:p>
                  </a:txBody>
                  <a:tcPr anchor="ctr"/>
                </a:tc>
                <a:tc>
                  <a:txBody>
                    <a:bodyPr/>
                    <a:lstStyle/>
                    <a:p>
                      <a:r>
                        <a:rPr lang="en-GB" sz="1600" noProof="0"/>
                        <a:t>Depends on number and complexity of the Lineage to construct</a:t>
                      </a:r>
                    </a:p>
                    <a:p>
                      <a:r>
                        <a:rPr lang="en-GB" sz="1600" noProof="0"/>
                        <a:t>1 – 3 days per lineage “workstream”</a:t>
                      </a:r>
                    </a:p>
                  </a:txBody>
                  <a:tcPr anchor="ctr"/>
                </a:tc>
                <a:extLst>
                  <a:ext uri="{0D108BD9-81ED-4DB2-BD59-A6C34878D82A}">
                    <a16:rowId xmlns:a16="http://schemas.microsoft.com/office/drawing/2014/main" val="377836431"/>
                  </a:ext>
                </a:extLst>
              </a:tr>
              <a:tr h="0">
                <a:tc>
                  <a:txBody>
                    <a:bodyPr/>
                    <a:lstStyle/>
                    <a:p>
                      <a:r>
                        <a:rPr lang="en-GB" sz="1600" noProof="0"/>
                        <a:t>6</a:t>
                      </a:r>
                    </a:p>
                  </a:txBody>
                  <a:tcPr anchor="ctr"/>
                </a:tc>
                <a:tc>
                  <a:txBody>
                    <a:bodyPr/>
                    <a:lstStyle/>
                    <a:p>
                      <a:r>
                        <a:rPr lang="en-GB" sz="1600" noProof="0"/>
                        <a:t>Data Governance</a:t>
                      </a:r>
                    </a:p>
                  </a:txBody>
                  <a:tcPr anchor="ctr"/>
                </a:tc>
                <a:tc>
                  <a:txBody>
                    <a:bodyPr/>
                    <a:lstStyle/>
                    <a:p>
                      <a:r>
                        <a:rPr lang="en-GB" sz="1600" noProof="0"/>
                        <a:t>Security – Admin Dashboard</a:t>
                      </a:r>
                    </a:p>
                  </a:txBody>
                  <a:tcPr anchor="ctr"/>
                </a:tc>
                <a:tc>
                  <a:txBody>
                    <a:bodyPr/>
                    <a:lstStyle/>
                    <a:p>
                      <a:endParaRPr lang="en-GB" sz="1600" noProof="0"/>
                    </a:p>
                  </a:txBody>
                  <a:tcPr anchor="ctr"/>
                </a:tc>
                <a:tc>
                  <a:txBody>
                    <a:bodyPr/>
                    <a:lstStyle/>
                    <a:p>
                      <a:r>
                        <a:rPr lang="en-GB" sz="1600" noProof="0"/>
                        <a:t>1 week</a:t>
                      </a:r>
                    </a:p>
                  </a:txBody>
                  <a:tcPr anchor="ctr"/>
                </a:tc>
                <a:extLst>
                  <a:ext uri="{0D108BD9-81ED-4DB2-BD59-A6C34878D82A}">
                    <a16:rowId xmlns:a16="http://schemas.microsoft.com/office/drawing/2014/main" val="539433254"/>
                  </a:ext>
                </a:extLst>
              </a:tr>
              <a:tr h="0">
                <a:tc>
                  <a:txBody>
                    <a:bodyPr/>
                    <a:lstStyle/>
                    <a:p>
                      <a:r>
                        <a:rPr lang="en-GB" sz="1600" noProof="0"/>
                        <a:t>7</a:t>
                      </a:r>
                    </a:p>
                  </a:txBody>
                  <a:tcPr anchor="ctr"/>
                </a:tc>
                <a:tc>
                  <a:txBody>
                    <a:bodyPr/>
                    <a:lstStyle/>
                    <a:p>
                      <a:r>
                        <a:rPr lang="en-GB" sz="1600" noProof="0"/>
                        <a:t>Data Governance</a:t>
                      </a:r>
                    </a:p>
                  </a:txBody>
                  <a:tcPr anchor="ctr"/>
                </a:tc>
                <a:tc>
                  <a:txBody>
                    <a:bodyPr/>
                    <a:lstStyle/>
                    <a:p>
                      <a:r>
                        <a:rPr lang="en-GB" sz="1600" noProof="0"/>
                        <a:t>Security – Cost Control Dashboard</a:t>
                      </a:r>
                    </a:p>
                  </a:txBody>
                  <a:tcPr anchor="ctr"/>
                </a:tc>
                <a:tc>
                  <a:txBody>
                    <a:bodyPr/>
                    <a:lstStyle/>
                    <a:p>
                      <a:endParaRPr lang="en-GB" sz="1600" noProof="0"/>
                    </a:p>
                  </a:txBody>
                  <a:tcPr anchor="ctr"/>
                </a:tc>
                <a:tc>
                  <a:txBody>
                    <a:bodyPr/>
                    <a:lstStyle/>
                    <a:p>
                      <a:r>
                        <a:rPr lang="en-GB" sz="1600" noProof="0"/>
                        <a:t>2 weeks</a:t>
                      </a:r>
                    </a:p>
                  </a:txBody>
                  <a:tcPr anchor="ctr"/>
                </a:tc>
                <a:extLst>
                  <a:ext uri="{0D108BD9-81ED-4DB2-BD59-A6C34878D82A}">
                    <a16:rowId xmlns:a16="http://schemas.microsoft.com/office/drawing/2014/main" val="3951845061"/>
                  </a:ext>
                </a:extLst>
              </a:tr>
              <a:tr h="0">
                <a:tc>
                  <a:txBody>
                    <a:bodyPr/>
                    <a:lstStyle/>
                    <a:p>
                      <a:r>
                        <a:rPr lang="en-GB" sz="1600" noProof="0"/>
                        <a:t>8</a:t>
                      </a:r>
                    </a:p>
                  </a:txBody>
                  <a:tcPr anchor="ctr"/>
                </a:tc>
                <a:tc>
                  <a:txBody>
                    <a:bodyPr/>
                    <a:lstStyle/>
                    <a:p>
                      <a:r>
                        <a:rPr lang="en-GB" sz="1600" noProof="0"/>
                        <a:t>Data Governance</a:t>
                      </a:r>
                    </a:p>
                  </a:txBody>
                  <a:tcPr anchor="ctr"/>
                </a:tc>
                <a:tc>
                  <a:txBody>
                    <a:bodyPr/>
                    <a:lstStyle/>
                    <a:p>
                      <a:r>
                        <a:rPr lang="en-GB" sz="1600" noProof="0"/>
                        <a:t>Collibra</a:t>
                      </a:r>
                    </a:p>
                  </a:txBody>
                  <a:tcPr anchor="ctr"/>
                </a:tc>
                <a:tc>
                  <a:txBody>
                    <a:bodyPr/>
                    <a:lstStyle/>
                    <a:p>
                      <a:endParaRPr lang="en-GB" sz="1600" noProof="0"/>
                    </a:p>
                  </a:txBody>
                  <a:tcPr anchor="ctr"/>
                </a:tc>
                <a:tc>
                  <a:txBody>
                    <a:bodyPr/>
                    <a:lstStyle/>
                    <a:p>
                      <a:r>
                        <a:rPr lang="en-GB" sz="1600" noProof="0"/>
                        <a:t>TBD</a:t>
                      </a:r>
                    </a:p>
                  </a:txBody>
                  <a:tcPr anchor="ctr"/>
                </a:tc>
                <a:extLst>
                  <a:ext uri="{0D108BD9-81ED-4DB2-BD59-A6C34878D82A}">
                    <a16:rowId xmlns:a16="http://schemas.microsoft.com/office/drawing/2014/main" val="3808714568"/>
                  </a:ext>
                </a:extLst>
              </a:tr>
              <a:tr h="0">
                <a:tc>
                  <a:txBody>
                    <a:bodyPr/>
                    <a:lstStyle/>
                    <a:p>
                      <a:r>
                        <a:rPr lang="en-GB" sz="1600" noProof="0"/>
                        <a:t>9</a:t>
                      </a:r>
                    </a:p>
                  </a:txBody>
                  <a:tcPr anchor="ctr"/>
                </a:tc>
                <a:tc>
                  <a:txBody>
                    <a:bodyPr/>
                    <a:lstStyle/>
                    <a:p>
                      <a:r>
                        <a:rPr lang="en-GB" sz="1600" noProof="0"/>
                        <a:t>Automation</a:t>
                      </a:r>
                    </a:p>
                  </a:txBody>
                  <a:tcPr anchor="ctr"/>
                </a:tc>
                <a:tc>
                  <a:txBody>
                    <a:bodyPr/>
                    <a:lstStyle/>
                    <a:p>
                      <a:r>
                        <a:rPr lang="en-GB" sz="1600" noProof="0"/>
                        <a:t>Access Control using BTP + APIs</a:t>
                      </a:r>
                    </a:p>
                  </a:txBody>
                  <a:tcPr anchor="ctr"/>
                </a:tc>
                <a:tc>
                  <a:txBody>
                    <a:bodyPr/>
                    <a:lstStyle/>
                    <a:p>
                      <a:endParaRPr lang="en-GB" sz="1600" noProof="0"/>
                    </a:p>
                  </a:txBody>
                  <a:tcPr anchor="ctr"/>
                </a:tc>
                <a:tc>
                  <a:txBody>
                    <a:bodyPr/>
                    <a:lstStyle/>
                    <a:p>
                      <a:r>
                        <a:rPr lang="en-GB" sz="1600" noProof="0"/>
                        <a:t>4 – 6 weeks</a:t>
                      </a:r>
                    </a:p>
                  </a:txBody>
                  <a:tcPr anchor="ctr"/>
                </a:tc>
                <a:extLst>
                  <a:ext uri="{0D108BD9-81ED-4DB2-BD59-A6C34878D82A}">
                    <a16:rowId xmlns:a16="http://schemas.microsoft.com/office/drawing/2014/main" val="1560543695"/>
                  </a:ext>
                </a:extLst>
              </a:tr>
            </a:tbl>
          </a:graphicData>
        </a:graphic>
      </p:graphicFrame>
    </p:spTree>
    <p:extLst>
      <p:ext uri="{BB962C8B-B14F-4D97-AF65-F5344CB8AC3E}">
        <p14:creationId xmlns:p14="http://schemas.microsoft.com/office/powerpoint/2010/main" val="367148039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7EB8E89E-E33C-3CF2-1B91-C623425F20AC}"/>
              </a:ext>
            </a:extLst>
          </p:cNvPr>
          <p:cNvSpPr/>
          <p:nvPr/>
        </p:nvSpPr>
        <p:spPr bwMode="auto">
          <a:xfrm>
            <a:off x="0" y="0"/>
            <a:ext cx="9480376" cy="620688"/>
          </a:xfrm>
          <a:prstGeom prst="rect">
            <a:avLst/>
          </a:prstGeom>
          <a:gradFill>
            <a:gsLst>
              <a:gs pos="50000">
                <a:schemeClr val="tx1"/>
              </a:gs>
              <a:gs pos="100000">
                <a:schemeClr val="bg1"/>
              </a:gs>
            </a:gsLst>
            <a:lin ang="0" scaled="1"/>
          </a:gradFill>
          <a:ln w="9525">
            <a:noFill/>
            <a:round/>
            <a:headEnd/>
            <a:tailEnd/>
          </a:ln>
        </p:spPr>
        <p:txBody>
          <a:bodyPr vert="horz" wrap="square" lIns="91440" tIns="45720" rIns="91440" bIns="45720" numCol="1" rtlCol="0" anchor="t" anchorCtr="0" compatLnSpc="1">
            <a:prstTxWarp prst="textNoShape">
              <a:avLst/>
            </a:prstTxWarp>
          </a:bodyPr>
          <a:lstStyle/>
          <a:p>
            <a:pPr algn="ctr"/>
            <a:endParaRPr lang="en-GB" noProof="0"/>
          </a:p>
        </p:txBody>
      </p:sp>
      <p:sp>
        <p:nvSpPr>
          <p:cNvPr id="74" name="Título 1">
            <a:extLst>
              <a:ext uri="{FF2B5EF4-FFF2-40B4-BE49-F238E27FC236}">
                <a16:creationId xmlns:a16="http://schemas.microsoft.com/office/drawing/2014/main" id="{3C47878C-6948-2C90-2236-8F8BC6F2CD60}"/>
              </a:ext>
            </a:extLst>
          </p:cNvPr>
          <p:cNvSpPr txBox="1">
            <a:spLocks/>
          </p:cNvSpPr>
          <p:nvPr/>
        </p:nvSpPr>
        <p:spPr>
          <a:xfrm>
            <a:off x="191344" y="116632"/>
            <a:ext cx="10515600" cy="365721"/>
          </a:xfrm>
          <a:prstGeom prst="rect">
            <a:avLst/>
          </a:prstGeom>
        </p:spPr>
        <p:txBody>
          <a:bodyPr anchor="ctr">
            <a:noAutofit/>
          </a:bodyPr>
          <a:lstStyle>
            <a:lvl1pPr algn="l" defTabSz="914400" rtl="0" eaLnBrk="1" latinLnBrk="0" hangingPunct="1">
              <a:lnSpc>
                <a:spcPct val="90000"/>
              </a:lnSpc>
              <a:spcBef>
                <a:spcPct val="0"/>
              </a:spcBef>
              <a:buNone/>
              <a:defRPr sz="2200" kern="1200">
                <a:solidFill>
                  <a:schemeClr val="tx1">
                    <a:lumMod val="65000"/>
                    <a:lumOff val="35000"/>
                  </a:schemeClr>
                </a:solidFill>
                <a:latin typeface="Arial" panose="020B0604020202020204" pitchFamily="34" charset="0"/>
                <a:ea typeface="+mj-ea"/>
                <a:cs typeface="Arial" panose="020B0604020202020204" pitchFamily="34" charset="0"/>
              </a:defRPr>
            </a:lvl1pPr>
          </a:lstStyle>
          <a:p>
            <a:r>
              <a:rPr lang="en-GB" sz="2462" noProof="0">
                <a:solidFill>
                  <a:schemeClr val="bg1"/>
                </a:solidFill>
                <a:latin typeface="+mn-lt"/>
              </a:rPr>
              <a:t>Data Driven Business - Analytics</a:t>
            </a:r>
          </a:p>
        </p:txBody>
      </p:sp>
      <p:grpSp>
        <p:nvGrpSpPr>
          <p:cNvPr id="3" name="Grupo 2">
            <a:extLst>
              <a:ext uri="{FF2B5EF4-FFF2-40B4-BE49-F238E27FC236}">
                <a16:creationId xmlns:a16="http://schemas.microsoft.com/office/drawing/2014/main" id="{E31C12F8-3C65-7E4C-033F-26DE89E1F197}"/>
              </a:ext>
            </a:extLst>
          </p:cNvPr>
          <p:cNvGrpSpPr/>
          <p:nvPr/>
        </p:nvGrpSpPr>
        <p:grpSpPr>
          <a:xfrm>
            <a:off x="3306826" y="2250572"/>
            <a:ext cx="500200" cy="129500"/>
            <a:chOff x="3410189" y="2250572"/>
            <a:chExt cx="500200" cy="129500"/>
          </a:xfrm>
        </p:grpSpPr>
        <p:pic>
          <p:nvPicPr>
            <p:cNvPr id="4" name="Picture 6">
              <a:extLst>
                <a:ext uri="{FF2B5EF4-FFF2-40B4-BE49-F238E27FC236}">
                  <a16:creationId xmlns:a16="http://schemas.microsoft.com/office/drawing/2014/main" id="{E42F8421-8511-CF63-924A-771CD6DF402C}"/>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5297" r="1811" b="2439"/>
            <a:stretch/>
          </p:blipFill>
          <p:spPr bwMode="auto">
            <a:xfrm>
              <a:off x="3526122" y="2259178"/>
              <a:ext cx="384267" cy="11032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a:extLst>
                <a:ext uri="{FF2B5EF4-FFF2-40B4-BE49-F238E27FC236}">
                  <a16:creationId xmlns:a16="http://schemas.microsoft.com/office/drawing/2014/main" id="{47BC054B-35C6-71A8-FBC1-44BF956FA381}"/>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26482" b="30200"/>
            <a:stretch/>
          </p:blipFill>
          <p:spPr bwMode="auto">
            <a:xfrm>
              <a:off x="3410189" y="2250572"/>
              <a:ext cx="156110" cy="129500"/>
            </a:xfrm>
            <a:prstGeom prst="rect">
              <a:avLst/>
            </a:prstGeom>
            <a:noFill/>
            <a:extLst>
              <a:ext uri="{909E8E84-426E-40DD-AFC4-6F175D3DCCD1}">
                <a14:hiddenFill xmlns:a14="http://schemas.microsoft.com/office/drawing/2010/main">
                  <a:solidFill>
                    <a:srgbClr val="FFFFFF"/>
                  </a:solidFill>
                </a14:hiddenFill>
              </a:ext>
            </a:extLst>
          </p:spPr>
        </p:pic>
      </p:grpSp>
      <p:pic>
        <p:nvPicPr>
          <p:cNvPr id="6" name="Picture 2" descr="Iberdrola: la energética del futuro - Iberdrola">
            <a:extLst>
              <a:ext uri="{FF2B5EF4-FFF2-40B4-BE49-F238E27FC236}">
                <a16:creationId xmlns:a16="http://schemas.microsoft.com/office/drawing/2014/main" id="{46EA9E73-7FAD-7C51-117C-77FE036FABB9}"/>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16145" b="12022"/>
          <a:stretch/>
        </p:blipFill>
        <p:spPr bwMode="auto">
          <a:xfrm>
            <a:off x="1696743" y="1763081"/>
            <a:ext cx="768360" cy="167744"/>
          </a:xfrm>
          <a:prstGeom prst="rect">
            <a:avLst/>
          </a:prstGeom>
          <a:noFill/>
          <a:extLst>
            <a:ext uri="{909E8E84-426E-40DD-AFC4-6F175D3DCCD1}">
              <a14:hiddenFill xmlns:a14="http://schemas.microsoft.com/office/drawing/2010/main">
                <a:solidFill>
                  <a:srgbClr val="FFFFFF"/>
                </a:solidFill>
              </a14:hiddenFill>
            </a:ext>
          </a:extLst>
        </p:spPr>
      </p:pic>
      <p:sp>
        <p:nvSpPr>
          <p:cNvPr id="8" name="Rectángulo 7">
            <a:extLst>
              <a:ext uri="{FF2B5EF4-FFF2-40B4-BE49-F238E27FC236}">
                <a16:creationId xmlns:a16="http://schemas.microsoft.com/office/drawing/2014/main" id="{0180AA9B-4B04-50B7-3C7E-5D5F77A46264}"/>
              </a:ext>
            </a:extLst>
          </p:cNvPr>
          <p:cNvSpPr/>
          <p:nvPr/>
        </p:nvSpPr>
        <p:spPr bwMode="auto">
          <a:xfrm>
            <a:off x="-746" y="1487866"/>
            <a:ext cx="56270" cy="442438"/>
          </a:xfrm>
          <a:prstGeom prst="rect">
            <a:avLst/>
          </a:prstGeom>
          <a:solidFill>
            <a:schemeClr val="accent1">
              <a:lumMod val="60000"/>
              <a:lumOff val="40000"/>
            </a:schemeClr>
          </a:solidFill>
          <a:ln w="9525">
            <a:noFill/>
            <a:round/>
            <a:headEnd/>
            <a:tailEnd/>
          </a:ln>
        </p:spPr>
        <p:txBody>
          <a:bodyPr vert="horz" wrap="square" lIns="91440" tIns="45720" rIns="91440" bIns="45720" numCol="1" rtlCol="0" anchor="t" anchorCtr="0" compatLnSpc="1">
            <a:prstTxWarp prst="textNoShape">
              <a:avLst/>
            </a:prstTxWarp>
          </a:bodyPr>
          <a:lstStyle/>
          <a:p>
            <a:pPr algn="ctr"/>
            <a:endParaRPr lang="en-GB" sz="1800" noProof="0"/>
          </a:p>
        </p:txBody>
      </p:sp>
      <p:sp>
        <p:nvSpPr>
          <p:cNvPr id="10" name="Rectángulo 9">
            <a:extLst>
              <a:ext uri="{FF2B5EF4-FFF2-40B4-BE49-F238E27FC236}">
                <a16:creationId xmlns:a16="http://schemas.microsoft.com/office/drawing/2014/main" id="{F77E6911-019D-727F-554B-2493C69E3791}"/>
              </a:ext>
            </a:extLst>
          </p:cNvPr>
          <p:cNvSpPr/>
          <p:nvPr/>
        </p:nvSpPr>
        <p:spPr bwMode="auto">
          <a:xfrm>
            <a:off x="-10649" y="3876246"/>
            <a:ext cx="56270" cy="442438"/>
          </a:xfrm>
          <a:prstGeom prst="rect">
            <a:avLst/>
          </a:prstGeom>
          <a:solidFill>
            <a:schemeClr val="accent3">
              <a:lumMod val="40000"/>
              <a:lumOff val="60000"/>
            </a:schemeClr>
          </a:solidFill>
          <a:ln w="9525">
            <a:noFill/>
            <a:round/>
            <a:headEnd/>
            <a:tailEnd/>
          </a:ln>
        </p:spPr>
        <p:txBody>
          <a:bodyPr vert="horz" wrap="square" lIns="91440" tIns="45720" rIns="91440" bIns="45720" numCol="1" rtlCol="0" anchor="t" anchorCtr="0" compatLnSpc="1">
            <a:prstTxWarp prst="textNoShape">
              <a:avLst/>
            </a:prstTxWarp>
          </a:bodyPr>
          <a:lstStyle/>
          <a:p>
            <a:pPr algn="ctr"/>
            <a:endParaRPr lang="en-GB" sz="1800" noProof="0"/>
          </a:p>
        </p:txBody>
      </p:sp>
      <p:sp>
        <p:nvSpPr>
          <p:cNvPr id="11" name="Rectángulo 10">
            <a:extLst>
              <a:ext uri="{FF2B5EF4-FFF2-40B4-BE49-F238E27FC236}">
                <a16:creationId xmlns:a16="http://schemas.microsoft.com/office/drawing/2014/main" id="{8C1FB13F-FC82-5B95-A195-C9442FB22BFE}"/>
              </a:ext>
            </a:extLst>
          </p:cNvPr>
          <p:cNvSpPr/>
          <p:nvPr/>
        </p:nvSpPr>
        <p:spPr bwMode="auto">
          <a:xfrm>
            <a:off x="-9085" y="4856950"/>
            <a:ext cx="56270" cy="442438"/>
          </a:xfrm>
          <a:prstGeom prst="rect">
            <a:avLst/>
          </a:prstGeom>
          <a:solidFill>
            <a:schemeClr val="accent4">
              <a:lumMod val="40000"/>
              <a:lumOff val="60000"/>
            </a:schemeClr>
          </a:solidFill>
          <a:ln w="9525">
            <a:noFill/>
            <a:round/>
            <a:headEnd/>
            <a:tailEnd/>
          </a:ln>
        </p:spPr>
        <p:txBody>
          <a:bodyPr vert="horz" wrap="square" lIns="91440" tIns="45720" rIns="91440" bIns="45720" numCol="1" rtlCol="0" anchor="t" anchorCtr="0" compatLnSpc="1">
            <a:prstTxWarp prst="textNoShape">
              <a:avLst/>
            </a:prstTxWarp>
          </a:bodyPr>
          <a:lstStyle/>
          <a:p>
            <a:pPr algn="ctr"/>
            <a:endParaRPr lang="en-GB" sz="1800" noProof="0"/>
          </a:p>
        </p:txBody>
      </p:sp>
      <p:sp>
        <p:nvSpPr>
          <p:cNvPr id="12" name="Rectángulo 11">
            <a:extLst>
              <a:ext uri="{FF2B5EF4-FFF2-40B4-BE49-F238E27FC236}">
                <a16:creationId xmlns:a16="http://schemas.microsoft.com/office/drawing/2014/main" id="{F4B12357-5C47-DA9C-F203-0BE86204A131}"/>
              </a:ext>
            </a:extLst>
          </p:cNvPr>
          <p:cNvSpPr/>
          <p:nvPr/>
        </p:nvSpPr>
        <p:spPr bwMode="auto">
          <a:xfrm>
            <a:off x="1672" y="5817253"/>
            <a:ext cx="56270" cy="442438"/>
          </a:xfrm>
          <a:prstGeom prst="rect">
            <a:avLst/>
          </a:prstGeom>
          <a:solidFill>
            <a:schemeClr val="accent6">
              <a:lumMod val="60000"/>
              <a:lumOff val="40000"/>
            </a:schemeClr>
          </a:solidFill>
          <a:ln w="9525">
            <a:noFill/>
            <a:round/>
            <a:headEnd/>
            <a:tailEnd/>
          </a:ln>
        </p:spPr>
        <p:txBody>
          <a:bodyPr vert="horz" wrap="square" lIns="91440" tIns="45720" rIns="91440" bIns="45720" numCol="1" rtlCol="0" anchor="t" anchorCtr="0" compatLnSpc="1">
            <a:prstTxWarp prst="textNoShape">
              <a:avLst/>
            </a:prstTxWarp>
          </a:bodyPr>
          <a:lstStyle/>
          <a:p>
            <a:pPr algn="ctr"/>
            <a:endParaRPr lang="en-GB" sz="1800" noProof="0"/>
          </a:p>
        </p:txBody>
      </p:sp>
      <p:sp>
        <p:nvSpPr>
          <p:cNvPr id="13" name="Rectángulo 12">
            <a:extLst>
              <a:ext uri="{FF2B5EF4-FFF2-40B4-BE49-F238E27FC236}">
                <a16:creationId xmlns:a16="http://schemas.microsoft.com/office/drawing/2014/main" id="{36891F34-6746-00AB-F399-715FCCCD4ACA}"/>
              </a:ext>
            </a:extLst>
          </p:cNvPr>
          <p:cNvSpPr/>
          <p:nvPr/>
        </p:nvSpPr>
        <p:spPr bwMode="auto">
          <a:xfrm>
            <a:off x="4908156" y="4872236"/>
            <a:ext cx="56270" cy="442438"/>
          </a:xfrm>
          <a:prstGeom prst="rect">
            <a:avLst/>
          </a:prstGeom>
          <a:solidFill>
            <a:srgbClr val="E30613"/>
          </a:solidFill>
          <a:ln w="9525">
            <a:noFill/>
            <a:round/>
            <a:headEnd/>
            <a:tailEnd/>
          </a:ln>
        </p:spPr>
        <p:txBody>
          <a:bodyPr vert="horz" wrap="square" lIns="91440" tIns="45720" rIns="91440" bIns="45720" numCol="1" rtlCol="0" anchor="t" anchorCtr="0" compatLnSpc="1">
            <a:prstTxWarp prst="textNoShape">
              <a:avLst/>
            </a:prstTxWarp>
          </a:bodyPr>
          <a:lstStyle/>
          <a:p>
            <a:pPr algn="ctr"/>
            <a:endParaRPr lang="en-GB" sz="1800" noProof="0"/>
          </a:p>
        </p:txBody>
      </p:sp>
      <p:cxnSp>
        <p:nvCxnSpPr>
          <p:cNvPr id="14" name="Conector recto 13">
            <a:extLst>
              <a:ext uri="{FF2B5EF4-FFF2-40B4-BE49-F238E27FC236}">
                <a16:creationId xmlns:a16="http://schemas.microsoft.com/office/drawing/2014/main" id="{B0CAD321-78FE-A979-9698-78B94379DFC3}"/>
              </a:ext>
            </a:extLst>
          </p:cNvPr>
          <p:cNvCxnSpPr>
            <a:cxnSpLocks/>
          </p:cNvCxnSpPr>
          <p:nvPr/>
        </p:nvCxnSpPr>
        <p:spPr>
          <a:xfrm>
            <a:off x="1498109" y="3734134"/>
            <a:ext cx="0" cy="771912"/>
          </a:xfrm>
          <a:prstGeom prst="line">
            <a:avLst/>
          </a:prstGeom>
          <a:ln w="9525"/>
        </p:spPr>
        <p:style>
          <a:lnRef idx="1">
            <a:schemeClr val="accent1"/>
          </a:lnRef>
          <a:fillRef idx="0">
            <a:schemeClr val="accent1"/>
          </a:fillRef>
          <a:effectRef idx="0">
            <a:schemeClr val="accent1"/>
          </a:effectRef>
          <a:fontRef idx="minor">
            <a:schemeClr val="tx1"/>
          </a:fontRef>
        </p:style>
      </p:cxnSp>
      <p:pic>
        <p:nvPicPr>
          <p:cNvPr id="15" name="Picture 2" descr="Ver las imágenes de origen">
            <a:extLst>
              <a:ext uri="{FF2B5EF4-FFF2-40B4-BE49-F238E27FC236}">
                <a16:creationId xmlns:a16="http://schemas.microsoft.com/office/drawing/2014/main" id="{53EEEDEA-8A64-A7EE-0072-3E005DC4C44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648328" y="3786906"/>
            <a:ext cx="270853" cy="284800"/>
          </a:xfrm>
          <a:prstGeom prst="rect">
            <a:avLst/>
          </a:prstGeom>
          <a:noFill/>
          <a:extLst>
            <a:ext uri="{909E8E84-426E-40DD-AFC4-6F175D3DCCD1}">
              <a14:hiddenFill xmlns:a14="http://schemas.microsoft.com/office/drawing/2010/main">
                <a:solidFill>
                  <a:srgbClr val="FFFFFF"/>
                </a:solidFill>
              </a14:hiddenFill>
            </a:ext>
          </a:extLst>
        </p:spPr>
      </p:pic>
      <p:sp>
        <p:nvSpPr>
          <p:cNvPr id="16" name="CuadroTexto 15">
            <a:extLst>
              <a:ext uri="{FF2B5EF4-FFF2-40B4-BE49-F238E27FC236}">
                <a16:creationId xmlns:a16="http://schemas.microsoft.com/office/drawing/2014/main" id="{7CAC4F62-4410-E2BC-EDFB-D6642DACADAF}"/>
              </a:ext>
            </a:extLst>
          </p:cNvPr>
          <p:cNvSpPr txBox="1"/>
          <p:nvPr/>
        </p:nvSpPr>
        <p:spPr>
          <a:xfrm>
            <a:off x="2018265" y="3773736"/>
            <a:ext cx="1181977" cy="307777"/>
          </a:xfrm>
          <a:prstGeom prst="rect">
            <a:avLst/>
          </a:prstGeom>
        </p:spPr>
        <p:txBody>
          <a:bodyPr wrap="square" lIns="0" rIns="0" rtlCol="0">
            <a:spAutoFit/>
          </a:bodyPr>
          <a:lstStyle/>
          <a:p>
            <a:pPr lvl="0">
              <a:defRPr/>
            </a:pPr>
            <a:r>
              <a:rPr lang="en-GB" sz="700" b="1" noProof="0">
                <a:latin typeface="Droid Sans"/>
                <a:ea typeface="Arial" charset="0"/>
                <a:cs typeface="Calibri" panose="020F0502020204030204" pitchFamily="34" charset="0"/>
                <a:sym typeface="Gill Sans" charset="0"/>
              </a:rPr>
              <a:t>Business management in BW/4HANA 2.0.</a:t>
            </a:r>
            <a:endParaRPr kumimoji="0" lang="en-GB" sz="700" b="1" i="0" u="none" strike="noStrike" kern="1200" cap="none" spc="0" normalizeH="0" baseline="0" noProof="0">
              <a:ln>
                <a:noFill/>
              </a:ln>
              <a:effectLst/>
              <a:uLnTx/>
              <a:uFillTx/>
              <a:latin typeface="Droid Sans"/>
              <a:ea typeface="Arial" charset="0"/>
              <a:cs typeface="Calibri" panose="020F0502020204030204" pitchFamily="34" charset="0"/>
              <a:sym typeface="Gill Sans" charset="0"/>
            </a:endParaRPr>
          </a:p>
        </p:txBody>
      </p:sp>
      <p:pic>
        <p:nvPicPr>
          <p:cNvPr id="17" name="Picture 6" descr="Ver las imágenes de origen">
            <a:extLst>
              <a:ext uri="{FF2B5EF4-FFF2-40B4-BE49-F238E27FC236}">
                <a16:creationId xmlns:a16="http://schemas.microsoft.com/office/drawing/2014/main" id="{3A0DBB21-2CDA-8690-6951-22BBB6C8EC1C}"/>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00388" y="4269868"/>
            <a:ext cx="330650" cy="93511"/>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3">
            <a:extLst>
              <a:ext uri="{FF2B5EF4-FFF2-40B4-BE49-F238E27FC236}">
                <a16:creationId xmlns:a16="http://schemas.microsoft.com/office/drawing/2014/main" id="{2E5DAAF7-EFEF-CF4B-8B23-ADE8FD8A1EEB}"/>
              </a:ext>
            </a:extLst>
          </p:cNvPr>
          <p:cNvPicPr>
            <a:picLocks noChangeAspect="1" noChangeArrowheads="1"/>
          </p:cNvPicPr>
          <p:nvPr/>
        </p:nvPicPr>
        <p:blipFill>
          <a:blip r:embed="rId8" cstate="email">
            <a:clrChange>
              <a:clrFrom>
                <a:srgbClr val="FFFFFF"/>
              </a:clrFrom>
              <a:clrTo>
                <a:srgbClr val="FFFFFF">
                  <a:alpha val="0"/>
                </a:srgbClr>
              </a:clrTo>
            </a:clrChange>
          </a:blip>
          <a:srcRect/>
          <a:stretch>
            <a:fillRect/>
          </a:stretch>
        </p:blipFill>
        <p:spPr bwMode="auto">
          <a:xfrm>
            <a:off x="3399789" y="3872733"/>
            <a:ext cx="424896" cy="104931"/>
          </a:xfrm>
          <a:prstGeom prst="rect">
            <a:avLst/>
          </a:prstGeom>
          <a:noFill/>
          <a:ln w="9525">
            <a:noFill/>
            <a:miter lim="800000"/>
            <a:headEnd/>
            <a:tailEnd/>
          </a:ln>
        </p:spPr>
      </p:pic>
      <p:pic>
        <p:nvPicPr>
          <p:cNvPr id="19" name="Picture 3">
            <a:extLst>
              <a:ext uri="{FF2B5EF4-FFF2-40B4-BE49-F238E27FC236}">
                <a16:creationId xmlns:a16="http://schemas.microsoft.com/office/drawing/2014/main" id="{D6E08857-A653-14C0-39C0-2D3B09BCB7E3}"/>
              </a:ext>
            </a:extLst>
          </p:cNvPr>
          <p:cNvPicPr>
            <a:picLocks noChangeAspect="1" noChangeArrowheads="1"/>
          </p:cNvPicPr>
          <p:nvPr/>
        </p:nvPicPr>
        <p:blipFill>
          <a:blip r:embed="rId9" cstate="print">
            <a:clrChange>
              <a:clrFrom>
                <a:srgbClr val="FEFEFE"/>
              </a:clrFrom>
              <a:clrTo>
                <a:srgbClr val="FEFEFE">
                  <a:alpha val="0"/>
                </a:srgbClr>
              </a:clrTo>
            </a:clrChange>
          </a:blip>
          <a:srcRect/>
          <a:stretch>
            <a:fillRect/>
          </a:stretch>
        </p:blipFill>
        <p:spPr bwMode="auto">
          <a:xfrm>
            <a:off x="3364360" y="4202483"/>
            <a:ext cx="483311" cy="228545"/>
          </a:xfrm>
          <a:prstGeom prst="rect">
            <a:avLst/>
          </a:prstGeom>
          <a:noFill/>
          <a:ln w="9525">
            <a:noFill/>
            <a:miter lim="800000"/>
            <a:headEnd/>
            <a:tailEnd/>
          </a:ln>
        </p:spPr>
      </p:pic>
      <p:sp>
        <p:nvSpPr>
          <p:cNvPr id="20" name="CuadroTexto 19">
            <a:extLst>
              <a:ext uri="{FF2B5EF4-FFF2-40B4-BE49-F238E27FC236}">
                <a16:creationId xmlns:a16="http://schemas.microsoft.com/office/drawing/2014/main" id="{85D91CBF-D461-D1B6-8948-B4432B04F000}"/>
              </a:ext>
            </a:extLst>
          </p:cNvPr>
          <p:cNvSpPr txBox="1"/>
          <p:nvPr/>
        </p:nvSpPr>
        <p:spPr>
          <a:xfrm>
            <a:off x="3910907" y="4166198"/>
            <a:ext cx="2002028" cy="276999"/>
          </a:xfrm>
          <a:prstGeom prst="rect">
            <a:avLst/>
          </a:prstGeom>
        </p:spPr>
        <p:txBody>
          <a:bodyPr wrap="square" lIns="0" rIns="0" rtlCol="0">
            <a:spAutoFit/>
          </a:bodyPr>
          <a:lstStyle/>
          <a:p>
            <a:r>
              <a:rPr lang="en-GB" sz="600" b="1" noProof="0">
                <a:latin typeface="Droid Sans"/>
                <a:cs typeface="Calibri" panose="020F0502020204030204" pitchFamily="34" charset="0"/>
                <a:sym typeface="Gill Sans" charset="0"/>
              </a:rPr>
              <a:t>Laboratory to establish a strategic vision of information management with BW4HANA</a:t>
            </a:r>
          </a:p>
        </p:txBody>
      </p:sp>
      <p:pic>
        <p:nvPicPr>
          <p:cNvPr id="21" name="Imagen 20">
            <a:extLst>
              <a:ext uri="{FF2B5EF4-FFF2-40B4-BE49-F238E27FC236}">
                <a16:creationId xmlns:a16="http://schemas.microsoft.com/office/drawing/2014/main" id="{E69DD497-FD7D-04A0-3446-E6C77631D46E}"/>
              </a:ext>
            </a:extLst>
          </p:cNvPr>
          <p:cNvPicPr>
            <a:picLocks noChangeAspect="1"/>
          </p:cNvPicPr>
          <p:nvPr/>
        </p:nvPicPr>
        <p:blipFill>
          <a:blip r:embed="rId10"/>
          <a:stretch>
            <a:fillRect/>
          </a:stretch>
        </p:blipFill>
        <p:spPr>
          <a:xfrm>
            <a:off x="6092944" y="3905623"/>
            <a:ext cx="448878" cy="64950"/>
          </a:xfrm>
          <a:prstGeom prst="rect">
            <a:avLst/>
          </a:prstGeom>
        </p:spPr>
      </p:pic>
      <p:sp>
        <p:nvSpPr>
          <p:cNvPr id="22" name="CuadroTexto 21">
            <a:extLst>
              <a:ext uri="{FF2B5EF4-FFF2-40B4-BE49-F238E27FC236}">
                <a16:creationId xmlns:a16="http://schemas.microsoft.com/office/drawing/2014/main" id="{36EFDEFC-E8D4-39A2-3541-97E14B69A42F}"/>
              </a:ext>
            </a:extLst>
          </p:cNvPr>
          <p:cNvSpPr txBox="1"/>
          <p:nvPr/>
        </p:nvSpPr>
        <p:spPr>
          <a:xfrm>
            <a:off x="6610584" y="3774127"/>
            <a:ext cx="1124559" cy="307777"/>
          </a:xfrm>
          <a:prstGeom prst="rect">
            <a:avLst/>
          </a:prstGeom>
        </p:spPr>
        <p:txBody>
          <a:bodyPr wrap="square" lIns="0" rIns="0" rtlCol="0">
            <a:spAutoFit/>
          </a:bodyPr>
          <a:lstStyle/>
          <a:p>
            <a:pPr lvl="0">
              <a:defRPr/>
            </a:pPr>
            <a:r>
              <a:rPr lang="en-GB" sz="700" b="1" noProof="0">
                <a:latin typeface="Droid Sans"/>
                <a:ea typeface="Arial" charset="0"/>
                <a:cs typeface="Calibri" panose="020F0502020204030204" pitchFamily="34" charset="0"/>
                <a:sym typeface="Gill Sans" charset="0"/>
              </a:rPr>
              <a:t>BW/4HANA 2.0 consolidation project</a:t>
            </a:r>
            <a:endParaRPr kumimoji="0" lang="en-GB" sz="700" b="1" i="0" u="none" strike="noStrike" kern="1200" cap="none" spc="0" normalizeH="0" baseline="0" noProof="0">
              <a:ln>
                <a:noFill/>
              </a:ln>
              <a:effectLst/>
              <a:uLnTx/>
              <a:uFillTx/>
              <a:latin typeface="Droid Sans"/>
              <a:ea typeface="Arial" charset="0"/>
              <a:cs typeface="Calibri" panose="020F0502020204030204" pitchFamily="34" charset="0"/>
              <a:sym typeface="Gill Sans" charset="0"/>
            </a:endParaRPr>
          </a:p>
        </p:txBody>
      </p:sp>
      <p:pic>
        <p:nvPicPr>
          <p:cNvPr id="23" name="Imagen 22">
            <a:extLst>
              <a:ext uri="{FF2B5EF4-FFF2-40B4-BE49-F238E27FC236}">
                <a16:creationId xmlns:a16="http://schemas.microsoft.com/office/drawing/2014/main" id="{8A942FA8-E71B-B854-4B0E-A47425748889}"/>
              </a:ext>
            </a:extLst>
          </p:cNvPr>
          <p:cNvPicPr>
            <a:picLocks noChangeAspect="1"/>
          </p:cNvPicPr>
          <p:nvPr/>
        </p:nvPicPr>
        <p:blipFill>
          <a:blip r:embed="rId11"/>
          <a:stretch>
            <a:fillRect/>
          </a:stretch>
        </p:blipFill>
        <p:spPr>
          <a:xfrm>
            <a:off x="6094910" y="4157909"/>
            <a:ext cx="441925" cy="312294"/>
          </a:xfrm>
          <a:prstGeom prst="rect">
            <a:avLst/>
          </a:prstGeom>
        </p:spPr>
      </p:pic>
      <p:pic>
        <p:nvPicPr>
          <p:cNvPr id="25" name="Imagen 24">
            <a:extLst>
              <a:ext uri="{FF2B5EF4-FFF2-40B4-BE49-F238E27FC236}">
                <a16:creationId xmlns:a16="http://schemas.microsoft.com/office/drawing/2014/main" id="{43171040-670C-2105-5E14-518E79F3D2D2}"/>
              </a:ext>
            </a:extLst>
          </p:cNvPr>
          <p:cNvPicPr>
            <a:picLocks noChangeAspect="1"/>
          </p:cNvPicPr>
          <p:nvPr/>
        </p:nvPicPr>
        <p:blipFill>
          <a:blip r:embed="rId12"/>
          <a:stretch>
            <a:fillRect/>
          </a:stretch>
        </p:blipFill>
        <p:spPr>
          <a:xfrm>
            <a:off x="7858357" y="3857726"/>
            <a:ext cx="392134" cy="141491"/>
          </a:xfrm>
          <a:prstGeom prst="rect">
            <a:avLst/>
          </a:prstGeom>
        </p:spPr>
      </p:pic>
      <p:pic>
        <p:nvPicPr>
          <p:cNvPr id="26" name="Imagen 25">
            <a:extLst>
              <a:ext uri="{FF2B5EF4-FFF2-40B4-BE49-F238E27FC236}">
                <a16:creationId xmlns:a16="http://schemas.microsoft.com/office/drawing/2014/main" id="{4C3E2428-E943-0A65-CD86-C5D5C7CACD6F}"/>
              </a:ext>
            </a:extLst>
          </p:cNvPr>
          <p:cNvPicPr>
            <a:picLocks noChangeAspect="1"/>
          </p:cNvPicPr>
          <p:nvPr/>
        </p:nvPicPr>
        <p:blipFill rotWithShape="1">
          <a:blip r:embed="rId13"/>
          <a:srcRect t="-36866" r="84706"/>
          <a:stretch/>
        </p:blipFill>
        <p:spPr>
          <a:xfrm>
            <a:off x="7981273" y="4127146"/>
            <a:ext cx="176540" cy="291049"/>
          </a:xfrm>
          <a:prstGeom prst="rect">
            <a:avLst/>
          </a:prstGeom>
        </p:spPr>
      </p:pic>
      <p:sp>
        <p:nvSpPr>
          <p:cNvPr id="27" name="CuadroTexto 26">
            <a:extLst>
              <a:ext uri="{FF2B5EF4-FFF2-40B4-BE49-F238E27FC236}">
                <a16:creationId xmlns:a16="http://schemas.microsoft.com/office/drawing/2014/main" id="{3B19927B-7DDD-FF8D-EC52-719DA8B3363A}"/>
              </a:ext>
            </a:extLst>
          </p:cNvPr>
          <p:cNvSpPr txBox="1"/>
          <p:nvPr/>
        </p:nvSpPr>
        <p:spPr>
          <a:xfrm>
            <a:off x="2018265" y="4149043"/>
            <a:ext cx="1208876" cy="346249"/>
          </a:xfrm>
          <a:prstGeom prst="rect">
            <a:avLst/>
          </a:prstGeom>
        </p:spPr>
        <p:txBody>
          <a:bodyPr wrap="square" lIns="0" rIns="0" rtlCol="0">
            <a:spAutoFit/>
          </a:bodyPr>
          <a:lstStyle/>
          <a:p>
            <a:r>
              <a:rPr lang="en-GB" sz="550" b="1" noProof="0" err="1">
                <a:latin typeface="Droid Sans"/>
                <a:ea typeface="Arial" charset="0"/>
                <a:cs typeface="Calibri" panose="020F0502020204030204" pitchFamily="34" charset="0"/>
                <a:sym typeface="Gill Sans" charset="0"/>
              </a:rPr>
              <a:t>Remodeling</a:t>
            </a:r>
            <a:r>
              <a:rPr lang="en-GB" sz="550" b="1" noProof="0">
                <a:latin typeface="Droid Sans"/>
                <a:ea typeface="Arial" charset="0"/>
                <a:cs typeface="Calibri" panose="020F0502020204030204" pitchFamily="34" charset="0"/>
                <a:sym typeface="Gill Sans" charset="0"/>
              </a:rPr>
              <a:t> the extraction layer and adapting the model to LSA++ in BW/4HANA 2.0</a:t>
            </a:r>
          </a:p>
        </p:txBody>
      </p:sp>
      <p:sp>
        <p:nvSpPr>
          <p:cNvPr id="28" name="CuadroTexto 27">
            <a:extLst>
              <a:ext uri="{FF2B5EF4-FFF2-40B4-BE49-F238E27FC236}">
                <a16:creationId xmlns:a16="http://schemas.microsoft.com/office/drawing/2014/main" id="{F0DF56C8-1E69-5D5B-8B84-CEA434D094A1}"/>
              </a:ext>
            </a:extLst>
          </p:cNvPr>
          <p:cNvSpPr txBox="1"/>
          <p:nvPr/>
        </p:nvSpPr>
        <p:spPr>
          <a:xfrm>
            <a:off x="6610231" y="4161508"/>
            <a:ext cx="1202965" cy="307777"/>
          </a:xfrm>
          <a:prstGeom prst="rect">
            <a:avLst/>
          </a:prstGeom>
        </p:spPr>
        <p:txBody>
          <a:bodyPr wrap="square" lIns="0" rIns="0" rtlCol="0">
            <a:spAutoFit/>
          </a:bodyPr>
          <a:lstStyle/>
          <a:p>
            <a:r>
              <a:rPr lang="en-GB" sz="700" b="1" noProof="0">
                <a:latin typeface="Droid Sans"/>
                <a:cs typeface="Calibri" panose="020F0502020204030204" pitchFamily="34" charset="0"/>
              </a:rPr>
              <a:t>Logistics management project in BW/4HANA 2.0</a:t>
            </a:r>
          </a:p>
        </p:txBody>
      </p:sp>
      <p:sp>
        <p:nvSpPr>
          <p:cNvPr id="29" name="CuadroTexto 28">
            <a:extLst>
              <a:ext uri="{FF2B5EF4-FFF2-40B4-BE49-F238E27FC236}">
                <a16:creationId xmlns:a16="http://schemas.microsoft.com/office/drawing/2014/main" id="{370DCC73-282B-81CD-1550-003073C1E65A}"/>
              </a:ext>
            </a:extLst>
          </p:cNvPr>
          <p:cNvSpPr txBox="1"/>
          <p:nvPr/>
        </p:nvSpPr>
        <p:spPr>
          <a:xfrm>
            <a:off x="8302621" y="3780086"/>
            <a:ext cx="1493690" cy="307777"/>
          </a:xfrm>
          <a:prstGeom prst="rect">
            <a:avLst/>
          </a:prstGeom>
        </p:spPr>
        <p:txBody>
          <a:bodyPr wrap="square" lIns="0" rIns="0" rtlCol="0">
            <a:spAutoFit/>
          </a:bodyPr>
          <a:lstStyle/>
          <a:p>
            <a:r>
              <a:rPr lang="en-GB" sz="700" b="1" noProof="0">
                <a:latin typeface="Droid Sans"/>
                <a:cs typeface="Calibri" panose="020F0502020204030204" pitchFamily="34" charset="0"/>
              </a:rPr>
              <a:t>BW/4HANA 2.0 Risk Analysis Project</a:t>
            </a:r>
          </a:p>
        </p:txBody>
      </p:sp>
      <p:sp>
        <p:nvSpPr>
          <p:cNvPr id="30" name="CuadroTexto 29">
            <a:extLst>
              <a:ext uri="{FF2B5EF4-FFF2-40B4-BE49-F238E27FC236}">
                <a16:creationId xmlns:a16="http://schemas.microsoft.com/office/drawing/2014/main" id="{61B22E3C-5E4D-9E27-611E-B9D4CA1C6FA0}"/>
              </a:ext>
            </a:extLst>
          </p:cNvPr>
          <p:cNvSpPr txBox="1"/>
          <p:nvPr/>
        </p:nvSpPr>
        <p:spPr>
          <a:xfrm>
            <a:off x="8301705" y="4155393"/>
            <a:ext cx="1499370" cy="307777"/>
          </a:xfrm>
          <a:prstGeom prst="rect">
            <a:avLst/>
          </a:prstGeom>
        </p:spPr>
        <p:txBody>
          <a:bodyPr wrap="square" lIns="0" rIns="0" rtlCol="0">
            <a:spAutoFit/>
          </a:bodyPr>
          <a:lstStyle/>
          <a:p>
            <a:r>
              <a:rPr lang="en-GB" sz="700" b="1" noProof="0">
                <a:latin typeface="Droid Sans"/>
                <a:cs typeface="Calibri" panose="020F0502020204030204" pitchFamily="34" charset="0"/>
                <a:sym typeface="Gill Sans" charset="0"/>
              </a:rPr>
              <a:t>Deploying HANA as the corporate </a:t>
            </a:r>
            <a:r>
              <a:rPr lang="en-GB" sz="700" b="1" noProof="0" err="1">
                <a:latin typeface="Droid Sans"/>
                <a:cs typeface="Calibri" panose="020F0502020204030204" pitchFamily="34" charset="0"/>
                <a:sym typeface="Gill Sans" charset="0"/>
              </a:rPr>
              <a:t>DataWarehouse</a:t>
            </a:r>
            <a:endParaRPr lang="en-GB" sz="700" b="1" noProof="0">
              <a:latin typeface="Droid Sans"/>
              <a:cs typeface="Calibri" panose="020F0502020204030204" pitchFamily="34" charset="0"/>
              <a:sym typeface="Gill Sans" charset="0"/>
            </a:endParaRPr>
          </a:p>
        </p:txBody>
      </p:sp>
      <p:sp>
        <p:nvSpPr>
          <p:cNvPr id="31" name="CuadroTexto 30">
            <a:extLst>
              <a:ext uri="{FF2B5EF4-FFF2-40B4-BE49-F238E27FC236}">
                <a16:creationId xmlns:a16="http://schemas.microsoft.com/office/drawing/2014/main" id="{C92F6CE3-DD8C-BD14-5FE9-CF3EC6356760}"/>
              </a:ext>
            </a:extLst>
          </p:cNvPr>
          <p:cNvSpPr txBox="1"/>
          <p:nvPr/>
        </p:nvSpPr>
        <p:spPr>
          <a:xfrm>
            <a:off x="1984883" y="929765"/>
            <a:ext cx="2532359" cy="246221"/>
          </a:xfrm>
          <a:prstGeom prst="rect">
            <a:avLst/>
          </a:prstGeom>
        </p:spPr>
        <p:txBody>
          <a:bodyPr wrap="square" lIns="0" rIns="0" rtlCol="0">
            <a:spAutoFit/>
          </a:bodyPr>
          <a:lstStyle/>
          <a:p>
            <a:pPr algn="ctr" fontAlgn="base">
              <a:spcBef>
                <a:spcPct val="0"/>
              </a:spcBef>
              <a:spcAft>
                <a:spcPct val="0"/>
              </a:spcAft>
              <a:buClr>
                <a:srgbClr val="505150"/>
              </a:buClr>
              <a:buSzPct val="88000"/>
            </a:pPr>
            <a:r>
              <a:rPr lang="en-GB" sz="1000" noProof="0">
                <a:latin typeface="Droid Sans" charset="0"/>
                <a:cs typeface="Droid Sans" charset="0"/>
                <a:sym typeface="Droid Sans" charset="0"/>
              </a:rPr>
              <a:t>People Analytics</a:t>
            </a:r>
          </a:p>
        </p:txBody>
      </p:sp>
      <p:cxnSp>
        <p:nvCxnSpPr>
          <p:cNvPr id="32" name="Conector recto 31">
            <a:extLst>
              <a:ext uri="{FF2B5EF4-FFF2-40B4-BE49-F238E27FC236}">
                <a16:creationId xmlns:a16="http://schemas.microsoft.com/office/drawing/2014/main" id="{637BE370-BB13-5AF5-6FD1-836A06167A18}"/>
              </a:ext>
            </a:extLst>
          </p:cNvPr>
          <p:cNvCxnSpPr>
            <a:cxnSpLocks/>
          </p:cNvCxnSpPr>
          <p:nvPr/>
        </p:nvCxnSpPr>
        <p:spPr>
          <a:xfrm>
            <a:off x="1502234" y="959683"/>
            <a:ext cx="0" cy="1621416"/>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63" name="Conector recto 62">
            <a:extLst>
              <a:ext uri="{FF2B5EF4-FFF2-40B4-BE49-F238E27FC236}">
                <a16:creationId xmlns:a16="http://schemas.microsoft.com/office/drawing/2014/main" id="{362AF4E4-003F-A1CE-7531-2A721AFE8EB5}"/>
              </a:ext>
            </a:extLst>
          </p:cNvPr>
          <p:cNvCxnSpPr>
            <a:cxnSpLocks/>
          </p:cNvCxnSpPr>
          <p:nvPr/>
        </p:nvCxnSpPr>
        <p:spPr>
          <a:xfrm>
            <a:off x="1669578" y="1194371"/>
            <a:ext cx="23073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64" name="Picture 2" descr="Asisa: Teléfono gratuito, cuadro médico y opiniones clientes 2020">
            <a:extLst>
              <a:ext uri="{FF2B5EF4-FFF2-40B4-BE49-F238E27FC236}">
                <a16:creationId xmlns:a16="http://schemas.microsoft.com/office/drawing/2014/main" id="{D6BF91F9-A67C-A720-D2D8-03EB63228376}"/>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764958" y="1312064"/>
            <a:ext cx="648000" cy="143264"/>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4">
            <a:extLst>
              <a:ext uri="{FF2B5EF4-FFF2-40B4-BE49-F238E27FC236}">
                <a16:creationId xmlns:a16="http://schemas.microsoft.com/office/drawing/2014/main" id="{A114C105-313B-0B6D-4332-3735D19D84F4}"/>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t="17783" b="26340"/>
          <a:stretch/>
        </p:blipFill>
        <p:spPr bwMode="auto">
          <a:xfrm>
            <a:off x="1727399" y="1509578"/>
            <a:ext cx="692603" cy="214004"/>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12">
            <a:extLst>
              <a:ext uri="{FF2B5EF4-FFF2-40B4-BE49-F238E27FC236}">
                <a16:creationId xmlns:a16="http://schemas.microsoft.com/office/drawing/2014/main" id="{03C2EB33-3433-8567-5E1F-2CC398A0C797}"/>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872129" y="2010811"/>
            <a:ext cx="411634" cy="13760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2">
            <a:extLst>
              <a:ext uri="{FF2B5EF4-FFF2-40B4-BE49-F238E27FC236}">
                <a16:creationId xmlns:a16="http://schemas.microsoft.com/office/drawing/2014/main" id="{EBE51ACB-2069-704D-E3E6-F149F6C0444A}"/>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857740" y="2228281"/>
            <a:ext cx="435970" cy="172093"/>
          </a:xfrm>
          <a:prstGeom prst="rect">
            <a:avLst/>
          </a:prstGeom>
          <a:noFill/>
          <a:extLst>
            <a:ext uri="{909E8E84-426E-40DD-AFC4-6F175D3DCCD1}">
              <a14:hiddenFill xmlns:a14="http://schemas.microsoft.com/office/drawing/2010/main">
                <a:solidFill>
                  <a:srgbClr val="FFFFFF"/>
                </a:solidFill>
              </a14:hiddenFill>
            </a:ext>
          </a:extLst>
        </p:spPr>
      </p:pic>
      <p:pic>
        <p:nvPicPr>
          <p:cNvPr id="68" name="Gráfico 67">
            <a:extLst>
              <a:ext uri="{FF2B5EF4-FFF2-40B4-BE49-F238E27FC236}">
                <a16:creationId xmlns:a16="http://schemas.microsoft.com/office/drawing/2014/main" id="{4274CC88-D1C3-6BD6-D6BC-F60D9FC6EA4D}"/>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517075" y="1316180"/>
            <a:ext cx="611583" cy="138099"/>
          </a:xfrm>
          <a:prstGeom prst="rect">
            <a:avLst/>
          </a:prstGeom>
        </p:spPr>
      </p:pic>
      <p:pic>
        <p:nvPicPr>
          <p:cNvPr id="69" name="Picture 4" descr="Grenergy Renovables SA: Grenergy logró un beneficio neto de 8,8 millones de  euros en el primer semestre de 2022, lo que supone un aumento de casi el  29% con respecto al mismo">
            <a:extLst>
              <a:ext uri="{FF2B5EF4-FFF2-40B4-BE49-F238E27FC236}">
                <a16:creationId xmlns:a16="http://schemas.microsoft.com/office/drawing/2014/main" id="{A9AFDDE2-B079-74FB-4AF8-77ADFD800B91}"/>
              </a:ext>
            </a:extLst>
          </p:cNvPr>
          <p:cNvPicPr>
            <a:picLocks noChangeAspect="1" noChangeArrowheads="1"/>
          </p:cNvPicPr>
          <p:nvPr/>
        </p:nvPicPr>
        <p:blipFill rotWithShape="1">
          <a:blip r:embed="rId20" cstate="print">
            <a:extLst>
              <a:ext uri="{28A0092B-C50C-407E-A947-70E740481C1C}">
                <a14:useLocalDpi xmlns:a14="http://schemas.microsoft.com/office/drawing/2010/main" val="0"/>
              </a:ext>
            </a:extLst>
          </a:blip>
          <a:srcRect l="12575" t="26584" r="10673" b="24504"/>
          <a:stretch/>
        </p:blipFill>
        <p:spPr bwMode="auto">
          <a:xfrm>
            <a:off x="2564334" y="1559348"/>
            <a:ext cx="507567" cy="140840"/>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 descr="Cerealto Siro Foods - Wikipedia, la enciclopedia libre">
            <a:extLst>
              <a:ext uri="{FF2B5EF4-FFF2-40B4-BE49-F238E27FC236}">
                <a16:creationId xmlns:a16="http://schemas.microsoft.com/office/drawing/2014/main" id="{8EB7FC51-D052-C2F3-701D-027FDE90F5EA}"/>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2574985" y="2191116"/>
            <a:ext cx="495762" cy="247882"/>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0">
            <a:extLst>
              <a:ext uri="{FF2B5EF4-FFF2-40B4-BE49-F238E27FC236}">
                <a16:creationId xmlns:a16="http://schemas.microsoft.com/office/drawing/2014/main" id="{885DBB2E-0624-129A-4FC6-145F4069EDA8}"/>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2650417" y="2006098"/>
            <a:ext cx="232627" cy="152603"/>
          </a:xfrm>
          <a:prstGeom prst="rect">
            <a:avLst/>
          </a:prstGeom>
          <a:noFill/>
          <a:extLst>
            <a:ext uri="{909E8E84-426E-40DD-AFC4-6F175D3DCCD1}">
              <a14:hiddenFill xmlns:a14="http://schemas.microsoft.com/office/drawing/2010/main">
                <a:solidFill>
                  <a:srgbClr val="FFFFFF"/>
                </a:solidFill>
              </a14:hiddenFill>
            </a:ext>
          </a:extLst>
        </p:spPr>
      </p:pic>
      <p:pic>
        <p:nvPicPr>
          <p:cNvPr id="72" name="Imagen 71" descr="Logotipo, nombre de la empresa&#10;&#10;Descripción generada automáticamente">
            <a:extLst>
              <a:ext uri="{FF2B5EF4-FFF2-40B4-BE49-F238E27FC236}">
                <a16:creationId xmlns:a16="http://schemas.microsoft.com/office/drawing/2014/main" id="{234EB110-874A-AE16-BB61-99513359838C}"/>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2542031" y="1754839"/>
            <a:ext cx="546429" cy="138756"/>
          </a:xfrm>
          <a:prstGeom prst="rect">
            <a:avLst/>
          </a:prstGeom>
        </p:spPr>
      </p:pic>
      <p:pic>
        <p:nvPicPr>
          <p:cNvPr id="73" name="Imagen 72" descr="Logotipo, nombre de la empresa&#10;&#10;Descripción generada automáticamente">
            <a:extLst>
              <a:ext uri="{FF2B5EF4-FFF2-40B4-BE49-F238E27FC236}">
                <a16:creationId xmlns:a16="http://schemas.microsoft.com/office/drawing/2014/main" id="{A1F1BC97-5ECD-175A-8650-837FCDDF8E8E}"/>
              </a:ext>
            </a:extLst>
          </p:cNvPr>
          <p:cNvPicPr>
            <a:picLocks noChangeAspect="1"/>
          </p:cNvPicPr>
          <p:nvPr/>
        </p:nvPicPr>
        <p:blipFill rotWithShape="1">
          <a:blip r:embed="rId24" cstate="print">
            <a:extLst>
              <a:ext uri="{28A0092B-C50C-407E-A947-70E740481C1C}">
                <a14:useLocalDpi xmlns:a14="http://schemas.microsoft.com/office/drawing/2010/main" val="0"/>
              </a:ext>
            </a:extLst>
          </a:blip>
          <a:srcRect t="29727" b="33606"/>
          <a:stretch/>
        </p:blipFill>
        <p:spPr>
          <a:xfrm>
            <a:off x="3172824" y="1306696"/>
            <a:ext cx="794837" cy="179470"/>
          </a:xfrm>
          <a:prstGeom prst="rect">
            <a:avLst/>
          </a:prstGeom>
        </p:spPr>
      </p:pic>
      <p:pic>
        <p:nvPicPr>
          <p:cNvPr id="75" name="Imagen 74" descr="Logotipo&#10;&#10;Descripción generada automáticamente">
            <a:extLst>
              <a:ext uri="{FF2B5EF4-FFF2-40B4-BE49-F238E27FC236}">
                <a16:creationId xmlns:a16="http://schemas.microsoft.com/office/drawing/2014/main" id="{9FA6923D-055C-08F5-7726-431B704938E3}"/>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3333787" y="1531895"/>
            <a:ext cx="439394" cy="166583"/>
          </a:xfrm>
          <a:prstGeom prst="rect">
            <a:avLst/>
          </a:prstGeom>
        </p:spPr>
      </p:pic>
      <p:pic>
        <p:nvPicPr>
          <p:cNvPr id="76" name="Picture 2" descr="MATSA">
            <a:extLst>
              <a:ext uri="{FF2B5EF4-FFF2-40B4-BE49-F238E27FC236}">
                <a16:creationId xmlns:a16="http://schemas.microsoft.com/office/drawing/2014/main" id="{1BE8E782-E6CC-7312-B710-A910A10E32C4}"/>
              </a:ext>
            </a:extLst>
          </p:cNvPr>
          <p:cNvPicPr>
            <a:picLocks noChangeAspect="1" noChangeArrowheads="1"/>
          </p:cNvPicPr>
          <p:nvPr/>
        </p:nvPicPr>
        <p:blipFill rotWithShape="1">
          <a:blip r:embed="rId26" cstate="print">
            <a:extLst>
              <a:ext uri="{28A0092B-C50C-407E-A947-70E740481C1C}">
                <a14:useLocalDpi xmlns:a14="http://schemas.microsoft.com/office/drawing/2010/main" val="0"/>
              </a:ext>
            </a:extLst>
          </a:blip>
          <a:srcRect t="20737" b="33419"/>
          <a:stretch/>
        </p:blipFill>
        <p:spPr bwMode="auto">
          <a:xfrm>
            <a:off x="3297046" y="1705545"/>
            <a:ext cx="566841" cy="259862"/>
          </a:xfrm>
          <a:prstGeom prst="rect">
            <a:avLst/>
          </a:prstGeom>
          <a:noFill/>
          <a:extLst>
            <a:ext uri="{909E8E84-426E-40DD-AFC4-6F175D3DCCD1}">
              <a14:hiddenFill xmlns:a14="http://schemas.microsoft.com/office/drawing/2010/main">
                <a:solidFill>
                  <a:srgbClr val="FFFFFF"/>
                </a:solidFill>
              </a14:hiddenFill>
            </a:ext>
          </a:extLst>
        </p:spPr>
      </p:pic>
      <p:pic>
        <p:nvPicPr>
          <p:cNvPr id="77" name="Imagen 76" descr="Texto, Logotipo&#10;&#10;Descripción generada automáticamente">
            <a:extLst>
              <a:ext uri="{FF2B5EF4-FFF2-40B4-BE49-F238E27FC236}">
                <a16:creationId xmlns:a16="http://schemas.microsoft.com/office/drawing/2014/main" id="{0664D06E-E2B2-8D38-C9F8-ECFDE8A901E9}"/>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3319611" y="2022639"/>
            <a:ext cx="491324" cy="129215"/>
          </a:xfrm>
          <a:prstGeom prst="rect">
            <a:avLst/>
          </a:prstGeom>
        </p:spPr>
      </p:pic>
      <p:pic>
        <p:nvPicPr>
          <p:cNvPr id="78" name="Imagen 77">
            <a:extLst>
              <a:ext uri="{FF2B5EF4-FFF2-40B4-BE49-F238E27FC236}">
                <a16:creationId xmlns:a16="http://schemas.microsoft.com/office/drawing/2014/main" id="{C30A7418-A5FF-A29D-5961-E620E2B1CA86}"/>
              </a:ext>
            </a:extLst>
          </p:cNvPr>
          <p:cNvPicPr>
            <a:picLocks noChangeAspect="1"/>
          </p:cNvPicPr>
          <p:nvPr/>
        </p:nvPicPr>
        <p:blipFill>
          <a:blip r:embed="rId28"/>
          <a:stretch>
            <a:fillRect/>
          </a:stretch>
        </p:blipFill>
        <p:spPr>
          <a:xfrm>
            <a:off x="2001574" y="959683"/>
            <a:ext cx="712289" cy="194486"/>
          </a:xfrm>
          <a:prstGeom prst="rect">
            <a:avLst/>
          </a:prstGeom>
        </p:spPr>
      </p:pic>
      <p:grpSp>
        <p:nvGrpSpPr>
          <p:cNvPr id="79" name="Grupo 78">
            <a:extLst>
              <a:ext uri="{FF2B5EF4-FFF2-40B4-BE49-F238E27FC236}">
                <a16:creationId xmlns:a16="http://schemas.microsoft.com/office/drawing/2014/main" id="{CDAA190E-6E4D-6B05-462C-69A7A4867C85}"/>
              </a:ext>
            </a:extLst>
          </p:cNvPr>
          <p:cNvGrpSpPr/>
          <p:nvPr/>
        </p:nvGrpSpPr>
        <p:grpSpPr>
          <a:xfrm>
            <a:off x="3943607" y="920964"/>
            <a:ext cx="2532359" cy="1267814"/>
            <a:chOff x="4433024" y="920964"/>
            <a:chExt cx="2532359" cy="1267814"/>
          </a:xfrm>
        </p:grpSpPr>
        <p:sp>
          <p:nvSpPr>
            <p:cNvPr id="80" name="CuadroTexto 79">
              <a:extLst>
                <a:ext uri="{FF2B5EF4-FFF2-40B4-BE49-F238E27FC236}">
                  <a16:creationId xmlns:a16="http://schemas.microsoft.com/office/drawing/2014/main" id="{80480426-9B73-A112-B646-3256177C0B6C}"/>
                </a:ext>
              </a:extLst>
            </p:cNvPr>
            <p:cNvSpPr txBox="1"/>
            <p:nvPr/>
          </p:nvSpPr>
          <p:spPr>
            <a:xfrm>
              <a:off x="4433024" y="920964"/>
              <a:ext cx="2532359" cy="246221"/>
            </a:xfrm>
            <a:prstGeom prst="rect">
              <a:avLst/>
            </a:prstGeom>
          </p:spPr>
          <p:txBody>
            <a:bodyPr wrap="square" lIns="0" rIns="0" rtlCol="0">
              <a:spAutoFit/>
            </a:bodyPr>
            <a:lstStyle/>
            <a:p>
              <a:pPr algn="ctr" fontAlgn="base">
                <a:spcBef>
                  <a:spcPct val="0"/>
                </a:spcBef>
                <a:spcAft>
                  <a:spcPct val="0"/>
                </a:spcAft>
                <a:buClr>
                  <a:srgbClr val="505150"/>
                </a:buClr>
                <a:buSzPct val="88000"/>
              </a:pPr>
              <a:r>
                <a:rPr lang="en-GB" sz="1000" noProof="0">
                  <a:latin typeface="Droid Sans" charset="0"/>
                  <a:cs typeface="Droid Sans" charset="0"/>
                  <a:sym typeface="Droid Sans" charset="0"/>
                </a:rPr>
                <a:t>Global Spend</a:t>
              </a:r>
            </a:p>
          </p:txBody>
        </p:sp>
        <p:cxnSp>
          <p:nvCxnSpPr>
            <p:cNvPr id="81" name="Conector recto 80">
              <a:extLst>
                <a:ext uri="{FF2B5EF4-FFF2-40B4-BE49-F238E27FC236}">
                  <a16:creationId xmlns:a16="http://schemas.microsoft.com/office/drawing/2014/main" id="{22011037-5339-6341-CDD0-CC00B3DF3A02}"/>
                </a:ext>
              </a:extLst>
            </p:cNvPr>
            <p:cNvCxnSpPr>
              <a:cxnSpLocks/>
            </p:cNvCxnSpPr>
            <p:nvPr/>
          </p:nvCxnSpPr>
          <p:spPr>
            <a:xfrm>
              <a:off x="4514515" y="1194371"/>
              <a:ext cx="165975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82" name="Imagen 81">
              <a:extLst>
                <a:ext uri="{FF2B5EF4-FFF2-40B4-BE49-F238E27FC236}">
                  <a16:creationId xmlns:a16="http://schemas.microsoft.com/office/drawing/2014/main" id="{FF3621BB-7CEF-BB7E-AA59-A3517592C427}"/>
                </a:ext>
              </a:extLst>
            </p:cNvPr>
            <p:cNvPicPr>
              <a:picLocks noChangeAspect="1"/>
            </p:cNvPicPr>
            <p:nvPr/>
          </p:nvPicPr>
          <p:blipFill>
            <a:blip r:embed="rId29"/>
            <a:stretch>
              <a:fillRect/>
            </a:stretch>
          </p:blipFill>
          <p:spPr>
            <a:xfrm>
              <a:off x="4681026" y="2001869"/>
              <a:ext cx="514002" cy="186909"/>
            </a:xfrm>
            <a:prstGeom prst="rect">
              <a:avLst/>
            </a:prstGeom>
          </p:spPr>
        </p:pic>
        <p:pic>
          <p:nvPicPr>
            <p:cNvPr id="83" name="Picture 6" descr="Inicio - Inicio - BIDAFARMA">
              <a:extLst>
                <a:ext uri="{FF2B5EF4-FFF2-40B4-BE49-F238E27FC236}">
                  <a16:creationId xmlns:a16="http://schemas.microsoft.com/office/drawing/2014/main" id="{3729BCAF-D8C8-BF0E-8509-96BF4EF6F051}"/>
                </a:ext>
              </a:extLst>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4804284" y="1756647"/>
              <a:ext cx="273950" cy="193591"/>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0" descr="GBC - Gibraltar News - GBC TV and Radio Gibraltar">
              <a:extLst>
                <a:ext uri="{FF2B5EF4-FFF2-40B4-BE49-F238E27FC236}">
                  <a16:creationId xmlns:a16="http://schemas.microsoft.com/office/drawing/2014/main" id="{30C097DB-8113-8218-60AA-0F27BA5EE7A0}"/>
                </a:ext>
              </a:extLst>
            </p:cNvPr>
            <p:cNvPicPr>
              <a:picLocks noChangeAspect="1" noChangeArrowheads="1"/>
            </p:cNvPicPr>
            <p:nvPr/>
          </p:nvPicPr>
          <p:blipFill rotWithShape="1">
            <a:blip r:embed="rId31" cstate="print">
              <a:extLst>
                <a:ext uri="{28A0092B-C50C-407E-A947-70E740481C1C}">
                  <a14:useLocalDpi xmlns:a14="http://schemas.microsoft.com/office/drawing/2010/main" val="0"/>
                </a:ext>
              </a:extLst>
            </a:blip>
            <a:srcRect t="31736" b="34941"/>
            <a:stretch/>
          </p:blipFill>
          <p:spPr bwMode="auto">
            <a:xfrm>
              <a:off x="5419632" y="1287164"/>
              <a:ext cx="591191" cy="184511"/>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 descr="Inicio - Naturgy">
              <a:extLst>
                <a:ext uri="{FF2B5EF4-FFF2-40B4-BE49-F238E27FC236}">
                  <a16:creationId xmlns:a16="http://schemas.microsoft.com/office/drawing/2014/main" id="{0F556838-95BE-C26C-7953-B3AFF7309B4A}"/>
                </a:ext>
              </a:extLst>
            </p:cNvPr>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4495203" y="1519412"/>
              <a:ext cx="920016" cy="213592"/>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8" descr="Ferrer Internacional - Caso de estudio">
              <a:extLst>
                <a:ext uri="{FF2B5EF4-FFF2-40B4-BE49-F238E27FC236}">
                  <a16:creationId xmlns:a16="http://schemas.microsoft.com/office/drawing/2014/main" id="{68DDCCFE-BCEA-BA75-CB45-E39E137AFF3D}"/>
                </a:ext>
              </a:extLst>
            </p:cNvPr>
            <p:cNvPicPr>
              <a:picLocks noChangeAspect="1" noChangeArrowheads="1"/>
            </p:cNvPicPr>
            <p:nvPr/>
          </p:nvPicPr>
          <p:blipFill rotWithShape="1">
            <a:blip r:embed="rId33" cstate="print">
              <a:extLst>
                <a:ext uri="{28A0092B-C50C-407E-A947-70E740481C1C}">
                  <a14:useLocalDpi xmlns:a14="http://schemas.microsoft.com/office/drawing/2010/main" val="0"/>
                </a:ext>
              </a:extLst>
            </a:blip>
            <a:srcRect t="29314" b="31012"/>
            <a:stretch/>
          </p:blipFill>
          <p:spPr bwMode="auto">
            <a:xfrm>
              <a:off x="5412981" y="1532377"/>
              <a:ext cx="608361" cy="181021"/>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12" descr="XIMENEZ - cordobaactiva">
              <a:extLst>
                <a:ext uri="{FF2B5EF4-FFF2-40B4-BE49-F238E27FC236}">
                  <a16:creationId xmlns:a16="http://schemas.microsoft.com/office/drawing/2014/main" id="{4DD1EF56-3596-13CB-30AD-08F493124C55}"/>
                </a:ext>
              </a:extLst>
            </p:cNvPr>
            <p:cNvPicPr>
              <a:picLocks noChangeAspect="1" noChangeArrowheads="1"/>
            </p:cNvPicPr>
            <p:nvPr/>
          </p:nvPicPr>
          <p:blipFill rotWithShape="1">
            <a:blip r:embed="rId34" cstate="print">
              <a:extLst>
                <a:ext uri="{28A0092B-C50C-407E-A947-70E740481C1C}">
                  <a14:useLocalDpi xmlns:a14="http://schemas.microsoft.com/office/drawing/2010/main" val="0"/>
                </a:ext>
              </a:extLst>
            </a:blip>
            <a:srcRect l="6932" t="7923" r="9488" b="12778"/>
            <a:stretch/>
          </p:blipFill>
          <p:spPr bwMode="auto">
            <a:xfrm>
              <a:off x="5627009" y="1781146"/>
              <a:ext cx="184878" cy="175408"/>
            </a:xfrm>
            <a:prstGeom prst="rect">
              <a:avLst/>
            </a:prstGeom>
            <a:noFill/>
            <a:extLst>
              <a:ext uri="{909E8E84-426E-40DD-AFC4-6F175D3DCCD1}">
                <a14:hiddenFill xmlns:a14="http://schemas.microsoft.com/office/drawing/2010/main">
                  <a:solidFill>
                    <a:srgbClr val="FFFFFF"/>
                  </a:solidFill>
                </a14:hiddenFill>
              </a:ext>
            </a:extLst>
          </p:spPr>
        </p:pic>
      </p:grpSp>
      <p:sp>
        <p:nvSpPr>
          <p:cNvPr id="88" name="CuadroTexto 87">
            <a:extLst>
              <a:ext uri="{FF2B5EF4-FFF2-40B4-BE49-F238E27FC236}">
                <a16:creationId xmlns:a16="http://schemas.microsoft.com/office/drawing/2014/main" id="{AFDB5ECE-DCCC-C738-66E2-448718FB3EE8}"/>
              </a:ext>
            </a:extLst>
          </p:cNvPr>
          <p:cNvSpPr txBox="1"/>
          <p:nvPr/>
        </p:nvSpPr>
        <p:spPr>
          <a:xfrm>
            <a:off x="5738462" y="929765"/>
            <a:ext cx="1974785" cy="252234"/>
          </a:xfrm>
          <a:prstGeom prst="rect">
            <a:avLst/>
          </a:prstGeom>
        </p:spPr>
        <p:txBody>
          <a:bodyPr wrap="square" lIns="0" rIns="0" rtlCol="0">
            <a:spAutoFit/>
          </a:bodyPr>
          <a:lstStyle/>
          <a:p>
            <a:pPr algn="ctr" fontAlgn="base">
              <a:spcBef>
                <a:spcPct val="0"/>
              </a:spcBef>
              <a:spcAft>
                <a:spcPct val="0"/>
              </a:spcAft>
              <a:buClr>
                <a:srgbClr val="505150"/>
              </a:buClr>
              <a:buSzPct val="88000"/>
            </a:pPr>
            <a:r>
              <a:rPr lang="en-GB" sz="1000" noProof="0">
                <a:latin typeface="Droid Sans" charset="0"/>
                <a:cs typeface="Droid Sans" charset="0"/>
                <a:sym typeface="Droid Sans" charset="0"/>
              </a:rPr>
              <a:t>Sales</a:t>
            </a:r>
          </a:p>
        </p:txBody>
      </p:sp>
      <p:cxnSp>
        <p:nvCxnSpPr>
          <p:cNvPr id="89" name="Conector recto 88">
            <a:extLst>
              <a:ext uri="{FF2B5EF4-FFF2-40B4-BE49-F238E27FC236}">
                <a16:creationId xmlns:a16="http://schemas.microsoft.com/office/drawing/2014/main" id="{1F3B7905-4279-F488-FCB0-83706BDC3C71}"/>
              </a:ext>
            </a:extLst>
          </p:cNvPr>
          <p:cNvCxnSpPr>
            <a:cxnSpLocks/>
          </p:cNvCxnSpPr>
          <p:nvPr/>
        </p:nvCxnSpPr>
        <p:spPr>
          <a:xfrm>
            <a:off x="5741489" y="1194371"/>
            <a:ext cx="197175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90" name="Picture 12" descr="Resultat d'imatges per a &quot;repsol logo&quot;">
            <a:extLst>
              <a:ext uri="{FF2B5EF4-FFF2-40B4-BE49-F238E27FC236}">
                <a16:creationId xmlns:a16="http://schemas.microsoft.com/office/drawing/2014/main" id="{D792BAE0-601A-1E4A-65DD-F84080EA7ED3}"/>
              </a:ext>
            </a:extLst>
          </p:cNvPr>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5943766" y="1261084"/>
            <a:ext cx="346846" cy="246513"/>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 descr="Zena Alsea | LinkedIn">
            <a:extLst>
              <a:ext uri="{FF2B5EF4-FFF2-40B4-BE49-F238E27FC236}">
                <a16:creationId xmlns:a16="http://schemas.microsoft.com/office/drawing/2014/main" id="{6DA5EC16-B1E7-5570-D49B-73068FC9C9D5}"/>
              </a:ext>
            </a:extLst>
          </p:cNvPr>
          <p:cNvPicPr>
            <a:picLocks noChangeAspect="1" noChangeArrowheads="1"/>
          </p:cNvPicPr>
          <p:nvPr/>
        </p:nvPicPr>
        <p:blipFill rotWithShape="1">
          <a:blip r:embed="rId36" cstate="print">
            <a:extLst>
              <a:ext uri="{28A0092B-C50C-407E-A947-70E740481C1C}">
                <a14:useLocalDpi xmlns:a14="http://schemas.microsoft.com/office/drawing/2010/main" val="0"/>
              </a:ext>
            </a:extLst>
          </a:blip>
          <a:srcRect t="25489" b="29507"/>
          <a:stretch/>
        </p:blipFill>
        <p:spPr bwMode="auto">
          <a:xfrm>
            <a:off x="5958996" y="2002929"/>
            <a:ext cx="362774" cy="163262"/>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8" descr="Telefónica - Empresa - EL ESPAÑOL">
            <a:extLst>
              <a:ext uri="{FF2B5EF4-FFF2-40B4-BE49-F238E27FC236}">
                <a16:creationId xmlns:a16="http://schemas.microsoft.com/office/drawing/2014/main" id="{35ADCB20-01AA-D69C-EC9C-AAA5B2912693}"/>
              </a:ext>
            </a:extLst>
          </p:cNvPr>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5843416" y="1558442"/>
            <a:ext cx="529238" cy="133789"/>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4">
            <a:extLst>
              <a:ext uri="{FF2B5EF4-FFF2-40B4-BE49-F238E27FC236}">
                <a16:creationId xmlns:a16="http://schemas.microsoft.com/office/drawing/2014/main" id="{E7C52F2F-689C-E2A6-C145-929E754B07B3}"/>
              </a:ext>
            </a:extLst>
          </p:cNvPr>
          <p:cNvPicPr>
            <a:picLocks noChangeAspect="1"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6008028" y="2246987"/>
            <a:ext cx="222804" cy="133201"/>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14" descr="Entradas oficiales | Ciutat de les Arts i les Ciències - Valencia">
            <a:extLst>
              <a:ext uri="{FF2B5EF4-FFF2-40B4-BE49-F238E27FC236}">
                <a16:creationId xmlns:a16="http://schemas.microsoft.com/office/drawing/2014/main" id="{4DE0F134-2FC1-8820-3B92-8E59208FF5B4}"/>
              </a:ext>
            </a:extLst>
          </p:cNvPr>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6494781" y="1306472"/>
            <a:ext cx="453606" cy="184844"/>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22" descr="DIATER ALT A 1 - Diater Laboratorio Farmacéutico">
            <a:extLst>
              <a:ext uri="{FF2B5EF4-FFF2-40B4-BE49-F238E27FC236}">
                <a16:creationId xmlns:a16="http://schemas.microsoft.com/office/drawing/2014/main" id="{19098B17-ECC4-C0E8-FFDC-A22021BB83F5}"/>
              </a:ext>
            </a:extLst>
          </p:cNvPr>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6583573" y="1765244"/>
            <a:ext cx="276022" cy="169558"/>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2" descr="Inicio - PRIM">
            <a:extLst>
              <a:ext uri="{FF2B5EF4-FFF2-40B4-BE49-F238E27FC236}">
                <a16:creationId xmlns:a16="http://schemas.microsoft.com/office/drawing/2014/main" id="{3A98A461-1A22-E132-5DA0-B374EE1CA1BB}"/>
              </a:ext>
            </a:extLst>
          </p:cNvPr>
          <p:cNvPicPr>
            <a:picLocks noChangeAspect="1" noChangeArrowheads="1"/>
          </p:cNvPicPr>
          <p:nvPr/>
        </p:nvPicPr>
        <p:blipFill rotWithShape="1">
          <a:blip r:embed="rId41" cstate="print">
            <a:extLst>
              <a:ext uri="{28A0092B-C50C-407E-A947-70E740481C1C}">
                <a14:useLocalDpi xmlns:a14="http://schemas.microsoft.com/office/drawing/2010/main" val="0"/>
              </a:ext>
            </a:extLst>
          </a:blip>
          <a:srcRect t="16709" r="35895" b="10360"/>
          <a:stretch/>
        </p:blipFill>
        <p:spPr bwMode="auto">
          <a:xfrm>
            <a:off x="6573259" y="2014675"/>
            <a:ext cx="296650" cy="154980"/>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16" descr="Martiderm">
            <a:extLst>
              <a:ext uri="{FF2B5EF4-FFF2-40B4-BE49-F238E27FC236}">
                <a16:creationId xmlns:a16="http://schemas.microsoft.com/office/drawing/2014/main" id="{0E68E4AA-71C8-506B-C1E1-5EE6421E3F01}"/>
              </a:ext>
            </a:extLst>
          </p:cNvPr>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6628902" y="2247596"/>
            <a:ext cx="185364" cy="133462"/>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6" descr="Inicio - Inicio - BIDAFARMA">
            <a:extLst>
              <a:ext uri="{FF2B5EF4-FFF2-40B4-BE49-F238E27FC236}">
                <a16:creationId xmlns:a16="http://schemas.microsoft.com/office/drawing/2014/main" id="{DB63DD08-B734-99BA-3EEA-B91AE2A70967}"/>
              </a:ext>
            </a:extLst>
          </p:cNvPr>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7217593" y="1303057"/>
            <a:ext cx="229843" cy="162423"/>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6" descr="GAM Soluciones | Siero">
            <a:extLst>
              <a:ext uri="{FF2B5EF4-FFF2-40B4-BE49-F238E27FC236}">
                <a16:creationId xmlns:a16="http://schemas.microsoft.com/office/drawing/2014/main" id="{348C7A95-7599-7DE3-3235-0DE2D2DBD60D}"/>
              </a:ext>
            </a:extLst>
          </p:cNvPr>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7254811" y="1542665"/>
            <a:ext cx="160911" cy="160911"/>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8">
            <a:extLst>
              <a:ext uri="{FF2B5EF4-FFF2-40B4-BE49-F238E27FC236}">
                <a16:creationId xmlns:a16="http://schemas.microsoft.com/office/drawing/2014/main" id="{2E07DAED-C4A3-22F5-FF21-CCE3CC440E18}"/>
              </a:ext>
            </a:extLst>
          </p:cNvPr>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7110374" y="1767393"/>
            <a:ext cx="466877" cy="175451"/>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4" descr="Meiji Seika Pharma Sets up a New Subsidiary in the US | Business Wire">
            <a:extLst>
              <a:ext uri="{FF2B5EF4-FFF2-40B4-BE49-F238E27FC236}">
                <a16:creationId xmlns:a16="http://schemas.microsoft.com/office/drawing/2014/main" id="{936FAAF8-D607-9B07-3F4B-C7CCC7592BC6}"/>
              </a:ext>
            </a:extLst>
          </p:cNvPr>
          <p:cNvPicPr>
            <a:picLocks noChangeAspect="1" noChangeArrowheads="1"/>
          </p:cNvPicPr>
          <p:nvPr/>
        </p:nvPicPr>
        <p:blipFill>
          <a:blip r:embed="rId46" cstate="print">
            <a:extLst>
              <a:ext uri="{28A0092B-C50C-407E-A947-70E740481C1C}">
                <a14:useLocalDpi xmlns:a14="http://schemas.microsoft.com/office/drawing/2010/main" val="0"/>
              </a:ext>
            </a:extLst>
          </a:blip>
          <a:srcRect/>
          <a:stretch>
            <a:fillRect/>
          </a:stretch>
        </p:blipFill>
        <p:spPr bwMode="auto">
          <a:xfrm>
            <a:off x="7118146" y="1990676"/>
            <a:ext cx="396204" cy="198102"/>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8" descr="Inicio - Lacer">
            <a:extLst>
              <a:ext uri="{FF2B5EF4-FFF2-40B4-BE49-F238E27FC236}">
                <a16:creationId xmlns:a16="http://schemas.microsoft.com/office/drawing/2014/main" id="{9987DC1B-BC9E-13AB-45C9-73BAB3F0625A}"/>
              </a:ext>
            </a:extLst>
          </p:cNvPr>
          <p:cNvPicPr>
            <a:picLocks noChangeAspect="1" noChangeArrowheads="1"/>
          </p:cNvPicPr>
          <p:nvPr/>
        </p:nvPicPr>
        <p:blipFill>
          <a:blip r:embed="rId47" cstate="print">
            <a:extLst>
              <a:ext uri="{28A0092B-C50C-407E-A947-70E740481C1C}">
                <a14:useLocalDpi xmlns:a14="http://schemas.microsoft.com/office/drawing/2010/main" val="0"/>
              </a:ext>
            </a:extLst>
          </a:blip>
          <a:srcRect/>
          <a:stretch>
            <a:fillRect/>
          </a:stretch>
        </p:blipFill>
        <p:spPr bwMode="auto">
          <a:xfrm>
            <a:off x="7262368" y="2253580"/>
            <a:ext cx="133123" cy="133123"/>
          </a:xfrm>
          <a:prstGeom prst="rect">
            <a:avLst/>
          </a:prstGeom>
          <a:noFill/>
          <a:extLst>
            <a:ext uri="{909E8E84-426E-40DD-AFC4-6F175D3DCCD1}">
              <a14:hiddenFill xmlns:a14="http://schemas.microsoft.com/office/drawing/2010/main">
                <a:solidFill>
                  <a:srgbClr val="FFFFFF"/>
                </a:solidFill>
              </a14:hiddenFill>
            </a:ext>
          </a:extLst>
        </p:spPr>
      </p:pic>
      <p:sp>
        <p:nvSpPr>
          <p:cNvPr id="103" name="CuadroTexto 102">
            <a:extLst>
              <a:ext uri="{FF2B5EF4-FFF2-40B4-BE49-F238E27FC236}">
                <a16:creationId xmlns:a16="http://schemas.microsoft.com/office/drawing/2014/main" id="{84691972-78E1-BB5B-40AA-FB82CB5986FA}"/>
              </a:ext>
            </a:extLst>
          </p:cNvPr>
          <p:cNvSpPr txBox="1"/>
          <p:nvPr/>
        </p:nvSpPr>
        <p:spPr>
          <a:xfrm>
            <a:off x="7776920" y="929767"/>
            <a:ext cx="1775487" cy="246221"/>
          </a:xfrm>
          <a:prstGeom prst="rect">
            <a:avLst/>
          </a:prstGeom>
        </p:spPr>
        <p:txBody>
          <a:bodyPr wrap="square" lIns="0" rIns="0" rtlCol="0">
            <a:spAutoFit/>
          </a:bodyPr>
          <a:lstStyle/>
          <a:p>
            <a:pPr algn="ctr" fontAlgn="base">
              <a:spcBef>
                <a:spcPct val="0"/>
              </a:spcBef>
              <a:spcAft>
                <a:spcPct val="0"/>
              </a:spcAft>
              <a:buClr>
                <a:srgbClr val="505150"/>
              </a:buClr>
              <a:buSzPct val="88000"/>
            </a:pPr>
            <a:r>
              <a:rPr lang="en-GB" sz="1000" noProof="0">
                <a:latin typeface="Droid Sans" charset="0"/>
                <a:cs typeface="Droid Sans" charset="0"/>
                <a:sym typeface="Droid Sans" charset="0"/>
              </a:rPr>
              <a:t>Finance</a:t>
            </a:r>
          </a:p>
        </p:txBody>
      </p:sp>
      <p:cxnSp>
        <p:nvCxnSpPr>
          <p:cNvPr id="104" name="Conector recto 103">
            <a:extLst>
              <a:ext uri="{FF2B5EF4-FFF2-40B4-BE49-F238E27FC236}">
                <a16:creationId xmlns:a16="http://schemas.microsoft.com/office/drawing/2014/main" id="{F185DB64-8640-30F0-3CDF-9B905CC88D6F}"/>
              </a:ext>
            </a:extLst>
          </p:cNvPr>
          <p:cNvCxnSpPr>
            <a:cxnSpLocks/>
          </p:cNvCxnSpPr>
          <p:nvPr/>
        </p:nvCxnSpPr>
        <p:spPr>
          <a:xfrm>
            <a:off x="7762681" y="1194371"/>
            <a:ext cx="178972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5" name="Gráfico 104">
            <a:extLst>
              <a:ext uri="{FF2B5EF4-FFF2-40B4-BE49-F238E27FC236}">
                <a16:creationId xmlns:a16="http://schemas.microsoft.com/office/drawing/2014/main" id="{EDD159FB-EAF0-3EF3-BA98-45D133B63483}"/>
              </a:ext>
            </a:extLst>
          </p:cNvPr>
          <p:cNvPicPr>
            <a:picLocks noChangeAspect="1"/>
          </p:cNvPicPr>
          <p:nvPr/>
        </p:nvPicPr>
        <p:blipFill rotWithShape="1">
          <a:blip r:embed="rId48" cstate="print">
            <a:extLst>
              <a:ext uri="{28A0092B-C50C-407E-A947-70E740481C1C}">
                <a14:useLocalDpi xmlns:a14="http://schemas.microsoft.com/office/drawing/2010/main" val="0"/>
              </a:ext>
              <a:ext uri="{96DAC541-7B7A-43D3-8B79-37D633B846F1}">
                <asvg:svgBlip xmlns:asvg="http://schemas.microsoft.com/office/drawing/2016/SVG/main" r:embed="rId49"/>
              </a:ext>
            </a:extLst>
          </a:blip>
          <a:srcRect t="30615" b="29970"/>
          <a:stretch/>
        </p:blipFill>
        <p:spPr>
          <a:xfrm>
            <a:off x="7810221" y="1318722"/>
            <a:ext cx="638990" cy="150921"/>
          </a:xfrm>
          <a:prstGeom prst="rect">
            <a:avLst/>
          </a:prstGeom>
        </p:spPr>
      </p:pic>
      <p:pic>
        <p:nvPicPr>
          <p:cNvPr id="106" name="Gráfico 111">
            <a:extLst>
              <a:ext uri="{FF2B5EF4-FFF2-40B4-BE49-F238E27FC236}">
                <a16:creationId xmlns:a16="http://schemas.microsoft.com/office/drawing/2014/main" id="{7BF27BBC-5992-53EE-E96B-8BB6683AADB7}"/>
              </a:ext>
            </a:extLst>
          </p:cNvPr>
          <p:cNvPicPr>
            <a:picLocks noChangeAspect="1"/>
          </p:cNvPicPr>
          <p:nvPr/>
        </p:nvPicPr>
        <p:blipFill>
          <a:blip r:embed="rId50">
            <a:extLst>
              <a:ext uri="{28A0092B-C50C-407E-A947-70E740481C1C}">
                <a14:useLocalDpi xmlns:a14="http://schemas.microsoft.com/office/drawing/2010/main" val="0"/>
              </a:ext>
            </a:extLst>
          </a:blip>
          <a:srcRect/>
          <a:stretch/>
        </p:blipFill>
        <p:spPr>
          <a:xfrm>
            <a:off x="7876836" y="1797031"/>
            <a:ext cx="519281" cy="115396"/>
          </a:xfrm>
          <a:prstGeom prst="rect">
            <a:avLst/>
          </a:prstGeom>
        </p:spPr>
      </p:pic>
      <p:pic>
        <p:nvPicPr>
          <p:cNvPr id="107" name="Picture 12">
            <a:extLst>
              <a:ext uri="{FF2B5EF4-FFF2-40B4-BE49-F238E27FC236}">
                <a16:creationId xmlns:a16="http://schemas.microsoft.com/office/drawing/2014/main" id="{B3BF8391-6354-371A-FFE4-2DBC145DD2B7}"/>
              </a:ext>
            </a:extLst>
          </p:cNvPr>
          <p:cNvPicPr>
            <a:picLocks noChangeAspect="1" noChangeArrowheads="1"/>
          </p:cNvPicPr>
          <p:nvPr/>
        </p:nvPicPr>
        <p:blipFill rotWithShape="1">
          <a:blip r:embed="rId51" cstate="print">
            <a:extLst>
              <a:ext uri="{28A0092B-C50C-407E-A947-70E740481C1C}">
                <a14:useLocalDpi xmlns:a14="http://schemas.microsoft.com/office/drawing/2010/main" val="0"/>
              </a:ext>
            </a:extLst>
          </a:blip>
          <a:srcRect l="6138" t="23413" r="7654" b="24702"/>
          <a:stretch/>
        </p:blipFill>
        <p:spPr bwMode="auto">
          <a:xfrm>
            <a:off x="7955649" y="2020231"/>
            <a:ext cx="341160" cy="141706"/>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4" descr="Resultat d'imatges per a &quot;laliga logo&quot;">
            <a:extLst>
              <a:ext uri="{FF2B5EF4-FFF2-40B4-BE49-F238E27FC236}">
                <a16:creationId xmlns:a16="http://schemas.microsoft.com/office/drawing/2014/main" id="{DB808BFB-C8C1-5E81-76B4-15D034241E1A}"/>
              </a:ext>
            </a:extLst>
          </p:cNvPr>
          <p:cNvPicPr>
            <a:picLocks noChangeAspect="1" noChangeArrowheads="1"/>
          </p:cNvPicPr>
          <p:nvPr/>
        </p:nvPicPr>
        <p:blipFill>
          <a:blip r:embed="rId52" cstate="print">
            <a:extLst>
              <a:ext uri="{28A0092B-C50C-407E-A947-70E740481C1C}">
                <a14:useLocalDpi xmlns:a14="http://schemas.microsoft.com/office/drawing/2010/main" val="0"/>
              </a:ext>
            </a:extLst>
          </a:blip>
          <a:srcRect/>
          <a:stretch>
            <a:fillRect/>
          </a:stretch>
        </p:blipFill>
        <p:spPr bwMode="auto">
          <a:xfrm>
            <a:off x="8052002" y="2228009"/>
            <a:ext cx="174340" cy="174340"/>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6" descr="Inicio - Naturgy">
            <a:extLst>
              <a:ext uri="{FF2B5EF4-FFF2-40B4-BE49-F238E27FC236}">
                <a16:creationId xmlns:a16="http://schemas.microsoft.com/office/drawing/2014/main" id="{D7478EA7-9FD4-4402-AF19-D106777679E9}"/>
              </a:ext>
            </a:extLst>
          </p:cNvPr>
          <p:cNvPicPr>
            <a:picLocks noChangeAspect="1" noChangeArrowheads="1"/>
          </p:cNvPicPr>
          <p:nvPr/>
        </p:nvPicPr>
        <p:blipFill rotWithShape="1">
          <a:blip r:embed="rId53" cstate="print">
            <a:extLst>
              <a:ext uri="{28A0092B-C50C-407E-A947-70E740481C1C}">
                <a14:useLocalDpi xmlns:a14="http://schemas.microsoft.com/office/drawing/2010/main" val="0"/>
              </a:ext>
            </a:extLst>
          </a:blip>
          <a:srcRect l="11892" t="1" r="9911" b="12513"/>
          <a:stretch/>
        </p:blipFill>
        <p:spPr bwMode="auto">
          <a:xfrm>
            <a:off x="8443664" y="1301279"/>
            <a:ext cx="552739" cy="144737"/>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4">
            <a:extLst>
              <a:ext uri="{FF2B5EF4-FFF2-40B4-BE49-F238E27FC236}">
                <a16:creationId xmlns:a16="http://schemas.microsoft.com/office/drawing/2014/main" id="{2416E191-BE29-4A07-EFE7-CD9ABE69D240}"/>
              </a:ext>
            </a:extLst>
          </p:cNvPr>
          <p:cNvPicPr>
            <a:picLocks noChangeAspect="1" noChangeArrowheads="1"/>
          </p:cNvPicPr>
          <p:nvPr/>
        </p:nvPicPr>
        <p:blipFill rotWithShape="1">
          <a:blip r:embed="rId54" cstate="print">
            <a:extLst>
              <a:ext uri="{28A0092B-C50C-407E-A947-70E740481C1C}">
                <a14:useLocalDpi xmlns:a14="http://schemas.microsoft.com/office/drawing/2010/main" val="0"/>
              </a:ext>
            </a:extLst>
          </a:blip>
          <a:srcRect t="13251" b="16205"/>
          <a:stretch/>
        </p:blipFill>
        <p:spPr bwMode="auto">
          <a:xfrm>
            <a:off x="8427653" y="1505240"/>
            <a:ext cx="541957" cy="191457"/>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12">
            <a:extLst>
              <a:ext uri="{FF2B5EF4-FFF2-40B4-BE49-F238E27FC236}">
                <a16:creationId xmlns:a16="http://schemas.microsoft.com/office/drawing/2014/main" id="{A758F8E7-C806-6521-F907-4DCBF814A227}"/>
              </a:ext>
            </a:extLst>
          </p:cNvPr>
          <p:cNvPicPr>
            <a:picLocks noChangeAspect="1" noChangeArrowheads="1"/>
          </p:cNvPicPr>
          <p:nvPr/>
        </p:nvPicPr>
        <p:blipFill rotWithShape="1">
          <a:blip r:embed="rId55" cstate="print">
            <a:extLst>
              <a:ext uri="{28A0092B-C50C-407E-A947-70E740481C1C}">
                <a14:useLocalDpi xmlns:a14="http://schemas.microsoft.com/office/drawing/2010/main" val="0"/>
              </a:ext>
            </a:extLst>
          </a:blip>
          <a:srcRect l="4185" t="7075" r="-6634" b="-13383"/>
          <a:stretch/>
        </p:blipFill>
        <p:spPr bwMode="auto">
          <a:xfrm>
            <a:off x="8500400" y="2000807"/>
            <a:ext cx="443525" cy="182887"/>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2">
            <a:extLst>
              <a:ext uri="{FF2B5EF4-FFF2-40B4-BE49-F238E27FC236}">
                <a16:creationId xmlns:a16="http://schemas.microsoft.com/office/drawing/2014/main" id="{6258DA9B-227C-EC5A-07AC-78E100EA9026}"/>
              </a:ext>
            </a:extLst>
          </p:cNvPr>
          <p:cNvPicPr>
            <a:picLocks noChangeAspect="1" noChangeArrowheads="1"/>
          </p:cNvPicPr>
          <p:nvPr/>
        </p:nvPicPr>
        <p:blipFill rotWithShape="1">
          <a:blip r:embed="rId56" cstate="print">
            <a:extLst>
              <a:ext uri="{28A0092B-C50C-407E-A947-70E740481C1C}">
                <a14:useLocalDpi xmlns:a14="http://schemas.microsoft.com/office/drawing/2010/main" val="0"/>
              </a:ext>
            </a:extLst>
          </a:blip>
          <a:srcRect l="11710" t="15729" r="13723" b="13723"/>
          <a:stretch/>
        </p:blipFill>
        <p:spPr bwMode="auto">
          <a:xfrm>
            <a:off x="9144838" y="1273637"/>
            <a:ext cx="218976" cy="207172"/>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4">
            <a:extLst>
              <a:ext uri="{FF2B5EF4-FFF2-40B4-BE49-F238E27FC236}">
                <a16:creationId xmlns:a16="http://schemas.microsoft.com/office/drawing/2014/main" id="{5C13BD4D-9A76-1A80-712F-3A636E57FE62}"/>
              </a:ext>
            </a:extLst>
          </p:cNvPr>
          <p:cNvPicPr>
            <a:picLocks noChangeAspect="1" noChangeArrowheads="1"/>
          </p:cNvPicPr>
          <p:nvPr/>
        </p:nvPicPr>
        <p:blipFill rotWithShape="1">
          <a:blip r:embed="rId57" cstate="print">
            <a:extLst>
              <a:ext uri="{28A0092B-C50C-407E-A947-70E740481C1C}">
                <a14:useLocalDpi xmlns:a14="http://schemas.microsoft.com/office/drawing/2010/main" val="0"/>
              </a:ext>
            </a:extLst>
          </a:blip>
          <a:srcRect l="18318" t="38223" r="20109" b="38223"/>
          <a:stretch/>
        </p:blipFill>
        <p:spPr bwMode="auto">
          <a:xfrm>
            <a:off x="9043836" y="1544724"/>
            <a:ext cx="447385" cy="171140"/>
          </a:xfrm>
          <a:prstGeom prst="rect">
            <a:avLst/>
          </a:prstGeom>
          <a:noFill/>
          <a:extLst>
            <a:ext uri="{909E8E84-426E-40DD-AFC4-6F175D3DCCD1}">
              <a14:hiddenFill xmlns:a14="http://schemas.microsoft.com/office/drawing/2010/main">
                <a:solidFill>
                  <a:srgbClr val="FFFFFF"/>
                </a:solidFill>
              </a14:hiddenFill>
            </a:ext>
          </a:extLst>
        </p:spPr>
      </p:pic>
      <p:pic>
        <p:nvPicPr>
          <p:cNvPr id="114" name="Picture 8" descr="Fundación ESADE">
            <a:extLst>
              <a:ext uri="{FF2B5EF4-FFF2-40B4-BE49-F238E27FC236}">
                <a16:creationId xmlns:a16="http://schemas.microsoft.com/office/drawing/2014/main" id="{8867019A-46CF-5BB2-9681-9F3485D3A52B}"/>
              </a:ext>
            </a:extLst>
          </p:cNvPr>
          <p:cNvPicPr>
            <a:picLocks noChangeAspect="1" noChangeArrowheads="1"/>
          </p:cNvPicPr>
          <p:nvPr/>
        </p:nvPicPr>
        <p:blipFill>
          <a:blip r:embed="rId58" cstate="print">
            <a:extLst>
              <a:ext uri="{28A0092B-C50C-407E-A947-70E740481C1C}">
                <a14:useLocalDpi xmlns:a14="http://schemas.microsoft.com/office/drawing/2010/main" val="0"/>
              </a:ext>
            </a:extLst>
          </a:blip>
          <a:srcRect/>
          <a:stretch>
            <a:fillRect/>
          </a:stretch>
        </p:blipFill>
        <p:spPr bwMode="auto">
          <a:xfrm>
            <a:off x="9093473" y="1740892"/>
            <a:ext cx="325516" cy="215218"/>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2">
            <a:extLst>
              <a:ext uri="{FF2B5EF4-FFF2-40B4-BE49-F238E27FC236}">
                <a16:creationId xmlns:a16="http://schemas.microsoft.com/office/drawing/2014/main" id="{546564AE-2F9B-06AD-53B2-EC4ECCECC628}"/>
              </a:ext>
            </a:extLst>
          </p:cNvPr>
          <p:cNvPicPr>
            <a:picLocks noChangeAspect="1" noChangeArrowheads="1"/>
          </p:cNvPicPr>
          <p:nvPr/>
        </p:nvPicPr>
        <p:blipFill>
          <a:blip r:embed="rId59" cstate="print">
            <a:extLst>
              <a:ext uri="{28A0092B-C50C-407E-A947-70E740481C1C}">
                <a14:useLocalDpi xmlns:a14="http://schemas.microsoft.com/office/drawing/2010/main" val="0"/>
              </a:ext>
            </a:extLst>
          </a:blip>
          <a:srcRect/>
          <a:stretch>
            <a:fillRect/>
          </a:stretch>
        </p:blipFill>
        <p:spPr bwMode="auto">
          <a:xfrm>
            <a:off x="4061465" y="896445"/>
            <a:ext cx="726923" cy="232385"/>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8" descr="TMB App (Metro Bus Barcelona) - Aplicaciones en Google Play">
            <a:extLst>
              <a:ext uri="{FF2B5EF4-FFF2-40B4-BE49-F238E27FC236}">
                <a16:creationId xmlns:a16="http://schemas.microsoft.com/office/drawing/2014/main" id="{A321546A-A24F-FB9B-80CF-55BF9A529B23}"/>
              </a:ext>
            </a:extLst>
          </p:cNvPr>
          <p:cNvPicPr>
            <a:picLocks noChangeAspect="1" noChangeArrowheads="1"/>
          </p:cNvPicPr>
          <p:nvPr/>
        </p:nvPicPr>
        <p:blipFill>
          <a:blip r:embed="rId60" cstate="print">
            <a:extLst>
              <a:ext uri="{28A0092B-C50C-407E-A947-70E740481C1C}">
                <a14:useLocalDpi xmlns:a14="http://schemas.microsoft.com/office/drawing/2010/main" val="0"/>
              </a:ext>
            </a:extLst>
          </a:blip>
          <a:srcRect/>
          <a:stretch>
            <a:fillRect/>
          </a:stretch>
        </p:blipFill>
        <p:spPr bwMode="auto">
          <a:xfrm>
            <a:off x="9814619" y="1580842"/>
            <a:ext cx="280722" cy="280722"/>
          </a:xfrm>
          <a:prstGeom prst="rect">
            <a:avLst/>
          </a:prstGeom>
          <a:noFill/>
          <a:extLst>
            <a:ext uri="{909E8E84-426E-40DD-AFC4-6F175D3DCCD1}">
              <a14:hiddenFill xmlns:a14="http://schemas.microsoft.com/office/drawing/2010/main">
                <a:solidFill>
                  <a:srgbClr val="FFFFFF"/>
                </a:solidFill>
              </a14:hiddenFill>
            </a:ext>
          </a:extLst>
        </p:spPr>
      </p:pic>
      <p:cxnSp>
        <p:nvCxnSpPr>
          <p:cNvPr id="136" name="Conector recto 135">
            <a:extLst>
              <a:ext uri="{FF2B5EF4-FFF2-40B4-BE49-F238E27FC236}">
                <a16:creationId xmlns:a16="http://schemas.microsoft.com/office/drawing/2014/main" id="{86DD063B-A45D-778E-F418-8EB2F33B186E}"/>
              </a:ext>
            </a:extLst>
          </p:cNvPr>
          <p:cNvCxnSpPr>
            <a:cxnSpLocks/>
          </p:cNvCxnSpPr>
          <p:nvPr/>
        </p:nvCxnSpPr>
        <p:spPr>
          <a:xfrm>
            <a:off x="1498109" y="4712018"/>
            <a:ext cx="0" cy="771912"/>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137" name="Conector recto 136">
            <a:extLst>
              <a:ext uri="{FF2B5EF4-FFF2-40B4-BE49-F238E27FC236}">
                <a16:creationId xmlns:a16="http://schemas.microsoft.com/office/drawing/2014/main" id="{EF5C7D07-C960-5B8C-1DB0-3CE142B85D9F}"/>
              </a:ext>
            </a:extLst>
          </p:cNvPr>
          <p:cNvCxnSpPr>
            <a:cxnSpLocks/>
          </p:cNvCxnSpPr>
          <p:nvPr/>
        </p:nvCxnSpPr>
        <p:spPr>
          <a:xfrm>
            <a:off x="1498109" y="5660792"/>
            <a:ext cx="0" cy="771912"/>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138" name="Conector recto 137">
            <a:extLst>
              <a:ext uri="{FF2B5EF4-FFF2-40B4-BE49-F238E27FC236}">
                <a16:creationId xmlns:a16="http://schemas.microsoft.com/office/drawing/2014/main" id="{12E3264A-311E-EFE9-AA7A-1EDF22A909D8}"/>
              </a:ext>
            </a:extLst>
          </p:cNvPr>
          <p:cNvCxnSpPr>
            <a:cxnSpLocks/>
          </p:cNvCxnSpPr>
          <p:nvPr/>
        </p:nvCxnSpPr>
        <p:spPr>
          <a:xfrm>
            <a:off x="5985784" y="4712018"/>
            <a:ext cx="0" cy="771912"/>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139" name="96 CuadroTexto">
            <a:extLst>
              <a:ext uri="{FF2B5EF4-FFF2-40B4-BE49-F238E27FC236}">
                <a16:creationId xmlns:a16="http://schemas.microsoft.com/office/drawing/2014/main" id="{6534B88E-A902-61C9-3C57-D3F996FD5AA8}"/>
              </a:ext>
            </a:extLst>
          </p:cNvPr>
          <p:cNvSpPr txBox="1"/>
          <p:nvPr/>
        </p:nvSpPr>
        <p:spPr>
          <a:xfrm>
            <a:off x="6518988" y="4739007"/>
            <a:ext cx="1294208" cy="307777"/>
          </a:xfrm>
          <a:prstGeom prst="rect">
            <a:avLst/>
          </a:prstGeom>
          <a:noFill/>
        </p:spPr>
        <p:txBody>
          <a:bodyPr wrap="square" rtlCol="0">
            <a:spAutoFit/>
          </a:bodyPr>
          <a:lstStyle>
            <a:defPPr>
              <a:defRPr lang="es-ES_tradnl"/>
            </a:defPPr>
            <a:lvl1pPr algn="ctr" rtl="0" fontAlgn="base">
              <a:spcBef>
                <a:spcPct val="0"/>
              </a:spcBef>
              <a:spcAft>
                <a:spcPct val="0"/>
              </a:spcAft>
              <a:defRPr sz="1200" b="1" kern="1200">
                <a:solidFill>
                  <a:schemeClr val="tx1"/>
                </a:solidFill>
                <a:latin typeface="Arial" charset="0"/>
                <a:ea typeface="+mn-ea"/>
                <a:cs typeface="+mn-cs"/>
              </a:defRPr>
            </a:lvl1pPr>
            <a:lvl2pPr marL="457200" algn="ctr" rtl="0" fontAlgn="base">
              <a:spcBef>
                <a:spcPct val="0"/>
              </a:spcBef>
              <a:spcAft>
                <a:spcPct val="0"/>
              </a:spcAft>
              <a:defRPr sz="1200" b="1" kern="1200">
                <a:solidFill>
                  <a:schemeClr val="tx1"/>
                </a:solidFill>
                <a:latin typeface="Arial" charset="0"/>
                <a:ea typeface="+mn-ea"/>
                <a:cs typeface="+mn-cs"/>
              </a:defRPr>
            </a:lvl2pPr>
            <a:lvl3pPr marL="914400" algn="ctr" rtl="0" fontAlgn="base">
              <a:spcBef>
                <a:spcPct val="0"/>
              </a:spcBef>
              <a:spcAft>
                <a:spcPct val="0"/>
              </a:spcAft>
              <a:defRPr sz="1200" b="1" kern="1200">
                <a:solidFill>
                  <a:schemeClr val="tx1"/>
                </a:solidFill>
                <a:latin typeface="Arial" charset="0"/>
                <a:ea typeface="+mn-ea"/>
                <a:cs typeface="+mn-cs"/>
              </a:defRPr>
            </a:lvl3pPr>
            <a:lvl4pPr marL="1371600" algn="ctr" rtl="0" fontAlgn="base">
              <a:spcBef>
                <a:spcPct val="0"/>
              </a:spcBef>
              <a:spcAft>
                <a:spcPct val="0"/>
              </a:spcAft>
              <a:defRPr sz="1200" b="1" kern="1200">
                <a:solidFill>
                  <a:schemeClr val="tx1"/>
                </a:solidFill>
                <a:latin typeface="Arial" charset="0"/>
                <a:ea typeface="+mn-ea"/>
                <a:cs typeface="+mn-cs"/>
              </a:defRPr>
            </a:lvl4pPr>
            <a:lvl5pPr marL="1828800" algn="ctr" rtl="0" fontAlgn="base">
              <a:spcBef>
                <a:spcPct val="0"/>
              </a:spcBef>
              <a:spcAft>
                <a:spcPct val="0"/>
              </a:spcAft>
              <a:defRPr sz="1200" b="1" kern="1200">
                <a:solidFill>
                  <a:schemeClr val="tx1"/>
                </a:solidFill>
                <a:latin typeface="Arial" charset="0"/>
                <a:ea typeface="+mn-ea"/>
                <a:cs typeface="+mn-cs"/>
              </a:defRPr>
            </a:lvl5pPr>
            <a:lvl6pPr marL="2286000" algn="l" defTabSz="914400" rtl="0" eaLnBrk="1" latinLnBrk="0" hangingPunct="1">
              <a:defRPr sz="1200" b="1" kern="1200">
                <a:solidFill>
                  <a:schemeClr val="tx1"/>
                </a:solidFill>
                <a:latin typeface="Arial" charset="0"/>
                <a:ea typeface="+mn-ea"/>
                <a:cs typeface="+mn-cs"/>
              </a:defRPr>
            </a:lvl6pPr>
            <a:lvl7pPr marL="2743200" algn="l" defTabSz="914400" rtl="0" eaLnBrk="1" latinLnBrk="0" hangingPunct="1">
              <a:defRPr sz="1200" b="1" kern="1200">
                <a:solidFill>
                  <a:schemeClr val="tx1"/>
                </a:solidFill>
                <a:latin typeface="Arial" charset="0"/>
                <a:ea typeface="+mn-ea"/>
                <a:cs typeface="+mn-cs"/>
              </a:defRPr>
            </a:lvl7pPr>
            <a:lvl8pPr marL="3200400" algn="l" defTabSz="914400" rtl="0" eaLnBrk="1" latinLnBrk="0" hangingPunct="1">
              <a:defRPr sz="1200" b="1" kern="1200">
                <a:solidFill>
                  <a:schemeClr val="tx1"/>
                </a:solidFill>
                <a:latin typeface="Arial" charset="0"/>
                <a:ea typeface="+mn-ea"/>
                <a:cs typeface="+mn-cs"/>
              </a:defRPr>
            </a:lvl8pPr>
            <a:lvl9pPr marL="3657600" algn="l" defTabSz="914400" rtl="0" eaLnBrk="1" latinLnBrk="0" hangingPunct="1">
              <a:defRPr sz="1200" b="1" kern="1200">
                <a:solidFill>
                  <a:schemeClr val="tx1"/>
                </a:solidFill>
                <a:latin typeface="Arial" charset="0"/>
                <a:ea typeface="+mn-ea"/>
                <a:cs typeface="+mn-cs"/>
              </a:defRPr>
            </a:lvl9pPr>
          </a:lstStyle>
          <a:p>
            <a:pPr lvl="0" algn="l">
              <a:defRPr/>
            </a:pPr>
            <a:r>
              <a:rPr lang="en-GB" sz="700" noProof="0">
                <a:latin typeface="Droid Sans" charset="0"/>
                <a:cs typeface="Droid Sans" charset="0"/>
                <a:sym typeface="Droid Sans" charset="0"/>
              </a:rPr>
              <a:t>Sales, offers and income statement reports</a:t>
            </a:r>
          </a:p>
        </p:txBody>
      </p:sp>
      <p:sp>
        <p:nvSpPr>
          <p:cNvPr id="140" name="96 CuadroTexto">
            <a:extLst>
              <a:ext uri="{FF2B5EF4-FFF2-40B4-BE49-F238E27FC236}">
                <a16:creationId xmlns:a16="http://schemas.microsoft.com/office/drawing/2014/main" id="{DE63ADF2-A478-BDC1-B618-908404B1C5D4}"/>
              </a:ext>
            </a:extLst>
          </p:cNvPr>
          <p:cNvSpPr txBox="1"/>
          <p:nvPr/>
        </p:nvSpPr>
        <p:spPr>
          <a:xfrm>
            <a:off x="6519217" y="5141575"/>
            <a:ext cx="1317941" cy="415498"/>
          </a:xfrm>
          <a:prstGeom prst="rect">
            <a:avLst/>
          </a:prstGeom>
          <a:noFill/>
        </p:spPr>
        <p:txBody>
          <a:bodyPr wrap="square" rtlCol="0">
            <a:spAutoFit/>
          </a:bodyPr>
          <a:lstStyle>
            <a:defPPr>
              <a:defRPr lang="es-ES_tradnl"/>
            </a:defPPr>
            <a:lvl1pPr algn="ctr" rtl="0" fontAlgn="base">
              <a:spcBef>
                <a:spcPct val="0"/>
              </a:spcBef>
              <a:spcAft>
                <a:spcPct val="0"/>
              </a:spcAft>
              <a:defRPr sz="1200" b="1" kern="1200">
                <a:solidFill>
                  <a:schemeClr val="tx1"/>
                </a:solidFill>
                <a:latin typeface="Arial" charset="0"/>
                <a:ea typeface="+mn-ea"/>
                <a:cs typeface="+mn-cs"/>
              </a:defRPr>
            </a:lvl1pPr>
            <a:lvl2pPr marL="457200" algn="ctr" rtl="0" fontAlgn="base">
              <a:spcBef>
                <a:spcPct val="0"/>
              </a:spcBef>
              <a:spcAft>
                <a:spcPct val="0"/>
              </a:spcAft>
              <a:defRPr sz="1200" b="1" kern="1200">
                <a:solidFill>
                  <a:schemeClr val="tx1"/>
                </a:solidFill>
                <a:latin typeface="Arial" charset="0"/>
                <a:ea typeface="+mn-ea"/>
                <a:cs typeface="+mn-cs"/>
              </a:defRPr>
            </a:lvl2pPr>
            <a:lvl3pPr marL="914400" algn="ctr" rtl="0" fontAlgn="base">
              <a:spcBef>
                <a:spcPct val="0"/>
              </a:spcBef>
              <a:spcAft>
                <a:spcPct val="0"/>
              </a:spcAft>
              <a:defRPr sz="1200" b="1" kern="1200">
                <a:solidFill>
                  <a:schemeClr val="tx1"/>
                </a:solidFill>
                <a:latin typeface="Arial" charset="0"/>
                <a:ea typeface="+mn-ea"/>
                <a:cs typeface="+mn-cs"/>
              </a:defRPr>
            </a:lvl3pPr>
            <a:lvl4pPr marL="1371600" algn="ctr" rtl="0" fontAlgn="base">
              <a:spcBef>
                <a:spcPct val="0"/>
              </a:spcBef>
              <a:spcAft>
                <a:spcPct val="0"/>
              </a:spcAft>
              <a:defRPr sz="1200" b="1" kern="1200">
                <a:solidFill>
                  <a:schemeClr val="tx1"/>
                </a:solidFill>
                <a:latin typeface="Arial" charset="0"/>
                <a:ea typeface="+mn-ea"/>
                <a:cs typeface="+mn-cs"/>
              </a:defRPr>
            </a:lvl4pPr>
            <a:lvl5pPr marL="1828800" algn="ctr" rtl="0" fontAlgn="base">
              <a:spcBef>
                <a:spcPct val="0"/>
              </a:spcBef>
              <a:spcAft>
                <a:spcPct val="0"/>
              </a:spcAft>
              <a:defRPr sz="1200" b="1" kern="1200">
                <a:solidFill>
                  <a:schemeClr val="tx1"/>
                </a:solidFill>
                <a:latin typeface="Arial" charset="0"/>
                <a:ea typeface="+mn-ea"/>
                <a:cs typeface="+mn-cs"/>
              </a:defRPr>
            </a:lvl5pPr>
            <a:lvl6pPr marL="2286000" algn="l" defTabSz="914400" rtl="0" eaLnBrk="1" latinLnBrk="0" hangingPunct="1">
              <a:defRPr sz="1200" b="1" kern="1200">
                <a:solidFill>
                  <a:schemeClr val="tx1"/>
                </a:solidFill>
                <a:latin typeface="Arial" charset="0"/>
                <a:ea typeface="+mn-ea"/>
                <a:cs typeface="+mn-cs"/>
              </a:defRPr>
            </a:lvl6pPr>
            <a:lvl7pPr marL="2743200" algn="l" defTabSz="914400" rtl="0" eaLnBrk="1" latinLnBrk="0" hangingPunct="1">
              <a:defRPr sz="1200" b="1" kern="1200">
                <a:solidFill>
                  <a:schemeClr val="tx1"/>
                </a:solidFill>
                <a:latin typeface="Arial" charset="0"/>
                <a:ea typeface="+mn-ea"/>
                <a:cs typeface="+mn-cs"/>
              </a:defRPr>
            </a:lvl7pPr>
            <a:lvl8pPr marL="3200400" algn="l" defTabSz="914400" rtl="0" eaLnBrk="1" latinLnBrk="0" hangingPunct="1">
              <a:defRPr sz="1200" b="1" kern="1200">
                <a:solidFill>
                  <a:schemeClr val="tx1"/>
                </a:solidFill>
                <a:latin typeface="Arial" charset="0"/>
                <a:ea typeface="+mn-ea"/>
                <a:cs typeface="+mn-cs"/>
              </a:defRPr>
            </a:lvl8pPr>
            <a:lvl9pPr marL="3657600" algn="l" defTabSz="914400" rtl="0" eaLnBrk="1" latinLnBrk="0" hangingPunct="1">
              <a:defRPr sz="1200" b="1" kern="1200">
                <a:solidFill>
                  <a:schemeClr val="tx1"/>
                </a:solidFill>
                <a:latin typeface="Arial" charset="0"/>
                <a:ea typeface="+mn-ea"/>
                <a:cs typeface="+mn-cs"/>
              </a:defRPr>
            </a:lvl9pPr>
          </a:lstStyle>
          <a:p>
            <a:pPr lvl="0" algn="l">
              <a:defRPr/>
            </a:pPr>
            <a:r>
              <a:rPr lang="en-GB" sz="700" noProof="0">
                <a:latin typeface="Droid Sans" charset="0"/>
                <a:cs typeface="Droid Sans" charset="0"/>
                <a:sym typeface="Droid Sans" charset="0"/>
              </a:rPr>
              <a:t>Reporting and Strategic Indicators for Management</a:t>
            </a:r>
          </a:p>
        </p:txBody>
      </p:sp>
      <p:pic>
        <p:nvPicPr>
          <p:cNvPr id="141" name="Picture 11">
            <a:extLst>
              <a:ext uri="{FF2B5EF4-FFF2-40B4-BE49-F238E27FC236}">
                <a16:creationId xmlns:a16="http://schemas.microsoft.com/office/drawing/2014/main" id="{CC7CD9EA-3B47-265D-711E-BC99CE126B75}"/>
              </a:ext>
            </a:extLst>
          </p:cNvPr>
          <p:cNvPicPr>
            <a:picLocks noChangeAspect="1" noChangeArrowheads="1"/>
          </p:cNvPicPr>
          <p:nvPr/>
        </p:nvPicPr>
        <p:blipFill>
          <a:blip r:embed="rId61" cstate="screen"/>
          <a:srcRect l="2966"/>
          <a:stretch>
            <a:fillRect/>
          </a:stretch>
        </p:blipFill>
        <p:spPr bwMode="auto">
          <a:xfrm>
            <a:off x="6085509" y="5185329"/>
            <a:ext cx="451714" cy="215783"/>
          </a:xfrm>
          <a:prstGeom prst="rect">
            <a:avLst/>
          </a:prstGeom>
          <a:noFill/>
          <a:ln w="9525">
            <a:noFill/>
            <a:miter lim="800000"/>
            <a:headEnd/>
            <a:tailEnd/>
          </a:ln>
        </p:spPr>
      </p:pic>
      <p:pic>
        <p:nvPicPr>
          <p:cNvPr id="142" name="Imagen 1" descr="Descripción: Descripción: Descripción: cid:image001.png@01CD3F4D.06FF78D0">
            <a:extLst>
              <a:ext uri="{FF2B5EF4-FFF2-40B4-BE49-F238E27FC236}">
                <a16:creationId xmlns:a16="http://schemas.microsoft.com/office/drawing/2014/main" id="{40D6B1ED-C87C-112D-45CC-7528AFFCC0E3}"/>
              </a:ext>
            </a:extLst>
          </p:cNvPr>
          <p:cNvPicPr>
            <a:picLocks noChangeAspect="1" noChangeArrowheads="1"/>
          </p:cNvPicPr>
          <p:nvPr/>
        </p:nvPicPr>
        <p:blipFill>
          <a:blip r:embed="rId62" cstate="screen"/>
          <a:srcRect/>
          <a:stretch>
            <a:fillRect/>
          </a:stretch>
        </p:blipFill>
        <p:spPr bwMode="auto">
          <a:xfrm>
            <a:off x="7866885" y="4757735"/>
            <a:ext cx="412883" cy="290640"/>
          </a:xfrm>
          <a:prstGeom prst="rect">
            <a:avLst/>
          </a:prstGeom>
          <a:noFill/>
          <a:ln w="9525">
            <a:noFill/>
            <a:miter lim="800000"/>
            <a:headEnd/>
            <a:tailEnd/>
          </a:ln>
        </p:spPr>
      </p:pic>
      <p:sp>
        <p:nvSpPr>
          <p:cNvPr id="143" name="96 CuadroTexto">
            <a:extLst>
              <a:ext uri="{FF2B5EF4-FFF2-40B4-BE49-F238E27FC236}">
                <a16:creationId xmlns:a16="http://schemas.microsoft.com/office/drawing/2014/main" id="{E800BEA6-F6C8-57A1-296E-65B919DB5D3F}"/>
              </a:ext>
            </a:extLst>
          </p:cNvPr>
          <p:cNvSpPr txBox="1"/>
          <p:nvPr/>
        </p:nvSpPr>
        <p:spPr>
          <a:xfrm>
            <a:off x="8210213" y="4742187"/>
            <a:ext cx="1620797" cy="307777"/>
          </a:xfrm>
          <a:prstGeom prst="rect">
            <a:avLst/>
          </a:prstGeom>
          <a:noFill/>
        </p:spPr>
        <p:txBody>
          <a:bodyPr wrap="square" rtlCol="0">
            <a:spAutoFit/>
          </a:bodyPr>
          <a:lstStyle>
            <a:defPPr>
              <a:defRPr lang="es-ES_tradnl"/>
            </a:defPPr>
            <a:lvl1pPr algn="ctr" rtl="0" fontAlgn="base">
              <a:spcBef>
                <a:spcPct val="0"/>
              </a:spcBef>
              <a:spcAft>
                <a:spcPct val="0"/>
              </a:spcAft>
              <a:defRPr sz="1200" b="1" kern="1200">
                <a:solidFill>
                  <a:schemeClr val="tx1"/>
                </a:solidFill>
                <a:latin typeface="Arial" charset="0"/>
                <a:ea typeface="+mn-ea"/>
                <a:cs typeface="+mn-cs"/>
              </a:defRPr>
            </a:lvl1pPr>
            <a:lvl2pPr marL="457200" algn="ctr" rtl="0" fontAlgn="base">
              <a:spcBef>
                <a:spcPct val="0"/>
              </a:spcBef>
              <a:spcAft>
                <a:spcPct val="0"/>
              </a:spcAft>
              <a:defRPr sz="1200" b="1" kern="1200">
                <a:solidFill>
                  <a:schemeClr val="tx1"/>
                </a:solidFill>
                <a:latin typeface="Arial" charset="0"/>
                <a:ea typeface="+mn-ea"/>
                <a:cs typeface="+mn-cs"/>
              </a:defRPr>
            </a:lvl2pPr>
            <a:lvl3pPr marL="914400" algn="ctr" rtl="0" fontAlgn="base">
              <a:spcBef>
                <a:spcPct val="0"/>
              </a:spcBef>
              <a:spcAft>
                <a:spcPct val="0"/>
              </a:spcAft>
              <a:defRPr sz="1200" b="1" kern="1200">
                <a:solidFill>
                  <a:schemeClr val="tx1"/>
                </a:solidFill>
                <a:latin typeface="Arial" charset="0"/>
                <a:ea typeface="+mn-ea"/>
                <a:cs typeface="+mn-cs"/>
              </a:defRPr>
            </a:lvl3pPr>
            <a:lvl4pPr marL="1371600" algn="ctr" rtl="0" fontAlgn="base">
              <a:spcBef>
                <a:spcPct val="0"/>
              </a:spcBef>
              <a:spcAft>
                <a:spcPct val="0"/>
              </a:spcAft>
              <a:defRPr sz="1200" b="1" kern="1200">
                <a:solidFill>
                  <a:schemeClr val="tx1"/>
                </a:solidFill>
                <a:latin typeface="Arial" charset="0"/>
                <a:ea typeface="+mn-ea"/>
                <a:cs typeface="+mn-cs"/>
              </a:defRPr>
            </a:lvl4pPr>
            <a:lvl5pPr marL="1828800" algn="ctr" rtl="0" fontAlgn="base">
              <a:spcBef>
                <a:spcPct val="0"/>
              </a:spcBef>
              <a:spcAft>
                <a:spcPct val="0"/>
              </a:spcAft>
              <a:defRPr sz="1200" b="1" kern="1200">
                <a:solidFill>
                  <a:schemeClr val="tx1"/>
                </a:solidFill>
                <a:latin typeface="Arial" charset="0"/>
                <a:ea typeface="+mn-ea"/>
                <a:cs typeface="+mn-cs"/>
              </a:defRPr>
            </a:lvl5pPr>
            <a:lvl6pPr marL="2286000" algn="l" defTabSz="914400" rtl="0" eaLnBrk="1" latinLnBrk="0" hangingPunct="1">
              <a:defRPr sz="1200" b="1" kern="1200">
                <a:solidFill>
                  <a:schemeClr val="tx1"/>
                </a:solidFill>
                <a:latin typeface="Arial" charset="0"/>
                <a:ea typeface="+mn-ea"/>
                <a:cs typeface="+mn-cs"/>
              </a:defRPr>
            </a:lvl6pPr>
            <a:lvl7pPr marL="2743200" algn="l" defTabSz="914400" rtl="0" eaLnBrk="1" latinLnBrk="0" hangingPunct="1">
              <a:defRPr sz="1200" b="1" kern="1200">
                <a:solidFill>
                  <a:schemeClr val="tx1"/>
                </a:solidFill>
                <a:latin typeface="Arial" charset="0"/>
                <a:ea typeface="+mn-ea"/>
                <a:cs typeface="+mn-cs"/>
              </a:defRPr>
            </a:lvl7pPr>
            <a:lvl8pPr marL="3200400" algn="l" defTabSz="914400" rtl="0" eaLnBrk="1" latinLnBrk="0" hangingPunct="1">
              <a:defRPr sz="1200" b="1" kern="1200">
                <a:solidFill>
                  <a:schemeClr val="tx1"/>
                </a:solidFill>
                <a:latin typeface="Arial" charset="0"/>
                <a:ea typeface="+mn-ea"/>
                <a:cs typeface="+mn-cs"/>
              </a:defRPr>
            </a:lvl8pPr>
            <a:lvl9pPr marL="3657600" algn="l" defTabSz="914400" rtl="0" eaLnBrk="1" latinLnBrk="0" hangingPunct="1">
              <a:defRPr sz="1200" b="1" kern="1200">
                <a:solidFill>
                  <a:schemeClr val="tx1"/>
                </a:solidFill>
                <a:latin typeface="Arial" charset="0"/>
                <a:ea typeface="+mn-ea"/>
                <a:cs typeface="+mn-cs"/>
              </a:defRPr>
            </a:lvl9pPr>
          </a:lstStyle>
          <a:p>
            <a:pPr lvl="0" algn="l">
              <a:defRPr/>
            </a:pPr>
            <a:r>
              <a:rPr lang="en-GB" sz="700" noProof="0">
                <a:latin typeface="Droid Sans" charset="0"/>
                <a:cs typeface="Droid Sans" charset="0"/>
                <a:sym typeface="Droid Sans" charset="0"/>
              </a:rPr>
              <a:t>Dashboards for LNG, HR, IT, Purchasing and Finance.</a:t>
            </a:r>
          </a:p>
        </p:txBody>
      </p:sp>
      <p:pic>
        <p:nvPicPr>
          <p:cNvPr id="144" name="Picture 126">
            <a:extLst>
              <a:ext uri="{FF2B5EF4-FFF2-40B4-BE49-F238E27FC236}">
                <a16:creationId xmlns:a16="http://schemas.microsoft.com/office/drawing/2014/main" id="{6C8979E8-9764-D8C2-CC9E-65200B9F164D}"/>
              </a:ext>
            </a:extLst>
          </p:cNvPr>
          <p:cNvPicPr>
            <a:picLocks noChangeAspect="1" noChangeArrowheads="1"/>
          </p:cNvPicPr>
          <p:nvPr/>
        </p:nvPicPr>
        <p:blipFill>
          <a:blip r:embed="rId63" cstate="screen"/>
          <a:srcRect/>
          <a:stretch>
            <a:fillRect/>
          </a:stretch>
        </p:blipFill>
        <p:spPr bwMode="auto">
          <a:xfrm>
            <a:off x="7853730" y="5198297"/>
            <a:ext cx="387236" cy="204022"/>
          </a:xfrm>
          <a:prstGeom prst="rect">
            <a:avLst/>
          </a:prstGeom>
          <a:noFill/>
          <a:ln w="9525">
            <a:noFill/>
            <a:miter lim="800000"/>
            <a:headEnd/>
            <a:tailEnd/>
          </a:ln>
        </p:spPr>
      </p:pic>
      <p:sp>
        <p:nvSpPr>
          <p:cNvPr id="145" name="96 CuadroTexto">
            <a:extLst>
              <a:ext uri="{FF2B5EF4-FFF2-40B4-BE49-F238E27FC236}">
                <a16:creationId xmlns:a16="http://schemas.microsoft.com/office/drawing/2014/main" id="{F22249D7-90D6-5BB7-4903-5CC8B691106E}"/>
              </a:ext>
            </a:extLst>
          </p:cNvPr>
          <p:cNvSpPr txBox="1"/>
          <p:nvPr/>
        </p:nvSpPr>
        <p:spPr>
          <a:xfrm>
            <a:off x="8210178" y="5141253"/>
            <a:ext cx="1303250" cy="307777"/>
          </a:xfrm>
          <a:prstGeom prst="rect">
            <a:avLst/>
          </a:prstGeom>
          <a:noFill/>
        </p:spPr>
        <p:txBody>
          <a:bodyPr wrap="square" rtlCol="0">
            <a:spAutoFit/>
          </a:bodyPr>
          <a:lstStyle>
            <a:defPPr>
              <a:defRPr lang="es-ES_tradnl"/>
            </a:defPPr>
            <a:lvl1pPr algn="ctr" rtl="0" fontAlgn="base">
              <a:spcBef>
                <a:spcPct val="0"/>
              </a:spcBef>
              <a:spcAft>
                <a:spcPct val="0"/>
              </a:spcAft>
              <a:defRPr sz="1200" b="1" kern="1200">
                <a:solidFill>
                  <a:schemeClr val="tx1"/>
                </a:solidFill>
                <a:latin typeface="Arial" charset="0"/>
                <a:ea typeface="+mn-ea"/>
                <a:cs typeface="+mn-cs"/>
              </a:defRPr>
            </a:lvl1pPr>
            <a:lvl2pPr marL="457200" algn="ctr" rtl="0" fontAlgn="base">
              <a:spcBef>
                <a:spcPct val="0"/>
              </a:spcBef>
              <a:spcAft>
                <a:spcPct val="0"/>
              </a:spcAft>
              <a:defRPr sz="1200" b="1" kern="1200">
                <a:solidFill>
                  <a:schemeClr val="tx1"/>
                </a:solidFill>
                <a:latin typeface="Arial" charset="0"/>
                <a:ea typeface="+mn-ea"/>
                <a:cs typeface="+mn-cs"/>
              </a:defRPr>
            </a:lvl2pPr>
            <a:lvl3pPr marL="914400" algn="ctr" rtl="0" fontAlgn="base">
              <a:spcBef>
                <a:spcPct val="0"/>
              </a:spcBef>
              <a:spcAft>
                <a:spcPct val="0"/>
              </a:spcAft>
              <a:defRPr sz="1200" b="1" kern="1200">
                <a:solidFill>
                  <a:schemeClr val="tx1"/>
                </a:solidFill>
                <a:latin typeface="Arial" charset="0"/>
                <a:ea typeface="+mn-ea"/>
                <a:cs typeface="+mn-cs"/>
              </a:defRPr>
            </a:lvl3pPr>
            <a:lvl4pPr marL="1371600" algn="ctr" rtl="0" fontAlgn="base">
              <a:spcBef>
                <a:spcPct val="0"/>
              </a:spcBef>
              <a:spcAft>
                <a:spcPct val="0"/>
              </a:spcAft>
              <a:defRPr sz="1200" b="1" kern="1200">
                <a:solidFill>
                  <a:schemeClr val="tx1"/>
                </a:solidFill>
                <a:latin typeface="Arial" charset="0"/>
                <a:ea typeface="+mn-ea"/>
                <a:cs typeface="+mn-cs"/>
              </a:defRPr>
            </a:lvl4pPr>
            <a:lvl5pPr marL="1828800" algn="ctr" rtl="0" fontAlgn="base">
              <a:spcBef>
                <a:spcPct val="0"/>
              </a:spcBef>
              <a:spcAft>
                <a:spcPct val="0"/>
              </a:spcAft>
              <a:defRPr sz="1200" b="1" kern="1200">
                <a:solidFill>
                  <a:schemeClr val="tx1"/>
                </a:solidFill>
                <a:latin typeface="Arial" charset="0"/>
                <a:ea typeface="+mn-ea"/>
                <a:cs typeface="+mn-cs"/>
              </a:defRPr>
            </a:lvl5pPr>
            <a:lvl6pPr marL="2286000" algn="l" defTabSz="914400" rtl="0" eaLnBrk="1" latinLnBrk="0" hangingPunct="1">
              <a:defRPr sz="1200" b="1" kern="1200">
                <a:solidFill>
                  <a:schemeClr val="tx1"/>
                </a:solidFill>
                <a:latin typeface="Arial" charset="0"/>
                <a:ea typeface="+mn-ea"/>
                <a:cs typeface="+mn-cs"/>
              </a:defRPr>
            </a:lvl6pPr>
            <a:lvl7pPr marL="2743200" algn="l" defTabSz="914400" rtl="0" eaLnBrk="1" latinLnBrk="0" hangingPunct="1">
              <a:defRPr sz="1200" b="1" kern="1200">
                <a:solidFill>
                  <a:schemeClr val="tx1"/>
                </a:solidFill>
                <a:latin typeface="Arial" charset="0"/>
                <a:ea typeface="+mn-ea"/>
                <a:cs typeface="+mn-cs"/>
              </a:defRPr>
            </a:lvl7pPr>
            <a:lvl8pPr marL="3200400" algn="l" defTabSz="914400" rtl="0" eaLnBrk="1" latinLnBrk="0" hangingPunct="1">
              <a:defRPr sz="1200" b="1" kern="1200">
                <a:solidFill>
                  <a:schemeClr val="tx1"/>
                </a:solidFill>
                <a:latin typeface="Arial" charset="0"/>
                <a:ea typeface="+mn-ea"/>
                <a:cs typeface="+mn-cs"/>
              </a:defRPr>
            </a:lvl8pPr>
            <a:lvl9pPr marL="3657600" algn="l" defTabSz="914400" rtl="0" eaLnBrk="1" latinLnBrk="0" hangingPunct="1">
              <a:defRPr sz="1200" b="1" kern="1200">
                <a:solidFill>
                  <a:schemeClr val="tx1"/>
                </a:solidFill>
                <a:latin typeface="Arial" charset="0"/>
                <a:ea typeface="+mn-ea"/>
                <a:cs typeface="+mn-cs"/>
              </a:defRPr>
            </a:lvl9pPr>
          </a:lstStyle>
          <a:p>
            <a:pPr lvl="0" algn="l">
              <a:defRPr/>
            </a:pPr>
            <a:r>
              <a:rPr lang="en-GB" sz="700" noProof="0">
                <a:latin typeface="Droid Sans" charset="0"/>
                <a:cs typeface="Droid Sans" charset="0"/>
                <a:sym typeface="Droid Sans" charset="0"/>
              </a:rPr>
              <a:t>Engineering Resource Planning</a:t>
            </a:r>
          </a:p>
        </p:txBody>
      </p:sp>
      <p:sp>
        <p:nvSpPr>
          <p:cNvPr id="146" name="96 CuadroTexto">
            <a:extLst>
              <a:ext uri="{FF2B5EF4-FFF2-40B4-BE49-F238E27FC236}">
                <a16:creationId xmlns:a16="http://schemas.microsoft.com/office/drawing/2014/main" id="{59A0D28A-7A72-AB98-78D8-B17311E439BB}"/>
              </a:ext>
            </a:extLst>
          </p:cNvPr>
          <p:cNvSpPr txBox="1"/>
          <p:nvPr/>
        </p:nvSpPr>
        <p:spPr>
          <a:xfrm>
            <a:off x="10172013" y="4737871"/>
            <a:ext cx="1673614" cy="307777"/>
          </a:xfrm>
          <a:prstGeom prst="rect">
            <a:avLst/>
          </a:prstGeom>
          <a:noFill/>
        </p:spPr>
        <p:txBody>
          <a:bodyPr wrap="square" rtlCol="0">
            <a:spAutoFit/>
          </a:bodyPr>
          <a:lstStyle>
            <a:defPPr>
              <a:defRPr lang="es-ES_tradnl"/>
            </a:defPPr>
            <a:lvl1pPr algn="ctr" rtl="0" fontAlgn="base">
              <a:spcBef>
                <a:spcPct val="0"/>
              </a:spcBef>
              <a:spcAft>
                <a:spcPct val="0"/>
              </a:spcAft>
              <a:defRPr sz="1200" b="1" kern="1200">
                <a:solidFill>
                  <a:schemeClr val="tx1"/>
                </a:solidFill>
                <a:latin typeface="Arial" charset="0"/>
                <a:ea typeface="+mn-ea"/>
                <a:cs typeface="+mn-cs"/>
              </a:defRPr>
            </a:lvl1pPr>
            <a:lvl2pPr marL="457200" algn="ctr" rtl="0" fontAlgn="base">
              <a:spcBef>
                <a:spcPct val="0"/>
              </a:spcBef>
              <a:spcAft>
                <a:spcPct val="0"/>
              </a:spcAft>
              <a:defRPr sz="1200" b="1" kern="1200">
                <a:solidFill>
                  <a:schemeClr val="tx1"/>
                </a:solidFill>
                <a:latin typeface="Arial" charset="0"/>
                <a:ea typeface="+mn-ea"/>
                <a:cs typeface="+mn-cs"/>
              </a:defRPr>
            </a:lvl2pPr>
            <a:lvl3pPr marL="914400" algn="ctr" rtl="0" fontAlgn="base">
              <a:spcBef>
                <a:spcPct val="0"/>
              </a:spcBef>
              <a:spcAft>
                <a:spcPct val="0"/>
              </a:spcAft>
              <a:defRPr sz="1200" b="1" kern="1200">
                <a:solidFill>
                  <a:schemeClr val="tx1"/>
                </a:solidFill>
                <a:latin typeface="Arial" charset="0"/>
                <a:ea typeface="+mn-ea"/>
                <a:cs typeface="+mn-cs"/>
              </a:defRPr>
            </a:lvl3pPr>
            <a:lvl4pPr marL="1371600" algn="ctr" rtl="0" fontAlgn="base">
              <a:spcBef>
                <a:spcPct val="0"/>
              </a:spcBef>
              <a:spcAft>
                <a:spcPct val="0"/>
              </a:spcAft>
              <a:defRPr sz="1200" b="1" kern="1200">
                <a:solidFill>
                  <a:schemeClr val="tx1"/>
                </a:solidFill>
                <a:latin typeface="Arial" charset="0"/>
                <a:ea typeface="+mn-ea"/>
                <a:cs typeface="+mn-cs"/>
              </a:defRPr>
            </a:lvl4pPr>
            <a:lvl5pPr marL="1828800" algn="ctr" rtl="0" fontAlgn="base">
              <a:spcBef>
                <a:spcPct val="0"/>
              </a:spcBef>
              <a:spcAft>
                <a:spcPct val="0"/>
              </a:spcAft>
              <a:defRPr sz="1200" b="1" kern="1200">
                <a:solidFill>
                  <a:schemeClr val="tx1"/>
                </a:solidFill>
                <a:latin typeface="Arial" charset="0"/>
                <a:ea typeface="+mn-ea"/>
                <a:cs typeface="+mn-cs"/>
              </a:defRPr>
            </a:lvl5pPr>
            <a:lvl6pPr marL="2286000" algn="l" defTabSz="914400" rtl="0" eaLnBrk="1" latinLnBrk="0" hangingPunct="1">
              <a:defRPr sz="1200" b="1" kern="1200">
                <a:solidFill>
                  <a:schemeClr val="tx1"/>
                </a:solidFill>
                <a:latin typeface="Arial" charset="0"/>
                <a:ea typeface="+mn-ea"/>
                <a:cs typeface="+mn-cs"/>
              </a:defRPr>
            </a:lvl6pPr>
            <a:lvl7pPr marL="2743200" algn="l" defTabSz="914400" rtl="0" eaLnBrk="1" latinLnBrk="0" hangingPunct="1">
              <a:defRPr sz="1200" b="1" kern="1200">
                <a:solidFill>
                  <a:schemeClr val="tx1"/>
                </a:solidFill>
                <a:latin typeface="Arial" charset="0"/>
                <a:ea typeface="+mn-ea"/>
                <a:cs typeface="+mn-cs"/>
              </a:defRPr>
            </a:lvl7pPr>
            <a:lvl8pPr marL="3200400" algn="l" defTabSz="914400" rtl="0" eaLnBrk="1" latinLnBrk="0" hangingPunct="1">
              <a:defRPr sz="1200" b="1" kern="1200">
                <a:solidFill>
                  <a:schemeClr val="tx1"/>
                </a:solidFill>
                <a:latin typeface="Arial" charset="0"/>
                <a:ea typeface="+mn-ea"/>
                <a:cs typeface="+mn-cs"/>
              </a:defRPr>
            </a:lvl8pPr>
            <a:lvl9pPr marL="3657600" algn="l" defTabSz="914400" rtl="0" eaLnBrk="1" latinLnBrk="0" hangingPunct="1">
              <a:defRPr sz="1200" b="1" kern="1200">
                <a:solidFill>
                  <a:schemeClr val="tx1"/>
                </a:solidFill>
                <a:latin typeface="Arial" charset="0"/>
                <a:ea typeface="+mn-ea"/>
                <a:cs typeface="+mn-cs"/>
              </a:defRPr>
            </a:lvl9pPr>
          </a:lstStyle>
          <a:p>
            <a:pPr lvl="0" algn="l">
              <a:defRPr/>
            </a:pPr>
            <a:r>
              <a:rPr lang="en-GB" sz="700" noProof="0">
                <a:latin typeface="Droid Sans" charset="0"/>
                <a:cs typeface="Droid Sans" charset="0"/>
                <a:sym typeface="Droid Sans" charset="0"/>
              </a:rPr>
              <a:t>Budgeting, consolidation, and budget monitoring</a:t>
            </a:r>
          </a:p>
        </p:txBody>
      </p:sp>
      <p:pic>
        <p:nvPicPr>
          <p:cNvPr id="147" name="Picture 2" descr="C:\Users\stratesys\Pictures\Work\Logos\ins_p_444082.png">
            <a:extLst>
              <a:ext uri="{FF2B5EF4-FFF2-40B4-BE49-F238E27FC236}">
                <a16:creationId xmlns:a16="http://schemas.microsoft.com/office/drawing/2014/main" id="{59D377B1-F29A-D0B3-573C-38B0028ED60F}"/>
              </a:ext>
            </a:extLst>
          </p:cNvPr>
          <p:cNvPicPr>
            <a:picLocks noChangeAspect="1" noChangeArrowheads="1"/>
          </p:cNvPicPr>
          <p:nvPr/>
        </p:nvPicPr>
        <p:blipFill>
          <a:blip r:embed="rId64" cstate="screen"/>
          <a:srcRect/>
          <a:stretch>
            <a:fillRect/>
          </a:stretch>
        </p:blipFill>
        <p:spPr bwMode="auto">
          <a:xfrm>
            <a:off x="3386955" y="4774221"/>
            <a:ext cx="442263" cy="241924"/>
          </a:xfrm>
          <a:prstGeom prst="rect">
            <a:avLst/>
          </a:prstGeom>
          <a:noFill/>
        </p:spPr>
      </p:pic>
      <p:sp>
        <p:nvSpPr>
          <p:cNvPr id="148" name="96 CuadroTexto">
            <a:extLst>
              <a:ext uri="{FF2B5EF4-FFF2-40B4-BE49-F238E27FC236}">
                <a16:creationId xmlns:a16="http://schemas.microsoft.com/office/drawing/2014/main" id="{F02594C4-9706-259B-8D12-15DC7D0C2E47}"/>
              </a:ext>
            </a:extLst>
          </p:cNvPr>
          <p:cNvSpPr txBox="1"/>
          <p:nvPr/>
        </p:nvSpPr>
        <p:spPr>
          <a:xfrm>
            <a:off x="3818277" y="4748527"/>
            <a:ext cx="990146" cy="415498"/>
          </a:xfrm>
          <a:prstGeom prst="rect">
            <a:avLst/>
          </a:prstGeom>
          <a:noFill/>
        </p:spPr>
        <p:txBody>
          <a:bodyPr wrap="square" rtlCol="0">
            <a:spAutoFit/>
          </a:bodyPr>
          <a:lstStyle>
            <a:defPPr>
              <a:defRPr lang="es-ES_tradnl"/>
            </a:defPPr>
            <a:lvl1pPr algn="ctr" rtl="0" fontAlgn="base">
              <a:spcBef>
                <a:spcPct val="0"/>
              </a:spcBef>
              <a:spcAft>
                <a:spcPct val="0"/>
              </a:spcAft>
              <a:defRPr sz="1200" b="1" kern="1200">
                <a:solidFill>
                  <a:schemeClr val="tx1"/>
                </a:solidFill>
                <a:latin typeface="Arial" charset="0"/>
                <a:ea typeface="+mn-ea"/>
                <a:cs typeface="+mn-cs"/>
              </a:defRPr>
            </a:lvl1pPr>
            <a:lvl2pPr marL="457200" algn="ctr" rtl="0" fontAlgn="base">
              <a:spcBef>
                <a:spcPct val="0"/>
              </a:spcBef>
              <a:spcAft>
                <a:spcPct val="0"/>
              </a:spcAft>
              <a:defRPr sz="1200" b="1" kern="1200">
                <a:solidFill>
                  <a:schemeClr val="tx1"/>
                </a:solidFill>
                <a:latin typeface="Arial" charset="0"/>
                <a:ea typeface="+mn-ea"/>
                <a:cs typeface="+mn-cs"/>
              </a:defRPr>
            </a:lvl2pPr>
            <a:lvl3pPr marL="914400" algn="ctr" rtl="0" fontAlgn="base">
              <a:spcBef>
                <a:spcPct val="0"/>
              </a:spcBef>
              <a:spcAft>
                <a:spcPct val="0"/>
              </a:spcAft>
              <a:defRPr sz="1200" b="1" kern="1200">
                <a:solidFill>
                  <a:schemeClr val="tx1"/>
                </a:solidFill>
                <a:latin typeface="Arial" charset="0"/>
                <a:ea typeface="+mn-ea"/>
                <a:cs typeface="+mn-cs"/>
              </a:defRPr>
            </a:lvl3pPr>
            <a:lvl4pPr marL="1371600" algn="ctr" rtl="0" fontAlgn="base">
              <a:spcBef>
                <a:spcPct val="0"/>
              </a:spcBef>
              <a:spcAft>
                <a:spcPct val="0"/>
              </a:spcAft>
              <a:defRPr sz="1200" b="1" kern="1200">
                <a:solidFill>
                  <a:schemeClr val="tx1"/>
                </a:solidFill>
                <a:latin typeface="Arial" charset="0"/>
                <a:ea typeface="+mn-ea"/>
                <a:cs typeface="+mn-cs"/>
              </a:defRPr>
            </a:lvl4pPr>
            <a:lvl5pPr marL="1828800" algn="ctr" rtl="0" fontAlgn="base">
              <a:spcBef>
                <a:spcPct val="0"/>
              </a:spcBef>
              <a:spcAft>
                <a:spcPct val="0"/>
              </a:spcAft>
              <a:defRPr sz="1200" b="1" kern="1200">
                <a:solidFill>
                  <a:schemeClr val="tx1"/>
                </a:solidFill>
                <a:latin typeface="Arial" charset="0"/>
                <a:ea typeface="+mn-ea"/>
                <a:cs typeface="+mn-cs"/>
              </a:defRPr>
            </a:lvl5pPr>
            <a:lvl6pPr marL="2286000" algn="l" defTabSz="914400" rtl="0" eaLnBrk="1" latinLnBrk="0" hangingPunct="1">
              <a:defRPr sz="1200" b="1" kern="1200">
                <a:solidFill>
                  <a:schemeClr val="tx1"/>
                </a:solidFill>
                <a:latin typeface="Arial" charset="0"/>
                <a:ea typeface="+mn-ea"/>
                <a:cs typeface="+mn-cs"/>
              </a:defRPr>
            </a:lvl6pPr>
            <a:lvl7pPr marL="2743200" algn="l" defTabSz="914400" rtl="0" eaLnBrk="1" latinLnBrk="0" hangingPunct="1">
              <a:defRPr sz="1200" b="1" kern="1200">
                <a:solidFill>
                  <a:schemeClr val="tx1"/>
                </a:solidFill>
                <a:latin typeface="Arial" charset="0"/>
                <a:ea typeface="+mn-ea"/>
                <a:cs typeface="+mn-cs"/>
              </a:defRPr>
            </a:lvl7pPr>
            <a:lvl8pPr marL="3200400" algn="l" defTabSz="914400" rtl="0" eaLnBrk="1" latinLnBrk="0" hangingPunct="1">
              <a:defRPr sz="1200" b="1" kern="1200">
                <a:solidFill>
                  <a:schemeClr val="tx1"/>
                </a:solidFill>
                <a:latin typeface="Arial" charset="0"/>
                <a:ea typeface="+mn-ea"/>
                <a:cs typeface="+mn-cs"/>
              </a:defRPr>
            </a:lvl8pPr>
            <a:lvl9pPr marL="3657600" algn="l" defTabSz="914400" rtl="0" eaLnBrk="1" latinLnBrk="0" hangingPunct="1">
              <a:defRPr sz="1200" b="1" kern="1200">
                <a:solidFill>
                  <a:schemeClr val="tx1"/>
                </a:solidFill>
                <a:latin typeface="Arial" charset="0"/>
                <a:ea typeface="+mn-ea"/>
                <a:cs typeface="+mn-cs"/>
              </a:defRPr>
            </a:lvl9pPr>
          </a:lstStyle>
          <a:p>
            <a:pPr lvl="0" algn="l">
              <a:defRPr/>
            </a:pPr>
            <a:r>
              <a:rPr lang="en-GB" sz="700" noProof="0">
                <a:latin typeface="Droid Sans" charset="0"/>
                <a:cs typeface="Droid Sans" charset="0"/>
                <a:sym typeface="Droid Sans" charset="0"/>
              </a:rPr>
              <a:t>Corporate evolutions and supports</a:t>
            </a:r>
          </a:p>
        </p:txBody>
      </p:sp>
      <p:sp>
        <p:nvSpPr>
          <p:cNvPr id="149" name="96 CuadroTexto">
            <a:extLst>
              <a:ext uri="{FF2B5EF4-FFF2-40B4-BE49-F238E27FC236}">
                <a16:creationId xmlns:a16="http://schemas.microsoft.com/office/drawing/2014/main" id="{A236036E-94D5-BE05-9083-1EFF98B988DB}"/>
              </a:ext>
            </a:extLst>
          </p:cNvPr>
          <p:cNvSpPr txBox="1"/>
          <p:nvPr/>
        </p:nvSpPr>
        <p:spPr>
          <a:xfrm>
            <a:off x="3820394" y="5201822"/>
            <a:ext cx="1251524" cy="307777"/>
          </a:xfrm>
          <a:prstGeom prst="rect">
            <a:avLst/>
          </a:prstGeom>
          <a:noFill/>
        </p:spPr>
        <p:txBody>
          <a:bodyPr wrap="square" rtlCol="0">
            <a:spAutoFit/>
          </a:bodyPr>
          <a:lstStyle>
            <a:defPPr>
              <a:defRPr lang="es-ES_tradnl"/>
            </a:defPPr>
            <a:lvl1pPr algn="ctr" rtl="0" fontAlgn="base">
              <a:spcBef>
                <a:spcPct val="0"/>
              </a:spcBef>
              <a:spcAft>
                <a:spcPct val="0"/>
              </a:spcAft>
              <a:defRPr sz="1200" b="1" kern="1200">
                <a:solidFill>
                  <a:schemeClr val="tx1"/>
                </a:solidFill>
                <a:latin typeface="Arial" charset="0"/>
                <a:ea typeface="+mn-ea"/>
                <a:cs typeface="+mn-cs"/>
              </a:defRPr>
            </a:lvl1pPr>
            <a:lvl2pPr marL="457200" algn="ctr" rtl="0" fontAlgn="base">
              <a:spcBef>
                <a:spcPct val="0"/>
              </a:spcBef>
              <a:spcAft>
                <a:spcPct val="0"/>
              </a:spcAft>
              <a:defRPr sz="1200" b="1" kern="1200">
                <a:solidFill>
                  <a:schemeClr val="tx1"/>
                </a:solidFill>
                <a:latin typeface="Arial" charset="0"/>
                <a:ea typeface="+mn-ea"/>
                <a:cs typeface="+mn-cs"/>
              </a:defRPr>
            </a:lvl2pPr>
            <a:lvl3pPr marL="914400" algn="ctr" rtl="0" fontAlgn="base">
              <a:spcBef>
                <a:spcPct val="0"/>
              </a:spcBef>
              <a:spcAft>
                <a:spcPct val="0"/>
              </a:spcAft>
              <a:defRPr sz="1200" b="1" kern="1200">
                <a:solidFill>
                  <a:schemeClr val="tx1"/>
                </a:solidFill>
                <a:latin typeface="Arial" charset="0"/>
                <a:ea typeface="+mn-ea"/>
                <a:cs typeface="+mn-cs"/>
              </a:defRPr>
            </a:lvl3pPr>
            <a:lvl4pPr marL="1371600" algn="ctr" rtl="0" fontAlgn="base">
              <a:spcBef>
                <a:spcPct val="0"/>
              </a:spcBef>
              <a:spcAft>
                <a:spcPct val="0"/>
              </a:spcAft>
              <a:defRPr sz="1200" b="1" kern="1200">
                <a:solidFill>
                  <a:schemeClr val="tx1"/>
                </a:solidFill>
                <a:latin typeface="Arial" charset="0"/>
                <a:ea typeface="+mn-ea"/>
                <a:cs typeface="+mn-cs"/>
              </a:defRPr>
            </a:lvl4pPr>
            <a:lvl5pPr marL="1828800" algn="ctr" rtl="0" fontAlgn="base">
              <a:spcBef>
                <a:spcPct val="0"/>
              </a:spcBef>
              <a:spcAft>
                <a:spcPct val="0"/>
              </a:spcAft>
              <a:defRPr sz="1200" b="1" kern="1200">
                <a:solidFill>
                  <a:schemeClr val="tx1"/>
                </a:solidFill>
                <a:latin typeface="Arial" charset="0"/>
                <a:ea typeface="+mn-ea"/>
                <a:cs typeface="+mn-cs"/>
              </a:defRPr>
            </a:lvl5pPr>
            <a:lvl6pPr marL="2286000" algn="l" defTabSz="914400" rtl="0" eaLnBrk="1" latinLnBrk="0" hangingPunct="1">
              <a:defRPr sz="1200" b="1" kern="1200">
                <a:solidFill>
                  <a:schemeClr val="tx1"/>
                </a:solidFill>
                <a:latin typeface="Arial" charset="0"/>
                <a:ea typeface="+mn-ea"/>
                <a:cs typeface="+mn-cs"/>
              </a:defRPr>
            </a:lvl6pPr>
            <a:lvl7pPr marL="2743200" algn="l" defTabSz="914400" rtl="0" eaLnBrk="1" latinLnBrk="0" hangingPunct="1">
              <a:defRPr sz="1200" b="1" kern="1200">
                <a:solidFill>
                  <a:schemeClr val="tx1"/>
                </a:solidFill>
                <a:latin typeface="Arial" charset="0"/>
                <a:ea typeface="+mn-ea"/>
                <a:cs typeface="+mn-cs"/>
              </a:defRPr>
            </a:lvl7pPr>
            <a:lvl8pPr marL="3200400" algn="l" defTabSz="914400" rtl="0" eaLnBrk="1" latinLnBrk="0" hangingPunct="1">
              <a:defRPr sz="1200" b="1" kern="1200">
                <a:solidFill>
                  <a:schemeClr val="tx1"/>
                </a:solidFill>
                <a:latin typeface="Arial" charset="0"/>
                <a:ea typeface="+mn-ea"/>
                <a:cs typeface="+mn-cs"/>
              </a:defRPr>
            </a:lvl8pPr>
            <a:lvl9pPr marL="3657600" algn="l" defTabSz="914400" rtl="0" eaLnBrk="1" latinLnBrk="0" hangingPunct="1">
              <a:defRPr sz="1200" b="1" kern="1200">
                <a:solidFill>
                  <a:schemeClr val="tx1"/>
                </a:solidFill>
                <a:latin typeface="Arial" charset="0"/>
                <a:ea typeface="+mn-ea"/>
                <a:cs typeface="+mn-cs"/>
              </a:defRPr>
            </a:lvl9pPr>
          </a:lstStyle>
          <a:p>
            <a:pPr lvl="0" algn="l">
              <a:defRPr/>
            </a:pPr>
            <a:r>
              <a:rPr lang="en-GB" sz="700" noProof="0">
                <a:latin typeface="Droid Sans" charset="0"/>
                <a:cs typeface="Droid Sans" charset="0"/>
                <a:sym typeface="Droid Sans" charset="0"/>
              </a:rPr>
              <a:t>Support and </a:t>
            </a:r>
          </a:p>
          <a:p>
            <a:pPr lvl="0" algn="l">
              <a:defRPr/>
            </a:pPr>
            <a:r>
              <a:rPr lang="en-GB" sz="700" noProof="0">
                <a:latin typeface="Droid Sans" charset="0"/>
                <a:cs typeface="Droid Sans" charset="0"/>
                <a:sym typeface="Droid Sans" charset="0"/>
              </a:rPr>
              <a:t>evolutions</a:t>
            </a:r>
          </a:p>
        </p:txBody>
      </p:sp>
      <p:pic>
        <p:nvPicPr>
          <p:cNvPr id="150" name="Picture 2" descr="http://www.aguasdealbacete.com/IMG/01_TU-COMPANIA/1_8%20Agbar%20Agua_logotipo_AgbarAgua.jpg">
            <a:hlinkClick r:id="rId65"/>
            <a:extLst>
              <a:ext uri="{FF2B5EF4-FFF2-40B4-BE49-F238E27FC236}">
                <a16:creationId xmlns:a16="http://schemas.microsoft.com/office/drawing/2014/main" id="{C3515638-3B90-DA2E-04EF-4E91BF9B8F9D}"/>
              </a:ext>
            </a:extLst>
          </p:cNvPr>
          <p:cNvPicPr>
            <a:picLocks noChangeAspect="1" noChangeArrowheads="1"/>
          </p:cNvPicPr>
          <p:nvPr/>
        </p:nvPicPr>
        <p:blipFill>
          <a:blip r:embed="rId66" cstate="screen"/>
          <a:srcRect/>
          <a:stretch>
            <a:fillRect/>
          </a:stretch>
        </p:blipFill>
        <p:spPr bwMode="auto">
          <a:xfrm>
            <a:off x="9854360" y="5242723"/>
            <a:ext cx="350565" cy="138632"/>
          </a:xfrm>
          <a:prstGeom prst="rect">
            <a:avLst/>
          </a:prstGeom>
          <a:noFill/>
        </p:spPr>
      </p:pic>
      <p:pic>
        <p:nvPicPr>
          <p:cNvPr id="151" name="Picture 8" descr="TMB App (Metro Bus Barcelona) - Aplicaciones en Google Play">
            <a:extLst>
              <a:ext uri="{FF2B5EF4-FFF2-40B4-BE49-F238E27FC236}">
                <a16:creationId xmlns:a16="http://schemas.microsoft.com/office/drawing/2014/main" id="{CF9CFDC2-8CCA-AEC5-88EE-7E37277E20A6}"/>
              </a:ext>
            </a:extLst>
          </p:cNvPr>
          <p:cNvPicPr>
            <a:picLocks noChangeAspect="1" noChangeArrowheads="1"/>
          </p:cNvPicPr>
          <p:nvPr/>
        </p:nvPicPr>
        <p:blipFill>
          <a:blip r:embed="rId60" cstate="print">
            <a:extLst>
              <a:ext uri="{28A0092B-C50C-407E-A947-70E740481C1C}">
                <a14:useLocalDpi xmlns:a14="http://schemas.microsoft.com/office/drawing/2010/main" val="0"/>
              </a:ext>
            </a:extLst>
          </a:blip>
          <a:srcRect/>
          <a:stretch>
            <a:fillRect/>
          </a:stretch>
        </p:blipFill>
        <p:spPr bwMode="auto">
          <a:xfrm>
            <a:off x="1599711" y="5120240"/>
            <a:ext cx="349375" cy="349375"/>
          </a:xfrm>
          <a:prstGeom prst="rect">
            <a:avLst/>
          </a:prstGeom>
          <a:noFill/>
          <a:extLst>
            <a:ext uri="{909E8E84-426E-40DD-AFC4-6F175D3DCCD1}">
              <a14:hiddenFill xmlns:a14="http://schemas.microsoft.com/office/drawing/2010/main">
                <a:solidFill>
                  <a:srgbClr val="FFFFFF"/>
                </a:solidFill>
              </a14:hiddenFill>
            </a:ext>
          </a:extLst>
        </p:spPr>
      </p:pic>
      <p:pic>
        <p:nvPicPr>
          <p:cNvPr id="152" name="Picture 4">
            <a:extLst>
              <a:ext uri="{FF2B5EF4-FFF2-40B4-BE49-F238E27FC236}">
                <a16:creationId xmlns:a16="http://schemas.microsoft.com/office/drawing/2014/main" id="{B4F8AE06-AC3F-B573-0CF4-7392F0F4447E}"/>
              </a:ext>
            </a:extLst>
          </p:cNvPr>
          <p:cNvPicPr>
            <a:picLocks noChangeAspect="1" noChangeArrowheads="1"/>
          </p:cNvPicPr>
          <p:nvPr/>
        </p:nvPicPr>
        <p:blipFill rotWithShape="1">
          <a:blip r:embed="rId67" cstate="print">
            <a:extLst>
              <a:ext uri="{28A0092B-C50C-407E-A947-70E740481C1C}">
                <a14:useLocalDpi xmlns:a14="http://schemas.microsoft.com/office/drawing/2010/main" val="0"/>
              </a:ext>
            </a:extLst>
          </a:blip>
          <a:srcRect l="9166" r="9408"/>
          <a:stretch/>
        </p:blipFill>
        <p:spPr bwMode="auto">
          <a:xfrm>
            <a:off x="3361364" y="5195121"/>
            <a:ext cx="486731" cy="239961"/>
          </a:xfrm>
          <a:prstGeom prst="rect">
            <a:avLst/>
          </a:prstGeom>
          <a:noFill/>
          <a:extLst>
            <a:ext uri="{909E8E84-426E-40DD-AFC4-6F175D3DCCD1}">
              <a14:hiddenFill xmlns:a14="http://schemas.microsoft.com/office/drawing/2010/main">
                <a:solidFill>
                  <a:srgbClr val="FFFFFF"/>
                </a:solidFill>
              </a14:hiddenFill>
            </a:ext>
          </a:extLst>
        </p:spPr>
      </p:pic>
      <p:pic>
        <p:nvPicPr>
          <p:cNvPr id="153" name="Picture 6" descr="LOGO_GRUPO">
            <a:extLst>
              <a:ext uri="{FF2B5EF4-FFF2-40B4-BE49-F238E27FC236}">
                <a16:creationId xmlns:a16="http://schemas.microsoft.com/office/drawing/2014/main" id="{4B0133AF-1BEF-6A0D-7C98-EB9128AB27CF}"/>
              </a:ext>
            </a:extLst>
          </p:cNvPr>
          <p:cNvPicPr>
            <a:picLocks noChangeAspect="1" noChangeArrowheads="1"/>
          </p:cNvPicPr>
          <p:nvPr/>
        </p:nvPicPr>
        <p:blipFill>
          <a:blip r:embed="rId68" cstate="screen"/>
          <a:srcRect/>
          <a:stretch>
            <a:fillRect/>
          </a:stretch>
        </p:blipFill>
        <p:spPr bwMode="auto">
          <a:xfrm>
            <a:off x="1619248" y="4774959"/>
            <a:ext cx="310300" cy="249382"/>
          </a:xfrm>
          <a:prstGeom prst="rect">
            <a:avLst/>
          </a:prstGeom>
          <a:noFill/>
        </p:spPr>
      </p:pic>
      <p:pic>
        <p:nvPicPr>
          <p:cNvPr id="154" name="Picture 2" descr="C:\Users\stratesys\Pictures\Work\Logos\ins_p_444082.png">
            <a:extLst>
              <a:ext uri="{FF2B5EF4-FFF2-40B4-BE49-F238E27FC236}">
                <a16:creationId xmlns:a16="http://schemas.microsoft.com/office/drawing/2014/main" id="{A5482F00-91CA-B1C0-C395-A1DC123BC2EA}"/>
              </a:ext>
            </a:extLst>
          </p:cNvPr>
          <p:cNvPicPr>
            <a:picLocks noChangeAspect="1" noChangeArrowheads="1"/>
          </p:cNvPicPr>
          <p:nvPr/>
        </p:nvPicPr>
        <p:blipFill>
          <a:blip r:embed="rId64" cstate="screen"/>
          <a:srcRect/>
          <a:stretch>
            <a:fillRect/>
          </a:stretch>
        </p:blipFill>
        <p:spPr bwMode="auto">
          <a:xfrm>
            <a:off x="6088545" y="4774221"/>
            <a:ext cx="442263" cy="241924"/>
          </a:xfrm>
          <a:prstGeom prst="rect">
            <a:avLst/>
          </a:prstGeom>
          <a:noFill/>
        </p:spPr>
      </p:pic>
      <p:pic>
        <p:nvPicPr>
          <p:cNvPr id="155" name="Picture 6" descr="LOGO_GRUPO">
            <a:extLst>
              <a:ext uri="{FF2B5EF4-FFF2-40B4-BE49-F238E27FC236}">
                <a16:creationId xmlns:a16="http://schemas.microsoft.com/office/drawing/2014/main" id="{821A9007-A64E-D383-9703-31E7758225A4}"/>
              </a:ext>
            </a:extLst>
          </p:cNvPr>
          <p:cNvPicPr>
            <a:picLocks noChangeAspect="1" noChangeArrowheads="1"/>
          </p:cNvPicPr>
          <p:nvPr/>
        </p:nvPicPr>
        <p:blipFill>
          <a:blip r:embed="rId68" cstate="screen"/>
          <a:srcRect/>
          <a:stretch>
            <a:fillRect/>
          </a:stretch>
        </p:blipFill>
        <p:spPr bwMode="auto">
          <a:xfrm>
            <a:off x="9874472" y="4774959"/>
            <a:ext cx="310300" cy="249382"/>
          </a:xfrm>
          <a:prstGeom prst="rect">
            <a:avLst/>
          </a:prstGeom>
          <a:noFill/>
        </p:spPr>
      </p:pic>
      <p:sp>
        <p:nvSpPr>
          <p:cNvPr id="156" name="96 CuadroTexto">
            <a:extLst>
              <a:ext uri="{FF2B5EF4-FFF2-40B4-BE49-F238E27FC236}">
                <a16:creationId xmlns:a16="http://schemas.microsoft.com/office/drawing/2014/main" id="{D8A33518-3DC7-B54E-89D3-AC47BDDC9F76}"/>
              </a:ext>
            </a:extLst>
          </p:cNvPr>
          <p:cNvSpPr txBox="1"/>
          <p:nvPr/>
        </p:nvSpPr>
        <p:spPr>
          <a:xfrm>
            <a:off x="10172013" y="5147927"/>
            <a:ext cx="1543532" cy="307777"/>
          </a:xfrm>
          <a:prstGeom prst="rect">
            <a:avLst/>
          </a:prstGeom>
          <a:noFill/>
        </p:spPr>
        <p:txBody>
          <a:bodyPr wrap="square" rtlCol="0">
            <a:spAutoFit/>
          </a:bodyPr>
          <a:lstStyle>
            <a:defPPr>
              <a:defRPr lang="es-ES_tradnl"/>
            </a:defPPr>
            <a:lvl1pPr algn="ctr" rtl="0" fontAlgn="base">
              <a:spcBef>
                <a:spcPct val="0"/>
              </a:spcBef>
              <a:spcAft>
                <a:spcPct val="0"/>
              </a:spcAft>
              <a:defRPr sz="1200" b="1" kern="1200">
                <a:solidFill>
                  <a:schemeClr val="tx1"/>
                </a:solidFill>
                <a:latin typeface="Arial" charset="0"/>
                <a:ea typeface="+mn-ea"/>
                <a:cs typeface="+mn-cs"/>
              </a:defRPr>
            </a:lvl1pPr>
            <a:lvl2pPr marL="457200" algn="ctr" rtl="0" fontAlgn="base">
              <a:spcBef>
                <a:spcPct val="0"/>
              </a:spcBef>
              <a:spcAft>
                <a:spcPct val="0"/>
              </a:spcAft>
              <a:defRPr sz="1200" b="1" kern="1200">
                <a:solidFill>
                  <a:schemeClr val="tx1"/>
                </a:solidFill>
                <a:latin typeface="Arial" charset="0"/>
                <a:ea typeface="+mn-ea"/>
                <a:cs typeface="+mn-cs"/>
              </a:defRPr>
            </a:lvl2pPr>
            <a:lvl3pPr marL="914400" algn="ctr" rtl="0" fontAlgn="base">
              <a:spcBef>
                <a:spcPct val="0"/>
              </a:spcBef>
              <a:spcAft>
                <a:spcPct val="0"/>
              </a:spcAft>
              <a:defRPr sz="1200" b="1" kern="1200">
                <a:solidFill>
                  <a:schemeClr val="tx1"/>
                </a:solidFill>
                <a:latin typeface="Arial" charset="0"/>
                <a:ea typeface="+mn-ea"/>
                <a:cs typeface="+mn-cs"/>
              </a:defRPr>
            </a:lvl3pPr>
            <a:lvl4pPr marL="1371600" algn="ctr" rtl="0" fontAlgn="base">
              <a:spcBef>
                <a:spcPct val="0"/>
              </a:spcBef>
              <a:spcAft>
                <a:spcPct val="0"/>
              </a:spcAft>
              <a:defRPr sz="1200" b="1" kern="1200">
                <a:solidFill>
                  <a:schemeClr val="tx1"/>
                </a:solidFill>
                <a:latin typeface="Arial" charset="0"/>
                <a:ea typeface="+mn-ea"/>
                <a:cs typeface="+mn-cs"/>
              </a:defRPr>
            </a:lvl4pPr>
            <a:lvl5pPr marL="1828800" algn="ctr" rtl="0" fontAlgn="base">
              <a:spcBef>
                <a:spcPct val="0"/>
              </a:spcBef>
              <a:spcAft>
                <a:spcPct val="0"/>
              </a:spcAft>
              <a:defRPr sz="1200" b="1" kern="1200">
                <a:solidFill>
                  <a:schemeClr val="tx1"/>
                </a:solidFill>
                <a:latin typeface="Arial" charset="0"/>
                <a:ea typeface="+mn-ea"/>
                <a:cs typeface="+mn-cs"/>
              </a:defRPr>
            </a:lvl5pPr>
            <a:lvl6pPr marL="2286000" algn="l" defTabSz="914400" rtl="0" eaLnBrk="1" latinLnBrk="0" hangingPunct="1">
              <a:defRPr sz="1200" b="1" kern="1200">
                <a:solidFill>
                  <a:schemeClr val="tx1"/>
                </a:solidFill>
                <a:latin typeface="Arial" charset="0"/>
                <a:ea typeface="+mn-ea"/>
                <a:cs typeface="+mn-cs"/>
              </a:defRPr>
            </a:lvl6pPr>
            <a:lvl7pPr marL="2743200" algn="l" defTabSz="914400" rtl="0" eaLnBrk="1" latinLnBrk="0" hangingPunct="1">
              <a:defRPr sz="1200" b="1" kern="1200">
                <a:solidFill>
                  <a:schemeClr val="tx1"/>
                </a:solidFill>
                <a:latin typeface="Arial" charset="0"/>
                <a:ea typeface="+mn-ea"/>
                <a:cs typeface="+mn-cs"/>
              </a:defRPr>
            </a:lvl7pPr>
            <a:lvl8pPr marL="3200400" algn="l" defTabSz="914400" rtl="0" eaLnBrk="1" latinLnBrk="0" hangingPunct="1">
              <a:defRPr sz="1200" b="1" kern="1200">
                <a:solidFill>
                  <a:schemeClr val="tx1"/>
                </a:solidFill>
                <a:latin typeface="Arial" charset="0"/>
                <a:ea typeface="+mn-ea"/>
                <a:cs typeface="+mn-cs"/>
              </a:defRPr>
            </a:lvl8pPr>
            <a:lvl9pPr marL="3657600" algn="l" defTabSz="914400" rtl="0" eaLnBrk="1" latinLnBrk="0" hangingPunct="1">
              <a:defRPr sz="1200" b="1" kern="1200">
                <a:solidFill>
                  <a:schemeClr val="tx1"/>
                </a:solidFill>
                <a:latin typeface="Arial" charset="0"/>
                <a:ea typeface="+mn-ea"/>
                <a:cs typeface="+mn-cs"/>
              </a:defRPr>
            </a:lvl9pPr>
          </a:lstStyle>
          <a:p>
            <a:pPr lvl="0" algn="l">
              <a:defRPr/>
            </a:pPr>
            <a:r>
              <a:rPr lang="en-GB" sz="700" noProof="0">
                <a:latin typeface="Droid Sans" charset="0"/>
                <a:cs typeface="Droid Sans" charset="0"/>
                <a:sym typeface="Droid Sans" charset="0"/>
              </a:rPr>
              <a:t>HR Scorecard Design (HCM DATAMART)</a:t>
            </a:r>
          </a:p>
        </p:txBody>
      </p:sp>
      <p:sp>
        <p:nvSpPr>
          <p:cNvPr id="157" name="CuadroTexto 156">
            <a:extLst>
              <a:ext uri="{FF2B5EF4-FFF2-40B4-BE49-F238E27FC236}">
                <a16:creationId xmlns:a16="http://schemas.microsoft.com/office/drawing/2014/main" id="{FD97DB1E-7B96-489A-F58D-D08F1F51C37D}"/>
              </a:ext>
            </a:extLst>
          </p:cNvPr>
          <p:cNvSpPr txBox="1"/>
          <p:nvPr/>
        </p:nvSpPr>
        <p:spPr>
          <a:xfrm>
            <a:off x="2018265" y="4744438"/>
            <a:ext cx="1332306" cy="307777"/>
          </a:xfrm>
          <a:prstGeom prst="rect">
            <a:avLst/>
          </a:prstGeom>
        </p:spPr>
        <p:txBody>
          <a:bodyPr wrap="square" lIns="0" rIns="0" rtlCol="0">
            <a:spAutoFit/>
          </a:bodyPr>
          <a:lstStyle/>
          <a:p>
            <a:pPr lvl="0">
              <a:defRPr/>
            </a:pPr>
            <a:r>
              <a:rPr lang="en-GB" sz="700" b="1" noProof="0">
                <a:latin typeface="Droid Sans"/>
                <a:ea typeface="Arial" charset="0"/>
                <a:cs typeface="Calibri" panose="020F0502020204030204" pitchFamily="34" charset="0"/>
                <a:sym typeface="Gill Sans" charset="0"/>
              </a:rPr>
              <a:t>Support in budget process at BW IP</a:t>
            </a:r>
            <a:endParaRPr kumimoji="0" lang="en-GB" sz="700" b="1" i="0" u="none" strike="noStrike" kern="1200" cap="none" spc="0" normalizeH="0" baseline="0" noProof="0">
              <a:ln>
                <a:noFill/>
              </a:ln>
              <a:effectLst/>
              <a:uLnTx/>
              <a:uFillTx/>
              <a:latin typeface="Droid Sans"/>
              <a:ea typeface="Arial" charset="0"/>
              <a:cs typeface="Calibri" panose="020F0502020204030204" pitchFamily="34" charset="0"/>
              <a:sym typeface="Gill Sans" charset="0"/>
            </a:endParaRPr>
          </a:p>
        </p:txBody>
      </p:sp>
      <p:sp>
        <p:nvSpPr>
          <p:cNvPr id="158" name="CuadroTexto 157">
            <a:extLst>
              <a:ext uri="{FF2B5EF4-FFF2-40B4-BE49-F238E27FC236}">
                <a16:creationId xmlns:a16="http://schemas.microsoft.com/office/drawing/2014/main" id="{16D3C0ED-463E-54A2-E742-DBABAD693495}"/>
              </a:ext>
            </a:extLst>
          </p:cNvPr>
          <p:cNvSpPr txBox="1"/>
          <p:nvPr/>
        </p:nvSpPr>
        <p:spPr>
          <a:xfrm>
            <a:off x="2018265" y="5139331"/>
            <a:ext cx="1168942" cy="307777"/>
          </a:xfrm>
          <a:prstGeom prst="rect">
            <a:avLst/>
          </a:prstGeom>
        </p:spPr>
        <p:txBody>
          <a:bodyPr wrap="square" lIns="0" rIns="0" rtlCol="0">
            <a:spAutoFit/>
          </a:bodyPr>
          <a:lstStyle/>
          <a:p>
            <a:pPr lvl="0">
              <a:defRPr/>
            </a:pPr>
            <a:r>
              <a:rPr lang="en-GB" sz="700" b="1" noProof="0">
                <a:latin typeface="Droid Sans"/>
                <a:ea typeface="Arial" charset="0"/>
                <a:cs typeface="Calibri" panose="020F0502020204030204" pitchFamily="34" charset="0"/>
                <a:sym typeface="Gill Sans" charset="0"/>
              </a:rPr>
              <a:t>Corporate support and evolutions</a:t>
            </a:r>
            <a:endParaRPr kumimoji="0" lang="en-GB" sz="700" b="1" i="0" u="none" strike="noStrike" kern="1200" cap="none" spc="0" normalizeH="0" baseline="0" noProof="0">
              <a:ln>
                <a:noFill/>
              </a:ln>
              <a:effectLst/>
              <a:uLnTx/>
              <a:uFillTx/>
              <a:latin typeface="Droid Sans"/>
              <a:ea typeface="Arial" charset="0"/>
              <a:cs typeface="Calibri" panose="020F0502020204030204" pitchFamily="34" charset="0"/>
              <a:sym typeface="Gill Sans" charset="0"/>
            </a:endParaRPr>
          </a:p>
        </p:txBody>
      </p:sp>
      <p:sp>
        <p:nvSpPr>
          <p:cNvPr id="159" name="CuadroTexto 158">
            <a:extLst>
              <a:ext uri="{FF2B5EF4-FFF2-40B4-BE49-F238E27FC236}">
                <a16:creationId xmlns:a16="http://schemas.microsoft.com/office/drawing/2014/main" id="{6E3D6A6B-F059-78F1-CDAC-C17B8F1A6AB0}"/>
              </a:ext>
            </a:extLst>
          </p:cNvPr>
          <p:cNvSpPr txBox="1"/>
          <p:nvPr/>
        </p:nvSpPr>
        <p:spPr>
          <a:xfrm>
            <a:off x="3910907" y="3767920"/>
            <a:ext cx="1370372" cy="307777"/>
          </a:xfrm>
          <a:prstGeom prst="rect">
            <a:avLst/>
          </a:prstGeom>
        </p:spPr>
        <p:txBody>
          <a:bodyPr wrap="square" lIns="0" rIns="0" rtlCol="0">
            <a:spAutoFit/>
          </a:bodyPr>
          <a:lstStyle/>
          <a:p>
            <a:r>
              <a:rPr lang="en-GB" sz="700" b="1" noProof="0">
                <a:latin typeface="Droid Sans"/>
                <a:cs typeface="Calibri" panose="020F0502020204030204" pitchFamily="34" charset="0"/>
                <a:sym typeface="Gill Sans" charset="0"/>
              </a:rPr>
              <a:t>Financial Management Project in BW/4HANA 2.0</a:t>
            </a:r>
          </a:p>
        </p:txBody>
      </p:sp>
      <p:sp>
        <p:nvSpPr>
          <p:cNvPr id="161" name="CuadroTexto 160">
            <a:extLst>
              <a:ext uri="{FF2B5EF4-FFF2-40B4-BE49-F238E27FC236}">
                <a16:creationId xmlns:a16="http://schemas.microsoft.com/office/drawing/2014/main" id="{A7254202-E0BD-D534-C840-7AF386F644EE}"/>
              </a:ext>
            </a:extLst>
          </p:cNvPr>
          <p:cNvSpPr txBox="1"/>
          <p:nvPr/>
        </p:nvSpPr>
        <p:spPr>
          <a:xfrm>
            <a:off x="2018265" y="5673246"/>
            <a:ext cx="1168942" cy="307777"/>
          </a:xfrm>
          <a:prstGeom prst="rect">
            <a:avLst/>
          </a:prstGeom>
        </p:spPr>
        <p:txBody>
          <a:bodyPr wrap="square" lIns="0" rIns="0" rtlCol="0">
            <a:spAutoFit/>
          </a:bodyPr>
          <a:lstStyle/>
          <a:p>
            <a:pPr lvl="0">
              <a:defRPr/>
            </a:pPr>
            <a:r>
              <a:rPr lang="en-GB" sz="700" b="1" noProof="0">
                <a:latin typeface="Droid Sans"/>
                <a:ea typeface="Arial" charset="0"/>
                <a:cs typeface="Calibri" panose="020F0502020204030204" pitchFamily="34" charset="0"/>
                <a:sym typeface="Gill Sans" charset="0"/>
              </a:rPr>
              <a:t>Development of analytical applications for treasury</a:t>
            </a:r>
            <a:endParaRPr kumimoji="0" lang="en-GB" sz="700" b="1" i="0" u="none" strike="noStrike" kern="1200" cap="none" spc="0" normalizeH="0" baseline="0" noProof="0">
              <a:ln>
                <a:noFill/>
              </a:ln>
              <a:effectLst/>
              <a:uLnTx/>
              <a:uFillTx/>
              <a:latin typeface="Droid Sans"/>
              <a:ea typeface="Arial" charset="0"/>
              <a:cs typeface="Calibri" panose="020F0502020204030204" pitchFamily="34" charset="0"/>
              <a:sym typeface="Gill Sans" charset="0"/>
            </a:endParaRPr>
          </a:p>
        </p:txBody>
      </p:sp>
      <p:sp>
        <p:nvSpPr>
          <p:cNvPr id="163" name="CuadroTexto 162">
            <a:extLst>
              <a:ext uri="{FF2B5EF4-FFF2-40B4-BE49-F238E27FC236}">
                <a16:creationId xmlns:a16="http://schemas.microsoft.com/office/drawing/2014/main" id="{46027966-2D19-5FFA-1473-B6F83F9FA2A5}"/>
              </a:ext>
            </a:extLst>
          </p:cNvPr>
          <p:cNvSpPr txBox="1"/>
          <p:nvPr/>
        </p:nvSpPr>
        <p:spPr>
          <a:xfrm>
            <a:off x="2018265" y="6070373"/>
            <a:ext cx="1168942" cy="307777"/>
          </a:xfrm>
          <a:prstGeom prst="rect">
            <a:avLst/>
          </a:prstGeom>
        </p:spPr>
        <p:txBody>
          <a:bodyPr wrap="square" lIns="0" rIns="0" rtlCol="0">
            <a:spAutoFit/>
          </a:bodyPr>
          <a:lstStyle/>
          <a:p>
            <a:pPr lvl="0">
              <a:defRPr/>
            </a:pPr>
            <a:r>
              <a:rPr lang="en-GB" sz="700" b="1" noProof="0">
                <a:latin typeface="Droid Sans"/>
                <a:ea typeface="Arial" charset="0"/>
                <a:cs typeface="Calibri" panose="020F0502020204030204" pitchFamily="34" charset="0"/>
                <a:sym typeface="Gill Sans" charset="0"/>
              </a:rPr>
              <a:t>Activation of S/4HANA analytical applications</a:t>
            </a:r>
            <a:endParaRPr kumimoji="0" lang="en-GB" sz="700" b="1" i="0" u="none" strike="noStrike" kern="1200" cap="none" spc="0" normalizeH="0" baseline="0" noProof="0">
              <a:ln>
                <a:noFill/>
              </a:ln>
              <a:effectLst/>
              <a:uLnTx/>
              <a:uFillTx/>
              <a:latin typeface="Droid Sans"/>
              <a:ea typeface="Arial" charset="0"/>
              <a:cs typeface="Calibri" panose="020F0502020204030204" pitchFamily="34" charset="0"/>
              <a:sym typeface="Gill Sans" charset="0"/>
            </a:endParaRPr>
          </a:p>
        </p:txBody>
      </p:sp>
      <p:sp>
        <p:nvSpPr>
          <p:cNvPr id="165" name="CuadroTexto 164">
            <a:extLst>
              <a:ext uri="{FF2B5EF4-FFF2-40B4-BE49-F238E27FC236}">
                <a16:creationId xmlns:a16="http://schemas.microsoft.com/office/drawing/2014/main" id="{1823F5B7-D13E-DBCD-5AF8-5D7A9D11CCCD}"/>
              </a:ext>
            </a:extLst>
          </p:cNvPr>
          <p:cNvSpPr txBox="1"/>
          <p:nvPr/>
        </p:nvSpPr>
        <p:spPr>
          <a:xfrm>
            <a:off x="3938644" y="5673246"/>
            <a:ext cx="1168942" cy="200055"/>
          </a:xfrm>
          <a:prstGeom prst="rect">
            <a:avLst/>
          </a:prstGeom>
        </p:spPr>
        <p:txBody>
          <a:bodyPr wrap="square" lIns="0" rIns="0" rtlCol="0">
            <a:spAutoFit/>
          </a:bodyPr>
          <a:lstStyle/>
          <a:p>
            <a:pPr lvl="0">
              <a:defRPr/>
            </a:pPr>
            <a:r>
              <a:rPr lang="en-GB" sz="700" b="1" noProof="0">
                <a:latin typeface="Droid Sans"/>
                <a:ea typeface="Arial" charset="0"/>
                <a:cs typeface="Calibri" panose="020F0502020204030204" pitchFamily="34" charset="0"/>
                <a:sym typeface="Gill Sans" charset="0"/>
              </a:rPr>
              <a:t>FI Scorecard Development</a:t>
            </a:r>
            <a:endParaRPr kumimoji="0" lang="en-GB" sz="700" b="1" i="0" u="none" strike="noStrike" kern="1200" cap="none" spc="0" normalizeH="0" baseline="0" noProof="0">
              <a:ln>
                <a:noFill/>
              </a:ln>
              <a:effectLst/>
              <a:uLnTx/>
              <a:uFillTx/>
              <a:latin typeface="Droid Sans"/>
              <a:ea typeface="Arial" charset="0"/>
              <a:cs typeface="Calibri" panose="020F0502020204030204" pitchFamily="34" charset="0"/>
              <a:sym typeface="Gill Sans" charset="0"/>
            </a:endParaRPr>
          </a:p>
        </p:txBody>
      </p:sp>
      <p:sp>
        <p:nvSpPr>
          <p:cNvPr id="167" name="CuadroTexto 166">
            <a:extLst>
              <a:ext uri="{FF2B5EF4-FFF2-40B4-BE49-F238E27FC236}">
                <a16:creationId xmlns:a16="http://schemas.microsoft.com/office/drawing/2014/main" id="{6D78463A-5F66-DA9C-69E1-069BB4259FA4}"/>
              </a:ext>
            </a:extLst>
          </p:cNvPr>
          <p:cNvSpPr txBox="1"/>
          <p:nvPr/>
        </p:nvSpPr>
        <p:spPr>
          <a:xfrm>
            <a:off x="3938644" y="6067643"/>
            <a:ext cx="1168942" cy="307777"/>
          </a:xfrm>
          <a:prstGeom prst="rect">
            <a:avLst/>
          </a:prstGeom>
        </p:spPr>
        <p:txBody>
          <a:bodyPr wrap="square" lIns="0" rIns="0" rtlCol="0">
            <a:spAutoFit/>
          </a:bodyPr>
          <a:lstStyle/>
          <a:p>
            <a:pPr lvl="0">
              <a:defRPr/>
            </a:pPr>
            <a:r>
              <a:rPr lang="en-GB" sz="700" b="1" noProof="0">
                <a:latin typeface="Droid Sans"/>
                <a:ea typeface="Arial" charset="0"/>
                <a:cs typeface="Calibri" panose="020F0502020204030204" pitchFamily="34" charset="0"/>
                <a:sym typeface="Gill Sans" charset="0"/>
              </a:rPr>
              <a:t>Activation of S/4HANA analytical applications</a:t>
            </a:r>
            <a:endParaRPr kumimoji="0" lang="en-GB" sz="700" b="1" i="0" u="none" strike="noStrike" kern="1200" cap="none" spc="0" normalizeH="0" baseline="0" noProof="0">
              <a:ln>
                <a:noFill/>
              </a:ln>
              <a:effectLst/>
              <a:uLnTx/>
              <a:uFillTx/>
              <a:latin typeface="Droid Sans"/>
              <a:ea typeface="Arial" charset="0"/>
              <a:cs typeface="Calibri" panose="020F0502020204030204" pitchFamily="34" charset="0"/>
              <a:sym typeface="Gill Sans" charset="0"/>
            </a:endParaRPr>
          </a:p>
        </p:txBody>
      </p:sp>
      <p:sp>
        <p:nvSpPr>
          <p:cNvPr id="170" name="CuadroTexto 169">
            <a:extLst>
              <a:ext uri="{FF2B5EF4-FFF2-40B4-BE49-F238E27FC236}">
                <a16:creationId xmlns:a16="http://schemas.microsoft.com/office/drawing/2014/main" id="{67BB8D75-599F-7357-2BFA-8190A8E87B3A}"/>
              </a:ext>
            </a:extLst>
          </p:cNvPr>
          <p:cNvSpPr txBox="1"/>
          <p:nvPr/>
        </p:nvSpPr>
        <p:spPr>
          <a:xfrm>
            <a:off x="6066727" y="5673246"/>
            <a:ext cx="1168942" cy="307777"/>
          </a:xfrm>
          <a:prstGeom prst="rect">
            <a:avLst/>
          </a:prstGeom>
        </p:spPr>
        <p:txBody>
          <a:bodyPr wrap="square" lIns="0" rIns="0" rtlCol="0">
            <a:spAutoFit/>
          </a:bodyPr>
          <a:lstStyle/>
          <a:p>
            <a:pPr lvl="0">
              <a:defRPr/>
            </a:pPr>
            <a:r>
              <a:rPr lang="en-GB" sz="700" b="1" noProof="0">
                <a:latin typeface="Droid Sans"/>
                <a:ea typeface="Arial" charset="0"/>
                <a:cs typeface="Calibri" panose="020F0502020204030204" pitchFamily="34" charset="0"/>
                <a:sym typeface="Gill Sans" charset="0"/>
              </a:rPr>
              <a:t>Activation of S/4HANA analytical applications</a:t>
            </a:r>
            <a:endParaRPr kumimoji="0" lang="en-GB" sz="700" b="1" i="0" u="none" strike="noStrike" kern="1200" cap="none" spc="0" normalizeH="0" baseline="0" noProof="0">
              <a:ln>
                <a:noFill/>
              </a:ln>
              <a:effectLst/>
              <a:uLnTx/>
              <a:uFillTx/>
              <a:latin typeface="Droid Sans"/>
              <a:ea typeface="Arial" charset="0"/>
              <a:cs typeface="Calibri" panose="020F0502020204030204" pitchFamily="34" charset="0"/>
              <a:sym typeface="Gill Sans" charset="0"/>
            </a:endParaRPr>
          </a:p>
        </p:txBody>
      </p:sp>
      <p:sp>
        <p:nvSpPr>
          <p:cNvPr id="172" name="CuadroTexto 171">
            <a:extLst>
              <a:ext uri="{FF2B5EF4-FFF2-40B4-BE49-F238E27FC236}">
                <a16:creationId xmlns:a16="http://schemas.microsoft.com/office/drawing/2014/main" id="{B07FB500-5500-38DD-6476-DE5DB5300B3C}"/>
              </a:ext>
            </a:extLst>
          </p:cNvPr>
          <p:cNvSpPr txBox="1"/>
          <p:nvPr/>
        </p:nvSpPr>
        <p:spPr>
          <a:xfrm>
            <a:off x="6063249" y="6067643"/>
            <a:ext cx="1168942" cy="200055"/>
          </a:xfrm>
          <a:prstGeom prst="rect">
            <a:avLst/>
          </a:prstGeom>
        </p:spPr>
        <p:txBody>
          <a:bodyPr wrap="square" lIns="0" rIns="0" rtlCol="0">
            <a:spAutoFit/>
          </a:bodyPr>
          <a:lstStyle/>
          <a:p>
            <a:pPr lvl="0">
              <a:defRPr/>
            </a:pPr>
            <a:r>
              <a:rPr lang="en-GB" sz="700" b="1" noProof="0">
                <a:latin typeface="Droid Sans"/>
                <a:ea typeface="Arial" charset="0"/>
                <a:cs typeface="Calibri" panose="020F0502020204030204" pitchFamily="34" charset="0"/>
                <a:sym typeface="Gill Sans" charset="0"/>
              </a:rPr>
              <a:t>FI Scorecard Development</a:t>
            </a:r>
            <a:endParaRPr kumimoji="0" lang="en-GB" sz="700" b="1" i="0" u="none" strike="noStrike" kern="1200" cap="none" spc="0" normalizeH="0" baseline="0" noProof="0">
              <a:ln>
                <a:noFill/>
              </a:ln>
              <a:effectLst/>
              <a:uLnTx/>
              <a:uFillTx/>
              <a:latin typeface="Droid Sans"/>
              <a:ea typeface="Arial" charset="0"/>
              <a:cs typeface="Calibri" panose="020F0502020204030204" pitchFamily="34" charset="0"/>
              <a:sym typeface="Gill Sans" charset="0"/>
            </a:endParaRPr>
          </a:p>
        </p:txBody>
      </p:sp>
      <p:sp>
        <p:nvSpPr>
          <p:cNvPr id="174" name="CuadroTexto 173">
            <a:extLst>
              <a:ext uri="{FF2B5EF4-FFF2-40B4-BE49-F238E27FC236}">
                <a16:creationId xmlns:a16="http://schemas.microsoft.com/office/drawing/2014/main" id="{5292FFF2-75EF-03F6-8F5F-57F6FF31BE40}"/>
              </a:ext>
            </a:extLst>
          </p:cNvPr>
          <p:cNvSpPr txBox="1"/>
          <p:nvPr/>
        </p:nvSpPr>
        <p:spPr>
          <a:xfrm>
            <a:off x="7965528" y="5673246"/>
            <a:ext cx="1168942" cy="200055"/>
          </a:xfrm>
          <a:prstGeom prst="rect">
            <a:avLst/>
          </a:prstGeom>
        </p:spPr>
        <p:txBody>
          <a:bodyPr wrap="square" lIns="0" rIns="0" rtlCol="0">
            <a:spAutoFit/>
          </a:bodyPr>
          <a:lstStyle/>
          <a:p>
            <a:pPr lvl="0">
              <a:defRPr/>
            </a:pPr>
            <a:r>
              <a:rPr lang="en-GB" sz="700" b="1" noProof="0">
                <a:latin typeface="Droid Sans"/>
                <a:ea typeface="Arial" charset="0"/>
                <a:cs typeface="Calibri" panose="020F0502020204030204" pitchFamily="34" charset="0"/>
                <a:sym typeface="Gill Sans" charset="0"/>
              </a:rPr>
              <a:t>FI Scorecard Development</a:t>
            </a:r>
            <a:endParaRPr kumimoji="0" lang="en-GB" sz="700" b="1" i="0" u="none" strike="noStrike" kern="1200" cap="none" spc="0" normalizeH="0" baseline="0" noProof="0">
              <a:ln>
                <a:noFill/>
              </a:ln>
              <a:effectLst/>
              <a:uLnTx/>
              <a:uFillTx/>
              <a:latin typeface="Droid Sans"/>
              <a:ea typeface="Arial" charset="0"/>
              <a:cs typeface="Calibri" panose="020F0502020204030204" pitchFamily="34" charset="0"/>
              <a:sym typeface="Gill Sans" charset="0"/>
            </a:endParaRPr>
          </a:p>
        </p:txBody>
      </p:sp>
      <p:pic>
        <p:nvPicPr>
          <p:cNvPr id="175" name="Picture 2" descr="Asisa: Teléfono gratuito, cuadro médico y opiniones clientes 2020">
            <a:extLst>
              <a:ext uri="{FF2B5EF4-FFF2-40B4-BE49-F238E27FC236}">
                <a16:creationId xmlns:a16="http://schemas.microsoft.com/office/drawing/2014/main" id="{5A275D27-F2F0-B3FC-EA76-BF56A1129420}"/>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130169" y="1312064"/>
            <a:ext cx="648000" cy="143264"/>
          </a:xfrm>
          <a:prstGeom prst="rect">
            <a:avLst/>
          </a:prstGeom>
          <a:noFill/>
          <a:extLst>
            <a:ext uri="{909E8E84-426E-40DD-AFC4-6F175D3DCCD1}">
              <a14:hiddenFill xmlns:a14="http://schemas.microsoft.com/office/drawing/2010/main">
                <a:solidFill>
                  <a:srgbClr val="FFFFFF"/>
                </a:solidFill>
              </a14:hiddenFill>
            </a:ext>
          </a:extLst>
        </p:spPr>
      </p:pic>
      <p:pic>
        <p:nvPicPr>
          <p:cNvPr id="176" name="Picture 11">
            <a:extLst>
              <a:ext uri="{FF2B5EF4-FFF2-40B4-BE49-F238E27FC236}">
                <a16:creationId xmlns:a16="http://schemas.microsoft.com/office/drawing/2014/main" id="{B3FC1427-F7A6-9E6F-8659-54ECC1EBF722}"/>
              </a:ext>
            </a:extLst>
          </p:cNvPr>
          <p:cNvPicPr>
            <a:picLocks noChangeAspect="1" noChangeArrowheads="1"/>
          </p:cNvPicPr>
          <p:nvPr/>
        </p:nvPicPr>
        <p:blipFill>
          <a:blip r:embed="rId61" cstate="screen"/>
          <a:srcRect l="2966"/>
          <a:stretch>
            <a:fillRect/>
          </a:stretch>
        </p:blipFill>
        <p:spPr bwMode="auto">
          <a:xfrm>
            <a:off x="5980004" y="1791006"/>
            <a:ext cx="265493" cy="126825"/>
          </a:xfrm>
          <a:prstGeom prst="rect">
            <a:avLst/>
          </a:prstGeom>
          <a:noFill/>
          <a:ln w="9525">
            <a:noFill/>
            <a:miter lim="800000"/>
            <a:headEnd/>
            <a:tailEnd/>
          </a:ln>
        </p:spPr>
      </p:pic>
      <p:pic>
        <p:nvPicPr>
          <p:cNvPr id="177" name="Picture 8" descr="Telefónica - Empresa - EL ESPAÑOL">
            <a:extLst>
              <a:ext uri="{FF2B5EF4-FFF2-40B4-BE49-F238E27FC236}">
                <a16:creationId xmlns:a16="http://schemas.microsoft.com/office/drawing/2014/main" id="{30998FCD-B32C-90D6-2482-7D7959C63786}"/>
              </a:ext>
            </a:extLst>
          </p:cNvPr>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7860673" y="1558442"/>
            <a:ext cx="529238" cy="133789"/>
          </a:xfrm>
          <a:prstGeom prst="rect">
            <a:avLst/>
          </a:prstGeom>
          <a:noFill/>
          <a:extLst>
            <a:ext uri="{909E8E84-426E-40DD-AFC4-6F175D3DCCD1}">
              <a14:hiddenFill xmlns:a14="http://schemas.microsoft.com/office/drawing/2010/main">
                <a:solidFill>
                  <a:srgbClr val="FFFFFF"/>
                </a:solidFill>
              </a14:hiddenFill>
            </a:ext>
          </a:extLst>
        </p:spPr>
      </p:pic>
      <p:pic>
        <p:nvPicPr>
          <p:cNvPr id="178" name="Picture 8">
            <a:extLst>
              <a:ext uri="{FF2B5EF4-FFF2-40B4-BE49-F238E27FC236}">
                <a16:creationId xmlns:a16="http://schemas.microsoft.com/office/drawing/2014/main" id="{483F99ED-8F20-9F6A-1143-D9DC1D6BBC34}"/>
              </a:ext>
            </a:extLst>
          </p:cNvPr>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8468505" y="1767393"/>
            <a:ext cx="466877" cy="175451"/>
          </a:xfrm>
          <a:prstGeom prst="rect">
            <a:avLst/>
          </a:prstGeom>
          <a:noFill/>
          <a:extLst>
            <a:ext uri="{909E8E84-426E-40DD-AFC4-6F175D3DCCD1}">
              <a14:hiddenFill xmlns:a14="http://schemas.microsoft.com/office/drawing/2010/main">
                <a:solidFill>
                  <a:srgbClr val="FFFFFF"/>
                </a:solidFill>
              </a14:hiddenFill>
            </a:ext>
          </a:extLst>
        </p:spPr>
      </p:pic>
      <p:pic>
        <p:nvPicPr>
          <p:cNvPr id="179" name="Picture 12">
            <a:extLst>
              <a:ext uri="{FF2B5EF4-FFF2-40B4-BE49-F238E27FC236}">
                <a16:creationId xmlns:a16="http://schemas.microsoft.com/office/drawing/2014/main" id="{803A2585-CD51-0F98-C4C3-C2046B9AFE8D}"/>
              </a:ext>
            </a:extLst>
          </p:cNvPr>
          <p:cNvPicPr>
            <a:picLocks noChangeAspect="1" noChangeArrowheads="1"/>
          </p:cNvPicPr>
          <p:nvPr/>
        </p:nvPicPr>
        <p:blipFill rotWithShape="1">
          <a:blip r:embed="rId55" cstate="print">
            <a:extLst>
              <a:ext uri="{28A0092B-C50C-407E-A947-70E740481C1C}">
                <a14:useLocalDpi xmlns:a14="http://schemas.microsoft.com/office/drawing/2010/main" val="0"/>
              </a:ext>
            </a:extLst>
          </a:blip>
          <a:srcRect l="4185" t="7075" r="-6634" b="-13383"/>
          <a:stretch/>
        </p:blipFill>
        <p:spPr bwMode="auto">
          <a:xfrm>
            <a:off x="6508137" y="1533402"/>
            <a:ext cx="443525" cy="182887"/>
          </a:xfrm>
          <a:prstGeom prst="rect">
            <a:avLst/>
          </a:prstGeom>
          <a:noFill/>
          <a:extLst>
            <a:ext uri="{909E8E84-426E-40DD-AFC4-6F175D3DCCD1}">
              <a14:hiddenFill xmlns:a14="http://schemas.microsoft.com/office/drawing/2010/main">
                <a:solidFill>
                  <a:srgbClr val="FFFFFF"/>
                </a:solidFill>
              </a14:hiddenFill>
            </a:ext>
          </a:extLst>
        </p:spPr>
      </p:pic>
      <p:pic>
        <p:nvPicPr>
          <p:cNvPr id="180" name="Picture 16" descr="Martiderm">
            <a:extLst>
              <a:ext uri="{FF2B5EF4-FFF2-40B4-BE49-F238E27FC236}">
                <a16:creationId xmlns:a16="http://schemas.microsoft.com/office/drawing/2014/main" id="{D2C1E760-3CED-DC2F-BC8D-70BF9ADA308B}"/>
              </a:ext>
            </a:extLst>
          </p:cNvPr>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8622337" y="2247596"/>
            <a:ext cx="185364" cy="133462"/>
          </a:xfrm>
          <a:prstGeom prst="rect">
            <a:avLst/>
          </a:prstGeom>
          <a:noFill/>
          <a:extLst>
            <a:ext uri="{909E8E84-426E-40DD-AFC4-6F175D3DCCD1}">
              <a14:hiddenFill xmlns:a14="http://schemas.microsoft.com/office/drawing/2010/main">
                <a:solidFill>
                  <a:srgbClr val="FFFFFF"/>
                </a:solidFill>
              </a14:hiddenFill>
            </a:ext>
          </a:extLst>
        </p:spPr>
      </p:pic>
      <p:pic>
        <p:nvPicPr>
          <p:cNvPr id="181" name="Picture 6" descr="GAM Soluciones | Siero">
            <a:extLst>
              <a:ext uri="{FF2B5EF4-FFF2-40B4-BE49-F238E27FC236}">
                <a16:creationId xmlns:a16="http://schemas.microsoft.com/office/drawing/2014/main" id="{1179969D-B582-9A29-EAA6-89CF2F005F7A}"/>
              </a:ext>
            </a:extLst>
          </p:cNvPr>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171965" y="2014598"/>
            <a:ext cx="160911" cy="160911"/>
          </a:xfrm>
          <a:prstGeom prst="rect">
            <a:avLst/>
          </a:prstGeom>
          <a:noFill/>
          <a:extLst>
            <a:ext uri="{909E8E84-426E-40DD-AFC4-6F175D3DCCD1}">
              <a14:hiddenFill xmlns:a14="http://schemas.microsoft.com/office/drawing/2010/main">
                <a:solidFill>
                  <a:srgbClr val="FFFFFF"/>
                </a:solidFill>
              </a14:hiddenFill>
            </a:ext>
          </a:extLst>
        </p:spPr>
      </p:pic>
      <p:pic>
        <p:nvPicPr>
          <p:cNvPr id="182" name="Picture 6" descr="Inicio - Naturgy">
            <a:extLst>
              <a:ext uri="{FF2B5EF4-FFF2-40B4-BE49-F238E27FC236}">
                <a16:creationId xmlns:a16="http://schemas.microsoft.com/office/drawing/2014/main" id="{92B228D3-C569-9833-2097-DFE078C685A5}"/>
              </a:ext>
            </a:extLst>
          </p:cNvPr>
          <p:cNvPicPr>
            <a:picLocks noChangeAspect="1" noChangeArrowheads="1"/>
          </p:cNvPicPr>
          <p:nvPr/>
        </p:nvPicPr>
        <p:blipFill rotWithShape="1">
          <a:blip r:embed="rId53" cstate="print">
            <a:extLst>
              <a:ext uri="{28A0092B-C50C-407E-A947-70E740481C1C}">
                <a14:useLocalDpi xmlns:a14="http://schemas.microsoft.com/office/drawing/2010/main" val="0"/>
              </a:ext>
            </a:extLst>
          </a:blip>
          <a:srcRect l="11892" t="1" r="9911" b="12513"/>
          <a:stretch/>
        </p:blipFill>
        <p:spPr bwMode="auto">
          <a:xfrm>
            <a:off x="9708482" y="2346916"/>
            <a:ext cx="552739" cy="144737"/>
          </a:xfrm>
          <a:prstGeom prst="rect">
            <a:avLst/>
          </a:prstGeom>
          <a:noFill/>
          <a:extLst>
            <a:ext uri="{909E8E84-426E-40DD-AFC4-6F175D3DCCD1}">
              <a14:hiddenFill xmlns:a14="http://schemas.microsoft.com/office/drawing/2010/main">
                <a:solidFill>
                  <a:srgbClr val="FFFFFF"/>
                </a:solidFill>
              </a14:hiddenFill>
            </a:ext>
          </a:extLst>
        </p:spPr>
      </p:pic>
      <p:pic>
        <p:nvPicPr>
          <p:cNvPr id="183" name="Picture 2">
            <a:extLst>
              <a:ext uri="{FF2B5EF4-FFF2-40B4-BE49-F238E27FC236}">
                <a16:creationId xmlns:a16="http://schemas.microsoft.com/office/drawing/2014/main" id="{770CD315-CBE3-0182-2FEE-185E04E3474E}"/>
              </a:ext>
            </a:extLst>
          </p:cNvPr>
          <p:cNvPicPr>
            <a:picLocks noChangeAspect="1" noChangeArrowheads="1"/>
          </p:cNvPicPr>
          <p:nvPr/>
        </p:nvPicPr>
        <p:blipFill rotWithShape="1">
          <a:blip r:embed="rId56" cstate="print">
            <a:extLst>
              <a:ext uri="{28A0092B-C50C-407E-A947-70E740481C1C}">
                <a14:useLocalDpi xmlns:a14="http://schemas.microsoft.com/office/drawing/2010/main" val="0"/>
              </a:ext>
            </a:extLst>
          </a:blip>
          <a:srcRect l="11710" t="15729" r="13723" b="13723"/>
          <a:stretch/>
        </p:blipFill>
        <p:spPr bwMode="auto">
          <a:xfrm>
            <a:off x="9823436" y="1987979"/>
            <a:ext cx="218976" cy="207172"/>
          </a:xfrm>
          <a:prstGeom prst="rect">
            <a:avLst/>
          </a:prstGeom>
          <a:noFill/>
          <a:extLst>
            <a:ext uri="{909E8E84-426E-40DD-AFC4-6F175D3DCCD1}">
              <a14:hiddenFill xmlns:a14="http://schemas.microsoft.com/office/drawing/2010/main">
                <a:solidFill>
                  <a:srgbClr val="FFFFFF"/>
                </a:solidFill>
              </a14:hiddenFill>
            </a:ext>
          </a:extLst>
        </p:spPr>
      </p:pic>
      <p:grpSp>
        <p:nvGrpSpPr>
          <p:cNvPr id="184" name="Grupo 183">
            <a:extLst>
              <a:ext uri="{FF2B5EF4-FFF2-40B4-BE49-F238E27FC236}">
                <a16:creationId xmlns:a16="http://schemas.microsoft.com/office/drawing/2014/main" id="{4383CA9A-1909-4B75-77DF-EE608597EA74}"/>
              </a:ext>
            </a:extLst>
          </p:cNvPr>
          <p:cNvGrpSpPr/>
          <p:nvPr/>
        </p:nvGrpSpPr>
        <p:grpSpPr>
          <a:xfrm>
            <a:off x="9741776" y="1321689"/>
            <a:ext cx="500200" cy="129500"/>
            <a:chOff x="3410189" y="2250572"/>
            <a:chExt cx="500200" cy="129500"/>
          </a:xfrm>
        </p:grpSpPr>
        <p:pic>
          <p:nvPicPr>
            <p:cNvPr id="185" name="Picture 6">
              <a:extLst>
                <a:ext uri="{FF2B5EF4-FFF2-40B4-BE49-F238E27FC236}">
                  <a16:creationId xmlns:a16="http://schemas.microsoft.com/office/drawing/2014/main" id="{3DF71B46-D577-A8B1-16D3-876C917CC5A5}"/>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5297" r="1811" b="2439"/>
            <a:stretch/>
          </p:blipFill>
          <p:spPr bwMode="auto">
            <a:xfrm>
              <a:off x="3526122" y="2259178"/>
              <a:ext cx="384267" cy="110323"/>
            </a:xfrm>
            <a:prstGeom prst="rect">
              <a:avLst/>
            </a:prstGeom>
            <a:noFill/>
            <a:extLst>
              <a:ext uri="{909E8E84-426E-40DD-AFC4-6F175D3DCCD1}">
                <a14:hiddenFill xmlns:a14="http://schemas.microsoft.com/office/drawing/2010/main">
                  <a:solidFill>
                    <a:srgbClr val="FFFFFF"/>
                  </a:solidFill>
                </a14:hiddenFill>
              </a:ext>
            </a:extLst>
          </p:spPr>
        </p:pic>
        <p:pic>
          <p:nvPicPr>
            <p:cNvPr id="186" name="Picture 6">
              <a:extLst>
                <a:ext uri="{FF2B5EF4-FFF2-40B4-BE49-F238E27FC236}">
                  <a16:creationId xmlns:a16="http://schemas.microsoft.com/office/drawing/2014/main" id="{BE52A632-8C47-64B5-240F-63BE0FE50A99}"/>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26482" b="30200"/>
            <a:stretch/>
          </p:blipFill>
          <p:spPr bwMode="auto">
            <a:xfrm>
              <a:off x="3410189" y="2250572"/>
              <a:ext cx="156110" cy="129500"/>
            </a:xfrm>
            <a:prstGeom prst="rect">
              <a:avLst/>
            </a:prstGeom>
            <a:noFill/>
            <a:extLst>
              <a:ext uri="{909E8E84-426E-40DD-AFC4-6F175D3DCCD1}">
                <a14:hiddenFill xmlns:a14="http://schemas.microsoft.com/office/drawing/2010/main">
                  <a:solidFill>
                    <a:srgbClr val="FFFFFF"/>
                  </a:solidFill>
                </a14:hiddenFill>
              </a:ext>
            </a:extLst>
          </p:spPr>
        </p:pic>
      </p:grpSp>
      <p:pic>
        <p:nvPicPr>
          <p:cNvPr id="187" name="Picture 8" descr="Codestone is an SAP &amp; Cloud IT Services Company">
            <a:extLst>
              <a:ext uri="{FF2B5EF4-FFF2-40B4-BE49-F238E27FC236}">
                <a16:creationId xmlns:a16="http://schemas.microsoft.com/office/drawing/2014/main" id="{A363E887-BFFF-77A4-0EF5-CD1123B07229}"/>
              </a:ext>
            </a:extLst>
          </p:cNvPr>
          <p:cNvPicPr>
            <a:picLocks noChangeAspect="1" noChangeArrowheads="1"/>
          </p:cNvPicPr>
          <p:nvPr/>
        </p:nvPicPr>
        <p:blipFill>
          <a:blip r:embed="rId69" cstate="print">
            <a:extLst>
              <a:ext uri="{28A0092B-C50C-407E-A947-70E740481C1C}">
                <a14:useLocalDpi xmlns:a14="http://schemas.microsoft.com/office/drawing/2010/main" val="0"/>
              </a:ext>
            </a:extLst>
          </a:blip>
          <a:srcRect/>
          <a:stretch>
            <a:fillRect/>
          </a:stretch>
        </p:blipFill>
        <p:spPr bwMode="auto">
          <a:xfrm>
            <a:off x="259693" y="1477025"/>
            <a:ext cx="1090678" cy="464119"/>
          </a:xfrm>
          <a:prstGeom prst="rect">
            <a:avLst/>
          </a:prstGeom>
          <a:noFill/>
          <a:extLst>
            <a:ext uri="{909E8E84-426E-40DD-AFC4-6F175D3DCCD1}">
              <a14:hiddenFill xmlns:a14="http://schemas.microsoft.com/office/drawing/2010/main">
                <a:solidFill>
                  <a:srgbClr val="FFFFFF"/>
                </a:solidFill>
              </a14:hiddenFill>
            </a:ext>
          </a:extLst>
        </p:spPr>
      </p:pic>
      <p:pic>
        <p:nvPicPr>
          <p:cNvPr id="190" name="Picture 2" descr="SAP Business Intelligence Suite">
            <a:extLst>
              <a:ext uri="{FF2B5EF4-FFF2-40B4-BE49-F238E27FC236}">
                <a16:creationId xmlns:a16="http://schemas.microsoft.com/office/drawing/2014/main" id="{CF24F41B-43BD-A659-FA1A-34B969C5D6AF}"/>
              </a:ext>
            </a:extLst>
          </p:cNvPr>
          <p:cNvPicPr>
            <a:picLocks noChangeAspect="1" noChangeArrowheads="1"/>
          </p:cNvPicPr>
          <p:nvPr/>
        </p:nvPicPr>
        <p:blipFill rotWithShape="1">
          <a:blip r:embed="rId70" cstate="print">
            <a:extLst>
              <a:ext uri="{28A0092B-C50C-407E-A947-70E740481C1C}">
                <a14:useLocalDpi xmlns:a14="http://schemas.microsoft.com/office/drawing/2010/main" val="0"/>
              </a:ext>
            </a:extLst>
          </a:blip>
          <a:srcRect t="27111" b="31043"/>
          <a:stretch/>
        </p:blipFill>
        <p:spPr bwMode="auto">
          <a:xfrm>
            <a:off x="199220" y="3965244"/>
            <a:ext cx="1175706" cy="273331"/>
          </a:xfrm>
          <a:prstGeom prst="rect">
            <a:avLst/>
          </a:prstGeom>
          <a:noFill/>
          <a:extLst>
            <a:ext uri="{909E8E84-426E-40DD-AFC4-6F175D3DCCD1}">
              <a14:hiddenFill xmlns:a14="http://schemas.microsoft.com/office/drawing/2010/main">
                <a:solidFill>
                  <a:srgbClr val="FFFFFF"/>
                </a:solidFill>
              </a14:hiddenFill>
            </a:ext>
          </a:extLst>
        </p:spPr>
      </p:pic>
      <p:pic>
        <p:nvPicPr>
          <p:cNvPr id="191" name="Picture 2" descr="SAP BI &amp; Analytics | SAP HANA, SAP BusinessObjects and SAP BW">
            <a:extLst>
              <a:ext uri="{FF2B5EF4-FFF2-40B4-BE49-F238E27FC236}">
                <a16:creationId xmlns:a16="http://schemas.microsoft.com/office/drawing/2014/main" id="{D6D7B761-89FE-5635-10BC-88777D1059F3}"/>
              </a:ext>
            </a:extLst>
          </p:cNvPr>
          <p:cNvPicPr>
            <a:picLocks noChangeAspect="1" noChangeArrowheads="1"/>
          </p:cNvPicPr>
          <p:nvPr/>
        </p:nvPicPr>
        <p:blipFill rotWithShape="1">
          <a:blip r:embed="rId71" cstate="print">
            <a:extLst>
              <a:ext uri="{28A0092B-C50C-407E-A947-70E740481C1C}">
                <a14:useLocalDpi xmlns:a14="http://schemas.microsoft.com/office/drawing/2010/main" val="0"/>
              </a:ext>
            </a:extLst>
          </a:blip>
          <a:srcRect l="41289" t="30849" r="25303" b="57369"/>
          <a:stretch/>
        </p:blipFill>
        <p:spPr bwMode="auto">
          <a:xfrm>
            <a:off x="261876" y="5812381"/>
            <a:ext cx="1077740" cy="198622"/>
          </a:xfrm>
          <a:prstGeom prst="rect">
            <a:avLst/>
          </a:prstGeom>
          <a:noFill/>
          <a:extLst>
            <a:ext uri="{909E8E84-426E-40DD-AFC4-6F175D3DCCD1}">
              <a14:hiddenFill xmlns:a14="http://schemas.microsoft.com/office/drawing/2010/main">
                <a:solidFill>
                  <a:srgbClr val="FFFFFF"/>
                </a:solidFill>
              </a14:hiddenFill>
            </a:ext>
          </a:extLst>
        </p:spPr>
      </p:pic>
      <p:pic>
        <p:nvPicPr>
          <p:cNvPr id="192" name="Picture 2" descr="SAP BI &amp; Analytics | SAP HANA, SAP BusinessObjects and SAP BW">
            <a:extLst>
              <a:ext uri="{FF2B5EF4-FFF2-40B4-BE49-F238E27FC236}">
                <a16:creationId xmlns:a16="http://schemas.microsoft.com/office/drawing/2014/main" id="{7E7229FB-A0F6-D57F-8C87-DBBF7F6B6759}"/>
              </a:ext>
            </a:extLst>
          </p:cNvPr>
          <p:cNvPicPr>
            <a:picLocks noChangeAspect="1" noChangeArrowheads="1"/>
          </p:cNvPicPr>
          <p:nvPr/>
        </p:nvPicPr>
        <p:blipFill rotWithShape="1">
          <a:blip r:embed="rId72" cstate="print">
            <a:extLst>
              <a:ext uri="{28A0092B-C50C-407E-A947-70E740481C1C}">
                <a14:useLocalDpi xmlns:a14="http://schemas.microsoft.com/office/drawing/2010/main" val="0"/>
              </a:ext>
            </a:extLst>
          </a:blip>
          <a:srcRect l="11967" t="30849" r="58169" b="57369"/>
          <a:stretch/>
        </p:blipFill>
        <p:spPr bwMode="auto">
          <a:xfrm>
            <a:off x="249156" y="5976063"/>
            <a:ext cx="1105407" cy="227891"/>
          </a:xfrm>
          <a:prstGeom prst="rect">
            <a:avLst/>
          </a:prstGeom>
          <a:noFill/>
          <a:extLst>
            <a:ext uri="{909E8E84-426E-40DD-AFC4-6F175D3DCCD1}">
              <a14:hiddenFill xmlns:a14="http://schemas.microsoft.com/office/drawing/2010/main">
                <a:solidFill>
                  <a:srgbClr val="FFFFFF"/>
                </a:solidFill>
              </a14:hiddenFill>
            </a:ext>
          </a:extLst>
        </p:spPr>
      </p:pic>
      <p:pic>
        <p:nvPicPr>
          <p:cNvPr id="193" name="Picture 14" descr="Sap Business Objects Icon, HD Png Download - kindpng">
            <a:extLst>
              <a:ext uri="{FF2B5EF4-FFF2-40B4-BE49-F238E27FC236}">
                <a16:creationId xmlns:a16="http://schemas.microsoft.com/office/drawing/2014/main" id="{A8D38592-589A-E65F-25B6-7C900C49DC8B}"/>
              </a:ext>
            </a:extLst>
          </p:cNvPr>
          <p:cNvPicPr>
            <a:picLocks noChangeAspect="1" noChangeArrowheads="1"/>
          </p:cNvPicPr>
          <p:nvPr/>
        </p:nvPicPr>
        <p:blipFill>
          <a:blip r:embed="rId73" cstate="print">
            <a:clrChange>
              <a:clrFrom>
                <a:srgbClr val="F7F7F7"/>
              </a:clrFrom>
              <a:clrTo>
                <a:srgbClr val="F7F7F7">
                  <a:alpha val="0"/>
                </a:srgbClr>
              </a:clrTo>
            </a:clrChange>
            <a:extLst>
              <a:ext uri="{28A0092B-C50C-407E-A947-70E740481C1C}">
                <a14:useLocalDpi xmlns:a14="http://schemas.microsoft.com/office/drawing/2010/main" val="0"/>
              </a:ext>
            </a:extLst>
          </a:blip>
          <a:srcRect/>
          <a:stretch>
            <a:fillRect/>
          </a:stretch>
        </p:blipFill>
        <p:spPr bwMode="auto">
          <a:xfrm>
            <a:off x="5026239" y="4852669"/>
            <a:ext cx="942780" cy="366246"/>
          </a:xfrm>
          <a:prstGeom prst="rect">
            <a:avLst/>
          </a:prstGeom>
          <a:noFill/>
          <a:extLst>
            <a:ext uri="{909E8E84-426E-40DD-AFC4-6F175D3DCCD1}">
              <a14:hiddenFill xmlns:a14="http://schemas.microsoft.com/office/drawing/2010/main">
                <a:solidFill>
                  <a:srgbClr val="FFFFFF"/>
                </a:solidFill>
              </a14:hiddenFill>
            </a:ext>
          </a:extLst>
        </p:spPr>
      </p:pic>
      <p:pic>
        <p:nvPicPr>
          <p:cNvPr id="194" name="Picture 2" descr="Qué es SAP BW - SAP business warehouse">
            <a:extLst>
              <a:ext uri="{FF2B5EF4-FFF2-40B4-BE49-F238E27FC236}">
                <a16:creationId xmlns:a16="http://schemas.microsoft.com/office/drawing/2014/main" id="{6B673B0F-AC90-D775-A487-A4E3C561FB12}"/>
              </a:ext>
            </a:extLst>
          </p:cNvPr>
          <p:cNvPicPr>
            <a:picLocks noChangeAspect="1" noChangeArrowheads="1"/>
          </p:cNvPicPr>
          <p:nvPr/>
        </p:nvPicPr>
        <p:blipFill>
          <a:blip r:embed="rId74" cstate="print">
            <a:extLst>
              <a:ext uri="{28A0092B-C50C-407E-A947-70E740481C1C}">
                <a14:useLocalDpi xmlns:a14="http://schemas.microsoft.com/office/drawing/2010/main" val="0"/>
              </a:ext>
            </a:extLst>
          </a:blip>
          <a:srcRect/>
          <a:stretch>
            <a:fillRect/>
          </a:stretch>
        </p:blipFill>
        <p:spPr bwMode="auto">
          <a:xfrm>
            <a:off x="261032" y="4626945"/>
            <a:ext cx="988317" cy="902447"/>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Historia Y Significado Del Logo De Día">
            <a:extLst>
              <a:ext uri="{FF2B5EF4-FFF2-40B4-BE49-F238E27FC236}">
                <a16:creationId xmlns:a16="http://schemas.microsoft.com/office/drawing/2014/main" id="{4B81A72E-6D96-B29A-FF0A-670B7643B7F7}"/>
              </a:ext>
            </a:extLst>
          </p:cNvPr>
          <p:cNvPicPr>
            <a:picLocks noChangeAspect="1" noChangeArrowheads="1"/>
          </p:cNvPicPr>
          <p:nvPr/>
        </p:nvPicPr>
        <p:blipFill>
          <a:blip r:embed="rId75" cstate="print">
            <a:extLst>
              <a:ext uri="{28A0092B-C50C-407E-A947-70E740481C1C}">
                <a14:useLocalDpi xmlns:a14="http://schemas.microsoft.com/office/drawing/2010/main" val="0"/>
              </a:ext>
            </a:extLst>
          </a:blip>
          <a:srcRect/>
          <a:stretch>
            <a:fillRect/>
          </a:stretch>
        </p:blipFill>
        <p:spPr bwMode="auto">
          <a:xfrm>
            <a:off x="1586299" y="5678089"/>
            <a:ext cx="343776" cy="190366"/>
          </a:xfrm>
          <a:prstGeom prst="rect">
            <a:avLst/>
          </a:prstGeom>
          <a:noFill/>
          <a:extLst>
            <a:ext uri="{909E8E84-426E-40DD-AFC4-6F175D3DCCD1}">
              <a14:hiddenFill xmlns:a14="http://schemas.microsoft.com/office/drawing/2010/main">
                <a:solidFill>
                  <a:srgbClr val="FFFFFF"/>
                </a:solidFill>
              </a14:hiddenFill>
            </a:ext>
          </a:extLst>
        </p:spPr>
      </p:pic>
      <p:sp>
        <p:nvSpPr>
          <p:cNvPr id="24" name="CuadroTexto 23">
            <a:extLst>
              <a:ext uri="{FF2B5EF4-FFF2-40B4-BE49-F238E27FC236}">
                <a16:creationId xmlns:a16="http://schemas.microsoft.com/office/drawing/2014/main" id="{A933AF9B-39B3-4655-2009-326FD62D89DF}"/>
              </a:ext>
            </a:extLst>
          </p:cNvPr>
          <p:cNvSpPr txBox="1"/>
          <p:nvPr/>
        </p:nvSpPr>
        <p:spPr>
          <a:xfrm>
            <a:off x="7965528" y="6067643"/>
            <a:ext cx="1168942" cy="415498"/>
          </a:xfrm>
          <a:prstGeom prst="rect">
            <a:avLst/>
          </a:prstGeom>
        </p:spPr>
        <p:txBody>
          <a:bodyPr wrap="square" lIns="0" rIns="0" rtlCol="0">
            <a:spAutoFit/>
          </a:bodyPr>
          <a:lstStyle/>
          <a:p>
            <a:pPr lvl="0">
              <a:defRPr/>
            </a:pPr>
            <a:r>
              <a:rPr lang="en-GB" sz="700" b="1" noProof="0">
                <a:latin typeface="Droid Sans"/>
                <a:ea typeface="Arial" charset="0"/>
                <a:cs typeface="Calibri" panose="020F0502020204030204" pitchFamily="34" charset="0"/>
                <a:sym typeface="Gill Sans" charset="0"/>
              </a:rPr>
              <a:t>Development of FI and Group Reporting analytical applications</a:t>
            </a:r>
            <a:endParaRPr kumimoji="0" lang="en-GB" sz="700" b="1" i="0" u="none" strike="noStrike" kern="1200" cap="none" spc="0" normalizeH="0" baseline="0" noProof="0">
              <a:ln>
                <a:noFill/>
              </a:ln>
              <a:effectLst/>
              <a:uLnTx/>
              <a:uFillTx/>
              <a:latin typeface="Droid Sans"/>
              <a:ea typeface="Arial" charset="0"/>
              <a:cs typeface="Calibri" panose="020F0502020204030204" pitchFamily="34" charset="0"/>
              <a:sym typeface="Gill Sans" charset="0"/>
            </a:endParaRPr>
          </a:p>
        </p:txBody>
      </p:sp>
      <p:pic>
        <p:nvPicPr>
          <p:cNvPr id="33" name="Picture 8">
            <a:extLst>
              <a:ext uri="{FF2B5EF4-FFF2-40B4-BE49-F238E27FC236}">
                <a16:creationId xmlns:a16="http://schemas.microsoft.com/office/drawing/2014/main" id="{A8F804EE-C5A5-756E-A3E9-E232E2525FB7}"/>
              </a:ext>
            </a:extLst>
          </p:cNvPr>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1532128" y="6072997"/>
            <a:ext cx="466877" cy="175451"/>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
            <a:extLst>
              <a:ext uri="{FF2B5EF4-FFF2-40B4-BE49-F238E27FC236}">
                <a16:creationId xmlns:a16="http://schemas.microsoft.com/office/drawing/2014/main" id="{41F8DE45-1428-1B0C-79C6-E175C32D81E3}"/>
              </a:ext>
            </a:extLst>
          </p:cNvPr>
          <p:cNvPicPr>
            <a:picLocks noChangeAspect="1" noChangeArrowheads="1"/>
          </p:cNvPicPr>
          <p:nvPr/>
        </p:nvPicPr>
        <p:blipFill rotWithShape="1">
          <a:blip r:embed="rId76" cstate="print">
            <a:extLst>
              <a:ext uri="{28A0092B-C50C-407E-A947-70E740481C1C}">
                <a14:useLocalDpi xmlns:a14="http://schemas.microsoft.com/office/drawing/2010/main" val="0"/>
              </a:ext>
            </a:extLst>
          </a:blip>
          <a:srcRect t="17783" b="26340"/>
          <a:stretch/>
        </p:blipFill>
        <p:spPr bwMode="auto">
          <a:xfrm>
            <a:off x="3296559" y="5698170"/>
            <a:ext cx="551112" cy="17028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Group History – SanzClima">
            <a:extLst>
              <a:ext uri="{FF2B5EF4-FFF2-40B4-BE49-F238E27FC236}">
                <a16:creationId xmlns:a16="http://schemas.microsoft.com/office/drawing/2014/main" id="{38B6FB35-A269-78D5-3267-6B19FB4B034F}"/>
              </a:ext>
            </a:extLst>
          </p:cNvPr>
          <p:cNvPicPr>
            <a:picLocks noChangeAspect="1" noChangeArrowheads="1"/>
          </p:cNvPicPr>
          <p:nvPr/>
        </p:nvPicPr>
        <p:blipFill>
          <a:blip r:embed="rId77" cstate="print">
            <a:extLst>
              <a:ext uri="{28A0092B-C50C-407E-A947-70E740481C1C}">
                <a14:useLocalDpi xmlns:a14="http://schemas.microsoft.com/office/drawing/2010/main" val="0"/>
              </a:ext>
            </a:extLst>
          </a:blip>
          <a:srcRect/>
          <a:stretch>
            <a:fillRect/>
          </a:stretch>
        </p:blipFill>
        <p:spPr bwMode="auto">
          <a:xfrm>
            <a:off x="3353449" y="5955634"/>
            <a:ext cx="502559" cy="50255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Soltec (@SoltecPower) / X">
            <a:extLst>
              <a:ext uri="{FF2B5EF4-FFF2-40B4-BE49-F238E27FC236}">
                <a16:creationId xmlns:a16="http://schemas.microsoft.com/office/drawing/2014/main" id="{FF4145CE-62FF-2171-12F6-FFAB0E54EF18}"/>
              </a:ext>
            </a:extLst>
          </p:cNvPr>
          <p:cNvPicPr>
            <a:picLocks noChangeAspect="1" noChangeArrowheads="1"/>
          </p:cNvPicPr>
          <p:nvPr/>
        </p:nvPicPr>
        <p:blipFill>
          <a:blip r:embed="rId78" cstate="print">
            <a:extLst>
              <a:ext uri="{28A0092B-C50C-407E-A947-70E740481C1C}">
                <a14:useLocalDpi xmlns:a14="http://schemas.microsoft.com/office/drawing/2010/main" val="0"/>
              </a:ext>
            </a:extLst>
          </a:blip>
          <a:srcRect/>
          <a:stretch>
            <a:fillRect/>
          </a:stretch>
        </p:blipFill>
        <p:spPr bwMode="auto">
          <a:xfrm>
            <a:off x="5428999" y="5482039"/>
            <a:ext cx="608741" cy="608741"/>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8" descr="Telefónica - Empresa - EL ESPAÑOL">
            <a:extLst>
              <a:ext uri="{FF2B5EF4-FFF2-40B4-BE49-F238E27FC236}">
                <a16:creationId xmlns:a16="http://schemas.microsoft.com/office/drawing/2014/main" id="{454F016A-B0CA-04A5-0898-A4A8D0B3F68C}"/>
              </a:ext>
            </a:extLst>
          </p:cNvPr>
          <p:cNvPicPr>
            <a:picLocks noChangeAspect="1" noChangeArrowheads="1"/>
          </p:cNvPicPr>
          <p:nvPr/>
        </p:nvPicPr>
        <p:blipFill>
          <a:blip r:embed="rId79" cstate="print">
            <a:extLst>
              <a:ext uri="{28A0092B-C50C-407E-A947-70E740481C1C}">
                <a14:useLocalDpi xmlns:a14="http://schemas.microsoft.com/office/drawing/2010/main" val="0"/>
              </a:ext>
            </a:extLst>
          </a:blip>
          <a:srcRect/>
          <a:stretch>
            <a:fillRect/>
          </a:stretch>
        </p:blipFill>
        <p:spPr bwMode="auto">
          <a:xfrm>
            <a:off x="5231000" y="6083439"/>
            <a:ext cx="732123" cy="185078"/>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2" descr="Resultat d'imatges per a &quot;repsol logo&quot;">
            <a:extLst>
              <a:ext uri="{FF2B5EF4-FFF2-40B4-BE49-F238E27FC236}">
                <a16:creationId xmlns:a16="http://schemas.microsoft.com/office/drawing/2014/main" id="{B40E7C19-27F7-6819-7185-74651124DC29}"/>
              </a:ext>
            </a:extLst>
          </p:cNvPr>
          <p:cNvPicPr>
            <a:picLocks noChangeAspect="1" noChangeArrowheads="1"/>
          </p:cNvPicPr>
          <p:nvPr/>
        </p:nvPicPr>
        <p:blipFill>
          <a:blip r:embed="rId80" cstate="print">
            <a:extLst>
              <a:ext uri="{28A0092B-C50C-407E-A947-70E740481C1C}">
                <a14:useLocalDpi xmlns:a14="http://schemas.microsoft.com/office/drawing/2010/main" val="0"/>
              </a:ext>
            </a:extLst>
          </a:blip>
          <a:srcRect/>
          <a:stretch>
            <a:fillRect/>
          </a:stretch>
        </p:blipFill>
        <p:spPr bwMode="auto">
          <a:xfrm>
            <a:off x="7461730" y="5655316"/>
            <a:ext cx="465917" cy="33114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DDA561B3-27C3-308D-AC6D-90F791CD2E7A}"/>
              </a:ext>
            </a:extLst>
          </p:cNvPr>
          <p:cNvPicPr>
            <a:picLocks noChangeAspect="1" noChangeArrowheads="1"/>
          </p:cNvPicPr>
          <p:nvPr/>
        </p:nvPicPr>
        <p:blipFill>
          <a:blip r:embed="rId81" cstate="print">
            <a:extLst>
              <a:ext uri="{28A0092B-C50C-407E-A947-70E740481C1C}">
                <a14:useLocalDpi xmlns:a14="http://schemas.microsoft.com/office/drawing/2010/main" val="0"/>
              </a:ext>
            </a:extLst>
          </a:blip>
          <a:srcRect/>
          <a:stretch>
            <a:fillRect/>
          </a:stretch>
        </p:blipFill>
        <p:spPr bwMode="auto">
          <a:xfrm>
            <a:off x="7235583" y="6118575"/>
            <a:ext cx="644527" cy="114806"/>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Vidrala - Wikipedia, la enciclopedia libre">
            <a:extLst>
              <a:ext uri="{FF2B5EF4-FFF2-40B4-BE49-F238E27FC236}">
                <a16:creationId xmlns:a16="http://schemas.microsoft.com/office/drawing/2014/main" id="{608C8216-A44F-B016-4181-E8032BCD18CE}"/>
              </a:ext>
            </a:extLst>
          </p:cNvPr>
          <p:cNvPicPr>
            <a:picLocks noChangeAspect="1" noChangeArrowheads="1"/>
          </p:cNvPicPr>
          <p:nvPr/>
        </p:nvPicPr>
        <p:blipFill>
          <a:blip r:embed="rId82" cstate="print">
            <a:extLst>
              <a:ext uri="{28A0092B-C50C-407E-A947-70E740481C1C}">
                <a14:useLocalDpi xmlns:a14="http://schemas.microsoft.com/office/drawing/2010/main" val="0"/>
              </a:ext>
            </a:extLst>
          </a:blip>
          <a:srcRect/>
          <a:stretch>
            <a:fillRect/>
          </a:stretch>
        </p:blipFill>
        <p:spPr bwMode="auto">
          <a:xfrm>
            <a:off x="9248645" y="5559198"/>
            <a:ext cx="415014" cy="414630"/>
          </a:xfrm>
          <a:prstGeom prst="rect">
            <a:avLst/>
          </a:prstGeom>
          <a:noFill/>
          <a:extLst>
            <a:ext uri="{909E8E84-426E-40DD-AFC4-6F175D3DCCD1}">
              <a14:hiddenFill xmlns:a14="http://schemas.microsoft.com/office/drawing/2010/main">
                <a:solidFill>
                  <a:srgbClr val="FFFFFF"/>
                </a:solidFill>
              </a14:hiddenFill>
            </a:ext>
          </a:extLst>
        </p:spPr>
      </p:pic>
      <p:sp>
        <p:nvSpPr>
          <p:cNvPr id="37" name="CuadroTexto 36">
            <a:extLst>
              <a:ext uri="{FF2B5EF4-FFF2-40B4-BE49-F238E27FC236}">
                <a16:creationId xmlns:a16="http://schemas.microsoft.com/office/drawing/2014/main" id="{F47E2055-177C-920B-2FE9-88B7E9A7814F}"/>
              </a:ext>
            </a:extLst>
          </p:cNvPr>
          <p:cNvSpPr txBox="1"/>
          <p:nvPr/>
        </p:nvSpPr>
        <p:spPr>
          <a:xfrm>
            <a:off x="9781473" y="5673246"/>
            <a:ext cx="1168942" cy="307777"/>
          </a:xfrm>
          <a:prstGeom prst="rect">
            <a:avLst/>
          </a:prstGeom>
        </p:spPr>
        <p:txBody>
          <a:bodyPr wrap="square" lIns="0" rIns="0" rtlCol="0">
            <a:spAutoFit/>
          </a:bodyPr>
          <a:lstStyle/>
          <a:p>
            <a:pPr lvl="0">
              <a:defRPr/>
            </a:pPr>
            <a:r>
              <a:rPr lang="en-GB" sz="700" b="1" noProof="0">
                <a:latin typeface="Droid Sans"/>
                <a:ea typeface="Arial" charset="0"/>
                <a:cs typeface="Calibri" panose="020F0502020204030204" pitchFamily="34" charset="0"/>
                <a:sym typeface="Gill Sans" charset="0"/>
              </a:rPr>
              <a:t>Activation of S/4HANA analytical applications</a:t>
            </a:r>
            <a:endParaRPr kumimoji="0" lang="en-GB" sz="700" b="1" i="0" u="none" strike="noStrike" kern="1200" cap="none" spc="0" normalizeH="0" baseline="0" noProof="0">
              <a:ln>
                <a:noFill/>
              </a:ln>
              <a:effectLst/>
              <a:uLnTx/>
              <a:uFillTx/>
              <a:latin typeface="Droid Sans"/>
              <a:ea typeface="Arial" charset="0"/>
              <a:cs typeface="Calibri" panose="020F0502020204030204" pitchFamily="34" charset="0"/>
              <a:sym typeface="Gill Sans" charset="0"/>
            </a:endParaRPr>
          </a:p>
        </p:txBody>
      </p:sp>
      <p:pic>
        <p:nvPicPr>
          <p:cNvPr id="1036" name="Picture 12" descr="Osborne rediseña su identidad corporativa | Marcas ...">
            <a:extLst>
              <a:ext uri="{FF2B5EF4-FFF2-40B4-BE49-F238E27FC236}">
                <a16:creationId xmlns:a16="http://schemas.microsoft.com/office/drawing/2014/main" id="{A75A6492-1BD5-57A2-3DC8-54C98D30A516}"/>
              </a:ext>
            </a:extLst>
          </p:cNvPr>
          <p:cNvPicPr>
            <a:picLocks noChangeAspect="1" noChangeArrowheads="1"/>
          </p:cNvPicPr>
          <p:nvPr/>
        </p:nvPicPr>
        <p:blipFill>
          <a:blip r:embed="rId83" cstate="print">
            <a:extLst>
              <a:ext uri="{28A0092B-C50C-407E-A947-70E740481C1C}">
                <a14:useLocalDpi xmlns:a14="http://schemas.microsoft.com/office/drawing/2010/main" val="0"/>
              </a:ext>
            </a:extLst>
          </a:blip>
          <a:srcRect/>
          <a:stretch>
            <a:fillRect/>
          </a:stretch>
        </p:blipFill>
        <p:spPr bwMode="auto">
          <a:xfrm>
            <a:off x="8992572" y="5991843"/>
            <a:ext cx="771413" cy="437474"/>
          </a:xfrm>
          <a:prstGeom prst="rect">
            <a:avLst/>
          </a:prstGeom>
          <a:noFill/>
          <a:extLst>
            <a:ext uri="{909E8E84-426E-40DD-AFC4-6F175D3DCCD1}">
              <a14:hiddenFill xmlns:a14="http://schemas.microsoft.com/office/drawing/2010/main">
                <a:solidFill>
                  <a:srgbClr val="FFFFFF"/>
                </a:solidFill>
              </a14:hiddenFill>
            </a:ext>
          </a:extLst>
        </p:spPr>
      </p:pic>
      <p:sp>
        <p:nvSpPr>
          <p:cNvPr id="38" name="CuadroTexto 37">
            <a:extLst>
              <a:ext uri="{FF2B5EF4-FFF2-40B4-BE49-F238E27FC236}">
                <a16:creationId xmlns:a16="http://schemas.microsoft.com/office/drawing/2014/main" id="{A4A043B7-504B-FBFB-842C-7DAAFFF2C0BB}"/>
              </a:ext>
            </a:extLst>
          </p:cNvPr>
          <p:cNvSpPr txBox="1"/>
          <p:nvPr/>
        </p:nvSpPr>
        <p:spPr>
          <a:xfrm>
            <a:off x="9784638" y="6067643"/>
            <a:ext cx="1168942" cy="200055"/>
          </a:xfrm>
          <a:prstGeom prst="rect">
            <a:avLst/>
          </a:prstGeom>
        </p:spPr>
        <p:txBody>
          <a:bodyPr wrap="square" lIns="0" rIns="0" rtlCol="0">
            <a:spAutoFit/>
          </a:bodyPr>
          <a:lstStyle/>
          <a:p>
            <a:pPr lvl="0">
              <a:defRPr/>
            </a:pPr>
            <a:r>
              <a:rPr lang="en-GB" sz="700" b="1" noProof="0">
                <a:latin typeface="Droid Sans"/>
                <a:ea typeface="Arial" charset="0"/>
                <a:cs typeface="Calibri" panose="020F0502020204030204" pitchFamily="34" charset="0"/>
                <a:sym typeface="Gill Sans" charset="0"/>
              </a:rPr>
              <a:t>FI Report Development</a:t>
            </a:r>
            <a:endParaRPr kumimoji="0" lang="en-GB" sz="700" b="1" i="0" u="none" strike="noStrike" kern="1200" cap="none" spc="0" normalizeH="0" baseline="0" noProof="0">
              <a:ln>
                <a:noFill/>
              </a:ln>
              <a:effectLst/>
              <a:uLnTx/>
              <a:uFillTx/>
              <a:latin typeface="Droid Sans"/>
              <a:ea typeface="Arial" charset="0"/>
              <a:cs typeface="Calibri" panose="020F0502020204030204" pitchFamily="34" charset="0"/>
              <a:sym typeface="Gill Sans" charset="0"/>
            </a:endParaRPr>
          </a:p>
        </p:txBody>
      </p:sp>
      <p:sp>
        <p:nvSpPr>
          <p:cNvPr id="45" name="CuadroTexto 44">
            <a:extLst>
              <a:ext uri="{FF2B5EF4-FFF2-40B4-BE49-F238E27FC236}">
                <a16:creationId xmlns:a16="http://schemas.microsoft.com/office/drawing/2014/main" id="{0D2DCF20-C487-B879-544E-66D5F5BB504F}"/>
              </a:ext>
            </a:extLst>
          </p:cNvPr>
          <p:cNvSpPr txBox="1"/>
          <p:nvPr/>
        </p:nvSpPr>
        <p:spPr>
          <a:xfrm>
            <a:off x="473296" y="1850210"/>
            <a:ext cx="1278401" cy="200055"/>
          </a:xfrm>
          <a:prstGeom prst="rect">
            <a:avLst/>
          </a:prstGeom>
        </p:spPr>
        <p:txBody>
          <a:bodyPr wrap="square" lIns="0" rIns="0" rtlCol="0">
            <a:spAutoFit/>
          </a:bodyPr>
          <a:lstStyle/>
          <a:p>
            <a:pPr fontAlgn="base">
              <a:spcBef>
                <a:spcPct val="0"/>
              </a:spcBef>
              <a:spcAft>
                <a:spcPct val="0"/>
              </a:spcAft>
              <a:buClr>
                <a:srgbClr val="505150"/>
              </a:buClr>
              <a:buSzPct val="88000"/>
            </a:pPr>
            <a:r>
              <a:rPr lang="en-GB" sz="700" b="1" noProof="0">
                <a:solidFill>
                  <a:schemeClr val="bg2">
                    <a:lumMod val="25000"/>
                  </a:schemeClr>
                </a:solidFill>
                <a:latin typeface="Droid Sans"/>
                <a:cs typeface="Droid Sans" charset="0"/>
                <a:sym typeface="Droid Sans" charset="0"/>
              </a:rPr>
              <a:t>+70 References</a:t>
            </a:r>
          </a:p>
        </p:txBody>
      </p:sp>
      <p:sp>
        <p:nvSpPr>
          <p:cNvPr id="46" name="CuadroTexto 45">
            <a:extLst>
              <a:ext uri="{FF2B5EF4-FFF2-40B4-BE49-F238E27FC236}">
                <a16:creationId xmlns:a16="http://schemas.microsoft.com/office/drawing/2014/main" id="{2B45D1E3-78D5-AE26-EA14-4DF50930AE5A}"/>
              </a:ext>
            </a:extLst>
          </p:cNvPr>
          <p:cNvSpPr txBox="1"/>
          <p:nvPr/>
        </p:nvSpPr>
        <p:spPr>
          <a:xfrm>
            <a:off x="405475" y="5301849"/>
            <a:ext cx="1278401" cy="200055"/>
          </a:xfrm>
          <a:prstGeom prst="rect">
            <a:avLst/>
          </a:prstGeom>
        </p:spPr>
        <p:txBody>
          <a:bodyPr wrap="square" lIns="0" rIns="0" rtlCol="0">
            <a:spAutoFit/>
          </a:bodyPr>
          <a:lstStyle/>
          <a:p>
            <a:pPr fontAlgn="base">
              <a:spcBef>
                <a:spcPct val="0"/>
              </a:spcBef>
              <a:spcAft>
                <a:spcPct val="0"/>
              </a:spcAft>
              <a:buClr>
                <a:srgbClr val="505150"/>
              </a:buClr>
              <a:buSzPct val="88000"/>
            </a:pPr>
            <a:r>
              <a:rPr lang="en-GB" sz="700" b="1" noProof="0">
                <a:solidFill>
                  <a:schemeClr val="bg2">
                    <a:lumMod val="25000"/>
                  </a:schemeClr>
                </a:solidFill>
                <a:latin typeface="Droid Sans"/>
                <a:cs typeface="Droid Sans" charset="0"/>
                <a:sym typeface="Droid Sans" charset="0"/>
              </a:rPr>
              <a:t>+150 References</a:t>
            </a:r>
          </a:p>
        </p:txBody>
      </p:sp>
      <p:sp>
        <p:nvSpPr>
          <p:cNvPr id="47" name="CuadroTexto 46">
            <a:extLst>
              <a:ext uri="{FF2B5EF4-FFF2-40B4-BE49-F238E27FC236}">
                <a16:creationId xmlns:a16="http://schemas.microsoft.com/office/drawing/2014/main" id="{FBD17C68-89C7-1689-24FE-EA36941F94D5}"/>
              </a:ext>
            </a:extLst>
          </p:cNvPr>
          <p:cNvSpPr txBox="1"/>
          <p:nvPr/>
        </p:nvSpPr>
        <p:spPr>
          <a:xfrm>
            <a:off x="423599" y="6175365"/>
            <a:ext cx="1278401" cy="200055"/>
          </a:xfrm>
          <a:prstGeom prst="rect">
            <a:avLst/>
          </a:prstGeom>
        </p:spPr>
        <p:txBody>
          <a:bodyPr wrap="square" lIns="0" rIns="0" rtlCol="0">
            <a:spAutoFit/>
          </a:bodyPr>
          <a:lstStyle/>
          <a:p>
            <a:pPr fontAlgn="base">
              <a:spcBef>
                <a:spcPct val="0"/>
              </a:spcBef>
              <a:spcAft>
                <a:spcPct val="0"/>
              </a:spcAft>
              <a:buClr>
                <a:srgbClr val="505150"/>
              </a:buClr>
              <a:buSzPct val="88000"/>
            </a:pPr>
            <a:r>
              <a:rPr lang="en-GB" sz="700" b="1" noProof="0">
                <a:solidFill>
                  <a:schemeClr val="bg2">
                    <a:lumMod val="25000"/>
                  </a:schemeClr>
                </a:solidFill>
                <a:latin typeface="Droid Sans"/>
                <a:cs typeface="Droid Sans" charset="0"/>
                <a:sym typeface="Droid Sans" charset="0"/>
              </a:rPr>
              <a:t>+30 References</a:t>
            </a:r>
          </a:p>
        </p:txBody>
      </p:sp>
      <p:sp>
        <p:nvSpPr>
          <p:cNvPr id="48" name="CuadroTexto 47">
            <a:extLst>
              <a:ext uri="{FF2B5EF4-FFF2-40B4-BE49-F238E27FC236}">
                <a16:creationId xmlns:a16="http://schemas.microsoft.com/office/drawing/2014/main" id="{594F535C-CB10-AB11-9A76-8B4409F45CC2}"/>
              </a:ext>
            </a:extLst>
          </p:cNvPr>
          <p:cNvSpPr txBox="1"/>
          <p:nvPr/>
        </p:nvSpPr>
        <p:spPr>
          <a:xfrm>
            <a:off x="521705" y="4180124"/>
            <a:ext cx="1278401" cy="200055"/>
          </a:xfrm>
          <a:prstGeom prst="rect">
            <a:avLst/>
          </a:prstGeom>
        </p:spPr>
        <p:txBody>
          <a:bodyPr wrap="square" lIns="0" rIns="0" rtlCol="0">
            <a:spAutoFit/>
          </a:bodyPr>
          <a:lstStyle/>
          <a:p>
            <a:pPr fontAlgn="base">
              <a:spcBef>
                <a:spcPct val="0"/>
              </a:spcBef>
              <a:spcAft>
                <a:spcPct val="0"/>
              </a:spcAft>
              <a:buClr>
                <a:srgbClr val="505150"/>
              </a:buClr>
              <a:buSzPct val="88000"/>
            </a:pPr>
            <a:r>
              <a:rPr lang="en-GB" sz="700" b="1" noProof="0">
                <a:solidFill>
                  <a:schemeClr val="bg2">
                    <a:lumMod val="25000"/>
                  </a:schemeClr>
                </a:solidFill>
                <a:latin typeface="Droid Sans"/>
                <a:cs typeface="Droid Sans" charset="0"/>
                <a:sym typeface="Droid Sans" charset="0"/>
              </a:rPr>
              <a:t>+15 References</a:t>
            </a:r>
          </a:p>
        </p:txBody>
      </p:sp>
      <p:sp>
        <p:nvSpPr>
          <p:cNvPr id="50" name="CuadroTexto 49">
            <a:extLst>
              <a:ext uri="{FF2B5EF4-FFF2-40B4-BE49-F238E27FC236}">
                <a16:creationId xmlns:a16="http://schemas.microsoft.com/office/drawing/2014/main" id="{27891E33-A26C-F03A-FAFA-D23A0EC6C5E5}"/>
              </a:ext>
            </a:extLst>
          </p:cNvPr>
          <p:cNvSpPr txBox="1"/>
          <p:nvPr/>
        </p:nvSpPr>
        <p:spPr>
          <a:xfrm>
            <a:off x="9467392" y="950674"/>
            <a:ext cx="975176" cy="246221"/>
          </a:xfrm>
          <a:prstGeom prst="rect">
            <a:avLst/>
          </a:prstGeom>
        </p:spPr>
        <p:txBody>
          <a:bodyPr wrap="square" lIns="0" rIns="0" rtlCol="0">
            <a:spAutoFit/>
          </a:bodyPr>
          <a:lstStyle/>
          <a:p>
            <a:pPr algn="ctr" fontAlgn="base">
              <a:spcBef>
                <a:spcPct val="0"/>
              </a:spcBef>
              <a:spcAft>
                <a:spcPct val="0"/>
              </a:spcAft>
              <a:buClr>
                <a:srgbClr val="505150"/>
              </a:buClr>
              <a:buSzPct val="88000"/>
            </a:pPr>
            <a:r>
              <a:rPr lang="en-GB" sz="1000" noProof="0">
                <a:latin typeface="Droid Sans" charset="0"/>
                <a:cs typeface="Droid Sans" charset="0"/>
                <a:sym typeface="Droid Sans" charset="0"/>
              </a:rPr>
              <a:t>Industry</a:t>
            </a:r>
          </a:p>
        </p:txBody>
      </p:sp>
      <p:cxnSp>
        <p:nvCxnSpPr>
          <p:cNvPr id="51" name="Conector recto 50">
            <a:extLst>
              <a:ext uri="{FF2B5EF4-FFF2-40B4-BE49-F238E27FC236}">
                <a16:creationId xmlns:a16="http://schemas.microsoft.com/office/drawing/2014/main" id="{E5C2B16F-3E37-DBF8-29C0-D6BD746A406C}"/>
              </a:ext>
            </a:extLst>
          </p:cNvPr>
          <p:cNvCxnSpPr>
            <a:cxnSpLocks/>
          </p:cNvCxnSpPr>
          <p:nvPr/>
        </p:nvCxnSpPr>
        <p:spPr>
          <a:xfrm>
            <a:off x="9630634" y="1194710"/>
            <a:ext cx="72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8" name="CuadroTexto 57">
            <a:extLst>
              <a:ext uri="{FF2B5EF4-FFF2-40B4-BE49-F238E27FC236}">
                <a16:creationId xmlns:a16="http://schemas.microsoft.com/office/drawing/2014/main" id="{C9B2E578-1D2D-ED9E-0FA5-DC363661653D}"/>
              </a:ext>
            </a:extLst>
          </p:cNvPr>
          <p:cNvSpPr txBox="1"/>
          <p:nvPr/>
        </p:nvSpPr>
        <p:spPr>
          <a:xfrm>
            <a:off x="10298056" y="967297"/>
            <a:ext cx="975176" cy="400110"/>
          </a:xfrm>
          <a:prstGeom prst="rect">
            <a:avLst/>
          </a:prstGeom>
        </p:spPr>
        <p:txBody>
          <a:bodyPr wrap="square" lIns="0" rIns="0" rtlCol="0">
            <a:spAutoFit/>
          </a:bodyPr>
          <a:lstStyle/>
          <a:p>
            <a:pPr algn="ctr" fontAlgn="base">
              <a:spcBef>
                <a:spcPct val="0"/>
              </a:spcBef>
              <a:spcAft>
                <a:spcPct val="0"/>
              </a:spcAft>
              <a:buClr>
                <a:srgbClr val="505150"/>
              </a:buClr>
              <a:buSzPct val="88000"/>
            </a:pPr>
            <a:r>
              <a:rPr lang="en-GB" sz="1000" noProof="0">
                <a:latin typeface="Droid Sans" charset="0"/>
                <a:cs typeface="Droid Sans" charset="0"/>
                <a:sym typeface="Droid Sans" charset="0"/>
              </a:rPr>
              <a:t>Real Estate</a:t>
            </a:r>
          </a:p>
          <a:p>
            <a:pPr algn="ctr" fontAlgn="base">
              <a:spcBef>
                <a:spcPct val="0"/>
              </a:spcBef>
              <a:spcAft>
                <a:spcPct val="0"/>
              </a:spcAft>
              <a:buClr>
                <a:srgbClr val="505150"/>
              </a:buClr>
              <a:buSzPct val="88000"/>
            </a:pPr>
            <a:endParaRPr lang="en-GB" sz="1000" noProof="0">
              <a:latin typeface="Droid Sans" charset="0"/>
              <a:cs typeface="Droid Sans" charset="0"/>
              <a:sym typeface="Droid Sans" charset="0"/>
            </a:endParaRPr>
          </a:p>
        </p:txBody>
      </p:sp>
      <p:pic>
        <p:nvPicPr>
          <p:cNvPr id="60" name="Picture 4">
            <a:extLst>
              <a:ext uri="{FF2B5EF4-FFF2-40B4-BE49-F238E27FC236}">
                <a16:creationId xmlns:a16="http://schemas.microsoft.com/office/drawing/2014/main" id="{13E2B9FD-99A2-0D10-A376-06CC27D35CF9}"/>
              </a:ext>
            </a:extLst>
          </p:cNvPr>
          <p:cNvPicPr>
            <a:picLocks noChangeAspect="1" noChangeArrowheads="1"/>
          </p:cNvPicPr>
          <p:nvPr/>
        </p:nvPicPr>
        <p:blipFill>
          <a:blip r:embed="rId84" cstate="print">
            <a:extLst>
              <a:ext uri="{28A0092B-C50C-407E-A947-70E740481C1C}">
                <a14:useLocalDpi xmlns:a14="http://schemas.microsoft.com/office/drawing/2010/main" val="0"/>
              </a:ext>
            </a:extLst>
          </a:blip>
          <a:srcRect/>
          <a:stretch>
            <a:fillRect/>
          </a:stretch>
        </p:blipFill>
        <p:spPr bwMode="auto">
          <a:xfrm>
            <a:off x="10482085" y="1448657"/>
            <a:ext cx="631883" cy="316435"/>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2" descr="BUILDING-CENTER - Serlan Lanzamientos">
            <a:extLst>
              <a:ext uri="{FF2B5EF4-FFF2-40B4-BE49-F238E27FC236}">
                <a16:creationId xmlns:a16="http://schemas.microsoft.com/office/drawing/2014/main" id="{65A5F63B-FC9F-CBFD-C312-1A2A3F27C099}"/>
              </a:ext>
            </a:extLst>
          </p:cNvPr>
          <p:cNvPicPr>
            <a:picLocks noChangeAspect="1" noChangeArrowheads="1"/>
          </p:cNvPicPr>
          <p:nvPr/>
        </p:nvPicPr>
        <p:blipFill>
          <a:blip r:embed="rId85" cstate="print">
            <a:extLst>
              <a:ext uri="{28A0092B-C50C-407E-A947-70E740481C1C}">
                <a14:useLocalDpi xmlns:a14="http://schemas.microsoft.com/office/drawing/2010/main" val="0"/>
              </a:ext>
            </a:extLst>
          </a:blip>
          <a:srcRect/>
          <a:stretch>
            <a:fillRect/>
          </a:stretch>
        </p:blipFill>
        <p:spPr bwMode="auto">
          <a:xfrm>
            <a:off x="10576533" y="1255519"/>
            <a:ext cx="443011" cy="221506"/>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
            <a:extLst>
              <a:ext uri="{FF2B5EF4-FFF2-40B4-BE49-F238E27FC236}">
                <a16:creationId xmlns:a16="http://schemas.microsoft.com/office/drawing/2014/main" id="{BA65FCD5-E80C-3ABA-9443-259385CDA1E9}"/>
              </a:ext>
            </a:extLst>
          </p:cNvPr>
          <p:cNvPicPr>
            <a:picLocks noChangeAspect="1" noChangeArrowheads="1"/>
          </p:cNvPicPr>
          <p:nvPr/>
        </p:nvPicPr>
        <p:blipFill>
          <a:blip r:embed="rId86" cstate="print">
            <a:extLst>
              <a:ext uri="{28A0092B-C50C-407E-A947-70E740481C1C}">
                <a14:useLocalDpi xmlns:a14="http://schemas.microsoft.com/office/drawing/2010/main" val="0"/>
              </a:ext>
            </a:extLst>
          </a:blip>
          <a:srcRect/>
          <a:stretch>
            <a:fillRect/>
          </a:stretch>
        </p:blipFill>
        <p:spPr bwMode="auto">
          <a:xfrm>
            <a:off x="10586773" y="1778540"/>
            <a:ext cx="419074" cy="352012"/>
          </a:xfrm>
          <a:prstGeom prst="rect">
            <a:avLst/>
          </a:prstGeom>
          <a:noFill/>
          <a:extLst>
            <a:ext uri="{909E8E84-426E-40DD-AFC4-6F175D3DCCD1}">
              <a14:hiddenFill xmlns:a14="http://schemas.microsoft.com/office/drawing/2010/main">
                <a:solidFill>
                  <a:srgbClr val="FFFFFF"/>
                </a:solidFill>
              </a14:hiddenFill>
            </a:ext>
          </a:extLst>
        </p:spPr>
      </p:pic>
      <p:cxnSp>
        <p:nvCxnSpPr>
          <p:cNvPr id="160" name="Conector recto 159">
            <a:extLst>
              <a:ext uri="{FF2B5EF4-FFF2-40B4-BE49-F238E27FC236}">
                <a16:creationId xmlns:a16="http://schemas.microsoft.com/office/drawing/2014/main" id="{43968010-ED64-0B3B-59BF-F78B779DCDBA}"/>
              </a:ext>
            </a:extLst>
          </p:cNvPr>
          <p:cNvCxnSpPr>
            <a:cxnSpLocks/>
          </p:cNvCxnSpPr>
          <p:nvPr/>
        </p:nvCxnSpPr>
        <p:spPr>
          <a:xfrm>
            <a:off x="10434335" y="1189760"/>
            <a:ext cx="72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2" name="CuadroTexto 161">
            <a:extLst>
              <a:ext uri="{FF2B5EF4-FFF2-40B4-BE49-F238E27FC236}">
                <a16:creationId xmlns:a16="http://schemas.microsoft.com/office/drawing/2014/main" id="{B58D4CC4-F5E1-EB30-3BF8-EEF35D79EED4}"/>
              </a:ext>
            </a:extLst>
          </p:cNvPr>
          <p:cNvSpPr txBox="1"/>
          <p:nvPr/>
        </p:nvSpPr>
        <p:spPr>
          <a:xfrm>
            <a:off x="11103248" y="966358"/>
            <a:ext cx="975176" cy="246221"/>
          </a:xfrm>
          <a:prstGeom prst="rect">
            <a:avLst/>
          </a:prstGeom>
        </p:spPr>
        <p:txBody>
          <a:bodyPr wrap="square" lIns="0" rIns="0" rtlCol="0">
            <a:spAutoFit/>
          </a:bodyPr>
          <a:lstStyle/>
          <a:p>
            <a:pPr algn="ctr" fontAlgn="base">
              <a:spcBef>
                <a:spcPct val="0"/>
              </a:spcBef>
              <a:spcAft>
                <a:spcPct val="0"/>
              </a:spcAft>
              <a:buClr>
                <a:srgbClr val="505150"/>
              </a:buClr>
              <a:buSzPct val="88000"/>
            </a:pPr>
            <a:r>
              <a:rPr lang="en-GB" sz="1000" noProof="0">
                <a:latin typeface="Droid Sans" charset="0"/>
                <a:cs typeface="Droid Sans" charset="0"/>
                <a:sym typeface="Droid Sans" charset="0"/>
              </a:rPr>
              <a:t>Pharma</a:t>
            </a:r>
          </a:p>
        </p:txBody>
      </p:sp>
      <p:pic>
        <p:nvPicPr>
          <p:cNvPr id="173" name="Picture 2" descr="Inicio - PRIM">
            <a:extLst>
              <a:ext uri="{FF2B5EF4-FFF2-40B4-BE49-F238E27FC236}">
                <a16:creationId xmlns:a16="http://schemas.microsoft.com/office/drawing/2014/main" id="{5F949B9B-1933-AD3F-3878-3A050A186C3E}"/>
              </a:ext>
            </a:extLst>
          </p:cNvPr>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11545856" y="1830003"/>
            <a:ext cx="491452" cy="225682"/>
          </a:xfrm>
          <a:prstGeom prst="rect">
            <a:avLst/>
          </a:prstGeom>
          <a:noFill/>
          <a:extLst>
            <a:ext uri="{909E8E84-426E-40DD-AFC4-6F175D3DCCD1}">
              <a14:hiddenFill xmlns:a14="http://schemas.microsoft.com/office/drawing/2010/main">
                <a:solidFill>
                  <a:srgbClr val="FFFFFF"/>
                </a:solidFill>
              </a14:hiddenFill>
            </a:ext>
          </a:extLst>
        </p:spPr>
      </p:pic>
      <p:pic>
        <p:nvPicPr>
          <p:cNvPr id="1024" name="Picture 4" descr="Aldo-Unión – 62 años al servicio de la medicina">
            <a:extLst>
              <a:ext uri="{FF2B5EF4-FFF2-40B4-BE49-F238E27FC236}">
                <a16:creationId xmlns:a16="http://schemas.microsoft.com/office/drawing/2014/main" id="{ABF84827-9A3D-D2C9-9AEB-D4EF058A4729}"/>
              </a:ext>
            </a:extLst>
          </p:cNvPr>
          <p:cNvPicPr>
            <a:picLocks noChangeAspect="1" noChangeArrowheads="1"/>
          </p:cNvPicPr>
          <p:nvPr/>
        </p:nvPicPr>
        <p:blipFill>
          <a:blip r:embed="rId87" cstate="print">
            <a:extLst>
              <a:ext uri="{28A0092B-C50C-407E-A947-70E740481C1C}">
                <a14:useLocalDpi xmlns:a14="http://schemas.microsoft.com/office/drawing/2010/main" val="0"/>
              </a:ext>
            </a:extLst>
          </a:blip>
          <a:srcRect/>
          <a:stretch>
            <a:fillRect/>
          </a:stretch>
        </p:blipFill>
        <p:spPr bwMode="auto">
          <a:xfrm>
            <a:off x="11400207" y="2089004"/>
            <a:ext cx="525324" cy="157983"/>
          </a:xfrm>
          <a:prstGeom prst="rect">
            <a:avLst/>
          </a:prstGeom>
          <a:noFill/>
          <a:extLst>
            <a:ext uri="{909E8E84-426E-40DD-AFC4-6F175D3DCCD1}">
              <a14:hiddenFill xmlns:a14="http://schemas.microsoft.com/office/drawing/2010/main">
                <a:solidFill>
                  <a:srgbClr val="FFFFFF"/>
                </a:solidFill>
              </a14:hiddenFill>
            </a:ext>
          </a:extLst>
        </p:spPr>
      </p:pic>
      <p:pic>
        <p:nvPicPr>
          <p:cNvPr id="1025" name="Picture 6" descr="Inicio - Inicio - BIDAFARMA">
            <a:extLst>
              <a:ext uri="{FF2B5EF4-FFF2-40B4-BE49-F238E27FC236}">
                <a16:creationId xmlns:a16="http://schemas.microsoft.com/office/drawing/2014/main" id="{2F516A0D-E92E-93EB-0515-D33C24BF2ECE}"/>
              </a:ext>
            </a:extLst>
          </p:cNvPr>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11354730" y="2290915"/>
            <a:ext cx="301401" cy="21299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8">
            <a:extLst>
              <a:ext uri="{FF2B5EF4-FFF2-40B4-BE49-F238E27FC236}">
                <a16:creationId xmlns:a16="http://schemas.microsoft.com/office/drawing/2014/main" id="{52E2ABA0-1B7C-D331-1554-E2D7F6E70758}"/>
              </a:ext>
            </a:extLst>
          </p:cNvPr>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11632386" y="1330295"/>
            <a:ext cx="420395" cy="157983"/>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16" descr="Martiderm">
            <a:extLst>
              <a:ext uri="{FF2B5EF4-FFF2-40B4-BE49-F238E27FC236}">
                <a16:creationId xmlns:a16="http://schemas.microsoft.com/office/drawing/2014/main" id="{08EFFCCA-8245-7DFF-F9F4-A45341C90C1C}"/>
              </a:ext>
            </a:extLst>
          </p:cNvPr>
          <p:cNvPicPr>
            <a:picLocks noChangeAspect="1" noChangeArrowheads="1"/>
          </p:cNvPicPr>
          <p:nvPr/>
        </p:nvPicPr>
        <p:blipFill>
          <a:blip r:embed="rId88" cstate="print">
            <a:extLst>
              <a:ext uri="{28A0092B-C50C-407E-A947-70E740481C1C}">
                <a14:useLocalDpi xmlns:a14="http://schemas.microsoft.com/office/drawing/2010/main" val="0"/>
              </a:ext>
            </a:extLst>
          </a:blip>
          <a:srcRect/>
          <a:stretch>
            <a:fillRect/>
          </a:stretch>
        </p:blipFill>
        <p:spPr bwMode="auto">
          <a:xfrm>
            <a:off x="11333279" y="1299071"/>
            <a:ext cx="257557" cy="185441"/>
          </a:xfrm>
          <a:prstGeom prst="rect">
            <a:avLst/>
          </a:prstGeom>
          <a:noFill/>
          <a:extLst>
            <a:ext uri="{909E8E84-426E-40DD-AFC4-6F175D3DCCD1}">
              <a14:hiddenFill xmlns:a14="http://schemas.microsoft.com/office/drawing/2010/main">
                <a:solidFill>
                  <a:srgbClr val="FFFFFF"/>
                </a:solidFill>
              </a14:hiddenFill>
            </a:ext>
          </a:extLst>
        </p:spPr>
      </p:pic>
      <p:pic>
        <p:nvPicPr>
          <p:cNvPr id="1031" name="Picture 22" descr="DIATER ALT A 1 - Diater Laboratorio Farmacéutico">
            <a:extLst>
              <a:ext uri="{FF2B5EF4-FFF2-40B4-BE49-F238E27FC236}">
                <a16:creationId xmlns:a16="http://schemas.microsoft.com/office/drawing/2014/main" id="{F3420671-16EC-7420-6923-01780918F53F}"/>
              </a:ext>
            </a:extLst>
          </p:cNvPr>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11642321" y="1582506"/>
            <a:ext cx="373246" cy="140245"/>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4" descr="Meiji Seika Pharma Sets up a New Subsidiary in the US | Business Wire">
            <a:extLst>
              <a:ext uri="{FF2B5EF4-FFF2-40B4-BE49-F238E27FC236}">
                <a16:creationId xmlns:a16="http://schemas.microsoft.com/office/drawing/2014/main" id="{25BE2A82-6A53-0FE1-05E0-2ABF890FA929}"/>
              </a:ext>
            </a:extLst>
          </p:cNvPr>
          <p:cNvPicPr>
            <a:picLocks noChangeAspect="1" noChangeArrowheads="1"/>
          </p:cNvPicPr>
          <p:nvPr/>
        </p:nvPicPr>
        <p:blipFill>
          <a:blip r:embed="rId89" cstate="print">
            <a:extLst>
              <a:ext uri="{28A0092B-C50C-407E-A947-70E740481C1C}">
                <a14:useLocalDpi xmlns:a14="http://schemas.microsoft.com/office/drawing/2010/main" val="0"/>
              </a:ext>
            </a:extLst>
          </a:blip>
          <a:srcRect/>
          <a:stretch>
            <a:fillRect/>
          </a:stretch>
        </p:blipFill>
        <p:spPr bwMode="auto">
          <a:xfrm>
            <a:off x="11696321" y="2298063"/>
            <a:ext cx="354558" cy="17727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8" descr="Inicio - Lacer">
            <a:extLst>
              <a:ext uri="{FF2B5EF4-FFF2-40B4-BE49-F238E27FC236}">
                <a16:creationId xmlns:a16="http://schemas.microsoft.com/office/drawing/2014/main" id="{CA5DE5E2-4459-6DF3-07C8-25F4B42A10B8}"/>
              </a:ext>
            </a:extLst>
          </p:cNvPr>
          <p:cNvPicPr>
            <a:picLocks noChangeAspect="1" noChangeArrowheads="1"/>
          </p:cNvPicPr>
          <p:nvPr/>
        </p:nvPicPr>
        <p:blipFill>
          <a:blip r:embed="rId47" cstate="print">
            <a:extLst>
              <a:ext uri="{28A0092B-C50C-407E-A947-70E740481C1C}">
                <a14:useLocalDpi xmlns:a14="http://schemas.microsoft.com/office/drawing/2010/main" val="0"/>
              </a:ext>
            </a:extLst>
          </a:blip>
          <a:srcRect/>
          <a:stretch>
            <a:fillRect/>
          </a:stretch>
        </p:blipFill>
        <p:spPr bwMode="auto">
          <a:xfrm>
            <a:off x="11353711" y="1568067"/>
            <a:ext cx="214907" cy="214907"/>
          </a:xfrm>
          <a:prstGeom prst="rect">
            <a:avLst/>
          </a:prstGeom>
          <a:noFill/>
          <a:extLst>
            <a:ext uri="{909E8E84-426E-40DD-AFC4-6F175D3DCCD1}">
              <a14:hiddenFill xmlns:a14="http://schemas.microsoft.com/office/drawing/2010/main">
                <a:solidFill>
                  <a:srgbClr val="FFFFFF"/>
                </a:solidFill>
              </a14:hiddenFill>
            </a:ext>
          </a:extLst>
        </p:spPr>
      </p:pic>
      <p:cxnSp>
        <p:nvCxnSpPr>
          <p:cNvPr id="1037" name="Conector recto 1036">
            <a:extLst>
              <a:ext uri="{FF2B5EF4-FFF2-40B4-BE49-F238E27FC236}">
                <a16:creationId xmlns:a16="http://schemas.microsoft.com/office/drawing/2014/main" id="{3D4D373C-BD17-63EC-9E89-5DDF74152ACB}"/>
              </a:ext>
            </a:extLst>
          </p:cNvPr>
          <p:cNvCxnSpPr>
            <a:cxnSpLocks/>
          </p:cNvCxnSpPr>
          <p:nvPr/>
        </p:nvCxnSpPr>
        <p:spPr>
          <a:xfrm>
            <a:off x="11230836" y="1190278"/>
            <a:ext cx="72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43" name="Picture 11">
            <a:extLst>
              <a:ext uri="{FF2B5EF4-FFF2-40B4-BE49-F238E27FC236}">
                <a16:creationId xmlns:a16="http://schemas.microsoft.com/office/drawing/2014/main" id="{19B5A5B2-7802-9765-4564-635E9E1C97F2}"/>
              </a:ext>
            </a:extLst>
          </p:cNvPr>
          <p:cNvPicPr>
            <a:picLocks noChangeAspect="1" noChangeArrowheads="1"/>
          </p:cNvPicPr>
          <p:nvPr/>
        </p:nvPicPr>
        <p:blipFill>
          <a:blip r:embed="rId61" cstate="screen"/>
          <a:srcRect l="2966"/>
          <a:stretch>
            <a:fillRect/>
          </a:stretch>
        </p:blipFill>
        <p:spPr bwMode="auto">
          <a:xfrm>
            <a:off x="5221677" y="3020952"/>
            <a:ext cx="451714" cy="215783"/>
          </a:xfrm>
          <a:prstGeom prst="rect">
            <a:avLst/>
          </a:prstGeom>
          <a:noFill/>
          <a:ln w="9525">
            <a:noFill/>
            <a:miter lim="800000"/>
            <a:headEnd/>
            <a:tailEnd/>
          </a:ln>
        </p:spPr>
      </p:pic>
      <p:sp>
        <p:nvSpPr>
          <p:cNvPr id="44" name="Rectángulo 43">
            <a:extLst>
              <a:ext uri="{FF2B5EF4-FFF2-40B4-BE49-F238E27FC236}">
                <a16:creationId xmlns:a16="http://schemas.microsoft.com/office/drawing/2014/main" id="{0EC495F1-7509-F84B-9257-40538C1D56E5}"/>
              </a:ext>
            </a:extLst>
          </p:cNvPr>
          <p:cNvSpPr/>
          <p:nvPr/>
        </p:nvSpPr>
        <p:spPr bwMode="auto">
          <a:xfrm>
            <a:off x="-9085" y="2917258"/>
            <a:ext cx="56270" cy="442438"/>
          </a:xfrm>
          <a:prstGeom prst="rect">
            <a:avLst/>
          </a:prstGeom>
          <a:solidFill>
            <a:schemeClr val="accent2">
              <a:lumMod val="40000"/>
              <a:lumOff val="60000"/>
            </a:schemeClr>
          </a:solidFill>
          <a:ln w="9525">
            <a:noFill/>
            <a:round/>
            <a:headEnd/>
            <a:tailEnd/>
          </a:ln>
        </p:spPr>
        <p:txBody>
          <a:bodyPr vert="horz" wrap="square" lIns="91440" tIns="45720" rIns="91440" bIns="45720" numCol="1" rtlCol="0" anchor="t" anchorCtr="0" compatLnSpc="1">
            <a:prstTxWarp prst="textNoShape">
              <a:avLst/>
            </a:prstTxWarp>
          </a:bodyPr>
          <a:lstStyle/>
          <a:p>
            <a:pPr algn="ctr"/>
            <a:endParaRPr lang="en-GB" sz="1800" noProof="0"/>
          </a:p>
        </p:txBody>
      </p:sp>
      <p:cxnSp>
        <p:nvCxnSpPr>
          <p:cNvPr id="52" name="Conector recto 51">
            <a:extLst>
              <a:ext uri="{FF2B5EF4-FFF2-40B4-BE49-F238E27FC236}">
                <a16:creationId xmlns:a16="http://schemas.microsoft.com/office/drawing/2014/main" id="{2FF8CC99-BC61-7542-E8CA-BB942A607C61}"/>
              </a:ext>
            </a:extLst>
          </p:cNvPr>
          <p:cNvCxnSpPr>
            <a:cxnSpLocks/>
          </p:cNvCxnSpPr>
          <p:nvPr/>
        </p:nvCxnSpPr>
        <p:spPr>
          <a:xfrm>
            <a:off x="1498109" y="2827409"/>
            <a:ext cx="0" cy="629446"/>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53" name="CuadroTexto 52">
            <a:extLst>
              <a:ext uri="{FF2B5EF4-FFF2-40B4-BE49-F238E27FC236}">
                <a16:creationId xmlns:a16="http://schemas.microsoft.com/office/drawing/2014/main" id="{F734608D-C9AB-FB4E-AF80-582090FB915B}"/>
              </a:ext>
            </a:extLst>
          </p:cNvPr>
          <p:cNvSpPr txBox="1"/>
          <p:nvPr/>
        </p:nvSpPr>
        <p:spPr>
          <a:xfrm>
            <a:off x="2019136" y="2756839"/>
            <a:ext cx="1278401" cy="200055"/>
          </a:xfrm>
          <a:prstGeom prst="rect">
            <a:avLst/>
          </a:prstGeom>
        </p:spPr>
        <p:txBody>
          <a:bodyPr wrap="square" lIns="0" rIns="0" rtlCol="0">
            <a:spAutoFit/>
          </a:bodyPr>
          <a:lstStyle/>
          <a:p>
            <a:pPr fontAlgn="base">
              <a:spcBef>
                <a:spcPct val="0"/>
              </a:spcBef>
              <a:spcAft>
                <a:spcPct val="0"/>
              </a:spcAft>
              <a:buClr>
                <a:srgbClr val="505150"/>
              </a:buClr>
              <a:buSzPct val="88000"/>
            </a:pPr>
            <a:r>
              <a:rPr lang="en-GB" sz="700" b="1" noProof="0">
                <a:latin typeface="Droid Sans"/>
                <a:cs typeface="Droid Sans" charset="0"/>
                <a:sym typeface="Droid Sans" charset="0"/>
              </a:rPr>
              <a:t>ETL Invoicing Migration</a:t>
            </a:r>
          </a:p>
        </p:txBody>
      </p:sp>
      <p:sp>
        <p:nvSpPr>
          <p:cNvPr id="54" name="CuadroTexto 53">
            <a:extLst>
              <a:ext uri="{FF2B5EF4-FFF2-40B4-BE49-F238E27FC236}">
                <a16:creationId xmlns:a16="http://schemas.microsoft.com/office/drawing/2014/main" id="{17371527-3C5F-07EE-AF39-519AF8BD58B7}"/>
              </a:ext>
            </a:extLst>
          </p:cNvPr>
          <p:cNvSpPr txBox="1"/>
          <p:nvPr/>
        </p:nvSpPr>
        <p:spPr>
          <a:xfrm>
            <a:off x="2027828" y="3033593"/>
            <a:ext cx="1256797" cy="200055"/>
          </a:xfrm>
          <a:prstGeom prst="rect">
            <a:avLst/>
          </a:prstGeom>
        </p:spPr>
        <p:txBody>
          <a:bodyPr wrap="square" lIns="0" rIns="0" rtlCol="0">
            <a:spAutoFit/>
          </a:bodyPr>
          <a:lstStyle/>
          <a:p>
            <a:pPr fontAlgn="base">
              <a:spcBef>
                <a:spcPct val="0"/>
              </a:spcBef>
              <a:spcAft>
                <a:spcPct val="0"/>
              </a:spcAft>
              <a:buClr>
                <a:srgbClr val="505150"/>
              </a:buClr>
              <a:buSzPct val="88000"/>
            </a:pPr>
            <a:r>
              <a:rPr lang="en-GB" sz="700" b="1" noProof="0">
                <a:latin typeface="Droid Sans"/>
                <a:cs typeface="Droid Sans" charset="0"/>
                <a:sym typeface="Droid Sans" charset="0"/>
              </a:rPr>
              <a:t>Finance &amp; Sales analysis</a:t>
            </a:r>
          </a:p>
        </p:txBody>
      </p:sp>
      <p:pic>
        <p:nvPicPr>
          <p:cNvPr id="55" name="Picture 2">
            <a:extLst>
              <a:ext uri="{FF2B5EF4-FFF2-40B4-BE49-F238E27FC236}">
                <a16:creationId xmlns:a16="http://schemas.microsoft.com/office/drawing/2014/main" id="{FAE46DC2-ABE8-E218-E6C7-1C6283B037D5}"/>
              </a:ext>
            </a:extLst>
          </p:cNvPr>
          <p:cNvPicPr>
            <a:picLocks noChangeAspect="1" noChangeArrowheads="1"/>
          </p:cNvPicPr>
          <p:nvPr/>
        </p:nvPicPr>
        <p:blipFill rotWithShape="1">
          <a:blip r:embed="rId90" cstate="print">
            <a:extLst>
              <a:ext uri="{28A0092B-C50C-407E-A947-70E740481C1C}">
                <a14:useLocalDpi xmlns:a14="http://schemas.microsoft.com/office/drawing/2010/main" val="0"/>
              </a:ext>
            </a:extLst>
          </a:blip>
          <a:srcRect l="31118" t="15382" r="34728" b="19571"/>
          <a:stretch/>
        </p:blipFill>
        <p:spPr bwMode="auto">
          <a:xfrm>
            <a:off x="1643464" y="2710233"/>
            <a:ext cx="273166" cy="281007"/>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 descr="Areas - Wikipedia, la enciclopedia libre">
            <a:extLst>
              <a:ext uri="{FF2B5EF4-FFF2-40B4-BE49-F238E27FC236}">
                <a16:creationId xmlns:a16="http://schemas.microsoft.com/office/drawing/2014/main" id="{AAB1C212-C845-29DB-7B1C-C54D7752DDD7}"/>
              </a:ext>
            </a:extLst>
          </p:cNvPr>
          <p:cNvPicPr>
            <a:picLocks noChangeAspect="1" noChangeArrowheads="1"/>
          </p:cNvPicPr>
          <p:nvPr/>
        </p:nvPicPr>
        <p:blipFill rotWithShape="1">
          <a:blip r:embed="rId91" cstate="print">
            <a:extLst>
              <a:ext uri="{28A0092B-C50C-407E-A947-70E740481C1C}">
                <a14:useLocalDpi xmlns:a14="http://schemas.microsoft.com/office/drawing/2010/main" val="0"/>
              </a:ext>
            </a:extLst>
          </a:blip>
          <a:srcRect l="14689" t="16324" r="14937" b="15736"/>
          <a:stretch/>
        </p:blipFill>
        <p:spPr bwMode="auto">
          <a:xfrm>
            <a:off x="1622777" y="3048985"/>
            <a:ext cx="313437" cy="227809"/>
          </a:xfrm>
          <a:prstGeom prst="rect">
            <a:avLst/>
          </a:prstGeom>
          <a:noFill/>
          <a:extLst>
            <a:ext uri="{909E8E84-426E-40DD-AFC4-6F175D3DCCD1}">
              <a14:hiddenFill xmlns:a14="http://schemas.microsoft.com/office/drawing/2010/main">
                <a:solidFill>
                  <a:srgbClr val="FFFFFF"/>
                </a:solidFill>
              </a14:hiddenFill>
            </a:ext>
          </a:extLst>
        </p:spPr>
      </p:pic>
      <p:pic>
        <p:nvPicPr>
          <p:cNvPr id="57" name="Imagen 56">
            <a:extLst>
              <a:ext uri="{FF2B5EF4-FFF2-40B4-BE49-F238E27FC236}">
                <a16:creationId xmlns:a16="http://schemas.microsoft.com/office/drawing/2014/main" id="{6EC26C82-D1BD-4B35-0C88-E97DDA6C0A60}"/>
              </a:ext>
            </a:extLst>
          </p:cNvPr>
          <p:cNvPicPr>
            <a:picLocks noChangeAspect="1"/>
          </p:cNvPicPr>
          <p:nvPr/>
        </p:nvPicPr>
        <p:blipFill>
          <a:blip r:embed="rId92"/>
          <a:stretch>
            <a:fillRect/>
          </a:stretch>
        </p:blipFill>
        <p:spPr>
          <a:xfrm>
            <a:off x="3400132" y="2765106"/>
            <a:ext cx="423508" cy="190240"/>
          </a:xfrm>
          <a:prstGeom prst="rect">
            <a:avLst/>
          </a:prstGeom>
        </p:spPr>
      </p:pic>
      <p:sp>
        <p:nvSpPr>
          <p:cNvPr id="59" name="CuadroTexto 58">
            <a:extLst>
              <a:ext uri="{FF2B5EF4-FFF2-40B4-BE49-F238E27FC236}">
                <a16:creationId xmlns:a16="http://schemas.microsoft.com/office/drawing/2014/main" id="{134E913F-19FE-645B-8333-8F1BC9BB1BEB}"/>
              </a:ext>
            </a:extLst>
          </p:cNvPr>
          <p:cNvSpPr txBox="1"/>
          <p:nvPr/>
        </p:nvSpPr>
        <p:spPr>
          <a:xfrm>
            <a:off x="3914210" y="2756441"/>
            <a:ext cx="1076267" cy="200055"/>
          </a:xfrm>
          <a:prstGeom prst="rect">
            <a:avLst/>
          </a:prstGeom>
        </p:spPr>
        <p:txBody>
          <a:bodyPr wrap="square" lIns="0" rIns="0" rtlCol="0">
            <a:spAutoFit/>
          </a:bodyPr>
          <a:lstStyle/>
          <a:p>
            <a:pPr fontAlgn="base">
              <a:spcBef>
                <a:spcPct val="0"/>
              </a:spcBef>
              <a:spcAft>
                <a:spcPct val="0"/>
              </a:spcAft>
              <a:buClr>
                <a:srgbClr val="505150"/>
              </a:buClr>
              <a:buSzPct val="88000"/>
            </a:pPr>
            <a:r>
              <a:rPr lang="en-GB" sz="700" b="1" noProof="0">
                <a:latin typeface="Droid Sans"/>
                <a:cs typeface="Droid Sans" charset="0"/>
                <a:sym typeface="Droid Sans" charset="0"/>
              </a:rPr>
              <a:t>IBM Maximo integration</a:t>
            </a:r>
          </a:p>
        </p:txBody>
      </p:sp>
      <p:pic>
        <p:nvPicPr>
          <p:cNvPr id="117" name="Picture 2" descr="DIA - Viquipèdia, l'enciclopèdia lliure">
            <a:extLst>
              <a:ext uri="{FF2B5EF4-FFF2-40B4-BE49-F238E27FC236}">
                <a16:creationId xmlns:a16="http://schemas.microsoft.com/office/drawing/2014/main" id="{0630D10E-FA88-3CCE-D6B1-024F818E0559}"/>
              </a:ext>
            </a:extLst>
          </p:cNvPr>
          <p:cNvPicPr>
            <a:picLocks noChangeAspect="1" noChangeArrowheads="1"/>
          </p:cNvPicPr>
          <p:nvPr/>
        </p:nvPicPr>
        <p:blipFill>
          <a:blip r:embed="rId93" cstate="email">
            <a:alphaModFix/>
            <a:extLst>
              <a:ext uri="{28A0092B-C50C-407E-A947-70E740481C1C}">
                <a14:useLocalDpi xmlns:a14="http://schemas.microsoft.com/office/drawing/2010/main"/>
              </a:ext>
            </a:extLst>
          </a:blip>
          <a:srcRect/>
          <a:stretch>
            <a:fillRect/>
          </a:stretch>
        </p:blipFill>
        <p:spPr bwMode="auto">
          <a:xfrm>
            <a:off x="3429224" y="3020277"/>
            <a:ext cx="361276" cy="200056"/>
          </a:xfrm>
          <a:prstGeom prst="rect">
            <a:avLst/>
          </a:prstGeom>
          <a:noFill/>
          <a:extLst>
            <a:ext uri="{909E8E84-426E-40DD-AFC4-6F175D3DCCD1}">
              <a14:hiddenFill xmlns:a14="http://schemas.microsoft.com/office/drawing/2010/main">
                <a:solidFill>
                  <a:srgbClr val="FFFFFF"/>
                </a:solidFill>
              </a14:hiddenFill>
            </a:ext>
          </a:extLst>
        </p:spPr>
      </p:pic>
      <p:sp>
        <p:nvSpPr>
          <p:cNvPr id="118" name="CuadroTexto 117">
            <a:extLst>
              <a:ext uri="{FF2B5EF4-FFF2-40B4-BE49-F238E27FC236}">
                <a16:creationId xmlns:a16="http://schemas.microsoft.com/office/drawing/2014/main" id="{547BBC23-6A98-D19C-2730-720D4BA8CFE4}"/>
              </a:ext>
            </a:extLst>
          </p:cNvPr>
          <p:cNvSpPr txBox="1"/>
          <p:nvPr/>
        </p:nvSpPr>
        <p:spPr>
          <a:xfrm>
            <a:off x="3914210" y="3027632"/>
            <a:ext cx="1076267" cy="200055"/>
          </a:xfrm>
          <a:prstGeom prst="rect">
            <a:avLst/>
          </a:prstGeom>
        </p:spPr>
        <p:txBody>
          <a:bodyPr wrap="square" lIns="0" rIns="0" rtlCol="0">
            <a:spAutoFit/>
          </a:bodyPr>
          <a:lstStyle/>
          <a:p>
            <a:pPr fontAlgn="base">
              <a:spcBef>
                <a:spcPct val="0"/>
              </a:spcBef>
              <a:spcAft>
                <a:spcPct val="0"/>
              </a:spcAft>
              <a:buClr>
                <a:srgbClr val="505150"/>
              </a:buClr>
              <a:buSzPct val="88000"/>
            </a:pPr>
            <a:r>
              <a:rPr lang="en-GB" sz="700" b="1" noProof="0">
                <a:latin typeface="Droid Sans"/>
                <a:cs typeface="Droid Sans" charset="0"/>
                <a:sym typeface="Droid Sans" charset="0"/>
              </a:rPr>
              <a:t>Sales Information</a:t>
            </a:r>
          </a:p>
        </p:txBody>
      </p:sp>
      <p:pic>
        <p:nvPicPr>
          <p:cNvPr id="119" name="Picture 10">
            <a:extLst>
              <a:ext uri="{FF2B5EF4-FFF2-40B4-BE49-F238E27FC236}">
                <a16:creationId xmlns:a16="http://schemas.microsoft.com/office/drawing/2014/main" id="{0B0B424C-D880-A984-D52F-C48159609BAB}"/>
              </a:ext>
            </a:extLst>
          </p:cNvPr>
          <p:cNvPicPr>
            <a:picLocks noChangeAspect="1" noChangeArrowheads="1"/>
          </p:cNvPicPr>
          <p:nvPr/>
        </p:nvPicPr>
        <p:blipFill>
          <a:blip r:embed="rId94" cstate="email">
            <a:extLst>
              <a:ext uri="{28A0092B-C50C-407E-A947-70E740481C1C}">
                <a14:useLocalDpi xmlns:a14="http://schemas.microsoft.com/office/drawing/2010/main"/>
              </a:ext>
            </a:extLst>
          </a:blip>
          <a:srcRect/>
          <a:stretch>
            <a:fillRect/>
          </a:stretch>
        </p:blipFill>
        <p:spPr bwMode="auto">
          <a:xfrm>
            <a:off x="5200788" y="2764155"/>
            <a:ext cx="502752" cy="188932"/>
          </a:xfrm>
          <a:prstGeom prst="rect">
            <a:avLst/>
          </a:prstGeom>
          <a:noFill/>
          <a:extLst>
            <a:ext uri="{909E8E84-426E-40DD-AFC4-6F175D3DCCD1}">
              <a14:hiddenFill xmlns:a14="http://schemas.microsoft.com/office/drawing/2010/main">
                <a:solidFill>
                  <a:srgbClr val="FFFFFF"/>
                </a:solidFill>
              </a14:hiddenFill>
            </a:ext>
          </a:extLst>
        </p:spPr>
      </p:pic>
      <p:sp>
        <p:nvSpPr>
          <p:cNvPr id="120" name="CuadroTexto 119">
            <a:extLst>
              <a:ext uri="{FF2B5EF4-FFF2-40B4-BE49-F238E27FC236}">
                <a16:creationId xmlns:a16="http://schemas.microsoft.com/office/drawing/2014/main" id="{2C6ABCF5-9141-F3A2-81D9-4B89AF8BECD6}"/>
              </a:ext>
            </a:extLst>
          </p:cNvPr>
          <p:cNvSpPr txBox="1"/>
          <p:nvPr/>
        </p:nvSpPr>
        <p:spPr>
          <a:xfrm>
            <a:off x="5748404" y="2756440"/>
            <a:ext cx="1285509" cy="200055"/>
          </a:xfrm>
          <a:prstGeom prst="rect">
            <a:avLst/>
          </a:prstGeom>
        </p:spPr>
        <p:txBody>
          <a:bodyPr wrap="square" lIns="0" rIns="0" rtlCol="0">
            <a:spAutoFit/>
          </a:bodyPr>
          <a:lstStyle/>
          <a:p>
            <a:pPr fontAlgn="base">
              <a:spcBef>
                <a:spcPct val="0"/>
              </a:spcBef>
              <a:spcAft>
                <a:spcPct val="0"/>
              </a:spcAft>
              <a:buClr>
                <a:srgbClr val="505150"/>
              </a:buClr>
              <a:buSzPct val="88000"/>
            </a:pPr>
            <a:r>
              <a:rPr lang="en-GB" sz="700" b="1" noProof="0">
                <a:latin typeface="Droid Sans"/>
                <a:cs typeface="Droid Sans" charset="0"/>
                <a:sym typeface="Droid Sans" charset="0"/>
              </a:rPr>
              <a:t>Purchasing Model Migration</a:t>
            </a:r>
          </a:p>
        </p:txBody>
      </p:sp>
      <p:sp>
        <p:nvSpPr>
          <p:cNvPr id="164" name="CuadroTexto 163">
            <a:extLst>
              <a:ext uri="{FF2B5EF4-FFF2-40B4-BE49-F238E27FC236}">
                <a16:creationId xmlns:a16="http://schemas.microsoft.com/office/drawing/2014/main" id="{B8281CF7-2857-1046-54A4-564FDC9E9E14}"/>
              </a:ext>
            </a:extLst>
          </p:cNvPr>
          <p:cNvSpPr txBox="1"/>
          <p:nvPr/>
        </p:nvSpPr>
        <p:spPr>
          <a:xfrm>
            <a:off x="5749141" y="3026727"/>
            <a:ext cx="1186073" cy="200055"/>
          </a:xfrm>
          <a:prstGeom prst="rect">
            <a:avLst/>
          </a:prstGeom>
        </p:spPr>
        <p:txBody>
          <a:bodyPr wrap="square" lIns="0" rIns="0" rtlCol="0">
            <a:spAutoFit/>
          </a:bodyPr>
          <a:lstStyle/>
          <a:p>
            <a:pPr fontAlgn="base">
              <a:spcBef>
                <a:spcPct val="0"/>
              </a:spcBef>
              <a:spcAft>
                <a:spcPct val="0"/>
              </a:spcAft>
              <a:buClr>
                <a:srgbClr val="505150"/>
              </a:buClr>
              <a:buSzPct val="88000"/>
            </a:pPr>
            <a:r>
              <a:rPr lang="en-GB" sz="700" b="1" noProof="0">
                <a:latin typeface="Droid Sans"/>
                <a:cs typeface="Droid Sans" charset="0"/>
                <a:sym typeface="Droid Sans" charset="0"/>
              </a:rPr>
              <a:t>Replica model BW</a:t>
            </a:r>
          </a:p>
        </p:txBody>
      </p:sp>
      <p:pic>
        <p:nvPicPr>
          <p:cNvPr id="166" name="Picture 4" descr="Serveo - Facility Management and Services">
            <a:extLst>
              <a:ext uri="{FF2B5EF4-FFF2-40B4-BE49-F238E27FC236}">
                <a16:creationId xmlns:a16="http://schemas.microsoft.com/office/drawing/2014/main" id="{14B6973A-CDDB-6370-4CE9-F81D94671DD0}"/>
              </a:ext>
            </a:extLst>
          </p:cNvPr>
          <p:cNvPicPr>
            <a:picLocks noChangeAspect="1" noChangeArrowheads="1"/>
          </p:cNvPicPr>
          <p:nvPr/>
        </p:nvPicPr>
        <p:blipFill>
          <a:blip r:embed="rId95" cstate="print">
            <a:extLst>
              <a:ext uri="{28A0092B-C50C-407E-A947-70E740481C1C}">
                <a14:useLocalDpi xmlns:a14="http://schemas.microsoft.com/office/drawing/2010/main" val="0"/>
              </a:ext>
            </a:extLst>
          </a:blip>
          <a:srcRect/>
          <a:stretch>
            <a:fillRect/>
          </a:stretch>
        </p:blipFill>
        <p:spPr bwMode="auto">
          <a:xfrm>
            <a:off x="7124241" y="2729949"/>
            <a:ext cx="482400" cy="253260"/>
          </a:xfrm>
          <a:prstGeom prst="rect">
            <a:avLst/>
          </a:prstGeom>
          <a:noFill/>
          <a:extLst>
            <a:ext uri="{909E8E84-426E-40DD-AFC4-6F175D3DCCD1}">
              <a14:hiddenFill xmlns:a14="http://schemas.microsoft.com/office/drawing/2010/main">
                <a:solidFill>
                  <a:srgbClr val="FFFFFF"/>
                </a:solidFill>
              </a14:hiddenFill>
            </a:ext>
          </a:extLst>
        </p:spPr>
      </p:pic>
      <p:sp>
        <p:nvSpPr>
          <p:cNvPr id="169" name="CuadroTexto 168">
            <a:extLst>
              <a:ext uri="{FF2B5EF4-FFF2-40B4-BE49-F238E27FC236}">
                <a16:creationId xmlns:a16="http://schemas.microsoft.com/office/drawing/2014/main" id="{E54AFD71-9AC3-25EA-FD59-1F6A2CD4F380}"/>
              </a:ext>
            </a:extLst>
          </p:cNvPr>
          <p:cNvSpPr txBox="1"/>
          <p:nvPr/>
        </p:nvSpPr>
        <p:spPr>
          <a:xfrm>
            <a:off x="7674456" y="2755346"/>
            <a:ext cx="1576680" cy="204196"/>
          </a:xfrm>
          <a:prstGeom prst="rect">
            <a:avLst/>
          </a:prstGeom>
        </p:spPr>
        <p:txBody>
          <a:bodyPr wrap="square" lIns="0" rIns="0" rtlCol="0">
            <a:spAutoFit/>
          </a:bodyPr>
          <a:lstStyle/>
          <a:p>
            <a:pPr fontAlgn="base">
              <a:spcBef>
                <a:spcPct val="0"/>
              </a:spcBef>
              <a:spcAft>
                <a:spcPct val="0"/>
              </a:spcAft>
              <a:buClr>
                <a:srgbClr val="505150"/>
              </a:buClr>
              <a:buSzPct val="88000"/>
            </a:pPr>
            <a:r>
              <a:rPr lang="en-GB" sz="700" b="1" noProof="0">
                <a:latin typeface="Droid Sans"/>
                <a:cs typeface="Droid Sans" charset="0"/>
                <a:sym typeface="Droid Sans" charset="0"/>
              </a:rPr>
              <a:t>Financial Model Migration</a:t>
            </a:r>
          </a:p>
        </p:txBody>
      </p:sp>
      <p:sp>
        <p:nvSpPr>
          <p:cNvPr id="171" name="CuadroTexto 170">
            <a:extLst>
              <a:ext uri="{FF2B5EF4-FFF2-40B4-BE49-F238E27FC236}">
                <a16:creationId xmlns:a16="http://schemas.microsoft.com/office/drawing/2014/main" id="{3BA6B5D5-4B62-7061-FAA5-35279DBA3565}"/>
              </a:ext>
            </a:extLst>
          </p:cNvPr>
          <p:cNvSpPr txBox="1"/>
          <p:nvPr/>
        </p:nvSpPr>
        <p:spPr>
          <a:xfrm>
            <a:off x="7674350" y="2969284"/>
            <a:ext cx="1810089" cy="307777"/>
          </a:xfrm>
          <a:prstGeom prst="rect">
            <a:avLst/>
          </a:prstGeom>
        </p:spPr>
        <p:txBody>
          <a:bodyPr wrap="square" lIns="0" rIns="0" rtlCol="0">
            <a:spAutoFit/>
          </a:bodyPr>
          <a:lstStyle/>
          <a:p>
            <a:pPr fontAlgn="base">
              <a:spcBef>
                <a:spcPct val="0"/>
              </a:spcBef>
              <a:spcAft>
                <a:spcPct val="0"/>
              </a:spcAft>
              <a:buClr>
                <a:srgbClr val="505150"/>
              </a:buClr>
              <a:buSzPct val="88000"/>
            </a:pPr>
            <a:r>
              <a:rPr lang="en-GB" sz="700" b="1" noProof="0">
                <a:latin typeface="Droid Sans"/>
                <a:cs typeface="Droid Sans" charset="0"/>
                <a:sym typeface="Droid Sans" charset="0"/>
              </a:rPr>
              <a:t>Legal, Structure, Operational and Consolidation model migration</a:t>
            </a:r>
          </a:p>
        </p:txBody>
      </p:sp>
      <p:pic>
        <p:nvPicPr>
          <p:cNvPr id="1038" name="Imagen 1037">
            <a:extLst>
              <a:ext uri="{FF2B5EF4-FFF2-40B4-BE49-F238E27FC236}">
                <a16:creationId xmlns:a16="http://schemas.microsoft.com/office/drawing/2014/main" id="{FA223EFF-FFB1-4AB3-9B09-58604B943D91}"/>
              </a:ext>
            </a:extLst>
          </p:cNvPr>
          <p:cNvPicPr>
            <a:picLocks noChangeAspect="1"/>
          </p:cNvPicPr>
          <p:nvPr/>
        </p:nvPicPr>
        <p:blipFill>
          <a:blip r:embed="rId92"/>
          <a:stretch>
            <a:fillRect/>
          </a:stretch>
        </p:blipFill>
        <p:spPr>
          <a:xfrm>
            <a:off x="7162408" y="3031387"/>
            <a:ext cx="423508" cy="190240"/>
          </a:xfrm>
          <a:prstGeom prst="rect">
            <a:avLst/>
          </a:prstGeom>
        </p:spPr>
      </p:pic>
      <p:pic>
        <p:nvPicPr>
          <p:cNvPr id="1039" name="Picture 10" descr="Getting Started with SAP Datasphere | SAP Community">
            <a:extLst>
              <a:ext uri="{FF2B5EF4-FFF2-40B4-BE49-F238E27FC236}">
                <a16:creationId xmlns:a16="http://schemas.microsoft.com/office/drawing/2014/main" id="{584F626E-5E78-93B4-25CE-7DC21F6E9B0C}"/>
              </a:ext>
            </a:extLst>
          </p:cNvPr>
          <p:cNvPicPr>
            <a:picLocks noChangeAspect="1" noChangeArrowheads="1"/>
          </p:cNvPicPr>
          <p:nvPr/>
        </p:nvPicPr>
        <p:blipFill>
          <a:blip r:embed="rId96" cstate="print">
            <a:extLst>
              <a:ext uri="{28A0092B-C50C-407E-A947-70E740481C1C}">
                <a14:useLocalDpi xmlns:a14="http://schemas.microsoft.com/office/drawing/2010/main" val="0"/>
              </a:ext>
            </a:extLst>
          </a:blip>
          <a:srcRect/>
          <a:stretch>
            <a:fillRect/>
          </a:stretch>
        </p:blipFill>
        <p:spPr bwMode="auto">
          <a:xfrm>
            <a:off x="557999" y="2751742"/>
            <a:ext cx="508524" cy="508524"/>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2" descr="Getting Started with SAP Datasphere | SAP Community">
            <a:extLst>
              <a:ext uri="{FF2B5EF4-FFF2-40B4-BE49-F238E27FC236}">
                <a16:creationId xmlns:a16="http://schemas.microsoft.com/office/drawing/2014/main" id="{D43E4405-6D38-5233-4CDA-046E8E907FD9}"/>
              </a:ext>
            </a:extLst>
          </p:cNvPr>
          <p:cNvPicPr>
            <a:picLocks noChangeAspect="1" noChangeArrowheads="1"/>
          </p:cNvPicPr>
          <p:nvPr/>
        </p:nvPicPr>
        <p:blipFill rotWithShape="1">
          <a:blip r:embed="rId97" cstate="print">
            <a:extLst>
              <a:ext uri="{28A0092B-C50C-407E-A947-70E740481C1C}">
                <a14:useLocalDpi xmlns:a14="http://schemas.microsoft.com/office/drawing/2010/main" val="0"/>
              </a:ext>
            </a:extLst>
          </a:blip>
          <a:srcRect/>
          <a:stretch/>
        </p:blipFill>
        <p:spPr bwMode="auto">
          <a:xfrm>
            <a:off x="199504" y="3107281"/>
            <a:ext cx="1168556" cy="316081"/>
          </a:xfrm>
          <a:prstGeom prst="rect">
            <a:avLst/>
          </a:prstGeom>
          <a:noFill/>
          <a:extLst>
            <a:ext uri="{909E8E84-426E-40DD-AFC4-6F175D3DCCD1}">
              <a14:hiddenFill xmlns:a14="http://schemas.microsoft.com/office/drawing/2010/main">
                <a:solidFill>
                  <a:srgbClr val="FFFFFF"/>
                </a:solidFill>
              </a14:hiddenFill>
            </a:ext>
          </a:extLst>
        </p:spPr>
      </p:pic>
      <p:sp>
        <p:nvSpPr>
          <p:cNvPr id="1041" name="CuadroTexto 1040">
            <a:extLst>
              <a:ext uri="{FF2B5EF4-FFF2-40B4-BE49-F238E27FC236}">
                <a16:creationId xmlns:a16="http://schemas.microsoft.com/office/drawing/2014/main" id="{B1893340-62F5-9C4F-5961-1513D92CF8C1}"/>
              </a:ext>
            </a:extLst>
          </p:cNvPr>
          <p:cNvSpPr txBox="1"/>
          <p:nvPr/>
        </p:nvSpPr>
        <p:spPr>
          <a:xfrm>
            <a:off x="521705" y="3408244"/>
            <a:ext cx="1278401" cy="200055"/>
          </a:xfrm>
          <a:prstGeom prst="rect">
            <a:avLst/>
          </a:prstGeom>
        </p:spPr>
        <p:txBody>
          <a:bodyPr wrap="square" lIns="0" rIns="0" rtlCol="0">
            <a:spAutoFit/>
          </a:bodyPr>
          <a:lstStyle/>
          <a:p>
            <a:pPr fontAlgn="base">
              <a:spcBef>
                <a:spcPct val="0"/>
              </a:spcBef>
              <a:spcAft>
                <a:spcPct val="0"/>
              </a:spcAft>
              <a:buClr>
                <a:srgbClr val="505150"/>
              </a:buClr>
              <a:buSzPct val="88000"/>
            </a:pPr>
            <a:r>
              <a:rPr lang="en-GB" sz="700" b="1" noProof="0">
                <a:solidFill>
                  <a:schemeClr val="bg2">
                    <a:lumMod val="25000"/>
                  </a:schemeClr>
                </a:solidFill>
                <a:latin typeface="Droid Sans"/>
                <a:cs typeface="Droid Sans" charset="0"/>
                <a:sym typeface="Droid Sans" charset="0"/>
              </a:rPr>
              <a:t>+15 References</a:t>
            </a:r>
          </a:p>
        </p:txBody>
      </p:sp>
      <p:pic>
        <p:nvPicPr>
          <p:cNvPr id="1042" name="Picture 10" descr="Cuatrecasas top law firm for venture capital deals in Q3 2019 - Iberian  Lawyer">
            <a:extLst>
              <a:ext uri="{FF2B5EF4-FFF2-40B4-BE49-F238E27FC236}">
                <a16:creationId xmlns:a16="http://schemas.microsoft.com/office/drawing/2014/main" id="{650C5F3A-C4B6-8787-D590-7735FB21CC8C}"/>
              </a:ext>
            </a:extLst>
          </p:cNvPr>
          <p:cNvPicPr>
            <a:picLocks noChangeAspect="1" noChangeArrowheads="1"/>
          </p:cNvPicPr>
          <p:nvPr/>
        </p:nvPicPr>
        <p:blipFill rotWithShape="1">
          <a:blip r:embed="rId98" cstate="print">
            <a:extLst>
              <a:ext uri="{28A0092B-C50C-407E-A947-70E740481C1C}">
                <a14:useLocalDpi xmlns:a14="http://schemas.microsoft.com/office/drawing/2010/main" val="0"/>
              </a:ext>
            </a:extLst>
          </a:blip>
          <a:srcRect/>
          <a:stretch/>
        </p:blipFill>
        <p:spPr bwMode="auto">
          <a:xfrm>
            <a:off x="9218078" y="2781167"/>
            <a:ext cx="1005565" cy="180000"/>
          </a:xfrm>
          <a:prstGeom prst="rect">
            <a:avLst/>
          </a:prstGeom>
          <a:noFill/>
          <a:extLst>
            <a:ext uri="{909E8E84-426E-40DD-AFC4-6F175D3DCCD1}">
              <a14:hiddenFill xmlns:a14="http://schemas.microsoft.com/office/drawing/2010/main">
                <a:solidFill>
                  <a:srgbClr val="FFFFFF"/>
                </a:solidFill>
              </a14:hiddenFill>
            </a:ext>
          </a:extLst>
        </p:spPr>
      </p:pic>
      <p:sp>
        <p:nvSpPr>
          <p:cNvPr id="1043" name="CuadroTexto 1042">
            <a:extLst>
              <a:ext uri="{FF2B5EF4-FFF2-40B4-BE49-F238E27FC236}">
                <a16:creationId xmlns:a16="http://schemas.microsoft.com/office/drawing/2014/main" id="{E1425F89-B0C4-C093-7CD5-681AB50ECC6B}"/>
              </a:ext>
            </a:extLst>
          </p:cNvPr>
          <p:cNvSpPr txBox="1"/>
          <p:nvPr/>
        </p:nvSpPr>
        <p:spPr>
          <a:xfrm>
            <a:off x="10204925" y="2737653"/>
            <a:ext cx="1576680" cy="200055"/>
          </a:xfrm>
          <a:prstGeom prst="rect">
            <a:avLst/>
          </a:prstGeom>
        </p:spPr>
        <p:txBody>
          <a:bodyPr wrap="square" lIns="0" rIns="0" rtlCol="0">
            <a:spAutoFit/>
          </a:bodyPr>
          <a:lstStyle/>
          <a:p>
            <a:pPr fontAlgn="base">
              <a:spcBef>
                <a:spcPct val="0"/>
              </a:spcBef>
              <a:spcAft>
                <a:spcPct val="0"/>
              </a:spcAft>
              <a:buClr>
                <a:srgbClr val="505150"/>
              </a:buClr>
              <a:buSzPct val="88000"/>
            </a:pPr>
            <a:r>
              <a:rPr lang="en-GB" sz="700" b="1" noProof="0">
                <a:latin typeface="Droid Sans"/>
                <a:sym typeface="Droid Sans" charset="0"/>
              </a:rPr>
              <a:t>BW and SAC Reporting Migration</a:t>
            </a:r>
          </a:p>
        </p:txBody>
      </p:sp>
      <p:pic>
        <p:nvPicPr>
          <p:cNvPr id="1044" name="Imagen 1043">
            <a:extLst>
              <a:ext uri="{FF2B5EF4-FFF2-40B4-BE49-F238E27FC236}">
                <a16:creationId xmlns:a16="http://schemas.microsoft.com/office/drawing/2014/main" id="{90F7103A-9694-A684-00EC-DE3D76A8E4C9}"/>
              </a:ext>
            </a:extLst>
          </p:cNvPr>
          <p:cNvPicPr>
            <a:picLocks noChangeAspect="1"/>
          </p:cNvPicPr>
          <p:nvPr/>
        </p:nvPicPr>
        <p:blipFill>
          <a:blip r:embed="rId99"/>
          <a:stretch>
            <a:fillRect/>
          </a:stretch>
        </p:blipFill>
        <p:spPr>
          <a:xfrm>
            <a:off x="9332876" y="3032522"/>
            <a:ext cx="792000" cy="107811"/>
          </a:xfrm>
          <a:prstGeom prst="rect">
            <a:avLst/>
          </a:prstGeom>
        </p:spPr>
      </p:pic>
      <p:sp>
        <p:nvSpPr>
          <p:cNvPr id="1045" name="CuadroTexto 1044">
            <a:extLst>
              <a:ext uri="{FF2B5EF4-FFF2-40B4-BE49-F238E27FC236}">
                <a16:creationId xmlns:a16="http://schemas.microsoft.com/office/drawing/2014/main" id="{1EB9CB67-3628-D7B0-C375-99A046366829}"/>
              </a:ext>
            </a:extLst>
          </p:cNvPr>
          <p:cNvSpPr txBox="1"/>
          <p:nvPr/>
        </p:nvSpPr>
        <p:spPr>
          <a:xfrm>
            <a:off x="10191924" y="2936218"/>
            <a:ext cx="1576680" cy="307777"/>
          </a:xfrm>
          <a:prstGeom prst="rect">
            <a:avLst/>
          </a:prstGeom>
        </p:spPr>
        <p:txBody>
          <a:bodyPr wrap="square" lIns="0" rIns="0" rtlCol="0">
            <a:spAutoFit/>
          </a:bodyPr>
          <a:lstStyle/>
          <a:p>
            <a:pPr fontAlgn="base">
              <a:spcBef>
                <a:spcPct val="0"/>
              </a:spcBef>
              <a:spcAft>
                <a:spcPct val="0"/>
              </a:spcAft>
              <a:buClr>
                <a:srgbClr val="505150"/>
              </a:buClr>
              <a:buSzPct val="88000"/>
            </a:pPr>
            <a:r>
              <a:rPr lang="en-GB" sz="700" b="1" noProof="0">
                <a:latin typeface="Droid Sans"/>
                <a:sym typeface="Droid Sans" charset="0"/>
              </a:rPr>
              <a:t>Implementation of dataflow for purchases and SAC Reports</a:t>
            </a:r>
          </a:p>
        </p:txBody>
      </p:sp>
      <p:pic>
        <p:nvPicPr>
          <p:cNvPr id="1046" name="Picture 4">
            <a:extLst>
              <a:ext uri="{FF2B5EF4-FFF2-40B4-BE49-F238E27FC236}">
                <a16:creationId xmlns:a16="http://schemas.microsoft.com/office/drawing/2014/main" id="{993666C3-5101-8A10-0F63-A500B696E89D}"/>
              </a:ext>
            </a:extLst>
          </p:cNvPr>
          <p:cNvPicPr>
            <a:picLocks noChangeAspect="1" noChangeArrowheads="1"/>
          </p:cNvPicPr>
          <p:nvPr/>
        </p:nvPicPr>
        <p:blipFill rotWithShape="1">
          <a:blip r:embed="rId100" cstate="print">
            <a:extLst>
              <a:ext uri="{28A0092B-C50C-407E-A947-70E740481C1C}">
                <a14:useLocalDpi xmlns:a14="http://schemas.microsoft.com/office/drawing/2010/main" val="0"/>
              </a:ext>
            </a:extLst>
          </a:blip>
          <a:srcRect/>
          <a:stretch/>
        </p:blipFill>
        <p:spPr bwMode="auto">
          <a:xfrm>
            <a:off x="1562065" y="3349946"/>
            <a:ext cx="447385" cy="171140"/>
          </a:xfrm>
          <a:prstGeom prst="rect">
            <a:avLst/>
          </a:prstGeom>
          <a:noFill/>
          <a:extLst>
            <a:ext uri="{909E8E84-426E-40DD-AFC4-6F175D3DCCD1}">
              <a14:hiddenFill xmlns:a14="http://schemas.microsoft.com/office/drawing/2010/main">
                <a:solidFill>
                  <a:srgbClr val="FFFFFF"/>
                </a:solidFill>
              </a14:hiddenFill>
            </a:ext>
          </a:extLst>
        </p:spPr>
      </p:pic>
      <p:sp>
        <p:nvSpPr>
          <p:cNvPr id="1047" name="CuadroTexto 1046">
            <a:extLst>
              <a:ext uri="{FF2B5EF4-FFF2-40B4-BE49-F238E27FC236}">
                <a16:creationId xmlns:a16="http://schemas.microsoft.com/office/drawing/2014/main" id="{C1CD3E90-C714-7FAD-C604-8DF575553171}"/>
              </a:ext>
            </a:extLst>
          </p:cNvPr>
          <p:cNvSpPr txBox="1"/>
          <p:nvPr/>
        </p:nvSpPr>
        <p:spPr>
          <a:xfrm>
            <a:off x="2029937" y="3340724"/>
            <a:ext cx="1256797" cy="200055"/>
          </a:xfrm>
          <a:prstGeom prst="rect">
            <a:avLst/>
          </a:prstGeom>
        </p:spPr>
        <p:txBody>
          <a:bodyPr wrap="square" lIns="0" rIns="0" rtlCol="0">
            <a:spAutoFit/>
          </a:bodyPr>
          <a:lstStyle/>
          <a:p>
            <a:pPr fontAlgn="base">
              <a:spcBef>
                <a:spcPct val="0"/>
              </a:spcBef>
              <a:spcAft>
                <a:spcPct val="0"/>
              </a:spcAft>
              <a:buClr>
                <a:srgbClr val="505150"/>
              </a:buClr>
              <a:buSzPct val="88000"/>
            </a:pPr>
            <a:r>
              <a:rPr lang="en-GB" sz="700" b="1" noProof="0">
                <a:latin typeface="Droid Sans"/>
                <a:cs typeface="Droid Sans" charset="0"/>
                <a:sym typeface="Droid Sans" charset="0"/>
              </a:rPr>
              <a:t>New analytics platform</a:t>
            </a:r>
          </a:p>
        </p:txBody>
      </p:sp>
      <p:pic>
        <p:nvPicPr>
          <p:cNvPr id="1048" name="Picture 2" descr="Liverpool – Centro Santa Fe">
            <a:extLst>
              <a:ext uri="{FF2B5EF4-FFF2-40B4-BE49-F238E27FC236}">
                <a16:creationId xmlns:a16="http://schemas.microsoft.com/office/drawing/2014/main" id="{6FA9ADFD-4DEF-46C3-291B-33237574345C}"/>
              </a:ext>
            </a:extLst>
          </p:cNvPr>
          <p:cNvPicPr>
            <a:picLocks noChangeAspect="1" noChangeArrowheads="1"/>
          </p:cNvPicPr>
          <p:nvPr/>
        </p:nvPicPr>
        <p:blipFill rotWithShape="1">
          <a:blip r:embed="rId101" cstate="print">
            <a:extLst>
              <a:ext uri="{28A0092B-C50C-407E-A947-70E740481C1C}">
                <a14:useLocalDpi xmlns:a14="http://schemas.microsoft.com/office/drawing/2010/main" val="0"/>
              </a:ext>
            </a:extLst>
          </a:blip>
          <a:srcRect/>
          <a:stretch/>
        </p:blipFill>
        <p:spPr bwMode="auto">
          <a:xfrm>
            <a:off x="3332903" y="3359696"/>
            <a:ext cx="608361" cy="144311"/>
          </a:xfrm>
          <a:prstGeom prst="rect">
            <a:avLst/>
          </a:prstGeom>
          <a:noFill/>
          <a:extLst>
            <a:ext uri="{909E8E84-426E-40DD-AFC4-6F175D3DCCD1}">
              <a14:hiddenFill xmlns:a14="http://schemas.microsoft.com/office/drawing/2010/main">
                <a:solidFill>
                  <a:srgbClr val="FFFFFF"/>
                </a:solidFill>
              </a14:hiddenFill>
            </a:ext>
          </a:extLst>
        </p:spPr>
      </p:pic>
      <p:sp>
        <p:nvSpPr>
          <p:cNvPr id="1049" name="CuadroTexto 1048">
            <a:extLst>
              <a:ext uri="{FF2B5EF4-FFF2-40B4-BE49-F238E27FC236}">
                <a16:creationId xmlns:a16="http://schemas.microsoft.com/office/drawing/2014/main" id="{89C3FC54-598D-9244-8F1C-61CDE33F7E65}"/>
              </a:ext>
            </a:extLst>
          </p:cNvPr>
          <p:cNvSpPr txBox="1"/>
          <p:nvPr/>
        </p:nvSpPr>
        <p:spPr>
          <a:xfrm>
            <a:off x="3927660" y="3328129"/>
            <a:ext cx="1076267" cy="200055"/>
          </a:xfrm>
          <a:prstGeom prst="rect">
            <a:avLst/>
          </a:prstGeom>
        </p:spPr>
        <p:txBody>
          <a:bodyPr wrap="square" lIns="0" rIns="0" rtlCol="0">
            <a:spAutoFit/>
          </a:bodyPr>
          <a:lstStyle/>
          <a:p>
            <a:pPr fontAlgn="base">
              <a:spcBef>
                <a:spcPct val="0"/>
              </a:spcBef>
              <a:spcAft>
                <a:spcPct val="0"/>
              </a:spcAft>
              <a:buClr>
                <a:srgbClr val="505150"/>
              </a:buClr>
              <a:buSzPct val="88000"/>
            </a:pPr>
            <a:r>
              <a:rPr lang="en-GB" sz="700" b="1" noProof="0">
                <a:latin typeface="Droid Sans"/>
                <a:cs typeface="Droid Sans" charset="0"/>
                <a:sym typeface="Droid Sans" charset="0"/>
              </a:rPr>
              <a:t>BW Model Migration</a:t>
            </a:r>
          </a:p>
        </p:txBody>
      </p:sp>
      <p:pic>
        <p:nvPicPr>
          <p:cNvPr id="1050" name="Picture 4" descr="Grupo JAP">
            <a:extLst>
              <a:ext uri="{FF2B5EF4-FFF2-40B4-BE49-F238E27FC236}">
                <a16:creationId xmlns:a16="http://schemas.microsoft.com/office/drawing/2014/main" id="{2D94C233-AEA8-41BB-01E3-4B118B082381}"/>
              </a:ext>
            </a:extLst>
          </p:cNvPr>
          <p:cNvPicPr>
            <a:picLocks noChangeAspect="1" noChangeArrowheads="1"/>
          </p:cNvPicPr>
          <p:nvPr/>
        </p:nvPicPr>
        <p:blipFill>
          <a:blip r:embed="rId102" cstate="print">
            <a:extLst>
              <a:ext uri="{28A0092B-C50C-407E-A947-70E740481C1C}">
                <a14:useLocalDpi xmlns:a14="http://schemas.microsoft.com/office/drawing/2010/main" val="0"/>
              </a:ext>
            </a:extLst>
          </a:blip>
          <a:srcRect/>
          <a:stretch>
            <a:fillRect/>
          </a:stretch>
        </p:blipFill>
        <p:spPr bwMode="auto">
          <a:xfrm>
            <a:off x="5269865" y="3332859"/>
            <a:ext cx="404481" cy="202241"/>
          </a:xfrm>
          <a:prstGeom prst="rect">
            <a:avLst/>
          </a:prstGeom>
          <a:noFill/>
          <a:extLst>
            <a:ext uri="{909E8E84-426E-40DD-AFC4-6F175D3DCCD1}">
              <a14:hiddenFill xmlns:a14="http://schemas.microsoft.com/office/drawing/2010/main">
                <a:solidFill>
                  <a:srgbClr val="FFFFFF"/>
                </a:solidFill>
              </a14:hiddenFill>
            </a:ext>
          </a:extLst>
        </p:spPr>
      </p:pic>
      <p:sp>
        <p:nvSpPr>
          <p:cNvPr id="1051" name="CuadroTexto 1050">
            <a:extLst>
              <a:ext uri="{FF2B5EF4-FFF2-40B4-BE49-F238E27FC236}">
                <a16:creationId xmlns:a16="http://schemas.microsoft.com/office/drawing/2014/main" id="{AC0853D3-1C2E-EE52-9C33-793CD0BF9AAE}"/>
              </a:ext>
            </a:extLst>
          </p:cNvPr>
          <p:cNvSpPr txBox="1"/>
          <p:nvPr/>
        </p:nvSpPr>
        <p:spPr>
          <a:xfrm>
            <a:off x="5762314" y="3326593"/>
            <a:ext cx="1186073" cy="200055"/>
          </a:xfrm>
          <a:prstGeom prst="rect">
            <a:avLst/>
          </a:prstGeom>
        </p:spPr>
        <p:txBody>
          <a:bodyPr wrap="square" lIns="0" rIns="0" rtlCol="0">
            <a:spAutoFit/>
          </a:bodyPr>
          <a:lstStyle/>
          <a:p>
            <a:pPr fontAlgn="base">
              <a:spcBef>
                <a:spcPct val="0"/>
              </a:spcBef>
              <a:spcAft>
                <a:spcPct val="0"/>
              </a:spcAft>
              <a:buClr>
                <a:srgbClr val="505150"/>
              </a:buClr>
              <a:buSzPct val="88000"/>
            </a:pPr>
            <a:r>
              <a:rPr lang="en-GB" sz="700" b="1" noProof="0">
                <a:latin typeface="Droid Sans"/>
                <a:cs typeface="Droid Sans" charset="0"/>
                <a:sym typeface="Droid Sans" charset="0"/>
              </a:rPr>
              <a:t>Analytical models with SAC</a:t>
            </a:r>
          </a:p>
        </p:txBody>
      </p:sp>
      <p:pic>
        <p:nvPicPr>
          <p:cNvPr id="1052" name="Picture 6" descr="Consum Logos">
            <a:extLst>
              <a:ext uri="{FF2B5EF4-FFF2-40B4-BE49-F238E27FC236}">
                <a16:creationId xmlns:a16="http://schemas.microsoft.com/office/drawing/2014/main" id="{D02930BE-824C-1162-B01D-71C377BA4BF3}"/>
              </a:ext>
            </a:extLst>
          </p:cNvPr>
          <p:cNvPicPr>
            <a:picLocks noChangeAspect="1" noChangeArrowheads="1"/>
          </p:cNvPicPr>
          <p:nvPr/>
        </p:nvPicPr>
        <p:blipFill rotWithShape="1">
          <a:blip r:embed="rId103" cstate="print">
            <a:extLst>
              <a:ext uri="{28A0092B-C50C-407E-A947-70E740481C1C}">
                <a14:useLocalDpi xmlns:a14="http://schemas.microsoft.com/office/drawing/2010/main" val="0"/>
              </a:ext>
            </a:extLst>
          </a:blip>
          <a:srcRect/>
          <a:stretch/>
        </p:blipFill>
        <p:spPr bwMode="auto">
          <a:xfrm>
            <a:off x="7161696" y="3261341"/>
            <a:ext cx="424220" cy="220519"/>
          </a:xfrm>
          <a:prstGeom prst="rect">
            <a:avLst/>
          </a:prstGeom>
          <a:noFill/>
          <a:extLst>
            <a:ext uri="{909E8E84-426E-40DD-AFC4-6F175D3DCCD1}">
              <a14:hiddenFill xmlns:a14="http://schemas.microsoft.com/office/drawing/2010/main">
                <a:solidFill>
                  <a:srgbClr val="FFFFFF"/>
                </a:solidFill>
              </a14:hiddenFill>
            </a:ext>
          </a:extLst>
        </p:spPr>
      </p:pic>
      <p:sp>
        <p:nvSpPr>
          <p:cNvPr id="1053" name="CuadroTexto 1052">
            <a:extLst>
              <a:ext uri="{FF2B5EF4-FFF2-40B4-BE49-F238E27FC236}">
                <a16:creationId xmlns:a16="http://schemas.microsoft.com/office/drawing/2014/main" id="{58E047C8-9BDD-F996-C8D1-D0A1B04C8872}"/>
              </a:ext>
            </a:extLst>
          </p:cNvPr>
          <p:cNvSpPr txBox="1"/>
          <p:nvPr/>
        </p:nvSpPr>
        <p:spPr>
          <a:xfrm>
            <a:off x="7673036" y="3277538"/>
            <a:ext cx="1810089" cy="200055"/>
          </a:xfrm>
          <a:prstGeom prst="rect">
            <a:avLst/>
          </a:prstGeom>
        </p:spPr>
        <p:txBody>
          <a:bodyPr wrap="square" lIns="0" rIns="0" rtlCol="0">
            <a:spAutoFit/>
          </a:bodyPr>
          <a:lstStyle/>
          <a:p>
            <a:pPr fontAlgn="base">
              <a:spcBef>
                <a:spcPct val="0"/>
              </a:spcBef>
              <a:spcAft>
                <a:spcPct val="0"/>
              </a:spcAft>
              <a:buClr>
                <a:srgbClr val="505150"/>
              </a:buClr>
              <a:buSzPct val="88000"/>
            </a:pPr>
            <a:r>
              <a:rPr lang="en-GB" sz="700" b="1" noProof="0">
                <a:latin typeface="Droid Sans"/>
                <a:cs typeface="Droid Sans" charset="0"/>
                <a:sym typeface="Droid Sans" charset="0"/>
              </a:rPr>
              <a:t>New analytical models on S4</a:t>
            </a:r>
          </a:p>
        </p:txBody>
      </p:sp>
    </p:spTree>
    <p:extLst>
      <p:ext uri="{BB962C8B-B14F-4D97-AF65-F5344CB8AC3E}">
        <p14:creationId xmlns:p14="http://schemas.microsoft.com/office/powerpoint/2010/main" val="4044885822"/>
      </p:ext>
    </p:extLst>
  </p:cSld>
  <p:clrMapOvr>
    <a:masterClrMapping/>
  </p:clrMapOvr>
  <p:transition spd="med">
    <p:fade/>
  </p:transition>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68" name="Rectángulo 1067">
            <a:extLst>
              <a:ext uri="{FF2B5EF4-FFF2-40B4-BE49-F238E27FC236}">
                <a16:creationId xmlns:a16="http://schemas.microsoft.com/office/drawing/2014/main" id="{A334FCFC-54DA-C203-4672-B0A1BC1B7DD3}"/>
              </a:ext>
            </a:extLst>
          </p:cNvPr>
          <p:cNvSpPr/>
          <p:nvPr/>
        </p:nvSpPr>
        <p:spPr bwMode="auto">
          <a:xfrm>
            <a:off x="0" y="0"/>
            <a:ext cx="9480376" cy="620688"/>
          </a:xfrm>
          <a:prstGeom prst="rect">
            <a:avLst/>
          </a:prstGeom>
          <a:gradFill>
            <a:gsLst>
              <a:gs pos="50000">
                <a:schemeClr val="tx1"/>
              </a:gs>
              <a:gs pos="100000">
                <a:schemeClr val="bg1"/>
              </a:gs>
            </a:gsLst>
            <a:lin ang="0" scaled="1"/>
          </a:gradFill>
          <a:ln w="9525">
            <a:noFill/>
            <a:round/>
            <a:headEnd/>
            <a:tailEnd/>
          </a:ln>
        </p:spPr>
        <p:txBody>
          <a:bodyPr vert="horz" wrap="square" lIns="91440" tIns="45720" rIns="91440" bIns="45720" numCol="1" rtlCol="0" anchor="t" anchorCtr="0" compatLnSpc="1">
            <a:prstTxWarp prst="textNoShape">
              <a:avLst/>
            </a:prstTxWarp>
          </a:bodyPr>
          <a:lstStyle/>
          <a:p>
            <a:pPr algn="ctr"/>
            <a:endParaRPr lang="en-GB" noProof="0"/>
          </a:p>
        </p:txBody>
      </p:sp>
      <p:sp>
        <p:nvSpPr>
          <p:cNvPr id="56" name="Título 1">
            <a:extLst>
              <a:ext uri="{FF2B5EF4-FFF2-40B4-BE49-F238E27FC236}">
                <a16:creationId xmlns:a16="http://schemas.microsoft.com/office/drawing/2014/main" id="{FCC72BB1-D33E-407F-9BA5-448A9C4DF504}"/>
              </a:ext>
            </a:extLst>
          </p:cNvPr>
          <p:cNvSpPr>
            <a:spLocks noGrp="1"/>
          </p:cNvSpPr>
          <p:nvPr>
            <p:ph type="title"/>
          </p:nvPr>
        </p:nvSpPr>
        <p:spPr>
          <a:xfrm>
            <a:off x="191344" y="116632"/>
            <a:ext cx="10515600" cy="365721"/>
          </a:xfrm>
        </p:spPr>
        <p:txBody>
          <a:bodyPr anchor="ctr">
            <a:noAutofit/>
          </a:bodyPr>
          <a:lstStyle/>
          <a:p>
            <a:r>
              <a:rPr lang="en-GB" sz="2462" noProof="0">
                <a:solidFill>
                  <a:schemeClr val="bg1"/>
                </a:solidFill>
                <a:latin typeface="+mn-lt"/>
              </a:rPr>
              <a:t>Analytics - Accelerators</a:t>
            </a:r>
          </a:p>
        </p:txBody>
      </p:sp>
      <p:grpSp>
        <p:nvGrpSpPr>
          <p:cNvPr id="106" name="Grupo 105">
            <a:extLst>
              <a:ext uri="{FF2B5EF4-FFF2-40B4-BE49-F238E27FC236}">
                <a16:creationId xmlns:a16="http://schemas.microsoft.com/office/drawing/2014/main" id="{301A68B9-6B33-9AE7-851E-18475EB45704}"/>
              </a:ext>
            </a:extLst>
          </p:cNvPr>
          <p:cNvGrpSpPr/>
          <p:nvPr/>
        </p:nvGrpSpPr>
        <p:grpSpPr>
          <a:xfrm>
            <a:off x="8347485" y="899906"/>
            <a:ext cx="2995843" cy="275200"/>
            <a:chOff x="7029314" y="1470772"/>
            <a:chExt cx="4940367" cy="453825"/>
          </a:xfrm>
        </p:grpSpPr>
        <p:sp>
          <p:nvSpPr>
            <p:cNvPr id="107" name="Lorem Ipsum is simply remaining essentially">
              <a:extLst>
                <a:ext uri="{FF2B5EF4-FFF2-40B4-BE49-F238E27FC236}">
                  <a16:creationId xmlns:a16="http://schemas.microsoft.com/office/drawing/2014/main" id="{78BE0B42-8DE9-A763-F77A-B6C908342FDE}"/>
                </a:ext>
              </a:extLst>
            </p:cNvPr>
            <p:cNvSpPr txBox="1"/>
            <p:nvPr/>
          </p:nvSpPr>
          <p:spPr>
            <a:xfrm>
              <a:off x="7029314" y="1470772"/>
              <a:ext cx="4574116" cy="453825"/>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398" tIns="25398" rIns="25398" bIns="25398" numCol="1" anchor="ctr">
              <a:spAutoFit/>
            </a:bodyPr>
            <a:lstStyle>
              <a:lvl1pPr algn="l">
                <a:defRPr sz="2200" b="0">
                  <a:solidFill>
                    <a:srgbClr val="ADACB4"/>
                  </a:solidFill>
                  <a:latin typeface="Poppins Medium"/>
                  <a:ea typeface="Poppins Medium"/>
                  <a:cs typeface="Poppins Medium"/>
                  <a:sym typeface="Poppins Medium"/>
                </a:defRPr>
              </a:lvl1pPr>
            </a:lstStyle>
            <a:p>
              <a:pPr defTabSz="412731" hangingPunct="0">
                <a:defRPr/>
              </a:pPr>
              <a:r>
                <a:rPr lang="en-GB" sz="1455" kern="0" noProof="0">
                  <a:solidFill>
                    <a:srgbClr val="494949"/>
                  </a:solidFill>
                  <a:latin typeface="Century Gothic" panose="020B0502020202020204" pitchFamily="34" charset="0"/>
                </a:rPr>
                <a:t>+30 Accelerators by </a:t>
              </a:r>
            </a:p>
          </p:txBody>
        </p:sp>
        <p:pic>
          <p:nvPicPr>
            <p:cNvPr id="108" name="Imagen 107" descr="Logotipo&#10;&#10;Descripción generada automáticamente">
              <a:extLst>
                <a:ext uri="{FF2B5EF4-FFF2-40B4-BE49-F238E27FC236}">
                  <a16:creationId xmlns:a16="http://schemas.microsoft.com/office/drawing/2014/main" id="{980B6F8A-14C1-13ED-A750-659314450BA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214282" y="1494848"/>
              <a:ext cx="1755399" cy="405670"/>
            </a:xfrm>
            <a:prstGeom prst="rect">
              <a:avLst/>
            </a:prstGeom>
          </p:spPr>
        </p:pic>
      </p:grpSp>
      <p:sp>
        <p:nvSpPr>
          <p:cNvPr id="109" name="Rounded Rectangle">
            <a:extLst>
              <a:ext uri="{FF2B5EF4-FFF2-40B4-BE49-F238E27FC236}">
                <a16:creationId xmlns:a16="http://schemas.microsoft.com/office/drawing/2014/main" id="{F8D92CCD-8863-DBCE-2254-20DA926F485D}"/>
              </a:ext>
            </a:extLst>
          </p:cNvPr>
          <p:cNvSpPr/>
          <p:nvPr/>
        </p:nvSpPr>
        <p:spPr>
          <a:xfrm>
            <a:off x="692984" y="1028373"/>
            <a:ext cx="3336922" cy="1174774"/>
          </a:xfrm>
          <a:prstGeom prst="roundRect">
            <a:avLst>
              <a:gd name="adj" fmla="val 8881"/>
            </a:avLst>
          </a:prstGeom>
          <a:solidFill>
            <a:srgbClr val="FFFFFF"/>
          </a:solidFill>
          <a:ln w="12700" cap="flat">
            <a:noFill/>
            <a:miter lim="400000"/>
          </a:ln>
          <a:effectLst>
            <a:outerShdw blurRad="292100" dist="110334" dir="5400000" rotWithShape="0">
              <a:srgbClr val="475D84">
                <a:alpha val="21640"/>
              </a:srgbClr>
            </a:outerShdw>
          </a:effectLst>
        </p:spPr>
        <p:txBody>
          <a:bodyPr wrap="square" lIns="50796" tIns="50796" rIns="50796" bIns="50796" numCol="1" anchor="ctr">
            <a:noAutofit/>
          </a:bodyPr>
          <a:lstStyle/>
          <a:p>
            <a:pPr algn="ctr" defTabSz="914358">
              <a:defRPr sz="3200" baseline="0">
                <a:solidFill>
                  <a:srgbClr val="FFFFFF"/>
                </a:solidFill>
                <a:latin typeface="Helvetica Light"/>
                <a:ea typeface="Helvetica Light"/>
                <a:cs typeface="Helvetica Light"/>
                <a:sym typeface="Helvetica Light"/>
              </a:defRPr>
            </a:pPr>
            <a:endParaRPr lang="en-GB" sz="1213" noProof="0">
              <a:solidFill>
                <a:srgbClr val="FFFFFF"/>
              </a:solidFill>
              <a:latin typeface="Montserrat" panose="00000500000000000000" pitchFamily="2" charset="0"/>
              <a:ea typeface="Helvetica Light"/>
              <a:cs typeface="Helvetica Light"/>
              <a:sym typeface="Helvetica Light"/>
            </a:endParaRPr>
          </a:p>
        </p:txBody>
      </p:sp>
      <p:sp>
        <p:nvSpPr>
          <p:cNvPr id="110" name="New York Project">
            <a:extLst>
              <a:ext uri="{FF2B5EF4-FFF2-40B4-BE49-F238E27FC236}">
                <a16:creationId xmlns:a16="http://schemas.microsoft.com/office/drawing/2014/main" id="{1AE51678-827B-4E5F-F87B-94A47CCA2DF7}"/>
              </a:ext>
            </a:extLst>
          </p:cNvPr>
          <p:cNvSpPr txBox="1"/>
          <p:nvPr/>
        </p:nvSpPr>
        <p:spPr>
          <a:xfrm>
            <a:off x="994069" y="1157417"/>
            <a:ext cx="2892252" cy="260392"/>
          </a:xfrm>
          <a:prstGeom prst="rect">
            <a:avLst/>
          </a:prstGeom>
          <a:noFill/>
          <a:extLst>
            <a:ext uri="{C572A759-6A51-4108-AA02-DFA0A04FC94B}">
              <ma14:wrappingTextBoxFlag xmlns="" xmlns:ma14="http://schemas.microsoft.com/office/mac/drawingml/2011/main" val="1"/>
            </a:ext>
          </a:extLst>
        </p:spPr>
        <p:txBody>
          <a:bodyPr wrap="square" rtlCol="0">
            <a:spAutoFit/>
          </a:bodyPr>
          <a:lstStyle>
            <a:defPPr>
              <a:defRPr lang="en-US"/>
            </a:defPPr>
            <a:lvl1pPr>
              <a:defRPr sz="1400" b="1">
                <a:gradFill>
                  <a:gsLst>
                    <a:gs pos="0">
                      <a:srgbClr val="54B2DB"/>
                    </a:gs>
                    <a:gs pos="100000">
                      <a:srgbClr val="4983D0"/>
                    </a:gs>
                  </a:gsLst>
                  <a:lin ang="5400000" scaled="1"/>
                </a:gradFill>
                <a:latin typeface="Century Gothic" panose="020B0502020202020204" pitchFamily="34" charset="0"/>
              </a:defRPr>
            </a:lvl1pPr>
          </a:lstStyle>
          <a:p>
            <a:pPr defTabSz="914358"/>
            <a:r>
              <a:rPr lang="en-GB" sz="1092" noProof="0">
                <a:latin typeface="Montserrat" panose="00000500000000000000" pitchFamily="2" charset="0"/>
              </a:rPr>
              <a:t>HR INSIGHTS</a:t>
            </a:r>
          </a:p>
        </p:txBody>
      </p:sp>
      <p:sp>
        <p:nvSpPr>
          <p:cNvPr id="111" name="New York Project">
            <a:extLst>
              <a:ext uri="{FF2B5EF4-FFF2-40B4-BE49-F238E27FC236}">
                <a16:creationId xmlns:a16="http://schemas.microsoft.com/office/drawing/2014/main" id="{21959006-0A1C-B1F5-8A29-F798FD3C8A4F}"/>
              </a:ext>
            </a:extLst>
          </p:cNvPr>
          <p:cNvSpPr txBox="1"/>
          <p:nvPr/>
        </p:nvSpPr>
        <p:spPr>
          <a:xfrm>
            <a:off x="1025599" y="1378260"/>
            <a:ext cx="2876777" cy="66543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50796" tIns="50796" rIns="50796" bIns="50796" numCol="1" anchor="t" anchorCtr="0">
            <a:spAutoFit/>
          </a:bodyPr>
          <a:lstStyle>
            <a:lvl1pPr algn="r">
              <a:lnSpc>
                <a:spcPct val="100000"/>
              </a:lnSpc>
              <a:defRPr baseline="0">
                <a:solidFill>
                  <a:srgbClr val="475D84"/>
                </a:solidFill>
              </a:defRPr>
            </a:lvl1pPr>
          </a:lstStyle>
          <a:p>
            <a:pPr algn="l" defTabSz="914358">
              <a:lnSpc>
                <a:spcPts val="1500"/>
              </a:lnSpc>
              <a:spcAft>
                <a:spcPts val="600"/>
              </a:spcAft>
            </a:pPr>
            <a:r>
              <a:rPr lang="en-GB" sz="1000" noProof="0">
                <a:solidFill>
                  <a:srgbClr val="000000"/>
                </a:solidFill>
              </a:rPr>
              <a:t>Complete reporting solution for all HR areas of the company, such as FTE, headcount, costs, turnover, absences or performance.</a:t>
            </a:r>
          </a:p>
        </p:txBody>
      </p:sp>
      <p:sp>
        <p:nvSpPr>
          <p:cNvPr id="112" name="Rounded Rectangle">
            <a:extLst>
              <a:ext uri="{FF2B5EF4-FFF2-40B4-BE49-F238E27FC236}">
                <a16:creationId xmlns:a16="http://schemas.microsoft.com/office/drawing/2014/main" id="{8AF71603-65F7-1730-9210-8E5958852EC6}"/>
              </a:ext>
            </a:extLst>
          </p:cNvPr>
          <p:cNvSpPr/>
          <p:nvPr/>
        </p:nvSpPr>
        <p:spPr>
          <a:xfrm>
            <a:off x="4462546" y="1028373"/>
            <a:ext cx="3224868" cy="939345"/>
          </a:xfrm>
          <a:prstGeom prst="roundRect">
            <a:avLst>
              <a:gd name="adj" fmla="val 8881"/>
            </a:avLst>
          </a:prstGeom>
          <a:solidFill>
            <a:srgbClr val="FFFFFF"/>
          </a:solidFill>
          <a:ln w="12700" cap="flat">
            <a:noFill/>
            <a:miter lim="400000"/>
          </a:ln>
          <a:effectLst>
            <a:outerShdw blurRad="292100" dist="110334" dir="5400000" rotWithShape="0">
              <a:srgbClr val="475D84">
                <a:alpha val="21640"/>
              </a:srgbClr>
            </a:outerShdw>
          </a:effectLst>
        </p:spPr>
        <p:txBody>
          <a:bodyPr wrap="square" lIns="50796" tIns="50796" rIns="50796" bIns="50796" numCol="1" anchor="ctr">
            <a:noAutofit/>
          </a:bodyPr>
          <a:lstStyle/>
          <a:p>
            <a:pPr algn="ctr" defTabSz="914358">
              <a:defRPr sz="3200" baseline="0">
                <a:solidFill>
                  <a:srgbClr val="FFFFFF"/>
                </a:solidFill>
                <a:latin typeface="Helvetica Light"/>
                <a:ea typeface="Helvetica Light"/>
                <a:cs typeface="Helvetica Light"/>
                <a:sym typeface="Helvetica Light"/>
              </a:defRPr>
            </a:pPr>
            <a:endParaRPr lang="en-GB" sz="1213" noProof="0">
              <a:solidFill>
                <a:srgbClr val="FFFFFF"/>
              </a:solidFill>
              <a:latin typeface="Montserrat" panose="00000500000000000000" pitchFamily="2" charset="0"/>
              <a:ea typeface="Helvetica Light"/>
              <a:cs typeface="Helvetica Light"/>
              <a:sym typeface="Helvetica Light"/>
            </a:endParaRPr>
          </a:p>
        </p:txBody>
      </p:sp>
      <p:sp>
        <p:nvSpPr>
          <p:cNvPr id="113" name="New York Project">
            <a:extLst>
              <a:ext uri="{FF2B5EF4-FFF2-40B4-BE49-F238E27FC236}">
                <a16:creationId xmlns:a16="http://schemas.microsoft.com/office/drawing/2014/main" id="{0B65C698-5168-A805-57E8-B7D08CD8A495}"/>
              </a:ext>
            </a:extLst>
          </p:cNvPr>
          <p:cNvSpPr txBox="1"/>
          <p:nvPr/>
        </p:nvSpPr>
        <p:spPr>
          <a:xfrm>
            <a:off x="4763631" y="1157417"/>
            <a:ext cx="2892252" cy="260392"/>
          </a:xfrm>
          <a:prstGeom prst="rect">
            <a:avLst/>
          </a:prstGeom>
          <a:noFill/>
          <a:extLst>
            <a:ext uri="{C572A759-6A51-4108-AA02-DFA0A04FC94B}">
              <ma14:wrappingTextBoxFlag xmlns="" xmlns:ma14="http://schemas.microsoft.com/office/mac/drawingml/2011/main" val="1"/>
            </a:ext>
          </a:extLst>
        </p:spPr>
        <p:txBody>
          <a:bodyPr wrap="square" rtlCol="0">
            <a:spAutoFit/>
          </a:bodyPr>
          <a:lstStyle>
            <a:defPPr>
              <a:defRPr lang="en-US"/>
            </a:defPPr>
            <a:lvl1pPr>
              <a:defRPr sz="1400" b="1">
                <a:gradFill>
                  <a:gsLst>
                    <a:gs pos="0">
                      <a:srgbClr val="54B2DB"/>
                    </a:gs>
                    <a:gs pos="100000">
                      <a:srgbClr val="4983D0"/>
                    </a:gs>
                  </a:gsLst>
                  <a:lin ang="5400000" scaled="1"/>
                </a:gradFill>
                <a:latin typeface="Century Gothic" panose="020B0502020202020204" pitchFamily="34" charset="0"/>
              </a:defRPr>
            </a:lvl1pPr>
          </a:lstStyle>
          <a:p>
            <a:pPr defTabSz="914358"/>
            <a:r>
              <a:rPr lang="en-GB" sz="1092" noProof="0">
                <a:latin typeface="Montserrat" panose="00000500000000000000" pitchFamily="2" charset="0"/>
              </a:rPr>
              <a:t>REAL ESTATE</a:t>
            </a:r>
          </a:p>
        </p:txBody>
      </p:sp>
      <p:sp>
        <p:nvSpPr>
          <p:cNvPr id="114" name="New York Project">
            <a:extLst>
              <a:ext uri="{FF2B5EF4-FFF2-40B4-BE49-F238E27FC236}">
                <a16:creationId xmlns:a16="http://schemas.microsoft.com/office/drawing/2014/main" id="{971CE852-D5F4-4894-BE95-1E44032B66BC}"/>
              </a:ext>
            </a:extLst>
          </p:cNvPr>
          <p:cNvSpPr txBox="1"/>
          <p:nvPr/>
        </p:nvSpPr>
        <p:spPr>
          <a:xfrm>
            <a:off x="4795161" y="1378260"/>
            <a:ext cx="2812878" cy="47307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50796" tIns="50796" rIns="50796" bIns="50796" numCol="1" anchor="t" anchorCtr="0">
            <a:spAutoFit/>
          </a:bodyPr>
          <a:lstStyle>
            <a:lvl1pPr algn="r">
              <a:lnSpc>
                <a:spcPct val="100000"/>
              </a:lnSpc>
              <a:defRPr baseline="0">
                <a:solidFill>
                  <a:srgbClr val="475D84"/>
                </a:solidFill>
              </a:defRPr>
            </a:lvl1pPr>
          </a:lstStyle>
          <a:p>
            <a:pPr algn="l" defTabSz="914358">
              <a:lnSpc>
                <a:spcPts val="1500"/>
              </a:lnSpc>
              <a:spcAft>
                <a:spcPts val="600"/>
              </a:spcAft>
            </a:pPr>
            <a:r>
              <a:rPr lang="en-GB" sz="1000" noProof="0">
                <a:solidFill>
                  <a:srgbClr val="000000"/>
                </a:solidFill>
              </a:rPr>
              <a:t>Real estate </a:t>
            </a:r>
            <a:r>
              <a:rPr lang="en-GB" sz="1000" noProof="0" err="1">
                <a:solidFill>
                  <a:srgbClr val="000000"/>
                </a:solidFill>
              </a:rPr>
              <a:t>rerporting</a:t>
            </a:r>
            <a:r>
              <a:rPr lang="en-GB" sz="1000" noProof="0">
                <a:solidFill>
                  <a:srgbClr val="000000"/>
                </a:solidFill>
              </a:rPr>
              <a:t> solution, to </a:t>
            </a:r>
            <a:r>
              <a:rPr lang="en-GB" sz="1000" noProof="0" err="1">
                <a:solidFill>
                  <a:srgbClr val="000000"/>
                </a:solidFill>
              </a:rPr>
              <a:t>analyze</a:t>
            </a:r>
            <a:r>
              <a:rPr lang="en-GB" sz="1000" noProof="0">
                <a:solidFill>
                  <a:srgbClr val="000000"/>
                </a:solidFill>
              </a:rPr>
              <a:t> stocks, assets, rent roll, contracting or pricing. </a:t>
            </a:r>
          </a:p>
        </p:txBody>
      </p:sp>
      <p:sp>
        <p:nvSpPr>
          <p:cNvPr id="115" name="Rounded Rectangle">
            <a:extLst>
              <a:ext uri="{FF2B5EF4-FFF2-40B4-BE49-F238E27FC236}">
                <a16:creationId xmlns:a16="http://schemas.microsoft.com/office/drawing/2014/main" id="{87683197-622E-856A-15EE-24E8496FAEB9}"/>
              </a:ext>
            </a:extLst>
          </p:cNvPr>
          <p:cNvSpPr/>
          <p:nvPr/>
        </p:nvSpPr>
        <p:spPr>
          <a:xfrm>
            <a:off x="692984" y="2327515"/>
            <a:ext cx="3336922" cy="1174774"/>
          </a:xfrm>
          <a:prstGeom prst="roundRect">
            <a:avLst>
              <a:gd name="adj" fmla="val 8881"/>
            </a:avLst>
          </a:prstGeom>
          <a:solidFill>
            <a:srgbClr val="FFFFFF"/>
          </a:solidFill>
          <a:ln w="12700" cap="flat">
            <a:noFill/>
            <a:miter lim="400000"/>
          </a:ln>
          <a:effectLst>
            <a:outerShdw blurRad="292100" dist="110334" dir="5400000" rotWithShape="0">
              <a:srgbClr val="475D84">
                <a:alpha val="21640"/>
              </a:srgbClr>
            </a:outerShdw>
          </a:effectLst>
        </p:spPr>
        <p:txBody>
          <a:bodyPr wrap="square" lIns="50796" tIns="50796" rIns="50796" bIns="50796" numCol="1" anchor="ctr">
            <a:noAutofit/>
          </a:bodyPr>
          <a:lstStyle/>
          <a:p>
            <a:pPr algn="ctr" defTabSz="914358">
              <a:defRPr sz="3200" baseline="0">
                <a:solidFill>
                  <a:srgbClr val="FFFFFF"/>
                </a:solidFill>
                <a:latin typeface="Helvetica Light"/>
                <a:ea typeface="Helvetica Light"/>
                <a:cs typeface="Helvetica Light"/>
                <a:sym typeface="Helvetica Light"/>
              </a:defRPr>
            </a:pPr>
            <a:endParaRPr lang="en-GB" sz="1213" noProof="0">
              <a:solidFill>
                <a:srgbClr val="FFFFFF"/>
              </a:solidFill>
              <a:latin typeface="Montserrat" panose="00000500000000000000" pitchFamily="2" charset="0"/>
              <a:ea typeface="Helvetica Light"/>
              <a:cs typeface="Helvetica Light"/>
              <a:sym typeface="Helvetica Light"/>
            </a:endParaRPr>
          </a:p>
        </p:txBody>
      </p:sp>
      <p:sp>
        <p:nvSpPr>
          <p:cNvPr id="116" name="New York Project">
            <a:extLst>
              <a:ext uri="{FF2B5EF4-FFF2-40B4-BE49-F238E27FC236}">
                <a16:creationId xmlns:a16="http://schemas.microsoft.com/office/drawing/2014/main" id="{677234EC-6AF6-891D-A1A8-5139F2CAB579}"/>
              </a:ext>
            </a:extLst>
          </p:cNvPr>
          <p:cNvSpPr txBox="1"/>
          <p:nvPr/>
        </p:nvSpPr>
        <p:spPr>
          <a:xfrm>
            <a:off x="994069" y="2456558"/>
            <a:ext cx="2892252" cy="260392"/>
          </a:xfrm>
          <a:prstGeom prst="rect">
            <a:avLst/>
          </a:prstGeom>
          <a:noFill/>
          <a:extLst>
            <a:ext uri="{C572A759-6A51-4108-AA02-DFA0A04FC94B}">
              <ma14:wrappingTextBoxFlag xmlns="" xmlns:ma14="http://schemas.microsoft.com/office/mac/drawingml/2011/main" val="1"/>
            </a:ext>
          </a:extLst>
        </p:spPr>
        <p:txBody>
          <a:bodyPr wrap="square" rtlCol="0">
            <a:spAutoFit/>
          </a:bodyPr>
          <a:lstStyle>
            <a:defPPr>
              <a:defRPr lang="en-US"/>
            </a:defPPr>
            <a:lvl1pPr>
              <a:defRPr sz="1400" b="1">
                <a:gradFill>
                  <a:gsLst>
                    <a:gs pos="0">
                      <a:srgbClr val="54B2DB"/>
                    </a:gs>
                    <a:gs pos="100000">
                      <a:srgbClr val="4983D0"/>
                    </a:gs>
                  </a:gsLst>
                  <a:lin ang="5400000" scaled="1"/>
                </a:gradFill>
                <a:latin typeface="Century Gothic" panose="020B0502020202020204" pitchFamily="34" charset="0"/>
              </a:defRPr>
            </a:lvl1pPr>
          </a:lstStyle>
          <a:p>
            <a:pPr marL="0" marR="0" lvl="0" indent="0" defTabSz="914358" eaLnBrk="1" fontAlgn="auto" latinLnBrk="0" hangingPunct="1">
              <a:lnSpc>
                <a:spcPct val="100000"/>
              </a:lnSpc>
              <a:spcBef>
                <a:spcPts val="0"/>
              </a:spcBef>
              <a:spcAft>
                <a:spcPts val="0"/>
              </a:spcAft>
              <a:buClrTx/>
              <a:buSzTx/>
              <a:buFontTx/>
              <a:buNone/>
              <a:tabLst/>
              <a:defRPr/>
            </a:pPr>
            <a:r>
              <a:rPr kumimoji="0" lang="en-GB" sz="1092" b="1" i="0" u="none" strike="noStrike" kern="0" cap="none" spc="0" normalizeH="0" baseline="0" noProof="0">
                <a:ln>
                  <a:noFill/>
                </a:ln>
                <a:gradFill>
                  <a:gsLst>
                    <a:gs pos="0">
                      <a:srgbClr val="54B2DB"/>
                    </a:gs>
                    <a:gs pos="100000">
                      <a:srgbClr val="4983D0"/>
                    </a:gs>
                  </a:gsLst>
                  <a:lin ang="5400000" scaled="1"/>
                </a:gradFill>
                <a:effectLst/>
                <a:uLnTx/>
                <a:uFillTx/>
                <a:latin typeface="Century Gothic" panose="020B0502020202020204" pitchFamily="34" charset="0"/>
              </a:rPr>
              <a:t>GLOBAL SPEND</a:t>
            </a:r>
          </a:p>
        </p:txBody>
      </p:sp>
      <p:sp>
        <p:nvSpPr>
          <p:cNvPr id="117" name="New York Project">
            <a:extLst>
              <a:ext uri="{FF2B5EF4-FFF2-40B4-BE49-F238E27FC236}">
                <a16:creationId xmlns:a16="http://schemas.microsoft.com/office/drawing/2014/main" id="{6D40A330-754A-9308-9823-2E314BD7FF35}"/>
              </a:ext>
            </a:extLst>
          </p:cNvPr>
          <p:cNvSpPr txBox="1"/>
          <p:nvPr/>
        </p:nvSpPr>
        <p:spPr>
          <a:xfrm>
            <a:off x="1025599" y="2677401"/>
            <a:ext cx="2876777" cy="66543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50796" tIns="50796" rIns="50796" bIns="50796" numCol="1" anchor="t" anchorCtr="0">
            <a:spAutoFit/>
          </a:bodyPr>
          <a:lstStyle>
            <a:lvl1pPr algn="r">
              <a:lnSpc>
                <a:spcPct val="100000"/>
              </a:lnSpc>
              <a:defRPr baseline="0">
                <a:solidFill>
                  <a:srgbClr val="475D84"/>
                </a:solidFill>
              </a:defRPr>
            </a:lvl1pPr>
          </a:lstStyle>
          <a:p>
            <a:pPr algn="l" defTabSz="914358">
              <a:lnSpc>
                <a:spcPts val="1500"/>
              </a:lnSpc>
              <a:spcAft>
                <a:spcPts val="600"/>
              </a:spcAft>
            </a:pPr>
            <a:r>
              <a:rPr lang="en-GB" sz="1000" noProof="0">
                <a:solidFill>
                  <a:srgbClr val="000000"/>
                </a:solidFill>
              </a:rPr>
              <a:t>End-to-end analytics of the 5 main business axes: purchasing, suppliers, personnel costs, travel expenses and expense planning.</a:t>
            </a:r>
          </a:p>
        </p:txBody>
      </p:sp>
      <p:sp>
        <p:nvSpPr>
          <p:cNvPr id="118" name="Rounded Rectangle">
            <a:extLst>
              <a:ext uri="{FF2B5EF4-FFF2-40B4-BE49-F238E27FC236}">
                <a16:creationId xmlns:a16="http://schemas.microsoft.com/office/drawing/2014/main" id="{DC2A271D-E569-5DA7-32AC-6A935CFC4E7F}"/>
              </a:ext>
            </a:extLst>
          </p:cNvPr>
          <p:cNvSpPr/>
          <p:nvPr/>
        </p:nvSpPr>
        <p:spPr>
          <a:xfrm>
            <a:off x="4462546" y="2123810"/>
            <a:ext cx="3224868" cy="1378479"/>
          </a:xfrm>
          <a:prstGeom prst="roundRect">
            <a:avLst>
              <a:gd name="adj" fmla="val 8881"/>
            </a:avLst>
          </a:prstGeom>
          <a:solidFill>
            <a:srgbClr val="FFFFFF"/>
          </a:solidFill>
          <a:ln w="12700" cap="flat">
            <a:noFill/>
            <a:miter lim="400000"/>
          </a:ln>
          <a:effectLst>
            <a:outerShdw blurRad="292100" dist="110334" dir="5400000" rotWithShape="0">
              <a:srgbClr val="475D84">
                <a:alpha val="21640"/>
              </a:srgbClr>
            </a:outerShdw>
          </a:effectLst>
        </p:spPr>
        <p:txBody>
          <a:bodyPr wrap="square" lIns="50796" tIns="50796" rIns="50796" bIns="50796" numCol="1" anchor="ctr">
            <a:noAutofit/>
          </a:bodyPr>
          <a:lstStyle/>
          <a:p>
            <a:pPr algn="ctr" defTabSz="914358">
              <a:defRPr sz="3200" baseline="0">
                <a:solidFill>
                  <a:srgbClr val="FFFFFF"/>
                </a:solidFill>
                <a:latin typeface="Helvetica Light"/>
                <a:ea typeface="Helvetica Light"/>
                <a:cs typeface="Helvetica Light"/>
                <a:sym typeface="Helvetica Light"/>
              </a:defRPr>
            </a:pPr>
            <a:endParaRPr lang="en-GB" sz="1213" noProof="0">
              <a:solidFill>
                <a:srgbClr val="FFFFFF"/>
              </a:solidFill>
              <a:latin typeface="Montserrat" panose="00000500000000000000" pitchFamily="2" charset="0"/>
              <a:ea typeface="Helvetica Light"/>
              <a:cs typeface="Helvetica Light"/>
              <a:sym typeface="Helvetica Light"/>
            </a:endParaRPr>
          </a:p>
        </p:txBody>
      </p:sp>
      <p:sp>
        <p:nvSpPr>
          <p:cNvPr id="119" name="New York Project">
            <a:extLst>
              <a:ext uri="{FF2B5EF4-FFF2-40B4-BE49-F238E27FC236}">
                <a16:creationId xmlns:a16="http://schemas.microsoft.com/office/drawing/2014/main" id="{57BC6373-DA0C-7CF8-A9CB-3175D9BFBE8F}"/>
              </a:ext>
            </a:extLst>
          </p:cNvPr>
          <p:cNvSpPr txBox="1"/>
          <p:nvPr/>
        </p:nvSpPr>
        <p:spPr>
          <a:xfrm>
            <a:off x="4763631" y="2179312"/>
            <a:ext cx="2892252" cy="260392"/>
          </a:xfrm>
          <a:prstGeom prst="rect">
            <a:avLst/>
          </a:prstGeom>
          <a:noFill/>
          <a:extLst>
            <a:ext uri="{C572A759-6A51-4108-AA02-DFA0A04FC94B}">
              <ma14:wrappingTextBoxFlag xmlns="" xmlns:ma14="http://schemas.microsoft.com/office/mac/drawingml/2011/main" val="1"/>
            </a:ext>
          </a:extLst>
        </p:spPr>
        <p:txBody>
          <a:bodyPr wrap="square" rtlCol="0">
            <a:spAutoFit/>
          </a:bodyPr>
          <a:lstStyle>
            <a:defPPr>
              <a:defRPr lang="en-US"/>
            </a:defPPr>
            <a:lvl1pPr>
              <a:defRPr sz="1400" b="1">
                <a:gradFill>
                  <a:gsLst>
                    <a:gs pos="0">
                      <a:srgbClr val="54B2DB"/>
                    </a:gs>
                    <a:gs pos="100000">
                      <a:srgbClr val="4983D0"/>
                    </a:gs>
                  </a:gsLst>
                  <a:lin ang="5400000" scaled="1"/>
                </a:gradFill>
                <a:latin typeface="Century Gothic" panose="020B0502020202020204" pitchFamily="34" charset="0"/>
              </a:defRPr>
            </a:lvl1pPr>
          </a:lstStyle>
          <a:p>
            <a:pPr defTabSz="914358"/>
            <a:r>
              <a:rPr lang="en-GB" sz="1092" noProof="0">
                <a:latin typeface="Montserrat" panose="00000500000000000000" pitchFamily="2" charset="0"/>
              </a:rPr>
              <a:t>INDUSTRY</a:t>
            </a:r>
          </a:p>
        </p:txBody>
      </p:sp>
      <p:sp>
        <p:nvSpPr>
          <p:cNvPr id="120" name="New York Project">
            <a:extLst>
              <a:ext uri="{FF2B5EF4-FFF2-40B4-BE49-F238E27FC236}">
                <a16:creationId xmlns:a16="http://schemas.microsoft.com/office/drawing/2014/main" id="{D6F23722-67A7-6684-1E84-BEA01F8AD185}"/>
              </a:ext>
            </a:extLst>
          </p:cNvPr>
          <p:cNvSpPr txBox="1"/>
          <p:nvPr/>
        </p:nvSpPr>
        <p:spPr>
          <a:xfrm>
            <a:off x="4795161" y="2369349"/>
            <a:ext cx="2753001" cy="105015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50796" tIns="50796" rIns="50796" bIns="50796" numCol="1" anchor="t" anchorCtr="0">
            <a:spAutoFit/>
          </a:bodyPr>
          <a:lstStyle>
            <a:lvl1pPr algn="r">
              <a:lnSpc>
                <a:spcPct val="100000"/>
              </a:lnSpc>
              <a:defRPr baseline="0">
                <a:solidFill>
                  <a:srgbClr val="475D84"/>
                </a:solidFill>
              </a:defRPr>
            </a:lvl1pPr>
          </a:lstStyle>
          <a:p>
            <a:pPr algn="l" defTabSz="914358">
              <a:lnSpc>
                <a:spcPts val="1500"/>
              </a:lnSpc>
              <a:spcAft>
                <a:spcPts val="600"/>
              </a:spcAft>
            </a:pPr>
            <a:r>
              <a:rPr lang="en-GB" sz="1000" noProof="0">
                <a:solidFill>
                  <a:srgbClr val="000000"/>
                </a:solidFill>
              </a:rPr>
              <a:t>Optimization of the manufacturing process based on a detailed analysis by plant and machine of production and OEE productivity, calculated by weighting availability, performance, quality and their evolution. </a:t>
            </a:r>
          </a:p>
        </p:txBody>
      </p:sp>
      <p:sp>
        <p:nvSpPr>
          <p:cNvPr id="121" name="Rounded Rectangle">
            <a:extLst>
              <a:ext uri="{FF2B5EF4-FFF2-40B4-BE49-F238E27FC236}">
                <a16:creationId xmlns:a16="http://schemas.microsoft.com/office/drawing/2014/main" id="{30373E7E-6916-1369-21C0-11683FB82642}"/>
              </a:ext>
            </a:extLst>
          </p:cNvPr>
          <p:cNvSpPr/>
          <p:nvPr/>
        </p:nvSpPr>
        <p:spPr>
          <a:xfrm>
            <a:off x="692984" y="3636238"/>
            <a:ext cx="3336922" cy="1174774"/>
          </a:xfrm>
          <a:prstGeom prst="roundRect">
            <a:avLst>
              <a:gd name="adj" fmla="val 8881"/>
            </a:avLst>
          </a:prstGeom>
          <a:solidFill>
            <a:srgbClr val="FFFFFF"/>
          </a:solidFill>
          <a:ln w="12700" cap="flat">
            <a:noFill/>
            <a:miter lim="400000"/>
          </a:ln>
          <a:effectLst>
            <a:outerShdw blurRad="292100" dist="110334" dir="5400000" rotWithShape="0">
              <a:srgbClr val="475D84">
                <a:alpha val="21640"/>
              </a:srgbClr>
            </a:outerShdw>
          </a:effectLst>
        </p:spPr>
        <p:txBody>
          <a:bodyPr wrap="square" lIns="50796" tIns="50796" rIns="50796" bIns="50796" numCol="1" anchor="ctr">
            <a:noAutofit/>
          </a:bodyPr>
          <a:lstStyle/>
          <a:p>
            <a:pPr algn="ctr" defTabSz="914358">
              <a:defRPr sz="3200" baseline="0">
                <a:solidFill>
                  <a:srgbClr val="FFFFFF"/>
                </a:solidFill>
                <a:latin typeface="Helvetica Light"/>
                <a:ea typeface="Helvetica Light"/>
                <a:cs typeface="Helvetica Light"/>
                <a:sym typeface="Helvetica Light"/>
              </a:defRPr>
            </a:pPr>
            <a:endParaRPr lang="en-GB" sz="1213" noProof="0">
              <a:solidFill>
                <a:srgbClr val="FFFFFF"/>
              </a:solidFill>
              <a:latin typeface="Montserrat" panose="00000500000000000000" pitchFamily="2" charset="0"/>
              <a:ea typeface="Helvetica Light"/>
              <a:cs typeface="Helvetica Light"/>
              <a:sym typeface="Helvetica Light"/>
            </a:endParaRPr>
          </a:p>
        </p:txBody>
      </p:sp>
      <p:sp>
        <p:nvSpPr>
          <p:cNvPr id="122" name="New York Project">
            <a:extLst>
              <a:ext uri="{FF2B5EF4-FFF2-40B4-BE49-F238E27FC236}">
                <a16:creationId xmlns:a16="http://schemas.microsoft.com/office/drawing/2014/main" id="{9B932C87-6103-7C25-D16D-3FABA5C3326B}"/>
              </a:ext>
            </a:extLst>
          </p:cNvPr>
          <p:cNvSpPr txBox="1"/>
          <p:nvPr/>
        </p:nvSpPr>
        <p:spPr>
          <a:xfrm>
            <a:off x="994069" y="3688268"/>
            <a:ext cx="2892252" cy="260392"/>
          </a:xfrm>
          <a:prstGeom prst="rect">
            <a:avLst/>
          </a:prstGeom>
          <a:noFill/>
          <a:extLst>
            <a:ext uri="{C572A759-6A51-4108-AA02-DFA0A04FC94B}">
              <ma14:wrappingTextBoxFlag xmlns="" xmlns:ma14="http://schemas.microsoft.com/office/mac/drawingml/2011/main" val="1"/>
            </a:ext>
          </a:extLst>
        </p:spPr>
        <p:txBody>
          <a:bodyPr wrap="square" rtlCol="0">
            <a:spAutoFit/>
          </a:bodyPr>
          <a:lstStyle>
            <a:defPPr>
              <a:defRPr lang="en-US"/>
            </a:defPPr>
            <a:lvl1pPr>
              <a:defRPr sz="1400" b="1">
                <a:gradFill>
                  <a:gsLst>
                    <a:gs pos="0">
                      <a:srgbClr val="54B2DB"/>
                    </a:gs>
                    <a:gs pos="100000">
                      <a:srgbClr val="4983D0"/>
                    </a:gs>
                  </a:gsLst>
                  <a:lin ang="5400000" scaled="1"/>
                </a:gradFill>
                <a:latin typeface="Century Gothic" panose="020B0502020202020204" pitchFamily="34" charset="0"/>
              </a:defRPr>
            </a:lvl1pPr>
          </a:lstStyle>
          <a:p>
            <a:pPr defTabSz="914358"/>
            <a:r>
              <a:rPr lang="en-GB" sz="1092" noProof="0">
                <a:latin typeface="Montserrat" panose="00000500000000000000" pitchFamily="2" charset="0"/>
              </a:rPr>
              <a:t>PHARMA</a:t>
            </a:r>
          </a:p>
        </p:txBody>
      </p:sp>
      <p:sp>
        <p:nvSpPr>
          <p:cNvPr id="123" name="New York Project">
            <a:extLst>
              <a:ext uri="{FF2B5EF4-FFF2-40B4-BE49-F238E27FC236}">
                <a16:creationId xmlns:a16="http://schemas.microsoft.com/office/drawing/2014/main" id="{3C78098B-0140-B8D6-0747-6289B38CD16C}"/>
              </a:ext>
            </a:extLst>
          </p:cNvPr>
          <p:cNvSpPr txBox="1"/>
          <p:nvPr/>
        </p:nvSpPr>
        <p:spPr>
          <a:xfrm>
            <a:off x="1025599" y="3909111"/>
            <a:ext cx="2751648" cy="66543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50796" tIns="50796" rIns="50796" bIns="50796" numCol="1" anchor="t" anchorCtr="0">
            <a:spAutoFit/>
          </a:bodyPr>
          <a:lstStyle>
            <a:lvl1pPr algn="r">
              <a:lnSpc>
                <a:spcPct val="100000"/>
              </a:lnSpc>
              <a:defRPr baseline="0">
                <a:solidFill>
                  <a:srgbClr val="475D84"/>
                </a:solidFill>
              </a:defRPr>
            </a:lvl1pPr>
          </a:lstStyle>
          <a:p>
            <a:pPr algn="l" defTabSz="914358">
              <a:lnSpc>
                <a:spcPts val="1500"/>
              </a:lnSpc>
              <a:spcAft>
                <a:spcPts val="600"/>
              </a:spcAft>
            </a:pPr>
            <a:r>
              <a:rPr lang="en-GB" sz="1000" noProof="0">
                <a:solidFill>
                  <a:srgbClr val="000000"/>
                </a:solidFill>
              </a:rPr>
              <a:t>Complete reporting solution for all areas of the pharma industry, such as sales, sales force, market share, finance, purchasing and business planning.</a:t>
            </a:r>
          </a:p>
        </p:txBody>
      </p:sp>
      <p:sp>
        <p:nvSpPr>
          <p:cNvPr id="124" name="Rounded Rectangle">
            <a:extLst>
              <a:ext uri="{FF2B5EF4-FFF2-40B4-BE49-F238E27FC236}">
                <a16:creationId xmlns:a16="http://schemas.microsoft.com/office/drawing/2014/main" id="{1D440888-5AD9-B7F4-6945-22A8F0B5E870}"/>
              </a:ext>
            </a:extLst>
          </p:cNvPr>
          <p:cNvSpPr/>
          <p:nvPr/>
        </p:nvSpPr>
        <p:spPr>
          <a:xfrm>
            <a:off x="4462546" y="3636238"/>
            <a:ext cx="3224868" cy="1174774"/>
          </a:xfrm>
          <a:prstGeom prst="roundRect">
            <a:avLst>
              <a:gd name="adj" fmla="val 8881"/>
            </a:avLst>
          </a:prstGeom>
          <a:solidFill>
            <a:srgbClr val="FFFFFF"/>
          </a:solidFill>
          <a:ln w="12700" cap="flat">
            <a:noFill/>
            <a:miter lim="400000"/>
          </a:ln>
          <a:effectLst>
            <a:outerShdw blurRad="292100" dist="110334" dir="5400000" rotWithShape="0">
              <a:srgbClr val="475D84">
                <a:alpha val="21640"/>
              </a:srgbClr>
            </a:outerShdw>
          </a:effectLst>
        </p:spPr>
        <p:txBody>
          <a:bodyPr wrap="square" lIns="50796" tIns="50796" rIns="50796" bIns="50796" numCol="1" anchor="ctr">
            <a:noAutofit/>
          </a:bodyPr>
          <a:lstStyle/>
          <a:p>
            <a:pPr algn="ctr" defTabSz="914358">
              <a:defRPr sz="3200" baseline="0">
                <a:solidFill>
                  <a:srgbClr val="FFFFFF"/>
                </a:solidFill>
                <a:latin typeface="Helvetica Light"/>
                <a:ea typeface="Helvetica Light"/>
                <a:cs typeface="Helvetica Light"/>
                <a:sym typeface="Helvetica Light"/>
              </a:defRPr>
            </a:pPr>
            <a:endParaRPr lang="en-GB" sz="1213" noProof="0">
              <a:solidFill>
                <a:srgbClr val="FFFFFF"/>
              </a:solidFill>
              <a:latin typeface="Montserrat" panose="00000500000000000000" pitchFamily="2" charset="0"/>
              <a:ea typeface="Helvetica Light"/>
              <a:cs typeface="Helvetica Light"/>
              <a:sym typeface="Helvetica Light"/>
            </a:endParaRPr>
          </a:p>
        </p:txBody>
      </p:sp>
      <p:sp>
        <p:nvSpPr>
          <p:cNvPr id="125" name="New York Project">
            <a:extLst>
              <a:ext uri="{FF2B5EF4-FFF2-40B4-BE49-F238E27FC236}">
                <a16:creationId xmlns:a16="http://schemas.microsoft.com/office/drawing/2014/main" id="{006389B0-4C68-EB63-72A8-8AB9F31C24AF}"/>
              </a:ext>
            </a:extLst>
          </p:cNvPr>
          <p:cNvSpPr txBox="1"/>
          <p:nvPr/>
        </p:nvSpPr>
        <p:spPr>
          <a:xfrm>
            <a:off x="4763631" y="3695970"/>
            <a:ext cx="2892252" cy="260392"/>
          </a:xfrm>
          <a:prstGeom prst="rect">
            <a:avLst/>
          </a:prstGeom>
          <a:noFill/>
          <a:extLst>
            <a:ext uri="{C572A759-6A51-4108-AA02-DFA0A04FC94B}">
              <ma14:wrappingTextBoxFlag xmlns="" xmlns:ma14="http://schemas.microsoft.com/office/mac/drawingml/2011/main" val="1"/>
            </a:ext>
          </a:extLst>
        </p:spPr>
        <p:txBody>
          <a:bodyPr wrap="square" rtlCol="0">
            <a:spAutoFit/>
          </a:bodyPr>
          <a:lstStyle>
            <a:defPPr>
              <a:defRPr lang="en-US"/>
            </a:defPPr>
            <a:lvl1pPr>
              <a:defRPr sz="1400" b="1">
                <a:gradFill>
                  <a:gsLst>
                    <a:gs pos="0">
                      <a:srgbClr val="54B2DB"/>
                    </a:gs>
                    <a:gs pos="100000">
                      <a:srgbClr val="4983D0"/>
                    </a:gs>
                  </a:gsLst>
                  <a:lin ang="5400000" scaled="1"/>
                </a:gradFill>
                <a:latin typeface="Century Gothic" panose="020B0502020202020204" pitchFamily="34" charset="0"/>
              </a:defRPr>
            </a:lvl1pPr>
          </a:lstStyle>
          <a:p>
            <a:pPr defTabSz="914358"/>
            <a:r>
              <a:rPr lang="en-GB" sz="1092" noProof="0">
                <a:latin typeface="Montserrat" panose="00000500000000000000" pitchFamily="2" charset="0"/>
              </a:rPr>
              <a:t>360 MOBILITY</a:t>
            </a:r>
          </a:p>
        </p:txBody>
      </p:sp>
      <p:sp>
        <p:nvSpPr>
          <p:cNvPr id="126" name="New York Project">
            <a:extLst>
              <a:ext uri="{FF2B5EF4-FFF2-40B4-BE49-F238E27FC236}">
                <a16:creationId xmlns:a16="http://schemas.microsoft.com/office/drawing/2014/main" id="{DFEB0160-DCE0-B246-61FB-ADB193223A49}"/>
              </a:ext>
            </a:extLst>
          </p:cNvPr>
          <p:cNvSpPr txBox="1"/>
          <p:nvPr/>
        </p:nvSpPr>
        <p:spPr>
          <a:xfrm>
            <a:off x="4795161" y="3916813"/>
            <a:ext cx="2812878" cy="85779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50796" tIns="50796" rIns="50796" bIns="50796" numCol="1" anchor="t" anchorCtr="0">
            <a:spAutoFit/>
          </a:bodyPr>
          <a:lstStyle>
            <a:lvl1pPr algn="r">
              <a:lnSpc>
                <a:spcPct val="100000"/>
              </a:lnSpc>
              <a:defRPr baseline="0">
                <a:solidFill>
                  <a:srgbClr val="475D84"/>
                </a:solidFill>
              </a:defRPr>
            </a:lvl1pPr>
          </a:lstStyle>
          <a:p>
            <a:pPr algn="l" defTabSz="914358">
              <a:lnSpc>
                <a:spcPts val="1500"/>
              </a:lnSpc>
              <a:spcAft>
                <a:spcPts val="600"/>
              </a:spcAft>
            </a:pPr>
            <a:r>
              <a:rPr lang="en-GB" sz="1000" noProof="0">
                <a:solidFill>
                  <a:srgbClr val="000000"/>
                </a:solidFill>
              </a:rPr>
              <a:t>A set of dashboards focused on urban passenger transport according to 4 key performance dimensions: service, environment, customer and corporation.</a:t>
            </a:r>
          </a:p>
        </p:txBody>
      </p:sp>
      <p:sp>
        <p:nvSpPr>
          <p:cNvPr id="127" name="Rounded Rectangle">
            <a:extLst>
              <a:ext uri="{FF2B5EF4-FFF2-40B4-BE49-F238E27FC236}">
                <a16:creationId xmlns:a16="http://schemas.microsoft.com/office/drawing/2014/main" id="{C6E9ED29-B460-4BF4-63E8-E5D02946177A}"/>
              </a:ext>
            </a:extLst>
          </p:cNvPr>
          <p:cNvSpPr/>
          <p:nvPr/>
        </p:nvSpPr>
        <p:spPr>
          <a:xfrm>
            <a:off x="692984" y="4944961"/>
            <a:ext cx="3336922" cy="1174774"/>
          </a:xfrm>
          <a:prstGeom prst="roundRect">
            <a:avLst>
              <a:gd name="adj" fmla="val 8881"/>
            </a:avLst>
          </a:prstGeom>
          <a:solidFill>
            <a:srgbClr val="FFFFFF"/>
          </a:solidFill>
          <a:ln w="12700" cap="flat">
            <a:noFill/>
            <a:miter lim="400000"/>
          </a:ln>
          <a:effectLst>
            <a:outerShdw blurRad="292100" dist="110334" dir="5400000" rotWithShape="0">
              <a:srgbClr val="475D84">
                <a:alpha val="21640"/>
              </a:srgbClr>
            </a:outerShdw>
          </a:effectLst>
        </p:spPr>
        <p:txBody>
          <a:bodyPr wrap="square" lIns="50796" tIns="50796" rIns="50796" bIns="50796" numCol="1" anchor="ctr">
            <a:noAutofit/>
          </a:bodyPr>
          <a:lstStyle/>
          <a:p>
            <a:pPr algn="ctr" defTabSz="914358">
              <a:defRPr sz="3200" baseline="0">
                <a:solidFill>
                  <a:srgbClr val="FFFFFF"/>
                </a:solidFill>
                <a:latin typeface="Helvetica Light"/>
                <a:ea typeface="Helvetica Light"/>
                <a:cs typeface="Helvetica Light"/>
                <a:sym typeface="Helvetica Light"/>
              </a:defRPr>
            </a:pPr>
            <a:endParaRPr lang="en-GB" sz="1213" noProof="0">
              <a:solidFill>
                <a:srgbClr val="FFFFFF"/>
              </a:solidFill>
              <a:latin typeface="Montserrat" panose="00000500000000000000" pitchFamily="2" charset="0"/>
              <a:ea typeface="Helvetica Light"/>
              <a:cs typeface="Helvetica Light"/>
              <a:sym typeface="Helvetica Light"/>
            </a:endParaRPr>
          </a:p>
        </p:txBody>
      </p:sp>
      <p:sp>
        <p:nvSpPr>
          <p:cNvPr id="1024" name="New York Project">
            <a:extLst>
              <a:ext uri="{FF2B5EF4-FFF2-40B4-BE49-F238E27FC236}">
                <a16:creationId xmlns:a16="http://schemas.microsoft.com/office/drawing/2014/main" id="{21AFE5A8-6CB8-021B-9E41-2BC89B7DFE4E}"/>
              </a:ext>
            </a:extLst>
          </p:cNvPr>
          <p:cNvSpPr txBox="1"/>
          <p:nvPr/>
        </p:nvSpPr>
        <p:spPr>
          <a:xfrm>
            <a:off x="994069" y="5074004"/>
            <a:ext cx="2892252" cy="260392"/>
          </a:xfrm>
          <a:prstGeom prst="rect">
            <a:avLst/>
          </a:prstGeom>
          <a:noFill/>
          <a:extLst>
            <a:ext uri="{C572A759-6A51-4108-AA02-DFA0A04FC94B}">
              <ma14:wrappingTextBoxFlag xmlns="" xmlns:ma14="http://schemas.microsoft.com/office/mac/drawingml/2011/main" val="1"/>
            </a:ext>
          </a:extLst>
        </p:spPr>
        <p:txBody>
          <a:bodyPr wrap="square" rtlCol="0">
            <a:spAutoFit/>
          </a:bodyPr>
          <a:lstStyle>
            <a:defPPr>
              <a:defRPr lang="en-US"/>
            </a:defPPr>
            <a:lvl1pPr>
              <a:defRPr sz="1400" b="1">
                <a:gradFill>
                  <a:gsLst>
                    <a:gs pos="0">
                      <a:srgbClr val="54B2DB"/>
                    </a:gs>
                    <a:gs pos="100000">
                      <a:srgbClr val="4983D0"/>
                    </a:gs>
                  </a:gsLst>
                  <a:lin ang="5400000" scaled="1"/>
                </a:gradFill>
                <a:latin typeface="Century Gothic" panose="020B0502020202020204" pitchFamily="34" charset="0"/>
              </a:defRPr>
            </a:lvl1pPr>
          </a:lstStyle>
          <a:p>
            <a:pPr marL="0" marR="0" lvl="0" indent="0" defTabSz="914358" eaLnBrk="1" fontAlgn="auto" latinLnBrk="0" hangingPunct="1">
              <a:lnSpc>
                <a:spcPct val="100000"/>
              </a:lnSpc>
              <a:spcBef>
                <a:spcPts val="0"/>
              </a:spcBef>
              <a:spcAft>
                <a:spcPts val="0"/>
              </a:spcAft>
              <a:buClrTx/>
              <a:buSzTx/>
              <a:buFontTx/>
              <a:buNone/>
              <a:tabLst/>
              <a:defRPr/>
            </a:pPr>
            <a:r>
              <a:rPr kumimoji="0" lang="en-GB" sz="1092" b="1" i="0" u="none" strike="noStrike" kern="0" cap="none" spc="0" normalizeH="0" baseline="0" noProof="0">
                <a:ln>
                  <a:noFill/>
                </a:ln>
                <a:gradFill>
                  <a:gsLst>
                    <a:gs pos="0">
                      <a:srgbClr val="54B2DB"/>
                    </a:gs>
                    <a:gs pos="100000">
                      <a:srgbClr val="4983D0"/>
                    </a:gs>
                  </a:gsLst>
                  <a:lin ang="5400000" scaled="1"/>
                </a:gradFill>
                <a:effectLst/>
                <a:uLnTx/>
                <a:uFillTx/>
                <a:latin typeface="Century Gothic" panose="020B0502020202020204" pitchFamily="34" charset="0"/>
              </a:rPr>
              <a:t>FINANCE</a:t>
            </a:r>
          </a:p>
        </p:txBody>
      </p:sp>
      <p:sp>
        <p:nvSpPr>
          <p:cNvPr id="1025" name="New York Project">
            <a:extLst>
              <a:ext uri="{FF2B5EF4-FFF2-40B4-BE49-F238E27FC236}">
                <a16:creationId xmlns:a16="http://schemas.microsoft.com/office/drawing/2014/main" id="{EA05C4EE-A918-68D1-2DFE-327F9C1292C7}"/>
              </a:ext>
            </a:extLst>
          </p:cNvPr>
          <p:cNvSpPr txBox="1"/>
          <p:nvPr/>
        </p:nvSpPr>
        <p:spPr>
          <a:xfrm>
            <a:off x="1025599" y="5294847"/>
            <a:ext cx="2876777" cy="66543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50796" tIns="50796" rIns="50796" bIns="50796" numCol="1" anchor="t" anchorCtr="0">
            <a:spAutoFit/>
          </a:bodyPr>
          <a:lstStyle>
            <a:lvl1pPr algn="r">
              <a:lnSpc>
                <a:spcPct val="100000"/>
              </a:lnSpc>
              <a:defRPr baseline="0">
                <a:solidFill>
                  <a:srgbClr val="475D84"/>
                </a:solidFill>
              </a:defRPr>
            </a:lvl1pPr>
          </a:lstStyle>
          <a:p>
            <a:pPr algn="l" defTabSz="914358">
              <a:lnSpc>
                <a:spcPts val="1500"/>
              </a:lnSpc>
              <a:spcAft>
                <a:spcPts val="600"/>
              </a:spcAft>
            </a:pPr>
            <a:r>
              <a:rPr lang="en-GB" sz="1000" noProof="0">
                <a:solidFill>
                  <a:srgbClr val="000000"/>
                </a:solidFill>
              </a:rPr>
              <a:t>Complete reporting of all financial areas of the company: P&amp;L, Balance Sheet, Capex and </a:t>
            </a:r>
            <a:r>
              <a:rPr lang="en-GB" sz="1000" noProof="0" err="1">
                <a:solidFill>
                  <a:srgbClr val="000000"/>
                </a:solidFill>
              </a:rPr>
              <a:t>Opex</a:t>
            </a:r>
            <a:r>
              <a:rPr lang="en-GB" sz="1000" noProof="0">
                <a:solidFill>
                  <a:srgbClr val="000000"/>
                </a:solidFill>
              </a:rPr>
              <a:t>, Debt, Cash Flow and debt control.</a:t>
            </a:r>
          </a:p>
        </p:txBody>
      </p:sp>
      <p:sp>
        <p:nvSpPr>
          <p:cNvPr id="1026" name="Rounded Rectangle">
            <a:extLst>
              <a:ext uri="{FF2B5EF4-FFF2-40B4-BE49-F238E27FC236}">
                <a16:creationId xmlns:a16="http://schemas.microsoft.com/office/drawing/2014/main" id="{226A77A3-B077-2911-124C-2FCF638D4578}"/>
              </a:ext>
            </a:extLst>
          </p:cNvPr>
          <p:cNvSpPr/>
          <p:nvPr/>
        </p:nvSpPr>
        <p:spPr>
          <a:xfrm>
            <a:off x="4462546" y="4944961"/>
            <a:ext cx="3224868" cy="1174774"/>
          </a:xfrm>
          <a:prstGeom prst="roundRect">
            <a:avLst>
              <a:gd name="adj" fmla="val 8881"/>
            </a:avLst>
          </a:prstGeom>
          <a:solidFill>
            <a:srgbClr val="FFFFFF"/>
          </a:solidFill>
          <a:ln w="12700" cap="flat">
            <a:noFill/>
            <a:miter lim="400000"/>
          </a:ln>
          <a:effectLst>
            <a:outerShdw blurRad="292100" dist="110334" dir="5400000" rotWithShape="0">
              <a:srgbClr val="475D84">
                <a:alpha val="21640"/>
              </a:srgbClr>
            </a:outerShdw>
          </a:effectLst>
        </p:spPr>
        <p:txBody>
          <a:bodyPr wrap="square" lIns="50796" tIns="50796" rIns="50796" bIns="50796" numCol="1" anchor="ctr">
            <a:noAutofit/>
          </a:bodyPr>
          <a:lstStyle/>
          <a:p>
            <a:pPr algn="ctr" defTabSz="914358">
              <a:defRPr sz="3200" baseline="0">
                <a:solidFill>
                  <a:srgbClr val="FFFFFF"/>
                </a:solidFill>
                <a:latin typeface="Helvetica Light"/>
                <a:ea typeface="Helvetica Light"/>
                <a:cs typeface="Helvetica Light"/>
                <a:sym typeface="Helvetica Light"/>
              </a:defRPr>
            </a:pPr>
            <a:endParaRPr lang="en-GB" sz="1213" noProof="0">
              <a:solidFill>
                <a:srgbClr val="FFFFFF"/>
              </a:solidFill>
              <a:latin typeface="Montserrat" panose="00000500000000000000" pitchFamily="2" charset="0"/>
              <a:ea typeface="Helvetica Light"/>
              <a:cs typeface="Helvetica Light"/>
              <a:sym typeface="Helvetica Light"/>
            </a:endParaRPr>
          </a:p>
        </p:txBody>
      </p:sp>
      <p:sp>
        <p:nvSpPr>
          <p:cNvPr id="1027" name="New York Project">
            <a:extLst>
              <a:ext uri="{FF2B5EF4-FFF2-40B4-BE49-F238E27FC236}">
                <a16:creationId xmlns:a16="http://schemas.microsoft.com/office/drawing/2014/main" id="{42A8888A-28A5-5F13-5866-296FB7129667}"/>
              </a:ext>
            </a:extLst>
          </p:cNvPr>
          <p:cNvSpPr txBox="1"/>
          <p:nvPr/>
        </p:nvSpPr>
        <p:spPr>
          <a:xfrm>
            <a:off x="4763631" y="5035498"/>
            <a:ext cx="2892252" cy="260392"/>
          </a:xfrm>
          <a:prstGeom prst="rect">
            <a:avLst/>
          </a:prstGeom>
          <a:noFill/>
          <a:extLst>
            <a:ext uri="{C572A759-6A51-4108-AA02-DFA0A04FC94B}">
              <ma14:wrappingTextBoxFlag xmlns="" xmlns:ma14="http://schemas.microsoft.com/office/mac/drawingml/2011/main" val="1"/>
            </a:ext>
          </a:extLst>
        </p:spPr>
        <p:txBody>
          <a:bodyPr wrap="square" rtlCol="0">
            <a:spAutoFit/>
          </a:bodyPr>
          <a:lstStyle>
            <a:defPPr>
              <a:defRPr lang="en-US"/>
            </a:defPPr>
            <a:lvl1pPr>
              <a:defRPr sz="1400" b="1">
                <a:gradFill>
                  <a:gsLst>
                    <a:gs pos="0">
                      <a:srgbClr val="54B2DB"/>
                    </a:gs>
                    <a:gs pos="100000">
                      <a:srgbClr val="4983D0"/>
                    </a:gs>
                  </a:gsLst>
                  <a:lin ang="5400000" scaled="1"/>
                </a:gradFill>
                <a:latin typeface="Century Gothic" panose="020B0502020202020204" pitchFamily="34" charset="0"/>
              </a:defRPr>
            </a:lvl1pPr>
          </a:lstStyle>
          <a:p>
            <a:pPr defTabSz="914358"/>
            <a:r>
              <a:rPr lang="en-GB" sz="1092" noProof="0">
                <a:latin typeface="Montserrat" panose="00000500000000000000" pitchFamily="2" charset="0"/>
              </a:rPr>
              <a:t>SALES &amp; RETAIL</a:t>
            </a:r>
          </a:p>
        </p:txBody>
      </p:sp>
      <p:sp>
        <p:nvSpPr>
          <p:cNvPr id="1029" name="New York Project">
            <a:extLst>
              <a:ext uri="{FF2B5EF4-FFF2-40B4-BE49-F238E27FC236}">
                <a16:creationId xmlns:a16="http://schemas.microsoft.com/office/drawing/2014/main" id="{39FDAE4B-6C2C-79BB-933B-F98FBF7D3AE4}"/>
              </a:ext>
            </a:extLst>
          </p:cNvPr>
          <p:cNvSpPr txBox="1"/>
          <p:nvPr/>
        </p:nvSpPr>
        <p:spPr>
          <a:xfrm>
            <a:off x="4795161" y="5248039"/>
            <a:ext cx="2812878" cy="66543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50796" tIns="50796" rIns="50796" bIns="50796" numCol="1" anchor="t" anchorCtr="0">
            <a:spAutoFit/>
          </a:bodyPr>
          <a:lstStyle>
            <a:lvl1pPr algn="r">
              <a:lnSpc>
                <a:spcPct val="100000"/>
              </a:lnSpc>
              <a:defRPr baseline="0">
                <a:solidFill>
                  <a:srgbClr val="475D84"/>
                </a:solidFill>
              </a:defRPr>
            </a:lvl1pPr>
          </a:lstStyle>
          <a:p>
            <a:pPr algn="l" defTabSz="914358">
              <a:lnSpc>
                <a:spcPts val="1500"/>
              </a:lnSpc>
              <a:spcAft>
                <a:spcPts val="600"/>
              </a:spcAft>
            </a:pPr>
            <a:r>
              <a:rPr lang="en-GB" sz="1000" noProof="0">
                <a:solidFill>
                  <a:srgbClr val="000000"/>
                </a:solidFill>
              </a:rPr>
              <a:t>Complete retail analytics: sales, target planning, mall vision, ecommerce, sentiment analysis and benchmarking.</a:t>
            </a:r>
          </a:p>
        </p:txBody>
      </p:sp>
      <p:sp>
        <p:nvSpPr>
          <p:cNvPr id="1030" name="Rounded Rectangle">
            <a:extLst>
              <a:ext uri="{FF2B5EF4-FFF2-40B4-BE49-F238E27FC236}">
                <a16:creationId xmlns:a16="http://schemas.microsoft.com/office/drawing/2014/main" id="{FDB91645-B970-03A4-AFBA-D1B360A8266D}"/>
              </a:ext>
            </a:extLst>
          </p:cNvPr>
          <p:cNvSpPr/>
          <p:nvPr/>
        </p:nvSpPr>
        <p:spPr>
          <a:xfrm>
            <a:off x="8192731" y="3023052"/>
            <a:ext cx="3438647" cy="1333997"/>
          </a:xfrm>
          <a:prstGeom prst="roundRect">
            <a:avLst>
              <a:gd name="adj" fmla="val 8881"/>
            </a:avLst>
          </a:prstGeom>
          <a:solidFill>
            <a:srgbClr val="FFFFFF"/>
          </a:solidFill>
          <a:ln w="12700" cap="flat">
            <a:noFill/>
            <a:miter lim="400000"/>
          </a:ln>
          <a:effectLst>
            <a:outerShdw blurRad="292100" dist="110334" dir="5400000" rotWithShape="0">
              <a:srgbClr val="475D84">
                <a:alpha val="21640"/>
              </a:srgbClr>
            </a:outerShdw>
          </a:effectLst>
        </p:spPr>
        <p:txBody>
          <a:bodyPr wrap="square" lIns="50796" tIns="50796" rIns="50796" bIns="50796" numCol="1" anchor="ctr">
            <a:noAutofit/>
          </a:bodyPr>
          <a:lstStyle/>
          <a:p>
            <a:pPr algn="ctr" defTabSz="914358">
              <a:defRPr sz="3200" baseline="0">
                <a:solidFill>
                  <a:srgbClr val="FFFFFF"/>
                </a:solidFill>
                <a:latin typeface="Helvetica Light"/>
                <a:ea typeface="Helvetica Light"/>
                <a:cs typeface="Helvetica Light"/>
                <a:sym typeface="Helvetica Light"/>
              </a:defRPr>
            </a:pPr>
            <a:endParaRPr lang="en-GB" sz="1213" noProof="0">
              <a:solidFill>
                <a:srgbClr val="FFFFFF"/>
              </a:solidFill>
              <a:latin typeface="Montserrat" panose="00000500000000000000" pitchFamily="2" charset="0"/>
              <a:ea typeface="Helvetica Light"/>
              <a:cs typeface="Helvetica Light"/>
              <a:sym typeface="Helvetica Light"/>
            </a:endParaRPr>
          </a:p>
        </p:txBody>
      </p:sp>
      <p:sp>
        <p:nvSpPr>
          <p:cNvPr id="1031" name="New York Project">
            <a:extLst>
              <a:ext uri="{FF2B5EF4-FFF2-40B4-BE49-F238E27FC236}">
                <a16:creationId xmlns:a16="http://schemas.microsoft.com/office/drawing/2014/main" id="{8A1C21D4-E2A6-77FE-2F95-A44376EFD3ED}"/>
              </a:ext>
            </a:extLst>
          </p:cNvPr>
          <p:cNvSpPr txBox="1"/>
          <p:nvPr/>
        </p:nvSpPr>
        <p:spPr>
          <a:xfrm>
            <a:off x="8493816" y="3159108"/>
            <a:ext cx="2892252" cy="260392"/>
          </a:xfrm>
          <a:prstGeom prst="rect">
            <a:avLst/>
          </a:prstGeom>
          <a:noFill/>
          <a:extLst>
            <a:ext uri="{C572A759-6A51-4108-AA02-DFA0A04FC94B}">
              <ma14:wrappingTextBoxFlag xmlns="" xmlns:ma14="http://schemas.microsoft.com/office/mac/drawingml/2011/main" val="1"/>
            </a:ext>
          </a:extLst>
        </p:spPr>
        <p:txBody>
          <a:bodyPr wrap="square" rtlCol="0">
            <a:spAutoFit/>
          </a:bodyPr>
          <a:lstStyle>
            <a:defPPr>
              <a:defRPr lang="en-US"/>
            </a:defPPr>
            <a:lvl1pPr>
              <a:defRPr sz="1400" b="1">
                <a:gradFill>
                  <a:gsLst>
                    <a:gs pos="0">
                      <a:srgbClr val="54B2DB"/>
                    </a:gs>
                    <a:gs pos="100000">
                      <a:srgbClr val="4983D0"/>
                    </a:gs>
                  </a:gsLst>
                  <a:lin ang="5400000" scaled="1"/>
                </a:gradFill>
                <a:latin typeface="Century Gothic" panose="020B0502020202020204" pitchFamily="34" charset="0"/>
              </a:defRPr>
            </a:lvl1pPr>
          </a:lstStyle>
          <a:p>
            <a:pPr defTabSz="914358"/>
            <a:r>
              <a:rPr lang="en-GB" sz="1092" noProof="0">
                <a:latin typeface="Montserrat" panose="00000500000000000000" pitchFamily="2" charset="0"/>
              </a:rPr>
              <a:t>TRAVEL EXPENSES</a:t>
            </a:r>
          </a:p>
        </p:txBody>
      </p:sp>
      <p:sp>
        <p:nvSpPr>
          <p:cNvPr id="1032" name="New York Project">
            <a:extLst>
              <a:ext uri="{FF2B5EF4-FFF2-40B4-BE49-F238E27FC236}">
                <a16:creationId xmlns:a16="http://schemas.microsoft.com/office/drawing/2014/main" id="{938B7CDC-7E0F-DF0E-6E4C-7D7279D27E8D}"/>
              </a:ext>
            </a:extLst>
          </p:cNvPr>
          <p:cNvSpPr txBox="1"/>
          <p:nvPr/>
        </p:nvSpPr>
        <p:spPr>
          <a:xfrm>
            <a:off x="8525346" y="3379950"/>
            <a:ext cx="3044732" cy="85080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50796" tIns="50796" rIns="50796" bIns="50796" numCol="1" anchor="t" anchorCtr="0">
            <a:spAutoFit/>
          </a:bodyPr>
          <a:lstStyle>
            <a:lvl1pPr algn="r">
              <a:lnSpc>
                <a:spcPct val="100000"/>
              </a:lnSpc>
              <a:defRPr baseline="0">
                <a:solidFill>
                  <a:srgbClr val="475D84"/>
                </a:solidFill>
              </a:defRPr>
            </a:lvl1pPr>
          </a:lstStyle>
          <a:p>
            <a:pPr algn="l" defTabSz="914358">
              <a:lnSpc>
                <a:spcPts val="1500"/>
              </a:lnSpc>
              <a:spcAft>
                <a:spcPts val="600"/>
              </a:spcAft>
            </a:pPr>
            <a:r>
              <a:rPr lang="en-GB" sz="1000" noProof="0">
                <a:solidFill>
                  <a:srgbClr val="000000"/>
                </a:solidFill>
              </a:rPr>
              <a:t>Analysis of all components of the company's travel expenses, such as summary of expenses, detail of all travel records, approval or rejection of expenses and overall status of expenses. </a:t>
            </a:r>
          </a:p>
        </p:txBody>
      </p:sp>
      <p:sp>
        <p:nvSpPr>
          <p:cNvPr id="1033" name="Rounded Rectangle">
            <a:extLst>
              <a:ext uri="{FF2B5EF4-FFF2-40B4-BE49-F238E27FC236}">
                <a16:creationId xmlns:a16="http://schemas.microsoft.com/office/drawing/2014/main" id="{DAA4C9D9-02ED-A158-EEA3-E0CE7EE52C0E}"/>
              </a:ext>
            </a:extLst>
          </p:cNvPr>
          <p:cNvSpPr/>
          <p:nvPr/>
        </p:nvSpPr>
        <p:spPr>
          <a:xfrm>
            <a:off x="8192732" y="4567930"/>
            <a:ext cx="3438647" cy="1524660"/>
          </a:xfrm>
          <a:prstGeom prst="roundRect">
            <a:avLst>
              <a:gd name="adj" fmla="val 8881"/>
            </a:avLst>
          </a:prstGeom>
          <a:solidFill>
            <a:srgbClr val="FFFFFF"/>
          </a:solidFill>
          <a:ln w="12700" cap="flat">
            <a:noFill/>
            <a:miter lim="400000"/>
          </a:ln>
          <a:effectLst>
            <a:outerShdw blurRad="292100" dist="110334" dir="5400000" rotWithShape="0">
              <a:srgbClr val="475D84">
                <a:alpha val="21640"/>
              </a:srgbClr>
            </a:outerShdw>
          </a:effectLst>
        </p:spPr>
        <p:txBody>
          <a:bodyPr wrap="square" lIns="50796" tIns="50796" rIns="50796" bIns="50796" numCol="1" anchor="ctr">
            <a:noAutofit/>
          </a:bodyPr>
          <a:lstStyle/>
          <a:p>
            <a:pPr algn="ctr" defTabSz="914358">
              <a:defRPr sz="3200" baseline="0">
                <a:solidFill>
                  <a:srgbClr val="FFFFFF"/>
                </a:solidFill>
                <a:latin typeface="Helvetica Light"/>
                <a:ea typeface="Helvetica Light"/>
                <a:cs typeface="Helvetica Light"/>
                <a:sym typeface="Helvetica Light"/>
              </a:defRPr>
            </a:pPr>
            <a:endParaRPr lang="en-GB" sz="1213" noProof="0">
              <a:solidFill>
                <a:srgbClr val="FFFFFF"/>
              </a:solidFill>
              <a:latin typeface="Montserrat" panose="00000500000000000000" pitchFamily="2" charset="0"/>
              <a:ea typeface="Helvetica Light"/>
              <a:cs typeface="Helvetica Light"/>
              <a:sym typeface="Helvetica Light"/>
            </a:endParaRPr>
          </a:p>
        </p:txBody>
      </p:sp>
      <p:sp>
        <p:nvSpPr>
          <p:cNvPr id="1034" name="New York Project">
            <a:extLst>
              <a:ext uri="{FF2B5EF4-FFF2-40B4-BE49-F238E27FC236}">
                <a16:creationId xmlns:a16="http://schemas.microsoft.com/office/drawing/2014/main" id="{C1C10AB1-9298-5F43-6925-14CEFEC388B5}"/>
              </a:ext>
            </a:extLst>
          </p:cNvPr>
          <p:cNvSpPr txBox="1"/>
          <p:nvPr/>
        </p:nvSpPr>
        <p:spPr>
          <a:xfrm>
            <a:off x="8493816" y="4694087"/>
            <a:ext cx="2892252" cy="260392"/>
          </a:xfrm>
          <a:prstGeom prst="rect">
            <a:avLst/>
          </a:prstGeom>
          <a:noFill/>
          <a:extLst>
            <a:ext uri="{C572A759-6A51-4108-AA02-DFA0A04FC94B}">
              <ma14:wrappingTextBoxFlag xmlns="" xmlns:ma14="http://schemas.microsoft.com/office/mac/drawingml/2011/main" val="1"/>
            </a:ext>
          </a:extLst>
        </p:spPr>
        <p:txBody>
          <a:bodyPr wrap="square" rtlCol="0">
            <a:spAutoFit/>
          </a:bodyPr>
          <a:lstStyle>
            <a:defPPr>
              <a:defRPr lang="en-US"/>
            </a:defPPr>
            <a:lvl1pPr>
              <a:defRPr sz="1400" b="1">
                <a:gradFill>
                  <a:gsLst>
                    <a:gs pos="0">
                      <a:srgbClr val="54B2DB"/>
                    </a:gs>
                    <a:gs pos="100000">
                      <a:srgbClr val="4983D0"/>
                    </a:gs>
                  </a:gsLst>
                  <a:lin ang="5400000" scaled="1"/>
                </a:gradFill>
                <a:latin typeface="Century Gothic" panose="020B0502020202020204" pitchFamily="34" charset="0"/>
              </a:defRPr>
            </a:lvl1pPr>
          </a:lstStyle>
          <a:p>
            <a:pPr defTabSz="914358">
              <a:defRPr/>
            </a:pPr>
            <a:r>
              <a:rPr lang="en-GB" sz="1092" noProof="0">
                <a:latin typeface="Montserrat" panose="00000500000000000000" pitchFamily="2" charset="0"/>
              </a:rPr>
              <a:t>SUSTAINABILITY</a:t>
            </a:r>
          </a:p>
        </p:txBody>
      </p:sp>
      <p:sp>
        <p:nvSpPr>
          <p:cNvPr id="1035" name="New York Project">
            <a:extLst>
              <a:ext uri="{FF2B5EF4-FFF2-40B4-BE49-F238E27FC236}">
                <a16:creationId xmlns:a16="http://schemas.microsoft.com/office/drawing/2014/main" id="{62AC5588-029F-F569-92B6-E1987736A6D0}"/>
              </a:ext>
            </a:extLst>
          </p:cNvPr>
          <p:cNvSpPr txBox="1"/>
          <p:nvPr/>
        </p:nvSpPr>
        <p:spPr>
          <a:xfrm>
            <a:off x="8525346" y="4917817"/>
            <a:ext cx="2995042" cy="105015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50796" tIns="50796" rIns="50796" bIns="50796" numCol="1" anchor="t" anchorCtr="0">
            <a:spAutoFit/>
          </a:bodyPr>
          <a:lstStyle>
            <a:lvl1pPr algn="r">
              <a:lnSpc>
                <a:spcPct val="100000"/>
              </a:lnSpc>
              <a:defRPr baseline="0">
                <a:solidFill>
                  <a:srgbClr val="475D84"/>
                </a:solidFill>
              </a:defRPr>
            </a:lvl1pPr>
          </a:lstStyle>
          <a:p>
            <a:pPr algn="l" defTabSz="914358">
              <a:lnSpc>
                <a:spcPts val="1500"/>
              </a:lnSpc>
              <a:spcAft>
                <a:spcPts val="600"/>
              </a:spcAft>
              <a:defRPr/>
            </a:pPr>
            <a:r>
              <a:rPr lang="en-GB" sz="1000" noProof="0">
                <a:solidFill>
                  <a:srgbClr val="000000"/>
                </a:solidFill>
              </a:rPr>
              <a:t>Planning and control of the EEFF of the industrial sector. It allows to make a business plan, investment and amortization budget, General Expenses with full cost allocations, purchase planning and cost of sale, etc...</a:t>
            </a:r>
          </a:p>
        </p:txBody>
      </p:sp>
      <p:sp>
        <p:nvSpPr>
          <p:cNvPr id="1037" name="Circle">
            <a:extLst>
              <a:ext uri="{FF2B5EF4-FFF2-40B4-BE49-F238E27FC236}">
                <a16:creationId xmlns:a16="http://schemas.microsoft.com/office/drawing/2014/main" id="{EB991E60-A4B4-09D8-FBB5-95C46D0CFC18}"/>
              </a:ext>
            </a:extLst>
          </p:cNvPr>
          <p:cNvSpPr/>
          <p:nvPr/>
        </p:nvSpPr>
        <p:spPr>
          <a:xfrm>
            <a:off x="440325" y="1362252"/>
            <a:ext cx="507017" cy="507017"/>
          </a:xfrm>
          <a:prstGeom prst="ellipse">
            <a:avLst/>
          </a:prstGeom>
          <a:gradFill flip="none" rotWithShape="1">
            <a:gsLst>
              <a:gs pos="0">
                <a:srgbClr val="54B2DB"/>
              </a:gs>
              <a:gs pos="100000">
                <a:srgbClr val="4983D0"/>
              </a:gs>
            </a:gsLst>
            <a:lin ang="2277912" scaled="0"/>
          </a:gradFill>
          <a:ln w="12700" cap="flat">
            <a:noFill/>
            <a:miter lim="400000"/>
          </a:ln>
          <a:effectLst/>
        </p:spPr>
        <p:txBody>
          <a:bodyPr wrap="square" lIns="83767" tIns="0" rIns="83767" bIns="15078" numCol="1" anchor="ctr">
            <a:noAutofit/>
          </a:bodyPr>
          <a:lstStyle/>
          <a:p>
            <a:pPr algn="ctr" defTabSz="1507846"/>
            <a:endParaRPr lang="en-GB" sz="2309" b="1" noProof="0">
              <a:solidFill>
                <a:srgbClr val="FFFFFF"/>
              </a:solidFill>
              <a:latin typeface="Montserrat" panose="00000500000000000000" pitchFamily="2" charset="0"/>
            </a:endParaRPr>
          </a:p>
        </p:txBody>
      </p:sp>
      <p:pic>
        <p:nvPicPr>
          <p:cNvPr id="1038" name="Gráfico 1037" descr="Niños contorno">
            <a:extLst>
              <a:ext uri="{FF2B5EF4-FFF2-40B4-BE49-F238E27FC236}">
                <a16:creationId xmlns:a16="http://schemas.microsoft.com/office/drawing/2014/main" id="{21288C47-12AB-574B-F204-3556E14B56A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5406" y="1434307"/>
            <a:ext cx="360423" cy="360423"/>
          </a:xfrm>
          <a:prstGeom prst="rect">
            <a:avLst/>
          </a:prstGeom>
          <a:effectLst/>
        </p:spPr>
      </p:pic>
      <p:sp>
        <p:nvSpPr>
          <p:cNvPr id="1040" name="Circle">
            <a:extLst>
              <a:ext uri="{FF2B5EF4-FFF2-40B4-BE49-F238E27FC236}">
                <a16:creationId xmlns:a16="http://schemas.microsoft.com/office/drawing/2014/main" id="{33F5E876-C3DC-7BA5-BB0B-BB27F96EAB3E}"/>
              </a:ext>
            </a:extLst>
          </p:cNvPr>
          <p:cNvSpPr/>
          <p:nvPr/>
        </p:nvSpPr>
        <p:spPr>
          <a:xfrm>
            <a:off x="440325" y="2661393"/>
            <a:ext cx="507017" cy="507017"/>
          </a:xfrm>
          <a:prstGeom prst="ellipse">
            <a:avLst/>
          </a:prstGeom>
          <a:gradFill flip="none" rotWithShape="1">
            <a:gsLst>
              <a:gs pos="0">
                <a:srgbClr val="54B2DB"/>
              </a:gs>
              <a:gs pos="100000">
                <a:srgbClr val="4983D0"/>
              </a:gs>
            </a:gsLst>
            <a:lin ang="2277912" scaled="0"/>
          </a:gradFill>
          <a:ln w="12700" cap="flat">
            <a:noFill/>
            <a:miter lim="400000"/>
          </a:ln>
          <a:effectLst/>
        </p:spPr>
        <p:txBody>
          <a:bodyPr wrap="square" lIns="83767" tIns="0" rIns="83767" bIns="15078" numCol="1" anchor="ctr">
            <a:noAutofit/>
          </a:bodyPr>
          <a:lstStyle/>
          <a:p>
            <a:pPr algn="ctr" defTabSz="1507846"/>
            <a:endParaRPr lang="en-GB" sz="2309" b="1" noProof="0">
              <a:solidFill>
                <a:srgbClr val="FFFFFF"/>
              </a:solidFill>
              <a:latin typeface="Montserrat" panose="00000500000000000000" pitchFamily="2" charset="0"/>
            </a:endParaRPr>
          </a:p>
        </p:txBody>
      </p:sp>
      <p:pic>
        <p:nvPicPr>
          <p:cNvPr id="1041" name="Gráfico 1040" descr="Carro de la compra contorno">
            <a:extLst>
              <a:ext uri="{FF2B5EF4-FFF2-40B4-BE49-F238E27FC236}">
                <a16:creationId xmlns:a16="http://schemas.microsoft.com/office/drawing/2014/main" id="{5A4924C7-B9B1-277D-6295-499EAD71F09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7150" y="2758509"/>
            <a:ext cx="305626" cy="305626"/>
          </a:xfrm>
          <a:prstGeom prst="rect">
            <a:avLst/>
          </a:prstGeom>
        </p:spPr>
      </p:pic>
      <p:sp>
        <p:nvSpPr>
          <p:cNvPr id="1043" name="Circle">
            <a:extLst>
              <a:ext uri="{FF2B5EF4-FFF2-40B4-BE49-F238E27FC236}">
                <a16:creationId xmlns:a16="http://schemas.microsoft.com/office/drawing/2014/main" id="{F45E7556-BAFE-95C4-D87C-41D7C4B5FC02}"/>
              </a:ext>
            </a:extLst>
          </p:cNvPr>
          <p:cNvSpPr/>
          <p:nvPr/>
        </p:nvSpPr>
        <p:spPr>
          <a:xfrm>
            <a:off x="7940073" y="5076752"/>
            <a:ext cx="507017" cy="507017"/>
          </a:xfrm>
          <a:prstGeom prst="ellipse">
            <a:avLst/>
          </a:prstGeom>
          <a:gradFill flip="none" rotWithShape="1">
            <a:gsLst>
              <a:gs pos="0">
                <a:srgbClr val="54B2DB"/>
              </a:gs>
              <a:gs pos="100000">
                <a:srgbClr val="4983D0"/>
              </a:gs>
            </a:gsLst>
            <a:lin ang="2277912" scaled="0"/>
          </a:gradFill>
          <a:ln w="12700" cap="flat">
            <a:noFill/>
            <a:miter lim="400000"/>
          </a:ln>
          <a:effectLst/>
        </p:spPr>
        <p:txBody>
          <a:bodyPr wrap="square" lIns="83767" tIns="0" rIns="83767" bIns="15078" numCol="1" anchor="ctr">
            <a:noAutofit/>
          </a:bodyPr>
          <a:lstStyle/>
          <a:p>
            <a:pPr algn="ctr" defTabSz="1507846"/>
            <a:endParaRPr lang="en-GB" sz="2309" b="1" noProof="0">
              <a:solidFill>
                <a:srgbClr val="FFFFFF"/>
              </a:solidFill>
              <a:latin typeface="Montserrat" panose="00000500000000000000" pitchFamily="2" charset="0"/>
            </a:endParaRPr>
          </a:p>
        </p:txBody>
      </p:sp>
      <p:pic>
        <p:nvPicPr>
          <p:cNvPr id="1044" name="Gráfico 1043" descr="Escena de bosque contorno">
            <a:extLst>
              <a:ext uri="{FF2B5EF4-FFF2-40B4-BE49-F238E27FC236}">
                <a16:creationId xmlns:a16="http://schemas.microsoft.com/office/drawing/2014/main" id="{9736F3FD-B76B-E0BB-FFC6-7BE711CCAB8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020029" y="5150529"/>
            <a:ext cx="327456" cy="327457"/>
          </a:xfrm>
          <a:prstGeom prst="rect">
            <a:avLst/>
          </a:prstGeom>
        </p:spPr>
      </p:pic>
      <p:sp>
        <p:nvSpPr>
          <p:cNvPr id="1046" name="Circle">
            <a:extLst>
              <a:ext uri="{FF2B5EF4-FFF2-40B4-BE49-F238E27FC236}">
                <a16:creationId xmlns:a16="http://schemas.microsoft.com/office/drawing/2014/main" id="{1B39E3C1-9233-9E1A-12BB-AAF33F10636B}"/>
              </a:ext>
            </a:extLst>
          </p:cNvPr>
          <p:cNvSpPr/>
          <p:nvPr/>
        </p:nvSpPr>
        <p:spPr>
          <a:xfrm>
            <a:off x="440325" y="5278839"/>
            <a:ext cx="507017" cy="507017"/>
          </a:xfrm>
          <a:prstGeom prst="ellipse">
            <a:avLst/>
          </a:prstGeom>
          <a:gradFill flip="none" rotWithShape="1">
            <a:gsLst>
              <a:gs pos="0">
                <a:srgbClr val="54B2DB"/>
              </a:gs>
              <a:gs pos="100000">
                <a:srgbClr val="4983D0"/>
              </a:gs>
            </a:gsLst>
            <a:lin ang="2277912" scaled="0"/>
          </a:gradFill>
          <a:ln w="12700" cap="flat">
            <a:noFill/>
            <a:miter lim="400000"/>
          </a:ln>
          <a:effectLst/>
        </p:spPr>
        <p:txBody>
          <a:bodyPr wrap="square" lIns="83767" tIns="0" rIns="83767" bIns="15078" numCol="1" anchor="ctr">
            <a:noAutofit/>
          </a:bodyPr>
          <a:lstStyle/>
          <a:p>
            <a:pPr algn="ctr" defTabSz="1507846"/>
            <a:endParaRPr lang="en-GB" sz="2309" b="1" noProof="0">
              <a:solidFill>
                <a:srgbClr val="FFFFFF"/>
              </a:solidFill>
              <a:latin typeface="Montserrat" panose="00000500000000000000" pitchFamily="2" charset="0"/>
            </a:endParaRPr>
          </a:p>
        </p:txBody>
      </p:sp>
      <p:pic>
        <p:nvPicPr>
          <p:cNvPr id="1047" name="Gráfico 1046" descr="Dinero contorno">
            <a:extLst>
              <a:ext uri="{FF2B5EF4-FFF2-40B4-BE49-F238E27FC236}">
                <a16:creationId xmlns:a16="http://schemas.microsoft.com/office/drawing/2014/main" id="{88148044-CF34-55AF-60E4-2D012CD4ACC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2262" y="5362878"/>
            <a:ext cx="327456" cy="327456"/>
          </a:xfrm>
          <a:prstGeom prst="rect">
            <a:avLst/>
          </a:prstGeom>
        </p:spPr>
      </p:pic>
      <p:sp>
        <p:nvSpPr>
          <p:cNvPr id="1049" name="Circle">
            <a:extLst>
              <a:ext uri="{FF2B5EF4-FFF2-40B4-BE49-F238E27FC236}">
                <a16:creationId xmlns:a16="http://schemas.microsoft.com/office/drawing/2014/main" id="{92F5371D-6226-58ED-97DB-041651E45F3B}"/>
              </a:ext>
            </a:extLst>
          </p:cNvPr>
          <p:cNvSpPr/>
          <p:nvPr/>
        </p:nvSpPr>
        <p:spPr>
          <a:xfrm>
            <a:off x="440325" y="3970116"/>
            <a:ext cx="507017" cy="507017"/>
          </a:xfrm>
          <a:prstGeom prst="ellipse">
            <a:avLst/>
          </a:prstGeom>
          <a:gradFill flip="none" rotWithShape="1">
            <a:gsLst>
              <a:gs pos="0">
                <a:srgbClr val="54B2DB"/>
              </a:gs>
              <a:gs pos="100000">
                <a:srgbClr val="4983D0"/>
              </a:gs>
            </a:gsLst>
            <a:lin ang="2277912" scaled="0"/>
          </a:gradFill>
          <a:ln w="12700" cap="flat">
            <a:noFill/>
            <a:miter lim="400000"/>
          </a:ln>
          <a:effectLst/>
        </p:spPr>
        <p:txBody>
          <a:bodyPr wrap="square" lIns="83767" tIns="0" rIns="83767" bIns="15078" numCol="1" anchor="ctr">
            <a:noAutofit/>
          </a:bodyPr>
          <a:lstStyle/>
          <a:p>
            <a:pPr algn="ctr" defTabSz="1507846"/>
            <a:endParaRPr lang="en-GB" sz="2309" b="1" noProof="0">
              <a:solidFill>
                <a:srgbClr val="FFFFFF"/>
              </a:solidFill>
              <a:latin typeface="Montserrat" panose="00000500000000000000" pitchFamily="2" charset="0"/>
            </a:endParaRPr>
          </a:p>
        </p:txBody>
      </p:sp>
      <p:pic>
        <p:nvPicPr>
          <p:cNvPr id="1050" name="Gráfico 1049" descr="Matraz contorno">
            <a:extLst>
              <a:ext uri="{FF2B5EF4-FFF2-40B4-BE49-F238E27FC236}">
                <a16:creationId xmlns:a16="http://schemas.microsoft.com/office/drawing/2014/main" id="{B832D75A-ED76-4685-2E6B-2CE92DB0140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97894" y="4023884"/>
            <a:ext cx="371117" cy="371117"/>
          </a:xfrm>
          <a:prstGeom prst="rect">
            <a:avLst/>
          </a:prstGeom>
        </p:spPr>
      </p:pic>
      <p:sp>
        <p:nvSpPr>
          <p:cNvPr id="1052" name="Circle">
            <a:extLst>
              <a:ext uri="{FF2B5EF4-FFF2-40B4-BE49-F238E27FC236}">
                <a16:creationId xmlns:a16="http://schemas.microsoft.com/office/drawing/2014/main" id="{A2140C68-5B93-3A48-7400-9C8F8D2A2A8E}"/>
              </a:ext>
            </a:extLst>
          </p:cNvPr>
          <p:cNvSpPr/>
          <p:nvPr/>
        </p:nvSpPr>
        <p:spPr>
          <a:xfrm>
            <a:off x="4209888" y="1244537"/>
            <a:ext cx="507017" cy="507017"/>
          </a:xfrm>
          <a:prstGeom prst="ellipse">
            <a:avLst/>
          </a:prstGeom>
          <a:gradFill flip="none" rotWithShape="1">
            <a:gsLst>
              <a:gs pos="0">
                <a:srgbClr val="54B2DB"/>
              </a:gs>
              <a:gs pos="100000">
                <a:srgbClr val="4983D0"/>
              </a:gs>
            </a:gsLst>
            <a:lin ang="2277912" scaled="0"/>
          </a:gradFill>
          <a:ln w="12700" cap="flat">
            <a:noFill/>
            <a:miter lim="400000"/>
          </a:ln>
          <a:effectLst/>
        </p:spPr>
        <p:txBody>
          <a:bodyPr wrap="square" lIns="83767" tIns="0" rIns="83767" bIns="15078" numCol="1" anchor="ctr">
            <a:noAutofit/>
          </a:bodyPr>
          <a:lstStyle/>
          <a:p>
            <a:pPr algn="ctr" defTabSz="1507846"/>
            <a:endParaRPr lang="en-GB" sz="2309" b="1" noProof="0">
              <a:solidFill>
                <a:srgbClr val="FFFFFF"/>
              </a:solidFill>
              <a:latin typeface="Montserrat" panose="00000500000000000000" pitchFamily="2" charset="0"/>
            </a:endParaRPr>
          </a:p>
        </p:txBody>
      </p:sp>
      <p:pic>
        <p:nvPicPr>
          <p:cNvPr id="1053" name="Imagen 1052" descr="Imagen que contiene lata&#10;&#10;Descripción generada automáticamente">
            <a:extLst>
              <a:ext uri="{FF2B5EF4-FFF2-40B4-BE49-F238E27FC236}">
                <a16:creationId xmlns:a16="http://schemas.microsoft.com/office/drawing/2014/main" id="{66ED7145-CAF4-E138-36E9-5D8595DCC2AE}"/>
              </a:ext>
            </a:extLst>
          </p:cNvPr>
          <p:cNvPicPr>
            <a:picLocks noChangeAspect="1"/>
          </p:cNvPicPr>
          <p:nvPr/>
        </p:nvPicPr>
        <p:blipFill>
          <a:blip r:embed="rId13">
            <a:biLevel thresh="25000"/>
          </a:blip>
          <a:stretch>
            <a:fillRect/>
          </a:stretch>
        </p:blipFill>
        <p:spPr>
          <a:xfrm>
            <a:off x="4320521" y="1362027"/>
            <a:ext cx="268597" cy="268597"/>
          </a:xfrm>
          <a:prstGeom prst="rect">
            <a:avLst/>
          </a:prstGeom>
        </p:spPr>
      </p:pic>
      <p:sp>
        <p:nvSpPr>
          <p:cNvPr id="1055" name="Circle">
            <a:extLst>
              <a:ext uri="{FF2B5EF4-FFF2-40B4-BE49-F238E27FC236}">
                <a16:creationId xmlns:a16="http://schemas.microsoft.com/office/drawing/2014/main" id="{C6E1398D-4916-22AF-6425-7ED883680F92}"/>
              </a:ext>
            </a:extLst>
          </p:cNvPr>
          <p:cNvSpPr/>
          <p:nvPr/>
        </p:nvSpPr>
        <p:spPr>
          <a:xfrm>
            <a:off x="4209888" y="2559542"/>
            <a:ext cx="507017" cy="507017"/>
          </a:xfrm>
          <a:prstGeom prst="ellipse">
            <a:avLst/>
          </a:prstGeom>
          <a:gradFill flip="none" rotWithShape="1">
            <a:gsLst>
              <a:gs pos="0">
                <a:srgbClr val="54B2DB"/>
              </a:gs>
              <a:gs pos="100000">
                <a:srgbClr val="4983D0"/>
              </a:gs>
            </a:gsLst>
            <a:lin ang="2277912" scaled="0"/>
          </a:gradFill>
          <a:ln w="12700" cap="flat">
            <a:noFill/>
            <a:miter lim="400000"/>
          </a:ln>
          <a:effectLst/>
        </p:spPr>
        <p:txBody>
          <a:bodyPr wrap="square" lIns="83767" tIns="0" rIns="83767" bIns="15078" numCol="1" anchor="ctr">
            <a:noAutofit/>
          </a:bodyPr>
          <a:lstStyle/>
          <a:p>
            <a:pPr algn="ctr" defTabSz="1507846"/>
            <a:endParaRPr lang="en-GB" sz="2309" b="1" noProof="0">
              <a:solidFill>
                <a:srgbClr val="FFFFFF"/>
              </a:solidFill>
              <a:latin typeface="Montserrat" panose="00000500000000000000" pitchFamily="2" charset="0"/>
            </a:endParaRPr>
          </a:p>
        </p:txBody>
      </p:sp>
      <p:pic>
        <p:nvPicPr>
          <p:cNvPr id="1056" name="Gráfico 1055" descr="Fábrica contorno">
            <a:extLst>
              <a:ext uri="{FF2B5EF4-FFF2-40B4-BE49-F238E27FC236}">
                <a16:creationId xmlns:a16="http://schemas.microsoft.com/office/drawing/2014/main" id="{E10A82A5-A980-1108-19DD-47CBC1508A0C}"/>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268101" y="2607447"/>
            <a:ext cx="392948" cy="392948"/>
          </a:xfrm>
          <a:prstGeom prst="rect">
            <a:avLst/>
          </a:prstGeom>
        </p:spPr>
      </p:pic>
      <p:sp>
        <p:nvSpPr>
          <p:cNvPr id="1058" name="Circle">
            <a:extLst>
              <a:ext uri="{FF2B5EF4-FFF2-40B4-BE49-F238E27FC236}">
                <a16:creationId xmlns:a16="http://schemas.microsoft.com/office/drawing/2014/main" id="{9A5F1EDB-E56E-D280-6BCB-64419CEFFE6B}"/>
              </a:ext>
            </a:extLst>
          </p:cNvPr>
          <p:cNvSpPr/>
          <p:nvPr/>
        </p:nvSpPr>
        <p:spPr>
          <a:xfrm>
            <a:off x="4209888" y="3970116"/>
            <a:ext cx="507017" cy="507017"/>
          </a:xfrm>
          <a:prstGeom prst="ellipse">
            <a:avLst/>
          </a:prstGeom>
          <a:gradFill flip="none" rotWithShape="1">
            <a:gsLst>
              <a:gs pos="0">
                <a:srgbClr val="54B2DB"/>
              </a:gs>
              <a:gs pos="100000">
                <a:srgbClr val="4983D0"/>
              </a:gs>
            </a:gsLst>
            <a:lin ang="2277912" scaled="0"/>
          </a:gradFill>
          <a:ln w="12700" cap="flat">
            <a:noFill/>
            <a:miter lim="400000"/>
          </a:ln>
          <a:effectLst/>
        </p:spPr>
        <p:txBody>
          <a:bodyPr wrap="square" lIns="83767" tIns="0" rIns="83767" bIns="15078" numCol="1" anchor="ctr">
            <a:noAutofit/>
          </a:bodyPr>
          <a:lstStyle/>
          <a:p>
            <a:pPr algn="ctr" defTabSz="1507846"/>
            <a:endParaRPr lang="en-GB" sz="2309" b="1" noProof="0">
              <a:solidFill>
                <a:srgbClr val="FFFFFF"/>
              </a:solidFill>
              <a:latin typeface="Montserrat" panose="00000500000000000000" pitchFamily="2" charset="0"/>
            </a:endParaRPr>
          </a:p>
        </p:txBody>
      </p:sp>
      <p:pic>
        <p:nvPicPr>
          <p:cNvPr id="1059" name="Gráfico 1058" descr="Tren contorno">
            <a:extLst>
              <a:ext uri="{FF2B5EF4-FFF2-40B4-BE49-F238E27FC236}">
                <a16:creationId xmlns:a16="http://schemas.microsoft.com/office/drawing/2014/main" id="{4CACD086-9F63-F412-EB05-CE76BB5073B0}"/>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282565" y="4041922"/>
            <a:ext cx="349287" cy="349287"/>
          </a:xfrm>
          <a:prstGeom prst="rect">
            <a:avLst/>
          </a:prstGeom>
        </p:spPr>
      </p:pic>
      <p:sp>
        <p:nvSpPr>
          <p:cNvPr id="1061" name="Circle">
            <a:extLst>
              <a:ext uri="{FF2B5EF4-FFF2-40B4-BE49-F238E27FC236}">
                <a16:creationId xmlns:a16="http://schemas.microsoft.com/office/drawing/2014/main" id="{319B170D-7A1E-C20C-A8DE-552BE7CEB5AE}"/>
              </a:ext>
            </a:extLst>
          </p:cNvPr>
          <p:cNvSpPr/>
          <p:nvPr/>
        </p:nvSpPr>
        <p:spPr>
          <a:xfrm>
            <a:off x="4209888" y="5278839"/>
            <a:ext cx="507017" cy="507017"/>
          </a:xfrm>
          <a:prstGeom prst="ellipse">
            <a:avLst/>
          </a:prstGeom>
          <a:gradFill flip="none" rotWithShape="1">
            <a:gsLst>
              <a:gs pos="0">
                <a:srgbClr val="54B2DB"/>
              </a:gs>
              <a:gs pos="100000">
                <a:srgbClr val="4983D0"/>
              </a:gs>
            </a:gsLst>
            <a:lin ang="2277912" scaled="0"/>
          </a:gradFill>
          <a:ln w="12700" cap="flat">
            <a:noFill/>
            <a:miter lim="400000"/>
          </a:ln>
          <a:effectLst/>
        </p:spPr>
        <p:txBody>
          <a:bodyPr wrap="square" lIns="83767" tIns="0" rIns="83767" bIns="15078" numCol="1" anchor="ctr">
            <a:noAutofit/>
          </a:bodyPr>
          <a:lstStyle/>
          <a:p>
            <a:pPr algn="ctr" defTabSz="1507846"/>
            <a:endParaRPr lang="en-GB" sz="2309" b="1" noProof="0">
              <a:solidFill>
                <a:srgbClr val="FFFFFF"/>
              </a:solidFill>
              <a:latin typeface="Montserrat" panose="00000500000000000000" pitchFamily="2" charset="0"/>
            </a:endParaRPr>
          </a:p>
        </p:txBody>
      </p:sp>
      <p:pic>
        <p:nvPicPr>
          <p:cNvPr id="1062" name="Gráfico 1061" descr="Caja registradora contorno">
            <a:extLst>
              <a:ext uri="{FF2B5EF4-FFF2-40B4-BE49-F238E27FC236}">
                <a16:creationId xmlns:a16="http://schemas.microsoft.com/office/drawing/2014/main" id="{E42A307B-8EDC-46D2-B0D1-C1632168FC81}"/>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4278973" y="5328579"/>
            <a:ext cx="371117" cy="371117"/>
          </a:xfrm>
          <a:prstGeom prst="rect">
            <a:avLst/>
          </a:prstGeom>
        </p:spPr>
      </p:pic>
      <p:sp>
        <p:nvSpPr>
          <p:cNvPr id="1064" name="Circle">
            <a:extLst>
              <a:ext uri="{FF2B5EF4-FFF2-40B4-BE49-F238E27FC236}">
                <a16:creationId xmlns:a16="http://schemas.microsoft.com/office/drawing/2014/main" id="{79BE8311-DE58-13E2-EA49-660B5025A48D}"/>
              </a:ext>
            </a:extLst>
          </p:cNvPr>
          <p:cNvSpPr/>
          <p:nvPr/>
        </p:nvSpPr>
        <p:spPr>
          <a:xfrm>
            <a:off x="7940073" y="3436542"/>
            <a:ext cx="507017" cy="507017"/>
          </a:xfrm>
          <a:prstGeom prst="ellipse">
            <a:avLst/>
          </a:prstGeom>
          <a:gradFill flip="none" rotWithShape="1">
            <a:gsLst>
              <a:gs pos="0">
                <a:srgbClr val="54B2DB"/>
              </a:gs>
              <a:gs pos="100000">
                <a:srgbClr val="4983D0"/>
              </a:gs>
            </a:gsLst>
            <a:lin ang="2277912" scaled="0"/>
          </a:gradFill>
          <a:ln w="12700" cap="flat">
            <a:noFill/>
            <a:miter lim="400000"/>
          </a:ln>
          <a:effectLst/>
        </p:spPr>
        <p:txBody>
          <a:bodyPr wrap="square" lIns="83767" tIns="0" rIns="83767" bIns="15078" numCol="1" anchor="ctr">
            <a:noAutofit/>
          </a:bodyPr>
          <a:lstStyle/>
          <a:p>
            <a:pPr algn="ctr" defTabSz="1507846"/>
            <a:endParaRPr lang="en-GB" sz="2309" b="1" noProof="0">
              <a:solidFill>
                <a:srgbClr val="FFFFFF"/>
              </a:solidFill>
              <a:latin typeface="Montserrat" panose="00000500000000000000" pitchFamily="2" charset="0"/>
            </a:endParaRPr>
          </a:p>
        </p:txBody>
      </p:sp>
      <p:pic>
        <p:nvPicPr>
          <p:cNvPr id="1065" name="Gráfico 1064" descr="Avión contorno">
            <a:extLst>
              <a:ext uri="{FF2B5EF4-FFF2-40B4-BE49-F238E27FC236}">
                <a16:creationId xmlns:a16="http://schemas.microsoft.com/office/drawing/2014/main" id="{C3C39673-01A3-02D5-FD04-268DCA4754E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041051" y="3509144"/>
            <a:ext cx="327456" cy="327456"/>
          </a:xfrm>
          <a:prstGeom prst="rect">
            <a:avLst/>
          </a:prstGeom>
        </p:spPr>
      </p:pic>
      <p:pic>
        <p:nvPicPr>
          <p:cNvPr id="1066" name="Imagen 1065" descr="Interfaz de usuario gráfica&#10;&#10;Descripción generada automáticamente">
            <a:extLst>
              <a:ext uri="{FF2B5EF4-FFF2-40B4-BE49-F238E27FC236}">
                <a16:creationId xmlns:a16="http://schemas.microsoft.com/office/drawing/2014/main" id="{AC6CFC77-3016-0128-F80F-D14DA56F2FA7}"/>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204779" y="1373881"/>
            <a:ext cx="2164424" cy="1231287"/>
          </a:xfrm>
          <a:prstGeom prst="rect">
            <a:avLst/>
          </a:prstGeom>
          <a:ln>
            <a:noFill/>
          </a:ln>
          <a:effectLst>
            <a:outerShdw blurRad="190500" algn="tl" rotWithShape="0">
              <a:srgbClr val="000000">
                <a:alpha val="70000"/>
              </a:srgbClr>
            </a:outerShdw>
          </a:effectLst>
        </p:spPr>
      </p:pic>
      <p:pic>
        <p:nvPicPr>
          <p:cNvPr id="1067" name="Imagen 1066" descr="Interfaz de usuario gráfica, Aplicación&#10;&#10;Descripción generada automáticamente">
            <a:extLst>
              <a:ext uri="{FF2B5EF4-FFF2-40B4-BE49-F238E27FC236}">
                <a16:creationId xmlns:a16="http://schemas.microsoft.com/office/drawing/2014/main" id="{C24E9DBD-EF70-F527-215B-053E555B3817}"/>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0075270" y="1847973"/>
            <a:ext cx="1471640" cy="100919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1393732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9942E0-778A-AF4A-E74A-E22D22AC68BD}"/>
            </a:ext>
          </a:extLst>
        </p:cNvPr>
        <p:cNvGrpSpPr/>
        <p:nvPr/>
      </p:nvGrpSpPr>
      <p:grpSpPr>
        <a:xfrm>
          <a:off x="0" y="0"/>
          <a:ext cx="0" cy="0"/>
          <a:chOff x="0" y="0"/>
          <a:chExt cx="0" cy="0"/>
        </a:xfrm>
      </p:grpSpPr>
      <p:pic>
        <p:nvPicPr>
          <p:cNvPr id="4" name="Datasphere Catalog">
            <a:hlinkClick r:id="" action="ppaction://media"/>
            <a:extLst>
              <a:ext uri="{FF2B5EF4-FFF2-40B4-BE49-F238E27FC236}">
                <a16:creationId xmlns:a16="http://schemas.microsoft.com/office/drawing/2014/main" id="{E08164AF-B5AE-EED5-05E9-D967C32D6696}"/>
              </a:ext>
            </a:extLst>
          </p:cNvPr>
          <p:cNvPicPr>
            <a:picLocks noChangeAspect="1"/>
          </p:cNvPicPr>
          <p:nvPr>
            <a:videoFile r:link="rId1"/>
            <p:extLst>
              <p:ext uri="{DAA4B4D4-6D71-4841-9C94-3DE7FCFB9230}">
                <p14:media xmlns:p14="http://schemas.microsoft.com/office/powerpoint/2010/main" r:embed="rId2">
                  <p14:trim st="261925"/>
                </p14:media>
              </p:ext>
            </p:extLst>
          </p:nvPr>
        </p:nvPicPr>
        <p:blipFill>
          <a:blip r:embed="rId4"/>
          <a:stretch>
            <a:fillRect/>
          </a:stretch>
        </p:blipFill>
        <p:spPr>
          <a:xfrm>
            <a:off x="665423" y="1291993"/>
            <a:ext cx="10706202" cy="5300795"/>
          </a:xfrm>
          <a:prstGeom prst="rect">
            <a:avLst/>
          </a:prstGeom>
        </p:spPr>
      </p:pic>
      <p:sp>
        <p:nvSpPr>
          <p:cNvPr id="2" name="Rectangle 57">
            <a:extLst>
              <a:ext uri="{FF2B5EF4-FFF2-40B4-BE49-F238E27FC236}">
                <a16:creationId xmlns:a16="http://schemas.microsoft.com/office/drawing/2014/main" id="{EC6B40A6-4E8A-2938-B1D9-55B2F11501CE}"/>
              </a:ext>
            </a:extLst>
          </p:cNvPr>
          <p:cNvSpPr>
            <a:spLocks noChangeArrowheads="1"/>
          </p:cNvSpPr>
          <p:nvPr/>
        </p:nvSpPr>
        <p:spPr bwMode="gray">
          <a:xfrm>
            <a:off x="226219" y="198916"/>
            <a:ext cx="9409394" cy="830942"/>
          </a:xfrm>
          <a:prstGeom prst="rect">
            <a:avLst/>
          </a:prstGeom>
          <a:noFill/>
          <a:ln w="9525">
            <a:noFill/>
            <a:miter lim="800000"/>
            <a:headEnd/>
            <a:tailEnd/>
          </a:ln>
          <a:effectLst/>
        </p:spPr>
        <p:txBody>
          <a:bodyPr wrap="square" lIns="91386" tIns="45693" rIns="91386" bIns="45693">
            <a:spAutoFit/>
          </a:bodyPr>
          <a:lstStyle/>
          <a:p>
            <a:pPr hangingPunct="1"/>
            <a:r>
              <a:rPr lang="en-GB" sz="3000" noProof="0" dirty="0">
                <a:solidFill>
                  <a:srgbClr val="00456E"/>
                </a:solidFill>
                <a:latin typeface="DM Sans Bold" pitchFamily="2" charset="0"/>
              </a:rPr>
              <a:t>	 </a:t>
            </a:r>
            <a:r>
              <a:rPr lang="en-GB" sz="4800" b="1" noProof="0" dirty="0">
                <a:solidFill>
                  <a:schemeClr val="tx1">
                    <a:lumMod val="95000"/>
                    <a:lumOff val="5000"/>
                  </a:schemeClr>
                </a:solidFill>
                <a:latin typeface="Quattrocento Sans" panose="020B0502050000020003" pitchFamily="34" charset="0"/>
                <a:ea typeface="Lato"/>
                <a:cs typeface="Lato"/>
              </a:rPr>
              <a:t>Datasphere </a:t>
            </a:r>
            <a:r>
              <a:rPr lang="en-GB" sz="4800" b="1" noProof="0" dirty="0" err="1">
                <a:solidFill>
                  <a:schemeClr val="tx1">
                    <a:lumMod val="95000"/>
                    <a:lumOff val="5000"/>
                  </a:schemeClr>
                </a:solidFill>
                <a:latin typeface="Quattrocento Sans" panose="020B0502050000020003" pitchFamily="34" charset="0"/>
                <a:ea typeface="Lato"/>
                <a:cs typeface="Lato"/>
              </a:rPr>
              <a:t>Catalog</a:t>
            </a:r>
            <a:endParaRPr lang="en-GB" sz="4800" b="1" noProof="0" dirty="0">
              <a:solidFill>
                <a:schemeClr val="tx1">
                  <a:lumMod val="95000"/>
                  <a:lumOff val="5000"/>
                </a:schemeClr>
              </a:solidFill>
              <a:latin typeface="Quattrocento Sans" panose="020B0502050000020003" pitchFamily="34" charset="0"/>
              <a:ea typeface="Lato"/>
              <a:cs typeface="Lato"/>
            </a:endParaRPr>
          </a:p>
        </p:txBody>
      </p:sp>
      <p:pic>
        <p:nvPicPr>
          <p:cNvPr id="5" name="Picture 6" descr="SAP Datasphere. Evolución desde SAP BW y SAP BW/4HANA. - ABAST">
            <a:extLst>
              <a:ext uri="{FF2B5EF4-FFF2-40B4-BE49-F238E27FC236}">
                <a16:creationId xmlns:a16="http://schemas.microsoft.com/office/drawing/2014/main" id="{93E17838-6F48-691C-BF69-AFE4561675E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9443" b="18729"/>
          <a:stretch/>
        </p:blipFill>
        <p:spPr bwMode="auto">
          <a:xfrm>
            <a:off x="341700" y="404530"/>
            <a:ext cx="1002325" cy="419713"/>
          </a:xfrm>
          <a:prstGeom prst="rect">
            <a:avLst/>
          </a:prstGeom>
          <a:noFill/>
          <a:extLst>
            <a:ext uri="{909E8E84-426E-40DD-AFC4-6F175D3DCCD1}">
              <a14:hiddenFill xmlns:a14="http://schemas.microsoft.com/office/drawing/2010/main">
                <a:solidFill>
                  <a:srgbClr val="FFFFFF"/>
                </a:solidFill>
              </a14:hiddenFill>
            </a:ext>
          </a:extLst>
        </p:spPr>
      </p:pic>
      <p:pic>
        <p:nvPicPr>
          <p:cNvPr id="6" name="Imagen 5" descr="Logotipo&#10;&#10;Descripción generada automáticamente">
            <a:extLst>
              <a:ext uri="{FF2B5EF4-FFF2-40B4-BE49-F238E27FC236}">
                <a16:creationId xmlns:a16="http://schemas.microsoft.com/office/drawing/2014/main" id="{90B41730-4388-0CB4-44D9-5B9BB9FCCD1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75643" y="422965"/>
            <a:ext cx="1935381" cy="446626"/>
          </a:xfrm>
          <a:prstGeom prst="rect">
            <a:avLst/>
          </a:prstGeom>
        </p:spPr>
      </p:pic>
      <p:pic>
        <p:nvPicPr>
          <p:cNvPr id="8" name="Picture 2" descr="AstraZeneca Logo, symbol, meaning, history, PNG, brand">
            <a:extLst>
              <a:ext uri="{FF2B5EF4-FFF2-40B4-BE49-F238E27FC236}">
                <a16:creationId xmlns:a16="http://schemas.microsoft.com/office/drawing/2014/main" id="{E658865D-086F-63D2-7833-B93A0323DA4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75018" y="213658"/>
            <a:ext cx="1267373" cy="712897"/>
          </a:xfrm>
          <a:prstGeom prst="rect">
            <a:avLst/>
          </a:prstGeom>
          <a:noFill/>
          <a:extLst>
            <a:ext uri="{909E8E84-426E-40DD-AFC4-6F175D3DCCD1}">
              <a14:hiddenFill xmlns:a14="http://schemas.microsoft.com/office/drawing/2010/main">
                <a:solidFill>
                  <a:srgbClr val="FFFFFF"/>
                </a:solidFill>
              </a14:hiddenFill>
            </a:ext>
          </a:extLst>
        </p:spPr>
      </p:pic>
      <p:sp>
        <p:nvSpPr>
          <p:cNvPr id="10" name="CuadroTexto 9">
            <a:extLst>
              <a:ext uri="{FF2B5EF4-FFF2-40B4-BE49-F238E27FC236}">
                <a16:creationId xmlns:a16="http://schemas.microsoft.com/office/drawing/2014/main" id="{6779B0FA-A1B7-BD3C-9443-07CFBC57C32F}"/>
              </a:ext>
            </a:extLst>
          </p:cNvPr>
          <p:cNvSpPr txBox="1"/>
          <p:nvPr/>
        </p:nvSpPr>
        <p:spPr>
          <a:xfrm>
            <a:off x="1242060" y="922661"/>
            <a:ext cx="6096000" cy="369332"/>
          </a:xfrm>
          <a:prstGeom prst="rect">
            <a:avLst/>
          </a:prstGeom>
          <a:noFill/>
        </p:spPr>
        <p:txBody>
          <a:bodyPr wrap="square">
            <a:spAutoFit/>
          </a:bodyPr>
          <a:lstStyle/>
          <a:p>
            <a:r>
              <a:rPr lang="en-GB" kern="0" dirty="0" err="1">
                <a:solidFill>
                  <a:srgbClr val="8A0051"/>
                </a:solidFill>
                <a:latin typeface="Quattrocento Sans"/>
                <a:cs typeface="Calibri"/>
                <a:sym typeface="Calibri"/>
              </a:rPr>
              <a:t>Catalog</a:t>
            </a:r>
            <a:r>
              <a:rPr lang="en-GB" kern="0" dirty="0">
                <a:solidFill>
                  <a:srgbClr val="8A0051"/>
                </a:solidFill>
                <a:latin typeface="Quattrocento Sans"/>
                <a:cs typeface="Calibri"/>
                <a:sym typeface="Calibri"/>
              </a:rPr>
              <a:t> &amp; Lineage </a:t>
            </a:r>
            <a:endParaRPr lang="en-GB" dirty="0"/>
          </a:p>
        </p:txBody>
      </p:sp>
    </p:spTree>
    <p:extLst>
      <p:ext uri="{BB962C8B-B14F-4D97-AF65-F5344CB8AC3E}">
        <p14:creationId xmlns:p14="http://schemas.microsoft.com/office/powerpoint/2010/main" val="5828296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06536"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4"/>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4"/>
                                        </p:tgtEl>
                                      </p:cBhvr>
                                    </p:cmd>
                                  </p:childTnLst>
                                </p:cTn>
                              </p:par>
                            </p:childTnLst>
                          </p:cTn>
                        </p:par>
                      </p:childTnLst>
                    </p:cTn>
                  </p:par>
                </p:childTnLst>
              </p:cTn>
              <p:nextCondLst>
                <p:cond evt="onClick" delay="0">
                  <p:tgtEl>
                    <p:spTgt spid="4"/>
                  </p:tgtEl>
                </p:cond>
              </p:nextCondLst>
            </p:seq>
            <p:video>
              <p:cMediaNode vol="80000">
                <p:cTn id="12" fill="hold" display="0">
                  <p:stCondLst>
                    <p:cond delay="indefinite"/>
                  </p:stCondLst>
                </p:cTn>
                <p:tgtEl>
                  <p:spTgt spid="4"/>
                </p:tgtEl>
              </p:cMediaNode>
            </p:video>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7EB8E89E-E33C-3CF2-1B91-C623425F20AC}"/>
              </a:ext>
            </a:extLst>
          </p:cNvPr>
          <p:cNvSpPr/>
          <p:nvPr/>
        </p:nvSpPr>
        <p:spPr bwMode="auto">
          <a:xfrm>
            <a:off x="0" y="0"/>
            <a:ext cx="9480376" cy="620688"/>
          </a:xfrm>
          <a:prstGeom prst="rect">
            <a:avLst/>
          </a:prstGeom>
          <a:gradFill>
            <a:gsLst>
              <a:gs pos="50000">
                <a:schemeClr val="tx1"/>
              </a:gs>
              <a:gs pos="100000">
                <a:schemeClr val="bg1"/>
              </a:gs>
            </a:gsLst>
            <a:lin ang="0" scaled="1"/>
          </a:gradFill>
          <a:ln w="9525">
            <a:noFill/>
            <a:round/>
            <a:headEnd/>
            <a:tailEnd/>
          </a:ln>
        </p:spPr>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Título 1">
            <a:extLst>
              <a:ext uri="{FF2B5EF4-FFF2-40B4-BE49-F238E27FC236}">
                <a16:creationId xmlns:a16="http://schemas.microsoft.com/office/drawing/2014/main" id="{88334083-2379-A0C7-3D5C-594E9D8AE969}"/>
              </a:ext>
            </a:extLst>
          </p:cNvPr>
          <p:cNvSpPr txBox="1">
            <a:spLocks/>
          </p:cNvSpPr>
          <p:nvPr/>
        </p:nvSpPr>
        <p:spPr>
          <a:xfrm>
            <a:off x="191344" y="116632"/>
            <a:ext cx="10515600" cy="36572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1800" kern="1200">
                <a:solidFill>
                  <a:schemeClr val="tx1">
                    <a:lumMod val="65000"/>
                    <a:lumOff val="35000"/>
                  </a:schemeClr>
                </a:solidFill>
                <a:latin typeface="Arial" panose="020B0604020202020204" pitchFamily="34" charset="0"/>
                <a:ea typeface="+mj-ea"/>
                <a:cs typeface="Arial" panose="020B0604020202020204" pitchFamily="34" charset="0"/>
              </a:defRPr>
            </a:lvl1pPr>
          </a:lstStyle>
          <a:p>
            <a:pPr lvl="0">
              <a:defRPr/>
            </a:pPr>
            <a:r>
              <a:rPr lang="en-GB" sz="2462" noProof="0">
                <a:solidFill>
                  <a:prstClr val="white"/>
                </a:solidFill>
                <a:latin typeface="Calibri" panose="020F0502020204030204" pitchFamily="34" charset="0"/>
                <a:cs typeface="Calibri" panose="020F0502020204030204" pitchFamily="34" charset="0"/>
              </a:rPr>
              <a:t>Migration to SAC Planning – Best Road to Cloud</a:t>
            </a:r>
            <a:endParaRPr kumimoji="0" lang="en-GB" sz="2462" b="0"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43" name="Rectángulo 139">
            <a:extLst>
              <a:ext uri="{FF2B5EF4-FFF2-40B4-BE49-F238E27FC236}">
                <a16:creationId xmlns:a16="http://schemas.microsoft.com/office/drawing/2014/main" id="{B9D1CDC9-E723-C6F0-CD53-DC1EA4A452FC}"/>
              </a:ext>
            </a:extLst>
          </p:cNvPr>
          <p:cNvSpPr/>
          <p:nvPr/>
        </p:nvSpPr>
        <p:spPr bwMode="auto">
          <a:xfrm>
            <a:off x="-22485" y="3024454"/>
            <a:ext cx="12195880" cy="3599740"/>
          </a:xfrm>
          <a:prstGeom prst="rect">
            <a:avLst/>
          </a:prstGeom>
          <a:solidFill>
            <a:schemeClr val="bg1">
              <a:lumMod val="95000"/>
            </a:schemeClr>
          </a:solidFill>
          <a:ln>
            <a:noFill/>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5" name="Redondear rectángulo de esquina del mismo lado 270">
            <a:extLst>
              <a:ext uri="{FF2B5EF4-FFF2-40B4-BE49-F238E27FC236}">
                <a16:creationId xmlns:a16="http://schemas.microsoft.com/office/drawing/2014/main" id="{D8189360-4137-62EB-A6C8-2C19674C9619}"/>
              </a:ext>
            </a:extLst>
          </p:cNvPr>
          <p:cNvSpPr/>
          <p:nvPr/>
        </p:nvSpPr>
        <p:spPr bwMode="auto">
          <a:xfrm rot="5400000">
            <a:off x="365310" y="3666950"/>
            <a:ext cx="524785" cy="1261493"/>
          </a:xfrm>
          <a:prstGeom prst="round2SameRect">
            <a:avLst>
              <a:gd name="adj1" fmla="val 39241"/>
              <a:gd name="adj2" fmla="val 0"/>
            </a:avLst>
          </a:prstGeom>
          <a:solidFill>
            <a:schemeClr val="tx1">
              <a:lumMod val="65000"/>
              <a:lumOff val="35000"/>
            </a:schemeClr>
          </a:solidFill>
          <a:ln>
            <a:noFill/>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normalizeH="0" baseline="0" noProof="0">
              <a:ln>
                <a:noFill/>
              </a:ln>
              <a:solidFill>
                <a:srgbClr val="000000"/>
              </a:solidFill>
              <a:effectLst/>
              <a:uLnTx/>
              <a:uFillTx/>
              <a:latin typeface="Arial"/>
              <a:ea typeface="+mn-ea"/>
              <a:cs typeface="+mn-cs"/>
            </a:endParaRPr>
          </a:p>
        </p:txBody>
      </p:sp>
      <p:sp>
        <p:nvSpPr>
          <p:cNvPr id="64" name="Shape 125">
            <a:extLst>
              <a:ext uri="{FF2B5EF4-FFF2-40B4-BE49-F238E27FC236}">
                <a16:creationId xmlns:a16="http://schemas.microsoft.com/office/drawing/2014/main" id="{6EF4FC44-339A-3861-2B2B-3562542EAF90}"/>
              </a:ext>
            </a:extLst>
          </p:cNvPr>
          <p:cNvSpPr/>
          <p:nvPr/>
        </p:nvSpPr>
        <p:spPr>
          <a:xfrm>
            <a:off x="1417054" y="3156118"/>
            <a:ext cx="3077569" cy="2031838"/>
          </a:xfrm>
          <a:prstGeom prst="rect">
            <a:avLst/>
          </a:prstGeom>
          <a:ln w="12700">
            <a:miter lim="400000"/>
          </a:ln>
          <a:extLst>
            <a:ext uri="{C572A759-6A51-4108-AA02-DFA0A04FC94B}">
              <ma14:wrappingTextBoxFlag xmlns:ma14="http://schemas.microsoft.com/office/mac/drawingml/2011/main" xmlns="" val="1"/>
            </a:ext>
          </a:extLst>
        </p:spPr>
        <p:txBody>
          <a:bodyPr wrap="square" lIns="87780" rIns="87780" numCol="1" anchor="ctr">
            <a:spAutoFit/>
          </a:bodyPr>
          <a:lstStyle/>
          <a:p>
            <a:pPr marL="171450" marR="0" lvl="0" indent="-180000" algn="l" defTabSz="914400" rtl="0" eaLnBrk="1" fontAlgn="auto" latinLnBrk="0" hangingPunct="0">
              <a:lnSpc>
                <a:spcPct val="150000"/>
              </a:lnSpc>
              <a:spcBef>
                <a:spcPts val="0"/>
              </a:spcBef>
              <a:spcAft>
                <a:spcPts val="0"/>
              </a:spcAft>
              <a:buClrTx/>
              <a:buSzTx/>
              <a:buFont typeface="Wingdings" panose="05000000000000000000" pitchFamily="2" charset="2"/>
              <a:buChar char="ü"/>
              <a:tabLst/>
              <a:defRPr/>
            </a:pPr>
            <a:r>
              <a:rPr kumimoji="0" lang="en-GB" sz="850" b="0" i="0" u="none" strike="noStrike" kern="1200" cap="none" spc="0" normalizeH="0" baseline="0" noProof="0" err="1">
                <a:ln>
                  <a:noFill/>
                </a:ln>
                <a:solidFill>
                  <a:srgbClr val="1D1D1B"/>
                </a:solidFill>
                <a:effectLst/>
                <a:uLnTx/>
                <a:uFillTx/>
                <a:latin typeface="Montserrat Medium"/>
                <a:ea typeface="+mn-ea"/>
                <a:cs typeface="+mn-cs"/>
                <a:sym typeface="Helvetica Light"/>
              </a:rPr>
              <a:t>Kickoff</a:t>
            </a:r>
            <a:r>
              <a:rPr kumimoji="0" lang="en-GB" sz="850" b="0" i="0" u="none" strike="noStrike" kern="1200" cap="none" spc="0" normalizeH="0" baseline="0" noProof="0">
                <a:ln>
                  <a:noFill/>
                </a:ln>
                <a:solidFill>
                  <a:srgbClr val="1D1D1B"/>
                </a:solidFill>
                <a:effectLst/>
                <a:uLnTx/>
                <a:uFillTx/>
                <a:latin typeface="Montserrat Medium"/>
                <a:ea typeface="+mn-ea"/>
                <a:cs typeface="+mn-cs"/>
                <a:sym typeface="Helvetica Light"/>
              </a:rPr>
              <a:t>
</a:t>
            </a:r>
            <a:r>
              <a:rPr lang="en-GB" sz="850" noProof="0">
                <a:solidFill>
                  <a:srgbClr val="1D1D1B"/>
                </a:solidFill>
                <a:latin typeface="Montserrat Medium"/>
                <a:sym typeface="Helvetica Light"/>
              </a:rPr>
              <a:t>Housekeeping result
</a:t>
            </a:r>
            <a:r>
              <a:rPr lang="en-GB" sz="850" b="1" noProof="0">
                <a:solidFill>
                  <a:srgbClr val="1D1D1B"/>
                </a:solidFill>
                <a:latin typeface="Montserrat Medium"/>
                <a:sym typeface="Helvetica Light"/>
              </a:rPr>
              <a:t>Readiness check by STR results</a:t>
            </a:r>
          </a:p>
          <a:p>
            <a:pPr marL="171450" lvl="0" indent="-180000" hangingPunct="0">
              <a:lnSpc>
                <a:spcPct val="150000"/>
              </a:lnSpc>
              <a:buFont typeface="Wingdings" panose="05000000000000000000" pitchFamily="2" charset="2"/>
              <a:buChar char="ü"/>
            </a:pPr>
            <a:r>
              <a:rPr lang="en-GB" sz="850" noProof="0">
                <a:solidFill>
                  <a:srgbClr val="1D1D1B"/>
                </a:solidFill>
                <a:latin typeface="Montserrat Medium"/>
                <a:sym typeface="Helvetica Light"/>
              </a:rPr>
              <a:t>Users &amp; sizing calculation (licences)
</a:t>
            </a:r>
            <a:r>
              <a:rPr lang="en-GB" sz="850" noProof="0">
                <a:solidFill>
                  <a:srgbClr val="1D1D1B"/>
                </a:solidFill>
                <a:latin typeface="Montserrat Medium"/>
              </a:rPr>
              <a:t>Analysis of the current system map</a:t>
            </a:r>
          </a:p>
          <a:p>
            <a:pPr marL="171450" lvl="0" indent="-180000" hangingPunct="0">
              <a:lnSpc>
                <a:spcPct val="150000"/>
              </a:lnSpc>
              <a:buFont typeface="Wingdings" panose="05000000000000000000" pitchFamily="2" charset="2"/>
              <a:buChar char="ü"/>
            </a:pPr>
            <a:r>
              <a:rPr lang="en-GB" sz="850" noProof="0">
                <a:solidFill>
                  <a:srgbClr val="1D1D1B"/>
                </a:solidFill>
                <a:latin typeface="Montserrat Medium"/>
                <a:sym typeface="Helvetica Light"/>
              </a:rPr>
              <a:t>New reporting layer blueprint</a:t>
            </a:r>
            <a:r>
              <a:rPr lang="en-GB" sz="850" noProof="0">
                <a:solidFill>
                  <a:srgbClr val="1D1D1B"/>
                </a:solidFill>
                <a:latin typeface="Montserrat Medium"/>
              </a:rPr>
              <a:t>.</a:t>
            </a:r>
          </a:p>
          <a:p>
            <a:pPr marL="171450" lvl="0" indent="-180000" hangingPunct="0">
              <a:lnSpc>
                <a:spcPct val="150000"/>
              </a:lnSpc>
              <a:buFont typeface="Wingdings" panose="05000000000000000000" pitchFamily="2" charset="2"/>
              <a:buChar char="ü"/>
            </a:pPr>
            <a:r>
              <a:rPr lang="en-GB" sz="850" noProof="0">
                <a:solidFill>
                  <a:srgbClr val="1D1D1B"/>
                </a:solidFill>
                <a:latin typeface="Montserrat Medium"/>
              </a:rPr>
              <a:t>Approach to the different migration strategies (new functional redesign vs. technical migration).</a:t>
            </a:r>
          </a:p>
          <a:p>
            <a:pPr marL="171450" lvl="0" indent="-180000" hangingPunct="0">
              <a:lnSpc>
                <a:spcPct val="150000"/>
              </a:lnSpc>
              <a:buFont typeface="Wingdings" panose="05000000000000000000" pitchFamily="2" charset="2"/>
              <a:buChar char="ü"/>
            </a:pPr>
            <a:r>
              <a:rPr lang="en-GB" sz="850" noProof="0">
                <a:solidFill>
                  <a:srgbClr val="1D1D1B"/>
                </a:solidFill>
                <a:latin typeface="Montserrat Medium"/>
              </a:rPr>
              <a:t>Migration strategy decision matrix.​</a:t>
            </a:r>
          </a:p>
          <a:p>
            <a:pPr marL="171450" lvl="0" indent="-180000" hangingPunct="0">
              <a:lnSpc>
                <a:spcPct val="150000"/>
              </a:lnSpc>
              <a:buFont typeface="Wingdings" panose="05000000000000000000" pitchFamily="2" charset="2"/>
              <a:buChar char="ü"/>
            </a:pPr>
            <a:r>
              <a:rPr lang="en-GB" sz="850" noProof="0">
                <a:solidFill>
                  <a:srgbClr val="1D1D1B"/>
                </a:solidFill>
                <a:latin typeface="Montserrat Medium"/>
              </a:rPr>
              <a:t>Plan for coexistence between systems.​</a:t>
            </a:r>
            <a:endParaRPr lang="en-GB" sz="900" b="0" i="0" noProof="0">
              <a:solidFill>
                <a:srgbClr val="494949"/>
              </a:solidFill>
              <a:effectLst/>
              <a:highlight>
                <a:srgbClr val="F5F5F5"/>
              </a:highlight>
              <a:latin typeface="Arial" panose="020B0604020202020204" pitchFamily="34" charset="0"/>
            </a:endParaRPr>
          </a:p>
        </p:txBody>
      </p:sp>
      <p:sp>
        <p:nvSpPr>
          <p:cNvPr id="65" name="Rectángulo 142">
            <a:extLst>
              <a:ext uri="{FF2B5EF4-FFF2-40B4-BE49-F238E27FC236}">
                <a16:creationId xmlns:a16="http://schemas.microsoft.com/office/drawing/2014/main" id="{F695B0BD-58D9-2B1F-C4B8-29B2496DC16D}"/>
              </a:ext>
            </a:extLst>
          </p:cNvPr>
          <p:cNvSpPr/>
          <p:nvPr/>
        </p:nvSpPr>
        <p:spPr>
          <a:xfrm>
            <a:off x="137282" y="4118095"/>
            <a:ext cx="917239"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normalizeH="0" baseline="0" noProof="0">
                <a:ln>
                  <a:noFill/>
                </a:ln>
                <a:solidFill>
                  <a:srgbClr val="FFFFFF"/>
                </a:solidFill>
                <a:effectLst/>
                <a:uLnTx/>
                <a:uFillTx/>
                <a:latin typeface="Montserrat" panose="00000500000000000000" pitchFamily="2" charset="0"/>
                <a:ea typeface="+mn-ea"/>
                <a:cs typeface="+mn-cs"/>
              </a:rPr>
              <a:t>Tools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normalizeH="0" baseline="0" noProof="0">
                <a:ln>
                  <a:noFill/>
                </a:ln>
                <a:solidFill>
                  <a:srgbClr val="FFFFFF"/>
                </a:solidFill>
                <a:effectLst/>
                <a:uLnTx/>
                <a:uFillTx/>
                <a:latin typeface="Montserrat" panose="00000500000000000000" pitchFamily="2" charset="0"/>
                <a:ea typeface="+mn-ea"/>
                <a:cs typeface="+mn-cs"/>
              </a:rPr>
              <a:t>deliverables</a:t>
            </a:r>
            <a:endParaRPr kumimoji="0" lang="en-GB" sz="1100" b="1" i="0" u="none" strike="noStrike" kern="1200" cap="none" normalizeH="0" baseline="0" noProof="0">
              <a:ln>
                <a:noFill/>
              </a:ln>
              <a:solidFill>
                <a:srgbClr val="FFFFFF"/>
              </a:solidFill>
              <a:effectLst/>
              <a:uLnTx/>
              <a:uFillTx/>
              <a:latin typeface="Montserrat" panose="00000500000000000000" pitchFamily="2" charset="0"/>
              <a:ea typeface="+mn-ea"/>
              <a:cs typeface="+mn-cs"/>
            </a:endParaRPr>
          </a:p>
        </p:txBody>
      </p:sp>
      <p:sp>
        <p:nvSpPr>
          <p:cNvPr id="66" name="CuadroTexto 65">
            <a:extLst>
              <a:ext uri="{FF2B5EF4-FFF2-40B4-BE49-F238E27FC236}">
                <a16:creationId xmlns:a16="http://schemas.microsoft.com/office/drawing/2014/main" id="{E18F9F37-4AC1-7C30-1F86-DBF7AF61C224}"/>
              </a:ext>
            </a:extLst>
          </p:cNvPr>
          <p:cNvSpPr txBox="1"/>
          <p:nvPr/>
        </p:nvSpPr>
        <p:spPr>
          <a:xfrm>
            <a:off x="4532590" y="3080029"/>
            <a:ext cx="2441094" cy="1392689"/>
          </a:xfrm>
          <a:prstGeom prst="rect">
            <a:avLst/>
          </a:prstGeom>
          <a:noFill/>
        </p:spPr>
        <p:txBody>
          <a:bodyPr wrap="square">
            <a:spAutoFit/>
          </a:bodyPr>
          <a:lstStyle/>
          <a:p>
            <a:pPr marL="171450" marR="0" lvl="0" indent="-171450" algn="l" defTabSz="914400" rtl="0" eaLnBrk="1" fontAlgn="auto" latinLnBrk="0" hangingPunct="0">
              <a:lnSpc>
                <a:spcPct val="100000"/>
              </a:lnSpc>
              <a:spcBef>
                <a:spcPts val="0"/>
              </a:spcBef>
              <a:spcAft>
                <a:spcPts val="600"/>
              </a:spcAft>
              <a:buClrTx/>
              <a:buSzTx/>
              <a:buFont typeface="Wingdings" panose="05000000000000000000" pitchFamily="2" charset="2"/>
              <a:buChar char="ü"/>
              <a:tabLst/>
              <a:defRPr/>
            </a:pPr>
            <a:r>
              <a:rPr kumimoji="0" lang="en-GB" sz="850" b="0" i="0" u="none" strike="noStrike" kern="1200" cap="none" spc="0" normalizeH="0" baseline="0" noProof="0">
                <a:ln>
                  <a:noFill/>
                </a:ln>
                <a:solidFill>
                  <a:srgbClr val="1D1D1B"/>
                </a:solidFill>
                <a:effectLst/>
                <a:uLnTx/>
                <a:uFillTx/>
                <a:latin typeface="Montserrat Medium"/>
                <a:ea typeface="+mn-ea"/>
                <a:cs typeface="+mn-cs"/>
                <a:sym typeface="Helvetica Light"/>
              </a:rPr>
              <a:t>Data transfer strategy
Detailed project plan
Phases, cutover plan and models coexistence
Detailed Test Plan</a:t>
            </a:r>
          </a:p>
          <a:p>
            <a:pPr marL="171450" lvl="0" indent="-171450" hangingPunct="0">
              <a:spcAft>
                <a:spcPts val="600"/>
              </a:spcAft>
              <a:buFont typeface="Wingdings" panose="05000000000000000000" pitchFamily="2" charset="2"/>
              <a:buChar char="ü"/>
            </a:pPr>
            <a:r>
              <a:rPr lang="en-GB" sz="850" noProof="0">
                <a:solidFill>
                  <a:srgbClr val="1D1D1B"/>
                </a:solidFill>
                <a:latin typeface="Montserrat Medium"/>
                <a:sym typeface="Helvetica Light"/>
              </a:rPr>
              <a:t>SAC Data Governance Model</a:t>
            </a:r>
            <a:endParaRPr kumimoji="0" lang="en-GB" sz="850" b="0" i="0" u="none" strike="noStrike" kern="1200" cap="none" spc="0" normalizeH="0" baseline="0" noProof="0">
              <a:ln>
                <a:noFill/>
              </a:ln>
              <a:solidFill>
                <a:srgbClr val="1D1D1B"/>
              </a:solidFill>
              <a:effectLst/>
              <a:uLnTx/>
              <a:uFillTx/>
              <a:latin typeface="Montserrat Medium"/>
              <a:ea typeface="+mn-ea"/>
              <a:cs typeface="+mn-cs"/>
              <a:sym typeface="Helvetica Light"/>
            </a:endParaRPr>
          </a:p>
          <a:p>
            <a:pPr marL="171450" marR="0" lvl="0" indent="-171450" algn="l" defTabSz="914400" rtl="0" eaLnBrk="1" fontAlgn="auto" latinLnBrk="0" hangingPunct="0">
              <a:lnSpc>
                <a:spcPct val="100000"/>
              </a:lnSpc>
              <a:spcBef>
                <a:spcPts val="0"/>
              </a:spcBef>
              <a:spcAft>
                <a:spcPts val="600"/>
              </a:spcAft>
              <a:buClrTx/>
              <a:buSzTx/>
              <a:buFont typeface="Wingdings" panose="05000000000000000000" pitchFamily="2" charset="2"/>
              <a:buChar char="ü"/>
              <a:tabLst/>
              <a:defRPr/>
            </a:pPr>
            <a:r>
              <a:rPr kumimoji="0" lang="en-GB" sz="850" b="1" i="0" u="none" strike="noStrike" kern="1200" cap="none" spc="0" normalizeH="0" baseline="0" noProof="0">
                <a:ln>
                  <a:noFill/>
                </a:ln>
                <a:solidFill>
                  <a:srgbClr val="1D1D1B"/>
                </a:solidFill>
                <a:effectLst/>
                <a:uLnTx/>
                <a:uFillTx/>
                <a:latin typeface="Montserrat Medium"/>
                <a:ea typeface="+mn-ea"/>
                <a:cs typeface="+mn-cs"/>
                <a:sym typeface="Helvetica Light"/>
              </a:rPr>
              <a:t>Chatbot SAC expert (ChatGPT</a:t>
            </a:r>
            <a:r>
              <a:rPr kumimoji="0" lang="en-GB" sz="850" b="0" i="0" u="none" strike="noStrike" kern="1200" cap="none" spc="0" normalizeH="0" baseline="0" noProof="0">
                <a:ln>
                  <a:noFill/>
                </a:ln>
                <a:solidFill>
                  <a:srgbClr val="1D1D1B"/>
                </a:solidFill>
                <a:effectLst/>
                <a:uLnTx/>
                <a:uFillTx/>
                <a:latin typeface="Montserrat Medium"/>
                <a:ea typeface="+mn-ea"/>
                <a:cs typeface="+mn-cs"/>
                <a:sym typeface="Helvetica Light"/>
              </a:rPr>
              <a:t>)</a:t>
            </a:r>
          </a:p>
        </p:txBody>
      </p:sp>
      <p:sp>
        <p:nvSpPr>
          <p:cNvPr id="67" name="Shape 125">
            <a:extLst>
              <a:ext uri="{FF2B5EF4-FFF2-40B4-BE49-F238E27FC236}">
                <a16:creationId xmlns:a16="http://schemas.microsoft.com/office/drawing/2014/main" id="{BA55DF4D-A6AD-EE1A-A115-5B526D039A08}"/>
              </a:ext>
            </a:extLst>
          </p:cNvPr>
          <p:cNvSpPr/>
          <p:nvPr/>
        </p:nvSpPr>
        <p:spPr>
          <a:xfrm>
            <a:off x="9831983" y="3077273"/>
            <a:ext cx="2165749" cy="971590"/>
          </a:xfrm>
          <a:prstGeom prst="rect">
            <a:avLst/>
          </a:prstGeom>
          <a:ln w="12700">
            <a:miter lim="400000"/>
          </a:ln>
          <a:extLst>
            <a:ext uri="{C572A759-6A51-4108-AA02-DFA0A04FC94B}">
              <ma14:wrappingTextBoxFlag xmlns:ma14="http://schemas.microsoft.com/office/mac/drawingml/2011/main" xmlns="" val="1"/>
            </a:ext>
          </a:extLst>
        </p:spPr>
        <p:txBody>
          <a:bodyPr wrap="square" lIns="87780" rIns="87780" numCol="1">
            <a:noAutofit/>
          </a:bodyPr>
          <a:lstStyle/>
          <a:p>
            <a:pPr marL="171450" marR="0" lvl="0" indent="-171450" algn="l" defTabSz="914400" rtl="0" eaLnBrk="1" fontAlgn="auto" latinLnBrk="0" hangingPunct="0">
              <a:lnSpc>
                <a:spcPct val="100000"/>
              </a:lnSpc>
              <a:spcBef>
                <a:spcPts val="0"/>
              </a:spcBef>
              <a:spcAft>
                <a:spcPts val="600"/>
              </a:spcAft>
              <a:buClrTx/>
              <a:buSzTx/>
              <a:buFont typeface="Wingdings" panose="05000000000000000000" pitchFamily="2" charset="2"/>
              <a:buChar char="ü"/>
              <a:tabLst/>
              <a:defRPr/>
            </a:pPr>
            <a:r>
              <a:rPr kumimoji="0" lang="en-GB" sz="850" b="0" i="0" u="none" strike="noStrike" kern="1200" cap="none" spc="0" normalizeH="0" baseline="0" noProof="0">
                <a:ln>
                  <a:noFill/>
                </a:ln>
                <a:solidFill>
                  <a:srgbClr val="1D1D1B"/>
                </a:solidFill>
                <a:effectLst/>
                <a:uLnTx/>
                <a:uFillTx/>
                <a:latin typeface="Montserrat Medium"/>
                <a:ea typeface="+mn-ea"/>
                <a:cs typeface="+mn-cs"/>
                <a:sym typeface="Helvetica Light"/>
              </a:rPr>
              <a:t>Cutover </a:t>
            </a:r>
          </a:p>
          <a:p>
            <a:pPr marL="171450" marR="0" lvl="0" indent="-171450" algn="l" defTabSz="914400" rtl="0" eaLnBrk="1" fontAlgn="auto" latinLnBrk="0" hangingPunct="0">
              <a:lnSpc>
                <a:spcPct val="100000"/>
              </a:lnSpc>
              <a:spcBef>
                <a:spcPts val="0"/>
              </a:spcBef>
              <a:spcAft>
                <a:spcPts val="600"/>
              </a:spcAft>
              <a:buClrTx/>
              <a:buSzTx/>
              <a:buFont typeface="Wingdings" panose="05000000000000000000" pitchFamily="2" charset="2"/>
              <a:buChar char="ü"/>
              <a:tabLst/>
              <a:defRPr/>
            </a:pPr>
            <a:r>
              <a:rPr kumimoji="0" lang="en-GB" sz="850" b="0" i="0" u="none" strike="noStrike" kern="1200" cap="none" spc="0" normalizeH="0" baseline="0" noProof="0">
                <a:ln>
                  <a:noFill/>
                </a:ln>
                <a:solidFill>
                  <a:srgbClr val="1D1D1B"/>
                </a:solidFill>
                <a:effectLst/>
                <a:uLnTx/>
                <a:uFillTx/>
                <a:latin typeface="Montserrat Medium"/>
                <a:ea typeface="+mn-ea"/>
                <a:cs typeface="+mn-cs"/>
                <a:sym typeface="Helvetica Light"/>
              </a:rPr>
              <a:t>Model coexistence planning
</a:t>
            </a:r>
            <a:r>
              <a:rPr kumimoji="0" lang="en-GB" sz="850" b="1" i="0" u="none" strike="noStrike" kern="1200" cap="none" spc="0" normalizeH="0" baseline="0" noProof="0">
                <a:ln>
                  <a:noFill/>
                </a:ln>
                <a:solidFill>
                  <a:srgbClr val="1D1D1B"/>
                </a:solidFill>
                <a:effectLst/>
                <a:uLnTx/>
                <a:uFillTx/>
                <a:latin typeface="Montserrat Medium"/>
                <a:ea typeface="+mn-ea"/>
                <a:cs typeface="+mn-cs"/>
                <a:sym typeface="Helvetica Light"/>
              </a:rPr>
              <a:t>Technical and functional documentation</a:t>
            </a:r>
            <a:r>
              <a:rPr kumimoji="0" lang="en-GB" sz="850" b="0" i="0" u="none" strike="noStrike" kern="1200" cap="none" spc="0" normalizeH="0" baseline="0" noProof="0">
                <a:ln>
                  <a:noFill/>
                </a:ln>
                <a:solidFill>
                  <a:srgbClr val="1D1D1B"/>
                </a:solidFill>
                <a:effectLst/>
                <a:uLnTx/>
                <a:uFillTx/>
                <a:latin typeface="Montserrat Medium"/>
                <a:ea typeface="+mn-ea"/>
                <a:cs typeface="+mn-cs"/>
                <a:sym typeface="Helvetica Light"/>
              </a:rPr>
              <a:t>
List of incidents and improvements in support</a:t>
            </a:r>
          </a:p>
          <a:p>
            <a:pPr marL="171450" marR="0" lvl="0" indent="-171450" algn="l" defTabSz="914400" rtl="0" eaLnBrk="1" fontAlgn="auto" latinLnBrk="0" hangingPunct="0">
              <a:lnSpc>
                <a:spcPct val="100000"/>
              </a:lnSpc>
              <a:spcBef>
                <a:spcPts val="0"/>
              </a:spcBef>
              <a:spcAft>
                <a:spcPts val="600"/>
              </a:spcAft>
              <a:buClrTx/>
              <a:buSzTx/>
              <a:buFont typeface="Wingdings" panose="05000000000000000000" pitchFamily="2" charset="2"/>
              <a:buChar char="ü"/>
              <a:tabLst/>
              <a:defRPr/>
            </a:pPr>
            <a:r>
              <a:rPr kumimoji="0" lang="en-GB" sz="850" b="1" i="0" u="none" strike="noStrike" kern="1200" cap="none" spc="0" normalizeH="0" baseline="0" noProof="0">
                <a:ln>
                  <a:noFill/>
                </a:ln>
                <a:solidFill>
                  <a:srgbClr val="1D1D1B"/>
                </a:solidFill>
                <a:effectLst/>
                <a:uLnTx/>
                <a:uFillTx/>
                <a:latin typeface="Montserrat Medium"/>
                <a:ea typeface="+mn-ea"/>
                <a:cs typeface="+mn-cs"/>
                <a:sym typeface="Helvetica Light"/>
              </a:rPr>
              <a:t>KT documentation</a:t>
            </a:r>
            <a:r>
              <a:rPr kumimoji="0" lang="en-GB" sz="850" b="0" i="0" u="none" strike="noStrike" kern="1200" cap="none" spc="0" normalizeH="0" baseline="0" noProof="0">
                <a:ln>
                  <a:noFill/>
                </a:ln>
                <a:solidFill>
                  <a:srgbClr val="1D1D1B"/>
                </a:solidFill>
                <a:effectLst/>
                <a:uLnTx/>
                <a:uFillTx/>
                <a:latin typeface="Montserrat Medium"/>
                <a:ea typeface="+mn-ea"/>
                <a:cs typeface="+mn-cs"/>
                <a:sym typeface="Helvetica Light"/>
              </a:rPr>
              <a:t>
Project Closure Document</a:t>
            </a:r>
          </a:p>
          <a:p>
            <a:pPr marL="171450" marR="0" lvl="0" indent="-171450" algn="l" defTabSz="914400" rtl="0" eaLnBrk="1" fontAlgn="auto" latinLnBrk="0" hangingPunct="0">
              <a:lnSpc>
                <a:spcPct val="100000"/>
              </a:lnSpc>
              <a:spcBef>
                <a:spcPts val="0"/>
              </a:spcBef>
              <a:spcAft>
                <a:spcPts val="600"/>
              </a:spcAft>
              <a:buClrTx/>
              <a:buSzTx/>
              <a:buFont typeface="Wingdings" panose="05000000000000000000" pitchFamily="2" charset="2"/>
              <a:buChar char="ü"/>
              <a:tabLst/>
              <a:defRPr/>
            </a:pPr>
            <a:endParaRPr kumimoji="0" lang="en-GB" sz="1000" b="1" i="0" u="none" strike="noStrike" kern="0" cap="none" spc="0" normalizeH="0" baseline="0" noProof="0">
              <a:ln>
                <a:noFill/>
              </a:ln>
              <a:solidFill>
                <a:srgbClr val="000000"/>
              </a:solidFill>
              <a:effectLst/>
              <a:uLnTx/>
              <a:uFillTx/>
              <a:latin typeface="Arial"/>
              <a:ea typeface="Roboto" charset="0"/>
              <a:cs typeface="Roboto" charset="0"/>
              <a:sym typeface="Helvetica Light"/>
            </a:endParaRPr>
          </a:p>
        </p:txBody>
      </p:sp>
      <p:cxnSp>
        <p:nvCxnSpPr>
          <p:cNvPr id="68" name="Conector recto 67">
            <a:extLst>
              <a:ext uri="{FF2B5EF4-FFF2-40B4-BE49-F238E27FC236}">
                <a16:creationId xmlns:a16="http://schemas.microsoft.com/office/drawing/2014/main" id="{1F805669-A522-1EC3-BDAB-834A07F9030D}"/>
              </a:ext>
            </a:extLst>
          </p:cNvPr>
          <p:cNvCxnSpPr/>
          <p:nvPr/>
        </p:nvCxnSpPr>
        <p:spPr>
          <a:xfrm>
            <a:off x="-3880" y="5407824"/>
            <a:ext cx="12192000" cy="0"/>
          </a:xfrm>
          <a:prstGeom prst="line">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9" name="Shape 125">
            <a:extLst>
              <a:ext uri="{FF2B5EF4-FFF2-40B4-BE49-F238E27FC236}">
                <a16:creationId xmlns:a16="http://schemas.microsoft.com/office/drawing/2014/main" id="{EFBA3911-C81A-8350-3FF0-E34681088A1C}"/>
              </a:ext>
            </a:extLst>
          </p:cNvPr>
          <p:cNvSpPr/>
          <p:nvPr/>
        </p:nvSpPr>
        <p:spPr>
          <a:xfrm>
            <a:off x="5449144" y="5804406"/>
            <a:ext cx="3077569" cy="658385"/>
          </a:xfrm>
          <a:prstGeom prst="rect">
            <a:avLst/>
          </a:prstGeom>
          <a:ln w="12700">
            <a:miter lim="400000"/>
          </a:ln>
          <a:extLst>
            <a:ext uri="{C572A759-6A51-4108-AA02-DFA0A04FC94B}">
              <ma14:wrappingTextBoxFlag xmlns:ma14="http://schemas.microsoft.com/office/mac/drawingml/2011/main" xmlns="" val="1"/>
            </a:ext>
          </a:extLst>
        </p:spPr>
        <p:txBody>
          <a:bodyPr wrap="square" lIns="87780" rIns="87780" numCol="1" anchor="ctr">
            <a:spAutoFit/>
          </a:bodyPr>
          <a:lstStyle/>
          <a:p>
            <a:pPr marL="171450" marR="0" lvl="0" indent="-180000" algn="l" defTabSz="914400" rtl="0" eaLnBrk="1" fontAlgn="auto" latinLnBrk="0" hangingPunct="0">
              <a:lnSpc>
                <a:spcPct val="150000"/>
              </a:lnSpc>
              <a:spcBef>
                <a:spcPts val="0"/>
              </a:spcBef>
              <a:spcAft>
                <a:spcPts val="0"/>
              </a:spcAft>
              <a:buClrTx/>
              <a:buSzTx/>
              <a:buFont typeface="Wingdings" panose="05000000000000000000" pitchFamily="2" charset="2"/>
              <a:buChar char="ü"/>
              <a:tabLst/>
              <a:defRPr/>
            </a:pPr>
            <a:r>
              <a:rPr kumimoji="0" lang="en-GB" sz="850" b="0" i="0" u="none" strike="noStrike" kern="1200" cap="none" spc="0" normalizeH="0" baseline="0" noProof="0">
                <a:ln>
                  <a:noFill/>
                </a:ln>
                <a:solidFill>
                  <a:srgbClr val="1D1D1B"/>
                </a:solidFill>
                <a:effectLst/>
                <a:uLnTx/>
                <a:uFillTx/>
                <a:latin typeface="Montserrat Medium"/>
                <a:ea typeface="+mn-ea"/>
                <a:cs typeface="+mn-cs"/>
                <a:sym typeface="Helvetica Light"/>
              </a:rPr>
              <a:t>Minutes-of-Meeting
Steering committee document</a:t>
            </a:r>
          </a:p>
          <a:p>
            <a:pPr marL="171450" marR="0" lvl="0" indent="-180000" algn="l" defTabSz="914400" rtl="0" eaLnBrk="1" fontAlgn="auto" latinLnBrk="0" hangingPunct="0">
              <a:lnSpc>
                <a:spcPct val="150000"/>
              </a:lnSpc>
              <a:spcBef>
                <a:spcPts val="0"/>
              </a:spcBef>
              <a:spcAft>
                <a:spcPts val="0"/>
              </a:spcAft>
              <a:buClrTx/>
              <a:buSzTx/>
              <a:buFont typeface="Wingdings" panose="05000000000000000000" pitchFamily="2" charset="2"/>
              <a:buChar char="ü"/>
              <a:tabLst/>
              <a:defRPr/>
            </a:pPr>
            <a:r>
              <a:rPr kumimoji="0" lang="en-GB" sz="850" b="0" i="0" u="none" strike="noStrike" kern="1200" cap="none" spc="0" normalizeH="0" baseline="0" noProof="0">
                <a:ln>
                  <a:noFill/>
                </a:ln>
                <a:solidFill>
                  <a:srgbClr val="1D1D1B"/>
                </a:solidFill>
                <a:effectLst/>
                <a:uLnTx/>
                <a:uFillTx/>
                <a:latin typeface="Montserrat Medium"/>
                <a:ea typeface="+mn-ea"/>
                <a:cs typeface="+mn-cs"/>
                <a:sym typeface="Helvetica Light"/>
              </a:rPr>
              <a:t>Monitoring committee document</a:t>
            </a:r>
            <a:endParaRPr kumimoji="0" lang="en-GB" sz="900" b="0" i="0" u="none" strike="noStrike" kern="0" cap="none" spc="0" normalizeH="0" baseline="0" noProof="0">
              <a:ln>
                <a:noFill/>
              </a:ln>
              <a:solidFill>
                <a:srgbClr val="000000"/>
              </a:solidFill>
              <a:effectLst/>
              <a:uLnTx/>
              <a:uFillTx/>
              <a:latin typeface="Arial" panose="020B0604020202020204" pitchFamily="34" charset="0"/>
              <a:ea typeface="Roboto" charset="0"/>
              <a:cs typeface="Arial" panose="020B0604020202020204" pitchFamily="34" charset="0"/>
              <a:sym typeface="Helvetica Light"/>
            </a:endParaRPr>
          </a:p>
        </p:txBody>
      </p:sp>
      <p:sp>
        <p:nvSpPr>
          <p:cNvPr id="70" name="Redondear rectángulo de esquina del mismo lado 270">
            <a:extLst>
              <a:ext uri="{FF2B5EF4-FFF2-40B4-BE49-F238E27FC236}">
                <a16:creationId xmlns:a16="http://schemas.microsoft.com/office/drawing/2014/main" id="{5610DCFF-6323-F207-735E-816FA473C5FA}"/>
              </a:ext>
            </a:extLst>
          </p:cNvPr>
          <p:cNvSpPr/>
          <p:nvPr/>
        </p:nvSpPr>
        <p:spPr bwMode="auto">
          <a:xfrm rot="5400000">
            <a:off x="424380" y="5586289"/>
            <a:ext cx="399924" cy="1288996"/>
          </a:xfrm>
          <a:prstGeom prst="round2SameRect">
            <a:avLst>
              <a:gd name="adj1" fmla="val 39241"/>
              <a:gd name="adj2" fmla="val 0"/>
            </a:avLst>
          </a:prstGeom>
          <a:solidFill>
            <a:schemeClr val="tx1">
              <a:lumMod val="65000"/>
              <a:lumOff val="35000"/>
            </a:schemeClr>
          </a:solidFill>
          <a:ln>
            <a:noFill/>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normalizeH="0" baseline="0" noProof="0">
              <a:ln>
                <a:noFill/>
              </a:ln>
              <a:solidFill>
                <a:srgbClr val="000000"/>
              </a:solidFill>
              <a:effectLst/>
              <a:uLnTx/>
              <a:uFillTx/>
              <a:latin typeface="Arial"/>
              <a:ea typeface="+mn-ea"/>
              <a:cs typeface="+mn-cs"/>
            </a:endParaRPr>
          </a:p>
        </p:txBody>
      </p:sp>
      <p:sp>
        <p:nvSpPr>
          <p:cNvPr id="71" name="Rectángulo 142">
            <a:extLst>
              <a:ext uri="{FF2B5EF4-FFF2-40B4-BE49-F238E27FC236}">
                <a16:creationId xmlns:a16="http://schemas.microsoft.com/office/drawing/2014/main" id="{A50649B2-A40F-8BB2-064B-9280B435E519}"/>
              </a:ext>
            </a:extLst>
          </p:cNvPr>
          <p:cNvSpPr/>
          <p:nvPr/>
        </p:nvSpPr>
        <p:spPr>
          <a:xfrm>
            <a:off x="-3880" y="6136401"/>
            <a:ext cx="1229824"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normalizeH="0" baseline="0" noProof="0">
                <a:ln>
                  <a:noFill/>
                </a:ln>
                <a:solidFill>
                  <a:srgbClr val="FFFFFF"/>
                </a:solidFill>
                <a:effectLst/>
                <a:uLnTx/>
                <a:uFillTx/>
                <a:latin typeface="Montserrat" panose="00000500000000000000" pitchFamily="2" charset="0"/>
                <a:ea typeface="+mn-ea"/>
                <a:cs typeface="+mn-cs"/>
              </a:rPr>
              <a:t>Cross (all phases)</a:t>
            </a:r>
          </a:p>
        </p:txBody>
      </p:sp>
      <p:sp>
        <p:nvSpPr>
          <p:cNvPr id="76" name="Flecha: cheurón 75">
            <a:extLst>
              <a:ext uri="{FF2B5EF4-FFF2-40B4-BE49-F238E27FC236}">
                <a16:creationId xmlns:a16="http://schemas.microsoft.com/office/drawing/2014/main" id="{FA2A5CB8-AC69-BE07-0E93-AF6C4A0DC6C8}"/>
              </a:ext>
            </a:extLst>
          </p:cNvPr>
          <p:cNvSpPr/>
          <p:nvPr/>
        </p:nvSpPr>
        <p:spPr bwMode="auto">
          <a:xfrm>
            <a:off x="595902" y="940382"/>
            <a:ext cx="5694640" cy="432000"/>
          </a:xfrm>
          <a:prstGeom prst="chevron">
            <a:avLst/>
          </a:prstGeom>
          <a:solidFill>
            <a:schemeClr val="bg1">
              <a:lumMod val="75000"/>
            </a:schemeClr>
          </a:solidFill>
          <a:ln>
            <a:noFill/>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494949"/>
                </a:solidFill>
                <a:effectLst/>
                <a:uLnTx/>
                <a:uFillTx/>
                <a:latin typeface="Montserrat" panose="00000500000000000000" pitchFamily="2" charset="0"/>
              </a:rPr>
              <a:t>Prepare</a:t>
            </a:r>
          </a:p>
        </p:txBody>
      </p:sp>
      <p:sp>
        <p:nvSpPr>
          <p:cNvPr id="77" name="Flecha: cheurón 76">
            <a:extLst>
              <a:ext uri="{FF2B5EF4-FFF2-40B4-BE49-F238E27FC236}">
                <a16:creationId xmlns:a16="http://schemas.microsoft.com/office/drawing/2014/main" id="{8A55B09C-AA3C-C44C-6263-38ABAA3316C7}"/>
              </a:ext>
            </a:extLst>
          </p:cNvPr>
          <p:cNvSpPr/>
          <p:nvPr/>
        </p:nvSpPr>
        <p:spPr bwMode="auto">
          <a:xfrm>
            <a:off x="6116096" y="939559"/>
            <a:ext cx="5695200" cy="432000"/>
          </a:xfrm>
          <a:prstGeom prst="chevron">
            <a:avLst/>
          </a:prstGeom>
          <a:solidFill>
            <a:schemeClr val="bg1">
              <a:lumMod val="75000"/>
            </a:schemeClr>
          </a:solidFill>
          <a:ln>
            <a:noFill/>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494949"/>
                </a:solidFill>
                <a:effectLst/>
                <a:uLnTx/>
                <a:uFillTx/>
                <a:latin typeface="Montserrat" panose="00000500000000000000" pitchFamily="2" charset="0"/>
              </a:rPr>
              <a:t>Execute</a:t>
            </a:r>
          </a:p>
        </p:txBody>
      </p:sp>
      <p:sp>
        <p:nvSpPr>
          <p:cNvPr id="78" name="Flecha: cheurón 77">
            <a:extLst>
              <a:ext uri="{FF2B5EF4-FFF2-40B4-BE49-F238E27FC236}">
                <a16:creationId xmlns:a16="http://schemas.microsoft.com/office/drawing/2014/main" id="{5456139B-30B8-3344-E6FC-691874BE1A62}"/>
              </a:ext>
            </a:extLst>
          </p:cNvPr>
          <p:cNvSpPr/>
          <p:nvPr/>
        </p:nvSpPr>
        <p:spPr bwMode="auto">
          <a:xfrm>
            <a:off x="595902" y="1465967"/>
            <a:ext cx="3307369" cy="360000"/>
          </a:xfrm>
          <a:prstGeom prst="chevron">
            <a:avLst/>
          </a:prstGeom>
          <a:solidFill>
            <a:srgbClr val="0575E6"/>
          </a:solidFill>
          <a:ln>
            <a:solidFill>
              <a:srgbClr val="B4C7E7"/>
            </a:solidFill>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noProof="0">
                <a:solidFill>
                  <a:schemeClr val="bg1"/>
                </a:solidFill>
                <a:latin typeface="Montserrat" panose="00000500000000000000" pitchFamily="2" charset="0"/>
              </a:rPr>
              <a:t>Discovery</a:t>
            </a:r>
            <a:endParaRPr kumimoji="0" lang="en-GB" sz="1200" b="1" i="0" u="none" strike="noStrike" kern="1200" cap="none" spc="0" normalizeH="0" baseline="0" noProof="0">
              <a:ln>
                <a:noFill/>
              </a:ln>
              <a:solidFill>
                <a:schemeClr val="bg1"/>
              </a:solidFill>
              <a:effectLst/>
              <a:uLnTx/>
              <a:uFillTx/>
              <a:latin typeface="Montserrat" panose="00000500000000000000" pitchFamily="2" charset="0"/>
            </a:endParaRPr>
          </a:p>
        </p:txBody>
      </p:sp>
      <p:sp>
        <p:nvSpPr>
          <p:cNvPr id="79" name="Flecha: cheurón 78">
            <a:extLst>
              <a:ext uri="{FF2B5EF4-FFF2-40B4-BE49-F238E27FC236}">
                <a16:creationId xmlns:a16="http://schemas.microsoft.com/office/drawing/2014/main" id="{4FF80410-7238-0905-5E4C-AC45295DD60B}"/>
              </a:ext>
            </a:extLst>
          </p:cNvPr>
          <p:cNvSpPr/>
          <p:nvPr/>
        </p:nvSpPr>
        <p:spPr bwMode="auto">
          <a:xfrm>
            <a:off x="3787690" y="1465967"/>
            <a:ext cx="2413711" cy="360000"/>
          </a:xfrm>
          <a:prstGeom prst="chevron">
            <a:avLst/>
          </a:prstGeom>
          <a:solidFill>
            <a:srgbClr val="53B1DD"/>
          </a:solidFill>
          <a:ln>
            <a:noFill/>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noProof="0">
                <a:solidFill>
                  <a:schemeClr val="bg1"/>
                </a:solidFill>
                <a:latin typeface="Montserrat" panose="00000500000000000000" pitchFamily="2" charset="0"/>
              </a:rPr>
              <a:t>Prepare</a:t>
            </a:r>
          </a:p>
        </p:txBody>
      </p:sp>
      <p:sp>
        <p:nvSpPr>
          <p:cNvPr id="80" name="Flecha: cheurón 79">
            <a:extLst>
              <a:ext uri="{FF2B5EF4-FFF2-40B4-BE49-F238E27FC236}">
                <a16:creationId xmlns:a16="http://schemas.microsoft.com/office/drawing/2014/main" id="{98730E98-8658-5CAE-BFD9-748DBA574280}"/>
              </a:ext>
            </a:extLst>
          </p:cNvPr>
          <p:cNvSpPr/>
          <p:nvPr/>
        </p:nvSpPr>
        <p:spPr bwMode="auto">
          <a:xfrm>
            <a:off x="6075455" y="1465967"/>
            <a:ext cx="3099816" cy="360000"/>
          </a:xfrm>
          <a:prstGeom prst="chevron">
            <a:avLst/>
          </a:prstGeom>
          <a:solidFill>
            <a:srgbClr val="00D7A0"/>
          </a:solidFill>
          <a:ln>
            <a:noFill/>
          </a:ln>
        </p:spPr>
        <p:txBody>
          <a:bodyPr lIns="0" tIns="0" rIns="0" bIns="0" rtlCol="0" anchor="ctr"/>
          <a:lstStyle/>
          <a:p>
            <a:pPr algn="ctr">
              <a:defRPr/>
            </a:pPr>
            <a:r>
              <a:rPr lang="en-GB" sz="1200" b="1" noProof="0">
                <a:solidFill>
                  <a:schemeClr val="bg1"/>
                </a:solidFill>
                <a:latin typeface="Montserrat"/>
              </a:rPr>
              <a:t>Realise / Deploy</a:t>
            </a:r>
          </a:p>
        </p:txBody>
      </p:sp>
      <p:sp>
        <p:nvSpPr>
          <p:cNvPr id="81" name="Flecha: cheurón 80">
            <a:extLst>
              <a:ext uri="{FF2B5EF4-FFF2-40B4-BE49-F238E27FC236}">
                <a16:creationId xmlns:a16="http://schemas.microsoft.com/office/drawing/2014/main" id="{94CA56B8-B13F-149B-ABC2-0450CBC475B8}"/>
              </a:ext>
            </a:extLst>
          </p:cNvPr>
          <p:cNvSpPr/>
          <p:nvPr/>
        </p:nvSpPr>
        <p:spPr bwMode="auto">
          <a:xfrm>
            <a:off x="9063099" y="1465967"/>
            <a:ext cx="2413711" cy="360000"/>
          </a:xfrm>
          <a:prstGeom prst="chevron">
            <a:avLst/>
          </a:prstGeom>
          <a:solidFill>
            <a:srgbClr val="24C6BE"/>
          </a:solidFill>
          <a:ln>
            <a:noFill/>
          </a:ln>
        </p:spPr>
        <p:txBody>
          <a:bodyPr lIns="0" tIns="0" rIns="0" bIns="0" rtlCol="0" anchor="ctr"/>
          <a:lstStyle/>
          <a:p>
            <a:pPr marR="0" lvl="0" indent="0" algn="ctr" fontAlgn="auto">
              <a:lnSpc>
                <a:spcPct val="100000"/>
              </a:lnSpc>
              <a:spcBef>
                <a:spcPts val="0"/>
              </a:spcBef>
              <a:spcAft>
                <a:spcPts val="0"/>
              </a:spcAft>
              <a:buClrTx/>
              <a:buSzTx/>
              <a:buFontTx/>
              <a:buNone/>
              <a:tabLst/>
              <a:defRPr/>
            </a:pPr>
            <a:r>
              <a:rPr lang="en-GB" sz="1200" b="1" noProof="0">
                <a:solidFill>
                  <a:schemeClr val="bg1"/>
                </a:solidFill>
                <a:latin typeface="Montserrat" panose="00000500000000000000" pitchFamily="2" charset="0"/>
              </a:rPr>
              <a:t>Run</a:t>
            </a:r>
          </a:p>
        </p:txBody>
      </p:sp>
      <p:grpSp>
        <p:nvGrpSpPr>
          <p:cNvPr id="82" name="Agrupar 3">
            <a:extLst>
              <a:ext uri="{FF2B5EF4-FFF2-40B4-BE49-F238E27FC236}">
                <a16:creationId xmlns:a16="http://schemas.microsoft.com/office/drawing/2014/main" id="{1BF7AE5C-0038-B4AF-8E4C-6635B7820B83}"/>
              </a:ext>
            </a:extLst>
          </p:cNvPr>
          <p:cNvGrpSpPr/>
          <p:nvPr/>
        </p:nvGrpSpPr>
        <p:grpSpPr>
          <a:xfrm>
            <a:off x="1055247" y="1754251"/>
            <a:ext cx="361807" cy="699354"/>
            <a:chOff x="537211" y="6993163"/>
            <a:chExt cx="308951" cy="699354"/>
          </a:xfrm>
          <a:solidFill>
            <a:srgbClr val="CBEBED"/>
          </a:solidFill>
        </p:grpSpPr>
        <p:sp>
          <p:nvSpPr>
            <p:cNvPr id="83" name="Oval 15">
              <a:extLst>
                <a:ext uri="{FF2B5EF4-FFF2-40B4-BE49-F238E27FC236}">
                  <a16:creationId xmlns:a16="http://schemas.microsoft.com/office/drawing/2014/main" id="{CE308A13-7078-4498-1B43-7BEBE012CB47}"/>
                </a:ext>
              </a:extLst>
            </p:cNvPr>
            <p:cNvSpPr/>
            <p:nvPr/>
          </p:nvSpPr>
          <p:spPr>
            <a:xfrm>
              <a:off x="537211" y="7352983"/>
              <a:ext cx="308951" cy="339534"/>
            </a:xfrm>
            <a:prstGeom prst="ellipse">
              <a:avLst/>
            </a:prstGeom>
            <a:solidFill>
              <a:srgbClr val="0575E6"/>
            </a:solidFill>
            <a:ln w="9525" cap="flat" cmpd="sng" algn="ctr">
              <a:noFill/>
              <a:prstDash val="solid"/>
            </a:ln>
            <a:effectLst/>
          </p:spPr>
          <p:txBody>
            <a:bodyPr wrap="none" lIns="0" tIns="0" rIns="0" bIns="0" rtlCol="0" anchor="ct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201">
                <a:lnSpc>
                  <a:spcPct val="89000"/>
                </a:lnSpc>
                <a:defRPr/>
              </a:pPr>
              <a:r>
                <a:rPr lang="en-GB" sz="1801" kern="0" noProof="0">
                  <a:solidFill>
                    <a:prstClr val="white"/>
                  </a:solidFill>
                  <a:ea typeface=""/>
                  <a:cs typeface=""/>
                </a:rPr>
                <a:t>1</a:t>
              </a:r>
            </a:p>
          </p:txBody>
        </p:sp>
        <p:cxnSp>
          <p:nvCxnSpPr>
            <p:cNvPr id="84" name="Straight Connector 26">
              <a:extLst>
                <a:ext uri="{FF2B5EF4-FFF2-40B4-BE49-F238E27FC236}">
                  <a16:creationId xmlns:a16="http://schemas.microsoft.com/office/drawing/2014/main" id="{52E3E94F-560F-0F2D-9CAC-F2494D1D0DE6}"/>
                </a:ext>
              </a:extLst>
            </p:cNvPr>
            <p:cNvCxnSpPr>
              <a:cxnSpLocks/>
              <a:stCxn id="83" idx="0"/>
            </p:cNvCxnSpPr>
            <p:nvPr/>
          </p:nvCxnSpPr>
          <p:spPr>
            <a:xfrm flipV="1">
              <a:off x="691687" y="6993163"/>
              <a:ext cx="0" cy="359820"/>
            </a:xfrm>
            <a:prstGeom prst="line">
              <a:avLst/>
            </a:prstGeom>
            <a:grpFill/>
            <a:ln w="12700" cap="flat" cmpd="sng" algn="ctr">
              <a:solidFill>
                <a:schemeClr val="accent5">
                  <a:lumMod val="50000"/>
                </a:schemeClr>
              </a:solidFill>
              <a:prstDash val="solid"/>
            </a:ln>
            <a:effectLst/>
          </p:spPr>
        </p:cxnSp>
      </p:grpSp>
      <p:sp>
        <p:nvSpPr>
          <p:cNvPr id="85" name="Oval 41">
            <a:extLst>
              <a:ext uri="{FF2B5EF4-FFF2-40B4-BE49-F238E27FC236}">
                <a16:creationId xmlns:a16="http://schemas.microsoft.com/office/drawing/2014/main" id="{87A1AFC7-0E4C-C268-1ADD-7E592AD8C544}"/>
              </a:ext>
            </a:extLst>
          </p:cNvPr>
          <p:cNvSpPr/>
          <p:nvPr/>
        </p:nvSpPr>
        <p:spPr>
          <a:xfrm>
            <a:off x="1170505" y="1590318"/>
            <a:ext cx="131293" cy="143105"/>
          </a:xfrm>
          <a:prstGeom prst="ellipse">
            <a:avLst/>
          </a:prstGeom>
          <a:solidFill>
            <a:sysClr val="window" lastClr="FFFFFF"/>
          </a:solidFill>
          <a:ln w="9525" cap="flat" cmpd="sng" algn="ctr">
            <a:noFill/>
            <a:prstDash val="solid"/>
          </a:ln>
          <a:effectLst/>
        </p:spPr>
        <p:txBody>
          <a:bodyPr rtlCol="0" anchor="ct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201">
              <a:defRPr/>
            </a:pPr>
            <a:endParaRPr lang="en-GB" sz="2000" kern="0" noProof="0">
              <a:solidFill>
                <a:srgbClr val="7F7F7F"/>
              </a:solidFill>
              <a:ea typeface=""/>
              <a:cs typeface=""/>
            </a:endParaRPr>
          </a:p>
        </p:txBody>
      </p:sp>
      <p:sp>
        <p:nvSpPr>
          <p:cNvPr id="86" name="Oval 15">
            <a:extLst>
              <a:ext uri="{FF2B5EF4-FFF2-40B4-BE49-F238E27FC236}">
                <a16:creationId xmlns:a16="http://schemas.microsoft.com/office/drawing/2014/main" id="{DDBCE0EA-E1D7-46C2-BE26-9F7663B1523D}"/>
              </a:ext>
            </a:extLst>
          </p:cNvPr>
          <p:cNvSpPr/>
          <p:nvPr/>
        </p:nvSpPr>
        <p:spPr>
          <a:xfrm>
            <a:off x="4162459" y="2108541"/>
            <a:ext cx="361807" cy="339534"/>
          </a:xfrm>
          <a:prstGeom prst="ellipse">
            <a:avLst/>
          </a:prstGeom>
          <a:solidFill>
            <a:srgbClr val="53B1DD"/>
          </a:solidFill>
          <a:ln w="9525" cap="flat" cmpd="sng" algn="ctr">
            <a:noFill/>
            <a:prstDash val="solid"/>
          </a:ln>
          <a:effectLst/>
        </p:spPr>
        <p:txBody>
          <a:bodyPr wrap="none" lIns="0" tIns="0" rIns="0" bIns="0" rtlCol="0" anchor="ct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201">
              <a:lnSpc>
                <a:spcPct val="89000"/>
              </a:lnSpc>
              <a:defRPr/>
            </a:pPr>
            <a:r>
              <a:rPr lang="en-GB" sz="1801" kern="0" noProof="0">
                <a:solidFill>
                  <a:prstClr val="white"/>
                </a:solidFill>
                <a:ea typeface=""/>
                <a:cs typeface=""/>
              </a:rPr>
              <a:t>2</a:t>
            </a:r>
          </a:p>
        </p:txBody>
      </p:sp>
      <p:sp>
        <p:nvSpPr>
          <p:cNvPr id="87" name="Oval 41">
            <a:extLst>
              <a:ext uri="{FF2B5EF4-FFF2-40B4-BE49-F238E27FC236}">
                <a16:creationId xmlns:a16="http://schemas.microsoft.com/office/drawing/2014/main" id="{5D3950A9-ECBE-BB85-4E4F-C6BC2D0A17CA}"/>
              </a:ext>
            </a:extLst>
          </p:cNvPr>
          <p:cNvSpPr/>
          <p:nvPr/>
        </p:nvSpPr>
        <p:spPr>
          <a:xfrm>
            <a:off x="4282507" y="1555039"/>
            <a:ext cx="144422" cy="143105"/>
          </a:xfrm>
          <a:prstGeom prst="ellipse">
            <a:avLst/>
          </a:prstGeom>
          <a:solidFill>
            <a:sysClr val="window" lastClr="FFFFFF"/>
          </a:solidFill>
          <a:ln w="9525" cap="flat" cmpd="sng" algn="ctr">
            <a:noFill/>
            <a:prstDash val="solid"/>
          </a:ln>
          <a:effectLst/>
        </p:spPr>
        <p:txBody>
          <a:bodyPr rtlCol="0" anchor="ct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201">
              <a:defRPr/>
            </a:pPr>
            <a:endParaRPr lang="en-GB" sz="2000" kern="0" noProof="0">
              <a:solidFill>
                <a:srgbClr val="7F7F7F"/>
              </a:solidFill>
              <a:ea typeface=""/>
              <a:cs typeface=""/>
            </a:endParaRPr>
          </a:p>
        </p:txBody>
      </p:sp>
      <p:cxnSp>
        <p:nvCxnSpPr>
          <p:cNvPr id="88" name="Straight Connector 26">
            <a:extLst>
              <a:ext uri="{FF2B5EF4-FFF2-40B4-BE49-F238E27FC236}">
                <a16:creationId xmlns:a16="http://schemas.microsoft.com/office/drawing/2014/main" id="{8BAD78A4-31A0-C84E-8F3B-6F0009BF1D63}"/>
              </a:ext>
            </a:extLst>
          </p:cNvPr>
          <p:cNvCxnSpPr>
            <a:cxnSpLocks/>
          </p:cNvCxnSpPr>
          <p:nvPr/>
        </p:nvCxnSpPr>
        <p:spPr>
          <a:xfrm>
            <a:off x="4354717" y="1772250"/>
            <a:ext cx="0" cy="341821"/>
          </a:xfrm>
          <a:prstGeom prst="line">
            <a:avLst/>
          </a:prstGeom>
          <a:solidFill>
            <a:srgbClr val="CBEBED"/>
          </a:solidFill>
          <a:ln w="12700" cap="flat" cmpd="sng" algn="ctr">
            <a:solidFill>
              <a:schemeClr val="accent5">
                <a:lumMod val="50000"/>
              </a:schemeClr>
            </a:solidFill>
            <a:prstDash val="solid"/>
          </a:ln>
          <a:effectLst/>
        </p:spPr>
      </p:cxnSp>
      <p:grpSp>
        <p:nvGrpSpPr>
          <p:cNvPr id="89" name="Agrupar 3">
            <a:extLst>
              <a:ext uri="{FF2B5EF4-FFF2-40B4-BE49-F238E27FC236}">
                <a16:creationId xmlns:a16="http://schemas.microsoft.com/office/drawing/2014/main" id="{F76C49CB-8FAC-5609-3570-AAEBEB5A24D1}"/>
              </a:ext>
            </a:extLst>
          </p:cNvPr>
          <p:cNvGrpSpPr/>
          <p:nvPr/>
        </p:nvGrpSpPr>
        <p:grpSpPr>
          <a:xfrm>
            <a:off x="6399732" y="1772250"/>
            <a:ext cx="361807" cy="699354"/>
            <a:chOff x="537211" y="6993163"/>
            <a:chExt cx="308951" cy="699354"/>
          </a:xfrm>
          <a:solidFill>
            <a:srgbClr val="86D0D4"/>
          </a:solidFill>
        </p:grpSpPr>
        <p:sp>
          <p:nvSpPr>
            <p:cNvPr id="90" name="Oval 15">
              <a:extLst>
                <a:ext uri="{FF2B5EF4-FFF2-40B4-BE49-F238E27FC236}">
                  <a16:creationId xmlns:a16="http://schemas.microsoft.com/office/drawing/2014/main" id="{AC5F5838-8C38-BB38-5045-F13137549EAB}"/>
                </a:ext>
              </a:extLst>
            </p:cNvPr>
            <p:cNvSpPr/>
            <p:nvPr/>
          </p:nvSpPr>
          <p:spPr>
            <a:xfrm>
              <a:off x="537211" y="7352983"/>
              <a:ext cx="308951" cy="339534"/>
            </a:xfrm>
            <a:prstGeom prst="ellipse">
              <a:avLst/>
            </a:prstGeom>
            <a:solidFill>
              <a:srgbClr val="00D7A0"/>
            </a:solidFill>
            <a:ln w="9525" cap="flat" cmpd="sng" algn="ctr">
              <a:noFill/>
              <a:prstDash val="solid"/>
            </a:ln>
            <a:effectLst/>
          </p:spPr>
          <p:txBody>
            <a:bodyPr wrap="none" lIns="0" tIns="0" rIns="0" bIns="0" rtlCol="0" anchor="ct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201">
                <a:lnSpc>
                  <a:spcPct val="89000"/>
                </a:lnSpc>
                <a:defRPr/>
              </a:pPr>
              <a:r>
                <a:rPr lang="en-GB" sz="1801" kern="0" noProof="0">
                  <a:solidFill>
                    <a:prstClr val="white"/>
                  </a:solidFill>
                  <a:ea typeface=""/>
                  <a:cs typeface=""/>
                </a:rPr>
                <a:t>3</a:t>
              </a:r>
            </a:p>
          </p:txBody>
        </p:sp>
        <p:cxnSp>
          <p:nvCxnSpPr>
            <p:cNvPr id="91" name="Straight Connector 26">
              <a:extLst>
                <a:ext uri="{FF2B5EF4-FFF2-40B4-BE49-F238E27FC236}">
                  <a16:creationId xmlns:a16="http://schemas.microsoft.com/office/drawing/2014/main" id="{08920B35-68C4-FC92-2588-7581DD3BB35B}"/>
                </a:ext>
              </a:extLst>
            </p:cNvPr>
            <p:cNvCxnSpPr>
              <a:cxnSpLocks/>
              <a:stCxn id="90" idx="0"/>
            </p:cNvCxnSpPr>
            <p:nvPr/>
          </p:nvCxnSpPr>
          <p:spPr>
            <a:xfrm flipV="1">
              <a:off x="691687" y="6993163"/>
              <a:ext cx="0" cy="359820"/>
            </a:xfrm>
            <a:prstGeom prst="line">
              <a:avLst/>
            </a:prstGeom>
            <a:grpFill/>
            <a:ln w="12700" cap="flat" cmpd="sng" algn="ctr">
              <a:solidFill>
                <a:schemeClr val="accent5">
                  <a:lumMod val="50000"/>
                </a:schemeClr>
              </a:solidFill>
              <a:prstDash val="solid"/>
            </a:ln>
            <a:effectLst/>
          </p:spPr>
        </p:cxnSp>
      </p:grpSp>
      <p:sp>
        <p:nvSpPr>
          <p:cNvPr id="92" name="Oval 41">
            <a:extLst>
              <a:ext uri="{FF2B5EF4-FFF2-40B4-BE49-F238E27FC236}">
                <a16:creationId xmlns:a16="http://schemas.microsoft.com/office/drawing/2014/main" id="{0E39D77C-5861-4C35-78E4-119F6FB5CDFF}"/>
              </a:ext>
            </a:extLst>
          </p:cNvPr>
          <p:cNvSpPr/>
          <p:nvPr/>
        </p:nvSpPr>
        <p:spPr>
          <a:xfrm>
            <a:off x="6508424" y="1574668"/>
            <a:ext cx="144422" cy="143105"/>
          </a:xfrm>
          <a:prstGeom prst="ellipse">
            <a:avLst/>
          </a:prstGeom>
          <a:solidFill>
            <a:sysClr val="window" lastClr="FFFFFF"/>
          </a:solidFill>
          <a:ln w="9525" cap="flat" cmpd="sng" algn="ctr">
            <a:noFill/>
            <a:prstDash val="solid"/>
          </a:ln>
          <a:effectLst/>
        </p:spPr>
        <p:txBody>
          <a:bodyPr rtlCol="0" anchor="ct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201">
              <a:defRPr/>
            </a:pPr>
            <a:endParaRPr lang="en-GB" sz="2000" kern="0" noProof="0">
              <a:solidFill>
                <a:srgbClr val="7F7F7F"/>
              </a:solidFill>
              <a:ea typeface=""/>
              <a:cs typeface=""/>
            </a:endParaRPr>
          </a:p>
        </p:txBody>
      </p:sp>
      <p:sp>
        <p:nvSpPr>
          <p:cNvPr id="93" name="Oval 15">
            <a:extLst>
              <a:ext uri="{FF2B5EF4-FFF2-40B4-BE49-F238E27FC236}">
                <a16:creationId xmlns:a16="http://schemas.microsoft.com/office/drawing/2014/main" id="{906DF065-338A-4DA5-D7AB-4260DC5C02F8}"/>
              </a:ext>
            </a:extLst>
          </p:cNvPr>
          <p:cNvSpPr/>
          <p:nvPr/>
        </p:nvSpPr>
        <p:spPr>
          <a:xfrm>
            <a:off x="9383085" y="2104672"/>
            <a:ext cx="361807" cy="339534"/>
          </a:xfrm>
          <a:prstGeom prst="ellipse">
            <a:avLst/>
          </a:prstGeom>
          <a:solidFill>
            <a:srgbClr val="24C6BE"/>
          </a:solidFill>
          <a:ln w="9525" cap="flat" cmpd="sng" algn="ctr">
            <a:noFill/>
            <a:prstDash val="solid"/>
          </a:ln>
          <a:effectLst/>
        </p:spPr>
        <p:txBody>
          <a:bodyPr wrap="none" lIns="0" tIns="0" rIns="0" bIns="0" rtlCol="0" anchor="ct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201">
              <a:lnSpc>
                <a:spcPct val="89000"/>
              </a:lnSpc>
              <a:defRPr/>
            </a:pPr>
            <a:r>
              <a:rPr lang="en-GB" sz="1801" kern="0" noProof="0">
                <a:solidFill>
                  <a:prstClr val="white"/>
                </a:solidFill>
                <a:ea typeface=""/>
                <a:cs typeface=""/>
              </a:rPr>
              <a:t>4</a:t>
            </a:r>
          </a:p>
        </p:txBody>
      </p:sp>
      <p:sp>
        <p:nvSpPr>
          <p:cNvPr id="94" name="Oval 41">
            <a:extLst>
              <a:ext uri="{FF2B5EF4-FFF2-40B4-BE49-F238E27FC236}">
                <a16:creationId xmlns:a16="http://schemas.microsoft.com/office/drawing/2014/main" id="{C25D4F79-2D76-4F7C-8A46-681890277809}"/>
              </a:ext>
            </a:extLst>
          </p:cNvPr>
          <p:cNvSpPr/>
          <p:nvPr/>
        </p:nvSpPr>
        <p:spPr>
          <a:xfrm>
            <a:off x="9482512" y="1564853"/>
            <a:ext cx="144422" cy="143105"/>
          </a:xfrm>
          <a:prstGeom prst="ellipse">
            <a:avLst/>
          </a:prstGeom>
          <a:solidFill>
            <a:sysClr val="window" lastClr="FFFFFF"/>
          </a:solidFill>
          <a:ln w="9525" cap="flat" cmpd="sng" algn="ctr">
            <a:noFill/>
            <a:prstDash val="solid"/>
          </a:ln>
          <a:effectLst/>
        </p:spPr>
        <p:txBody>
          <a:bodyPr rtlCol="0" anchor="ct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201">
              <a:defRPr/>
            </a:pPr>
            <a:endParaRPr lang="en-GB" sz="2000" kern="0" noProof="0">
              <a:solidFill>
                <a:srgbClr val="7F7F7F"/>
              </a:solidFill>
              <a:ea typeface=""/>
              <a:cs typeface=""/>
            </a:endParaRPr>
          </a:p>
        </p:txBody>
      </p:sp>
      <p:cxnSp>
        <p:nvCxnSpPr>
          <p:cNvPr id="95" name="Straight Connector 26">
            <a:extLst>
              <a:ext uri="{FF2B5EF4-FFF2-40B4-BE49-F238E27FC236}">
                <a16:creationId xmlns:a16="http://schemas.microsoft.com/office/drawing/2014/main" id="{BB885F2D-2BDB-248E-0E0D-AC3918308B32}"/>
              </a:ext>
            </a:extLst>
          </p:cNvPr>
          <p:cNvCxnSpPr>
            <a:cxnSpLocks/>
            <a:endCxn id="93" idx="0"/>
          </p:cNvCxnSpPr>
          <p:nvPr/>
        </p:nvCxnSpPr>
        <p:spPr>
          <a:xfrm>
            <a:off x="9563989" y="1806844"/>
            <a:ext cx="0" cy="297828"/>
          </a:xfrm>
          <a:prstGeom prst="line">
            <a:avLst/>
          </a:prstGeom>
          <a:solidFill>
            <a:srgbClr val="CBEBED"/>
          </a:solidFill>
          <a:ln w="12700" cap="flat" cmpd="sng" algn="ctr">
            <a:solidFill>
              <a:schemeClr val="accent5">
                <a:lumMod val="50000"/>
              </a:schemeClr>
            </a:solidFill>
            <a:prstDash val="solid"/>
          </a:ln>
          <a:effectLst/>
        </p:spPr>
      </p:cxnSp>
      <p:sp>
        <p:nvSpPr>
          <p:cNvPr id="4" name="object 89">
            <a:extLst>
              <a:ext uri="{FF2B5EF4-FFF2-40B4-BE49-F238E27FC236}">
                <a16:creationId xmlns:a16="http://schemas.microsoft.com/office/drawing/2014/main" id="{18B1B483-679C-18D2-B335-3CCFE3F547CF}"/>
              </a:ext>
            </a:extLst>
          </p:cNvPr>
          <p:cNvSpPr txBox="1"/>
          <p:nvPr/>
        </p:nvSpPr>
        <p:spPr>
          <a:xfrm>
            <a:off x="1597958" y="2122908"/>
            <a:ext cx="2022475" cy="716221"/>
          </a:xfrm>
          <a:prstGeom prst="rect">
            <a:avLst/>
          </a:prstGeom>
        </p:spPr>
        <p:txBody>
          <a:bodyPr vert="horz" wrap="square" lIns="0" tIns="61594" rIns="0" bIns="0" rtlCol="0">
            <a:spAutoFit/>
          </a:bodyPr>
          <a:lstStyle/>
          <a:p>
            <a:pPr marL="12700" marR="0" lvl="0" indent="0" algn="l" defTabSz="914400" rtl="0" eaLnBrk="1" fontAlgn="auto" latinLnBrk="0" hangingPunct="1">
              <a:lnSpc>
                <a:spcPct val="100000"/>
              </a:lnSpc>
              <a:spcBef>
                <a:spcPts val="484"/>
              </a:spcBef>
              <a:spcAft>
                <a:spcPts val="0"/>
              </a:spcAft>
              <a:buClrTx/>
              <a:buSzTx/>
              <a:buFontTx/>
              <a:buNone/>
              <a:tabLst/>
              <a:defRPr/>
            </a:pPr>
            <a:r>
              <a:rPr kumimoji="0" lang="en-GB" sz="850" b="0" i="0" u="none" strike="noStrike" kern="1200" cap="none" spc="0" normalizeH="0" baseline="0" noProof="0">
                <a:ln>
                  <a:noFill/>
                </a:ln>
                <a:solidFill>
                  <a:srgbClr val="1D1D1B"/>
                </a:solidFill>
                <a:effectLst/>
                <a:uLnTx/>
                <a:uFillTx/>
                <a:latin typeface="Montserrat Medium"/>
                <a:ea typeface="+mn-ea"/>
                <a:cs typeface="Montserrat Medium"/>
              </a:rPr>
              <a:t>Analysis of the current environment and design of the optimal migration strategy based on own tools, accelerators and previous experiences</a:t>
            </a:r>
            <a:endParaRPr kumimoji="0" lang="en-GB" sz="850" b="0" i="0" u="none" strike="noStrike" kern="1200" cap="none" spc="0" normalizeH="0" baseline="0" noProof="0">
              <a:ln>
                <a:noFill/>
              </a:ln>
              <a:solidFill>
                <a:srgbClr val="000000"/>
              </a:solidFill>
              <a:effectLst/>
              <a:uLnTx/>
              <a:uFillTx/>
              <a:latin typeface="Montserrat Medium"/>
              <a:ea typeface="+mn-ea"/>
              <a:cs typeface="Montserrat Medium"/>
            </a:endParaRPr>
          </a:p>
        </p:txBody>
      </p:sp>
      <p:sp>
        <p:nvSpPr>
          <p:cNvPr id="5" name="object 90">
            <a:extLst>
              <a:ext uri="{FF2B5EF4-FFF2-40B4-BE49-F238E27FC236}">
                <a16:creationId xmlns:a16="http://schemas.microsoft.com/office/drawing/2014/main" id="{F3B676AB-ECD1-C55D-3A17-57C2CC7455D9}"/>
              </a:ext>
            </a:extLst>
          </p:cNvPr>
          <p:cNvSpPr txBox="1"/>
          <p:nvPr/>
        </p:nvSpPr>
        <p:spPr>
          <a:xfrm>
            <a:off x="4612537" y="2122908"/>
            <a:ext cx="1466441" cy="575156"/>
          </a:xfrm>
          <a:prstGeom prst="rect">
            <a:avLst/>
          </a:prstGeom>
        </p:spPr>
        <p:txBody>
          <a:bodyPr vert="horz" wrap="square" lIns="0" tIns="61594" rIns="0" bIns="0" rtlCol="0">
            <a:spAutoFit/>
          </a:bodyPr>
          <a:lstStyle/>
          <a:p>
            <a:pPr marL="12700" marR="5080" lvl="0" indent="0" algn="l" defTabSz="914400" rtl="0" eaLnBrk="1" fontAlgn="auto" latinLnBrk="0" hangingPunct="1">
              <a:lnSpc>
                <a:spcPts val="1000"/>
              </a:lnSpc>
              <a:spcBef>
                <a:spcPts val="415"/>
              </a:spcBef>
              <a:spcAft>
                <a:spcPts val="0"/>
              </a:spcAft>
              <a:buClrTx/>
              <a:buSzTx/>
              <a:buFontTx/>
              <a:buNone/>
              <a:tabLst/>
              <a:defRPr/>
            </a:pPr>
            <a:r>
              <a:rPr kumimoji="0" lang="en-GB" sz="850" b="0" i="0" u="none" strike="noStrike" kern="1200" cap="none" spc="-10" normalizeH="0" baseline="0" noProof="0">
                <a:ln>
                  <a:noFill/>
                </a:ln>
                <a:solidFill>
                  <a:srgbClr val="1D1D1B"/>
                </a:solidFill>
                <a:effectLst/>
                <a:uLnTx/>
                <a:uFillTx/>
                <a:latin typeface="Montserrat Medium"/>
                <a:ea typeface="+mn-ea"/>
                <a:cs typeface="Montserrat Medium"/>
              </a:rPr>
              <a:t>Detailed project preparation: schedules, test </a:t>
            </a:r>
            <a:r>
              <a:rPr kumimoji="0" lang="en-GB" sz="850" b="0" i="0" u="none" strike="noStrike" kern="1200" cap="none" spc="-10" normalizeH="0" baseline="0" noProof="0" err="1">
                <a:ln>
                  <a:noFill/>
                </a:ln>
                <a:solidFill>
                  <a:srgbClr val="1D1D1B"/>
                </a:solidFill>
                <a:effectLst/>
                <a:uLnTx/>
                <a:uFillTx/>
                <a:latin typeface="Montserrat Medium"/>
                <a:ea typeface="+mn-ea"/>
                <a:cs typeface="Montserrat Medium"/>
              </a:rPr>
              <a:t>responsibles</a:t>
            </a:r>
            <a:r>
              <a:rPr kumimoji="0" lang="en-GB" sz="850" b="0" i="0" u="none" strike="noStrike" kern="1200" cap="none" spc="-10" normalizeH="0" baseline="0" noProof="0">
                <a:ln>
                  <a:noFill/>
                </a:ln>
                <a:solidFill>
                  <a:srgbClr val="1D1D1B"/>
                </a:solidFill>
                <a:effectLst/>
                <a:uLnTx/>
                <a:uFillTx/>
                <a:latin typeface="Montserrat Medium"/>
                <a:ea typeface="+mn-ea"/>
                <a:cs typeface="Montserrat Medium"/>
              </a:rPr>
              <a:t> &amp; data strategies</a:t>
            </a:r>
            <a:endParaRPr kumimoji="0" lang="en-GB" sz="850" b="0" i="0" u="none" strike="noStrike" kern="1200" cap="none" spc="0" normalizeH="0" baseline="0" noProof="0">
              <a:ln>
                <a:noFill/>
              </a:ln>
              <a:solidFill>
                <a:srgbClr val="000000"/>
              </a:solidFill>
              <a:effectLst/>
              <a:uLnTx/>
              <a:uFillTx/>
              <a:latin typeface="Montserrat Medium"/>
              <a:ea typeface="+mn-ea"/>
              <a:cs typeface="Montserrat Medium"/>
            </a:endParaRPr>
          </a:p>
        </p:txBody>
      </p:sp>
      <p:sp>
        <p:nvSpPr>
          <p:cNvPr id="6" name="object 87">
            <a:extLst>
              <a:ext uri="{FF2B5EF4-FFF2-40B4-BE49-F238E27FC236}">
                <a16:creationId xmlns:a16="http://schemas.microsoft.com/office/drawing/2014/main" id="{12BF412A-7BDE-71B9-53C6-3EA1BDC71B69}"/>
              </a:ext>
            </a:extLst>
          </p:cNvPr>
          <p:cNvSpPr txBox="1"/>
          <p:nvPr/>
        </p:nvSpPr>
        <p:spPr>
          <a:xfrm>
            <a:off x="6853752" y="2122908"/>
            <a:ext cx="2104682" cy="654666"/>
          </a:xfrm>
          <a:prstGeom prst="rect">
            <a:avLst/>
          </a:prstGeom>
        </p:spPr>
        <p:txBody>
          <a:bodyPr vert="horz" wrap="square" lIns="0" tIns="76835" rIns="0" bIns="0" rtlCol="0">
            <a:spAutoFit/>
          </a:bodyPr>
          <a:lstStyle/>
          <a:p>
            <a:pPr marL="12700" marR="5080" lvl="0" indent="0" algn="l" defTabSz="914400" rtl="0" eaLnBrk="1" fontAlgn="auto" latinLnBrk="0" hangingPunct="1">
              <a:lnSpc>
                <a:spcPts val="1000"/>
              </a:lnSpc>
              <a:spcBef>
                <a:spcPts val="530"/>
              </a:spcBef>
              <a:spcAft>
                <a:spcPts val="0"/>
              </a:spcAft>
              <a:buClrTx/>
              <a:buSzTx/>
              <a:buFontTx/>
              <a:buNone/>
              <a:tabLst/>
              <a:defRPr/>
            </a:pPr>
            <a:r>
              <a:rPr kumimoji="0" lang="en-GB" sz="850" b="0" i="0" u="none" strike="noStrike" kern="1200" cap="none" spc="0" normalizeH="0" baseline="0" noProof="0">
                <a:ln>
                  <a:noFill/>
                </a:ln>
                <a:solidFill>
                  <a:srgbClr val="1D1D1B"/>
                </a:solidFill>
                <a:effectLst/>
                <a:uLnTx/>
                <a:uFillTx/>
                <a:latin typeface="Montserrat Medium"/>
                <a:ea typeface="+mn-ea"/>
                <a:cs typeface="Montserrat Medium"/>
              </a:rPr>
              <a:t>The detailed creation or conversion in previous phases is executed.
In parallel, change management is carried out</a:t>
            </a:r>
            <a:endParaRPr kumimoji="0" lang="en-GB" sz="850" b="0" i="0" u="none" strike="noStrike" kern="1200" cap="none" spc="0" normalizeH="0" baseline="0" noProof="0">
              <a:ln>
                <a:noFill/>
              </a:ln>
              <a:solidFill>
                <a:srgbClr val="000000"/>
              </a:solidFill>
              <a:effectLst/>
              <a:uLnTx/>
              <a:uFillTx/>
              <a:latin typeface="Montserrat Medium"/>
              <a:ea typeface="+mn-ea"/>
              <a:cs typeface="Montserrat Medium"/>
            </a:endParaRPr>
          </a:p>
        </p:txBody>
      </p:sp>
      <p:sp>
        <p:nvSpPr>
          <p:cNvPr id="7" name="object 88">
            <a:extLst>
              <a:ext uri="{FF2B5EF4-FFF2-40B4-BE49-F238E27FC236}">
                <a16:creationId xmlns:a16="http://schemas.microsoft.com/office/drawing/2014/main" id="{A6A60C7C-E652-6748-69B9-A6A382899A0B}"/>
              </a:ext>
            </a:extLst>
          </p:cNvPr>
          <p:cNvSpPr txBox="1"/>
          <p:nvPr/>
        </p:nvSpPr>
        <p:spPr>
          <a:xfrm>
            <a:off x="9865591" y="2122908"/>
            <a:ext cx="1652270" cy="628377"/>
          </a:xfrm>
          <a:prstGeom prst="rect">
            <a:avLst/>
          </a:prstGeom>
        </p:spPr>
        <p:txBody>
          <a:bodyPr vert="horz" wrap="square" lIns="0" tIns="63500" rIns="0" bIns="0" rtlCol="0">
            <a:spAutoFit/>
          </a:bodyPr>
          <a:lstStyle/>
          <a:p>
            <a:pPr marL="12700" marR="5080" lvl="0" indent="0" algn="l" defTabSz="914400" rtl="0" eaLnBrk="1" fontAlgn="auto" latinLnBrk="0" hangingPunct="1">
              <a:lnSpc>
                <a:spcPts val="1000"/>
              </a:lnSpc>
              <a:spcBef>
                <a:spcPts val="425"/>
              </a:spcBef>
              <a:spcAft>
                <a:spcPts val="0"/>
              </a:spcAft>
              <a:buClrTx/>
              <a:buSzTx/>
              <a:buFontTx/>
              <a:buNone/>
              <a:tabLst/>
              <a:defRPr/>
            </a:pPr>
            <a:r>
              <a:rPr kumimoji="0" lang="en-GB" sz="850" b="0" i="0" u="none" strike="noStrike" kern="1200" cap="none" spc="0" normalizeH="0" baseline="0" noProof="0">
                <a:ln>
                  <a:noFill/>
                </a:ln>
                <a:solidFill>
                  <a:srgbClr val="1D1D1B"/>
                </a:solidFill>
                <a:effectLst/>
                <a:uLnTx/>
                <a:uFillTx/>
                <a:latin typeface="Montserrat Medium"/>
                <a:ea typeface="+mn-ea"/>
                <a:cs typeface="Montserrat Medium"/>
              </a:rPr>
              <a:t>Execution of the cutover and the coexistence plan (if applicable)
Maintenance and support</a:t>
            </a:r>
            <a:endParaRPr kumimoji="0" lang="en-GB" sz="850" b="0" i="0" u="none" strike="noStrike" kern="1200" cap="none" spc="0" normalizeH="0" baseline="0" noProof="0">
              <a:ln>
                <a:noFill/>
              </a:ln>
              <a:solidFill>
                <a:srgbClr val="000000"/>
              </a:solidFill>
              <a:effectLst/>
              <a:uLnTx/>
              <a:uFillTx/>
              <a:latin typeface="Montserrat Medium"/>
              <a:ea typeface="+mn-ea"/>
              <a:cs typeface="Montserrat Medium"/>
            </a:endParaRPr>
          </a:p>
        </p:txBody>
      </p:sp>
      <p:sp>
        <p:nvSpPr>
          <p:cNvPr id="9" name="CuadroTexto 8">
            <a:extLst>
              <a:ext uri="{FF2B5EF4-FFF2-40B4-BE49-F238E27FC236}">
                <a16:creationId xmlns:a16="http://schemas.microsoft.com/office/drawing/2014/main" id="{83F52E25-020F-6BF2-3291-DB1BA7D41B3B}"/>
              </a:ext>
            </a:extLst>
          </p:cNvPr>
          <p:cNvSpPr txBox="1"/>
          <p:nvPr/>
        </p:nvSpPr>
        <p:spPr>
          <a:xfrm>
            <a:off x="6853752" y="3136391"/>
            <a:ext cx="2441094" cy="1261884"/>
          </a:xfrm>
          <a:prstGeom prst="rect">
            <a:avLst/>
          </a:prstGeom>
          <a:noFill/>
        </p:spPr>
        <p:txBody>
          <a:bodyPr wrap="square">
            <a:spAutoFit/>
          </a:bodyPr>
          <a:lstStyle/>
          <a:p>
            <a:pPr marL="171450" indent="-171450" hangingPunct="0">
              <a:spcAft>
                <a:spcPts val="600"/>
              </a:spcAft>
              <a:buFont typeface="Wingdings" panose="05000000000000000000" pitchFamily="2" charset="2"/>
              <a:buChar char="ü"/>
            </a:pPr>
            <a:r>
              <a:rPr lang="en-GB" sz="850" noProof="0">
                <a:solidFill>
                  <a:srgbClr val="1D1D1B"/>
                </a:solidFill>
                <a:latin typeface="Montserrat Medium"/>
                <a:sym typeface="Helvetica Light"/>
              </a:rPr>
              <a:t>Change management detail</a:t>
            </a:r>
          </a:p>
          <a:p>
            <a:pPr marL="171450" indent="-171450" hangingPunct="0">
              <a:spcAft>
                <a:spcPts val="600"/>
              </a:spcAft>
              <a:buFont typeface="Wingdings" panose="05000000000000000000" pitchFamily="2" charset="2"/>
              <a:buChar char="ü"/>
            </a:pPr>
            <a:r>
              <a:rPr lang="en-GB" sz="850" noProof="0">
                <a:solidFill>
                  <a:srgbClr val="1D1D1B"/>
                </a:solidFill>
                <a:latin typeface="Montserrat Medium"/>
                <a:sym typeface="Helvetica Light"/>
              </a:rPr>
              <a:t>Conversion objects detail
Completed Tests plan </a:t>
            </a:r>
          </a:p>
          <a:p>
            <a:pPr marL="171450" indent="-171450" hangingPunct="0">
              <a:spcAft>
                <a:spcPts val="600"/>
              </a:spcAft>
              <a:buFont typeface="Wingdings" panose="05000000000000000000" pitchFamily="2" charset="2"/>
              <a:buChar char="ü"/>
            </a:pPr>
            <a:r>
              <a:rPr lang="en-GB" sz="850" noProof="0">
                <a:solidFill>
                  <a:srgbClr val="1D1D1B"/>
                </a:solidFill>
                <a:latin typeface="Montserrat Medium"/>
                <a:sym typeface="Helvetica Light"/>
              </a:rPr>
              <a:t>Performance tests results
Transport request list
Improvements document</a:t>
            </a:r>
          </a:p>
        </p:txBody>
      </p:sp>
    </p:spTree>
    <p:extLst>
      <p:ext uri="{BB962C8B-B14F-4D97-AF65-F5344CB8AC3E}">
        <p14:creationId xmlns:p14="http://schemas.microsoft.com/office/powerpoint/2010/main" val="3070474120"/>
      </p:ext>
    </p:extLst>
  </p:cSld>
  <p:clrMapOvr>
    <a:masterClrMapping/>
  </p:clrMapOvr>
  <p:transition spd="med">
    <p:fade/>
  </p:transition>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7EB8E89E-E33C-3CF2-1B91-C623425F20AC}"/>
              </a:ext>
            </a:extLst>
          </p:cNvPr>
          <p:cNvSpPr/>
          <p:nvPr/>
        </p:nvSpPr>
        <p:spPr bwMode="auto">
          <a:xfrm>
            <a:off x="0" y="0"/>
            <a:ext cx="9480376" cy="620688"/>
          </a:xfrm>
          <a:prstGeom prst="rect">
            <a:avLst/>
          </a:prstGeom>
          <a:gradFill>
            <a:gsLst>
              <a:gs pos="50000">
                <a:schemeClr val="tx1"/>
              </a:gs>
              <a:gs pos="100000">
                <a:schemeClr val="bg1"/>
              </a:gs>
            </a:gsLst>
            <a:lin ang="0" scaled="1"/>
          </a:gradFill>
          <a:ln w="9525">
            <a:noFill/>
            <a:round/>
            <a:headEnd/>
            <a:tailEnd/>
          </a:ln>
        </p:spPr>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Título 1">
            <a:extLst>
              <a:ext uri="{FF2B5EF4-FFF2-40B4-BE49-F238E27FC236}">
                <a16:creationId xmlns:a16="http://schemas.microsoft.com/office/drawing/2014/main" id="{88334083-2379-A0C7-3D5C-594E9D8AE969}"/>
              </a:ext>
            </a:extLst>
          </p:cNvPr>
          <p:cNvSpPr txBox="1">
            <a:spLocks/>
          </p:cNvSpPr>
          <p:nvPr/>
        </p:nvSpPr>
        <p:spPr>
          <a:xfrm>
            <a:off x="191344" y="116632"/>
            <a:ext cx="10515600" cy="36572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1800" kern="1200">
                <a:solidFill>
                  <a:schemeClr val="tx1">
                    <a:lumMod val="65000"/>
                    <a:lumOff val="35000"/>
                  </a:schemeClr>
                </a:solidFill>
                <a:latin typeface="Arial" panose="020B0604020202020204" pitchFamily="34" charset="0"/>
                <a:ea typeface="+mj-ea"/>
                <a:cs typeface="Arial" panose="020B0604020202020204" pitchFamily="34" charset="0"/>
              </a:defRPr>
            </a:lvl1pPr>
          </a:lstStyle>
          <a:p>
            <a:pPr lvl="0">
              <a:defRPr/>
            </a:pPr>
            <a:r>
              <a:rPr lang="en-GB" sz="2462" noProof="0">
                <a:solidFill>
                  <a:prstClr val="white"/>
                </a:solidFill>
                <a:latin typeface="Calibri" panose="020F0502020204030204" pitchFamily="34" charset="0"/>
                <a:cs typeface="Calibri" panose="020F0502020204030204" pitchFamily="34" charset="0"/>
              </a:rPr>
              <a:t>Migration to SAP Datasphere </a:t>
            </a:r>
            <a:r>
              <a:rPr kumimoji="0" lang="en-GB" sz="2462" b="0"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 </a:t>
            </a:r>
            <a:r>
              <a:rPr lang="en-GB" sz="2462" noProof="0">
                <a:solidFill>
                  <a:prstClr val="white"/>
                </a:solidFill>
                <a:latin typeface="Calibri" panose="020F0502020204030204" pitchFamily="34" charset="0"/>
                <a:cs typeface="Calibri" panose="020F0502020204030204" pitchFamily="34" charset="0"/>
              </a:rPr>
              <a:t>Tools and deliverables</a:t>
            </a:r>
            <a:endParaRPr kumimoji="0" lang="en-GB" sz="2462" b="0"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4" name="CuadroTexto 3">
            <a:extLst>
              <a:ext uri="{FF2B5EF4-FFF2-40B4-BE49-F238E27FC236}">
                <a16:creationId xmlns:a16="http://schemas.microsoft.com/office/drawing/2014/main" id="{1824B4B2-5BA9-E11B-6DF5-0A0F4A6F6EBD}"/>
              </a:ext>
            </a:extLst>
          </p:cNvPr>
          <p:cNvSpPr txBox="1"/>
          <p:nvPr/>
        </p:nvSpPr>
        <p:spPr>
          <a:xfrm>
            <a:off x="109331" y="1197715"/>
            <a:ext cx="7283240" cy="1150315"/>
          </a:xfrm>
          <a:prstGeom prst="rect">
            <a:avLst/>
          </a:prstGeom>
          <a:noFill/>
        </p:spPr>
        <p:txBody>
          <a:bodyPr wrap="square">
            <a:spAutoFit/>
          </a:bodyPr>
          <a:lstStyle/>
          <a:p>
            <a:pPr marL="0" lvl="1" fontAlgn="t">
              <a:lnSpc>
                <a:spcPct val="150000"/>
              </a:lnSpc>
              <a:spcAft>
                <a:spcPts val="600"/>
              </a:spcAft>
              <a:defRPr/>
            </a:pPr>
            <a:r>
              <a:rPr lang="en-GB" sz="1050" noProof="0">
                <a:solidFill>
                  <a:srgbClr val="000000"/>
                </a:solidFill>
                <a:ea typeface="Calibri"/>
                <a:cs typeface="Calibri"/>
              </a:rPr>
              <a:t>It allows you to check the compatibility and maturity of your SAP BW environment with a possible migration to Datasphere. In addition, it gives valuable information about what objects are used and how large they are, which allows you to be more precise when selecting the models to migrate.</a:t>
            </a:r>
            <a:endParaRPr kumimoji="0" lang="en-GB" sz="1100" b="1" i="0" u="none" strike="noStrike" kern="1200" cap="none" spc="0" normalizeH="0" baseline="0" noProof="0">
              <a:ln>
                <a:noFill/>
              </a:ln>
              <a:solidFill>
                <a:srgbClr val="000000"/>
              </a:solidFill>
              <a:effectLst/>
              <a:uLnTx/>
              <a:uFillTx/>
              <a:latin typeface="Calibri" panose="020F0502020204030204"/>
              <a:ea typeface="Calibri"/>
              <a:cs typeface="Calibri"/>
            </a:endParaRPr>
          </a:p>
          <a:p>
            <a:pPr marL="0" marR="0" lvl="1" indent="0" algn="l" defTabSz="914400" rtl="0" eaLnBrk="1" fontAlgn="t" latinLnBrk="0" hangingPunct="1">
              <a:lnSpc>
                <a:spcPct val="150000"/>
              </a:lnSpc>
              <a:spcBef>
                <a:spcPts val="0"/>
              </a:spcBef>
              <a:spcAft>
                <a:spcPts val="600"/>
              </a:spcAft>
              <a:buClrTx/>
              <a:buSzTx/>
              <a:buFontTx/>
              <a:buNone/>
              <a:tabLst/>
              <a:defRPr/>
            </a:pPr>
            <a:endParaRPr kumimoji="0" lang="en-GB" sz="1100" b="1" i="0" u="none" strike="noStrike" kern="1200" cap="none" spc="0" normalizeH="0" baseline="0" noProof="0">
              <a:ln>
                <a:noFill/>
              </a:ln>
              <a:solidFill>
                <a:srgbClr val="000000"/>
              </a:solidFill>
              <a:effectLst/>
              <a:uLnTx/>
              <a:uFillTx/>
              <a:latin typeface="Calibri" panose="020F0502020204030204"/>
              <a:ea typeface="Calibri"/>
              <a:cs typeface="Calibri"/>
            </a:endParaRPr>
          </a:p>
        </p:txBody>
      </p:sp>
      <p:grpSp>
        <p:nvGrpSpPr>
          <p:cNvPr id="5" name="Grupo 4">
            <a:extLst>
              <a:ext uri="{FF2B5EF4-FFF2-40B4-BE49-F238E27FC236}">
                <a16:creationId xmlns:a16="http://schemas.microsoft.com/office/drawing/2014/main" id="{245F4852-87B1-537C-B6FC-081CD413DC46}"/>
              </a:ext>
            </a:extLst>
          </p:cNvPr>
          <p:cNvGrpSpPr/>
          <p:nvPr/>
        </p:nvGrpSpPr>
        <p:grpSpPr>
          <a:xfrm>
            <a:off x="2180" y="869014"/>
            <a:ext cx="7531682" cy="369332"/>
            <a:chOff x="2180" y="920969"/>
            <a:chExt cx="7531682" cy="369332"/>
          </a:xfrm>
        </p:grpSpPr>
        <p:sp>
          <p:nvSpPr>
            <p:cNvPr id="6" name="Redondear rectángulo de esquina del mismo lado 270">
              <a:extLst>
                <a:ext uri="{FF2B5EF4-FFF2-40B4-BE49-F238E27FC236}">
                  <a16:creationId xmlns:a16="http://schemas.microsoft.com/office/drawing/2014/main" id="{9E9435B6-E1B9-2BC8-CE58-A5806F05E68B}"/>
                </a:ext>
              </a:extLst>
            </p:cNvPr>
            <p:cNvSpPr/>
            <p:nvPr/>
          </p:nvSpPr>
          <p:spPr bwMode="auto">
            <a:xfrm rot="5400000">
              <a:off x="3507514" y="-2584365"/>
              <a:ext cx="369332" cy="7380000"/>
            </a:xfrm>
            <a:prstGeom prst="round2SameRect">
              <a:avLst>
                <a:gd name="adj1" fmla="val 46994"/>
                <a:gd name="adj2" fmla="val 0"/>
              </a:avLst>
            </a:prstGeom>
            <a:solidFill>
              <a:srgbClr val="C7F5F3"/>
            </a:solidFill>
            <a:ln>
              <a:noFill/>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Rectángulo 142">
              <a:extLst>
                <a:ext uri="{FF2B5EF4-FFF2-40B4-BE49-F238E27FC236}">
                  <a16:creationId xmlns:a16="http://schemas.microsoft.com/office/drawing/2014/main" id="{7B2B8349-E117-FCA9-2683-7ECD69428FF2}"/>
                </a:ext>
              </a:extLst>
            </p:cNvPr>
            <p:cNvSpPr/>
            <p:nvPr/>
          </p:nvSpPr>
          <p:spPr>
            <a:xfrm>
              <a:off x="699905" y="972871"/>
              <a:ext cx="683395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Calibri" panose="020F0502020204030204"/>
                  <a:ea typeface="+mn-ea"/>
                  <a:cs typeface="+mn-cs"/>
                </a:rPr>
                <a:t>READINESS CHECK </a:t>
              </a:r>
              <a:endParaRPr kumimoji="0" lang="en-GB"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33">
              <a:extLst>
                <a:ext uri="{FF2B5EF4-FFF2-40B4-BE49-F238E27FC236}">
                  <a16:creationId xmlns:a16="http://schemas.microsoft.com/office/drawing/2014/main" id="{A8C6EE84-0FBD-C7E7-5366-CCCBFB3E7465}"/>
                </a:ext>
              </a:extLst>
            </p:cNvPr>
            <p:cNvSpPr>
              <a:spLocks noChangeAspect="1" noEditPoints="1"/>
            </p:cNvSpPr>
            <p:nvPr/>
          </p:nvSpPr>
          <p:spPr bwMode="auto">
            <a:xfrm>
              <a:off x="316697" y="1010823"/>
              <a:ext cx="290614" cy="225123"/>
            </a:xfrm>
            <a:custGeom>
              <a:avLst/>
              <a:gdLst>
                <a:gd name="T0" fmla="*/ 637 w 826"/>
                <a:gd name="T1" fmla="*/ 523 h 802"/>
                <a:gd name="T2" fmla="*/ 663 w 826"/>
                <a:gd name="T3" fmla="*/ 472 h 802"/>
                <a:gd name="T4" fmla="*/ 573 w 826"/>
                <a:gd name="T5" fmla="*/ 536 h 802"/>
                <a:gd name="T6" fmla="*/ 597 w 826"/>
                <a:gd name="T7" fmla="*/ 320 h 802"/>
                <a:gd name="T8" fmla="*/ 765 w 826"/>
                <a:gd name="T9" fmla="*/ 281 h 802"/>
                <a:gd name="T10" fmla="*/ 786 w 826"/>
                <a:gd name="T11" fmla="*/ 91 h 802"/>
                <a:gd name="T12" fmla="*/ 706 w 826"/>
                <a:gd name="T13" fmla="*/ 160 h 802"/>
                <a:gd name="T14" fmla="*/ 654 w 826"/>
                <a:gd name="T15" fmla="*/ 109 h 802"/>
                <a:gd name="T16" fmla="*/ 724 w 826"/>
                <a:gd name="T17" fmla="*/ 28 h 802"/>
                <a:gd name="T18" fmla="*/ 649 w 826"/>
                <a:gd name="T19" fmla="*/ 2 h 802"/>
                <a:gd name="T20" fmla="*/ 494 w 826"/>
                <a:gd name="T21" fmla="*/ 218 h 802"/>
                <a:gd name="T22" fmla="*/ 185 w 826"/>
                <a:gd name="T23" fmla="*/ 148 h 802"/>
                <a:gd name="T24" fmla="*/ 203 w 826"/>
                <a:gd name="T25" fmla="*/ 123 h 802"/>
                <a:gd name="T26" fmla="*/ 95 w 826"/>
                <a:gd name="T27" fmla="*/ 7 h 802"/>
                <a:gd name="T28" fmla="*/ 18 w 826"/>
                <a:gd name="T29" fmla="*/ 58 h 802"/>
                <a:gd name="T30" fmla="*/ 18 w 826"/>
                <a:gd name="T31" fmla="*/ 84 h 802"/>
                <a:gd name="T32" fmla="*/ 134 w 826"/>
                <a:gd name="T33" fmla="*/ 192 h 802"/>
                <a:gd name="T34" fmla="*/ 160 w 826"/>
                <a:gd name="T35" fmla="*/ 174 h 802"/>
                <a:gd name="T36" fmla="*/ 228 w 826"/>
                <a:gd name="T37" fmla="*/ 483 h 802"/>
                <a:gd name="T38" fmla="*/ 61 w 826"/>
                <a:gd name="T39" fmla="*/ 522 h 802"/>
                <a:gd name="T40" fmla="*/ 39 w 826"/>
                <a:gd name="T41" fmla="*/ 713 h 802"/>
                <a:gd name="T42" fmla="*/ 120 w 826"/>
                <a:gd name="T43" fmla="*/ 643 h 802"/>
                <a:gd name="T44" fmla="*/ 171 w 826"/>
                <a:gd name="T45" fmla="*/ 695 h 802"/>
                <a:gd name="T46" fmla="*/ 102 w 826"/>
                <a:gd name="T47" fmla="*/ 775 h 802"/>
                <a:gd name="T48" fmla="*/ 176 w 826"/>
                <a:gd name="T49" fmla="*/ 802 h 802"/>
                <a:gd name="T50" fmla="*/ 331 w 826"/>
                <a:gd name="T51" fmla="*/ 586 h 802"/>
                <a:gd name="T52" fmla="*/ 547 w 826"/>
                <a:gd name="T53" fmla="*/ 562 h 802"/>
                <a:gd name="T54" fmla="*/ 483 w 826"/>
                <a:gd name="T55" fmla="*/ 652 h 802"/>
                <a:gd name="T56" fmla="*/ 509 w 826"/>
                <a:gd name="T57" fmla="*/ 652 h 802"/>
                <a:gd name="T58" fmla="*/ 689 w 826"/>
                <a:gd name="T59" fmla="*/ 780 h 802"/>
                <a:gd name="T60" fmla="*/ 791 w 826"/>
                <a:gd name="T61" fmla="*/ 780 h 802"/>
                <a:gd name="T62" fmla="*/ 791 w 826"/>
                <a:gd name="T63" fmla="*/ 677 h 802"/>
                <a:gd name="T64" fmla="*/ 57 w 826"/>
                <a:gd name="T65" fmla="*/ 71 h 802"/>
                <a:gd name="T66" fmla="*/ 160 w 826"/>
                <a:gd name="T67" fmla="*/ 123 h 802"/>
                <a:gd name="T68" fmla="*/ 297 w 826"/>
                <a:gd name="T69" fmla="*/ 568 h 802"/>
                <a:gd name="T70" fmla="*/ 266 w 826"/>
                <a:gd name="T71" fmla="*/ 728 h 802"/>
                <a:gd name="T72" fmla="*/ 154 w 826"/>
                <a:gd name="T73" fmla="*/ 763 h 802"/>
                <a:gd name="T74" fmla="*/ 207 w 826"/>
                <a:gd name="T75" fmla="*/ 702 h 802"/>
                <a:gd name="T76" fmla="*/ 189 w 826"/>
                <a:gd name="T77" fmla="*/ 607 h 802"/>
                <a:gd name="T78" fmla="*/ 99 w 826"/>
                <a:gd name="T79" fmla="*/ 612 h 802"/>
                <a:gd name="T80" fmla="*/ 86 w 826"/>
                <a:gd name="T81" fmla="*/ 548 h 802"/>
                <a:gd name="T82" fmla="*/ 226 w 826"/>
                <a:gd name="T83" fmla="*/ 521 h 802"/>
                <a:gd name="T84" fmla="*/ 528 w 826"/>
                <a:gd name="T85" fmla="*/ 235 h 802"/>
                <a:gd name="T86" fmla="*/ 559 w 826"/>
                <a:gd name="T87" fmla="*/ 75 h 802"/>
                <a:gd name="T88" fmla="*/ 671 w 826"/>
                <a:gd name="T89" fmla="*/ 40 h 802"/>
                <a:gd name="T90" fmla="*/ 618 w 826"/>
                <a:gd name="T91" fmla="*/ 101 h 802"/>
                <a:gd name="T92" fmla="*/ 636 w 826"/>
                <a:gd name="T93" fmla="*/ 196 h 802"/>
                <a:gd name="T94" fmla="*/ 726 w 826"/>
                <a:gd name="T95" fmla="*/ 191 h 802"/>
                <a:gd name="T96" fmla="*/ 739 w 826"/>
                <a:gd name="T97" fmla="*/ 255 h 802"/>
                <a:gd name="T98" fmla="*/ 599 w 826"/>
                <a:gd name="T99" fmla="*/ 283 h 802"/>
                <a:gd name="T100" fmla="*/ 297 w 826"/>
                <a:gd name="T101" fmla="*/ 568 h 802"/>
                <a:gd name="T102" fmla="*/ 714 w 826"/>
                <a:gd name="T103" fmla="*/ 755 h 802"/>
                <a:gd name="T104" fmla="*/ 611 w 826"/>
                <a:gd name="T105" fmla="*/ 549 h 802"/>
                <a:gd name="T106" fmla="*/ 776 w 826"/>
                <a:gd name="T107" fmla="*/ 729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26" h="802">
                  <a:moveTo>
                    <a:pt x="791" y="677"/>
                  </a:moveTo>
                  <a:cubicBezTo>
                    <a:pt x="637" y="523"/>
                    <a:pt x="637" y="523"/>
                    <a:pt x="637" y="523"/>
                  </a:cubicBezTo>
                  <a:cubicBezTo>
                    <a:pt x="663" y="498"/>
                    <a:pt x="663" y="498"/>
                    <a:pt x="663" y="498"/>
                  </a:cubicBezTo>
                  <a:cubicBezTo>
                    <a:pt x="670" y="490"/>
                    <a:pt x="670" y="479"/>
                    <a:pt x="663" y="472"/>
                  </a:cubicBezTo>
                  <a:cubicBezTo>
                    <a:pt x="656" y="465"/>
                    <a:pt x="644" y="465"/>
                    <a:pt x="637" y="472"/>
                  </a:cubicBezTo>
                  <a:cubicBezTo>
                    <a:pt x="573" y="536"/>
                    <a:pt x="573" y="536"/>
                    <a:pt x="573" y="536"/>
                  </a:cubicBezTo>
                  <a:cubicBezTo>
                    <a:pt x="477" y="440"/>
                    <a:pt x="477" y="440"/>
                    <a:pt x="477" y="440"/>
                  </a:cubicBezTo>
                  <a:cubicBezTo>
                    <a:pt x="597" y="320"/>
                    <a:pt x="597" y="320"/>
                    <a:pt x="597" y="320"/>
                  </a:cubicBezTo>
                  <a:cubicBezTo>
                    <a:pt x="614" y="326"/>
                    <a:pt x="631" y="329"/>
                    <a:pt x="649" y="329"/>
                  </a:cubicBezTo>
                  <a:cubicBezTo>
                    <a:pt x="693" y="329"/>
                    <a:pt x="734" y="312"/>
                    <a:pt x="765" y="281"/>
                  </a:cubicBezTo>
                  <a:cubicBezTo>
                    <a:pt x="812" y="234"/>
                    <a:pt x="826" y="163"/>
                    <a:pt x="800" y="102"/>
                  </a:cubicBezTo>
                  <a:cubicBezTo>
                    <a:pt x="797" y="96"/>
                    <a:pt x="792" y="92"/>
                    <a:pt x="786" y="91"/>
                  </a:cubicBezTo>
                  <a:cubicBezTo>
                    <a:pt x="780" y="90"/>
                    <a:pt x="774" y="92"/>
                    <a:pt x="770" y="96"/>
                  </a:cubicBezTo>
                  <a:cubicBezTo>
                    <a:pt x="706" y="160"/>
                    <a:pt x="706" y="160"/>
                    <a:pt x="706" y="160"/>
                  </a:cubicBezTo>
                  <a:cubicBezTo>
                    <a:pt x="654" y="160"/>
                    <a:pt x="654" y="160"/>
                    <a:pt x="654" y="160"/>
                  </a:cubicBezTo>
                  <a:cubicBezTo>
                    <a:pt x="654" y="109"/>
                    <a:pt x="654" y="109"/>
                    <a:pt x="654" y="109"/>
                  </a:cubicBezTo>
                  <a:cubicBezTo>
                    <a:pt x="719" y="44"/>
                    <a:pt x="719" y="44"/>
                    <a:pt x="719" y="44"/>
                  </a:cubicBezTo>
                  <a:cubicBezTo>
                    <a:pt x="723" y="40"/>
                    <a:pt x="725" y="34"/>
                    <a:pt x="724" y="28"/>
                  </a:cubicBezTo>
                  <a:cubicBezTo>
                    <a:pt x="722" y="22"/>
                    <a:pt x="718" y="17"/>
                    <a:pt x="713" y="15"/>
                  </a:cubicBezTo>
                  <a:cubicBezTo>
                    <a:pt x="692" y="6"/>
                    <a:pt x="671" y="2"/>
                    <a:pt x="649" y="2"/>
                  </a:cubicBezTo>
                  <a:cubicBezTo>
                    <a:pt x="605" y="2"/>
                    <a:pt x="564" y="19"/>
                    <a:pt x="533" y="50"/>
                  </a:cubicBezTo>
                  <a:cubicBezTo>
                    <a:pt x="489" y="94"/>
                    <a:pt x="474" y="159"/>
                    <a:pt x="494" y="218"/>
                  </a:cubicBezTo>
                  <a:cubicBezTo>
                    <a:pt x="374" y="337"/>
                    <a:pt x="374" y="337"/>
                    <a:pt x="374" y="337"/>
                  </a:cubicBezTo>
                  <a:cubicBezTo>
                    <a:pt x="185" y="148"/>
                    <a:pt x="185" y="148"/>
                    <a:pt x="185" y="148"/>
                  </a:cubicBezTo>
                  <a:cubicBezTo>
                    <a:pt x="198" y="136"/>
                    <a:pt x="198" y="136"/>
                    <a:pt x="198" y="136"/>
                  </a:cubicBezTo>
                  <a:cubicBezTo>
                    <a:pt x="201" y="132"/>
                    <a:pt x="203" y="128"/>
                    <a:pt x="203" y="123"/>
                  </a:cubicBezTo>
                  <a:cubicBezTo>
                    <a:pt x="203" y="118"/>
                    <a:pt x="201" y="113"/>
                    <a:pt x="198" y="110"/>
                  </a:cubicBezTo>
                  <a:cubicBezTo>
                    <a:pt x="95" y="7"/>
                    <a:pt x="95" y="7"/>
                    <a:pt x="95" y="7"/>
                  </a:cubicBezTo>
                  <a:cubicBezTo>
                    <a:pt x="88" y="0"/>
                    <a:pt x="77" y="0"/>
                    <a:pt x="70" y="7"/>
                  </a:cubicBezTo>
                  <a:cubicBezTo>
                    <a:pt x="18" y="58"/>
                    <a:pt x="18" y="58"/>
                    <a:pt x="18" y="58"/>
                  </a:cubicBezTo>
                  <a:cubicBezTo>
                    <a:pt x="15" y="62"/>
                    <a:pt x="13" y="66"/>
                    <a:pt x="13" y="71"/>
                  </a:cubicBezTo>
                  <a:cubicBezTo>
                    <a:pt x="13" y="76"/>
                    <a:pt x="15" y="81"/>
                    <a:pt x="18" y="84"/>
                  </a:cubicBezTo>
                  <a:cubicBezTo>
                    <a:pt x="121" y="187"/>
                    <a:pt x="121" y="187"/>
                    <a:pt x="121" y="187"/>
                  </a:cubicBezTo>
                  <a:cubicBezTo>
                    <a:pt x="124" y="191"/>
                    <a:pt x="129" y="192"/>
                    <a:pt x="134" y="192"/>
                  </a:cubicBezTo>
                  <a:cubicBezTo>
                    <a:pt x="138" y="192"/>
                    <a:pt x="143" y="191"/>
                    <a:pt x="147" y="187"/>
                  </a:cubicBezTo>
                  <a:cubicBezTo>
                    <a:pt x="160" y="174"/>
                    <a:pt x="160" y="174"/>
                    <a:pt x="160" y="174"/>
                  </a:cubicBezTo>
                  <a:cubicBezTo>
                    <a:pt x="348" y="363"/>
                    <a:pt x="348" y="363"/>
                    <a:pt x="348" y="363"/>
                  </a:cubicBezTo>
                  <a:cubicBezTo>
                    <a:pt x="228" y="483"/>
                    <a:pt x="228" y="483"/>
                    <a:pt x="228" y="483"/>
                  </a:cubicBezTo>
                  <a:cubicBezTo>
                    <a:pt x="212" y="477"/>
                    <a:pt x="194" y="475"/>
                    <a:pt x="176" y="475"/>
                  </a:cubicBezTo>
                  <a:cubicBezTo>
                    <a:pt x="133" y="475"/>
                    <a:pt x="91" y="492"/>
                    <a:pt x="61" y="522"/>
                  </a:cubicBezTo>
                  <a:cubicBezTo>
                    <a:pt x="13" y="570"/>
                    <a:pt x="0" y="640"/>
                    <a:pt x="26" y="702"/>
                  </a:cubicBezTo>
                  <a:cubicBezTo>
                    <a:pt x="28" y="707"/>
                    <a:pt x="33" y="711"/>
                    <a:pt x="39" y="713"/>
                  </a:cubicBezTo>
                  <a:cubicBezTo>
                    <a:pt x="45" y="714"/>
                    <a:pt x="51" y="712"/>
                    <a:pt x="55" y="708"/>
                  </a:cubicBezTo>
                  <a:cubicBezTo>
                    <a:pt x="120" y="643"/>
                    <a:pt x="120" y="643"/>
                    <a:pt x="120" y="643"/>
                  </a:cubicBezTo>
                  <a:cubicBezTo>
                    <a:pt x="171" y="643"/>
                    <a:pt x="171" y="643"/>
                    <a:pt x="171" y="643"/>
                  </a:cubicBezTo>
                  <a:cubicBezTo>
                    <a:pt x="171" y="695"/>
                    <a:pt x="171" y="695"/>
                    <a:pt x="171" y="695"/>
                  </a:cubicBezTo>
                  <a:cubicBezTo>
                    <a:pt x="107" y="759"/>
                    <a:pt x="107" y="759"/>
                    <a:pt x="107" y="759"/>
                  </a:cubicBezTo>
                  <a:cubicBezTo>
                    <a:pt x="102" y="763"/>
                    <a:pt x="101" y="769"/>
                    <a:pt x="102" y="775"/>
                  </a:cubicBezTo>
                  <a:cubicBezTo>
                    <a:pt x="103" y="781"/>
                    <a:pt x="107" y="786"/>
                    <a:pt x="113" y="789"/>
                  </a:cubicBezTo>
                  <a:cubicBezTo>
                    <a:pt x="133" y="797"/>
                    <a:pt x="154" y="802"/>
                    <a:pt x="176" y="802"/>
                  </a:cubicBezTo>
                  <a:cubicBezTo>
                    <a:pt x="220" y="802"/>
                    <a:pt x="261" y="785"/>
                    <a:pt x="292" y="754"/>
                  </a:cubicBezTo>
                  <a:cubicBezTo>
                    <a:pt x="336" y="709"/>
                    <a:pt x="351" y="645"/>
                    <a:pt x="331" y="586"/>
                  </a:cubicBezTo>
                  <a:cubicBezTo>
                    <a:pt x="451" y="466"/>
                    <a:pt x="451" y="466"/>
                    <a:pt x="451" y="466"/>
                  </a:cubicBezTo>
                  <a:cubicBezTo>
                    <a:pt x="547" y="562"/>
                    <a:pt x="547" y="562"/>
                    <a:pt x="547" y="562"/>
                  </a:cubicBezTo>
                  <a:cubicBezTo>
                    <a:pt x="483" y="626"/>
                    <a:pt x="483" y="626"/>
                    <a:pt x="483" y="626"/>
                  </a:cubicBezTo>
                  <a:cubicBezTo>
                    <a:pt x="476" y="633"/>
                    <a:pt x="476" y="645"/>
                    <a:pt x="483" y="652"/>
                  </a:cubicBezTo>
                  <a:cubicBezTo>
                    <a:pt x="486" y="655"/>
                    <a:pt x="491" y="657"/>
                    <a:pt x="496" y="657"/>
                  </a:cubicBezTo>
                  <a:cubicBezTo>
                    <a:pt x="500" y="657"/>
                    <a:pt x="505" y="655"/>
                    <a:pt x="509" y="652"/>
                  </a:cubicBezTo>
                  <a:cubicBezTo>
                    <a:pt x="534" y="626"/>
                    <a:pt x="534" y="626"/>
                    <a:pt x="534" y="626"/>
                  </a:cubicBezTo>
                  <a:cubicBezTo>
                    <a:pt x="689" y="780"/>
                    <a:pt x="689" y="780"/>
                    <a:pt x="689" y="780"/>
                  </a:cubicBezTo>
                  <a:cubicBezTo>
                    <a:pt x="702" y="794"/>
                    <a:pt x="721" y="802"/>
                    <a:pt x="740" y="802"/>
                  </a:cubicBezTo>
                  <a:cubicBezTo>
                    <a:pt x="759" y="802"/>
                    <a:pt x="778" y="794"/>
                    <a:pt x="791" y="780"/>
                  </a:cubicBezTo>
                  <a:cubicBezTo>
                    <a:pt x="805" y="767"/>
                    <a:pt x="813" y="748"/>
                    <a:pt x="813" y="729"/>
                  </a:cubicBezTo>
                  <a:cubicBezTo>
                    <a:pt x="813" y="709"/>
                    <a:pt x="805" y="691"/>
                    <a:pt x="791" y="677"/>
                  </a:cubicBezTo>
                  <a:close/>
                  <a:moveTo>
                    <a:pt x="134" y="148"/>
                  </a:moveTo>
                  <a:cubicBezTo>
                    <a:pt x="57" y="71"/>
                    <a:pt x="57" y="71"/>
                    <a:pt x="57" y="71"/>
                  </a:cubicBezTo>
                  <a:cubicBezTo>
                    <a:pt x="82" y="46"/>
                    <a:pt x="82" y="46"/>
                    <a:pt x="82" y="46"/>
                  </a:cubicBezTo>
                  <a:cubicBezTo>
                    <a:pt x="160" y="123"/>
                    <a:pt x="160" y="123"/>
                    <a:pt x="160" y="123"/>
                  </a:cubicBezTo>
                  <a:lnTo>
                    <a:pt x="134" y="148"/>
                  </a:lnTo>
                  <a:close/>
                  <a:moveTo>
                    <a:pt x="297" y="568"/>
                  </a:moveTo>
                  <a:cubicBezTo>
                    <a:pt x="292" y="574"/>
                    <a:pt x="291" y="582"/>
                    <a:pt x="293" y="588"/>
                  </a:cubicBezTo>
                  <a:cubicBezTo>
                    <a:pt x="314" y="636"/>
                    <a:pt x="303" y="691"/>
                    <a:pt x="266" y="728"/>
                  </a:cubicBezTo>
                  <a:cubicBezTo>
                    <a:pt x="242" y="752"/>
                    <a:pt x="210" y="765"/>
                    <a:pt x="176" y="765"/>
                  </a:cubicBezTo>
                  <a:cubicBezTo>
                    <a:pt x="169" y="765"/>
                    <a:pt x="161" y="765"/>
                    <a:pt x="154" y="763"/>
                  </a:cubicBezTo>
                  <a:cubicBezTo>
                    <a:pt x="202" y="715"/>
                    <a:pt x="202" y="715"/>
                    <a:pt x="202" y="715"/>
                  </a:cubicBezTo>
                  <a:cubicBezTo>
                    <a:pt x="205" y="712"/>
                    <a:pt x="207" y="707"/>
                    <a:pt x="207" y="702"/>
                  </a:cubicBezTo>
                  <a:cubicBezTo>
                    <a:pt x="207" y="625"/>
                    <a:pt x="207" y="625"/>
                    <a:pt x="207" y="625"/>
                  </a:cubicBezTo>
                  <a:cubicBezTo>
                    <a:pt x="207" y="615"/>
                    <a:pt x="199" y="607"/>
                    <a:pt x="189" y="607"/>
                  </a:cubicBezTo>
                  <a:cubicBezTo>
                    <a:pt x="112" y="607"/>
                    <a:pt x="112" y="607"/>
                    <a:pt x="112" y="607"/>
                  </a:cubicBezTo>
                  <a:cubicBezTo>
                    <a:pt x="107" y="607"/>
                    <a:pt x="103" y="609"/>
                    <a:pt x="99" y="612"/>
                  </a:cubicBezTo>
                  <a:cubicBezTo>
                    <a:pt x="51" y="661"/>
                    <a:pt x="51" y="661"/>
                    <a:pt x="51" y="661"/>
                  </a:cubicBezTo>
                  <a:cubicBezTo>
                    <a:pt x="44" y="620"/>
                    <a:pt x="56" y="578"/>
                    <a:pt x="86" y="548"/>
                  </a:cubicBezTo>
                  <a:cubicBezTo>
                    <a:pt x="110" y="524"/>
                    <a:pt x="142" y="511"/>
                    <a:pt x="176" y="511"/>
                  </a:cubicBezTo>
                  <a:cubicBezTo>
                    <a:pt x="193" y="511"/>
                    <a:pt x="210" y="514"/>
                    <a:pt x="226" y="521"/>
                  </a:cubicBezTo>
                  <a:cubicBezTo>
                    <a:pt x="233" y="524"/>
                    <a:pt x="241" y="522"/>
                    <a:pt x="246" y="517"/>
                  </a:cubicBezTo>
                  <a:cubicBezTo>
                    <a:pt x="528" y="235"/>
                    <a:pt x="528" y="235"/>
                    <a:pt x="528" y="235"/>
                  </a:cubicBezTo>
                  <a:cubicBezTo>
                    <a:pt x="533" y="230"/>
                    <a:pt x="535" y="222"/>
                    <a:pt x="532" y="215"/>
                  </a:cubicBezTo>
                  <a:cubicBezTo>
                    <a:pt x="512" y="167"/>
                    <a:pt x="522" y="112"/>
                    <a:pt x="559" y="75"/>
                  </a:cubicBezTo>
                  <a:cubicBezTo>
                    <a:pt x="583" y="51"/>
                    <a:pt x="615" y="38"/>
                    <a:pt x="649" y="38"/>
                  </a:cubicBezTo>
                  <a:cubicBezTo>
                    <a:pt x="657" y="38"/>
                    <a:pt x="664" y="39"/>
                    <a:pt x="671" y="40"/>
                  </a:cubicBezTo>
                  <a:cubicBezTo>
                    <a:pt x="623" y="88"/>
                    <a:pt x="623" y="88"/>
                    <a:pt x="623" y="88"/>
                  </a:cubicBezTo>
                  <a:cubicBezTo>
                    <a:pt x="620" y="92"/>
                    <a:pt x="618" y="96"/>
                    <a:pt x="618" y="101"/>
                  </a:cubicBezTo>
                  <a:cubicBezTo>
                    <a:pt x="618" y="178"/>
                    <a:pt x="618" y="178"/>
                    <a:pt x="618" y="178"/>
                  </a:cubicBezTo>
                  <a:cubicBezTo>
                    <a:pt x="618" y="188"/>
                    <a:pt x="626" y="196"/>
                    <a:pt x="636" y="196"/>
                  </a:cubicBezTo>
                  <a:cubicBezTo>
                    <a:pt x="713" y="196"/>
                    <a:pt x="713" y="196"/>
                    <a:pt x="713" y="196"/>
                  </a:cubicBezTo>
                  <a:cubicBezTo>
                    <a:pt x="718" y="196"/>
                    <a:pt x="723" y="195"/>
                    <a:pt x="726" y="191"/>
                  </a:cubicBezTo>
                  <a:cubicBezTo>
                    <a:pt x="774" y="143"/>
                    <a:pt x="774" y="143"/>
                    <a:pt x="774" y="143"/>
                  </a:cubicBezTo>
                  <a:cubicBezTo>
                    <a:pt x="782" y="183"/>
                    <a:pt x="769" y="225"/>
                    <a:pt x="739" y="255"/>
                  </a:cubicBezTo>
                  <a:cubicBezTo>
                    <a:pt x="715" y="279"/>
                    <a:pt x="683" y="293"/>
                    <a:pt x="649" y="293"/>
                  </a:cubicBezTo>
                  <a:cubicBezTo>
                    <a:pt x="632" y="293"/>
                    <a:pt x="615" y="289"/>
                    <a:pt x="599" y="283"/>
                  </a:cubicBezTo>
                  <a:cubicBezTo>
                    <a:pt x="593" y="280"/>
                    <a:pt x="585" y="281"/>
                    <a:pt x="579" y="286"/>
                  </a:cubicBezTo>
                  <a:lnTo>
                    <a:pt x="297" y="568"/>
                  </a:lnTo>
                  <a:close/>
                  <a:moveTo>
                    <a:pt x="766" y="755"/>
                  </a:moveTo>
                  <a:cubicBezTo>
                    <a:pt x="752" y="768"/>
                    <a:pt x="728" y="768"/>
                    <a:pt x="714" y="755"/>
                  </a:cubicBezTo>
                  <a:cubicBezTo>
                    <a:pt x="560" y="600"/>
                    <a:pt x="560" y="600"/>
                    <a:pt x="560" y="600"/>
                  </a:cubicBezTo>
                  <a:cubicBezTo>
                    <a:pt x="611" y="549"/>
                    <a:pt x="611" y="549"/>
                    <a:pt x="611" y="549"/>
                  </a:cubicBezTo>
                  <a:cubicBezTo>
                    <a:pt x="766" y="703"/>
                    <a:pt x="766" y="703"/>
                    <a:pt x="766" y="703"/>
                  </a:cubicBezTo>
                  <a:cubicBezTo>
                    <a:pt x="773" y="710"/>
                    <a:pt x="776" y="719"/>
                    <a:pt x="776" y="729"/>
                  </a:cubicBezTo>
                  <a:cubicBezTo>
                    <a:pt x="776" y="739"/>
                    <a:pt x="773" y="748"/>
                    <a:pt x="766" y="75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494949"/>
                </a:solidFill>
                <a:effectLst/>
                <a:uLnTx/>
                <a:uFillTx/>
                <a:latin typeface="Calibri" panose="020F0502020204030204"/>
                <a:ea typeface="Arial" charset="0"/>
                <a:cs typeface="Arial" charset="0"/>
              </a:endParaRPr>
            </a:p>
          </p:txBody>
        </p:sp>
      </p:grpSp>
      <p:grpSp>
        <p:nvGrpSpPr>
          <p:cNvPr id="9" name="Grupo 8">
            <a:extLst>
              <a:ext uri="{FF2B5EF4-FFF2-40B4-BE49-F238E27FC236}">
                <a16:creationId xmlns:a16="http://schemas.microsoft.com/office/drawing/2014/main" id="{53DBE55B-08A8-07E4-F284-FF66384068AC}"/>
              </a:ext>
            </a:extLst>
          </p:cNvPr>
          <p:cNvGrpSpPr/>
          <p:nvPr/>
        </p:nvGrpSpPr>
        <p:grpSpPr>
          <a:xfrm>
            <a:off x="2180" y="2107136"/>
            <a:ext cx="8090296" cy="369332"/>
            <a:chOff x="-194461" y="920969"/>
            <a:chExt cx="8090296" cy="369332"/>
          </a:xfrm>
        </p:grpSpPr>
        <p:sp>
          <p:nvSpPr>
            <p:cNvPr id="10" name="Redondear rectángulo de esquina del mismo lado 270">
              <a:extLst>
                <a:ext uri="{FF2B5EF4-FFF2-40B4-BE49-F238E27FC236}">
                  <a16:creationId xmlns:a16="http://schemas.microsoft.com/office/drawing/2014/main" id="{D22D0773-83EB-2173-3AF7-029373A7C0F3}"/>
                </a:ext>
              </a:extLst>
            </p:cNvPr>
            <p:cNvSpPr/>
            <p:nvPr/>
          </p:nvSpPr>
          <p:spPr bwMode="auto">
            <a:xfrm rot="5400000">
              <a:off x="3310873" y="-2584365"/>
              <a:ext cx="369332" cy="7380000"/>
            </a:xfrm>
            <a:prstGeom prst="round2SameRect">
              <a:avLst>
                <a:gd name="adj1" fmla="val 46994"/>
                <a:gd name="adj2" fmla="val 0"/>
              </a:avLst>
            </a:prstGeom>
            <a:solidFill>
              <a:srgbClr val="C7F5F3"/>
            </a:solidFill>
            <a:ln>
              <a:noFill/>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494949"/>
                </a:solidFill>
                <a:effectLst/>
                <a:uLnTx/>
                <a:uFillTx/>
                <a:latin typeface="Calibri" panose="020F0502020204030204"/>
                <a:ea typeface="+mn-ea"/>
                <a:cs typeface="+mn-cs"/>
              </a:endParaRPr>
            </a:p>
          </p:txBody>
        </p:sp>
        <p:sp>
          <p:nvSpPr>
            <p:cNvPr id="11" name="Rectángulo 142">
              <a:extLst>
                <a:ext uri="{FF2B5EF4-FFF2-40B4-BE49-F238E27FC236}">
                  <a16:creationId xmlns:a16="http://schemas.microsoft.com/office/drawing/2014/main" id="{1E502D97-6059-F1D6-93F5-4CA53A4D2BD8}"/>
                </a:ext>
              </a:extLst>
            </p:cNvPr>
            <p:cNvSpPr/>
            <p:nvPr/>
          </p:nvSpPr>
          <p:spPr>
            <a:xfrm>
              <a:off x="515835" y="977326"/>
              <a:ext cx="7380000" cy="276999"/>
            </a:xfrm>
            <a:prstGeom prst="rect">
              <a:avLst/>
            </a:prstGeom>
          </p:spPr>
          <p:txBody>
            <a:bodyPr wrap="square">
              <a:spAutoFit/>
            </a:bodyPr>
            <a:lstStyle/>
            <a:p>
              <a:pPr lvl="0">
                <a:defRPr/>
              </a:pPr>
              <a:r>
                <a:rPr lang="en-GB" sz="1200" b="1" noProof="0">
                  <a:solidFill>
                    <a:prstClr val="black"/>
                  </a:solidFill>
                </a:rPr>
                <a:t>DATASPHERE EXPERT CHATBOT (CHATGPT)</a:t>
              </a:r>
              <a:endParaRPr kumimoji="0" lang="en-GB" sz="12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33">
              <a:extLst>
                <a:ext uri="{FF2B5EF4-FFF2-40B4-BE49-F238E27FC236}">
                  <a16:creationId xmlns:a16="http://schemas.microsoft.com/office/drawing/2014/main" id="{C6366B0A-64D2-A093-2721-7F4BFCE46B20}"/>
                </a:ext>
              </a:extLst>
            </p:cNvPr>
            <p:cNvSpPr>
              <a:spLocks noChangeAspect="1" noEditPoints="1"/>
            </p:cNvSpPr>
            <p:nvPr/>
          </p:nvSpPr>
          <p:spPr bwMode="auto">
            <a:xfrm>
              <a:off x="132627" y="992067"/>
              <a:ext cx="290614" cy="225123"/>
            </a:xfrm>
            <a:custGeom>
              <a:avLst/>
              <a:gdLst>
                <a:gd name="T0" fmla="*/ 637 w 826"/>
                <a:gd name="T1" fmla="*/ 523 h 802"/>
                <a:gd name="T2" fmla="*/ 663 w 826"/>
                <a:gd name="T3" fmla="*/ 472 h 802"/>
                <a:gd name="T4" fmla="*/ 573 w 826"/>
                <a:gd name="T5" fmla="*/ 536 h 802"/>
                <a:gd name="T6" fmla="*/ 597 w 826"/>
                <a:gd name="T7" fmla="*/ 320 h 802"/>
                <a:gd name="T8" fmla="*/ 765 w 826"/>
                <a:gd name="T9" fmla="*/ 281 h 802"/>
                <a:gd name="T10" fmla="*/ 786 w 826"/>
                <a:gd name="T11" fmla="*/ 91 h 802"/>
                <a:gd name="T12" fmla="*/ 706 w 826"/>
                <a:gd name="T13" fmla="*/ 160 h 802"/>
                <a:gd name="T14" fmla="*/ 654 w 826"/>
                <a:gd name="T15" fmla="*/ 109 h 802"/>
                <a:gd name="T16" fmla="*/ 724 w 826"/>
                <a:gd name="T17" fmla="*/ 28 h 802"/>
                <a:gd name="T18" fmla="*/ 649 w 826"/>
                <a:gd name="T19" fmla="*/ 2 h 802"/>
                <a:gd name="T20" fmla="*/ 494 w 826"/>
                <a:gd name="T21" fmla="*/ 218 h 802"/>
                <a:gd name="T22" fmla="*/ 185 w 826"/>
                <a:gd name="T23" fmla="*/ 148 h 802"/>
                <a:gd name="T24" fmla="*/ 203 w 826"/>
                <a:gd name="T25" fmla="*/ 123 h 802"/>
                <a:gd name="T26" fmla="*/ 95 w 826"/>
                <a:gd name="T27" fmla="*/ 7 h 802"/>
                <a:gd name="T28" fmla="*/ 18 w 826"/>
                <a:gd name="T29" fmla="*/ 58 h 802"/>
                <a:gd name="T30" fmla="*/ 18 w 826"/>
                <a:gd name="T31" fmla="*/ 84 h 802"/>
                <a:gd name="T32" fmla="*/ 134 w 826"/>
                <a:gd name="T33" fmla="*/ 192 h 802"/>
                <a:gd name="T34" fmla="*/ 160 w 826"/>
                <a:gd name="T35" fmla="*/ 174 h 802"/>
                <a:gd name="T36" fmla="*/ 228 w 826"/>
                <a:gd name="T37" fmla="*/ 483 h 802"/>
                <a:gd name="T38" fmla="*/ 61 w 826"/>
                <a:gd name="T39" fmla="*/ 522 h 802"/>
                <a:gd name="T40" fmla="*/ 39 w 826"/>
                <a:gd name="T41" fmla="*/ 713 h 802"/>
                <a:gd name="T42" fmla="*/ 120 w 826"/>
                <a:gd name="T43" fmla="*/ 643 h 802"/>
                <a:gd name="T44" fmla="*/ 171 w 826"/>
                <a:gd name="T45" fmla="*/ 695 h 802"/>
                <a:gd name="T46" fmla="*/ 102 w 826"/>
                <a:gd name="T47" fmla="*/ 775 h 802"/>
                <a:gd name="T48" fmla="*/ 176 w 826"/>
                <a:gd name="T49" fmla="*/ 802 h 802"/>
                <a:gd name="T50" fmla="*/ 331 w 826"/>
                <a:gd name="T51" fmla="*/ 586 h 802"/>
                <a:gd name="T52" fmla="*/ 547 w 826"/>
                <a:gd name="T53" fmla="*/ 562 h 802"/>
                <a:gd name="T54" fmla="*/ 483 w 826"/>
                <a:gd name="T55" fmla="*/ 652 h 802"/>
                <a:gd name="T56" fmla="*/ 509 w 826"/>
                <a:gd name="T57" fmla="*/ 652 h 802"/>
                <a:gd name="T58" fmla="*/ 689 w 826"/>
                <a:gd name="T59" fmla="*/ 780 h 802"/>
                <a:gd name="T60" fmla="*/ 791 w 826"/>
                <a:gd name="T61" fmla="*/ 780 h 802"/>
                <a:gd name="T62" fmla="*/ 791 w 826"/>
                <a:gd name="T63" fmla="*/ 677 h 802"/>
                <a:gd name="T64" fmla="*/ 57 w 826"/>
                <a:gd name="T65" fmla="*/ 71 h 802"/>
                <a:gd name="T66" fmla="*/ 160 w 826"/>
                <a:gd name="T67" fmla="*/ 123 h 802"/>
                <a:gd name="T68" fmla="*/ 297 w 826"/>
                <a:gd name="T69" fmla="*/ 568 h 802"/>
                <a:gd name="T70" fmla="*/ 266 w 826"/>
                <a:gd name="T71" fmla="*/ 728 h 802"/>
                <a:gd name="T72" fmla="*/ 154 w 826"/>
                <a:gd name="T73" fmla="*/ 763 h 802"/>
                <a:gd name="T74" fmla="*/ 207 w 826"/>
                <a:gd name="T75" fmla="*/ 702 h 802"/>
                <a:gd name="T76" fmla="*/ 189 w 826"/>
                <a:gd name="T77" fmla="*/ 607 h 802"/>
                <a:gd name="T78" fmla="*/ 99 w 826"/>
                <a:gd name="T79" fmla="*/ 612 h 802"/>
                <a:gd name="T80" fmla="*/ 86 w 826"/>
                <a:gd name="T81" fmla="*/ 548 h 802"/>
                <a:gd name="T82" fmla="*/ 226 w 826"/>
                <a:gd name="T83" fmla="*/ 521 h 802"/>
                <a:gd name="T84" fmla="*/ 528 w 826"/>
                <a:gd name="T85" fmla="*/ 235 h 802"/>
                <a:gd name="T86" fmla="*/ 559 w 826"/>
                <a:gd name="T87" fmla="*/ 75 h 802"/>
                <a:gd name="T88" fmla="*/ 671 w 826"/>
                <a:gd name="T89" fmla="*/ 40 h 802"/>
                <a:gd name="T90" fmla="*/ 618 w 826"/>
                <a:gd name="T91" fmla="*/ 101 h 802"/>
                <a:gd name="T92" fmla="*/ 636 w 826"/>
                <a:gd name="T93" fmla="*/ 196 h 802"/>
                <a:gd name="T94" fmla="*/ 726 w 826"/>
                <a:gd name="T95" fmla="*/ 191 h 802"/>
                <a:gd name="T96" fmla="*/ 739 w 826"/>
                <a:gd name="T97" fmla="*/ 255 h 802"/>
                <a:gd name="T98" fmla="*/ 599 w 826"/>
                <a:gd name="T99" fmla="*/ 283 h 802"/>
                <a:gd name="T100" fmla="*/ 297 w 826"/>
                <a:gd name="T101" fmla="*/ 568 h 802"/>
                <a:gd name="T102" fmla="*/ 714 w 826"/>
                <a:gd name="T103" fmla="*/ 755 h 802"/>
                <a:gd name="T104" fmla="*/ 611 w 826"/>
                <a:gd name="T105" fmla="*/ 549 h 802"/>
                <a:gd name="T106" fmla="*/ 776 w 826"/>
                <a:gd name="T107" fmla="*/ 729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26" h="802">
                  <a:moveTo>
                    <a:pt x="791" y="677"/>
                  </a:moveTo>
                  <a:cubicBezTo>
                    <a:pt x="637" y="523"/>
                    <a:pt x="637" y="523"/>
                    <a:pt x="637" y="523"/>
                  </a:cubicBezTo>
                  <a:cubicBezTo>
                    <a:pt x="663" y="498"/>
                    <a:pt x="663" y="498"/>
                    <a:pt x="663" y="498"/>
                  </a:cubicBezTo>
                  <a:cubicBezTo>
                    <a:pt x="670" y="490"/>
                    <a:pt x="670" y="479"/>
                    <a:pt x="663" y="472"/>
                  </a:cubicBezTo>
                  <a:cubicBezTo>
                    <a:pt x="656" y="465"/>
                    <a:pt x="644" y="465"/>
                    <a:pt x="637" y="472"/>
                  </a:cubicBezTo>
                  <a:cubicBezTo>
                    <a:pt x="573" y="536"/>
                    <a:pt x="573" y="536"/>
                    <a:pt x="573" y="536"/>
                  </a:cubicBezTo>
                  <a:cubicBezTo>
                    <a:pt x="477" y="440"/>
                    <a:pt x="477" y="440"/>
                    <a:pt x="477" y="440"/>
                  </a:cubicBezTo>
                  <a:cubicBezTo>
                    <a:pt x="597" y="320"/>
                    <a:pt x="597" y="320"/>
                    <a:pt x="597" y="320"/>
                  </a:cubicBezTo>
                  <a:cubicBezTo>
                    <a:pt x="614" y="326"/>
                    <a:pt x="631" y="329"/>
                    <a:pt x="649" y="329"/>
                  </a:cubicBezTo>
                  <a:cubicBezTo>
                    <a:pt x="693" y="329"/>
                    <a:pt x="734" y="312"/>
                    <a:pt x="765" y="281"/>
                  </a:cubicBezTo>
                  <a:cubicBezTo>
                    <a:pt x="812" y="234"/>
                    <a:pt x="826" y="163"/>
                    <a:pt x="800" y="102"/>
                  </a:cubicBezTo>
                  <a:cubicBezTo>
                    <a:pt x="797" y="96"/>
                    <a:pt x="792" y="92"/>
                    <a:pt x="786" y="91"/>
                  </a:cubicBezTo>
                  <a:cubicBezTo>
                    <a:pt x="780" y="90"/>
                    <a:pt x="774" y="92"/>
                    <a:pt x="770" y="96"/>
                  </a:cubicBezTo>
                  <a:cubicBezTo>
                    <a:pt x="706" y="160"/>
                    <a:pt x="706" y="160"/>
                    <a:pt x="706" y="160"/>
                  </a:cubicBezTo>
                  <a:cubicBezTo>
                    <a:pt x="654" y="160"/>
                    <a:pt x="654" y="160"/>
                    <a:pt x="654" y="160"/>
                  </a:cubicBezTo>
                  <a:cubicBezTo>
                    <a:pt x="654" y="109"/>
                    <a:pt x="654" y="109"/>
                    <a:pt x="654" y="109"/>
                  </a:cubicBezTo>
                  <a:cubicBezTo>
                    <a:pt x="719" y="44"/>
                    <a:pt x="719" y="44"/>
                    <a:pt x="719" y="44"/>
                  </a:cubicBezTo>
                  <a:cubicBezTo>
                    <a:pt x="723" y="40"/>
                    <a:pt x="725" y="34"/>
                    <a:pt x="724" y="28"/>
                  </a:cubicBezTo>
                  <a:cubicBezTo>
                    <a:pt x="722" y="22"/>
                    <a:pt x="718" y="17"/>
                    <a:pt x="713" y="15"/>
                  </a:cubicBezTo>
                  <a:cubicBezTo>
                    <a:pt x="692" y="6"/>
                    <a:pt x="671" y="2"/>
                    <a:pt x="649" y="2"/>
                  </a:cubicBezTo>
                  <a:cubicBezTo>
                    <a:pt x="605" y="2"/>
                    <a:pt x="564" y="19"/>
                    <a:pt x="533" y="50"/>
                  </a:cubicBezTo>
                  <a:cubicBezTo>
                    <a:pt x="489" y="94"/>
                    <a:pt x="474" y="159"/>
                    <a:pt x="494" y="218"/>
                  </a:cubicBezTo>
                  <a:cubicBezTo>
                    <a:pt x="374" y="337"/>
                    <a:pt x="374" y="337"/>
                    <a:pt x="374" y="337"/>
                  </a:cubicBezTo>
                  <a:cubicBezTo>
                    <a:pt x="185" y="148"/>
                    <a:pt x="185" y="148"/>
                    <a:pt x="185" y="148"/>
                  </a:cubicBezTo>
                  <a:cubicBezTo>
                    <a:pt x="198" y="136"/>
                    <a:pt x="198" y="136"/>
                    <a:pt x="198" y="136"/>
                  </a:cubicBezTo>
                  <a:cubicBezTo>
                    <a:pt x="201" y="132"/>
                    <a:pt x="203" y="128"/>
                    <a:pt x="203" y="123"/>
                  </a:cubicBezTo>
                  <a:cubicBezTo>
                    <a:pt x="203" y="118"/>
                    <a:pt x="201" y="113"/>
                    <a:pt x="198" y="110"/>
                  </a:cubicBezTo>
                  <a:cubicBezTo>
                    <a:pt x="95" y="7"/>
                    <a:pt x="95" y="7"/>
                    <a:pt x="95" y="7"/>
                  </a:cubicBezTo>
                  <a:cubicBezTo>
                    <a:pt x="88" y="0"/>
                    <a:pt x="77" y="0"/>
                    <a:pt x="70" y="7"/>
                  </a:cubicBezTo>
                  <a:cubicBezTo>
                    <a:pt x="18" y="58"/>
                    <a:pt x="18" y="58"/>
                    <a:pt x="18" y="58"/>
                  </a:cubicBezTo>
                  <a:cubicBezTo>
                    <a:pt x="15" y="62"/>
                    <a:pt x="13" y="66"/>
                    <a:pt x="13" y="71"/>
                  </a:cubicBezTo>
                  <a:cubicBezTo>
                    <a:pt x="13" y="76"/>
                    <a:pt x="15" y="81"/>
                    <a:pt x="18" y="84"/>
                  </a:cubicBezTo>
                  <a:cubicBezTo>
                    <a:pt x="121" y="187"/>
                    <a:pt x="121" y="187"/>
                    <a:pt x="121" y="187"/>
                  </a:cubicBezTo>
                  <a:cubicBezTo>
                    <a:pt x="124" y="191"/>
                    <a:pt x="129" y="192"/>
                    <a:pt x="134" y="192"/>
                  </a:cubicBezTo>
                  <a:cubicBezTo>
                    <a:pt x="138" y="192"/>
                    <a:pt x="143" y="191"/>
                    <a:pt x="147" y="187"/>
                  </a:cubicBezTo>
                  <a:cubicBezTo>
                    <a:pt x="160" y="174"/>
                    <a:pt x="160" y="174"/>
                    <a:pt x="160" y="174"/>
                  </a:cubicBezTo>
                  <a:cubicBezTo>
                    <a:pt x="348" y="363"/>
                    <a:pt x="348" y="363"/>
                    <a:pt x="348" y="363"/>
                  </a:cubicBezTo>
                  <a:cubicBezTo>
                    <a:pt x="228" y="483"/>
                    <a:pt x="228" y="483"/>
                    <a:pt x="228" y="483"/>
                  </a:cubicBezTo>
                  <a:cubicBezTo>
                    <a:pt x="212" y="477"/>
                    <a:pt x="194" y="475"/>
                    <a:pt x="176" y="475"/>
                  </a:cubicBezTo>
                  <a:cubicBezTo>
                    <a:pt x="133" y="475"/>
                    <a:pt x="91" y="492"/>
                    <a:pt x="61" y="522"/>
                  </a:cubicBezTo>
                  <a:cubicBezTo>
                    <a:pt x="13" y="570"/>
                    <a:pt x="0" y="640"/>
                    <a:pt x="26" y="702"/>
                  </a:cubicBezTo>
                  <a:cubicBezTo>
                    <a:pt x="28" y="707"/>
                    <a:pt x="33" y="711"/>
                    <a:pt x="39" y="713"/>
                  </a:cubicBezTo>
                  <a:cubicBezTo>
                    <a:pt x="45" y="714"/>
                    <a:pt x="51" y="712"/>
                    <a:pt x="55" y="708"/>
                  </a:cubicBezTo>
                  <a:cubicBezTo>
                    <a:pt x="120" y="643"/>
                    <a:pt x="120" y="643"/>
                    <a:pt x="120" y="643"/>
                  </a:cubicBezTo>
                  <a:cubicBezTo>
                    <a:pt x="171" y="643"/>
                    <a:pt x="171" y="643"/>
                    <a:pt x="171" y="643"/>
                  </a:cubicBezTo>
                  <a:cubicBezTo>
                    <a:pt x="171" y="695"/>
                    <a:pt x="171" y="695"/>
                    <a:pt x="171" y="695"/>
                  </a:cubicBezTo>
                  <a:cubicBezTo>
                    <a:pt x="107" y="759"/>
                    <a:pt x="107" y="759"/>
                    <a:pt x="107" y="759"/>
                  </a:cubicBezTo>
                  <a:cubicBezTo>
                    <a:pt x="102" y="763"/>
                    <a:pt x="101" y="769"/>
                    <a:pt x="102" y="775"/>
                  </a:cubicBezTo>
                  <a:cubicBezTo>
                    <a:pt x="103" y="781"/>
                    <a:pt x="107" y="786"/>
                    <a:pt x="113" y="789"/>
                  </a:cubicBezTo>
                  <a:cubicBezTo>
                    <a:pt x="133" y="797"/>
                    <a:pt x="154" y="802"/>
                    <a:pt x="176" y="802"/>
                  </a:cubicBezTo>
                  <a:cubicBezTo>
                    <a:pt x="220" y="802"/>
                    <a:pt x="261" y="785"/>
                    <a:pt x="292" y="754"/>
                  </a:cubicBezTo>
                  <a:cubicBezTo>
                    <a:pt x="336" y="709"/>
                    <a:pt x="351" y="645"/>
                    <a:pt x="331" y="586"/>
                  </a:cubicBezTo>
                  <a:cubicBezTo>
                    <a:pt x="451" y="466"/>
                    <a:pt x="451" y="466"/>
                    <a:pt x="451" y="466"/>
                  </a:cubicBezTo>
                  <a:cubicBezTo>
                    <a:pt x="547" y="562"/>
                    <a:pt x="547" y="562"/>
                    <a:pt x="547" y="562"/>
                  </a:cubicBezTo>
                  <a:cubicBezTo>
                    <a:pt x="483" y="626"/>
                    <a:pt x="483" y="626"/>
                    <a:pt x="483" y="626"/>
                  </a:cubicBezTo>
                  <a:cubicBezTo>
                    <a:pt x="476" y="633"/>
                    <a:pt x="476" y="645"/>
                    <a:pt x="483" y="652"/>
                  </a:cubicBezTo>
                  <a:cubicBezTo>
                    <a:pt x="486" y="655"/>
                    <a:pt x="491" y="657"/>
                    <a:pt x="496" y="657"/>
                  </a:cubicBezTo>
                  <a:cubicBezTo>
                    <a:pt x="500" y="657"/>
                    <a:pt x="505" y="655"/>
                    <a:pt x="509" y="652"/>
                  </a:cubicBezTo>
                  <a:cubicBezTo>
                    <a:pt x="534" y="626"/>
                    <a:pt x="534" y="626"/>
                    <a:pt x="534" y="626"/>
                  </a:cubicBezTo>
                  <a:cubicBezTo>
                    <a:pt x="689" y="780"/>
                    <a:pt x="689" y="780"/>
                    <a:pt x="689" y="780"/>
                  </a:cubicBezTo>
                  <a:cubicBezTo>
                    <a:pt x="702" y="794"/>
                    <a:pt x="721" y="802"/>
                    <a:pt x="740" y="802"/>
                  </a:cubicBezTo>
                  <a:cubicBezTo>
                    <a:pt x="759" y="802"/>
                    <a:pt x="778" y="794"/>
                    <a:pt x="791" y="780"/>
                  </a:cubicBezTo>
                  <a:cubicBezTo>
                    <a:pt x="805" y="767"/>
                    <a:pt x="813" y="748"/>
                    <a:pt x="813" y="729"/>
                  </a:cubicBezTo>
                  <a:cubicBezTo>
                    <a:pt x="813" y="709"/>
                    <a:pt x="805" y="691"/>
                    <a:pt x="791" y="677"/>
                  </a:cubicBezTo>
                  <a:close/>
                  <a:moveTo>
                    <a:pt x="134" y="148"/>
                  </a:moveTo>
                  <a:cubicBezTo>
                    <a:pt x="57" y="71"/>
                    <a:pt x="57" y="71"/>
                    <a:pt x="57" y="71"/>
                  </a:cubicBezTo>
                  <a:cubicBezTo>
                    <a:pt x="82" y="46"/>
                    <a:pt x="82" y="46"/>
                    <a:pt x="82" y="46"/>
                  </a:cubicBezTo>
                  <a:cubicBezTo>
                    <a:pt x="160" y="123"/>
                    <a:pt x="160" y="123"/>
                    <a:pt x="160" y="123"/>
                  </a:cubicBezTo>
                  <a:lnTo>
                    <a:pt x="134" y="148"/>
                  </a:lnTo>
                  <a:close/>
                  <a:moveTo>
                    <a:pt x="297" y="568"/>
                  </a:moveTo>
                  <a:cubicBezTo>
                    <a:pt x="292" y="574"/>
                    <a:pt x="291" y="582"/>
                    <a:pt x="293" y="588"/>
                  </a:cubicBezTo>
                  <a:cubicBezTo>
                    <a:pt x="314" y="636"/>
                    <a:pt x="303" y="691"/>
                    <a:pt x="266" y="728"/>
                  </a:cubicBezTo>
                  <a:cubicBezTo>
                    <a:pt x="242" y="752"/>
                    <a:pt x="210" y="765"/>
                    <a:pt x="176" y="765"/>
                  </a:cubicBezTo>
                  <a:cubicBezTo>
                    <a:pt x="169" y="765"/>
                    <a:pt x="161" y="765"/>
                    <a:pt x="154" y="763"/>
                  </a:cubicBezTo>
                  <a:cubicBezTo>
                    <a:pt x="202" y="715"/>
                    <a:pt x="202" y="715"/>
                    <a:pt x="202" y="715"/>
                  </a:cubicBezTo>
                  <a:cubicBezTo>
                    <a:pt x="205" y="712"/>
                    <a:pt x="207" y="707"/>
                    <a:pt x="207" y="702"/>
                  </a:cubicBezTo>
                  <a:cubicBezTo>
                    <a:pt x="207" y="625"/>
                    <a:pt x="207" y="625"/>
                    <a:pt x="207" y="625"/>
                  </a:cubicBezTo>
                  <a:cubicBezTo>
                    <a:pt x="207" y="615"/>
                    <a:pt x="199" y="607"/>
                    <a:pt x="189" y="607"/>
                  </a:cubicBezTo>
                  <a:cubicBezTo>
                    <a:pt x="112" y="607"/>
                    <a:pt x="112" y="607"/>
                    <a:pt x="112" y="607"/>
                  </a:cubicBezTo>
                  <a:cubicBezTo>
                    <a:pt x="107" y="607"/>
                    <a:pt x="103" y="609"/>
                    <a:pt x="99" y="612"/>
                  </a:cubicBezTo>
                  <a:cubicBezTo>
                    <a:pt x="51" y="661"/>
                    <a:pt x="51" y="661"/>
                    <a:pt x="51" y="661"/>
                  </a:cubicBezTo>
                  <a:cubicBezTo>
                    <a:pt x="44" y="620"/>
                    <a:pt x="56" y="578"/>
                    <a:pt x="86" y="548"/>
                  </a:cubicBezTo>
                  <a:cubicBezTo>
                    <a:pt x="110" y="524"/>
                    <a:pt x="142" y="511"/>
                    <a:pt x="176" y="511"/>
                  </a:cubicBezTo>
                  <a:cubicBezTo>
                    <a:pt x="193" y="511"/>
                    <a:pt x="210" y="514"/>
                    <a:pt x="226" y="521"/>
                  </a:cubicBezTo>
                  <a:cubicBezTo>
                    <a:pt x="233" y="524"/>
                    <a:pt x="241" y="522"/>
                    <a:pt x="246" y="517"/>
                  </a:cubicBezTo>
                  <a:cubicBezTo>
                    <a:pt x="528" y="235"/>
                    <a:pt x="528" y="235"/>
                    <a:pt x="528" y="235"/>
                  </a:cubicBezTo>
                  <a:cubicBezTo>
                    <a:pt x="533" y="230"/>
                    <a:pt x="535" y="222"/>
                    <a:pt x="532" y="215"/>
                  </a:cubicBezTo>
                  <a:cubicBezTo>
                    <a:pt x="512" y="167"/>
                    <a:pt x="522" y="112"/>
                    <a:pt x="559" y="75"/>
                  </a:cubicBezTo>
                  <a:cubicBezTo>
                    <a:pt x="583" y="51"/>
                    <a:pt x="615" y="38"/>
                    <a:pt x="649" y="38"/>
                  </a:cubicBezTo>
                  <a:cubicBezTo>
                    <a:pt x="657" y="38"/>
                    <a:pt x="664" y="39"/>
                    <a:pt x="671" y="40"/>
                  </a:cubicBezTo>
                  <a:cubicBezTo>
                    <a:pt x="623" y="88"/>
                    <a:pt x="623" y="88"/>
                    <a:pt x="623" y="88"/>
                  </a:cubicBezTo>
                  <a:cubicBezTo>
                    <a:pt x="620" y="92"/>
                    <a:pt x="618" y="96"/>
                    <a:pt x="618" y="101"/>
                  </a:cubicBezTo>
                  <a:cubicBezTo>
                    <a:pt x="618" y="178"/>
                    <a:pt x="618" y="178"/>
                    <a:pt x="618" y="178"/>
                  </a:cubicBezTo>
                  <a:cubicBezTo>
                    <a:pt x="618" y="188"/>
                    <a:pt x="626" y="196"/>
                    <a:pt x="636" y="196"/>
                  </a:cubicBezTo>
                  <a:cubicBezTo>
                    <a:pt x="713" y="196"/>
                    <a:pt x="713" y="196"/>
                    <a:pt x="713" y="196"/>
                  </a:cubicBezTo>
                  <a:cubicBezTo>
                    <a:pt x="718" y="196"/>
                    <a:pt x="723" y="195"/>
                    <a:pt x="726" y="191"/>
                  </a:cubicBezTo>
                  <a:cubicBezTo>
                    <a:pt x="774" y="143"/>
                    <a:pt x="774" y="143"/>
                    <a:pt x="774" y="143"/>
                  </a:cubicBezTo>
                  <a:cubicBezTo>
                    <a:pt x="782" y="183"/>
                    <a:pt x="769" y="225"/>
                    <a:pt x="739" y="255"/>
                  </a:cubicBezTo>
                  <a:cubicBezTo>
                    <a:pt x="715" y="279"/>
                    <a:pt x="683" y="293"/>
                    <a:pt x="649" y="293"/>
                  </a:cubicBezTo>
                  <a:cubicBezTo>
                    <a:pt x="632" y="293"/>
                    <a:pt x="615" y="289"/>
                    <a:pt x="599" y="283"/>
                  </a:cubicBezTo>
                  <a:cubicBezTo>
                    <a:pt x="593" y="280"/>
                    <a:pt x="585" y="281"/>
                    <a:pt x="579" y="286"/>
                  </a:cubicBezTo>
                  <a:lnTo>
                    <a:pt x="297" y="568"/>
                  </a:lnTo>
                  <a:close/>
                  <a:moveTo>
                    <a:pt x="766" y="755"/>
                  </a:moveTo>
                  <a:cubicBezTo>
                    <a:pt x="752" y="768"/>
                    <a:pt x="728" y="768"/>
                    <a:pt x="714" y="755"/>
                  </a:cubicBezTo>
                  <a:cubicBezTo>
                    <a:pt x="560" y="600"/>
                    <a:pt x="560" y="600"/>
                    <a:pt x="560" y="600"/>
                  </a:cubicBezTo>
                  <a:cubicBezTo>
                    <a:pt x="611" y="549"/>
                    <a:pt x="611" y="549"/>
                    <a:pt x="611" y="549"/>
                  </a:cubicBezTo>
                  <a:cubicBezTo>
                    <a:pt x="766" y="703"/>
                    <a:pt x="766" y="703"/>
                    <a:pt x="766" y="703"/>
                  </a:cubicBezTo>
                  <a:cubicBezTo>
                    <a:pt x="773" y="710"/>
                    <a:pt x="776" y="719"/>
                    <a:pt x="776" y="729"/>
                  </a:cubicBezTo>
                  <a:cubicBezTo>
                    <a:pt x="776" y="739"/>
                    <a:pt x="773" y="748"/>
                    <a:pt x="766" y="75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494949"/>
                </a:solidFill>
                <a:effectLst/>
                <a:uLnTx/>
                <a:uFillTx/>
                <a:latin typeface="Calibri" panose="020F0502020204030204"/>
                <a:ea typeface="Arial" charset="0"/>
                <a:cs typeface="Arial" charset="0"/>
              </a:endParaRPr>
            </a:p>
          </p:txBody>
        </p:sp>
      </p:grpSp>
      <p:sp>
        <p:nvSpPr>
          <p:cNvPr id="13" name="CuadroTexto 12">
            <a:extLst>
              <a:ext uri="{FF2B5EF4-FFF2-40B4-BE49-F238E27FC236}">
                <a16:creationId xmlns:a16="http://schemas.microsoft.com/office/drawing/2014/main" id="{E1B8C287-715A-346B-CF1A-28431B3D063B}"/>
              </a:ext>
            </a:extLst>
          </p:cNvPr>
          <p:cNvSpPr txBox="1"/>
          <p:nvPr/>
        </p:nvSpPr>
        <p:spPr>
          <a:xfrm>
            <a:off x="121902" y="3713659"/>
            <a:ext cx="6805670" cy="577081"/>
          </a:xfrm>
          <a:prstGeom prst="rect">
            <a:avLst/>
          </a:prstGeom>
          <a:noFill/>
        </p:spPr>
        <p:txBody>
          <a:bodyPr wrap="square">
            <a:spAutoFit/>
          </a:bodyPr>
          <a:lstStyle/>
          <a:p>
            <a:pPr marL="0" lvl="1" fontAlgn="t">
              <a:lnSpc>
                <a:spcPct val="150000"/>
              </a:lnSpc>
              <a:spcAft>
                <a:spcPts val="600"/>
              </a:spcAft>
              <a:defRPr/>
            </a:pPr>
            <a:r>
              <a:rPr lang="en-GB" sz="1050" noProof="0">
                <a:solidFill>
                  <a:prstClr val="black"/>
                </a:solidFill>
                <a:ea typeface="Calibri"/>
                <a:cs typeface="Calibri"/>
              </a:rPr>
              <a:t>They allow us to see the pros and cons of each migration alternative, giving an objective decision as to why we propose a specific strategy.</a:t>
            </a:r>
            <a:endParaRPr kumimoji="0" lang="en-GB" sz="1050" i="0" u="none" strike="noStrike" kern="1200" cap="none" spc="0" normalizeH="0" baseline="0" noProof="0">
              <a:ln>
                <a:noFill/>
              </a:ln>
              <a:solidFill>
                <a:prstClr val="black"/>
              </a:solidFill>
              <a:effectLst/>
              <a:uLnTx/>
              <a:uFillTx/>
              <a:latin typeface="Calibri" panose="020F0502020204030204"/>
              <a:ea typeface="Calibri"/>
              <a:cs typeface="Calibri"/>
            </a:endParaRPr>
          </a:p>
        </p:txBody>
      </p:sp>
      <p:sp>
        <p:nvSpPr>
          <p:cNvPr id="15" name="Redondear rectángulo de esquina del mismo lado 270">
            <a:extLst>
              <a:ext uri="{FF2B5EF4-FFF2-40B4-BE49-F238E27FC236}">
                <a16:creationId xmlns:a16="http://schemas.microsoft.com/office/drawing/2014/main" id="{ABB1D483-1AB0-77A2-98BB-B8DB10D46E64}"/>
              </a:ext>
            </a:extLst>
          </p:cNvPr>
          <p:cNvSpPr/>
          <p:nvPr/>
        </p:nvSpPr>
        <p:spPr bwMode="auto">
          <a:xfrm rot="5400000">
            <a:off x="3507514" y="-129492"/>
            <a:ext cx="369332" cy="7380000"/>
          </a:xfrm>
          <a:prstGeom prst="round2SameRect">
            <a:avLst>
              <a:gd name="adj1" fmla="val 46994"/>
              <a:gd name="adj2" fmla="val 0"/>
            </a:avLst>
          </a:prstGeom>
          <a:solidFill>
            <a:srgbClr val="C7F5F3"/>
          </a:solidFill>
          <a:ln>
            <a:noFill/>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Rectángulo 142">
            <a:extLst>
              <a:ext uri="{FF2B5EF4-FFF2-40B4-BE49-F238E27FC236}">
                <a16:creationId xmlns:a16="http://schemas.microsoft.com/office/drawing/2014/main" id="{46B7C1FC-B683-96C7-2908-5AB8FFB89437}"/>
              </a:ext>
            </a:extLst>
          </p:cNvPr>
          <p:cNvSpPr/>
          <p:nvPr/>
        </p:nvSpPr>
        <p:spPr>
          <a:xfrm>
            <a:off x="712475" y="3417902"/>
            <a:ext cx="6680096" cy="276999"/>
          </a:xfrm>
          <a:prstGeom prst="rect">
            <a:avLst/>
          </a:prstGeom>
        </p:spPr>
        <p:txBody>
          <a:bodyPr wrap="square">
            <a:spAutoFit/>
          </a:bodyPr>
          <a:lstStyle/>
          <a:p>
            <a:pPr lvl="0">
              <a:defRPr/>
            </a:pPr>
            <a:r>
              <a:rPr lang="en-GB" sz="1200" b="1" noProof="0">
                <a:solidFill>
                  <a:prstClr val="black"/>
                </a:solidFill>
              </a:rPr>
              <a:t>CONVERSION STRATEGIES AND DECISION MATRICES</a:t>
            </a:r>
            <a:endParaRPr kumimoji="0" lang="en-GB" sz="12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33">
            <a:extLst>
              <a:ext uri="{FF2B5EF4-FFF2-40B4-BE49-F238E27FC236}">
                <a16:creationId xmlns:a16="http://schemas.microsoft.com/office/drawing/2014/main" id="{06823112-233F-964A-4384-92DC82A7F240}"/>
              </a:ext>
            </a:extLst>
          </p:cNvPr>
          <p:cNvSpPr>
            <a:spLocks noChangeAspect="1" noEditPoints="1"/>
          </p:cNvSpPr>
          <p:nvPr/>
        </p:nvSpPr>
        <p:spPr bwMode="auto">
          <a:xfrm>
            <a:off x="329268" y="3447946"/>
            <a:ext cx="290614" cy="225123"/>
          </a:xfrm>
          <a:custGeom>
            <a:avLst/>
            <a:gdLst>
              <a:gd name="T0" fmla="*/ 637 w 826"/>
              <a:gd name="T1" fmla="*/ 523 h 802"/>
              <a:gd name="T2" fmla="*/ 663 w 826"/>
              <a:gd name="T3" fmla="*/ 472 h 802"/>
              <a:gd name="T4" fmla="*/ 573 w 826"/>
              <a:gd name="T5" fmla="*/ 536 h 802"/>
              <a:gd name="T6" fmla="*/ 597 w 826"/>
              <a:gd name="T7" fmla="*/ 320 h 802"/>
              <a:gd name="T8" fmla="*/ 765 w 826"/>
              <a:gd name="T9" fmla="*/ 281 h 802"/>
              <a:gd name="T10" fmla="*/ 786 w 826"/>
              <a:gd name="T11" fmla="*/ 91 h 802"/>
              <a:gd name="T12" fmla="*/ 706 w 826"/>
              <a:gd name="T13" fmla="*/ 160 h 802"/>
              <a:gd name="T14" fmla="*/ 654 w 826"/>
              <a:gd name="T15" fmla="*/ 109 h 802"/>
              <a:gd name="T16" fmla="*/ 724 w 826"/>
              <a:gd name="T17" fmla="*/ 28 h 802"/>
              <a:gd name="T18" fmla="*/ 649 w 826"/>
              <a:gd name="T19" fmla="*/ 2 h 802"/>
              <a:gd name="T20" fmla="*/ 494 w 826"/>
              <a:gd name="T21" fmla="*/ 218 h 802"/>
              <a:gd name="T22" fmla="*/ 185 w 826"/>
              <a:gd name="T23" fmla="*/ 148 h 802"/>
              <a:gd name="T24" fmla="*/ 203 w 826"/>
              <a:gd name="T25" fmla="*/ 123 h 802"/>
              <a:gd name="T26" fmla="*/ 95 w 826"/>
              <a:gd name="T27" fmla="*/ 7 h 802"/>
              <a:gd name="T28" fmla="*/ 18 w 826"/>
              <a:gd name="T29" fmla="*/ 58 h 802"/>
              <a:gd name="T30" fmla="*/ 18 w 826"/>
              <a:gd name="T31" fmla="*/ 84 h 802"/>
              <a:gd name="T32" fmla="*/ 134 w 826"/>
              <a:gd name="T33" fmla="*/ 192 h 802"/>
              <a:gd name="T34" fmla="*/ 160 w 826"/>
              <a:gd name="T35" fmla="*/ 174 h 802"/>
              <a:gd name="T36" fmla="*/ 228 w 826"/>
              <a:gd name="T37" fmla="*/ 483 h 802"/>
              <a:gd name="T38" fmla="*/ 61 w 826"/>
              <a:gd name="T39" fmla="*/ 522 h 802"/>
              <a:gd name="T40" fmla="*/ 39 w 826"/>
              <a:gd name="T41" fmla="*/ 713 h 802"/>
              <a:gd name="T42" fmla="*/ 120 w 826"/>
              <a:gd name="T43" fmla="*/ 643 h 802"/>
              <a:gd name="T44" fmla="*/ 171 w 826"/>
              <a:gd name="T45" fmla="*/ 695 h 802"/>
              <a:gd name="T46" fmla="*/ 102 w 826"/>
              <a:gd name="T47" fmla="*/ 775 h 802"/>
              <a:gd name="T48" fmla="*/ 176 w 826"/>
              <a:gd name="T49" fmla="*/ 802 h 802"/>
              <a:gd name="T50" fmla="*/ 331 w 826"/>
              <a:gd name="T51" fmla="*/ 586 h 802"/>
              <a:gd name="T52" fmla="*/ 547 w 826"/>
              <a:gd name="T53" fmla="*/ 562 h 802"/>
              <a:gd name="T54" fmla="*/ 483 w 826"/>
              <a:gd name="T55" fmla="*/ 652 h 802"/>
              <a:gd name="T56" fmla="*/ 509 w 826"/>
              <a:gd name="T57" fmla="*/ 652 h 802"/>
              <a:gd name="T58" fmla="*/ 689 w 826"/>
              <a:gd name="T59" fmla="*/ 780 h 802"/>
              <a:gd name="T60" fmla="*/ 791 w 826"/>
              <a:gd name="T61" fmla="*/ 780 h 802"/>
              <a:gd name="T62" fmla="*/ 791 w 826"/>
              <a:gd name="T63" fmla="*/ 677 h 802"/>
              <a:gd name="T64" fmla="*/ 57 w 826"/>
              <a:gd name="T65" fmla="*/ 71 h 802"/>
              <a:gd name="T66" fmla="*/ 160 w 826"/>
              <a:gd name="T67" fmla="*/ 123 h 802"/>
              <a:gd name="T68" fmla="*/ 297 w 826"/>
              <a:gd name="T69" fmla="*/ 568 h 802"/>
              <a:gd name="T70" fmla="*/ 266 w 826"/>
              <a:gd name="T71" fmla="*/ 728 h 802"/>
              <a:gd name="T72" fmla="*/ 154 w 826"/>
              <a:gd name="T73" fmla="*/ 763 h 802"/>
              <a:gd name="T74" fmla="*/ 207 w 826"/>
              <a:gd name="T75" fmla="*/ 702 h 802"/>
              <a:gd name="T76" fmla="*/ 189 w 826"/>
              <a:gd name="T77" fmla="*/ 607 h 802"/>
              <a:gd name="T78" fmla="*/ 99 w 826"/>
              <a:gd name="T79" fmla="*/ 612 h 802"/>
              <a:gd name="T80" fmla="*/ 86 w 826"/>
              <a:gd name="T81" fmla="*/ 548 h 802"/>
              <a:gd name="T82" fmla="*/ 226 w 826"/>
              <a:gd name="T83" fmla="*/ 521 h 802"/>
              <a:gd name="T84" fmla="*/ 528 w 826"/>
              <a:gd name="T85" fmla="*/ 235 h 802"/>
              <a:gd name="T86" fmla="*/ 559 w 826"/>
              <a:gd name="T87" fmla="*/ 75 h 802"/>
              <a:gd name="T88" fmla="*/ 671 w 826"/>
              <a:gd name="T89" fmla="*/ 40 h 802"/>
              <a:gd name="T90" fmla="*/ 618 w 826"/>
              <a:gd name="T91" fmla="*/ 101 h 802"/>
              <a:gd name="T92" fmla="*/ 636 w 826"/>
              <a:gd name="T93" fmla="*/ 196 h 802"/>
              <a:gd name="T94" fmla="*/ 726 w 826"/>
              <a:gd name="T95" fmla="*/ 191 h 802"/>
              <a:gd name="T96" fmla="*/ 739 w 826"/>
              <a:gd name="T97" fmla="*/ 255 h 802"/>
              <a:gd name="T98" fmla="*/ 599 w 826"/>
              <a:gd name="T99" fmla="*/ 283 h 802"/>
              <a:gd name="T100" fmla="*/ 297 w 826"/>
              <a:gd name="T101" fmla="*/ 568 h 802"/>
              <a:gd name="T102" fmla="*/ 714 w 826"/>
              <a:gd name="T103" fmla="*/ 755 h 802"/>
              <a:gd name="T104" fmla="*/ 611 w 826"/>
              <a:gd name="T105" fmla="*/ 549 h 802"/>
              <a:gd name="T106" fmla="*/ 776 w 826"/>
              <a:gd name="T107" fmla="*/ 729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26" h="802">
                <a:moveTo>
                  <a:pt x="791" y="677"/>
                </a:moveTo>
                <a:cubicBezTo>
                  <a:pt x="637" y="523"/>
                  <a:pt x="637" y="523"/>
                  <a:pt x="637" y="523"/>
                </a:cubicBezTo>
                <a:cubicBezTo>
                  <a:pt x="663" y="498"/>
                  <a:pt x="663" y="498"/>
                  <a:pt x="663" y="498"/>
                </a:cubicBezTo>
                <a:cubicBezTo>
                  <a:pt x="670" y="490"/>
                  <a:pt x="670" y="479"/>
                  <a:pt x="663" y="472"/>
                </a:cubicBezTo>
                <a:cubicBezTo>
                  <a:pt x="656" y="465"/>
                  <a:pt x="644" y="465"/>
                  <a:pt x="637" y="472"/>
                </a:cubicBezTo>
                <a:cubicBezTo>
                  <a:pt x="573" y="536"/>
                  <a:pt x="573" y="536"/>
                  <a:pt x="573" y="536"/>
                </a:cubicBezTo>
                <a:cubicBezTo>
                  <a:pt x="477" y="440"/>
                  <a:pt x="477" y="440"/>
                  <a:pt x="477" y="440"/>
                </a:cubicBezTo>
                <a:cubicBezTo>
                  <a:pt x="597" y="320"/>
                  <a:pt x="597" y="320"/>
                  <a:pt x="597" y="320"/>
                </a:cubicBezTo>
                <a:cubicBezTo>
                  <a:pt x="614" y="326"/>
                  <a:pt x="631" y="329"/>
                  <a:pt x="649" y="329"/>
                </a:cubicBezTo>
                <a:cubicBezTo>
                  <a:pt x="693" y="329"/>
                  <a:pt x="734" y="312"/>
                  <a:pt x="765" y="281"/>
                </a:cubicBezTo>
                <a:cubicBezTo>
                  <a:pt x="812" y="234"/>
                  <a:pt x="826" y="163"/>
                  <a:pt x="800" y="102"/>
                </a:cubicBezTo>
                <a:cubicBezTo>
                  <a:pt x="797" y="96"/>
                  <a:pt x="792" y="92"/>
                  <a:pt x="786" y="91"/>
                </a:cubicBezTo>
                <a:cubicBezTo>
                  <a:pt x="780" y="90"/>
                  <a:pt x="774" y="92"/>
                  <a:pt x="770" y="96"/>
                </a:cubicBezTo>
                <a:cubicBezTo>
                  <a:pt x="706" y="160"/>
                  <a:pt x="706" y="160"/>
                  <a:pt x="706" y="160"/>
                </a:cubicBezTo>
                <a:cubicBezTo>
                  <a:pt x="654" y="160"/>
                  <a:pt x="654" y="160"/>
                  <a:pt x="654" y="160"/>
                </a:cubicBezTo>
                <a:cubicBezTo>
                  <a:pt x="654" y="109"/>
                  <a:pt x="654" y="109"/>
                  <a:pt x="654" y="109"/>
                </a:cubicBezTo>
                <a:cubicBezTo>
                  <a:pt x="719" y="44"/>
                  <a:pt x="719" y="44"/>
                  <a:pt x="719" y="44"/>
                </a:cubicBezTo>
                <a:cubicBezTo>
                  <a:pt x="723" y="40"/>
                  <a:pt x="725" y="34"/>
                  <a:pt x="724" y="28"/>
                </a:cubicBezTo>
                <a:cubicBezTo>
                  <a:pt x="722" y="22"/>
                  <a:pt x="718" y="17"/>
                  <a:pt x="713" y="15"/>
                </a:cubicBezTo>
                <a:cubicBezTo>
                  <a:pt x="692" y="6"/>
                  <a:pt x="671" y="2"/>
                  <a:pt x="649" y="2"/>
                </a:cubicBezTo>
                <a:cubicBezTo>
                  <a:pt x="605" y="2"/>
                  <a:pt x="564" y="19"/>
                  <a:pt x="533" y="50"/>
                </a:cubicBezTo>
                <a:cubicBezTo>
                  <a:pt x="489" y="94"/>
                  <a:pt x="474" y="159"/>
                  <a:pt x="494" y="218"/>
                </a:cubicBezTo>
                <a:cubicBezTo>
                  <a:pt x="374" y="337"/>
                  <a:pt x="374" y="337"/>
                  <a:pt x="374" y="337"/>
                </a:cubicBezTo>
                <a:cubicBezTo>
                  <a:pt x="185" y="148"/>
                  <a:pt x="185" y="148"/>
                  <a:pt x="185" y="148"/>
                </a:cubicBezTo>
                <a:cubicBezTo>
                  <a:pt x="198" y="136"/>
                  <a:pt x="198" y="136"/>
                  <a:pt x="198" y="136"/>
                </a:cubicBezTo>
                <a:cubicBezTo>
                  <a:pt x="201" y="132"/>
                  <a:pt x="203" y="128"/>
                  <a:pt x="203" y="123"/>
                </a:cubicBezTo>
                <a:cubicBezTo>
                  <a:pt x="203" y="118"/>
                  <a:pt x="201" y="113"/>
                  <a:pt x="198" y="110"/>
                </a:cubicBezTo>
                <a:cubicBezTo>
                  <a:pt x="95" y="7"/>
                  <a:pt x="95" y="7"/>
                  <a:pt x="95" y="7"/>
                </a:cubicBezTo>
                <a:cubicBezTo>
                  <a:pt x="88" y="0"/>
                  <a:pt x="77" y="0"/>
                  <a:pt x="70" y="7"/>
                </a:cubicBezTo>
                <a:cubicBezTo>
                  <a:pt x="18" y="58"/>
                  <a:pt x="18" y="58"/>
                  <a:pt x="18" y="58"/>
                </a:cubicBezTo>
                <a:cubicBezTo>
                  <a:pt x="15" y="62"/>
                  <a:pt x="13" y="66"/>
                  <a:pt x="13" y="71"/>
                </a:cubicBezTo>
                <a:cubicBezTo>
                  <a:pt x="13" y="76"/>
                  <a:pt x="15" y="81"/>
                  <a:pt x="18" y="84"/>
                </a:cubicBezTo>
                <a:cubicBezTo>
                  <a:pt x="121" y="187"/>
                  <a:pt x="121" y="187"/>
                  <a:pt x="121" y="187"/>
                </a:cubicBezTo>
                <a:cubicBezTo>
                  <a:pt x="124" y="191"/>
                  <a:pt x="129" y="192"/>
                  <a:pt x="134" y="192"/>
                </a:cubicBezTo>
                <a:cubicBezTo>
                  <a:pt x="138" y="192"/>
                  <a:pt x="143" y="191"/>
                  <a:pt x="147" y="187"/>
                </a:cubicBezTo>
                <a:cubicBezTo>
                  <a:pt x="160" y="174"/>
                  <a:pt x="160" y="174"/>
                  <a:pt x="160" y="174"/>
                </a:cubicBezTo>
                <a:cubicBezTo>
                  <a:pt x="348" y="363"/>
                  <a:pt x="348" y="363"/>
                  <a:pt x="348" y="363"/>
                </a:cubicBezTo>
                <a:cubicBezTo>
                  <a:pt x="228" y="483"/>
                  <a:pt x="228" y="483"/>
                  <a:pt x="228" y="483"/>
                </a:cubicBezTo>
                <a:cubicBezTo>
                  <a:pt x="212" y="477"/>
                  <a:pt x="194" y="475"/>
                  <a:pt x="176" y="475"/>
                </a:cubicBezTo>
                <a:cubicBezTo>
                  <a:pt x="133" y="475"/>
                  <a:pt x="91" y="492"/>
                  <a:pt x="61" y="522"/>
                </a:cubicBezTo>
                <a:cubicBezTo>
                  <a:pt x="13" y="570"/>
                  <a:pt x="0" y="640"/>
                  <a:pt x="26" y="702"/>
                </a:cubicBezTo>
                <a:cubicBezTo>
                  <a:pt x="28" y="707"/>
                  <a:pt x="33" y="711"/>
                  <a:pt x="39" y="713"/>
                </a:cubicBezTo>
                <a:cubicBezTo>
                  <a:pt x="45" y="714"/>
                  <a:pt x="51" y="712"/>
                  <a:pt x="55" y="708"/>
                </a:cubicBezTo>
                <a:cubicBezTo>
                  <a:pt x="120" y="643"/>
                  <a:pt x="120" y="643"/>
                  <a:pt x="120" y="643"/>
                </a:cubicBezTo>
                <a:cubicBezTo>
                  <a:pt x="171" y="643"/>
                  <a:pt x="171" y="643"/>
                  <a:pt x="171" y="643"/>
                </a:cubicBezTo>
                <a:cubicBezTo>
                  <a:pt x="171" y="695"/>
                  <a:pt x="171" y="695"/>
                  <a:pt x="171" y="695"/>
                </a:cubicBezTo>
                <a:cubicBezTo>
                  <a:pt x="107" y="759"/>
                  <a:pt x="107" y="759"/>
                  <a:pt x="107" y="759"/>
                </a:cubicBezTo>
                <a:cubicBezTo>
                  <a:pt x="102" y="763"/>
                  <a:pt x="101" y="769"/>
                  <a:pt x="102" y="775"/>
                </a:cubicBezTo>
                <a:cubicBezTo>
                  <a:pt x="103" y="781"/>
                  <a:pt x="107" y="786"/>
                  <a:pt x="113" y="789"/>
                </a:cubicBezTo>
                <a:cubicBezTo>
                  <a:pt x="133" y="797"/>
                  <a:pt x="154" y="802"/>
                  <a:pt x="176" y="802"/>
                </a:cubicBezTo>
                <a:cubicBezTo>
                  <a:pt x="220" y="802"/>
                  <a:pt x="261" y="785"/>
                  <a:pt x="292" y="754"/>
                </a:cubicBezTo>
                <a:cubicBezTo>
                  <a:pt x="336" y="709"/>
                  <a:pt x="351" y="645"/>
                  <a:pt x="331" y="586"/>
                </a:cubicBezTo>
                <a:cubicBezTo>
                  <a:pt x="451" y="466"/>
                  <a:pt x="451" y="466"/>
                  <a:pt x="451" y="466"/>
                </a:cubicBezTo>
                <a:cubicBezTo>
                  <a:pt x="547" y="562"/>
                  <a:pt x="547" y="562"/>
                  <a:pt x="547" y="562"/>
                </a:cubicBezTo>
                <a:cubicBezTo>
                  <a:pt x="483" y="626"/>
                  <a:pt x="483" y="626"/>
                  <a:pt x="483" y="626"/>
                </a:cubicBezTo>
                <a:cubicBezTo>
                  <a:pt x="476" y="633"/>
                  <a:pt x="476" y="645"/>
                  <a:pt x="483" y="652"/>
                </a:cubicBezTo>
                <a:cubicBezTo>
                  <a:pt x="486" y="655"/>
                  <a:pt x="491" y="657"/>
                  <a:pt x="496" y="657"/>
                </a:cubicBezTo>
                <a:cubicBezTo>
                  <a:pt x="500" y="657"/>
                  <a:pt x="505" y="655"/>
                  <a:pt x="509" y="652"/>
                </a:cubicBezTo>
                <a:cubicBezTo>
                  <a:pt x="534" y="626"/>
                  <a:pt x="534" y="626"/>
                  <a:pt x="534" y="626"/>
                </a:cubicBezTo>
                <a:cubicBezTo>
                  <a:pt x="689" y="780"/>
                  <a:pt x="689" y="780"/>
                  <a:pt x="689" y="780"/>
                </a:cubicBezTo>
                <a:cubicBezTo>
                  <a:pt x="702" y="794"/>
                  <a:pt x="721" y="802"/>
                  <a:pt x="740" y="802"/>
                </a:cubicBezTo>
                <a:cubicBezTo>
                  <a:pt x="759" y="802"/>
                  <a:pt x="778" y="794"/>
                  <a:pt x="791" y="780"/>
                </a:cubicBezTo>
                <a:cubicBezTo>
                  <a:pt x="805" y="767"/>
                  <a:pt x="813" y="748"/>
                  <a:pt x="813" y="729"/>
                </a:cubicBezTo>
                <a:cubicBezTo>
                  <a:pt x="813" y="709"/>
                  <a:pt x="805" y="691"/>
                  <a:pt x="791" y="677"/>
                </a:cubicBezTo>
                <a:close/>
                <a:moveTo>
                  <a:pt x="134" y="148"/>
                </a:moveTo>
                <a:cubicBezTo>
                  <a:pt x="57" y="71"/>
                  <a:pt x="57" y="71"/>
                  <a:pt x="57" y="71"/>
                </a:cubicBezTo>
                <a:cubicBezTo>
                  <a:pt x="82" y="46"/>
                  <a:pt x="82" y="46"/>
                  <a:pt x="82" y="46"/>
                </a:cubicBezTo>
                <a:cubicBezTo>
                  <a:pt x="160" y="123"/>
                  <a:pt x="160" y="123"/>
                  <a:pt x="160" y="123"/>
                </a:cubicBezTo>
                <a:lnTo>
                  <a:pt x="134" y="148"/>
                </a:lnTo>
                <a:close/>
                <a:moveTo>
                  <a:pt x="297" y="568"/>
                </a:moveTo>
                <a:cubicBezTo>
                  <a:pt x="292" y="574"/>
                  <a:pt x="291" y="582"/>
                  <a:pt x="293" y="588"/>
                </a:cubicBezTo>
                <a:cubicBezTo>
                  <a:pt x="314" y="636"/>
                  <a:pt x="303" y="691"/>
                  <a:pt x="266" y="728"/>
                </a:cubicBezTo>
                <a:cubicBezTo>
                  <a:pt x="242" y="752"/>
                  <a:pt x="210" y="765"/>
                  <a:pt x="176" y="765"/>
                </a:cubicBezTo>
                <a:cubicBezTo>
                  <a:pt x="169" y="765"/>
                  <a:pt x="161" y="765"/>
                  <a:pt x="154" y="763"/>
                </a:cubicBezTo>
                <a:cubicBezTo>
                  <a:pt x="202" y="715"/>
                  <a:pt x="202" y="715"/>
                  <a:pt x="202" y="715"/>
                </a:cubicBezTo>
                <a:cubicBezTo>
                  <a:pt x="205" y="712"/>
                  <a:pt x="207" y="707"/>
                  <a:pt x="207" y="702"/>
                </a:cubicBezTo>
                <a:cubicBezTo>
                  <a:pt x="207" y="625"/>
                  <a:pt x="207" y="625"/>
                  <a:pt x="207" y="625"/>
                </a:cubicBezTo>
                <a:cubicBezTo>
                  <a:pt x="207" y="615"/>
                  <a:pt x="199" y="607"/>
                  <a:pt x="189" y="607"/>
                </a:cubicBezTo>
                <a:cubicBezTo>
                  <a:pt x="112" y="607"/>
                  <a:pt x="112" y="607"/>
                  <a:pt x="112" y="607"/>
                </a:cubicBezTo>
                <a:cubicBezTo>
                  <a:pt x="107" y="607"/>
                  <a:pt x="103" y="609"/>
                  <a:pt x="99" y="612"/>
                </a:cubicBezTo>
                <a:cubicBezTo>
                  <a:pt x="51" y="661"/>
                  <a:pt x="51" y="661"/>
                  <a:pt x="51" y="661"/>
                </a:cubicBezTo>
                <a:cubicBezTo>
                  <a:pt x="44" y="620"/>
                  <a:pt x="56" y="578"/>
                  <a:pt x="86" y="548"/>
                </a:cubicBezTo>
                <a:cubicBezTo>
                  <a:pt x="110" y="524"/>
                  <a:pt x="142" y="511"/>
                  <a:pt x="176" y="511"/>
                </a:cubicBezTo>
                <a:cubicBezTo>
                  <a:pt x="193" y="511"/>
                  <a:pt x="210" y="514"/>
                  <a:pt x="226" y="521"/>
                </a:cubicBezTo>
                <a:cubicBezTo>
                  <a:pt x="233" y="524"/>
                  <a:pt x="241" y="522"/>
                  <a:pt x="246" y="517"/>
                </a:cubicBezTo>
                <a:cubicBezTo>
                  <a:pt x="528" y="235"/>
                  <a:pt x="528" y="235"/>
                  <a:pt x="528" y="235"/>
                </a:cubicBezTo>
                <a:cubicBezTo>
                  <a:pt x="533" y="230"/>
                  <a:pt x="535" y="222"/>
                  <a:pt x="532" y="215"/>
                </a:cubicBezTo>
                <a:cubicBezTo>
                  <a:pt x="512" y="167"/>
                  <a:pt x="522" y="112"/>
                  <a:pt x="559" y="75"/>
                </a:cubicBezTo>
                <a:cubicBezTo>
                  <a:pt x="583" y="51"/>
                  <a:pt x="615" y="38"/>
                  <a:pt x="649" y="38"/>
                </a:cubicBezTo>
                <a:cubicBezTo>
                  <a:pt x="657" y="38"/>
                  <a:pt x="664" y="39"/>
                  <a:pt x="671" y="40"/>
                </a:cubicBezTo>
                <a:cubicBezTo>
                  <a:pt x="623" y="88"/>
                  <a:pt x="623" y="88"/>
                  <a:pt x="623" y="88"/>
                </a:cubicBezTo>
                <a:cubicBezTo>
                  <a:pt x="620" y="92"/>
                  <a:pt x="618" y="96"/>
                  <a:pt x="618" y="101"/>
                </a:cubicBezTo>
                <a:cubicBezTo>
                  <a:pt x="618" y="178"/>
                  <a:pt x="618" y="178"/>
                  <a:pt x="618" y="178"/>
                </a:cubicBezTo>
                <a:cubicBezTo>
                  <a:pt x="618" y="188"/>
                  <a:pt x="626" y="196"/>
                  <a:pt x="636" y="196"/>
                </a:cubicBezTo>
                <a:cubicBezTo>
                  <a:pt x="713" y="196"/>
                  <a:pt x="713" y="196"/>
                  <a:pt x="713" y="196"/>
                </a:cubicBezTo>
                <a:cubicBezTo>
                  <a:pt x="718" y="196"/>
                  <a:pt x="723" y="195"/>
                  <a:pt x="726" y="191"/>
                </a:cubicBezTo>
                <a:cubicBezTo>
                  <a:pt x="774" y="143"/>
                  <a:pt x="774" y="143"/>
                  <a:pt x="774" y="143"/>
                </a:cubicBezTo>
                <a:cubicBezTo>
                  <a:pt x="782" y="183"/>
                  <a:pt x="769" y="225"/>
                  <a:pt x="739" y="255"/>
                </a:cubicBezTo>
                <a:cubicBezTo>
                  <a:pt x="715" y="279"/>
                  <a:pt x="683" y="293"/>
                  <a:pt x="649" y="293"/>
                </a:cubicBezTo>
                <a:cubicBezTo>
                  <a:pt x="632" y="293"/>
                  <a:pt x="615" y="289"/>
                  <a:pt x="599" y="283"/>
                </a:cubicBezTo>
                <a:cubicBezTo>
                  <a:pt x="593" y="280"/>
                  <a:pt x="585" y="281"/>
                  <a:pt x="579" y="286"/>
                </a:cubicBezTo>
                <a:lnTo>
                  <a:pt x="297" y="568"/>
                </a:lnTo>
                <a:close/>
                <a:moveTo>
                  <a:pt x="766" y="755"/>
                </a:moveTo>
                <a:cubicBezTo>
                  <a:pt x="752" y="768"/>
                  <a:pt x="728" y="768"/>
                  <a:pt x="714" y="755"/>
                </a:cubicBezTo>
                <a:cubicBezTo>
                  <a:pt x="560" y="600"/>
                  <a:pt x="560" y="600"/>
                  <a:pt x="560" y="600"/>
                </a:cubicBezTo>
                <a:cubicBezTo>
                  <a:pt x="611" y="549"/>
                  <a:pt x="611" y="549"/>
                  <a:pt x="611" y="549"/>
                </a:cubicBezTo>
                <a:cubicBezTo>
                  <a:pt x="766" y="703"/>
                  <a:pt x="766" y="703"/>
                  <a:pt x="766" y="703"/>
                </a:cubicBezTo>
                <a:cubicBezTo>
                  <a:pt x="773" y="710"/>
                  <a:pt x="776" y="719"/>
                  <a:pt x="776" y="729"/>
                </a:cubicBezTo>
                <a:cubicBezTo>
                  <a:pt x="776" y="739"/>
                  <a:pt x="773" y="748"/>
                  <a:pt x="766" y="75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Arial" charset="0"/>
              <a:cs typeface="Arial" charset="0"/>
            </a:endParaRPr>
          </a:p>
        </p:txBody>
      </p:sp>
      <p:sp>
        <p:nvSpPr>
          <p:cNvPr id="19" name="Redondear rectángulo de esquina del mismo lado 270">
            <a:extLst>
              <a:ext uri="{FF2B5EF4-FFF2-40B4-BE49-F238E27FC236}">
                <a16:creationId xmlns:a16="http://schemas.microsoft.com/office/drawing/2014/main" id="{4C707E61-2F63-2EEA-D5EC-C6ED8FCE699B}"/>
              </a:ext>
            </a:extLst>
          </p:cNvPr>
          <p:cNvSpPr/>
          <p:nvPr/>
        </p:nvSpPr>
        <p:spPr bwMode="auto">
          <a:xfrm rot="5400000">
            <a:off x="3505334" y="882080"/>
            <a:ext cx="369332" cy="7380000"/>
          </a:xfrm>
          <a:prstGeom prst="round2SameRect">
            <a:avLst>
              <a:gd name="adj1" fmla="val 46994"/>
              <a:gd name="adj2" fmla="val 0"/>
            </a:avLst>
          </a:prstGeom>
          <a:solidFill>
            <a:srgbClr val="C7F5F3"/>
          </a:solidFill>
          <a:ln>
            <a:noFill/>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ángulo 142">
            <a:extLst>
              <a:ext uri="{FF2B5EF4-FFF2-40B4-BE49-F238E27FC236}">
                <a16:creationId xmlns:a16="http://schemas.microsoft.com/office/drawing/2014/main" id="{6D46ADB7-B245-FFF3-868E-37F2EA5ED14D}"/>
              </a:ext>
            </a:extLst>
          </p:cNvPr>
          <p:cNvSpPr/>
          <p:nvPr/>
        </p:nvSpPr>
        <p:spPr>
          <a:xfrm>
            <a:off x="699903" y="4441966"/>
            <a:ext cx="6227669" cy="276999"/>
          </a:xfrm>
          <a:prstGeom prst="rect">
            <a:avLst/>
          </a:prstGeom>
        </p:spPr>
        <p:txBody>
          <a:bodyPr wrap="square">
            <a:spAutoFit/>
          </a:bodyPr>
          <a:lstStyle/>
          <a:p>
            <a:pPr lvl="0">
              <a:defRPr/>
            </a:pPr>
            <a:r>
              <a:rPr lang="en-GB" sz="1200" b="1" noProof="0">
                <a:solidFill>
                  <a:prstClr val="black"/>
                </a:solidFill>
              </a:rPr>
              <a:t>REPORTING ACCELERATORS</a:t>
            </a:r>
            <a:endParaRPr kumimoji="0" lang="en-GB"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33">
            <a:extLst>
              <a:ext uri="{FF2B5EF4-FFF2-40B4-BE49-F238E27FC236}">
                <a16:creationId xmlns:a16="http://schemas.microsoft.com/office/drawing/2014/main" id="{A8D2FEDC-B6B2-55A9-07DD-F87896466BEC}"/>
              </a:ext>
            </a:extLst>
          </p:cNvPr>
          <p:cNvSpPr>
            <a:spLocks noChangeAspect="1" noEditPoints="1"/>
          </p:cNvSpPr>
          <p:nvPr/>
        </p:nvSpPr>
        <p:spPr bwMode="auto">
          <a:xfrm>
            <a:off x="316697" y="4463989"/>
            <a:ext cx="290614" cy="225123"/>
          </a:xfrm>
          <a:custGeom>
            <a:avLst/>
            <a:gdLst>
              <a:gd name="T0" fmla="*/ 637 w 826"/>
              <a:gd name="T1" fmla="*/ 523 h 802"/>
              <a:gd name="T2" fmla="*/ 663 w 826"/>
              <a:gd name="T3" fmla="*/ 472 h 802"/>
              <a:gd name="T4" fmla="*/ 573 w 826"/>
              <a:gd name="T5" fmla="*/ 536 h 802"/>
              <a:gd name="T6" fmla="*/ 597 w 826"/>
              <a:gd name="T7" fmla="*/ 320 h 802"/>
              <a:gd name="T8" fmla="*/ 765 w 826"/>
              <a:gd name="T9" fmla="*/ 281 h 802"/>
              <a:gd name="T10" fmla="*/ 786 w 826"/>
              <a:gd name="T11" fmla="*/ 91 h 802"/>
              <a:gd name="T12" fmla="*/ 706 w 826"/>
              <a:gd name="T13" fmla="*/ 160 h 802"/>
              <a:gd name="T14" fmla="*/ 654 w 826"/>
              <a:gd name="T15" fmla="*/ 109 h 802"/>
              <a:gd name="T16" fmla="*/ 724 w 826"/>
              <a:gd name="T17" fmla="*/ 28 h 802"/>
              <a:gd name="T18" fmla="*/ 649 w 826"/>
              <a:gd name="T19" fmla="*/ 2 h 802"/>
              <a:gd name="T20" fmla="*/ 494 w 826"/>
              <a:gd name="T21" fmla="*/ 218 h 802"/>
              <a:gd name="T22" fmla="*/ 185 w 826"/>
              <a:gd name="T23" fmla="*/ 148 h 802"/>
              <a:gd name="T24" fmla="*/ 203 w 826"/>
              <a:gd name="T25" fmla="*/ 123 h 802"/>
              <a:gd name="T26" fmla="*/ 95 w 826"/>
              <a:gd name="T27" fmla="*/ 7 h 802"/>
              <a:gd name="T28" fmla="*/ 18 w 826"/>
              <a:gd name="T29" fmla="*/ 58 h 802"/>
              <a:gd name="T30" fmla="*/ 18 w 826"/>
              <a:gd name="T31" fmla="*/ 84 h 802"/>
              <a:gd name="T32" fmla="*/ 134 w 826"/>
              <a:gd name="T33" fmla="*/ 192 h 802"/>
              <a:gd name="T34" fmla="*/ 160 w 826"/>
              <a:gd name="T35" fmla="*/ 174 h 802"/>
              <a:gd name="T36" fmla="*/ 228 w 826"/>
              <a:gd name="T37" fmla="*/ 483 h 802"/>
              <a:gd name="T38" fmla="*/ 61 w 826"/>
              <a:gd name="T39" fmla="*/ 522 h 802"/>
              <a:gd name="T40" fmla="*/ 39 w 826"/>
              <a:gd name="T41" fmla="*/ 713 h 802"/>
              <a:gd name="T42" fmla="*/ 120 w 826"/>
              <a:gd name="T43" fmla="*/ 643 h 802"/>
              <a:gd name="T44" fmla="*/ 171 w 826"/>
              <a:gd name="T45" fmla="*/ 695 h 802"/>
              <a:gd name="T46" fmla="*/ 102 w 826"/>
              <a:gd name="T47" fmla="*/ 775 h 802"/>
              <a:gd name="T48" fmla="*/ 176 w 826"/>
              <a:gd name="T49" fmla="*/ 802 h 802"/>
              <a:gd name="T50" fmla="*/ 331 w 826"/>
              <a:gd name="T51" fmla="*/ 586 h 802"/>
              <a:gd name="T52" fmla="*/ 547 w 826"/>
              <a:gd name="T53" fmla="*/ 562 h 802"/>
              <a:gd name="T54" fmla="*/ 483 w 826"/>
              <a:gd name="T55" fmla="*/ 652 h 802"/>
              <a:gd name="T56" fmla="*/ 509 w 826"/>
              <a:gd name="T57" fmla="*/ 652 h 802"/>
              <a:gd name="T58" fmla="*/ 689 w 826"/>
              <a:gd name="T59" fmla="*/ 780 h 802"/>
              <a:gd name="T60" fmla="*/ 791 w 826"/>
              <a:gd name="T61" fmla="*/ 780 h 802"/>
              <a:gd name="T62" fmla="*/ 791 w 826"/>
              <a:gd name="T63" fmla="*/ 677 h 802"/>
              <a:gd name="T64" fmla="*/ 57 w 826"/>
              <a:gd name="T65" fmla="*/ 71 h 802"/>
              <a:gd name="T66" fmla="*/ 160 w 826"/>
              <a:gd name="T67" fmla="*/ 123 h 802"/>
              <a:gd name="T68" fmla="*/ 297 w 826"/>
              <a:gd name="T69" fmla="*/ 568 h 802"/>
              <a:gd name="T70" fmla="*/ 266 w 826"/>
              <a:gd name="T71" fmla="*/ 728 h 802"/>
              <a:gd name="T72" fmla="*/ 154 w 826"/>
              <a:gd name="T73" fmla="*/ 763 h 802"/>
              <a:gd name="T74" fmla="*/ 207 w 826"/>
              <a:gd name="T75" fmla="*/ 702 h 802"/>
              <a:gd name="T76" fmla="*/ 189 w 826"/>
              <a:gd name="T77" fmla="*/ 607 h 802"/>
              <a:gd name="T78" fmla="*/ 99 w 826"/>
              <a:gd name="T79" fmla="*/ 612 h 802"/>
              <a:gd name="T80" fmla="*/ 86 w 826"/>
              <a:gd name="T81" fmla="*/ 548 h 802"/>
              <a:gd name="T82" fmla="*/ 226 w 826"/>
              <a:gd name="T83" fmla="*/ 521 h 802"/>
              <a:gd name="T84" fmla="*/ 528 w 826"/>
              <a:gd name="T85" fmla="*/ 235 h 802"/>
              <a:gd name="T86" fmla="*/ 559 w 826"/>
              <a:gd name="T87" fmla="*/ 75 h 802"/>
              <a:gd name="T88" fmla="*/ 671 w 826"/>
              <a:gd name="T89" fmla="*/ 40 h 802"/>
              <a:gd name="T90" fmla="*/ 618 w 826"/>
              <a:gd name="T91" fmla="*/ 101 h 802"/>
              <a:gd name="T92" fmla="*/ 636 w 826"/>
              <a:gd name="T93" fmla="*/ 196 h 802"/>
              <a:gd name="T94" fmla="*/ 726 w 826"/>
              <a:gd name="T95" fmla="*/ 191 h 802"/>
              <a:gd name="T96" fmla="*/ 739 w 826"/>
              <a:gd name="T97" fmla="*/ 255 h 802"/>
              <a:gd name="T98" fmla="*/ 599 w 826"/>
              <a:gd name="T99" fmla="*/ 283 h 802"/>
              <a:gd name="T100" fmla="*/ 297 w 826"/>
              <a:gd name="T101" fmla="*/ 568 h 802"/>
              <a:gd name="T102" fmla="*/ 714 w 826"/>
              <a:gd name="T103" fmla="*/ 755 h 802"/>
              <a:gd name="T104" fmla="*/ 611 w 826"/>
              <a:gd name="T105" fmla="*/ 549 h 802"/>
              <a:gd name="T106" fmla="*/ 776 w 826"/>
              <a:gd name="T107" fmla="*/ 729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26" h="802">
                <a:moveTo>
                  <a:pt x="791" y="677"/>
                </a:moveTo>
                <a:cubicBezTo>
                  <a:pt x="637" y="523"/>
                  <a:pt x="637" y="523"/>
                  <a:pt x="637" y="523"/>
                </a:cubicBezTo>
                <a:cubicBezTo>
                  <a:pt x="663" y="498"/>
                  <a:pt x="663" y="498"/>
                  <a:pt x="663" y="498"/>
                </a:cubicBezTo>
                <a:cubicBezTo>
                  <a:pt x="670" y="490"/>
                  <a:pt x="670" y="479"/>
                  <a:pt x="663" y="472"/>
                </a:cubicBezTo>
                <a:cubicBezTo>
                  <a:pt x="656" y="465"/>
                  <a:pt x="644" y="465"/>
                  <a:pt x="637" y="472"/>
                </a:cubicBezTo>
                <a:cubicBezTo>
                  <a:pt x="573" y="536"/>
                  <a:pt x="573" y="536"/>
                  <a:pt x="573" y="536"/>
                </a:cubicBezTo>
                <a:cubicBezTo>
                  <a:pt x="477" y="440"/>
                  <a:pt x="477" y="440"/>
                  <a:pt x="477" y="440"/>
                </a:cubicBezTo>
                <a:cubicBezTo>
                  <a:pt x="597" y="320"/>
                  <a:pt x="597" y="320"/>
                  <a:pt x="597" y="320"/>
                </a:cubicBezTo>
                <a:cubicBezTo>
                  <a:pt x="614" y="326"/>
                  <a:pt x="631" y="329"/>
                  <a:pt x="649" y="329"/>
                </a:cubicBezTo>
                <a:cubicBezTo>
                  <a:pt x="693" y="329"/>
                  <a:pt x="734" y="312"/>
                  <a:pt x="765" y="281"/>
                </a:cubicBezTo>
                <a:cubicBezTo>
                  <a:pt x="812" y="234"/>
                  <a:pt x="826" y="163"/>
                  <a:pt x="800" y="102"/>
                </a:cubicBezTo>
                <a:cubicBezTo>
                  <a:pt x="797" y="96"/>
                  <a:pt x="792" y="92"/>
                  <a:pt x="786" y="91"/>
                </a:cubicBezTo>
                <a:cubicBezTo>
                  <a:pt x="780" y="90"/>
                  <a:pt x="774" y="92"/>
                  <a:pt x="770" y="96"/>
                </a:cubicBezTo>
                <a:cubicBezTo>
                  <a:pt x="706" y="160"/>
                  <a:pt x="706" y="160"/>
                  <a:pt x="706" y="160"/>
                </a:cubicBezTo>
                <a:cubicBezTo>
                  <a:pt x="654" y="160"/>
                  <a:pt x="654" y="160"/>
                  <a:pt x="654" y="160"/>
                </a:cubicBezTo>
                <a:cubicBezTo>
                  <a:pt x="654" y="109"/>
                  <a:pt x="654" y="109"/>
                  <a:pt x="654" y="109"/>
                </a:cubicBezTo>
                <a:cubicBezTo>
                  <a:pt x="719" y="44"/>
                  <a:pt x="719" y="44"/>
                  <a:pt x="719" y="44"/>
                </a:cubicBezTo>
                <a:cubicBezTo>
                  <a:pt x="723" y="40"/>
                  <a:pt x="725" y="34"/>
                  <a:pt x="724" y="28"/>
                </a:cubicBezTo>
                <a:cubicBezTo>
                  <a:pt x="722" y="22"/>
                  <a:pt x="718" y="17"/>
                  <a:pt x="713" y="15"/>
                </a:cubicBezTo>
                <a:cubicBezTo>
                  <a:pt x="692" y="6"/>
                  <a:pt x="671" y="2"/>
                  <a:pt x="649" y="2"/>
                </a:cubicBezTo>
                <a:cubicBezTo>
                  <a:pt x="605" y="2"/>
                  <a:pt x="564" y="19"/>
                  <a:pt x="533" y="50"/>
                </a:cubicBezTo>
                <a:cubicBezTo>
                  <a:pt x="489" y="94"/>
                  <a:pt x="474" y="159"/>
                  <a:pt x="494" y="218"/>
                </a:cubicBezTo>
                <a:cubicBezTo>
                  <a:pt x="374" y="337"/>
                  <a:pt x="374" y="337"/>
                  <a:pt x="374" y="337"/>
                </a:cubicBezTo>
                <a:cubicBezTo>
                  <a:pt x="185" y="148"/>
                  <a:pt x="185" y="148"/>
                  <a:pt x="185" y="148"/>
                </a:cubicBezTo>
                <a:cubicBezTo>
                  <a:pt x="198" y="136"/>
                  <a:pt x="198" y="136"/>
                  <a:pt x="198" y="136"/>
                </a:cubicBezTo>
                <a:cubicBezTo>
                  <a:pt x="201" y="132"/>
                  <a:pt x="203" y="128"/>
                  <a:pt x="203" y="123"/>
                </a:cubicBezTo>
                <a:cubicBezTo>
                  <a:pt x="203" y="118"/>
                  <a:pt x="201" y="113"/>
                  <a:pt x="198" y="110"/>
                </a:cubicBezTo>
                <a:cubicBezTo>
                  <a:pt x="95" y="7"/>
                  <a:pt x="95" y="7"/>
                  <a:pt x="95" y="7"/>
                </a:cubicBezTo>
                <a:cubicBezTo>
                  <a:pt x="88" y="0"/>
                  <a:pt x="77" y="0"/>
                  <a:pt x="70" y="7"/>
                </a:cubicBezTo>
                <a:cubicBezTo>
                  <a:pt x="18" y="58"/>
                  <a:pt x="18" y="58"/>
                  <a:pt x="18" y="58"/>
                </a:cubicBezTo>
                <a:cubicBezTo>
                  <a:pt x="15" y="62"/>
                  <a:pt x="13" y="66"/>
                  <a:pt x="13" y="71"/>
                </a:cubicBezTo>
                <a:cubicBezTo>
                  <a:pt x="13" y="76"/>
                  <a:pt x="15" y="81"/>
                  <a:pt x="18" y="84"/>
                </a:cubicBezTo>
                <a:cubicBezTo>
                  <a:pt x="121" y="187"/>
                  <a:pt x="121" y="187"/>
                  <a:pt x="121" y="187"/>
                </a:cubicBezTo>
                <a:cubicBezTo>
                  <a:pt x="124" y="191"/>
                  <a:pt x="129" y="192"/>
                  <a:pt x="134" y="192"/>
                </a:cubicBezTo>
                <a:cubicBezTo>
                  <a:pt x="138" y="192"/>
                  <a:pt x="143" y="191"/>
                  <a:pt x="147" y="187"/>
                </a:cubicBezTo>
                <a:cubicBezTo>
                  <a:pt x="160" y="174"/>
                  <a:pt x="160" y="174"/>
                  <a:pt x="160" y="174"/>
                </a:cubicBezTo>
                <a:cubicBezTo>
                  <a:pt x="348" y="363"/>
                  <a:pt x="348" y="363"/>
                  <a:pt x="348" y="363"/>
                </a:cubicBezTo>
                <a:cubicBezTo>
                  <a:pt x="228" y="483"/>
                  <a:pt x="228" y="483"/>
                  <a:pt x="228" y="483"/>
                </a:cubicBezTo>
                <a:cubicBezTo>
                  <a:pt x="212" y="477"/>
                  <a:pt x="194" y="475"/>
                  <a:pt x="176" y="475"/>
                </a:cubicBezTo>
                <a:cubicBezTo>
                  <a:pt x="133" y="475"/>
                  <a:pt x="91" y="492"/>
                  <a:pt x="61" y="522"/>
                </a:cubicBezTo>
                <a:cubicBezTo>
                  <a:pt x="13" y="570"/>
                  <a:pt x="0" y="640"/>
                  <a:pt x="26" y="702"/>
                </a:cubicBezTo>
                <a:cubicBezTo>
                  <a:pt x="28" y="707"/>
                  <a:pt x="33" y="711"/>
                  <a:pt x="39" y="713"/>
                </a:cubicBezTo>
                <a:cubicBezTo>
                  <a:pt x="45" y="714"/>
                  <a:pt x="51" y="712"/>
                  <a:pt x="55" y="708"/>
                </a:cubicBezTo>
                <a:cubicBezTo>
                  <a:pt x="120" y="643"/>
                  <a:pt x="120" y="643"/>
                  <a:pt x="120" y="643"/>
                </a:cubicBezTo>
                <a:cubicBezTo>
                  <a:pt x="171" y="643"/>
                  <a:pt x="171" y="643"/>
                  <a:pt x="171" y="643"/>
                </a:cubicBezTo>
                <a:cubicBezTo>
                  <a:pt x="171" y="695"/>
                  <a:pt x="171" y="695"/>
                  <a:pt x="171" y="695"/>
                </a:cubicBezTo>
                <a:cubicBezTo>
                  <a:pt x="107" y="759"/>
                  <a:pt x="107" y="759"/>
                  <a:pt x="107" y="759"/>
                </a:cubicBezTo>
                <a:cubicBezTo>
                  <a:pt x="102" y="763"/>
                  <a:pt x="101" y="769"/>
                  <a:pt x="102" y="775"/>
                </a:cubicBezTo>
                <a:cubicBezTo>
                  <a:pt x="103" y="781"/>
                  <a:pt x="107" y="786"/>
                  <a:pt x="113" y="789"/>
                </a:cubicBezTo>
                <a:cubicBezTo>
                  <a:pt x="133" y="797"/>
                  <a:pt x="154" y="802"/>
                  <a:pt x="176" y="802"/>
                </a:cubicBezTo>
                <a:cubicBezTo>
                  <a:pt x="220" y="802"/>
                  <a:pt x="261" y="785"/>
                  <a:pt x="292" y="754"/>
                </a:cubicBezTo>
                <a:cubicBezTo>
                  <a:pt x="336" y="709"/>
                  <a:pt x="351" y="645"/>
                  <a:pt x="331" y="586"/>
                </a:cubicBezTo>
                <a:cubicBezTo>
                  <a:pt x="451" y="466"/>
                  <a:pt x="451" y="466"/>
                  <a:pt x="451" y="466"/>
                </a:cubicBezTo>
                <a:cubicBezTo>
                  <a:pt x="547" y="562"/>
                  <a:pt x="547" y="562"/>
                  <a:pt x="547" y="562"/>
                </a:cubicBezTo>
                <a:cubicBezTo>
                  <a:pt x="483" y="626"/>
                  <a:pt x="483" y="626"/>
                  <a:pt x="483" y="626"/>
                </a:cubicBezTo>
                <a:cubicBezTo>
                  <a:pt x="476" y="633"/>
                  <a:pt x="476" y="645"/>
                  <a:pt x="483" y="652"/>
                </a:cubicBezTo>
                <a:cubicBezTo>
                  <a:pt x="486" y="655"/>
                  <a:pt x="491" y="657"/>
                  <a:pt x="496" y="657"/>
                </a:cubicBezTo>
                <a:cubicBezTo>
                  <a:pt x="500" y="657"/>
                  <a:pt x="505" y="655"/>
                  <a:pt x="509" y="652"/>
                </a:cubicBezTo>
                <a:cubicBezTo>
                  <a:pt x="534" y="626"/>
                  <a:pt x="534" y="626"/>
                  <a:pt x="534" y="626"/>
                </a:cubicBezTo>
                <a:cubicBezTo>
                  <a:pt x="689" y="780"/>
                  <a:pt x="689" y="780"/>
                  <a:pt x="689" y="780"/>
                </a:cubicBezTo>
                <a:cubicBezTo>
                  <a:pt x="702" y="794"/>
                  <a:pt x="721" y="802"/>
                  <a:pt x="740" y="802"/>
                </a:cubicBezTo>
                <a:cubicBezTo>
                  <a:pt x="759" y="802"/>
                  <a:pt x="778" y="794"/>
                  <a:pt x="791" y="780"/>
                </a:cubicBezTo>
                <a:cubicBezTo>
                  <a:pt x="805" y="767"/>
                  <a:pt x="813" y="748"/>
                  <a:pt x="813" y="729"/>
                </a:cubicBezTo>
                <a:cubicBezTo>
                  <a:pt x="813" y="709"/>
                  <a:pt x="805" y="691"/>
                  <a:pt x="791" y="677"/>
                </a:cubicBezTo>
                <a:close/>
                <a:moveTo>
                  <a:pt x="134" y="148"/>
                </a:moveTo>
                <a:cubicBezTo>
                  <a:pt x="57" y="71"/>
                  <a:pt x="57" y="71"/>
                  <a:pt x="57" y="71"/>
                </a:cubicBezTo>
                <a:cubicBezTo>
                  <a:pt x="82" y="46"/>
                  <a:pt x="82" y="46"/>
                  <a:pt x="82" y="46"/>
                </a:cubicBezTo>
                <a:cubicBezTo>
                  <a:pt x="160" y="123"/>
                  <a:pt x="160" y="123"/>
                  <a:pt x="160" y="123"/>
                </a:cubicBezTo>
                <a:lnTo>
                  <a:pt x="134" y="148"/>
                </a:lnTo>
                <a:close/>
                <a:moveTo>
                  <a:pt x="297" y="568"/>
                </a:moveTo>
                <a:cubicBezTo>
                  <a:pt x="292" y="574"/>
                  <a:pt x="291" y="582"/>
                  <a:pt x="293" y="588"/>
                </a:cubicBezTo>
                <a:cubicBezTo>
                  <a:pt x="314" y="636"/>
                  <a:pt x="303" y="691"/>
                  <a:pt x="266" y="728"/>
                </a:cubicBezTo>
                <a:cubicBezTo>
                  <a:pt x="242" y="752"/>
                  <a:pt x="210" y="765"/>
                  <a:pt x="176" y="765"/>
                </a:cubicBezTo>
                <a:cubicBezTo>
                  <a:pt x="169" y="765"/>
                  <a:pt x="161" y="765"/>
                  <a:pt x="154" y="763"/>
                </a:cubicBezTo>
                <a:cubicBezTo>
                  <a:pt x="202" y="715"/>
                  <a:pt x="202" y="715"/>
                  <a:pt x="202" y="715"/>
                </a:cubicBezTo>
                <a:cubicBezTo>
                  <a:pt x="205" y="712"/>
                  <a:pt x="207" y="707"/>
                  <a:pt x="207" y="702"/>
                </a:cubicBezTo>
                <a:cubicBezTo>
                  <a:pt x="207" y="625"/>
                  <a:pt x="207" y="625"/>
                  <a:pt x="207" y="625"/>
                </a:cubicBezTo>
                <a:cubicBezTo>
                  <a:pt x="207" y="615"/>
                  <a:pt x="199" y="607"/>
                  <a:pt x="189" y="607"/>
                </a:cubicBezTo>
                <a:cubicBezTo>
                  <a:pt x="112" y="607"/>
                  <a:pt x="112" y="607"/>
                  <a:pt x="112" y="607"/>
                </a:cubicBezTo>
                <a:cubicBezTo>
                  <a:pt x="107" y="607"/>
                  <a:pt x="103" y="609"/>
                  <a:pt x="99" y="612"/>
                </a:cubicBezTo>
                <a:cubicBezTo>
                  <a:pt x="51" y="661"/>
                  <a:pt x="51" y="661"/>
                  <a:pt x="51" y="661"/>
                </a:cubicBezTo>
                <a:cubicBezTo>
                  <a:pt x="44" y="620"/>
                  <a:pt x="56" y="578"/>
                  <a:pt x="86" y="548"/>
                </a:cubicBezTo>
                <a:cubicBezTo>
                  <a:pt x="110" y="524"/>
                  <a:pt x="142" y="511"/>
                  <a:pt x="176" y="511"/>
                </a:cubicBezTo>
                <a:cubicBezTo>
                  <a:pt x="193" y="511"/>
                  <a:pt x="210" y="514"/>
                  <a:pt x="226" y="521"/>
                </a:cubicBezTo>
                <a:cubicBezTo>
                  <a:pt x="233" y="524"/>
                  <a:pt x="241" y="522"/>
                  <a:pt x="246" y="517"/>
                </a:cubicBezTo>
                <a:cubicBezTo>
                  <a:pt x="528" y="235"/>
                  <a:pt x="528" y="235"/>
                  <a:pt x="528" y="235"/>
                </a:cubicBezTo>
                <a:cubicBezTo>
                  <a:pt x="533" y="230"/>
                  <a:pt x="535" y="222"/>
                  <a:pt x="532" y="215"/>
                </a:cubicBezTo>
                <a:cubicBezTo>
                  <a:pt x="512" y="167"/>
                  <a:pt x="522" y="112"/>
                  <a:pt x="559" y="75"/>
                </a:cubicBezTo>
                <a:cubicBezTo>
                  <a:pt x="583" y="51"/>
                  <a:pt x="615" y="38"/>
                  <a:pt x="649" y="38"/>
                </a:cubicBezTo>
                <a:cubicBezTo>
                  <a:pt x="657" y="38"/>
                  <a:pt x="664" y="39"/>
                  <a:pt x="671" y="40"/>
                </a:cubicBezTo>
                <a:cubicBezTo>
                  <a:pt x="623" y="88"/>
                  <a:pt x="623" y="88"/>
                  <a:pt x="623" y="88"/>
                </a:cubicBezTo>
                <a:cubicBezTo>
                  <a:pt x="620" y="92"/>
                  <a:pt x="618" y="96"/>
                  <a:pt x="618" y="101"/>
                </a:cubicBezTo>
                <a:cubicBezTo>
                  <a:pt x="618" y="178"/>
                  <a:pt x="618" y="178"/>
                  <a:pt x="618" y="178"/>
                </a:cubicBezTo>
                <a:cubicBezTo>
                  <a:pt x="618" y="188"/>
                  <a:pt x="626" y="196"/>
                  <a:pt x="636" y="196"/>
                </a:cubicBezTo>
                <a:cubicBezTo>
                  <a:pt x="713" y="196"/>
                  <a:pt x="713" y="196"/>
                  <a:pt x="713" y="196"/>
                </a:cubicBezTo>
                <a:cubicBezTo>
                  <a:pt x="718" y="196"/>
                  <a:pt x="723" y="195"/>
                  <a:pt x="726" y="191"/>
                </a:cubicBezTo>
                <a:cubicBezTo>
                  <a:pt x="774" y="143"/>
                  <a:pt x="774" y="143"/>
                  <a:pt x="774" y="143"/>
                </a:cubicBezTo>
                <a:cubicBezTo>
                  <a:pt x="782" y="183"/>
                  <a:pt x="769" y="225"/>
                  <a:pt x="739" y="255"/>
                </a:cubicBezTo>
                <a:cubicBezTo>
                  <a:pt x="715" y="279"/>
                  <a:pt x="683" y="293"/>
                  <a:pt x="649" y="293"/>
                </a:cubicBezTo>
                <a:cubicBezTo>
                  <a:pt x="632" y="293"/>
                  <a:pt x="615" y="289"/>
                  <a:pt x="599" y="283"/>
                </a:cubicBezTo>
                <a:cubicBezTo>
                  <a:pt x="593" y="280"/>
                  <a:pt x="585" y="281"/>
                  <a:pt x="579" y="286"/>
                </a:cubicBezTo>
                <a:lnTo>
                  <a:pt x="297" y="568"/>
                </a:lnTo>
                <a:close/>
                <a:moveTo>
                  <a:pt x="766" y="755"/>
                </a:moveTo>
                <a:cubicBezTo>
                  <a:pt x="752" y="768"/>
                  <a:pt x="728" y="768"/>
                  <a:pt x="714" y="755"/>
                </a:cubicBezTo>
                <a:cubicBezTo>
                  <a:pt x="560" y="600"/>
                  <a:pt x="560" y="600"/>
                  <a:pt x="560" y="600"/>
                </a:cubicBezTo>
                <a:cubicBezTo>
                  <a:pt x="611" y="549"/>
                  <a:pt x="611" y="549"/>
                  <a:pt x="611" y="549"/>
                </a:cubicBezTo>
                <a:cubicBezTo>
                  <a:pt x="766" y="703"/>
                  <a:pt x="766" y="703"/>
                  <a:pt x="766" y="703"/>
                </a:cubicBezTo>
                <a:cubicBezTo>
                  <a:pt x="773" y="710"/>
                  <a:pt x="776" y="719"/>
                  <a:pt x="776" y="729"/>
                </a:cubicBezTo>
                <a:cubicBezTo>
                  <a:pt x="776" y="739"/>
                  <a:pt x="773" y="748"/>
                  <a:pt x="766" y="75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Arial" charset="0"/>
              <a:cs typeface="Arial" charset="0"/>
            </a:endParaRPr>
          </a:p>
        </p:txBody>
      </p:sp>
      <p:sp>
        <p:nvSpPr>
          <p:cNvPr id="22" name="CuadroTexto 21">
            <a:extLst>
              <a:ext uri="{FF2B5EF4-FFF2-40B4-BE49-F238E27FC236}">
                <a16:creationId xmlns:a16="http://schemas.microsoft.com/office/drawing/2014/main" id="{0A1A6AB0-1ED1-83D9-74D8-3408A7762DAC}"/>
              </a:ext>
            </a:extLst>
          </p:cNvPr>
          <p:cNvSpPr txBox="1"/>
          <p:nvPr/>
        </p:nvSpPr>
        <p:spPr>
          <a:xfrm>
            <a:off x="109332" y="4732299"/>
            <a:ext cx="7186204" cy="588623"/>
          </a:xfrm>
          <a:prstGeom prst="rect">
            <a:avLst/>
          </a:prstGeom>
          <a:noFill/>
        </p:spPr>
        <p:txBody>
          <a:bodyPr wrap="square">
            <a:spAutoFit/>
          </a:bodyPr>
          <a:lstStyle/>
          <a:p>
            <a:pPr marL="0" lvl="1" fontAlgn="t">
              <a:lnSpc>
                <a:spcPct val="150000"/>
              </a:lnSpc>
              <a:spcAft>
                <a:spcPts val="600"/>
              </a:spcAft>
              <a:defRPr/>
            </a:pPr>
            <a:r>
              <a:rPr lang="en-GB" sz="1050" noProof="0">
                <a:solidFill>
                  <a:prstClr val="black"/>
                </a:solidFill>
                <a:ea typeface="Calibri"/>
                <a:cs typeface="Calibri"/>
              </a:rPr>
              <a:t>We helped define the company's new reporting layer based on all our reporting accelerators, accelerating implementation and providing powerful insights in dashboards.</a:t>
            </a:r>
            <a:endParaRPr kumimoji="0" lang="en-GB" sz="1050" b="0" i="0" u="none" strike="noStrike" kern="1200" cap="none" spc="0" normalizeH="0" baseline="0" noProof="0">
              <a:ln>
                <a:noFill/>
              </a:ln>
              <a:solidFill>
                <a:prstClr val="black"/>
              </a:solidFill>
              <a:effectLst/>
              <a:uLnTx/>
              <a:uFillTx/>
              <a:latin typeface="Calibri" panose="020F0502020204030204"/>
              <a:ea typeface="Calibri"/>
              <a:cs typeface="Calibri"/>
            </a:endParaRPr>
          </a:p>
        </p:txBody>
      </p:sp>
      <p:sp>
        <p:nvSpPr>
          <p:cNvPr id="23" name="CuadroTexto 22">
            <a:extLst>
              <a:ext uri="{FF2B5EF4-FFF2-40B4-BE49-F238E27FC236}">
                <a16:creationId xmlns:a16="http://schemas.microsoft.com/office/drawing/2014/main" id="{65796A44-33D5-008E-2B94-FD698E26AFFC}"/>
              </a:ext>
            </a:extLst>
          </p:cNvPr>
          <p:cNvSpPr txBox="1"/>
          <p:nvPr/>
        </p:nvSpPr>
        <p:spPr>
          <a:xfrm>
            <a:off x="121902" y="2443282"/>
            <a:ext cx="7186204" cy="819455"/>
          </a:xfrm>
          <a:prstGeom prst="rect">
            <a:avLst/>
          </a:prstGeom>
          <a:noFill/>
        </p:spPr>
        <p:txBody>
          <a:bodyPr wrap="square">
            <a:spAutoFit/>
          </a:bodyPr>
          <a:lstStyle/>
          <a:p>
            <a:pPr marL="0" lvl="1" fontAlgn="t">
              <a:lnSpc>
                <a:spcPct val="150000"/>
              </a:lnSpc>
              <a:spcAft>
                <a:spcPts val="600"/>
              </a:spcAft>
              <a:defRPr/>
            </a:pPr>
            <a:r>
              <a:rPr lang="en-GB" sz="1050" noProof="0">
                <a:solidFill>
                  <a:srgbClr val="000000"/>
                </a:solidFill>
                <a:ea typeface="Calibri"/>
                <a:cs typeface="Calibri"/>
              </a:rPr>
              <a:t>It becomes the first point of communication when there are requests related to </a:t>
            </a:r>
            <a:r>
              <a:rPr lang="en-GB" sz="1050" noProof="0" err="1">
                <a:solidFill>
                  <a:srgbClr val="000000"/>
                </a:solidFill>
                <a:ea typeface="Calibri"/>
                <a:cs typeface="Calibri"/>
              </a:rPr>
              <a:t>DataSphere</a:t>
            </a:r>
            <a:r>
              <a:rPr lang="en-GB" sz="1050" noProof="0">
                <a:solidFill>
                  <a:srgbClr val="000000"/>
                </a:solidFill>
                <a:ea typeface="Calibri"/>
                <a:cs typeface="Calibri"/>
              </a:rPr>
              <a:t>: it responds to incidents, provides tutorials on how models are made or answers any questions that exist in the official manuals. It saves IT and AM teams a lot of time.</a:t>
            </a:r>
            <a:endParaRPr kumimoji="0" lang="en-GB" sz="1100" b="1" i="0" u="none" strike="noStrike" kern="1200" cap="none" spc="0" normalizeH="0" baseline="0" noProof="0">
              <a:ln>
                <a:noFill/>
              </a:ln>
              <a:solidFill>
                <a:srgbClr val="000000"/>
              </a:solidFill>
              <a:effectLst/>
              <a:uLnTx/>
              <a:uFillTx/>
              <a:latin typeface="Calibri" panose="020F0502020204030204"/>
              <a:ea typeface="Calibri"/>
              <a:cs typeface="Calibri"/>
            </a:endParaRPr>
          </a:p>
        </p:txBody>
      </p:sp>
      <p:sp>
        <p:nvSpPr>
          <p:cNvPr id="25" name="Redondear rectángulo de esquina del mismo lado 270">
            <a:extLst>
              <a:ext uri="{FF2B5EF4-FFF2-40B4-BE49-F238E27FC236}">
                <a16:creationId xmlns:a16="http://schemas.microsoft.com/office/drawing/2014/main" id="{04BAA7A2-DE36-91B2-8033-CFB3D51FC26E}"/>
              </a:ext>
            </a:extLst>
          </p:cNvPr>
          <p:cNvSpPr/>
          <p:nvPr/>
        </p:nvSpPr>
        <p:spPr bwMode="auto">
          <a:xfrm rot="5400000">
            <a:off x="3505334" y="1932721"/>
            <a:ext cx="369332" cy="7380000"/>
          </a:xfrm>
          <a:prstGeom prst="round2SameRect">
            <a:avLst>
              <a:gd name="adj1" fmla="val 46994"/>
              <a:gd name="adj2" fmla="val 0"/>
            </a:avLst>
          </a:prstGeom>
          <a:solidFill>
            <a:srgbClr val="C7F5F3"/>
          </a:solidFill>
          <a:ln>
            <a:noFill/>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Rectángulo 142">
            <a:extLst>
              <a:ext uri="{FF2B5EF4-FFF2-40B4-BE49-F238E27FC236}">
                <a16:creationId xmlns:a16="http://schemas.microsoft.com/office/drawing/2014/main" id="{6B4FBD31-C9E4-DD3F-9ED4-6C7DC0FB9886}"/>
              </a:ext>
            </a:extLst>
          </p:cNvPr>
          <p:cNvSpPr/>
          <p:nvPr/>
        </p:nvSpPr>
        <p:spPr>
          <a:xfrm>
            <a:off x="699903" y="5492607"/>
            <a:ext cx="622766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Calibri" panose="020F0502020204030204"/>
                <a:ea typeface="+mn-ea"/>
                <a:cs typeface="+mn-cs"/>
              </a:rPr>
              <a:t>DATA GOVERNANCE PACK</a:t>
            </a:r>
          </a:p>
        </p:txBody>
      </p:sp>
      <p:sp>
        <p:nvSpPr>
          <p:cNvPr id="27" name="Freeform 33">
            <a:extLst>
              <a:ext uri="{FF2B5EF4-FFF2-40B4-BE49-F238E27FC236}">
                <a16:creationId xmlns:a16="http://schemas.microsoft.com/office/drawing/2014/main" id="{B54D3232-D9A9-A753-F01A-BE85ED7C1F08}"/>
              </a:ext>
            </a:extLst>
          </p:cNvPr>
          <p:cNvSpPr>
            <a:spLocks noChangeAspect="1" noEditPoints="1"/>
          </p:cNvSpPr>
          <p:nvPr/>
        </p:nvSpPr>
        <p:spPr bwMode="auto">
          <a:xfrm>
            <a:off x="316697" y="5514630"/>
            <a:ext cx="290614" cy="225123"/>
          </a:xfrm>
          <a:custGeom>
            <a:avLst/>
            <a:gdLst>
              <a:gd name="T0" fmla="*/ 637 w 826"/>
              <a:gd name="T1" fmla="*/ 523 h 802"/>
              <a:gd name="T2" fmla="*/ 663 w 826"/>
              <a:gd name="T3" fmla="*/ 472 h 802"/>
              <a:gd name="T4" fmla="*/ 573 w 826"/>
              <a:gd name="T5" fmla="*/ 536 h 802"/>
              <a:gd name="T6" fmla="*/ 597 w 826"/>
              <a:gd name="T7" fmla="*/ 320 h 802"/>
              <a:gd name="T8" fmla="*/ 765 w 826"/>
              <a:gd name="T9" fmla="*/ 281 h 802"/>
              <a:gd name="T10" fmla="*/ 786 w 826"/>
              <a:gd name="T11" fmla="*/ 91 h 802"/>
              <a:gd name="T12" fmla="*/ 706 w 826"/>
              <a:gd name="T13" fmla="*/ 160 h 802"/>
              <a:gd name="T14" fmla="*/ 654 w 826"/>
              <a:gd name="T15" fmla="*/ 109 h 802"/>
              <a:gd name="T16" fmla="*/ 724 w 826"/>
              <a:gd name="T17" fmla="*/ 28 h 802"/>
              <a:gd name="T18" fmla="*/ 649 w 826"/>
              <a:gd name="T19" fmla="*/ 2 h 802"/>
              <a:gd name="T20" fmla="*/ 494 w 826"/>
              <a:gd name="T21" fmla="*/ 218 h 802"/>
              <a:gd name="T22" fmla="*/ 185 w 826"/>
              <a:gd name="T23" fmla="*/ 148 h 802"/>
              <a:gd name="T24" fmla="*/ 203 w 826"/>
              <a:gd name="T25" fmla="*/ 123 h 802"/>
              <a:gd name="T26" fmla="*/ 95 w 826"/>
              <a:gd name="T27" fmla="*/ 7 h 802"/>
              <a:gd name="T28" fmla="*/ 18 w 826"/>
              <a:gd name="T29" fmla="*/ 58 h 802"/>
              <a:gd name="T30" fmla="*/ 18 w 826"/>
              <a:gd name="T31" fmla="*/ 84 h 802"/>
              <a:gd name="T32" fmla="*/ 134 w 826"/>
              <a:gd name="T33" fmla="*/ 192 h 802"/>
              <a:gd name="T34" fmla="*/ 160 w 826"/>
              <a:gd name="T35" fmla="*/ 174 h 802"/>
              <a:gd name="T36" fmla="*/ 228 w 826"/>
              <a:gd name="T37" fmla="*/ 483 h 802"/>
              <a:gd name="T38" fmla="*/ 61 w 826"/>
              <a:gd name="T39" fmla="*/ 522 h 802"/>
              <a:gd name="T40" fmla="*/ 39 w 826"/>
              <a:gd name="T41" fmla="*/ 713 h 802"/>
              <a:gd name="T42" fmla="*/ 120 w 826"/>
              <a:gd name="T43" fmla="*/ 643 h 802"/>
              <a:gd name="T44" fmla="*/ 171 w 826"/>
              <a:gd name="T45" fmla="*/ 695 h 802"/>
              <a:gd name="T46" fmla="*/ 102 w 826"/>
              <a:gd name="T47" fmla="*/ 775 h 802"/>
              <a:gd name="T48" fmla="*/ 176 w 826"/>
              <a:gd name="T49" fmla="*/ 802 h 802"/>
              <a:gd name="T50" fmla="*/ 331 w 826"/>
              <a:gd name="T51" fmla="*/ 586 h 802"/>
              <a:gd name="T52" fmla="*/ 547 w 826"/>
              <a:gd name="T53" fmla="*/ 562 h 802"/>
              <a:gd name="T54" fmla="*/ 483 w 826"/>
              <a:gd name="T55" fmla="*/ 652 h 802"/>
              <a:gd name="T56" fmla="*/ 509 w 826"/>
              <a:gd name="T57" fmla="*/ 652 h 802"/>
              <a:gd name="T58" fmla="*/ 689 w 826"/>
              <a:gd name="T59" fmla="*/ 780 h 802"/>
              <a:gd name="T60" fmla="*/ 791 w 826"/>
              <a:gd name="T61" fmla="*/ 780 h 802"/>
              <a:gd name="T62" fmla="*/ 791 w 826"/>
              <a:gd name="T63" fmla="*/ 677 h 802"/>
              <a:gd name="T64" fmla="*/ 57 w 826"/>
              <a:gd name="T65" fmla="*/ 71 h 802"/>
              <a:gd name="T66" fmla="*/ 160 w 826"/>
              <a:gd name="T67" fmla="*/ 123 h 802"/>
              <a:gd name="T68" fmla="*/ 297 w 826"/>
              <a:gd name="T69" fmla="*/ 568 h 802"/>
              <a:gd name="T70" fmla="*/ 266 w 826"/>
              <a:gd name="T71" fmla="*/ 728 h 802"/>
              <a:gd name="T72" fmla="*/ 154 w 826"/>
              <a:gd name="T73" fmla="*/ 763 h 802"/>
              <a:gd name="T74" fmla="*/ 207 w 826"/>
              <a:gd name="T75" fmla="*/ 702 h 802"/>
              <a:gd name="T76" fmla="*/ 189 w 826"/>
              <a:gd name="T77" fmla="*/ 607 h 802"/>
              <a:gd name="T78" fmla="*/ 99 w 826"/>
              <a:gd name="T79" fmla="*/ 612 h 802"/>
              <a:gd name="T80" fmla="*/ 86 w 826"/>
              <a:gd name="T81" fmla="*/ 548 h 802"/>
              <a:gd name="T82" fmla="*/ 226 w 826"/>
              <a:gd name="T83" fmla="*/ 521 h 802"/>
              <a:gd name="T84" fmla="*/ 528 w 826"/>
              <a:gd name="T85" fmla="*/ 235 h 802"/>
              <a:gd name="T86" fmla="*/ 559 w 826"/>
              <a:gd name="T87" fmla="*/ 75 h 802"/>
              <a:gd name="T88" fmla="*/ 671 w 826"/>
              <a:gd name="T89" fmla="*/ 40 h 802"/>
              <a:gd name="T90" fmla="*/ 618 w 826"/>
              <a:gd name="T91" fmla="*/ 101 h 802"/>
              <a:gd name="T92" fmla="*/ 636 w 826"/>
              <a:gd name="T93" fmla="*/ 196 h 802"/>
              <a:gd name="T94" fmla="*/ 726 w 826"/>
              <a:gd name="T95" fmla="*/ 191 h 802"/>
              <a:gd name="T96" fmla="*/ 739 w 826"/>
              <a:gd name="T97" fmla="*/ 255 h 802"/>
              <a:gd name="T98" fmla="*/ 599 w 826"/>
              <a:gd name="T99" fmla="*/ 283 h 802"/>
              <a:gd name="T100" fmla="*/ 297 w 826"/>
              <a:gd name="T101" fmla="*/ 568 h 802"/>
              <a:gd name="T102" fmla="*/ 714 w 826"/>
              <a:gd name="T103" fmla="*/ 755 h 802"/>
              <a:gd name="T104" fmla="*/ 611 w 826"/>
              <a:gd name="T105" fmla="*/ 549 h 802"/>
              <a:gd name="T106" fmla="*/ 776 w 826"/>
              <a:gd name="T107" fmla="*/ 729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26" h="802">
                <a:moveTo>
                  <a:pt x="791" y="677"/>
                </a:moveTo>
                <a:cubicBezTo>
                  <a:pt x="637" y="523"/>
                  <a:pt x="637" y="523"/>
                  <a:pt x="637" y="523"/>
                </a:cubicBezTo>
                <a:cubicBezTo>
                  <a:pt x="663" y="498"/>
                  <a:pt x="663" y="498"/>
                  <a:pt x="663" y="498"/>
                </a:cubicBezTo>
                <a:cubicBezTo>
                  <a:pt x="670" y="490"/>
                  <a:pt x="670" y="479"/>
                  <a:pt x="663" y="472"/>
                </a:cubicBezTo>
                <a:cubicBezTo>
                  <a:pt x="656" y="465"/>
                  <a:pt x="644" y="465"/>
                  <a:pt x="637" y="472"/>
                </a:cubicBezTo>
                <a:cubicBezTo>
                  <a:pt x="573" y="536"/>
                  <a:pt x="573" y="536"/>
                  <a:pt x="573" y="536"/>
                </a:cubicBezTo>
                <a:cubicBezTo>
                  <a:pt x="477" y="440"/>
                  <a:pt x="477" y="440"/>
                  <a:pt x="477" y="440"/>
                </a:cubicBezTo>
                <a:cubicBezTo>
                  <a:pt x="597" y="320"/>
                  <a:pt x="597" y="320"/>
                  <a:pt x="597" y="320"/>
                </a:cubicBezTo>
                <a:cubicBezTo>
                  <a:pt x="614" y="326"/>
                  <a:pt x="631" y="329"/>
                  <a:pt x="649" y="329"/>
                </a:cubicBezTo>
                <a:cubicBezTo>
                  <a:pt x="693" y="329"/>
                  <a:pt x="734" y="312"/>
                  <a:pt x="765" y="281"/>
                </a:cubicBezTo>
                <a:cubicBezTo>
                  <a:pt x="812" y="234"/>
                  <a:pt x="826" y="163"/>
                  <a:pt x="800" y="102"/>
                </a:cubicBezTo>
                <a:cubicBezTo>
                  <a:pt x="797" y="96"/>
                  <a:pt x="792" y="92"/>
                  <a:pt x="786" y="91"/>
                </a:cubicBezTo>
                <a:cubicBezTo>
                  <a:pt x="780" y="90"/>
                  <a:pt x="774" y="92"/>
                  <a:pt x="770" y="96"/>
                </a:cubicBezTo>
                <a:cubicBezTo>
                  <a:pt x="706" y="160"/>
                  <a:pt x="706" y="160"/>
                  <a:pt x="706" y="160"/>
                </a:cubicBezTo>
                <a:cubicBezTo>
                  <a:pt x="654" y="160"/>
                  <a:pt x="654" y="160"/>
                  <a:pt x="654" y="160"/>
                </a:cubicBezTo>
                <a:cubicBezTo>
                  <a:pt x="654" y="109"/>
                  <a:pt x="654" y="109"/>
                  <a:pt x="654" y="109"/>
                </a:cubicBezTo>
                <a:cubicBezTo>
                  <a:pt x="719" y="44"/>
                  <a:pt x="719" y="44"/>
                  <a:pt x="719" y="44"/>
                </a:cubicBezTo>
                <a:cubicBezTo>
                  <a:pt x="723" y="40"/>
                  <a:pt x="725" y="34"/>
                  <a:pt x="724" y="28"/>
                </a:cubicBezTo>
                <a:cubicBezTo>
                  <a:pt x="722" y="22"/>
                  <a:pt x="718" y="17"/>
                  <a:pt x="713" y="15"/>
                </a:cubicBezTo>
                <a:cubicBezTo>
                  <a:pt x="692" y="6"/>
                  <a:pt x="671" y="2"/>
                  <a:pt x="649" y="2"/>
                </a:cubicBezTo>
                <a:cubicBezTo>
                  <a:pt x="605" y="2"/>
                  <a:pt x="564" y="19"/>
                  <a:pt x="533" y="50"/>
                </a:cubicBezTo>
                <a:cubicBezTo>
                  <a:pt x="489" y="94"/>
                  <a:pt x="474" y="159"/>
                  <a:pt x="494" y="218"/>
                </a:cubicBezTo>
                <a:cubicBezTo>
                  <a:pt x="374" y="337"/>
                  <a:pt x="374" y="337"/>
                  <a:pt x="374" y="337"/>
                </a:cubicBezTo>
                <a:cubicBezTo>
                  <a:pt x="185" y="148"/>
                  <a:pt x="185" y="148"/>
                  <a:pt x="185" y="148"/>
                </a:cubicBezTo>
                <a:cubicBezTo>
                  <a:pt x="198" y="136"/>
                  <a:pt x="198" y="136"/>
                  <a:pt x="198" y="136"/>
                </a:cubicBezTo>
                <a:cubicBezTo>
                  <a:pt x="201" y="132"/>
                  <a:pt x="203" y="128"/>
                  <a:pt x="203" y="123"/>
                </a:cubicBezTo>
                <a:cubicBezTo>
                  <a:pt x="203" y="118"/>
                  <a:pt x="201" y="113"/>
                  <a:pt x="198" y="110"/>
                </a:cubicBezTo>
                <a:cubicBezTo>
                  <a:pt x="95" y="7"/>
                  <a:pt x="95" y="7"/>
                  <a:pt x="95" y="7"/>
                </a:cubicBezTo>
                <a:cubicBezTo>
                  <a:pt x="88" y="0"/>
                  <a:pt x="77" y="0"/>
                  <a:pt x="70" y="7"/>
                </a:cubicBezTo>
                <a:cubicBezTo>
                  <a:pt x="18" y="58"/>
                  <a:pt x="18" y="58"/>
                  <a:pt x="18" y="58"/>
                </a:cubicBezTo>
                <a:cubicBezTo>
                  <a:pt x="15" y="62"/>
                  <a:pt x="13" y="66"/>
                  <a:pt x="13" y="71"/>
                </a:cubicBezTo>
                <a:cubicBezTo>
                  <a:pt x="13" y="76"/>
                  <a:pt x="15" y="81"/>
                  <a:pt x="18" y="84"/>
                </a:cubicBezTo>
                <a:cubicBezTo>
                  <a:pt x="121" y="187"/>
                  <a:pt x="121" y="187"/>
                  <a:pt x="121" y="187"/>
                </a:cubicBezTo>
                <a:cubicBezTo>
                  <a:pt x="124" y="191"/>
                  <a:pt x="129" y="192"/>
                  <a:pt x="134" y="192"/>
                </a:cubicBezTo>
                <a:cubicBezTo>
                  <a:pt x="138" y="192"/>
                  <a:pt x="143" y="191"/>
                  <a:pt x="147" y="187"/>
                </a:cubicBezTo>
                <a:cubicBezTo>
                  <a:pt x="160" y="174"/>
                  <a:pt x="160" y="174"/>
                  <a:pt x="160" y="174"/>
                </a:cubicBezTo>
                <a:cubicBezTo>
                  <a:pt x="348" y="363"/>
                  <a:pt x="348" y="363"/>
                  <a:pt x="348" y="363"/>
                </a:cubicBezTo>
                <a:cubicBezTo>
                  <a:pt x="228" y="483"/>
                  <a:pt x="228" y="483"/>
                  <a:pt x="228" y="483"/>
                </a:cubicBezTo>
                <a:cubicBezTo>
                  <a:pt x="212" y="477"/>
                  <a:pt x="194" y="475"/>
                  <a:pt x="176" y="475"/>
                </a:cubicBezTo>
                <a:cubicBezTo>
                  <a:pt x="133" y="475"/>
                  <a:pt x="91" y="492"/>
                  <a:pt x="61" y="522"/>
                </a:cubicBezTo>
                <a:cubicBezTo>
                  <a:pt x="13" y="570"/>
                  <a:pt x="0" y="640"/>
                  <a:pt x="26" y="702"/>
                </a:cubicBezTo>
                <a:cubicBezTo>
                  <a:pt x="28" y="707"/>
                  <a:pt x="33" y="711"/>
                  <a:pt x="39" y="713"/>
                </a:cubicBezTo>
                <a:cubicBezTo>
                  <a:pt x="45" y="714"/>
                  <a:pt x="51" y="712"/>
                  <a:pt x="55" y="708"/>
                </a:cubicBezTo>
                <a:cubicBezTo>
                  <a:pt x="120" y="643"/>
                  <a:pt x="120" y="643"/>
                  <a:pt x="120" y="643"/>
                </a:cubicBezTo>
                <a:cubicBezTo>
                  <a:pt x="171" y="643"/>
                  <a:pt x="171" y="643"/>
                  <a:pt x="171" y="643"/>
                </a:cubicBezTo>
                <a:cubicBezTo>
                  <a:pt x="171" y="695"/>
                  <a:pt x="171" y="695"/>
                  <a:pt x="171" y="695"/>
                </a:cubicBezTo>
                <a:cubicBezTo>
                  <a:pt x="107" y="759"/>
                  <a:pt x="107" y="759"/>
                  <a:pt x="107" y="759"/>
                </a:cubicBezTo>
                <a:cubicBezTo>
                  <a:pt x="102" y="763"/>
                  <a:pt x="101" y="769"/>
                  <a:pt x="102" y="775"/>
                </a:cubicBezTo>
                <a:cubicBezTo>
                  <a:pt x="103" y="781"/>
                  <a:pt x="107" y="786"/>
                  <a:pt x="113" y="789"/>
                </a:cubicBezTo>
                <a:cubicBezTo>
                  <a:pt x="133" y="797"/>
                  <a:pt x="154" y="802"/>
                  <a:pt x="176" y="802"/>
                </a:cubicBezTo>
                <a:cubicBezTo>
                  <a:pt x="220" y="802"/>
                  <a:pt x="261" y="785"/>
                  <a:pt x="292" y="754"/>
                </a:cubicBezTo>
                <a:cubicBezTo>
                  <a:pt x="336" y="709"/>
                  <a:pt x="351" y="645"/>
                  <a:pt x="331" y="586"/>
                </a:cubicBezTo>
                <a:cubicBezTo>
                  <a:pt x="451" y="466"/>
                  <a:pt x="451" y="466"/>
                  <a:pt x="451" y="466"/>
                </a:cubicBezTo>
                <a:cubicBezTo>
                  <a:pt x="547" y="562"/>
                  <a:pt x="547" y="562"/>
                  <a:pt x="547" y="562"/>
                </a:cubicBezTo>
                <a:cubicBezTo>
                  <a:pt x="483" y="626"/>
                  <a:pt x="483" y="626"/>
                  <a:pt x="483" y="626"/>
                </a:cubicBezTo>
                <a:cubicBezTo>
                  <a:pt x="476" y="633"/>
                  <a:pt x="476" y="645"/>
                  <a:pt x="483" y="652"/>
                </a:cubicBezTo>
                <a:cubicBezTo>
                  <a:pt x="486" y="655"/>
                  <a:pt x="491" y="657"/>
                  <a:pt x="496" y="657"/>
                </a:cubicBezTo>
                <a:cubicBezTo>
                  <a:pt x="500" y="657"/>
                  <a:pt x="505" y="655"/>
                  <a:pt x="509" y="652"/>
                </a:cubicBezTo>
                <a:cubicBezTo>
                  <a:pt x="534" y="626"/>
                  <a:pt x="534" y="626"/>
                  <a:pt x="534" y="626"/>
                </a:cubicBezTo>
                <a:cubicBezTo>
                  <a:pt x="689" y="780"/>
                  <a:pt x="689" y="780"/>
                  <a:pt x="689" y="780"/>
                </a:cubicBezTo>
                <a:cubicBezTo>
                  <a:pt x="702" y="794"/>
                  <a:pt x="721" y="802"/>
                  <a:pt x="740" y="802"/>
                </a:cubicBezTo>
                <a:cubicBezTo>
                  <a:pt x="759" y="802"/>
                  <a:pt x="778" y="794"/>
                  <a:pt x="791" y="780"/>
                </a:cubicBezTo>
                <a:cubicBezTo>
                  <a:pt x="805" y="767"/>
                  <a:pt x="813" y="748"/>
                  <a:pt x="813" y="729"/>
                </a:cubicBezTo>
                <a:cubicBezTo>
                  <a:pt x="813" y="709"/>
                  <a:pt x="805" y="691"/>
                  <a:pt x="791" y="677"/>
                </a:cubicBezTo>
                <a:close/>
                <a:moveTo>
                  <a:pt x="134" y="148"/>
                </a:moveTo>
                <a:cubicBezTo>
                  <a:pt x="57" y="71"/>
                  <a:pt x="57" y="71"/>
                  <a:pt x="57" y="71"/>
                </a:cubicBezTo>
                <a:cubicBezTo>
                  <a:pt x="82" y="46"/>
                  <a:pt x="82" y="46"/>
                  <a:pt x="82" y="46"/>
                </a:cubicBezTo>
                <a:cubicBezTo>
                  <a:pt x="160" y="123"/>
                  <a:pt x="160" y="123"/>
                  <a:pt x="160" y="123"/>
                </a:cubicBezTo>
                <a:lnTo>
                  <a:pt x="134" y="148"/>
                </a:lnTo>
                <a:close/>
                <a:moveTo>
                  <a:pt x="297" y="568"/>
                </a:moveTo>
                <a:cubicBezTo>
                  <a:pt x="292" y="574"/>
                  <a:pt x="291" y="582"/>
                  <a:pt x="293" y="588"/>
                </a:cubicBezTo>
                <a:cubicBezTo>
                  <a:pt x="314" y="636"/>
                  <a:pt x="303" y="691"/>
                  <a:pt x="266" y="728"/>
                </a:cubicBezTo>
                <a:cubicBezTo>
                  <a:pt x="242" y="752"/>
                  <a:pt x="210" y="765"/>
                  <a:pt x="176" y="765"/>
                </a:cubicBezTo>
                <a:cubicBezTo>
                  <a:pt x="169" y="765"/>
                  <a:pt x="161" y="765"/>
                  <a:pt x="154" y="763"/>
                </a:cubicBezTo>
                <a:cubicBezTo>
                  <a:pt x="202" y="715"/>
                  <a:pt x="202" y="715"/>
                  <a:pt x="202" y="715"/>
                </a:cubicBezTo>
                <a:cubicBezTo>
                  <a:pt x="205" y="712"/>
                  <a:pt x="207" y="707"/>
                  <a:pt x="207" y="702"/>
                </a:cubicBezTo>
                <a:cubicBezTo>
                  <a:pt x="207" y="625"/>
                  <a:pt x="207" y="625"/>
                  <a:pt x="207" y="625"/>
                </a:cubicBezTo>
                <a:cubicBezTo>
                  <a:pt x="207" y="615"/>
                  <a:pt x="199" y="607"/>
                  <a:pt x="189" y="607"/>
                </a:cubicBezTo>
                <a:cubicBezTo>
                  <a:pt x="112" y="607"/>
                  <a:pt x="112" y="607"/>
                  <a:pt x="112" y="607"/>
                </a:cubicBezTo>
                <a:cubicBezTo>
                  <a:pt x="107" y="607"/>
                  <a:pt x="103" y="609"/>
                  <a:pt x="99" y="612"/>
                </a:cubicBezTo>
                <a:cubicBezTo>
                  <a:pt x="51" y="661"/>
                  <a:pt x="51" y="661"/>
                  <a:pt x="51" y="661"/>
                </a:cubicBezTo>
                <a:cubicBezTo>
                  <a:pt x="44" y="620"/>
                  <a:pt x="56" y="578"/>
                  <a:pt x="86" y="548"/>
                </a:cubicBezTo>
                <a:cubicBezTo>
                  <a:pt x="110" y="524"/>
                  <a:pt x="142" y="511"/>
                  <a:pt x="176" y="511"/>
                </a:cubicBezTo>
                <a:cubicBezTo>
                  <a:pt x="193" y="511"/>
                  <a:pt x="210" y="514"/>
                  <a:pt x="226" y="521"/>
                </a:cubicBezTo>
                <a:cubicBezTo>
                  <a:pt x="233" y="524"/>
                  <a:pt x="241" y="522"/>
                  <a:pt x="246" y="517"/>
                </a:cubicBezTo>
                <a:cubicBezTo>
                  <a:pt x="528" y="235"/>
                  <a:pt x="528" y="235"/>
                  <a:pt x="528" y="235"/>
                </a:cubicBezTo>
                <a:cubicBezTo>
                  <a:pt x="533" y="230"/>
                  <a:pt x="535" y="222"/>
                  <a:pt x="532" y="215"/>
                </a:cubicBezTo>
                <a:cubicBezTo>
                  <a:pt x="512" y="167"/>
                  <a:pt x="522" y="112"/>
                  <a:pt x="559" y="75"/>
                </a:cubicBezTo>
                <a:cubicBezTo>
                  <a:pt x="583" y="51"/>
                  <a:pt x="615" y="38"/>
                  <a:pt x="649" y="38"/>
                </a:cubicBezTo>
                <a:cubicBezTo>
                  <a:pt x="657" y="38"/>
                  <a:pt x="664" y="39"/>
                  <a:pt x="671" y="40"/>
                </a:cubicBezTo>
                <a:cubicBezTo>
                  <a:pt x="623" y="88"/>
                  <a:pt x="623" y="88"/>
                  <a:pt x="623" y="88"/>
                </a:cubicBezTo>
                <a:cubicBezTo>
                  <a:pt x="620" y="92"/>
                  <a:pt x="618" y="96"/>
                  <a:pt x="618" y="101"/>
                </a:cubicBezTo>
                <a:cubicBezTo>
                  <a:pt x="618" y="178"/>
                  <a:pt x="618" y="178"/>
                  <a:pt x="618" y="178"/>
                </a:cubicBezTo>
                <a:cubicBezTo>
                  <a:pt x="618" y="188"/>
                  <a:pt x="626" y="196"/>
                  <a:pt x="636" y="196"/>
                </a:cubicBezTo>
                <a:cubicBezTo>
                  <a:pt x="713" y="196"/>
                  <a:pt x="713" y="196"/>
                  <a:pt x="713" y="196"/>
                </a:cubicBezTo>
                <a:cubicBezTo>
                  <a:pt x="718" y="196"/>
                  <a:pt x="723" y="195"/>
                  <a:pt x="726" y="191"/>
                </a:cubicBezTo>
                <a:cubicBezTo>
                  <a:pt x="774" y="143"/>
                  <a:pt x="774" y="143"/>
                  <a:pt x="774" y="143"/>
                </a:cubicBezTo>
                <a:cubicBezTo>
                  <a:pt x="782" y="183"/>
                  <a:pt x="769" y="225"/>
                  <a:pt x="739" y="255"/>
                </a:cubicBezTo>
                <a:cubicBezTo>
                  <a:pt x="715" y="279"/>
                  <a:pt x="683" y="293"/>
                  <a:pt x="649" y="293"/>
                </a:cubicBezTo>
                <a:cubicBezTo>
                  <a:pt x="632" y="293"/>
                  <a:pt x="615" y="289"/>
                  <a:pt x="599" y="283"/>
                </a:cubicBezTo>
                <a:cubicBezTo>
                  <a:pt x="593" y="280"/>
                  <a:pt x="585" y="281"/>
                  <a:pt x="579" y="286"/>
                </a:cubicBezTo>
                <a:lnTo>
                  <a:pt x="297" y="568"/>
                </a:lnTo>
                <a:close/>
                <a:moveTo>
                  <a:pt x="766" y="755"/>
                </a:moveTo>
                <a:cubicBezTo>
                  <a:pt x="752" y="768"/>
                  <a:pt x="728" y="768"/>
                  <a:pt x="714" y="755"/>
                </a:cubicBezTo>
                <a:cubicBezTo>
                  <a:pt x="560" y="600"/>
                  <a:pt x="560" y="600"/>
                  <a:pt x="560" y="600"/>
                </a:cubicBezTo>
                <a:cubicBezTo>
                  <a:pt x="611" y="549"/>
                  <a:pt x="611" y="549"/>
                  <a:pt x="611" y="549"/>
                </a:cubicBezTo>
                <a:cubicBezTo>
                  <a:pt x="766" y="703"/>
                  <a:pt x="766" y="703"/>
                  <a:pt x="766" y="703"/>
                </a:cubicBezTo>
                <a:cubicBezTo>
                  <a:pt x="773" y="710"/>
                  <a:pt x="776" y="719"/>
                  <a:pt x="776" y="729"/>
                </a:cubicBezTo>
                <a:cubicBezTo>
                  <a:pt x="776" y="739"/>
                  <a:pt x="773" y="748"/>
                  <a:pt x="766" y="75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Arial" charset="0"/>
              <a:cs typeface="Arial" charset="0"/>
            </a:endParaRPr>
          </a:p>
        </p:txBody>
      </p:sp>
      <p:sp>
        <p:nvSpPr>
          <p:cNvPr id="28" name="CuadroTexto 27">
            <a:extLst>
              <a:ext uri="{FF2B5EF4-FFF2-40B4-BE49-F238E27FC236}">
                <a16:creationId xmlns:a16="http://schemas.microsoft.com/office/drawing/2014/main" id="{724F5394-BE04-711D-89C1-775FD3AD62FC}"/>
              </a:ext>
            </a:extLst>
          </p:cNvPr>
          <p:cNvSpPr txBox="1"/>
          <p:nvPr/>
        </p:nvSpPr>
        <p:spPr>
          <a:xfrm>
            <a:off x="109332" y="5793331"/>
            <a:ext cx="7186204" cy="577081"/>
          </a:xfrm>
          <a:prstGeom prst="rect">
            <a:avLst/>
          </a:prstGeom>
          <a:noFill/>
        </p:spPr>
        <p:txBody>
          <a:bodyPr wrap="square">
            <a:spAutoFit/>
          </a:bodyPr>
          <a:lstStyle/>
          <a:p>
            <a:pPr marL="0" lvl="1" fontAlgn="t">
              <a:lnSpc>
                <a:spcPct val="150000"/>
              </a:lnSpc>
              <a:spcAft>
                <a:spcPts val="600"/>
              </a:spcAft>
              <a:defRPr/>
            </a:pPr>
            <a:r>
              <a:rPr lang="en-GB" sz="1050" noProof="0">
                <a:solidFill>
                  <a:prstClr val="black"/>
                </a:solidFill>
                <a:ea typeface="Calibri"/>
                <a:cs typeface="Calibri"/>
              </a:rPr>
              <a:t>It helps lay the foundation for a new and comprehensive Data Governance in the company. It includes tools such as the KPI glossary, report matrix and Datasphere </a:t>
            </a:r>
            <a:r>
              <a:rPr lang="en-GB" sz="1050" noProof="0" err="1">
                <a:solidFill>
                  <a:prstClr val="black"/>
                </a:solidFill>
                <a:ea typeface="Calibri"/>
                <a:cs typeface="Calibri"/>
              </a:rPr>
              <a:t>catalog</a:t>
            </a:r>
            <a:r>
              <a:rPr lang="en-GB" sz="1050" noProof="0">
                <a:solidFill>
                  <a:prstClr val="black"/>
                </a:solidFill>
                <a:ea typeface="Calibri"/>
                <a:cs typeface="Calibri"/>
              </a:rPr>
              <a:t>. Ensures data quality, availability, integrity, and security.</a:t>
            </a:r>
            <a:endParaRPr kumimoji="0" lang="en-GB" sz="1050" b="0" i="0" u="none" strike="noStrike" kern="1200" cap="none" spc="0" normalizeH="0" baseline="0" noProof="0">
              <a:ln>
                <a:noFill/>
              </a:ln>
              <a:solidFill>
                <a:prstClr val="black"/>
              </a:solidFill>
              <a:effectLst/>
              <a:uLnTx/>
              <a:uFillTx/>
              <a:latin typeface="Calibri" panose="020F0502020204030204"/>
              <a:ea typeface="Calibri"/>
              <a:cs typeface="Calibri"/>
            </a:endParaRPr>
          </a:p>
        </p:txBody>
      </p:sp>
      <p:sp>
        <p:nvSpPr>
          <p:cNvPr id="14" name="CuadroTexto 13">
            <a:extLst>
              <a:ext uri="{FF2B5EF4-FFF2-40B4-BE49-F238E27FC236}">
                <a16:creationId xmlns:a16="http://schemas.microsoft.com/office/drawing/2014/main" id="{60964F1C-E87B-FB0A-8BF1-4B270E7E2309}"/>
              </a:ext>
            </a:extLst>
          </p:cNvPr>
          <p:cNvSpPr txBox="1"/>
          <p:nvPr/>
        </p:nvSpPr>
        <p:spPr>
          <a:xfrm>
            <a:off x="8827324" y="958868"/>
            <a:ext cx="262013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effectLst/>
                <a:uLnTx/>
                <a:uFillTx/>
                <a:latin typeface="Arial" panose="020B0604020202020204"/>
                <a:ea typeface="+mn-ea"/>
                <a:cs typeface="+mn-cs"/>
              </a:rPr>
              <a:t>Readiness Check by STR</a:t>
            </a:r>
          </a:p>
        </p:txBody>
      </p:sp>
      <p:pic>
        <p:nvPicPr>
          <p:cNvPr id="18" name="Imagen 17">
            <a:extLst>
              <a:ext uri="{FF2B5EF4-FFF2-40B4-BE49-F238E27FC236}">
                <a16:creationId xmlns:a16="http://schemas.microsoft.com/office/drawing/2014/main" id="{6DD2C7DE-E414-3BD1-D49B-7361B3C09F51}"/>
              </a:ext>
            </a:extLst>
          </p:cNvPr>
          <p:cNvPicPr>
            <a:picLocks noChangeAspect="1"/>
          </p:cNvPicPr>
          <p:nvPr/>
        </p:nvPicPr>
        <p:blipFill>
          <a:blip r:embed="rId2"/>
          <a:stretch>
            <a:fillRect/>
          </a:stretch>
        </p:blipFill>
        <p:spPr>
          <a:xfrm>
            <a:off x="8557101" y="1252353"/>
            <a:ext cx="2890354" cy="1468868"/>
          </a:xfrm>
          <a:prstGeom prst="rect">
            <a:avLst/>
          </a:prstGeom>
        </p:spPr>
      </p:pic>
      <p:sp>
        <p:nvSpPr>
          <p:cNvPr id="24" name="CuadroTexto 23">
            <a:extLst>
              <a:ext uri="{FF2B5EF4-FFF2-40B4-BE49-F238E27FC236}">
                <a16:creationId xmlns:a16="http://schemas.microsoft.com/office/drawing/2014/main" id="{7DE6648F-B1DE-CF65-DC5D-7F481A34B2EA}"/>
              </a:ext>
            </a:extLst>
          </p:cNvPr>
          <p:cNvSpPr txBox="1"/>
          <p:nvPr/>
        </p:nvSpPr>
        <p:spPr>
          <a:xfrm>
            <a:off x="8827324" y="2926431"/>
            <a:ext cx="224893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effectLst/>
                <a:uLnTx/>
                <a:uFillTx/>
                <a:latin typeface="Arial" panose="020B0604020202020204"/>
                <a:ea typeface="+mn-ea"/>
                <a:cs typeface="+mn-cs"/>
              </a:rPr>
              <a:t>Chatbot </a:t>
            </a:r>
            <a:r>
              <a:rPr kumimoji="0" lang="en-GB" sz="1400" b="1" i="0" u="none" strike="noStrike" kern="1200" cap="none" spc="0" normalizeH="0" baseline="0" noProof="0" err="1">
                <a:ln>
                  <a:noFill/>
                </a:ln>
                <a:effectLst/>
                <a:uLnTx/>
                <a:uFillTx/>
                <a:latin typeface="Arial" panose="020B0604020202020204"/>
                <a:ea typeface="+mn-ea"/>
                <a:cs typeface="+mn-cs"/>
              </a:rPr>
              <a:t>DataSphere</a:t>
            </a:r>
            <a:endParaRPr kumimoji="0" lang="en-GB" sz="1400" b="1" i="0" u="none" strike="noStrike" kern="1200" cap="none" spc="0" normalizeH="0" baseline="0" noProof="0">
              <a:ln>
                <a:noFill/>
              </a:ln>
              <a:effectLst/>
              <a:uLnTx/>
              <a:uFillTx/>
              <a:latin typeface="Arial" panose="020B0604020202020204"/>
              <a:ea typeface="+mn-ea"/>
              <a:cs typeface="+mn-cs"/>
            </a:endParaRPr>
          </a:p>
        </p:txBody>
      </p:sp>
      <p:pic>
        <p:nvPicPr>
          <p:cNvPr id="39" name="Imagen 38">
            <a:extLst>
              <a:ext uri="{FF2B5EF4-FFF2-40B4-BE49-F238E27FC236}">
                <a16:creationId xmlns:a16="http://schemas.microsoft.com/office/drawing/2014/main" id="{F1A01E1C-C719-D5FE-08D9-CA2E6280FAAD}"/>
              </a:ext>
            </a:extLst>
          </p:cNvPr>
          <p:cNvPicPr>
            <a:picLocks noChangeAspect="1"/>
          </p:cNvPicPr>
          <p:nvPr/>
        </p:nvPicPr>
        <p:blipFill>
          <a:blip r:embed="rId3"/>
          <a:stretch>
            <a:fillRect/>
          </a:stretch>
        </p:blipFill>
        <p:spPr>
          <a:xfrm>
            <a:off x="8694556" y="3234208"/>
            <a:ext cx="2381705" cy="1468245"/>
          </a:xfrm>
          <a:prstGeom prst="rect">
            <a:avLst/>
          </a:prstGeom>
          <a:ln>
            <a:noFill/>
          </a:ln>
          <a:effectLst>
            <a:outerShdw blurRad="50800" dist="38100" dir="5400000" algn="t" rotWithShape="0">
              <a:prstClr val="black">
                <a:alpha val="40000"/>
              </a:prstClr>
            </a:outerShdw>
          </a:effectLst>
        </p:spPr>
      </p:pic>
      <p:sp>
        <p:nvSpPr>
          <p:cNvPr id="40" name="CuadroTexto 39">
            <a:extLst>
              <a:ext uri="{FF2B5EF4-FFF2-40B4-BE49-F238E27FC236}">
                <a16:creationId xmlns:a16="http://schemas.microsoft.com/office/drawing/2014/main" id="{D1C33634-EA9A-D05A-7E5B-5FB27D66F56B}"/>
              </a:ext>
            </a:extLst>
          </p:cNvPr>
          <p:cNvSpPr txBox="1"/>
          <p:nvPr/>
        </p:nvSpPr>
        <p:spPr>
          <a:xfrm>
            <a:off x="8943510" y="4924130"/>
            <a:ext cx="2792862" cy="307777"/>
          </a:xfrm>
          <a:prstGeom prst="rect">
            <a:avLst/>
          </a:prstGeom>
          <a:noFill/>
        </p:spPr>
        <p:txBody>
          <a:bodyPr wrap="square" rtlCol="0">
            <a:spAutoFit/>
          </a:bodyPr>
          <a:lstStyle/>
          <a:p>
            <a:pPr lvl="0">
              <a:defRPr/>
            </a:pPr>
            <a:r>
              <a:rPr lang="en-GB" sz="1400" b="1" noProof="0">
                <a:latin typeface="Arial" panose="020B0604020202020204"/>
              </a:rPr>
              <a:t>Reporting accelerators</a:t>
            </a:r>
            <a:endParaRPr kumimoji="0" lang="en-GB" sz="1400" b="1" i="0" u="none" strike="noStrike" kern="1200" cap="none" spc="0" normalizeH="0" baseline="0" noProof="0">
              <a:ln>
                <a:noFill/>
              </a:ln>
              <a:effectLst/>
              <a:uLnTx/>
              <a:uFillTx/>
              <a:latin typeface="Arial" panose="020B0604020202020204"/>
              <a:ea typeface="+mn-ea"/>
              <a:cs typeface="+mn-cs"/>
            </a:endParaRPr>
          </a:p>
        </p:txBody>
      </p:sp>
      <p:pic>
        <p:nvPicPr>
          <p:cNvPr id="41" name="Imagen 40">
            <a:extLst>
              <a:ext uri="{FF2B5EF4-FFF2-40B4-BE49-F238E27FC236}">
                <a16:creationId xmlns:a16="http://schemas.microsoft.com/office/drawing/2014/main" id="{D368FA3B-37AC-AB17-98BB-EE51A7344EE3}"/>
              </a:ext>
            </a:extLst>
          </p:cNvPr>
          <p:cNvPicPr>
            <a:picLocks noChangeAspect="1"/>
          </p:cNvPicPr>
          <p:nvPr/>
        </p:nvPicPr>
        <p:blipFill rotWithShape="1">
          <a:blip r:embed="rId4"/>
          <a:srcRect t="2997"/>
          <a:stretch/>
        </p:blipFill>
        <p:spPr>
          <a:xfrm>
            <a:off x="8059339" y="5231907"/>
            <a:ext cx="1826069" cy="986295"/>
          </a:xfrm>
          <a:prstGeom prst="rect">
            <a:avLst/>
          </a:prstGeom>
          <a:effectLst>
            <a:outerShdw blurRad="50800" dist="38100" dir="2700000" algn="tl" rotWithShape="0">
              <a:prstClr val="black">
                <a:alpha val="40000"/>
              </a:prstClr>
            </a:outerShdw>
          </a:effectLst>
        </p:spPr>
      </p:pic>
      <p:pic>
        <p:nvPicPr>
          <p:cNvPr id="42" name="Imagen 41">
            <a:extLst>
              <a:ext uri="{FF2B5EF4-FFF2-40B4-BE49-F238E27FC236}">
                <a16:creationId xmlns:a16="http://schemas.microsoft.com/office/drawing/2014/main" id="{2D65FD5E-A7D0-437F-E67A-25D6017766A2}"/>
              </a:ext>
            </a:extLst>
          </p:cNvPr>
          <p:cNvPicPr>
            <a:picLocks noChangeAspect="1"/>
          </p:cNvPicPr>
          <p:nvPr/>
        </p:nvPicPr>
        <p:blipFill>
          <a:blip r:embed="rId5"/>
          <a:stretch>
            <a:fillRect/>
          </a:stretch>
        </p:blipFill>
        <p:spPr>
          <a:xfrm>
            <a:off x="9705655" y="5455470"/>
            <a:ext cx="1826069" cy="94098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481088433"/>
      </p:ext>
    </p:extLst>
  </p:cSld>
  <p:clrMapOvr>
    <a:masterClrMapping/>
  </p:clrMapOvr>
  <p:transition spd="med">
    <p:fade/>
  </p:transition>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7EB8E89E-E33C-3CF2-1B91-C623425F20AC}"/>
              </a:ext>
            </a:extLst>
          </p:cNvPr>
          <p:cNvSpPr/>
          <p:nvPr/>
        </p:nvSpPr>
        <p:spPr bwMode="auto">
          <a:xfrm>
            <a:off x="0" y="0"/>
            <a:ext cx="9480376" cy="620688"/>
          </a:xfrm>
          <a:prstGeom prst="rect">
            <a:avLst/>
          </a:prstGeom>
          <a:gradFill>
            <a:gsLst>
              <a:gs pos="50000">
                <a:schemeClr val="tx1"/>
              </a:gs>
              <a:gs pos="100000">
                <a:schemeClr val="bg1"/>
              </a:gs>
            </a:gsLst>
            <a:lin ang="0" scaled="1"/>
          </a:gradFill>
          <a:ln w="9525">
            <a:noFill/>
            <a:round/>
            <a:headEnd/>
            <a:tailEnd/>
          </a:ln>
        </p:spPr>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Título 1">
            <a:extLst>
              <a:ext uri="{FF2B5EF4-FFF2-40B4-BE49-F238E27FC236}">
                <a16:creationId xmlns:a16="http://schemas.microsoft.com/office/drawing/2014/main" id="{3C47878C-6948-2C90-2236-8F8BC6F2CD60}"/>
              </a:ext>
            </a:extLst>
          </p:cNvPr>
          <p:cNvSpPr txBox="1">
            <a:spLocks/>
          </p:cNvSpPr>
          <p:nvPr/>
        </p:nvSpPr>
        <p:spPr>
          <a:xfrm>
            <a:off x="191344" y="116632"/>
            <a:ext cx="10515600" cy="365721"/>
          </a:xfrm>
          <a:prstGeom prst="rect">
            <a:avLst/>
          </a:prstGeom>
        </p:spPr>
        <p:txBody>
          <a:bodyPr lIns="91440" tIns="45720" rIns="91440" bIns="45720" anchor="ctr">
            <a:noAutofit/>
          </a:bodyPr>
          <a:lstStyle>
            <a:lvl1pPr algn="l" defTabSz="914400" rtl="0" eaLnBrk="1" latinLnBrk="0" hangingPunct="1">
              <a:lnSpc>
                <a:spcPct val="90000"/>
              </a:lnSpc>
              <a:spcBef>
                <a:spcPct val="0"/>
              </a:spcBef>
              <a:buNone/>
              <a:defRPr sz="2200" kern="1200">
                <a:solidFill>
                  <a:schemeClr val="tx1">
                    <a:lumMod val="65000"/>
                    <a:lumOff val="35000"/>
                  </a:schemeClr>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450" b="0" i="0" u="none" strike="noStrike" kern="1200" cap="none" spc="0" normalizeH="0" baseline="0" noProof="0">
                <a:ln>
                  <a:noFill/>
                </a:ln>
                <a:solidFill>
                  <a:prstClr val="white"/>
                </a:solidFill>
                <a:effectLst/>
                <a:uLnTx/>
                <a:uFillTx/>
                <a:latin typeface="Calibri" panose="020F0502020204030204"/>
                <a:ea typeface="+mj-ea"/>
                <a:cs typeface="Arial"/>
              </a:rPr>
              <a:t>SAP Analytics </a:t>
            </a:r>
            <a:r>
              <a:rPr lang="en-GB" sz="2450" noProof="0">
                <a:solidFill>
                  <a:prstClr val="white"/>
                </a:solidFill>
                <a:latin typeface="Calibri" panose="020F0502020204030204"/>
                <a:cs typeface="Arial"/>
              </a:rPr>
              <a:t>Migrations</a:t>
            </a:r>
            <a:endParaRPr kumimoji="0" lang="en-GB" sz="2462" b="0" i="0" u="none" strike="noStrike" kern="1200" cap="none" spc="0" normalizeH="0" baseline="0" noProof="0">
              <a:ln>
                <a:noFill/>
              </a:ln>
              <a:solidFill>
                <a:prstClr val="white"/>
              </a:solidFill>
              <a:effectLst/>
              <a:uLnTx/>
              <a:uFillTx/>
              <a:latin typeface="Calibri" panose="020F0502020204030204"/>
              <a:ea typeface="+mj-ea"/>
              <a:cs typeface="Arial" panose="020B0604020202020204" pitchFamily="34" charset="0"/>
            </a:endParaRPr>
          </a:p>
        </p:txBody>
      </p:sp>
      <p:grpSp>
        <p:nvGrpSpPr>
          <p:cNvPr id="3" name="Grupo 2">
            <a:extLst>
              <a:ext uri="{FF2B5EF4-FFF2-40B4-BE49-F238E27FC236}">
                <a16:creationId xmlns:a16="http://schemas.microsoft.com/office/drawing/2014/main" id="{E31C12F8-3C65-7E4C-033F-26DE89E1F197}"/>
              </a:ext>
            </a:extLst>
          </p:cNvPr>
          <p:cNvGrpSpPr/>
          <p:nvPr/>
        </p:nvGrpSpPr>
        <p:grpSpPr>
          <a:xfrm>
            <a:off x="3306826" y="2250572"/>
            <a:ext cx="500200" cy="129500"/>
            <a:chOff x="3410189" y="2250572"/>
            <a:chExt cx="500200" cy="129500"/>
          </a:xfrm>
        </p:grpSpPr>
        <p:pic>
          <p:nvPicPr>
            <p:cNvPr id="4" name="Picture 6">
              <a:extLst>
                <a:ext uri="{FF2B5EF4-FFF2-40B4-BE49-F238E27FC236}">
                  <a16:creationId xmlns:a16="http://schemas.microsoft.com/office/drawing/2014/main" id="{E42F8421-8511-CF63-924A-771CD6DF402C}"/>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5297" r="1811" b="2439"/>
            <a:stretch/>
          </p:blipFill>
          <p:spPr bwMode="auto">
            <a:xfrm>
              <a:off x="3526122" y="2259178"/>
              <a:ext cx="384267" cy="11032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a:extLst>
                <a:ext uri="{FF2B5EF4-FFF2-40B4-BE49-F238E27FC236}">
                  <a16:creationId xmlns:a16="http://schemas.microsoft.com/office/drawing/2014/main" id="{47BC054B-35C6-71A8-FBC1-44BF956FA381}"/>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26482" b="30200"/>
            <a:stretch/>
          </p:blipFill>
          <p:spPr bwMode="auto">
            <a:xfrm>
              <a:off x="3410189" y="2250572"/>
              <a:ext cx="156110" cy="129500"/>
            </a:xfrm>
            <a:prstGeom prst="rect">
              <a:avLst/>
            </a:prstGeom>
            <a:noFill/>
            <a:extLst>
              <a:ext uri="{909E8E84-426E-40DD-AFC4-6F175D3DCCD1}">
                <a14:hiddenFill xmlns:a14="http://schemas.microsoft.com/office/drawing/2010/main">
                  <a:solidFill>
                    <a:srgbClr val="FFFFFF"/>
                  </a:solidFill>
                </a14:hiddenFill>
              </a:ext>
            </a:extLst>
          </p:spPr>
        </p:pic>
      </p:grpSp>
      <p:pic>
        <p:nvPicPr>
          <p:cNvPr id="6" name="Picture 2" descr="Iberdrola: la energética del futuro - Iberdrola">
            <a:extLst>
              <a:ext uri="{FF2B5EF4-FFF2-40B4-BE49-F238E27FC236}">
                <a16:creationId xmlns:a16="http://schemas.microsoft.com/office/drawing/2014/main" id="{46EA9E73-7FAD-7C51-117C-77FE036FABB9}"/>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16145" b="12022"/>
          <a:stretch/>
        </p:blipFill>
        <p:spPr bwMode="auto">
          <a:xfrm>
            <a:off x="1696743" y="1763081"/>
            <a:ext cx="768360" cy="167744"/>
          </a:xfrm>
          <a:prstGeom prst="rect">
            <a:avLst/>
          </a:prstGeom>
          <a:noFill/>
          <a:extLst>
            <a:ext uri="{909E8E84-426E-40DD-AFC4-6F175D3DCCD1}">
              <a14:hiddenFill xmlns:a14="http://schemas.microsoft.com/office/drawing/2010/main">
                <a:solidFill>
                  <a:srgbClr val="FFFFFF"/>
                </a:solidFill>
              </a14:hiddenFill>
            </a:ext>
          </a:extLst>
        </p:spPr>
      </p:pic>
      <p:sp>
        <p:nvSpPr>
          <p:cNvPr id="8" name="Rectángulo 7">
            <a:extLst>
              <a:ext uri="{FF2B5EF4-FFF2-40B4-BE49-F238E27FC236}">
                <a16:creationId xmlns:a16="http://schemas.microsoft.com/office/drawing/2014/main" id="{0180AA9B-4B04-50B7-3C7E-5D5F77A46264}"/>
              </a:ext>
            </a:extLst>
          </p:cNvPr>
          <p:cNvSpPr/>
          <p:nvPr/>
        </p:nvSpPr>
        <p:spPr bwMode="auto">
          <a:xfrm>
            <a:off x="-746" y="1487866"/>
            <a:ext cx="56270" cy="442438"/>
          </a:xfrm>
          <a:prstGeom prst="rect">
            <a:avLst/>
          </a:prstGeom>
          <a:solidFill>
            <a:schemeClr val="accent1">
              <a:lumMod val="60000"/>
              <a:lumOff val="40000"/>
            </a:schemeClr>
          </a:solidFill>
          <a:ln w="9525">
            <a:noFill/>
            <a:round/>
            <a:headEnd/>
            <a:tailEnd/>
          </a:ln>
        </p:spPr>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ángulo 9">
            <a:extLst>
              <a:ext uri="{FF2B5EF4-FFF2-40B4-BE49-F238E27FC236}">
                <a16:creationId xmlns:a16="http://schemas.microsoft.com/office/drawing/2014/main" id="{F77E6911-019D-727F-554B-2493C69E3791}"/>
              </a:ext>
            </a:extLst>
          </p:cNvPr>
          <p:cNvSpPr/>
          <p:nvPr/>
        </p:nvSpPr>
        <p:spPr bwMode="auto">
          <a:xfrm>
            <a:off x="-10649" y="3876246"/>
            <a:ext cx="56270" cy="442438"/>
          </a:xfrm>
          <a:prstGeom prst="rect">
            <a:avLst/>
          </a:prstGeom>
          <a:solidFill>
            <a:schemeClr val="accent3">
              <a:lumMod val="40000"/>
              <a:lumOff val="60000"/>
            </a:schemeClr>
          </a:solidFill>
          <a:ln w="9525">
            <a:noFill/>
            <a:round/>
            <a:headEnd/>
            <a:tailEnd/>
          </a:ln>
        </p:spPr>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ángulo 10">
            <a:extLst>
              <a:ext uri="{FF2B5EF4-FFF2-40B4-BE49-F238E27FC236}">
                <a16:creationId xmlns:a16="http://schemas.microsoft.com/office/drawing/2014/main" id="{8C1FB13F-FC82-5B95-A195-C9442FB22BFE}"/>
              </a:ext>
            </a:extLst>
          </p:cNvPr>
          <p:cNvSpPr/>
          <p:nvPr/>
        </p:nvSpPr>
        <p:spPr bwMode="auto">
          <a:xfrm>
            <a:off x="-9085" y="4856950"/>
            <a:ext cx="56270" cy="442438"/>
          </a:xfrm>
          <a:prstGeom prst="rect">
            <a:avLst/>
          </a:prstGeom>
          <a:solidFill>
            <a:schemeClr val="accent4">
              <a:lumMod val="40000"/>
              <a:lumOff val="60000"/>
            </a:schemeClr>
          </a:solidFill>
          <a:ln w="9525">
            <a:noFill/>
            <a:round/>
            <a:headEnd/>
            <a:tailEnd/>
          </a:ln>
        </p:spPr>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4" name="Conector recto 13">
            <a:extLst>
              <a:ext uri="{FF2B5EF4-FFF2-40B4-BE49-F238E27FC236}">
                <a16:creationId xmlns:a16="http://schemas.microsoft.com/office/drawing/2014/main" id="{B0CAD321-78FE-A979-9698-78B94379DFC3}"/>
              </a:ext>
            </a:extLst>
          </p:cNvPr>
          <p:cNvCxnSpPr>
            <a:cxnSpLocks/>
          </p:cNvCxnSpPr>
          <p:nvPr/>
        </p:nvCxnSpPr>
        <p:spPr>
          <a:xfrm>
            <a:off x="1498109" y="3734134"/>
            <a:ext cx="0" cy="771912"/>
          </a:xfrm>
          <a:prstGeom prst="line">
            <a:avLst/>
          </a:prstGeom>
          <a:ln w="9525"/>
        </p:spPr>
        <p:style>
          <a:lnRef idx="1">
            <a:schemeClr val="accent1"/>
          </a:lnRef>
          <a:fillRef idx="0">
            <a:schemeClr val="accent1"/>
          </a:fillRef>
          <a:effectRef idx="0">
            <a:schemeClr val="accent1"/>
          </a:effectRef>
          <a:fontRef idx="minor">
            <a:schemeClr val="tx1"/>
          </a:fontRef>
        </p:style>
      </p:cxnSp>
      <p:pic>
        <p:nvPicPr>
          <p:cNvPr id="15" name="Picture 2" descr="Ver las imágenes de origen">
            <a:extLst>
              <a:ext uri="{FF2B5EF4-FFF2-40B4-BE49-F238E27FC236}">
                <a16:creationId xmlns:a16="http://schemas.microsoft.com/office/drawing/2014/main" id="{53EEEDEA-8A64-A7EE-0072-3E005DC4C44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48328" y="3786906"/>
            <a:ext cx="270853" cy="284800"/>
          </a:xfrm>
          <a:prstGeom prst="rect">
            <a:avLst/>
          </a:prstGeom>
          <a:noFill/>
          <a:extLst>
            <a:ext uri="{909E8E84-426E-40DD-AFC4-6F175D3DCCD1}">
              <a14:hiddenFill xmlns:a14="http://schemas.microsoft.com/office/drawing/2010/main">
                <a:solidFill>
                  <a:srgbClr val="FFFFFF"/>
                </a:solidFill>
              </a14:hiddenFill>
            </a:ext>
          </a:extLst>
        </p:spPr>
      </p:pic>
      <p:sp>
        <p:nvSpPr>
          <p:cNvPr id="16" name="CuadroTexto 15">
            <a:extLst>
              <a:ext uri="{FF2B5EF4-FFF2-40B4-BE49-F238E27FC236}">
                <a16:creationId xmlns:a16="http://schemas.microsoft.com/office/drawing/2014/main" id="{7CAC4F62-4410-E2BC-EDFB-D6642DACADAF}"/>
              </a:ext>
            </a:extLst>
          </p:cNvPr>
          <p:cNvSpPr txBox="1"/>
          <p:nvPr/>
        </p:nvSpPr>
        <p:spPr>
          <a:xfrm>
            <a:off x="2018265" y="3773736"/>
            <a:ext cx="1181977" cy="307777"/>
          </a:xfrm>
          <a:prstGeom prst="rect">
            <a:avLst/>
          </a:prstGeom>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a:ln>
                  <a:noFill/>
                </a:ln>
                <a:solidFill>
                  <a:prstClr val="black"/>
                </a:solidFill>
                <a:effectLst/>
                <a:uLnTx/>
                <a:uFillTx/>
                <a:latin typeface="Droid Sans"/>
                <a:ea typeface="Arial" charset="0"/>
                <a:cs typeface="Calibri" panose="020F0502020204030204" pitchFamily="34" charset="0"/>
                <a:sym typeface="Gill Sans" charset="0"/>
              </a:rPr>
              <a:t>Gestión  </a:t>
            </a:r>
            <a:r>
              <a:rPr kumimoji="0" lang="en-GB" sz="700" b="1" i="0" u="none" strike="noStrike" kern="1200" cap="none" spc="0" normalizeH="0" baseline="0" noProof="0" err="1">
                <a:ln>
                  <a:noFill/>
                </a:ln>
                <a:solidFill>
                  <a:prstClr val="black"/>
                </a:solidFill>
                <a:effectLst/>
                <a:uLnTx/>
                <a:uFillTx/>
                <a:latin typeface="Droid Sans"/>
                <a:ea typeface="Arial" charset="0"/>
                <a:cs typeface="Calibri" panose="020F0502020204030204" pitchFamily="34" charset="0"/>
                <a:sym typeface="Gill Sans" charset="0"/>
              </a:rPr>
              <a:t>empresarial</a:t>
            </a:r>
            <a:r>
              <a:rPr kumimoji="0" lang="en-GB" sz="700" b="1" i="0" u="none" strike="noStrike" kern="1200" cap="none" spc="0" normalizeH="0" baseline="0" noProof="0">
                <a:ln>
                  <a:noFill/>
                </a:ln>
                <a:solidFill>
                  <a:prstClr val="black"/>
                </a:solidFill>
                <a:effectLst/>
                <a:uLnTx/>
                <a:uFillTx/>
                <a:latin typeface="Droid Sans"/>
                <a:ea typeface="Arial" charset="0"/>
                <a:cs typeface="Calibri" panose="020F0502020204030204" pitchFamily="34" charset="0"/>
                <a:sym typeface="Gill Sans" charset="0"/>
              </a:rPr>
              <a:t> </a:t>
            </a:r>
            <a:r>
              <a:rPr kumimoji="0" lang="en-GB" sz="700" b="1" i="0" u="none" strike="noStrike" kern="1200" cap="none" spc="0" normalizeH="0" baseline="0" noProof="0" err="1">
                <a:ln>
                  <a:noFill/>
                </a:ln>
                <a:solidFill>
                  <a:prstClr val="black"/>
                </a:solidFill>
                <a:effectLst/>
                <a:uLnTx/>
                <a:uFillTx/>
                <a:latin typeface="Droid Sans"/>
                <a:ea typeface="Arial" charset="0"/>
                <a:cs typeface="Calibri" panose="020F0502020204030204" pitchFamily="34" charset="0"/>
                <a:sym typeface="Gill Sans" charset="0"/>
              </a:rPr>
              <a:t>en</a:t>
            </a:r>
            <a:r>
              <a:rPr kumimoji="0" lang="en-GB" sz="700" b="1" i="0" u="none" strike="noStrike" kern="1200" cap="none" spc="0" normalizeH="0" baseline="0" noProof="0">
                <a:ln>
                  <a:noFill/>
                </a:ln>
                <a:solidFill>
                  <a:prstClr val="black"/>
                </a:solidFill>
                <a:effectLst/>
                <a:uLnTx/>
                <a:uFillTx/>
                <a:latin typeface="Droid Sans"/>
                <a:ea typeface="Arial" charset="0"/>
                <a:cs typeface="Calibri" panose="020F0502020204030204" pitchFamily="34" charset="0"/>
                <a:sym typeface="Gill Sans" charset="0"/>
              </a:rPr>
              <a:t> BW/4HANA 2.0. </a:t>
            </a:r>
          </a:p>
        </p:txBody>
      </p:sp>
      <p:pic>
        <p:nvPicPr>
          <p:cNvPr id="17" name="Picture 6" descr="Ver las imágenes de origen">
            <a:extLst>
              <a:ext uri="{FF2B5EF4-FFF2-40B4-BE49-F238E27FC236}">
                <a16:creationId xmlns:a16="http://schemas.microsoft.com/office/drawing/2014/main" id="{3A0DBB21-2CDA-8690-6951-22BBB6C8EC1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600388" y="4269868"/>
            <a:ext cx="330650" cy="93511"/>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3">
            <a:extLst>
              <a:ext uri="{FF2B5EF4-FFF2-40B4-BE49-F238E27FC236}">
                <a16:creationId xmlns:a16="http://schemas.microsoft.com/office/drawing/2014/main" id="{2E5DAAF7-EFEF-CF4B-8B23-ADE8FD8A1EEB}"/>
              </a:ext>
            </a:extLst>
          </p:cNvPr>
          <p:cNvPicPr>
            <a:picLocks noChangeAspect="1" noChangeArrowheads="1"/>
          </p:cNvPicPr>
          <p:nvPr/>
        </p:nvPicPr>
        <p:blipFill>
          <a:blip r:embed="rId7" cstate="email">
            <a:clrChange>
              <a:clrFrom>
                <a:srgbClr val="FFFFFF"/>
              </a:clrFrom>
              <a:clrTo>
                <a:srgbClr val="FFFFFF">
                  <a:alpha val="0"/>
                </a:srgbClr>
              </a:clrTo>
            </a:clrChange>
          </a:blip>
          <a:srcRect/>
          <a:stretch>
            <a:fillRect/>
          </a:stretch>
        </p:blipFill>
        <p:spPr bwMode="auto">
          <a:xfrm>
            <a:off x="3399789" y="3872733"/>
            <a:ext cx="424896" cy="104931"/>
          </a:xfrm>
          <a:prstGeom prst="rect">
            <a:avLst/>
          </a:prstGeom>
          <a:noFill/>
          <a:ln w="9525">
            <a:noFill/>
            <a:miter lim="800000"/>
            <a:headEnd/>
            <a:tailEnd/>
          </a:ln>
        </p:spPr>
      </p:pic>
      <p:pic>
        <p:nvPicPr>
          <p:cNvPr id="19" name="Picture 3">
            <a:extLst>
              <a:ext uri="{FF2B5EF4-FFF2-40B4-BE49-F238E27FC236}">
                <a16:creationId xmlns:a16="http://schemas.microsoft.com/office/drawing/2014/main" id="{D6E08857-A653-14C0-39C0-2D3B09BCB7E3}"/>
              </a:ext>
            </a:extLst>
          </p:cNvPr>
          <p:cNvPicPr>
            <a:picLocks noChangeAspect="1" noChangeArrowheads="1"/>
          </p:cNvPicPr>
          <p:nvPr/>
        </p:nvPicPr>
        <p:blipFill>
          <a:blip r:embed="rId8" cstate="print">
            <a:clrChange>
              <a:clrFrom>
                <a:srgbClr val="FEFEFE"/>
              </a:clrFrom>
              <a:clrTo>
                <a:srgbClr val="FEFEFE">
                  <a:alpha val="0"/>
                </a:srgbClr>
              </a:clrTo>
            </a:clrChange>
          </a:blip>
          <a:srcRect/>
          <a:stretch>
            <a:fillRect/>
          </a:stretch>
        </p:blipFill>
        <p:spPr bwMode="auto">
          <a:xfrm>
            <a:off x="3364360" y="4202483"/>
            <a:ext cx="483311" cy="228545"/>
          </a:xfrm>
          <a:prstGeom prst="rect">
            <a:avLst/>
          </a:prstGeom>
          <a:noFill/>
          <a:ln w="9525">
            <a:noFill/>
            <a:miter lim="800000"/>
            <a:headEnd/>
            <a:tailEnd/>
          </a:ln>
        </p:spPr>
      </p:pic>
      <p:sp>
        <p:nvSpPr>
          <p:cNvPr id="20" name="CuadroTexto 19">
            <a:extLst>
              <a:ext uri="{FF2B5EF4-FFF2-40B4-BE49-F238E27FC236}">
                <a16:creationId xmlns:a16="http://schemas.microsoft.com/office/drawing/2014/main" id="{85D91CBF-D461-D1B6-8948-B4432B04F000}"/>
              </a:ext>
            </a:extLst>
          </p:cNvPr>
          <p:cNvSpPr txBox="1"/>
          <p:nvPr/>
        </p:nvSpPr>
        <p:spPr>
          <a:xfrm>
            <a:off x="3910907" y="4166198"/>
            <a:ext cx="2002028" cy="276999"/>
          </a:xfrm>
          <a:prstGeom prst="rect">
            <a:avLst/>
          </a:prstGeom>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Droid Sans"/>
                <a:ea typeface="+mn-ea"/>
                <a:cs typeface="Calibri" panose="020F0502020204030204" pitchFamily="34" charset="0"/>
                <a:sym typeface="Gill Sans" charset="0"/>
              </a:rPr>
              <a:t>Laboratorio para </a:t>
            </a:r>
            <a:r>
              <a:rPr kumimoji="0" lang="en-GB" sz="600" b="1" i="0" u="none" strike="noStrike" kern="1200" cap="none" spc="0" normalizeH="0" baseline="0" noProof="0" err="1">
                <a:ln>
                  <a:noFill/>
                </a:ln>
                <a:solidFill>
                  <a:prstClr val="black"/>
                </a:solidFill>
                <a:effectLst/>
                <a:uLnTx/>
                <a:uFillTx/>
                <a:latin typeface="Droid Sans"/>
                <a:ea typeface="+mn-ea"/>
                <a:cs typeface="Calibri" panose="020F0502020204030204" pitchFamily="34" charset="0"/>
                <a:sym typeface="Gill Sans" charset="0"/>
              </a:rPr>
              <a:t>establecer</a:t>
            </a:r>
            <a:r>
              <a:rPr kumimoji="0" lang="en-GB" sz="600" b="1" i="0" u="none" strike="noStrike" kern="1200" cap="none" spc="0" normalizeH="0" baseline="0" noProof="0">
                <a:ln>
                  <a:noFill/>
                </a:ln>
                <a:solidFill>
                  <a:prstClr val="black"/>
                </a:solidFill>
                <a:effectLst/>
                <a:uLnTx/>
                <a:uFillTx/>
                <a:latin typeface="Droid Sans"/>
                <a:ea typeface="+mn-ea"/>
                <a:cs typeface="Calibri" panose="020F0502020204030204" pitchFamily="34" charset="0"/>
                <a:sym typeface="Gill Sans" charset="0"/>
              </a:rPr>
              <a:t> </a:t>
            </a:r>
            <a:r>
              <a:rPr kumimoji="0" lang="en-GB" sz="600" b="1" i="0" u="none" strike="noStrike" kern="1200" cap="none" spc="0" normalizeH="0" baseline="0" noProof="0" err="1">
                <a:ln>
                  <a:noFill/>
                </a:ln>
                <a:solidFill>
                  <a:prstClr val="black"/>
                </a:solidFill>
                <a:effectLst/>
                <a:uLnTx/>
                <a:uFillTx/>
                <a:latin typeface="Droid Sans"/>
                <a:ea typeface="+mn-ea"/>
                <a:cs typeface="Calibri" panose="020F0502020204030204" pitchFamily="34" charset="0"/>
                <a:sym typeface="Gill Sans" charset="0"/>
              </a:rPr>
              <a:t>una</a:t>
            </a:r>
            <a:r>
              <a:rPr kumimoji="0" lang="en-GB" sz="600" b="1" i="0" u="none" strike="noStrike" kern="1200" cap="none" spc="0" normalizeH="0" baseline="0" noProof="0">
                <a:ln>
                  <a:noFill/>
                </a:ln>
                <a:solidFill>
                  <a:prstClr val="black"/>
                </a:solidFill>
                <a:effectLst/>
                <a:uLnTx/>
                <a:uFillTx/>
                <a:latin typeface="Droid Sans"/>
                <a:ea typeface="+mn-ea"/>
                <a:cs typeface="Calibri" panose="020F0502020204030204" pitchFamily="34" charset="0"/>
                <a:sym typeface="Gill Sans" charset="0"/>
              </a:rPr>
              <a:t> </a:t>
            </a:r>
            <a:r>
              <a:rPr kumimoji="0" lang="en-GB" sz="600" b="1" i="0" u="none" strike="noStrike" kern="1200" cap="none" spc="0" normalizeH="0" baseline="0" noProof="0" err="1">
                <a:ln>
                  <a:noFill/>
                </a:ln>
                <a:solidFill>
                  <a:prstClr val="black"/>
                </a:solidFill>
                <a:effectLst/>
                <a:uLnTx/>
                <a:uFillTx/>
                <a:latin typeface="Droid Sans"/>
                <a:ea typeface="+mn-ea"/>
                <a:cs typeface="Calibri" panose="020F0502020204030204" pitchFamily="34" charset="0"/>
                <a:sym typeface="Gill Sans" charset="0"/>
              </a:rPr>
              <a:t>visión</a:t>
            </a:r>
            <a:r>
              <a:rPr kumimoji="0" lang="en-GB" sz="600" b="1" i="0" u="none" strike="noStrike" kern="1200" cap="none" spc="0" normalizeH="0" baseline="0" noProof="0">
                <a:ln>
                  <a:noFill/>
                </a:ln>
                <a:solidFill>
                  <a:prstClr val="black"/>
                </a:solidFill>
                <a:effectLst/>
                <a:uLnTx/>
                <a:uFillTx/>
                <a:latin typeface="Droid Sans"/>
                <a:ea typeface="+mn-ea"/>
                <a:cs typeface="Calibri" panose="020F0502020204030204" pitchFamily="34" charset="0"/>
                <a:sym typeface="Gill Sans" charset="0"/>
              </a:rPr>
              <a:t> </a:t>
            </a:r>
            <a:r>
              <a:rPr kumimoji="0" lang="en-GB" sz="600" b="1" i="0" u="none" strike="noStrike" kern="1200" cap="none" spc="0" normalizeH="0" baseline="0" noProof="0" err="1">
                <a:ln>
                  <a:noFill/>
                </a:ln>
                <a:solidFill>
                  <a:prstClr val="black"/>
                </a:solidFill>
                <a:effectLst/>
                <a:uLnTx/>
                <a:uFillTx/>
                <a:latin typeface="Droid Sans"/>
                <a:ea typeface="+mn-ea"/>
                <a:cs typeface="Calibri" panose="020F0502020204030204" pitchFamily="34" charset="0"/>
                <a:sym typeface="Gill Sans" charset="0"/>
              </a:rPr>
              <a:t>estratégica</a:t>
            </a:r>
            <a:r>
              <a:rPr kumimoji="0" lang="en-GB" sz="600" b="1" i="0" u="none" strike="noStrike" kern="1200" cap="none" spc="0" normalizeH="0" baseline="0" noProof="0">
                <a:ln>
                  <a:noFill/>
                </a:ln>
                <a:solidFill>
                  <a:prstClr val="black"/>
                </a:solidFill>
                <a:effectLst/>
                <a:uLnTx/>
                <a:uFillTx/>
                <a:latin typeface="Droid Sans"/>
                <a:ea typeface="+mn-ea"/>
                <a:cs typeface="Calibri" panose="020F0502020204030204" pitchFamily="34" charset="0"/>
                <a:sym typeface="Gill Sans" charset="0"/>
              </a:rPr>
              <a:t> de </a:t>
            </a:r>
            <a:r>
              <a:rPr kumimoji="0" lang="en-GB" sz="600" b="1" i="0" u="none" strike="noStrike" kern="1200" cap="none" spc="0" normalizeH="0" baseline="0" noProof="0" err="1">
                <a:ln>
                  <a:noFill/>
                </a:ln>
                <a:solidFill>
                  <a:prstClr val="black"/>
                </a:solidFill>
                <a:effectLst/>
                <a:uLnTx/>
                <a:uFillTx/>
                <a:latin typeface="Droid Sans"/>
                <a:ea typeface="+mn-ea"/>
                <a:cs typeface="Calibri" panose="020F0502020204030204" pitchFamily="34" charset="0"/>
                <a:sym typeface="Gill Sans" charset="0"/>
              </a:rPr>
              <a:t>gestión</a:t>
            </a:r>
            <a:r>
              <a:rPr kumimoji="0" lang="en-GB" sz="600" b="1" i="0" u="none" strike="noStrike" kern="1200" cap="none" spc="0" normalizeH="0" baseline="0" noProof="0">
                <a:ln>
                  <a:noFill/>
                </a:ln>
                <a:solidFill>
                  <a:prstClr val="black"/>
                </a:solidFill>
                <a:effectLst/>
                <a:uLnTx/>
                <a:uFillTx/>
                <a:latin typeface="Droid Sans"/>
                <a:ea typeface="+mn-ea"/>
                <a:cs typeface="Calibri" panose="020F0502020204030204" pitchFamily="34" charset="0"/>
                <a:sym typeface="Gill Sans" charset="0"/>
              </a:rPr>
              <a:t> de la </a:t>
            </a:r>
            <a:r>
              <a:rPr kumimoji="0" lang="en-GB" sz="600" b="1" i="0" u="none" strike="noStrike" kern="1200" cap="none" spc="0" normalizeH="0" baseline="0" noProof="0" err="1">
                <a:ln>
                  <a:noFill/>
                </a:ln>
                <a:solidFill>
                  <a:prstClr val="black"/>
                </a:solidFill>
                <a:effectLst/>
                <a:uLnTx/>
                <a:uFillTx/>
                <a:latin typeface="Droid Sans"/>
                <a:ea typeface="+mn-ea"/>
                <a:cs typeface="Calibri" panose="020F0502020204030204" pitchFamily="34" charset="0"/>
                <a:sym typeface="Gill Sans" charset="0"/>
              </a:rPr>
              <a:t>información</a:t>
            </a:r>
            <a:r>
              <a:rPr kumimoji="0" lang="en-GB" sz="600" b="1" i="0" u="none" strike="noStrike" kern="1200" cap="none" spc="0" normalizeH="0" baseline="0" noProof="0">
                <a:ln>
                  <a:noFill/>
                </a:ln>
                <a:solidFill>
                  <a:prstClr val="black"/>
                </a:solidFill>
                <a:effectLst/>
                <a:uLnTx/>
                <a:uFillTx/>
                <a:latin typeface="Droid Sans"/>
                <a:ea typeface="+mn-ea"/>
                <a:cs typeface="Calibri" panose="020F0502020204030204" pitchFamily="34" charset="0"/>
                <a:sym typeface="Gill Sans" charset="0"/>
              </a:rPr>
              <a:t> con BW4HANA</a:t>
            </a:r>
          </a:p>
        </p:txBody>
      </p:sp>
      <p:pic>
        <p:nvPicPr>
          <p:cNvPr id="21" name="Imagen 20">
            <a:extLst>
              <a:ext uri="{FF2B5EF4-FFF2-40B4-BE49-F238E27FC236}">
                <a16:creationId xmlns:a16="http://schemas.microsoft.com/office/drawing/2014/main" id="{E69DD497-FD7D-04A0-3446-E6C77631D46E}"/>
              </a:ext>
            </a:extLst>
          </p:cNvPr>
          <p:cNvPicPr>
            <a:picLocks noChangeAspect="1"/>
          </p:cNvPicPr>
          <p:nvPr/>
        </p:nvPicPr>
        <p:blipFill>
          <a:blip r:embed="rId9"/>
          <a:stretch>
            <a:fillRect/>
          </a:stretch>
        </p:blipFill>
        <p:spPr>
          <a:xfrm>
            <a:off x="6092944" y="3905623"/>
            <a:ext cx="448878" cy="64950"/>
          </a:xfrm>
          <a:prstGeom prst="rect">
            <a:avLst/>
          </a:prstGeom>
        </p:spPr>
      </p:pic>
      <p:sp>
        <p:nvSpPr>
          <p:cNvPr id="22" name="CuadroTexto 21">
            <a:extLst>
              <a:ext uri="{FF2B5EF4-FFF2-40B4-BE49-F238E27FC236}">
                <a16:creationId xmlns:a16="http://schemas.microsoft.com/office/drawing/2014/main" id="{36EFDEFC-E8D4-39A2-3541-97E14B69A42F}"/>
              </a:ext>
            </a:extLst>
          </p:cNvPr>
          <p:cNvSpPr txBox="1"/>
          <p:nvPr/>
        </p:nvSpPr>
        <p:spPr>
          <a:xfrm>
            <a:off x="6610584" y="3774127"/>
            <a:ext cx="1124559" cy="307777"/>
          </a:xfrm>
          <a:prstGeom prst="rect">
            <a:avLst/>
          </a:prstGeom>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a:ln>
                  <a:noFill/>
                </a:ln>
                <a:solidFill>
                  <a:prstClr val="black"/>
                </a:solidFill>
                <a:effectLst/>
                <a:uLnTx/>
                <a:uFillTx/>
                <a:latin typeface="Droid Sans"/>
                <a:ea typeface="Arial" charset="0"/>
                <a:cs typeface="Calibri" panose="020F0502020204030204" pitchFamily="34" charset="0"/>
                <a:sym typeface="Gill Sans" charset="0"/>
              </a:rPr>
              <a:t>Proyecto de </a:t>
            </a:r>
            <a:r>
              <a:rPr kumimoji="0" lang="en-GB" sz="700" b="1" i="0" u="none" strike="noStrike" kern="1200" cap="none" spc="0" normalizeH="0" baseline="0" noProof="0" err="1">
                <a:ln>
                  <a:noFill/>
                </a:ln>
                <a:solidFill>
                  <a:prstClr val="black"/>
                </a:solidFill>
                <a:effectLst/>
                <a:uLnTx/>
                <a:uFillTx/>
                <a:latin typeface="Droid Sans"/>
                <a:ea typeface="Arial" charset="0"/>
                <a:cs typeface="Calibri" panose="020F0502020204030204" pitchFamily="34" charset="0"/>
                <a:sym typeface="Gill Sans" charset="0"/>
              </a:rPr>
              <a:t>consolidación</a:t>
            </a:r>
            <a:r>
              <a:rPr kumimoji="0" lang="en-GB" sz="700" b="1" i="0" u="none" strike="noStrike" kern="1200" cap="none" spc="0" normalizeH="0" baseline="0" noProof="0">
                <a:ln>
                  <a:noFill/>
                </a:ln>
                <a:solidFill>
                  <a:prstClr val="black"/>
                </a:solidFill>
                <a:effectLst/>
                <a:uLnTx/>
                <a:uFillTx/>
                <a:latin typeface="Droid Sans"/>
                <a:ea typeface="Arial" charset="0"/>
                <a:cs typeface="Calibri" panose="020F0502020204030204" pitchFamily="34" charset="0"/>
                <a:sym typeface="Gill Sans" charset="0"/>
              </a:rPr>
              <a:t> </a:t>
            </a:r>
            <a:r>
              <a:rPr kumimoji="0" lang="en-GB" sz="700" b="1" i="0" u="none" strike="noStrike" kern="1200" cap="none" spc="0" normalizeH="0" baseline="0" noProof="0" err="1">
                <a:ln>
                  <a:noFill/>
                </a:ln>
                <a:solidFill>
                  <a:prstClr val="black"/>
                </a:solidFill>
                <a:effectLst/>
                <a:uLnTx/>
                <a:uFillTx/>
                <a:latin typeface="Droid Sans"/>
                <a:ea typeface="Arial" charset="0"/>
                <a:cs typeface="Calibri" panose="020F0502020204030204" pitchFamily="34" charset="0"/>
                <a:sym typeface="Gill Sans" charset="0"/>
              </a:rPr>
              <a:t>en</a:t>
            </a:r>
            <a:r>
              <a:rPr kumimoji="0" lang="en-GB" sz="700" b="1" i="0" u="none" strike="noStrike" kern="1200" cap="none" spc="0" normalizeH="0" baseline="0" noProof="0">
                <a:ln>
                  <a:noFill/>
                </a:ln>
                <a:solidFill>
                  <a:prstClr val="black"/>
                </a:solidFill>
                <a:effectLst/>
                <a:uLnTx/>
                <a:uFillTx/>
                <a:latin typeface="Droid Sans"/>
                <a:ea typeface="Arial" charset="0"/>
                <a:cs typeface="Calibri" panose="020F0502020204030204" pitchFamily="34" charset="0"/>
                <a:sym typeface="Gill Sans" charset="0"/>
              </a:rPr>
              <a:t> BW/4HANA 2.0  </a:t>
            </a:r>
          </a:p>
        </p:txBody>
      </p:sp>
      <p:pic>
        <p:nvPicPr>
          <p:cNvPr id="23" name="Imagen 22">
            <a:extLst>
              <a:ext uri="{FF2B5EF4-FFF2-40B4-BE49-F238E27FC236}">
                <a16:creationId xmlns:a16="http://schemas.microsoft.com/office/drawing/2014/main" id="{8A942FA8-E71B-B854-4B0E-A47425748889}"/>
              </a:ext>
            </a:extLst>
          </p:cNvPr>
          <p:cNvPicPr>
            <a:picLocks noChangeAspect="1"/>
          </p:cNvPicPr>
          <p:nvPr/>
        </p:nvPicPr>
        <p:blipFill>
          <a:blip r:embed="rId10"/>
          <a:stretch>
            <a:fillRect/>
          </a:stretch>
        </p:blipFill>
        <p:spPr>
          <a:xfrm>
            <a:off x="6094910" y="4157909"/>
            <a:ext cx="441925" cy="312294"/>
          </a:xfrm>
          <a:prstGeom prst="rect">
            <a:avLst/>
          </a:prstGeom>
        </p:spPr>
      </p:pic>
      <p:pic>
        <p:nvPicPr>
          <p:cNvPr id="25" name="Imagen 24">
            <a:extLst>
              <a:ext uri="{FF2B5EF4-FFF2-40B4-BE49-F238E27FC236}">
                <a16:creationId xmlns:a16="http://schemas.microsoft.com/office/drawing/2014/main" id="{43171040-670C-2105-5E14-518E79F3D2D2}"/>
              </a:ext>
            </a:extLst>
          </p:cNvPr>
          <p:cNvPicPr>
            <a:picLocks noChangeAspect="1"/>
          </p:cNvPicPr>
          <p:nvPr/>
        </p:nvPicPr>
        <p:blipFill>
          <a:blip r:embed="rId11"/>
          <a:stretch>
            <a:fillRect/>
          </a:stretch>
        </p:blipFill>
        <p:spPr>
          <a:xfrm>
            <a:off x="7858357" y="3857726"/>
            <a:ext cx="392134" cy="141491"/>
          </a:xfrm>
          <a:prstGeom prst="rect">
            <a:avLst/>
          </a:prstGeom>
        </p:spPr>
      </p:pic>
      <p:pic>
        <p:nvPicPr>
          <p:cNvPr id="26" name="Imagen 25">
            <a:extLst>
              <a:ext uri="{FF2B5EF4-FFF2-40B4-BE49-F238E27FC236}">
                <a16:creationId xmlns:a16="http://schemas.microsoft.com/office/drawing/2014/main" id="{4C3E2428-E943-0A65-CD86-C5D5C7CACD6F}"/>
              </a:ext>
            </a:extLst>
          </p:cNvPr>
          <p:cNvPicPr>
            <a:picLocks noChangeAspect="1"/>
          </p:cNvPicPr>
          <p:nvPr/>
        </p:nvPicPr>
        <p:blipFill rotWithShape="1">
          <a:blip r:embed="rId12"/>
          <a:srcRect t="-36866" r="84706"/>
          <a:stretch/>
        </p:blipFill>
        <p:spPr>
          <a:xfrm>
            <a:off x="7981273" y="4127146"/>
            <a:ext cx="176540" cy="291049"/>
          </a:xfrm>
          <a:prstGeom prst="rect">
            <a:avLst/>
          </a:prstGeom>
        </p:spPr>
      </p:pic>
      <p:sp>
        <p:nvSpPr>
          <p:cNvPr id="27" name="CuadroTexto 26">
            <a:extLst>
              <a:ext uri="{FF2B5EF4-FFF2-40B4-BE49-F238E27FC236}">
                <a16:creationId xmlns:a16="http://schemas.microsoft.com/office/drawing/2014/main" id="{3B19927B-7DDD-FF8D-EC52-719DA8B3363A}"/>
              </a:ext>
            </a:extLst>
          </p:cNvPr>
          <p:cNvSpPr txBox="1"/>
          <p:nvPr/>
        </p:nvSpPr>
        <p:spPr>
          <a:xfrm>
            <a:off x="2018265" y="4149043"/>
            <a:ext cx="1208876" cy="346249"/>
          </a:xfrm>
          <a:prstGeom prst="rect">
            <a:avLst/>
          </a:prstGeom>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550" b="1" i="0" u="none" strike="noStrike" kern="1200" cap="none" spc="0" normalizeH="0" baseline="0" noProof="0" err="1">
                <a:ln>
                  <a:noFill/>
                </a:ln>
                <a:solidFill>
                  <a:prstClr val="black"/>
                </a:solidFill>
                <a:effectLst/>
                <a:uLnTx/>
                <a:uFillTx/>
                <a:latin typeface="Droid Sans"/>
                <a:ea typeface="Arial" charset="0"/>
                <a:cs typeface="Calibri" panose="020F0502020204030204" pitchFamily="34" charset="0"/>
                <a:sym typeface="Gill Sans" charset="0"/>
              </a:rPr>
              <a:t>Remodelado</a:t>
            </a:r>
            <a:r>
              <a:rPr kumimoji="0" lang="en-GB" sz="550" b="1" i="0" u="none" strike="noStrike" kern="1200" cap="none" spc="0" normalizeH="0" baseline="0" noProof="0">
                <a:ln>
                  <a:noFill/>
                </a:ln>
                <a:solidFill>
                  <a:prstClr val="black"/>
                </a:solidFill>
                <a:effectLst/>
                <a:uLnTx/>
                <a:uFillTx/>
                <a:latin typeface="Droid Sans"/>
                <a:ea typeface="Arial" charset="0"/>
                <a:cs typeface="Calibri" panose="020F0502020204030204" pitchFamily="34" charset="0"/>
                <a:sym typeface="Gill Sans" charset="0"/>
              </a:rPr>
              <a:t> de la </a:t>
            </a:r>
            <a:r>
              <a:rPr kumimoji="0" lang="en-GB" sz="550" b="1" i="0" u="none" strike="noStrike" kern="1200" cap="none" spc="0" normalizeH="0" baseline="0" noProof="0" err="1">
                <a:ln>
                  <a:noFill/>
                </a:ln>
                <a:solidFill>
                  <a:prstClr val="black"/>
                </a:solidFill>
                <a:effectLst/>
                <a:uLnTx/>
                <a:uFillTx/>
                <a:latin typeface="Droid Sans"/>
                <a:ea typeface="Arial" charset="0"/>
                <a:cs typeface="Calibri" panose="020F0502020204030204" pitchFamily="34" charset="0"/>
                <a:sym typeface="Gill Sans" charset="0"/>
              </a:rPr>
              <a:t>capa</a:t>
            </a:r>
            <a:r>
              <a:rPr kumimoji="0" lang="en-GB" sz="550" b="1" i="0" u="none" strike="noStrike" kern="1200" cap="none" spc="0" normalizeH="0" baseline="0" noProof="0">
                <a:ln>
                  <a:noFill/>
                </a:ln>
                <a:solidFill>
                  <a:prstClr val="black"/>
                </a:solidFill>
                <a:effectLst/>
                <a:uLnTx/>
                <a:uFillTx/>
                <a:latin typeface="Droid Sans"/>
                <a:ea typeface="Arial" charset="0"/>
                <a:cs typeface="Calibri" panose="020F0502020204030204" pitchFamily="34" charset="0"/>
                <a:sym typeface="Gill Sans" charset="0"/>
              </a:rPr>
              <a:t> de </a:t>
            </a:r>
            <a:r>
              <a:rPr kumimoji="0" lang="en-GB" sz="550" b="1" i="0" u="none" strike="noStrike" kern="1200" cap="none" spc="0" normalizeH="0" baseline="0" noProof="0" err="1">
                <a:ln>
                  <a:noFill/>
                </a:ln>
                <a:solidFill>
                  <a:prstClr val="black"/>
                </a:solidFill>
                <a:effectLst/>
                <a:uLnTx/>
                <a:uFillTx/>
                <a:latin typeface="Droid Sans"/>
                <a:ea typeface="Arial" charset="0"/>
                <a:cs typeface="Calibri" panose="020F0502020204030204" pitchFamily="34" charset="0"/>
                <a:sym typeface="Gill Sans" charset="0"/>
              </a:rPr>
              <a:t>extracción</a:t>
            </a:r>
            <a:r>
              <a:rPr kumimoji="0" lang="en-GB" sz="550" b="1" i="0" u="none" strike="noStrike" kern="1200" cap="none" spc="0" normalizeH="0" baseline="0" noProof="0">
                <a:ln>
                  <a:noFill/>
                </a:ln>
                <a:solidFill>
                  <a:prstClr val="black"/>
                </a:solidFill>
                <a:effectLst/>
                <a:uLnTx/>
                <a:uFillTx/>
                <a:latin typeface="Droid Sans"/>
                <a:ea typeface="Arial" charset="0"/>
                <a:cs typeface="Calibri" panose="020F0502020204030204" pitchFamily="34" charset="0"/>
                <a:sym typeface="Gill Sans" charset="0"/>
              </a:rPr>
              <a:t> y </a:t>
            </a:r>
            <a:r>
              <a:rPr kumimoji="0" lang="en-GB" sz="550" b="1" i="0" u="none" strike="noStrike" kern="1200" cap="none" spc="0" normalizeH="0" baseline="0" noProof="0" err="1">
                <a:ln>
                  <a:noFill/>
                </a:ln>
                <a:solidFill>
                  <a:prstClr val="black"/>
                </a:solidFill>
                <a:effectLst/>
                <a:uLnTx/>
                <a:uFillTx/>
                <a:latin typeface="Droid Sans"/>
                <a:ea typeface="Arial" charset="0"/>
                <a:cs typeface="Calibri" panose="020F0502020204030204" pitchFamily="34" charset="0"/>
                <a:sym typeface="Gill Sans" charset="0"/>
              </a:rPr>
              <a:t>adaptación</a:t>
            </a:r>
            <a:r>
              <a:rPr kumimoji="0" lang="en-GB" sz="550" b="1" i="0" u="none" strike="noStrike" kern="1200" cap="none" spc="0" normalizeH="0" baseline="0" noProof="0">
                <a:ln>
                  <a:noFill/>
                </a:ln>
                <a:solidFill>
                  <a:prstClr val="black"/>
                </a:solidFill>
                <a:effectLst/>
                <a:uLnTx/>
                <a:uFillTx/>
                <a:latin typeface="Droid Sans"/>
                <a:ea typeface="Arial" charset="0"/>
                <a:cs typeface="Calibri" panose="020F0502020204030204" pitchFamily="34" charset="0"/>
                <a:sym typeface="Gill Sans" charset="0"/>
              </a:rPr>
              <a:t> del </a:t>
            </a:r>
            <a:r>
              <a:rPr kumimoji="0" lang="en-GB" sz="550" b="1" i="0" u="none" strike="noStrike" kern="1200" cap="none" spc="0" normalizeH="0" baseline="0" noProof="0" err="1">
                <a:ln>
                  <a:noFill/>
                </a:ln>
                <a:solidFill>
                  <a:prstClr val="black"/>
                </a:solidFill>
                <a:effectLst/>
                <a:uLnTx/>
                <a:uFillTx/>
                <a:latin typeface="Droid Sans"/>
                <a:ea typeface="Arial" charset="0"/>
                <a:cs typeface="Calibri" panose="020F0502020204030204" pitchFamily="34" charset="0"/>
                <a:sym typeface="Gill Sans" charset="0"/>
              </a:rPr>
              <a:t>modelo</a:t>
            </a:r>
            <a:r>
              <a:rPr kumimoji="0" lang="en-GB" sz="550" b="1" i="0" u="none" strike="noStrike" kern="1200" cap="none" spc="0" normalizeH="0" baseline="0" noProof="0">
                <a:ln>
                  <a:noFill/>
                </a:ln>
                <a:solidFill>
                  <a:prstClr val="black"/>
                </a:solidFill>
                <a:effectLst/>
                <a:uLnTx/>
                <a:uFillTx/>
                <a:latin typeface="Droid Sans"/>
                <a:ea typeface="Arial" charset="0"/>
                <a:cs typeface="Calibri" panose="020F0502020204030204" pitchFamily="34" charset="0"/>
                <a:sym typeface="Gill Sans" charset="0"/>
              </a:rPr>
              <a:t> a LSA++ </a:t>
            </a:r>
            <a:r>
              <a:rPr kumimoji="0" lang="en-GB" sz="550" b="1" i="0" u="none" strike="noStrike" kern="1200" cap="none" spc="0" normalizeH="0" baseline="0" noProof="0" err="1">
                <a:ln>
                  <a:noFill/>
                </a:ln>
                <a:solidFill>
                  <a:prstClr val="black"/>
                </a:solidFill>
                <a:effectLst/>
                <a:uLnTx/>
                <a:uFillTx/>
                <a:latin typeface="Droid Sans"/>
                <a:ea typeface="Arial" charset="0"/>
                <a:cs typeface="Calibri" panose="020F0502020204030204" pitchFamily="34" charset="0"/>
                <a:sym typeface="Gill Sans" charset="0"/>
              </a:rPr>
              <a:t>en</a:t>
            </a:r>
            <a:r>
              <a:rPr kumimoji="0" lang="en-GB" sz="550" b="1" i="0" u="none" strike="noStrike" kern="1200" cap="none" spc="0" normalizeH="0" baseline="0" noProof="0">
                <a:ln>
                  <a:noFill/>
                </a:ln>
                <a:solidFill>
                  <a:prstClr val="black"/>
                </a:solidFill>
                <a:effectLst/>
                <a:uLnTx/>
                <a:uFillTx/>
                <a:latin typeface="Droid Sans"/>
                <a:ea typeface="Arial" charset="0"/>
                <a:cs typeface="Calibri" panose="020F0502020204030204" pitchFamily="34" charset="0"/>
                <a:sym typeface="Gill Sans" charset="0"/>
              </a:rPr>
              <a:t> BW/4HANA 2.0</a:t>
            </a:r>
          </a:p>
        </p:txBody>
      </p:sp>
      <p:sp>
        <p:nvSpPr>
          <p:cNvPr id="28" name="CuadroTexto 27">
            <a:extLst>
              <a:ext uri="{FF2B5EF4-FFF2-40B4-BE49-F238E27FC236}">
                <a16:creationId xmlns:a16="http://schemas.microsoft.com/office/drawing/2014/main" id="{F0DF56C8-1E69-5D5B-8B84-CEA434D094A1}"/>
              </a:ext>
            </a:extLst>
          </p:cNvPr>
          <p:cNvSpPr txBox="1"/>
          <p:nvPr/>
        </p:nvSpPr>
        <p:spPr>
          <a:xfrm>
            <a:off x="6610231" y="4161508"/>
            <a:ext cx="1202965" cy="307777"/>
          </a:xfrm>
          <a:prstGeom prst="rect">
            <a:avLst/>
          </a:prstGeom>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a:ln>
                  <a:noFill/>
                </a:ln>
                <a:solidFill>
                  <a:prstClr val="black"/>
                </a:solidFill>
                <a:effectLst/>
                <a:uLnTx/>
                <a:uFillTx/>
                <a:latin typeface="Droid Sans"/>
                <a:ea typeface="+mn-ea"/>
                <a:cs typeface="Calibri" panose="020F0502020204030204" pitchFamily="34" charset="0"/>
              </a:rPr>
              <a:t>Proyecto de </a:t>
            </a:r>
            <a:r>
              <a:rPr kumimoji="0" lang="en-GB" sz="700" b="1" i="0" u="none" strike="noStrike" kern="1200" cap="none" spc="0" normalizeH="0" baseline="0" noProof="0" err="1">
                <a:ln>
                  <a:noFill/>
                </a:ln>
                <a:solidFill>
                  <a:prstClr val="black"/>
                </a:solidFill>
                <a:effectLst/>
                <a:uLnTx/>
                <a:uFillTx/>
                <a:latin typeface="Droid Sans"/>
                <a:ea typeface="+mn-ea"/>
                <a:cs typeface="Calibri" panose="020F0502020204030204" pitchFamily="34" charset="0"/>
              </a:rPr>
              <a:t>gestión</a:t>
            </a:r>
            <a:r>
              <a:rPr kumimoji="0" lang="en-GB" sz="700" b="1" i="0" u="none" strike="noStrike" kern="1200" cap="none" spc="0" normalizeH="0" baseline="0" noProof="0">
                <a:ln>
                  <a:noFill/>
                </a:ln>
                <a:solidFill>
                  <a:prstClr val="black"/>
                </a:solidFill>
                <a:effectLst/>
                <a:uLnTx/>
                <a:uFillTx/>
                <a:latin typeface="Droid Sans"/>
                <a:ea typeface="+mn-ea"/>
                <a:cs typeface="Calibri" panose="020F0502020204030204" pitchFamily="34" charset="0"/>
              </a:rPr>
              <a:t> </a:t>
            </a:r>
            <a:r>
              <a:rPr kumimoji="0" lang="en-GB" sz="700" b="1" i="0" u="none" strike="noStrike" kern="1200" cap="none" spc="0" normalizeH="0" baseline="0" noProof="0" err="1">
                <a:ln>
                  <a:noFill/>
                </a:ln>
                <a:solidFill>
                  <a:prstClr val="black"/>
                </a:solidFill>
                <a:effectLst/>
                <a:uLnTx/>
                <a:uFillTx/>
                <a:latin typeface="Droid Sans"/>
                <a:ea typeface="+mn-ea"/>
                <a:cs typeface="Calibri" panose="020F0502020204030204" pitchFamily="34" charset="0"/>
              </a:rPr>
              <a:t>logística</a:t>
            </a:r>
            <a:r>
              <a:rPr kumimoji="0" lang="en-GB" sz="700" b="1" i="0" u="none" strike="noStrike" kern="1200" cap="none" spc="0" normalizeH="0" baseline="0" noProof="0">
                <a:ln>
                  <a:noFill/>
                </a:ln>
                <a:solidFill>
                  <a:prstClr val="black"/>
                </a:solidFill>
                <a:effectLst/>
                <a:uLnTx/>
                <a:uFillTx/>
                <a:latin typeface="Droid Sans"/>
                <a:ea typeface="+mn-ea"/>
                <a:cs typeface="Calibri" panose="020F0502020204030204" pitchFamily="34" charset="0"/>
              </a:rPr>
              <a:t> </a:t>
            </a:r>
            <a:r>
              <a:rPr kumimoji="0" lang="en-GB" sz="700" b="1" i="0" u="none" strike="noStrike" kern="1200" cap="none" spc="0" normalizeH="0" baseline="0" noProof="0" err="1">
                <a:ln>
                  <a:noFill/>
                </a:ln>
                <a:solidFill>
                  <a:prstClr val="black"/>
                </a:solidFill>
                <a:effectLst/>
                <a:uLnTx/>
                <a:uFillTx/>
                <a:latin typeface="Droid Sans"/>
                <a:ea typeface="+mn-ea"/>
                <a:cs typeface="Calibri" panose="020F0502020204030204" pitchFamily="34" charset="0"/>
              </a:rPr>
              <a:t>en</a:t>
            </a:r>
            <a:r>
              <a:rPr kumimoji="0" lang="en-GB" sz="700" b="1" i="0" u="none" strike="noStrike" kern="1200" cap="none" spc="0" normalizeH="0" baseline="0" noProof="0">
                <a:ln>
                  <a:noFill/>
                </a:ln>
                <a:solidFill>
                  <a:prstClr val="black"/>
                </a:solidFill>
                <a:effectLst/>
                <a:uLnTx/>
                <a:uFillTx/>
                <a:latin typeface="Droid Sans"/>
                <a:ea typeface="+mn-ea"/>
                <a:cs typeface="Calibri" panose="020F0502020204030204" pitchFamily="34" charset="0"/>
              </a:rPr>
              <a:t> BW/4HANA 2.0</a:t>
            </a:r>
          </a:p>
        </p:txBody>
      </p:sp>
      <p:sp>
        <p:nvSpPr>
          <p:cNvPr id="29" name="CuadroTexto 28">
            <a:extLst>
              <a:ext uri="{FF2B5EF4-FFF2-40B4-BE49-F238E27FC236}">
                <a16:creationId xmlns:a16="http://schemas.microsoft.com/office/drawing/2014/main" id="{370DCC73-282B-81CD-1550-003073C1E65A}"/>
              </a:ext>
            </a:extLst>
          </p:cNvPr>
          <p:cNvSpPr txBox="1"/>
          <p:nvPr/>
        </p:nvSpPr>
        <p:spPr>
          <a:xfrm>
            <a:off x="8302621" y="3780086"/>
            <a:ext cx="1493690" cy="307777"/>
          </a:xfrm>
          <a:prstGeom prst="rect">
            <a:avLst/>
          </a:prstGeom>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a:ln>
                  <a:noFill/>
                </a:ln>
                <a:solidFill>
                  <a:prstClr val="black"/>
                </a:solidFill>
                <a:effectLst/>
                <a:uLnTx/>
                <a:uFillTx/>
                <a:latin typeface="Droid Sans"/>
                <a:ea typeface="+mn-ea"/>
                <a:cs typeface="Calibri" panose="020F0502020204030204" pitchFamily="34" charset="0"/>
              </a:rPr>
              <a:t>Proyecto de </a:t>
            </a:r>
            <a:r>
              <a:rPr kumimoji="0" lang="en-GB" sz="700" b="1" i="0" u="none" strike="noStrike" kern="1200" cap="none" spc="0" normalizeH="0" baseline="0" noProof="0" err="1">
                <a:ln>
                  <a:noFill/>
                </a:ln>
                <a:solidFill>
                  <a:prstClr val="black"/>
                </a:solidFill>
                <a:effectLst/>
                <a:uLnTx/>
                <a:uFillTx/>
                <a:latin typeface="Droid Sans"/>
                <a:ea typeface="+mn-ea"/>
                <a:cs typeface="Calibri" panose="020F0502020204030204" pitchFamily="34" charset="0"/>
              </a:rPr>
              <a:t>análisis</a:t>
            </a:r>
            <a:r>
              <a:rPr kumimoji="0" lang="en-GB" sz="700" b="1" i="0" u="none" strike="noStrike" kern="1200" cap="none" spc="0" normalizeH="0" baseline="0" noProof="0">
                <a:ln>
                  <a:noFill/>
                </a:ln>
                <a:solidFill>
                  <a:prstClr val="black"/>
                </a:solidFill>
                <a:effectLst/>
                <a:uLnTx/>
                <a:uFillTx/>
                <a:latin typeface="Droid Sans"/>
                <a:ea typeface="+mn-ea"/>
                <a:cs typeface="Calibri" panose="020F0502020204030204" pitchFamily="34" charset="0"/>
              </a:rPr>
              <a:t> de </a:t>
            </a:r>
            <a:r>
              <a:rPr kumimoji="0" lang="en-GB" sz="700" b="1" i="0" u="none" strike="noStrike" kern="1200" cap="none" spc="0" normalizeH="0" baseline="0" noProof="0" err="1">
                <a:ln>
                  <a:noFill/>
                </a:ln>
                <a:solidFill>
                  <a:prstClr val="black"/>
                </a:solidFill>
                <a:effectLst/>
                <a:uLnTx/>
                <a:uFillTx/>
                <a:latin typeface="Droid Sans"/>
                <a:ea typeface="+mn-ea"/>
                <a:cs typeface="Calibri" panose="020F0502020204030204" pitchFamily="34" charset="0"/>
              </a:rPr>
              <a:t>riesgos</a:t>
            </a:r>
            <a:r>
              <a:rPr kumimoji="0" lang="en-GB" sz="700" b="1" i="0" u="none" strike="noStrike" kern="1200" cap="none" spc="0" normalizeH="0" baseline="0" noProof="0">
                <a:ln>
                  <a:noFill/>
                </a:ln>
                <a:solidFill>
                  <a:prstClr val="black"/>
                </a:solidFill>
                <a:effectLst/>
                <a:uLnTx/>
                <a:uFillTx/>
                <a:latin typeface="Droid Sans"/>
                <a:ea typeface="+mn-ea"/>
                <a:cs typeface="Calibri" panose="020F0502020204030204" pitchFamily="34" charset="0"/>
              </a:rPr>
              <a:t> </a:t>
            </a:r>
            <a:r>
              <a:rPr kumimoji="0" lang="en-GB" sz="700" b="1" i="0" u="none" strike="noStrike" kern="1200" cap="none" spc="0" normalizeH="0" baseline="0" noProof="0" err="1">
                <a:ln>
                  <a:noFill/>
                </a:ln>
                <a:solidFill>
                  <a:prstClr val="black"/>
                </a:solidFill>
                <a:effectLst/>
                <a:uLnTx/>
                <a:uFillTx/>
                <a:latin typeface="Droid Sans"/>
                <a:ea typeface="+mn-ea"/>
                <a:cs typeface="Calibri" panose="020F0502020204030204" pitchFamily="34" charset="0"/>
              </a:rPr>
              <a:t>en</a:t>
            </a:r>
            <a:r>
              <a:rPr kumimoji="0" lang="en-GB" sz="700" b="1" i="0" u="none" strike="noStrike" kern="1200" cap="none" spc="0" normalizeH="0" baseline="0" noProof="0">
                <a:ln>
                  <a:noFill/>
                </a:ln>
                <a:solidFill>
                  <a:prstClr val="black"/>
                </a:solidFill>
                <a:effectLst/>
                <a:uLnTx/>
                <a:uFillTx/>
                <a:latin typeface="Droid Sans"/>
                <a:ea typeface="+mn-ea"/>
                <a:cs typeface="Calibri" panose="020F0502020204030204" pitchFamily="34" charset="0"/>
              </a:rPr>
              <a:t> BW/4HANA 2.0  </a:t>
            </a:r>
          </a:p>
        </p:txBody>
      </p:sp>
      <p:sp>
        <p:nvSpPr>
          <p:cNvPr id="30" name="CuadroTexto 29">
            <a:extLst>
              <a:ext uri="{FF2B5EF4-FFF2-40B4-BE49-F238E27FC236}">
                <a16:creationId xmlns:a16="http://schemas.microsoft.com/office/drawing/2014/main" id="{61B22E3C-5E4D-9E27-611E-B9D4CA1C6FA0}"/>
              </a:ext>
            </a:extLst>
          </p:cNvPr>
          <p:cNvSpPr txBox="1"/>
          <p:nvPr/>
        </p:nvSpPr>
        <p:spPr>
          <a:xfrm>
            <a:off x="8301705" y="4155393"/>
            <a:ext cx="1499370" cy="307777"/>
          </a:xfrm>
          <a:prstGeom prst="rect">
            <a:avLst/>
          </a:prstGeom>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err="1">
                <a:ln>
                  <a:noFill/>
                </a:ln>
                <a:solidFill>
                  <a:prstClr val="black"/>
                </a:solidFill>
                <a:effectLst/>
                <a:uLnTx/>
                <a:uFillTx/>
                <a:latin typeface="Droid Sans"/>
                <a:ea typeface="+mn-ea"/>
                <a:cs typeface="Calibri" panose="020F0502020204030204" pitchFamily="34" charset="0"/>
                <a:sym typeface="Gill Sans" charset="0"/>
              </a:rPr>
              <a:t>Despliegue</a:t>
            </a:r>
            <a:r>
              <a:rPr kumimoji="0" lang="en-GB" sz="700" b="1" i="0" u="none" strike="noStrike" kern="1200" cap="none" spc="0" normalizeH="0" baseline="0" noProof="0">
                <a:ln>
                  <a:noFill/>
                </a:ln>
                <a:solidFill>
                  <a:prstClr val="black"/>
                </a:solidFill>
                <a:effectLst/>
                <a:uLnTx/>
                <a:uFillTx/>
                <a:latin typeface="Droid Sans"/>
                <a:ea typeface="+mn-ea"/>
                <a:cs typeface="Calibri" panose="020F0502020204030204" pitchFamily="34" charset="0"/>
                <a:sym typeface="Gill Sans" charset="0"/>
              </a:rPr>
              <a:t> de HANA </a:t>
            </a:r>
            <a:r>
              <a:rPr kumimoji="0" lang="en-GB" sz="700" b="1" i="0" u="none" strike="noStrike" kern="1200" cap="none" spc="0" normalizeH="0" baseline="0" noProof="0" err="1">
                <a:ln>
                  <a:noFill/>
                </a:ln>
                <a:solidFill>
                  <a:prstClr val="black"/>
                </a:solidFill>
                <a:effectLst/>
                <a:uLnTx/>
                <a:uFillTx/>
                <a:latin typeface="Droid Sans"/>
                <a:ea typeface="+mn-ea"/>
                <a:cs typeface="Calibri" panose="020F0502020204030204" pitchFamily="34" charset="0"/>
                <a:sym typeface="Gill Sans" charset="0"/>
              </a:rPr>
              <a:t>como</a:t>
            </a:r>
            <a:r>
              <a:rPr kumimoji="0" lang="en-GB" sz="700" b="1" i="0" u="none" strike="noStrike" kern="1200" cap="none" spc="0" normalizeH="0" baseline="0" noProof="0">
                <a:ln>
                  <a:noFill/>
                </a:ln>
                <a:solidFill>
                  <a:prstClr val="black"/>
                </a:solidFill>
                <a:effectLst/>
                <a:uLnTx/>
                <a:uFillTx/>
                <a:latin typeface="Droid Sans"/>
                <a:ea typeface="+mn-ea"/>
                <a:cs typeface="Calibri" panose="020F0502020204030204" pitchFamily="34" charset="0"/>
                <a:sym typeface="Gill Sans" charset="0"/>
              </a:rPr>
              <a:t> </a:t>
            </a:r>
            <a:r>
              <a:rPr kumimoji="0" lang="en-GB" sz="700" b="1" i="0" u="none" strike="noStrike" kern="1200" cap="none" spc="0" normalizeH="0" baseline="0" noProof="0" err="1">
                <a:ln>
                  <a:noFill/>
                </a:ln>
                <a:solidFill>
                  <a:prstClr val="black"/>
                </a:solidFill>
                <a:effectLst/>
                <a:uLnTx/>
                <a:uFillTx/>
                <a:latin typeface="Droid Sans"/>
                <a:ea typeface="+mn-ea"/>
                <a:cs typeface="Calibri" panose="020F0502020204030204" pitchFamily="34" charset="0"/>
                <a:sym typeface="Gill Sans" charset="0"/>
              </a:rPr>
              <a:t>el</a:t>
            </a:r>
            <a:r>
              <a:rPr kumimoji="0" lang="en-GB" sz="700" b="1" i="0" u="none" strike="noStrike" kern="1200" cap="none" spc="0" normalizeH="0" baseline="0" noProof="0">
                <a:ln>
                  <a:noFill/>
                </a:ln>
                <a:solidFill>
                  <a:prstClr val="black"/>
                </a:solidFill>
                <a:effectLst/>
                <a:uLnTx/>
                <a:uFillTx/>
                <a:latin typeface="Droid Sans"/>
                <a:ea typeface="+mn-ea"/>
                <a:cs typeface="Calibri" panose="020F0502020204030204" pitchFamily="34" charset="0"/>
                <a:sym typeface="Gill Sans" charset="0"/>
              </a:rPr>
              <a:t> </a:t>
            </a:r>
            <a:r>
              <a:rPr kumimoji="0" lang="en-GB" sz="700" b="1" i="0" u="none" strike="noStrike" kern="1200" cap="none" spc="0" normalizeH="0" baseline="0" noProof="0" err="1">
                <a:ln>
                  <a:noFill/>
                </a:ln>
                <a:solidFill>
                  <a:prstClr val="black"/>
                </a:solidFill>
                <a:effectLst/>
                <a:uLnTx/>
                <a:uFillTx/>
                <a:latin typeface="Droid Sans"/>
                <a:ea typeface="+mn-ea"/>
                <a:cs typeface="Calibri" panose="020F0502020204030204" pitchFamily="34" charset="0"/>
                <a:sym typeface="Gill Sans" charset="0"/>
              </a:rPr>
              <a:t>DataWarehouse</a:t>
            </a:r>
            <a:r>
              <a:rPr kumimoji="0" lang="en-GB" sz="700" b="1" i="0" u="none" strike="noStrike" kern="1200" cap="none" spc="0" normalizeH="0" baseline="0" noProof="0">
                <a:ln>
                  <a:noFill/>
                </a:ln>
                <a:solidFill>
                  <a:prstClr val="black"/>
                </a:solidFill>
                <a:effectLst/>
                <a:uLnTx/>
                <a:uFillTx/>
                <a:latin typeface="Droid Sans"/>
                <a:ea typeface="+mn-ea"/>
                <a:cs typeface="Calibri" panose="020F0502020204030204" pitchFamily="34" charset="0"/>
                <a:sym typeface="Gill Sans" charset="0"/>
              </a:rPr>
              <a:t> </a:t>
            </a:r>
            <a:r>
              <a:rPr kumimoji="0" lang="en-GB" sz="700" b="1" i="0" u="none" strike="noStrike" kern="1200" cap="none" spc="0" normalizeH="0" baseline="0" noProof="0" err="1">
                <a:ln>
                  <a:noFill/>
                </a:ln>
                <a:solidFill>
                  <a:prstClr val="black"/>
                </a:solidFill>
                <a:effectLst/>
                <a:uLnTx/>
                <a:uFillTx/>
                <a:latin typeface="Droid Sans"/>
                <a:ea typeface="+mn-ea"/>
                <a:cs typeface="Calibri" panose="020F0502020204030204" pitchFamily="34" charset="0"/>
                <a:sym typeface="Gill Sans" charset="0"/>
              </a:rPr>
              <a:t>corporativo</a:t>
            </a:r>
            <a:endParaRPr kumimoji="0" lang="en-GB" sz="700" b="1" i="0" u="none" strike="noStrike" kern="1200" cap="none" spc="0" normalizeH="0" baseline="0" noProof="0">
              <a:ln>
                <a:noFill/>
              </a:ln>
              <a:solidFill>
                <a:prstClr val="black"/>
              </a:solidFill>
              <a:effectLst/>
              <a:uLnTx/>
              <a:uFillTx/>
              <a:latin typeface="Droid Sans"/>
              <a:ea typeface="+mn-ea"/>
              <a:cs typeface="Calibri" panose="020F0502020204030204" pitchFamily="34" charset="0"/>
              <a:sym typeface="Gill Sans" charset="0"/>
            </a:endParaRPr>
          </a:p>
        </p:txBody>
      </p:sp>
      <p:sp>
        <p:nvSpPr>
          <p:cNvPr id="31" name="CuadroTexto 30">
            <a:extLst>
              <a:ext uri="{FF2B5EF4-FFF2-40B4-BE49-F238E27FC236}">
                <a16:creationId xmlns:a16="http://schemas.microsoft.com/office/drawing/2014/main" id="{C92F6CE3-DD8C-BD14-5FE9-CF3EC6356760}"/>
              </a:ext>
            </a:extLst>
          </p:cNvPr>
          <p:cNvSpPr txBox="1"/>
          <p:nvPr/>
        </p:nvSpPr>
        <p:spPr>
          <a:xfrm>
            <a:off x="1984883" y="929765"/>
            <a:ext cx="2532359" cy="246221"/>
          </a:xfrm>
          <a:prstGeom prst="rect">
            <a:avLst/>
          </a:prstGeom>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
                <a:srgbClr val="505150"/>
              </a:buClr>
              <a:buSzPct val="88000"/>
              <a:buFontTx/>
              <a:buNone/>
              <a:tabLst/>
              <a:defRPr/>
            </a:pPr>
            <a:r>
              <a:rPr kumimoji="0" lang="en-GB" sz="1000" b="0" i="0" u="none" strike="noStrike" kern="1200" cap="none" spc="0" normalizeH="0" baseline="0" noProof="0">
                <a:ln>
                  <a:noFill/>
                </a:ln>
                <a:solidFill>
                  <a:prstClr val="black"/>
                </a:solidFill>
                <a:effectLst/>
                <a:uLnTx/>
                <a:uFillTx/>
                <a:latin typeface="Droid Sans" charset="0"/>
                <a:ea typeface="+mn-ea"/>
                <a:cs typeface="Droid Sans" charset="0"/>
                <a:sym typeface="Droid Sans" charset="0"/>
              </a:rPr>
              <a:t>People Analytics</a:t>
            </a:r>
          </a:p>
        </p:txBody>
      </p:sp>
      <p:cxnSp>
        <p:nvCxnSpPr>
          <p:cNvPr id="32" name="Conector recto 31">
            <a:extLst>
              <a:ext uri="{FF2B5EF4-FFF2-40B4-BE49-F238E27FC236}">
                <a16:creationId xmlns:a16="http://schemas.microsoft.com/office/drawing/2014/main" id="{637BE370-BB13-5AF5-6FD1-836A06167A18}"/>
              </a:ext>
            </a:extLst>
          </p:cNvPr>
          <p:cNvCxnSpPr>
            <a:cxnSpLocks/>
          </p:cNvCxnSpPr>
          <p:nvPr/>
        </p:nvCxnSpPr>
        <p:spPr>
          <a:xfrm>
            <a:off x="1502234" y="959683"/>
            <a:ext cx="0" cy="1621416"/>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63" name="Conector recto 62">
            <a:extLst>
              <a:ext uri="{FF2B5EF4-FFF2-40B4-BE49-F238E27FC236}">
                <a16:creationId xmlns:a16="http://schemas.microsoft.com/office/drawing/2014/main" id="{362AF4E4-003F-A1CE-7531-2A721AFE8EB5}"/>
              </a:ext>
            </a:extLst>
          </p:cNvPr>
          <p:cNvCxnSpPr>
            <a:cxnSpLocks/>
          </p:cNvCxnSpPr>
          <p:nvPr/>
        </p:nvCxnSpPr>
        <p:spPr>
          <a:xfrm>
            <a:off x="1669578" y="1194371"/>
            <a:ext cx="23073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64" name="Picture 2" descr="Asisa: Teléfono gratuito, cuadro médico y opiniones clientes 2020">
            <a:extLst>
              <a:ext uri="{FF2B5EF4-FFF2-40B4-BE49-F238E27FC236}">
                <a16:creationId xmlns:a16="http://schemas.microsoft.com/office/drawing/2014/main" id="{D6BF91F9-A67C-A720-D2D8-03EB63228376}"/>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764958" y="1312064"/>
            <a:ext cx="648000" cy="143264"/>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4">
            <a:extLst>
              <a:ext uri="{FF2B5EF4-FFF2-40B4-BE49-F238E27FC236}">
                <a16:creationId xmlns:a16="http://schemas.microsoft.com/office/drawing/2014/main" id="{A114C105-313B-0B6D-4332-3735D19D84F4}"/>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t="17783" b="26340"/>
          <a:stretch/>
        </p:blipFill>
        <p:spPr bwMode="auto">
          <a:xfrm>
            <a:off x="1727399" y="1509578"/>
            <a:ext cx="692603" cy="214004"/>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12">
            <a:extLst>
              <a:ext uri="{FF2B5EF4-FFF2-40B4-BE49-F238E27FC236}">
                <a16:creationId xmlns:a16="http://schemas.microsoft.com/office/drawing/2014/main" id="{03C2EB33-3433-8567-5E1F-2CC398A0C797}"/>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872129" y="2010811"/>
            <a:ext cx="411634" cy="13760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2">
            <a:extLst>
              <a:ext uri="{FF2B5EF4-FFF2-40B4-BE49-F238E27FC236}">
                <a16:creationId xmlns:a16="http://schemas.microsoft.com/office/drawing/2014/main" id="{EBE51ACB-2069-704D-E3E6-F149F6C0444A}"/>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857740" y="2228281"/>
            <a:ext cx="435970" cy="172093"/>
          </a:xfrm>
          <a:prstGeom prst="rect">
            <a:avLst/>
          </a:prstGeom>
          <a:noFill/>
          <a:extLst>
            <a:ext uri="{909E8E84-426E-40DD-AFC4-6F175D3DCCD1}">
              <a14:hiddenFill xmlns:a14="http://schemas.microsoft.com/office/drawing/2010/main">
                <a:solidFill>
                  <a:srgbClr val="FFFFFF"/>
                </a:solidFill>
              </a14:hiddenFill>
            </a:ext>
          </a:extLst>
        </p:spPr>
      </p:pic>
      <p:pic>
        <p:nvPicPr>
          <p:cNvPr id="68" name="Gráfico 67">
            <a:extLst>
              <a:ext uri="{FF2B5EF4-FFF2-40B4-BE49-F238E27FC236}">
                <a16:creationId xmlns:a16="http://schemas.microsoft.com/office/drawing/2014/main" id="{4274CC88-D1C3-6BD6-D6BC-F60D9FC6EA4D}"/>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517075" y="1316180"/>
            <a:ext cx="611583" cy="138099"/>
          </a:xfrm>
          <a:prstGeom prst="rect">
            <a:avLst/>
          </a:prstGeom>
        </p:spPr>
      </p:pic>
      <p:pic>
        <p:nvPicPr>
          <p:cNvPr id="69" name="Picture 4" descr="Grenergy Renovables SA: Grenergy logró un beneficio neto de 8,8 millones de  euros en el primer semestre de 2022, lo que supone un aumento de casi el  29% con respecto al mismo">
            <a:extLst>
              <a:ext uri="{FF2B5EF4-FFF2-40B4-BE49-F238E27FC236}">
                <a16:creationId xmlns:a16="http://schemas.microsoft.com/office/drawing/2014/main" id="{A9AFDDE2-B079-74FB-4AF8-77ADFD800B91}"/>
              </a:ext>
            </a:extLst>
          </p:cNvPr>
          <p:cNvPicPr>
            <a:picLocks noChangeAspect="1" noChangeArrowheads="1"/>
          </p:cNvPicPr>
          <p:nvPr/>
        </p:nvPicPr>
        <p:blipFill rotWithShape="1">
          <a:blip r:embed="rId19" cstate="print">
            <a:extLst>
              <a:ext uri="{28A0092B-C50C-407E-A947-70E740481C1C}">
                <a14:useLocalDpi xmlns:a14="http://schemas.microsoft.com/office/drawing/2010/main" val="0"/>
              </a:ext>
            </a:extLst>
          </a:blip>
          <a:srcRect l="12575" t="26584" r="10673" b="24504"/>
          <a:stretch/>
        </p:blipFill>
        <p:spPr bwMode="auto">
          <a:xfrm>
            <a:off x="2564334" y="1559348"/>
            <a:ext cx="507567" cy="140840"/>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 descr="Cerealto Siro Foods - Wikipedia, la enciclopedia libre">
            <a:extLst>
              <a:ext uri="{FF2B5EF4-FFF2-40B4-BE49-F238E27FC236}">
                <a16:creationId xmlns:a16="http://schemas.microsoft.com/office/drawing/2014/main" id="{8EB7FC51-D052-C2F3-701D-027FDE90F5EA}"/>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2574985" y="2191116"/>
            <a:ext cx="495762" cy="247882"/>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0">
            <a:extLst>
              <a:ext uri="{FF2B5EF4-FFF2-40B4-BE49-F238E27FC236}">
                <a16:creationId xmlns:a16="http://schemas.microsoft.com/office/drawing/2014/main" id="{885DBB2E-0624-129A-4FC6-145F4069EDA8}"/>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2650417" y="2006098"/>
            <a:ext cx="232627" cy="152603"/>
          </a:xfrm>
          <a:prstGeom prst="rect">
            <a:avLst/>
          </a:prstGeom>
          <a:noFill/>
          <a:extLst>
            <a:ext uri="{909E8E84-426E-40DD-AFC4-6F175D3DCCD1}">
              <a14:hiddenFill xmlns:a14="http://schemas.microsoft.com/office/drawing/2010/main">
                <a:solidFill>
                  <a:srgbClr val="FFFFFF"/>
                </a:solidFill>
              </a14:hiddenFill>
            </a:ext>
          </a:extLst>
        </p:spPr>
      </p:pic>
      <p:pic>
        <p:nvPicPr>
          <p:cNvPr id="72" name="Imagen 71" descr="Logotipo, nombre de la empresa&#10;&#10;Descripción generada automáticamente">
            <a:extLst>
              <a:ext uri="{FF2B5EF4-FFF2-40B4-BE49-F238E27FC236}">
                <a16:creationId xmlns:a16="http://schemas.microsoft.com/office/drawing/2014/main" id="{234EB110-874A-AE16-BB61-99513359838C}"/>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2542031" y="1754839"/>
            <a:ext cx="546429" cy="138756"/>
          </a:xfrm>
          <a:prstGeom prst="rect">
            <a:avLst/>
          </a:prstGeom>
        </p:spPr>
      </p:pic>
      <p:pic>
        <p:nvPicPr>
          <p:cNvPr id="73" name="Imagen 72" descr="Logotipo, nombre de la empresa&#10;&#10;Descripción generada automáticamente">
            <a:extLst>
              <a:ext uri="{FF2B5EF4-FFF2-40B4-BE49-F238E27FC236}">
                <a16:creationId xmlns:a16="http://schemas.microsoft.com/office/drawing/2014/main" id="{A1F1BC97-5ECD-175A-8650-837FCDDF8E8E}"/>
              </a:ext>
            </a:extLst>
          </p:cNvPr>
          <p:cNvPicPr>
            <a:picLocks noChangeAspect="1"/>
          </p:cNvPicPr>
          <p:nvPr/>
        </p:nvPicPr>
        <p:blipFill rotWithShape="1">
          <a:blip r:embed="rId23" cstate="print">
            <a:extLst>
              <a:ext uri="{28A0092B-C50C-407E-A947-70E740481C1C}">
                <a14:useLocalDpi xmlns:a14="http://schemas.microsoft.com/office/drawing/2010/main" val="0"/>
              </a:ext>
            </a:extLst>
          </a:blip>
          <a:srcRect t="29727" b="33606"/>
          <a:stretch/>
        </p:blipFill>
        <p:spPr>
          <a:xfrm>
            <a:off x="3172824" y="1306696"/>
            <a:ext cx="794837" cy="179470"/>
          </a:xfrm>
          <a:prstGeom prst="rect">
            <a:avLst/>
          </a:prstGeom>
        </p:spPr>
      </p:pic>
      <p:pic>
        <p:nvPicPr>
          <p:cNvPr id="75" name="Imagen 74" descr="Logotipo&#10;&#10;Descripción generada automáticamente">
            <a:extLst>
              <a:ext uri="{FF2B5EF4-FFF2-40B4-BE49-F238E27FC236}">
                <a16:creationId xmlns:a16="http://schemas.microsoft.com/office/drawing/2014/main" id="{9FA6923D-055C-08F5-7726-431B704938E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3333787" y="1531895"/>
            <a:ext cx="439394" cy="166583"/>
          </a:xfrm>
          <a:prstGeom prst="rect">
            <a:avLst/>
          </a:prstGeom>
        </p:spPr>
      </p:pic>
      <p:pic>
        <p:nvPicPr>
          <p:cNvPr id="76" name="Picture 2" descr="MATSA">
            <a:extLst>
              <a:ext uri="{FF2B5EF4-FFF2-40B4-BE49-F238E27FC236}">
                <a16:creationId xmlns:a16="http://schemas.microsoft.com/office/drawing/2014/main" id="{1BE8E782-E6CC-7312-B710-A910A10E32C4}"/>
              </a:ext>
            </a:extLst>
          </p:cNvPr>
          <p:cNvPicPr>
            <a:picLocks noChangeAspect="1" noChangeArrowheads="1"/>
          </p:cNvPicPr>
          <p:nvPr/>
        </p:nvPicPr>
        <p:blipFill rotWithShape="1">
          <a:blip r:embed="rId25" cstate="print">
            <a:extLst>
              <a:ext uri="{28A0092B-C50C-407E-A947-70E740481C1C}">
                <a14:useLocalDpi xmlns:a14="http://schemas.microsoft.com/office/drawing/2010/main" val="0"/>
              </a:ext>
            </a:extLst>
          </a:blip>
          <a:srcRect t="20737" b="33419"/>
          <a:stretch/>
        </p:blipFill>
        <p:spPr bwMode="auto">
          <a:xfrm>
            <a:off x="3297046" y="1705545"/>
            <a:ext cx="566841" cy="259862"/>
          </a:xfrm>
          <a:prstGeom prst="rect">
            <a:avLst/>
          </a:prstGeom>
          <a:noFill/>
          <a:extLst>
            <a:ext uri="{909E8E84-426E-40DD-AFC4-6F175D3DCCD1}">
              <a14:hiddenFill xmlns:a14="http://schemas.microsoft.com/office/drawing/2010/main">
                <a:solidFill>
                  <a:srgbClr val="FFFFFF"/>
                </a:solidFill>
              </a14:hiddenFill>
            </a:ext>
          </a:extLst>
        </p:spPr>
      </p:pic>
      <p:pic>
        <p:nvPicPr>
          <p:cNvPr id="77" name="Imagen 76" descr="Texto, Logotipo&#10;&#10;Descripción generada automáticamente">
            <a:extLst>
              <a:ext uri="{FF2B5EF4-FFF2-40B4-BE49-F238E27FC236}">
                <a16:creationId xmlns:a16="http://schemas.microsoft.com/office/drawing/2014/main" id="{0664D06E-E2B2-8D38-C9F8-ECFDE8A901E9}"/>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3319611" y="2022639"/>
            <a:ext cx="491324" cy="129215"/>
          </a:xfrm>
          <a:prstGeom prst="rect">
            <a:avLst/>
          </a:prstGeom>
        </p:spPr>
      </p:pic>
      <p:pic>
        <p:nvPicPr>
          <p:cNvPr id="78" name="Imagen 77">
            <a:extLst>
              <a:ext uri="{FF2B5EF4-FFF2-40B4-BE49-F238E27FC236}">
                <a16:creationId xmlns:a16="http://schemas.microsoft.com/office/drawing/2014/main" id="{C30A7418-A5FF-A29D-5961-E620E2B1CA86}"/>
              </a:ext>
            </a:extLst>
          </p:cNvPr>
          <p:cNvPicPr>
            <a:picLocks noChangeAspect="1"/>
          </p:cNvPicPr>
          <p:nvPr/>
        </p:nvPicPr>
        <p:blipFill>
          <a:blip r:embed="rId27"/>
          <a:stretch>
            <a:fillRect/>
          </a:stretch>
        </p:blipFill>
        <p:spPr>
          <a:xfrm>
            <a:off x="2001574" y="959683"/>
            <a:ext cx="712289" cy="194486"/>
          </a:xfrm>
          <a:prstGeom prst="rect">
            <a:avLst/>
          </a:prstGeom>
        </p:spPr>
      </p:pic>
      <p:grpSp>
        <p:nvGrpSpPr>
          <p:cNvPr id="79" name="Grupo 78">
            <a:extLst>
              <a:ext uri="{FF2B5EF4-FFF2-40B4-BE49-F238E27FC236}">
                <a16:creationId xmlns:a16="http://schemas.microsoft.com/office/drawing/2014/main" id="{CDAA190E-6E4D-6B05-462C-69A7A4867C85}"/>
              </a:ext>
            </a:extLst>
          </p:cNvPr>
          <p:cNvGrpSpPr/>
          <p:nvPr/>
        </p:nvGrpSpPr>
        <p:grpSpPr>
          <a:xfrm>
            <a:off x="3943607" y="920964"/>
            <a:ext cx="2532359" cy="1267814"/>
            <a:chOff x="4433024" y="920964"/>
            <a:chExt cx="2532359" cy="1267814"/>
          </a:xfrm>
        </p:grpSpPr>
        <p:sp>
          <p:nvSpPr>
            <p:cNvPr id="80" name="CuadroTexto 79">
              <a:extLst>
                <a:ext uri="{FF2B5EF4-FFF2-40B4-BE49-F238E27FC236}">
                  <a16:creationId xmlns:a16="http://schemas.microsoft.com/office/drawing/2014/main" id="{80480426-9B73-A112-B646-3256177C0B6C}"/>
                </a:ext>
              </a:extLst>
            </p:cNvPr>
            <p:cNvSpPr txBox="1"/>
            <p:nvPr/>
          </p:nvSpPr>
          <p:spPr>
            <a:xfrm>
              <a:off x="4433024" y="920964"/>
              <a:ext cx="2532359" cy="246221"/>
            </a:xfrm>
            <a:prstGeom prst="rect">
              <a:avLst/>
            </a:prstGeom>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
                  <a:srgbClr val="505150"/>
                </a:buClr>
                <a:buSzPct val="88000"/>
                <a:buFontTx/>
                <a:buNone/>
                <a:tabLst/>
                <a:defRPr/>
              </a:pPr>
              <a:r>
                <a:rPr kumimoji="0" lang="en-GB" sz="1000" b="0" i="0" u="none" strike="noStrike" kern="1200" cap="none" spc="0" normalizeH="0" baseline="0" noProof="0">
                  <a:ln>
                    <a:noFill/>
                  </a:ln>
                  <a:solidFill>
                    <a:prstClr val="black"/>
                  </a:solidFill>
                  <a:effectLst/>
                  <a:uLnTx/>
                  <a:uFillTx/>
                  <a:latin typeface="Droid Sans" charset="0"/>
                  <a:ea typeface="+mn-ea"/>
                  <a:cs typeface="Droid Sans" charset="0"/>
                  <a:sym typeface="Droid Sans" charset="0"/>
                </a:rPr>
                <a:t>Global Spend</a:t>
              </a:r>
            </a:p>
          </p:txBody>
        </p:sp>
        <p:cxnSp>
          <p:nvCxnSpPr>
            <p:cNvPr id="81" name="Conector recto 80">
              <a:extLst>
                <a:ext uri="{FF2B5EF4-FFF2-40B4-BE49-F238E27FC236}">
                  <a16:creationId xmlns:a16="http://schemas.microsoft.com/office/drawing/2014/main" id="{22011037-5339-6341-CDD0-CC00B3DF3A02}"/>
                </a:ext>
              </a:extLst>
            </p:cNvPr>
            <p:cNvCxnSpPr>
              <a:cxnSpLocks/>
            </p:cNvCxnSpPr>
            <p:nvPr/>
          </p:nvCxnSpPr>
          <p:spPr>
            <a:xfrm>
              <a:off x="4514515" y="1194371"/>
              <a:ext cx="165975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82" name="Imagen 81">
              <a:extLst>
                <a:ext uri="{FF2B5EF4-FFF2-40B4-BE49-F238E27FC236}">
                  <a16:creationId xmlns:a16="http://schemas.microsoft.com/office/drawing/2014/main" id="{FF3621BB-7CEF-BB7E-AA59-A3517592C427}"/>
                </a:ext>
              </a:extLst>
            </p:cNvPr>
            <p:cNvPicPr>
              <a:picLocks noChangeAspect="1"/>
            </p:cNvPicPr>
            <p:nvPr/>
          </p:nvPicPr>
          <p:blipFill>
            <a:blip r:embed="rId28"/>
            <a:stretch>
              <a:fillRect/>
            </a:stretch>
          </p:blipFill>
          <p:spPr>
            <a:xfrm>
              <a:off x="4681026" y="2001869"/>
              <a:ext cx="514002" cy="186909"/>
            </a:xfrm>
            <a:prstGeom prst="rect">
              <a:avLst/>
            </a:prstGeom>
          </p:spPr>
        </p:pic>
        <p:pic>
          <p:nvPicPr>
            <p:cNvPr id="83" name="Picture 6" descr="Inicio - Inicio - BIDAFARMA">
              <a:extLst>
                <a:ext uri="{FF2B5EF4-FFF2-40B4-BE49-F238E27FC236}">
                  <a16:creationId xmlns:a16="http://schemas.microsoft.com/office/drawing/2014/main" id="{3729BCAF-D8C8-BF0E-8509-96BF4EF6F051}"/>
                </a:ext>
              </a:extLst>
            </p:cNvPr>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4804284" y="1756647"/>
              <a:ext cx="273950" cy="193591"/>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0" descr="GBC - Gibraltar News - GBC TV and Radio Gibraltar">
              <a:extLst>
                <a:ext uri="{FF2B5EF4-FFF2-40B4-BE49-F238E27FC236}">
                  <a16:creationId xmlns:a16="http://schemas.microsoft.com/office/drawing/2014/main" id="{30C097DB-8113-8218-60AA-0F27BA5EE7A0}"/>
                </a:ext>
              </a:extLst>
            </p:cNvPr>
            <p:cNvPicPr>
              <a:picLocks noChangeAspect="1" noChangeArrowheads="1"/>
            </p:cNvPicPr>
            <p:nvPr/>
          </p:nvPicPr>
          <p:blipFill rotWithShape="1">
            <a:blip r:embed="rId30" cstate="print">
              <a:extLst>
                <a:ext uri="{28A0092B-C50C-407E-A947-70E740481C1C}">
                  <a14:useLocalDpi xmlns:a14="http://schemas.microsoft.com/office/drawing/2010/main" val="0"/>
                </a:ext>
              </a:extLst>
            </a:blip>
            <a:srcRect t="31736" b="34941"/>
            <a:stretch/>
          </p:blipFill>
          <p:spPr bwMode="auto">
            <a:xfrm>
              <a:off x="5419632" y="1287164"/>
              <a:ext cx="591191" cy="184511"/>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 descr="Inicio - Naturgy">
              <a:extLst>
                <a:ext uri="{FF2B5EF4-FFF2-40B4-BE49-F238E27FC236}">
                  <a16:creationId xmlns:a16="http://schemas.microsoft.com/office/drawing/2014/main" id="{0F556838-95BE-C26C-7953-B3AFF7309B4A}"/>
                </a:ext>
              </a:extLst>
            </p:cNvPr>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4495203" y="1519412"/>
              <a:ext cx="920016" cy="213592"/>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8" descr="Ferrer Internacional - Caso de estudio">
              <a:extLst>
                <a:ext uri="{FF2B5EF4-FFF2-40B4-BE49-F238E27FC236}">
                  <a16:creationId xmlns:a16="http://schemas.microsoft.com/office/drawing/2014/main" id="{68DDCCFE-BCEA-BA75-CB45-E39E137AFF3D}"/>
                </a:ext>
              </a:extLst>
            </p:cNvPr>
            <p:cNvPicPr>
              <a:picLocks noChangeAspect="1" noChangeArrowheads="1"/>
            </p:cNvPicPr>
            <p:nvPr/>
          </p:nvPicPr>
          <p:blipFill rotWithShape="1">
            <a:blip r:embed="rId32" cstate="print">
              <a:extLst>
                <a:ext uri="{28A0092B-C50C-407E-A947-70E740481C1C}">
                  <a14:useLocalDpi xmlns:a14="http://schemas.microsoft.com/office/drawing/2010/main" val="0"/>
                </a:ext>
              </a:extLst>
            </a:blip>
            <a:srcRect t="29314" b="31012"/>
            <a:stretch/>
          </p:blipFill>
          <p:spPr bwMode="auto">
            <a:xfrm>
              <a:off x="5412981" y="1532377"/>
              <a:ext cx="608361" cy="181021"/>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12" descr="XIMENEZ - cordobaactiva">
              <a:extLst>
                <a:ext uri="{FF2B5EF4-FFF2-40B4-BE49-F238E27FC236}">
                  <a16:creationId xmlns:a16="http://schemas.microsoft.com/office/drawing/2014/main" id="{4DD1EF56-3596-13CB-30AD-08F493124C55}"/>
                </a:ext>
              </a:extLst>
            </p:cNvPr>
            <p:cNvPicPr>
              <a:picLocks noChangeAspect="1" noChangeArrowheads="1"/>
            </p:cNvPicPr>
            <p:nvPr/>
          </p:nvPicPr>
          <p:blipFill rotWithShape="1">
            <a:blip r:embed="rId33" cstate="print">
              <a:extLst>
                <a:ext uri="{28A0092B-C50C-407E-A947-70E740481C1C}">
                  <a14:useLocalDpi xmlns:a14="http://schemas.microsoft.com/office/drawing/2010/main" val="0"/>
                </a:ext>
              </a:extLst>
            </a:blip>
            <a:srcRect l="6932" t="7923" r="9488" b="12778"/>
            <a:stretch/>
          </p:blipFill>
          <p:spPr bwMode="auto">
            <a:xfrm>
              <a:off x="5627009" y="1781146"/>
              <a:ext cx="184878" cy="175408"/>
            </a:xfrm>
            <a:prstGeom prst="rect">
              <a:avLst/>
            </a:prstGeom>
            <a:noFill/>
            <a:extLst>
              <a:ext uri="{909E8E84-426E-40DD-AFC4-6F175D3DCCD1}">
                <a14:hiddenFill xmlns:a14="http://schemas.microsoft.com/office/drawing/2010/main">
                  <a:solidFill>
                    <a:srgbClr val="FFFFFF"/>
                  </a:solidFill>
                </a14:hiddenFill>
              </a:ext>
            </a:extLst>
          </p:spPr>
        </p:pic>
      </p:grpSp>
      <p:sp>
        <p:nvSpPr>
          <p:cNvPr id="88" name="CuadroTexto 87">
            <a:extLst>
              <a:ext uri="{FF2B5EF4-FFF2-40B4-BE49-F238E27FC236}">
                <a16:creationId xmlns:a16="http://schemas.microsoft.com/office/drawing/2014/main" id="{AFDB5ECE-DCCC-C738-66E2-448718FB3EE8}"/>
              </a:ext>
            </a:extLst>
          </p:cNvPr>
          <p:cNvSpPr txBox="1"/>
          <p:nvPr/>
        </p:nvSpPr>
        <p:spPr>
          <a:xfrm>
            <a:off x="5738462" y="929765"/>
            <a:ext cx="1974785" cy="252234"/>
          </a:xfrm>
          <a:prstGeom prst="rect">
            <a:avLst/>
          </a:prstGeom>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
                <a:srgbClr val="505150"/>
              </a:buClr>
              <a:buSzPct val="88000"/>
              <a:buFontTx/>
              <a:buNone/>
              <a:tabLst/>
              <a:defRPr/>
            </a:pPr>
            <a:r>
              <a:rPr kumimoji="0" lang="en-GB" sz="1000" b="0" i="0" u="none" strike="noStrike" kern="1200" cap="none" spc="0" normalizeH="0" baseline="0" noProof="0">
                <a:ln>
                  <a:noFill/>
                </a:ln>
                <a:solidFill>
                  <a:prstClr val="black"/>
                </a:solidFill>
                <a:effectLst/>
                <a:uLnTx/>
                <a:uFillTx/>
                <a:latin typeface="Droid Sans" charset="0"/>
                <a:ea typeface="+mn-ea"/>
                <a:cs typeface="Droid Sans" charset="0"/>
                <a:sym typeface="Droid Sans" charset="0"/>
              </a:rPr>
              <a:t>Sales</a:t>
            </a:r>
          </a:p>
        </p:txBody>
      </p:sp>
      <p:cxnSp>
        <p:nvCxnSpPr>
          <p:cNvPr id="89" name="Conector recto 88">
            <a:extLst>
              <a:ext uri="{FF2B5EF4-FFF2-40B4-BE49-F238E27FC236}">
                <a16:creationId xmlns:a16="http://schemas.microsoft.com/office/drawing/2014/main" id="{1F3B7905-4279-F488-FCB0-83706BDC3C71}"/>
              </a:ext>
            </a:extLst>
          </p:cNvPr>
          <p:cNvCxnSpPr>
            <a:cxnSpLocks/>
          </p:cNvCxnSpPr>
          <p:nvPr/>
        </p:nvCxnSpPr>
        <p:spPr>
          <a:xfrm>
            <a:off x="5741489" y="1194371"/>
            <a:ext cx="197175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90" name="Picture 12" descr="Resultat d'imatges per a &quot;repsol logo&quot;">
            <a:extLst>
              <a:ext uri="{FF2B5EF4-FFF2-40B4-BE49-F238E27FC236}">
                <a16:creationId xmlns:a16="http://schemas.microsoft.com/office/drawing/2014/main" id="{D792BAE0-601A-1E4A-65DD-F84080EA7ED3}"/>
              </a:ext>
            </a:extLst>
          </p:cNvPr>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5943766" y="1261084"/>
            <a:ext cx="346846" cy="246513"/>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 descr="Zena Alsea | LinkedIn">
            <a:extLst>
              <a:ext uri="{FF2B5EF4-FFF2-40B4-BE49-F238E27FC236}">
                <a16:creationId xmlns:a16="http://schemas.microsoft.com/office/drawing/2014/main" id="{6DA5EC16-B1E7-5570-D49B-73068FC9C9D5}"/>
              </a:ext>
            </a:extLst>
          </p:cNvPr>
          <p:cNvPicPr>
            <a:picLocks noChangeAspect="1" noChangeArrowheads="1"/>
          </p:cNvPicPr>
          <p:nvPr/>
        </p:nvPicPr>
        <p:blipFill rotWithShape="1">
          <a:blip r:embed="rId35" cstate="print">
            <a:extLst>
              <a:ext uri="{28A0092B-C50C-407E-A947-70E740481C1C}">
                <a14:useLocalDpi xmlns:a14="http://schemas.microsoft.com/office/drawing/2010/main" val="0"/>
              </a:ext>
            </a:extLst>
          </a:blip>
          <a:srcRect t="25489" b="29507"/>
          <a:stretch/>
        </p:blipFill>
        <p:spPr bwMode="auto">
          <a:xfrm>
            <a:off x="5958996" y="2002929"/>
            <a:ext cx="362774" cy="163262"/>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8" descr="Telefónica - Empresa - EL ESPAÑOL">
            <a:extLst>
              <a:ext uri="{FF2B5EF4-FFF2-40B4-BE49-F238E27FC236}">
                <a16:creationId xmlns:a16="http://schemas.microsoft.com/office/drawing/2014/main" id="{35ADCB20-01AA-D69C-EC9C-AAA5B2912693}"/>
              </a:ext>
            </a:extLst>
          </p:cNvPr>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5843416" y="1558442"/>
            <a:ext cx="529238" cy="133789"/>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4">
            <a:extLst>
              <a:ext uri="{FF2B5EF4-FFF2-40B4-BE49-F238E27FC236}">
                <a16:creationId xmlns:a16="http://schemas.microsoft.com/office/drawing/2014/main" id="{E7C52F2F-689C-E2A6-C145-929E754B07B3}"/>
              </a:ext>
            </a:extLst>
          </p:cNvPr>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6008028" y="2246987"/>
            <a:ext cx="222804" cy="133201"/>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14" descr="Entradas oficiales | Ciutat de les Arts i les Ciències - Valencia">
            <a:extLst>
              <a:ext uri="{FF2B5EF4-FFF2-40B4-BE49-F238E27FC236}">
                <a16:creationId xmlns:a16="http://schemas.microsoft.com/office/drawing/2014/main" id="{4DE0F134-2FC1-8820-3B92-8E59208FF5B4}"/>
              </a:ext>
            </a:extLst>
          </p:cNvPr>
          <p:cNvPicPr>
            <a:picLocks noChangeAspect="1"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6494781" y="1306472"/>
            <a:ext cx="453606" cy="184844"/>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22" descr="DIATER ALT A 1 - Diater Laboratorio Farmacéutico">
            <a:extLst>
              <a:ext uri="{FF2B5EF4-FFF2-40B4-BE49-F238E27FC236}">
                <a16:creationId xmlns:a16="http://schemas.microsoft.com/office/drawing/2014/main" id="{19098B17-ECC4-C0E8-FFDC-A22021BB83F5}"/>
              </a:ext>
            </a:extLst>
          </p:cNvPr>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6583573" y="1765244"/>
            <a:ext cx="276022" cy="169558"/>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2" descr="Inicio - PRIM">
            <a:extLst>
              <a:ext uri="{FF2B5EF4-FFF2-40B4-BE49-F238E27FC236}">
                <a16:creationId xmlns:a16="http://schemas.microsoft.com/office/drawing/2014/main" id="{3A98A461-1A22-E132-5DA0-B374EE1CA1BB}"/>
              </a:ext>
            </a:extLst>
          </p:cNvPr>
          <p:cNvPicPr>
            <a:picLocks noChangeAspect="1" noChangeArrowheads="1"/>
          </p:cNvPicPr>
          <p:nvPr/>
        </p:nvPicPr>
        <p:blipFill rotWithShape="1">
          <a:blip r:embed="rId40" cstate="print">
            <a:extLst>
              <a:ext uri="{28A0092B-C50C-407E-A947-70E740481C1C}">
                <a14:useLocalDpi xmlns:a14="http://schemas.microsoft.com/office/drawing/2010/main" val="0"/>
              </a:ext>
            </a:extLst>
          </a:blip>
          <a:srcRect t="16709" r="35895" b="10360"/>
          <a:stretch/>
        </p:blipFill>
        <p:spPr bwMode="auto">
          <a:xfrm>
            <a:off x="6573259" y="2014675"/>
            <a:ext cx="296650" cy="154980"/>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16" descr="Martiderm">
            <a:extLst>
              <a:ext uri="{FF2B5EF4-FFF2-40B4-BE49-F238E27FC236}">
                <a16:creationId xmlns:a16="http://schemas.microsoft.com/office/drawing/2014/main" id="{0E68E4AA-71C8-506B-C1E1-5EE6421E3F01}"/>
              </a:ext>
            </a:extLst>
          </p:cNvPr>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6628902" y="2247596"/>
            <a:ext cx="185364" cy="133462"/>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6" descr="Inicio - Inicio - BIDAFARMA">
            <a:extLst>
              <a:ext uri="{FF2B5EF4-FFF2-40B4-BE49-F238E27FC236}">
                <a16:creationId xmlns:a16="http://schemas.microsoft.com/office/drawing/2014/main" id="{DB63DD08-B734-99BA-3EEA-B91AE2A70967}"/>
              </a:ext>
            </a:extLst>
          </p:cNvPr>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7217593" y="1303057"/>
            <a:ext cx="229843" cy="162423"/>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6" descr="GAM Soluciones | Siero">
            <a:extLst>
              <a:ext uri="{FF2B5EF4-FFF2-40B4-BE49-F238E27FC236}">
                <a16:creationId xmlns:a16="http://schemas.microsoft.com/office/drawing/2014/main" id="{348C7A95-7599-7DE3-3235-0DE2D2DBD60D}"/>
              </a:ext>
            </a:extLst>
          </p:cNvPr>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7254811" y="1542665"/>
            <a:ext cx="160911" cy="160911"/>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8">
            <a:extLst>
              <a:ext uri="{FF2B5EF4-FFF2-40B4-BE49-F238E27FC236}">
                <a16:creationId xmlns:a16="http://schemas.microsoft.com/office/drawing/2014/main" id="{2E07DAED-C4A3-22F5-FF21-CCE3CC440E18}"/>
              </a:ext>
            </a:extLst>
          </p:cNvPr>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7110374" y="1767393"/>
            <a:ext cx="466877" cy="175451"/>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4" descr="Meiji Seika Pharma Sets up a New Subsidiary in the US | Business Wire">
            <a:extLst>
              <a:ext uri="{FF2B5EF4-FFF2-40B4-BE49-F238E27FC236}">
                <a16:creationId xmlns:a16="http://schemas.microsoft.com/office/drawing/2014/main" id="{936FAAF8-D607-9B07-3F4B-C7CCC7592BC6}"/>
              </a:ext>
            </a:extLst>
          </p:cNvPr>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7118146" y="1990676"/>
            <a:ext cx="396204" cy="198102"/>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8" descr="Inicio - Lacer">
            <a:extLst>
              <a:ext uri="{FF2B5EF4-FFF2-40B4-BE49-F238E27FC236}">
                <a16:creationId xmlns:a16="http://schemas.microsoft.com/office/drawing/2014/main" id="{9987DC1B-BC9E-13AB-45C9-73BAB3F0625A}"/>
              </a:ext>
            </a:extLst>
          </p:cNvPr>
          <p:cNvPicPr>
            <a:picLocks noChangeAspect="1" noChangeArrowheads="1"/>
          </p:cNvPicPr>
          <p:nvPr/>
        </p:nvPicPr>
        <p:blipFill>
          <a:blip r:embed="rId46" cstate="print">
            <a:extLst>
              <a:ext uri="{28A0092B-C50C-407E-A947-70E740481C1C}">
                <a14:useLocalDpi xmlns:a14="http://schemas.microsoft.com/office/drawing/2010/main" val="0"/>
              </a:ext>
            </a:extLst>
          </a:blip>
          <a:srcRect/>
          <a:stretch>
            <a:fillRect/>
          </a:stretch>
        </p:blipFill>
        <p:spPr bwMode="auto">
          <a:xfrm>
            <a:off x="7262368" y="2253580"/>
            <a:ext cx="133123" cy="133123"/>
          </a:xfrm>
          <a:prstGeom prst="rect">
            <a:avLst/>
          </a:prstGeom>
          <a:noFill/>
          <a:extLst>
            <a:ext uri="{909E8E84-426E-40DD-AFC4-6F175D3DCCD1}">
              <a14:hiddenFill xmlns:a14="http://schemas.microsoft.com/office/drawing/2010/main">
                <a:solidFill>
                  <a:srgbClr val="FFFFFF"/>
                </a:solidFill>
              </a14:hiddenFill>
            </a:ext>
          </a:extLst>
        </p:spPr>
      </p:pic>
      <p:sp>
        <p:nvSpPr>
          <p:cNvPr id="103" name="CuadroTexto 102">
            <a:extLst>
              <a:ext uri="{FF2B5EF4-FFF2-40B4-BE49-F238E27FC236}">
                <a16:creationId xmlns:a16="http://schemas.microsoft.com/office/drawing/2014/main" id="{84691972-78E1-BB5B-40AA-FB82CB5986FA}"/>
              </a:ext>
            </a:extLst>
          </p:cNvPr>
          <p:cNvSpPr txBox="1"/>
          <p:nvPr/>
        </p:nvSpPr>
        <p:spPr>
          <a:xfrm>
            <a:off x="7776920" y="929767"/>
            <a:ext cx="1775487" cy="246221"/>
          </a:xfrm>
          <a:prstGeom prst="rect">
            <a:avLst/>
          </a:prstGeom>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
                <a:srgbClr val="505150"/>
              </a:buClr>
              <a:buSzPct val="88000"/>
              <a:buFontTx/>
              <a:buNone/>
              <a:tabLst/>
              <a:defRPr/>
            </a:pPr>
            <a:r>
              <a:rPr kumimoji="0" lang="en-GB" sz="1000" b="0" i="0" u="none" strike="noStrike" kern="1200" cap="none" spc="0" normalizeH="0" baseline="0" noProof="0">
                <a:ln>
                  <a:noFill/>
                </a:ln>
                <a:solidFill>
                  <a:prstClr val="black"/>
                </a:solidFill>
                <a:effectLst/>
                <a:uLnTx/>
                <a:uFillTx/>
                <a:latin typeface="Droid Sans" charset="0"/>
                <a:ea typeface="+mn-ea"/>
                <a:cs typeface="Droid Sans" charset="0"/>
                <a:sym typeface="Droid Sans" charset="0"/>
              </a:rPr>
              <a:t>Finance</a:t>
            </a:r>
          </a:p>
        </p:txBody>
      </p:sp>
      <p:cxnSp>
        <p:nvCxnSpPr>
          <p:cNvPr id="104" name="Conector recto 103">
            <a:extLst>
              <a:ext uri="{FF2B5EF4-FFF2-40B4-BE49-F238E27FC236}">
                <a16:creationId xmlns:a16="http://schemas.microsoft.com/office/drawing/2014/main" id="{F185DB64-8640-30F0-3CDF-9B905CC88D6F}"/>
              </a:ext>
            </a:extLst>
          </p:cNvPr>
          <p:cNvCxnSpPr>
            <a:cxnSpLocks/>
          </p:cNvCxnSpPr>
          <p:nvPr/>
        </p:nvCxnSpPr>
        <p:spPr>
          <a:xfrm>
            <a:off x="7762681" y="1194371"/>
            <a:ext cx="178972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5" name="Gráfico 104">
            <a:extLst>
              <a:ext uri="{FF2B5EF4-FFF2-40B4-BE49-F238E27FC236}">
                <a16:creationId xmlns:a16="http://schemas.microsoft.com/office/drawing/2014/main" id="{EDD159FB-EAF0-3EF3-BA98-45D133B63483}"/>
              </a:ext>
            </a:extLst>
          </p:cNvPr>
          <p:cNvPicPr>
            <a:picLocks noChangeAspect="1"/>
          </p:cNvPicPr>
          <p:nvPr/>
        </p:nvPicPr>
        <p:blipFill rotWithShape="1">
          <a:blip r:embed="rId47" cstate="print">
            <a:extLst>
              <a:ext uri="{28A0092B-C50C-407E-A947-70E740481C1C}">
                <a14:useLocalDpi xmlns:a14="http://schemas.microsoft.com/office/drawing/2010/main" val="0"/>
              </a:ext>
              <a:ext uri="{96DAC541-7B7A-43D3-8B79-37D633B846F1}">
                <asvg:svgBlip xmlns:asvg="http://schemas.microsoft.com/office/drawing/2016/SVG/main" r:embed="rId48"/>
              </a:ext>
            </a:extLst>
          </a:blip>
          <a:srcRect t="30615" b="29970"/>
          <a:stretch/>
        </p:blipFill>
        <p:spPr>
          <a:xfrm>
            <a:off x="7810221" y="1318722"/>
            <a:ext cx="638990" cy="150921"/>
          </a:xfrm>
          <a:prstGeom prst="rect">
            <a:avLst/>
          </a:prstGeom>
        </p:spPr>
      </p:pic>
      <p:pic>
        <p:nvPicPr>
          <p:cNvPr id="106" name="Gráfico 111">
            <a:extLst>
              <a:ext uri="{FF2B5EF4-FFF2-40B4-BE49-F238E27FC236}">
                <a16:creationId xmlns:a16="http://schemas.microsoft.com/office/drawing/2014/main" id="{7BF27BBC-5992-53EE-E96B-8BB6683AADB7}"/>
              </a:ext>
            </a:extLst>
          </p:cNvPr>
          <p:cNvPicPr>
            <a:picLocks noChangeAspect="1"/>
          </p:cNvPicPr>
          <p:nvPr/>
        </p:nvPicPr>
        <p:blipFill>
          <a:blip r:embed="rId49">
            <a:extLst>
              <a:ext uri="{28A0092B-C50C-407E-A947-70E740481C1C}">
                <a14:useLocalDpi xmlns:a14="http://schemas.microsoft.com/office/drawing/2010/main" val="0"/>
              </a:ext>
            </a:extLst>
          </a:blip>
          <a:srcRect/>
          <a:stretch/>
        </p:blipFill>
        <p:spPr>
          <a:xfrm>
            <a:off x="7876836" y="1797031"/>
            <a:ext cx="519281" cy="115396"/>
          </a:xfrm>
          <a:prstGeom prst="rect">
            <a:avLst/>
          </a:prstGeom>
        </p:spPr>
      </p:pic>
      <p:pic>
        <p:nvPicPr>
          <p:cNvPr id="107" name="Picture 12">
            <a:extLst>
              <a:ext uri="{FF2B5EF4-FFF2-40B4-BE49-F238E27FC236}">
                <a16:creationId xmlns:a16="http://schemas.microsoft.com/office/drawing/2014/main" id="{B3BF8391-6354-371A-FFE4-2DBC145DD2B7}"/>
              </a:ext>
            </a:extLst>
          </p:cNvPr>
          <p:cNvPicPr>
            <a:picLocks noChangeAspect="1" noChangeArrowheads="1"/>
          </p:cNvPicPr>
          <p:nvPr/>
        </p:nvPicPr>
        <p:blipFill rotWithShape="1">
          <a:blip r:embed="rId50">
            <a:extLst>
              <a:ext uri="{28A0092B-C50C-407E-A947-70E740481C1C}">
                <a14:useLocalDpi xmlns:a14="http://schemas.microsoft.com/office/drawing/2010/main" val="0"/>
              </a:ext>
            </a:extLst>
          </a:blip>
          <a:srcRect l="6138" t="23413" r="7654" b="24702"/>
          <a:stretch/>
        </p:blipFill>
        <p:spPr bwMode="auto">
          <a:xfrm>
            <a:off x="7955649" y="2020231"/>
            <a:ext cx="341160" cy="141706"/>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4" descr="Resultat d'imatges per a &quot;laliga logo&quot;">
            <a:extLst>
              <a:ext uri="{FF2B5EF4-FFF2-40B4-BE49-F238E27FC236}">
                <a16:creationId xmlns:a16="http://schemas.microsoft.com/office/drawing/2014/main" id="{DB808BFB-C8C1-5E81-76B4-15D034241E1A}"/>
              </a:ext>
            </a:extLst>
          </p:cNvPr>
          <p:cNvPicPr>
            <a:picLocks noChangeAspect="1" noChangeArrowheads="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8052002" y="2228009"/>
            <a:ext cx="174340" cy="174340"/>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6" descr="Inicio - Naturgy">
            <a:extLst>
              <a:ext uri="{FF2B5EF4-FFF2-40B4-BE49-F238E27FC236}">
                <a16:creationId xmlns:a16="http://schemas.microsoft.com/office/drawing/2014/main" id="{D7478EA7-9FD4-4402-AF19-D106777679E9}"/>
              </a:ext>
            </a:extLst>
          </p:cNvPr>
          <p:cNvPicPr>
            <a:picLocks noChangeAspect="1" noChangeArrowheads="1"/>
          </p:cNvPicPr>
          <p:nvPr/>
        </p:nvPicPr>
        <p:blipFill rotWithShape="1">
          <a:blip r:embed="rId52" cstate="print">
            <a:extLst>
              <a:ext uri="{28A0092B-C50C-407E-A947-70E740481C1C}">
                <a14:useLocalDpi xmlns:a14="http://schemas.microsoft.com/office/drawing/2010/main" val="0"/>
              </a:ext>
            </a:extLst>
          </a:blip>
          <a:srcRect l="11892" t="1" r="9911" b="12513"/>
          <a:stretch/>
        </p:blipFill>
        <p:spPr bwMode="auto">
          <a:xfrm>
            <a:off x="8443664" y="1301279"/>
            <a:ext cx="552739" cy="144737"/>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4">
            <a:extLst>
              <a:ext uri="{FF2B5EF4-FFF2-40B4-BE49-F238E27FC236}">
                <a16:creationId xmlns:a16="http://schemas.microsoft.com/office/drawing/2014/main" id="{2416E191-BE29-4A07-EFE7-CD9ABE69D240}"/>
              </a:ext>
            </a:extLst>
          </p:cNvPr>
          <p:cNvPicPr>
            <a:picLocks noChangeAspect="1" noChangeArrowheads="1"/>
          </p:cNvPicPr>
          <p:nvPr/>
        </p:nvPicPr>
        <p:blipFill rotWithShape="1">
          <a:blip r:embed="rId53" cstate="print">
            <a:extLst>
              <a:ext uri="{28A0092B-C50C-407E-A947-70E740481C1C}">
                <a14:useLocalDpi xmlns:a14="http://schemas.microsoft.com/office/drawing/2010/main" val="0"/>
              </a:ext>
            </a:extLst>
          </a:blip>
          <a:srcRect t="13251" b="16205"/>
          <a:stretch/>
        </p:blipFill>
        <p:spPr bwMode="auto">
          <a:xfrm>
            <a:off x="8427653" y="1505240"/>
            <a:ext cx="541957" cy="191457"/>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12">
            <a:extLst>
              <a:ext uri="{FF2B5EF4-FFF2-40B4-BE49-F238E27FC236}">
                <a16:creationId xmlns:a16="http://schemas.microsoft.com/office/drawing/2014/main" id="{A758F8E7-C806-6521-F907-4DCBF814A227}"/>
              </a:ext>
            </a:extLst>
          </p:cNvPr>
          <p:cNvPicPr>
            <a:picLocks noChangeAspect="1" noChangeArrowheads="1"/>
          </p:cNvPicPr>
          <p:nvPr/>
        </p:nvPicPr>
        <p:blipFill rotWithShape="1">
          <a:blip r:embed="rId54" cstate="print">
            <a:extLst>
              <a:ext uri="{28A0092B-C50C-407E-A947-70E740481C1C}">
                <a14:useLocalDpi xmlns:a14="http://schemas.microsoft.com/office/drawing/2010/main" val="0"/>
              </a:ext>
            </a:extLst>
          </a:blip>
          <a:srcRect l="4185" t="7075" r="-6634" b="-13383"/>
          <a:stretch/>
        </p:blipFill>
        <p:spPr bwMode="auto">
          <a:xfrm>
            <a:off x="8500400" y="2000807"/>
            <a:ext cx="443525" cy="182887"/>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2">
            <a:extLst>
              <a:ext uri="{FF2B5EF4-FFF2-40B4-BE49-F238E27FC236}">
                <a16:creationId xmlns:a16="http://schemas.microsoft.com/office/drawing/2014/main" id="{6258DA9B-227C-EC5A-07AC-78E100EA9026}"/>
              </a:ext>
            </a:extLst>
          </p:cNvPr>
          <p:cNvPicPr>
            <a:picLocks noChangeAspect="1" noChangeArrowheads="1"/>
          </p:cNvPicPr>
          <p:nvPr/>
        </p:nvPicPr>
        <p:blipFill rotWithShape="1">
          <a:blip r:embed="rId55" cstate="print">
            <a:extLst>
              <a:ext uri="{28A0092B-C50C-407E-A947-70E740481C1C}">
                <a14:useLocalDpi xmlns:a14="http://schemas.microsoft.com/office/drawing/2010/main" val="0"/>
              </a:ext>
            </a:extLst>
          </a:blip>
          <a:srcRect l="11710" t="15729" r="13723" b="13723"/>
          <a:stretch/>
        </p:blipFill>
        <p:spPr bwMode="auto">
          <a:xfrm>
            <a:off x="9144838" y="1273637"/>
            <a:ext cx="218976" cy="207172"/>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4">
            <a:extLst>
              <a:ext uri="{FF2B5EF4-FFF2-40B4-BE49-F238E27FC236}">
                <a16:creationId xmlns:a16="http://schemas.microsoft.com/office/drawing/2014/main" id="{5C13BD4D-9A76-1A80-712F-3A636E57FE62}"/>
              </a:ext>
            </a:extLst>
          </p:cNvPr>
          <p:cNvPicPr>
            <a:picLocks noChangeAspect="1" noChangeArrowheads="1"/>
          </p:cNvPicPr>
          <p:nvPr/>
        </p:nvPicPr>
        <p:blipFill rotWithShape="1">
          <a:blip r:embed="rId56">
            <a:extLst>
              <a:ext uri="{28A0092B-C50C-407E-A947-70E740481C1C}">
                <a14:useLocalDpi xmlns:a14="http://schemas.microsoft.com/office/drawing/2010/main" val="0"/>
              </a:ext>
            </a:extLst>
          </a:blip>
          <a:srcRect l="18318" t="38223" r="20109" b="38223"/>
          <a:stretch/>
        </p:blipFill>
        <p:spPr bwMode="auto">
          <a:xfrm>
            <a:off x="9043836" y="1544724"/>
            <a:ext cx="447385" cy="171140"/>
          </a:xfrm>
          <a:prstGeom prst="rect">
            <a:avLst/>
          </a:prstGeom>
          <a:noFill/>
          <a:extLst>
            <a:ext uri="{909E8E84-426E-40DD-AFC4-6F175D3DCCD1}">
              <a14:hiddenFill xmlns:a14="http://schemas.microsoft.com/office/drawing/2010/main">
                <a:solidFill>
                  <a:srgbClr val="FFFFFF"/>
                </a:solidFill>
              </a14:hiddenFill>
            </a:ext>
          </a:extLst>
        </p:spPr>
      </p:pic>
      <p:pic>
        <p:nvPicPr>
          <p:cNvPr id="114" name="Picture 8" descr="Fundación ESADE">
            <a:extLst>
              <a:ext uri="{FF2B5EF4-FFF2-40B4-BE49-F238E27FC236}">
                <a16:creationId xmlns:a16="http://schemas.microsoft.com/office/drawing/2014/main" id="{8867019A-46CF-5BB2-9681-9F3485D3A52B}"/>
              </a:ext>
            </a:extLst>
          </p:cNvPr>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9093473" y="1740892"/>
            <a:ext cx="325516" cy="215218"/>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2">
            <a:extLst>
              <a:ext uri="{FF2B5EF4-FFF2-40B4-BE49-F238E27FC236}">
                <a16:creationId xmlns:a16="http://schemas.microsoft.com/office/drawing/2014/main" id="{546564AE-2F9B-06AD-53B2-EC4ECCECC628}"/>
              </a:ext>
            </a:extLst>
          </p:cNvPr>
          <p:cNvPicPr>
            <a:picLocks noChangeAspect="1" noChangeArrowheads="1"/>
          </p:cNvPicPr>
          <p:nvPr/>
        </p:nvPicPr>
        <p:blipFill>
          <a:blip r:embed="rId58">
            <a:extLst>
              <a:ext uri="{28A0092B-C50C-407E-A947-70E740481C1C}">
                <a14:useLocalDpi xmlns:a14="http://schemas.microsoft.com/office/drawing/2010/main" val="0"/>
              </a:ext>
            </a:extLst>
          </a:blip>
          <a:srcRect/>
          <a:stretch>
            <a:fillRect/>
          </a:stretch>
        </p:blipFill>
        <p:spPr bwMode="auto">
          <a:xfrm>
            <a:off x="4061465" y="896445"/>
            <a:ext cx="726923" cy="232385"/>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8" descr="TMB App (Metro Bus Barcelona) - Aplicaciones en Google Play">
            <a:extLst>
              <a:ext uri="{FF2B5EF4-FFF2-40B4-BE49-F238E27FC236}">
                <a16:creationId xmlns:a16="http://schemas.microsoft.com/office/drawing/2014/main" id="{A321546A-A24F-FB9B-80CF-55BF9A529B23}"/>
              </a:ext>
            </a:extLst>
          </p:cNvPr>
          <p:cNvPicPr>
            <a:picLocks noChangeAspect="1" noChangeArrowheads="1"/>
          </p:cNvPicPr>
          <p:nvPr/>
        </p:nvPicPr>
        <p:blipFill>
          <a:blip r:embed="rId59" cstate="print">
            <a:extLst>
              <a:ext uri="{28A0092B-C50C-407E-A947-70E740481C1C}">
                <a14:useLocalDpi xmlns:a14="http://schemas.microsoft.com/office/drawing/2010/main" val="0"/>
              </a:ext>
            </a:extLst>
          </a:blip>
          <a:srcRect/>
          <a:stretch>
            <a:fillRect/>
          </a:stretch>
        </p:blipFill>
        <p:spPr bwMode="auto">
          <a:xfrm>
            <a:off x="9814619" y="1580842"/>
            <a:ext cx="280722" cy="280722"/>
          </a:xfrm>
          <a:prstGeom prst="rect">
            <a:avLst/>
          </a:prstGeom>
          <a:noFill/>
          <a:extLst>
            <a:ext uri="{909E8E84-426E-40DD-AFC4-6F175D3DCCD1}">
              <a14:hiddenFill xmlns:a14="http://schemas.microsoft.com/office/drawing/2010/main">
                <a:solidFill>
                  <a:srgbClr val="FFFFFF"/>
                </a:solidFill>
              </a14:hiddenFill>
            </a:ext>
          </a:extLst>
        </p:spPr>
      </p:pic>
      <p:cxnSp>
        <p:nvCxnSpPr>
          <p:cNvPr id="136" name="Conector recto 135">
            <a:extLst>
              <a:ext uri="{FF2B5EF4-FFF2-40B4-BE49-F238E27FC236}">
                <a16:creationId xmlns:a16="http://schemas.microsoft.com/office/drawing/2014/main" id="{86DD063B-A45D-778E-F418-8EB2F33B186E}"/>
              </a:ext>
            </a:extLst>
          </p:cNvPr>
          <p:cNvCxnSpPr>
            <a:cxnSpLocks/>
          </p:cNvCxnSpPr>
          <p:nvPr/>
        </p:nvCxnSpPr>
        <p:spPr>
          <a:xfrm>
            <a:off x="1498109" y="4712018"/>
            <a:ext cx="0" cy="771912"/>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138" name="Conector recto 137">
            <a:extLst>
              <a:ext uri="{FF2B5EF4-FFF2-40B4-BE49-F238E27FC236}">
                <a16:creationId xmlns:a16="http://schemas.microsoft.com/office/drawing/2014/main" id="{12E3264A-311E-EFE9-AA7A-1EDF22A909D8}"/>
              </a:ext>
            </a:extLst>
          </p:cNvPr>
          <p:cNvCxnSpPr>
            <a:cxnSpLocks/>
          </p:cNvCxnSpPr>
          <p:nvPr/>
        </p:nvCxnSpPr>
        <p:spPr>
          <a:xfrm>
            <a:off x="1482413" y="5719181"/>
            <a:ext cx="0" cy="771912"/>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139" name="96 CuadroTexto">
            <a:extLst>
              <a:ext uri="{FF2B5EF4-FFF2-40B4-BE49-F238E27FC236}">
                <a16:creationId xmlns:a16="http://schemas.microsoft.com/office/drawing/2014/main" id="{6534B88E-A902-61C9-3C57-D3F996FD5AA8}"/>
              </a:ext>
            </a:extLst>
          </p:cNvPr>
          <p:cNvSpPr txBox="1"/>
          <p:nvPr/>
        </p:nvSpPr>
        <p:spPr>
          <a:xfrm>
            <a:off x="2015617" y="5746170"/>
            <a:ext cx="1294208" cy="307777"/>
          </a:xfrm>
          <a:prstGeom prst="rect">
            <a:avLst/>
          </a:prstGeom>
          <a:noFill/>
        </p:spPr>
        <p:txBody>
          <a:bodyPr wrap="square" rtlCol="0">
            <a:spAutoFit/>
          </a:bodyPr>
          <a:lstStyle>
            <a:defPPr>
              <a:defRPr lang="es-ES_tradnl"/>
            </a:defPPr>
            <a:lvl1pPr algn="ctr" rtl="0" fontAlgn="base">
              <a:spcBef>
                <a:spcPct val="0"/>
              </a:spcBef>
              <a:spcAft>
                <a:spcPct val="0"/>
              </a:spcAft>
              <a:defRPr sz="1200" b="1" kern="1200">
                <a:solidFill>
                  <a:schemeClr val="tx1"/>
                </a:solidFill>
                <a:latin typeface="Arial" charset="0"/>
                <a:ea typeface="+mn-ea"/>
                <a:cs typeface="+mn-cs"/>
              </a:defRPr>
            </a:lvl1pPr>
            <a:lvl2pPr marL="457200" algn="ctr" rtl="0" fontAlgn="base">
              <a:spcBef>
                <a:spcPct val="0"/>
              </a:spcBef>
              <a:spcAft>
                <a:spcPct val="0"/>
              </a:spcAft>
              <a:defRPr sz="1200" b="1" kern="1200">
                <a:solidFill>
                  <a:schemeClr val="tx1"/>
                </a:solidFill>
                <a:latin typeface="Arial" charset="0"/>
                <a:ea typeface="+mn-ea"/>
                <a:cs typeface="+mn-cs"/>
              </a:defRPr>
            </a:lvl2pPr>
            <a:lvl3pPr marL="914400" algn="ctr" rtl="0" fontAlgn="base">
              <a:spcBef>
                <a:spcPct val="0"/>
              </a:spcBef>
              <a:spcAft>
                <a:spcPct val="0"/>
              </a:spcAft>
              <a:defRPr sz="1200" b="1" kern="1200">
                <a:solidFill>
                  <a:schemeClr val="tx1"/>
                </a:solidFill>
                <a:latin typeface="Arial" charset="0"/>
                <a:ea typeface="+mn-ea"/>
                <a:cs typeface="+mn-cs"/>
              </a:defRPr>
            </a:lvl3pPr>
            <a:lvl4pPr marL="1371600" algn="ctr" rtl="0" fontAlgn="base">
              <a:spcBef>
                <a:spcPct val="0"/>
              </a:spcBef>
              <a:spcAft>
                <a:spcPct val="0"/>
              </a:spcAft>
              <a:defRPr sz="1200" b="1" kern="1200">
                <a:solidFill>
                  <a:schemeClr val="tx1"/>
                </a:solidFill>
                <a:latin typeface="Arial" charset="0"/>
                <a:ea typeface="+mn-ea"/>
                <a:cs typeface="+mn-cs"/>
              </a:defRPr>
            </a:lvl4pPr>
            <a:lvl5pPr marL="1828800" algn="ctr" rtl="0" fontAlgn="base">
              <a:spcBef>
                <a:spcPct val="0"/>
              </a:spcBef>
              <a:spcAft>
                <a:spcPct val="0"/>
              </a:spcAft>
              <a:defRPr sz="1200" b="1" kern="1200">
                <a:solidFill>
                  <a:schemeClr val="tx1"/>
                </a:solidFill>
                <a:latin typeface="Arial" charset="0"/>
                <a:ea typeface="+mn-ea"/>
                <a:cs typeface="+mn-cs"/>
              </a:defRPr>
            </a:lvl5pPr>
            <a:lvl6pPr marL="2286000" algn="l" defTabSz="914400" rtl="0" eaLnBrk="1" latinLnBrk="0" hangingPunct="1">
              <a:defRPr sz="1200" b="1" kern="1200">
                <a:solidFill>
                  <a:schemeClr val="tx1"/>
                </a:solidFill>
                <a:latin typeface="Arial" charset="0"/>
                <a:ea typeface="+mn-ea"/>
                <a:cs typeface="+mn-cs"/>
              </a:defRPr>
            </a:lvl6pPr>
            <a:lvl7pPr marL="2743200" algn="l" defTabSz="914400" rtl="0" eaLnBrk="1" latinLnBrk="0" hangingPunct="1">
              <a:defRPr sz="1200" b="1" kern="1200">
                <a:solidFill>
                  <a:schemeClr val="tx1"/>
                </a:solidFill>
                <a:latin typeface="Arial" charset="0"/>
                <a:ea typeface="+mn-ea"/>
                <a:cs typeface="+mn-cs"/>
              </a:defRPr>
            </a:lvl7pPr>
            <a:lvl8pPr marL="3200400" algn="l" defTabSz="914400" rtl="0" eaLnBrk="1" latinLnBrk="0" hangingPunct="1">
              <a:defRPr sz="1200" b="1" kern="1200">
                <a:solidFill>
                  <a:schemeClr val="tx1"/>
                </a:solidFill>
                <a:latin typeface="Arial" charset="0"/>
                <a:ea typeface="+mn-ea"/>
                <a:cs typeface="+mn-cs"/>
              </a:defRPr>
            </a:lvl8pPr>
            <a:lvl9pPr marL="3657600" algn="l" defTabSz="914400" rtl="0" eaLnBrk="1" latinLnBrk="0" hangingPunct="1">
              <a:defRPr sz="1200" b="1"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00" b="1" i="0" u="none" strike="noStrike" kern="1200" cap="none" spc="0" normalizeH="0" baseline="0" noProof="0">
                <a:ln>
                  <a:noFill/>
                </a:ln>
                <a:solidFill>
                  <a:prstClr val="black"/>
                </a:solidFill>
                <a:effectLst/>
                <a:uLnTx/>
                <a:uFillTx/>
                <a:latin typeface="Droid Sans" charset="0"/>
                <a:ea typeface="+mn-ea"/>
                <a:cs typeface="Droid Sans" charset="0"/>
                <a:sym typeface="Droid Sans" charset="0"/>
              </a:rPr>
              <a:t>Reporting </a:t>
            </a:r>
            <a:r>
              <a:rPr kumimoji="0" lang="en-GB" sz="700" b="1" i="0" u="none" strike="noStrike" kern="1200" cap="none" spc="0" normalizeH="0" baseline="0" noProof="0" err="1">
                <a:ln>
                  <a:noFill/>
                </a:ln>
                <a:solidFill>
                  <a:prstClr val="black"/>
                </a:solidFill>
                <a:effectLst/>
                <a:uLnTx/>
                <a:uFillTx/>
                <a:latin typeface="Droid Sans" charset="0"/>
                <a:ea typeface="+mn-ea"/>
                <a:cs typeface="Droid Sans" charset="0"/>
                <a:sym typeface="Droid Sans" charset="0"/>
              </a:rPr>
              <a:t>ventas</a:t>
            </a:r>
            <a:r>
              <a:rPr kumimoji="0" lang="en-GB" sz="700" b="1" i="0" u="none" strike="noStrike" kern="1200" cap="none" spc="0" normalizeH="0" baseline="0" noProof="0">
                <a:ln>
                  <a:noFill/>
                </a:ln>
                <a:solidFill>
                  <a:prstClr val="black"/>
                </a:solidFill>
                <a:effectLst/>
                <a:uLnTx/>
                <a:uFillTx/>
                <a:latin typeface="Droid Sans" charset="0"/>
                <a:ea typeface="+mn-ea"/>
                <a:cs typeface="Droid Sans" charset="0"/>
                <a:sym typeface="Droid Sans" charset="0"/>
              </a:rPr>
              <a:t>, </a:t>
            </a:r>
            <a:r>
              <a:rPr kumimoji="0" lang="en-GB" sz="700" b="1" i="0" u="none" strike="noStrike" kern="1200" cap="none" spc="0" normalizeH="0" baseline="0" noProof="0" err="1">
                <a:ln>
                  <a:noFill/>
                </a:ln>
                <a:solidFill>
                  <a:prstClr val="black"/>
                </a:solidFill>
                <a:effectLst/>
                <a:uLnTx/>
                <a:uFillTx/>
                <a:latin typeface="Droid Sans" charset="0"/>
                <a:ea typeface="+mn-ea"/>
                <a:cs typeface="Droid Sans" charset="0"/>
                <a:sym typeface="Droid Sans" charset="0"/>
              </a:rPr>
              <a:t>ofertas</a:t>
            </a:r>
            <a:r>
              <a:rPr kumimoji="0" lang="en-GB" sz="700" b="1" i="0" u="none" strike="noStrike" kern="1200" cap="none" spc="0" normalizeH="0" baseline="0" noProof="0">
                <a:ln>
                  <a:noFill/>
                </a:ln>
                <a:solidFill>
                  <a:prstClr val="black"/>
                </a:solidFill>
                <a:effectLst/>
                <a:uLnTx/>
                <a:uFillTx/>
                <a:latin typeface="Droid Sans" charset="0"/>
                <a:ea typeface="+mn-ea"/>
                <a:cs typeface="Droid Sans" charset="0"/>
                <a:sym typeface="Droid Sans" charset="0"/>
              </a:rPr>
              <a:t> y </a:t>
            </a:r>
            <a:r>
              <a:rPr kumimoji="0" lang="en-GB" sz="700" b="1" i="0" u="none" strike="noStrike" kern="1200" cap="none" spc="0" normalizeH="0" baseline="0" noProof="0" err="1">
                <a:ln>
                  <a:noFill/>
                </a:ln>
                <a:solidFill>
                  <a:prstClr val="black"/>
                </a:solidFill>
                <a:effectLst/>
                <a:uLnTx/>
                <a:uFillTx/>
                <a:latin typeface="Droid Sans" charset="0"/>
                <a:ea typeface="+mn-ea"/>
                <a:cs typeface="Droid Sans" charset="0"/>
                <a:sym typeface="Droid Sans" charset="0"/>
              </a:rPr>
              <a:t>cuenta</a:t>
            </a:r>
            <a:r>
              <a:rPr kumimoji="0" lang="en-GB" sz="700" b="1" i="0" u="none" strike="noStrike" kern="1200" cap="none" spc="0" normalizeH="0" baseline="0" noProof="0">
                <a:ln>
                  <a:noFill/>
                </a:ln>
                <a:solidFill>
                  <a:prstClr val="black"/>
                </a:solidFill>
                <a:effectLst/>
                <a:uLnTx/>
                <a:uFillTx/>
                <a:latin typeface="Droid Sans" charset="0"/>
                <a:ea typeface="+mn-ea"/>
                <a:cs typeface="Droid Sans" charset="0"/>
                <a:sym typeface="Droid Sans" charset="0"/>
              </a:rPr>
              <a:t> de </a:t>
            </a:r>
            <a:r>
              <a:rPr kumimoji="0" lang="en-GB" sz="700" b="1" i="0" u="none" strike="noStrike" kern="1200" cap="none" spc="0" normalizeH="0" baseline="0" noProof="0" err="1">
                <a:ln>
                  <a:noFill/>
                </a:ln>
                <a:solidFill>
                  <a:prstClr val="black"/>
                </a:solidFill>
                <a:effectLst/>
                <a:uLnTx/>
                <a:uFillTx/>
                <a:latin typeface="Droid Sans" charset="0"/>
                <a:ea typeface="+mn-ea"/>
                <a:cs typeface="Droid Sans" charset="0"/>
                <a:sym typeface="Droid Sans" charset="0"/>
              </a:rPr>
              <a:t>resultados</a:t>
            </a:r>
            <a:endParaRPr kumimoji="0" lang="en-GB" sz="700" b="1" i="0" u="none" strike="noStrike" kern="1200" cap="none" spc="0" normalizeH="0" baseline="0" noProof="0">
              <a:ln>
                <a:noFill/>
              </a:ln>
              <a:solidFill>
                <a:prstClr val="black"/>
              </a:solidFill>
              <a:effectLst/>
              <a:uLnTx/>
              <a:uFillTx/>
              <a:latin typeface="Droid Sans" charset="0"/>
              <a:ea typeface="+mn-ea"/>
              <a:cs typeface="Droid Sans" charset="0"/>
              <a:sym typeface="Droid Sans" charset="0"/>
            </a:endParaRPr>
          </a:p>
        </p:txBody>
      </p:sp>
      <p:sp>
        <p:nvSpPr>
          <p:cNvPr id="140" name="96 CuadroTexto">
            <a:extLst>
              <a:ext uri="{FF2B5EF4-FFF2-40B4-BE49-F238E27FC236}">
                <a16:creationId xmlns:a16="http://schemas.microsoft.com/office/drawing/2014/main" id="{DE63ADF2-A478-BDC1-B618-908404B1C5D4}"/>
              </a:ext>
            </a:extLst>
          </p:cNvPr>
          <p:cNvSpPr txBox="1"/>
          <p:nvPr/>
        </p:nvSpPr>
        <p:spPr>
          <a:xfrm>
            <a:off x="2015846" y="6148738"/>
            <a:ext cx="1317941" cy="307777"/>
          </a:xfrm>
          <a:prstGeom prst="rect">
            <a:avLst/>
          </a:prstGeom>
          <a:noFill/>
        </p:spPr>
        <p:txBody>
          <a:bodyPr wrap="square" rtlCol="0">
            <a:spAutoFit/>
          </a:bodyPr>
          <a:lstStyle>
            <a:defPPr>
              <a:defRPr lang="es-ES_tradnl"/>
            </a:defPPr>
            <a:lvl1pPr algn="ctr" rtl="0" fontAlgn="base">
              <a:spcBef>
                <a:spcPct val="0"/>
              </a:spcBef>
              <a:spcAft>
                <a:spcPct val="0"/>
              </a:spcAft>
              <a:defRPr sz="1200" b="1" kern="1200">
                <a:solidFill>
                  <a:schemeClr val="tx1"/>
                </a:solidFill>
                <a:latin typeface="Arial" charset="0"/>
                <a:ea typeface="+mn-ea"/>
                <a:cs typeface="+mn-cs"/>
              </a:defRPr>
            </a:lvl1pPr>
            <a:lvl2pPr marL="457200" algn="ctr" rtl="0" fontAlgn="base">
              <a:spcBef>
                <a:spcPct val="0"/>
              </a:spcBef>
              <a:spcAft>
                <a:spcPct val="0"/>
              </a:spcAft>
              <a:defRPr sz="1200" b="1" kern="1200">
                <a:solidFill>
                  <a:schemeClr val="tx1"/>
                </a:solidFill>
                <a:latin typeface="Arial" charset="0"/>
                <a:ea typeface="+mn-ea"/>
                <a:cs typeface="+mn-cs"/>
              </a:defRPr>
            </a:lvl2pPr>
            <a:lvl3pPr marL="914400" algn="ctr" rtl="0" fontAlgn="base">
              <a:spcBef>
                <a:spcPct val="0"/>
              </a:spcBef>
              <a:spcAft>
                <a:spcPct val="0"/>
              </a:spcAft>
              <a:defRPr sz="1200" b="1" kern="1200">
                <a:solidFill>
                  <a:schemeClr val="tx1"/>
                </a:solidFill>
                <a:latin typeface="Arial" charset="0"/>
                <a:ea typeface="+mn-ea"/>
                <a:cs typeface="+mn-cs"/>
              </a:defRPr>
            </a:lvl3pPr>
            <a:lvl4pPr marL="1371600" algn="ctr" rtl="0" fontAlgn="base">
              <a:spcBef>
                <a:spcPct val="0"/>
              </a:spcBef>
              <a:spcAft>
                <a:spcPct val="0"/>
              </a:spcAft>
              <a:defRPr sz="1200" b="1" kern="1200">
                <a:solidFill>
                  <a:schemeClr val="tx1"/>
                </a:solidFill>
                <a:latin typeface="Arial" charset="0"/>
                <a:ea typeface="+mn-ea"/>
                <a:cs typeface="+mn-cs"/>
              </a:defRPr>
            </a:lvl4pPr>
            <a:lvl5pPr marL="1828800" algn="ctr" rtl="0" fontAlgn="base">
              <a:spcBef>
                <a:spcPct val="0"/>
              </a:spcBef>
              <a:spcAft>
                <a:spcPct val="0"/>
              </a:spcAft>
              <a:defRPr sz="1200" b="1" kern="1200">
                <a:solidFill>
                  <a:schemeClr val="tx1"/>
                </a:solidFill>
                <a:latin typeface="Arial" charset="0"/>
                <a:ea typeface="+mn-ea"/>
                <a:cs typeface="+mn-cs"/>
              </a:defRPr>
            </a:lvl5pPr>
            <a:lvl6pPr marL="2286000" algn="l" defTabSz="914400" rtl="0" eaLnBrk="1" latinLnBrk="0" hangingPunct="1">
              <a:defRPr sz="1200" b="1" kern="1200">
                <a:solidFill>
                  <a:schemeClr val="tx1"/>
                </a:solidFill>
                <a:latin typeface="Arial" charset="0"/>
                <a:ea typeface="+mn-ea"/>
                <a:cs typeface="+mn-cs"/>
              </a:defRPr>
            </a:lvl6pPr>
            <a:lvl7pPr marL="2743200" algn="l" defTabSz="914400" rtl="0" eaLnBrk="1" latinLnBrk="0" hangingPunct="1">
              <a:defRPr sz="1200" b="1" kern="1200">
                <a:solidFill>
                  <a:schemeClr val="tx1"/>
                </a:solidFill>
                <a:latin typeface="Arial" charset="0"/>
                <a:ea typeface="+mn-ea"/>
                <a:cs typeface="+mn-cs"/>
              </a:defRPr>
            </a:lvl7pPr>
            <a:lvl8pPr marL="3200400" algn="l" defTabSz="914400" rtl="0" eaLnBrk="1" latinLnBrk="0" hangingPunct="1">
              <a:defRPr sz="1200" b="1" kern="1200">
                <a:solidFill>
                  <a:schemeClr val="tx1"/>
                </a:solidFill>
                <a:latin typeface="Arial" charset="0"/>
                <a:ea typeface="+mn-ea"/>
                <a:cs typeface="+mn-cs"/>
              </a:defRPr>
            </a:lvl8pPr>
            <a:lvl9pPr marL="3657600" algn="l" defTabSz="914400" rtl="0" eaLnBrk="1" latinLnBrk="0" hangingPunct="1">
              <a:defRPr sz="1200" b="1"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00" b="1" i="0" u="none" strike="noStrike" kern="1200" cap="none" spc="0" normalizeH="0" baseline="0" noProof="0">
                <a:ln>
                  <a:noFill/>
                </a:ln>
                <a:solidFill>
                  <a:prstClr val="black"/>
                </a:solidFill>
                <a:effectLst/>
                <a:uLnTx/>
                <a:uFillTx/>
                <a:latin typeface="Droid Sans" charset="0"/>
                <a:ea typeface="+mn-ea"/>
                <a:cs typeface="Droid Sans" charset="0"/>
                <a:sym typeface="Droid Sans" charset="0"/>
              </a:rPr>
              <a:t>Reporting e </a:t>
            </a:r>
            <a:r>
              <a:rPr kumimoji="0" lang="en-GB" sz="700" b="1" i="0" u="none" strike="noStrike" kern="1200" cap="none" spc="0" normalizeH="0" baseline="0" noProof="0" err="1">
                <a:ln>
                  <a:noFill/>
                </a:ln>
                <a:solidFill>
                  <a:prstClr val="black"/>
                </a:solidFill>
                <a:effectLst/>
                <a:uLnTx/>
                <a:uFillTx/>
                <a:latin typeface="Droid Sans" charset="0"/>
                <a:ea typeface="+mn-ea"/>
                <a:cs typeface="Droid Sans" charset="0"/>
                <a:sym typeface="Droid Sans" charset="0"/>
              </a:rPr>
              <a:t>Indicadores</a:t>
            </a:r>
            <a:r>
              <a:rPr kumimoji="0" lang="en-GB" sz="700" b="1" i="0" u="none" strike="noStrike" kern="1200" cap="none" spc="0" normalizeH="0" baseline="0" noProof="0">
                <a:ln>
                  <a:noFill/>
                </a:ln>
                <a:solidFill>
                  <a:prstClr val="black"/>
                </a:solidFill>
                <a:effectLst/>
                <a:uLnTx/>
                <a:uFillTx/>
                <a:latin typeface="Droid Sans" charset="0"/>
                <a:ea typeface="+mn-ea"/>
                <a:cs typeface="Droid Sans" charset="0"/>
                <a:sym typeface="Droid Sans" charset="0"/>
              </a:rPr>
              <a:t> </a:t>
            </a:r>
            <a:r>
              <a:rPr kumimoji="0" lang="en-GB" sz="700" b="1" i="0" u="none" strike="noStrike" kern="1200" cap="none" spc="0" normalizeH="0" baseline="0" noProof="0" err="1">
                <a:ln>
                  <a:noFill/>
                </a:ln>
                <a:solidFill>
                  <a:prstClr val="black"/>
                </a:solidFill>
                <a:effectLst/>
                <a:uLnTx/>
                <a:uFillTx/>
                <a:latin typeface="Droid Sans" charset="0"/>
                <a:ea typeface="+mn-ea"/>
                <a:cs typeface="Droid Sans" charset="0"/>
                <a:sym typeface="Droid Sans" charset="0"/>
              </a:rPr>
              <a:t>Estratégicos</a:t>
            </a:r>
            <a:r>
              <a:rPr kumimoji="0" lang="en-GB" sz="700" b="1" i="0" u="none" strike="noStrike" kern="1200" cap="none" spc="0" normalizeH="0" baseline="0" noProof="0">
                <a:ln>
                  <a:noFill/>
                </a:ln>
                <a:solidFill>
                  <a:prstClr val="black"/>
                </a:solidFill>
                <a:effectLst/>
                <a:uLnTx/>
                <a:uFillTx/>
                <a:latin typeface="Droid Sans" charset="0"/>
                <a:ea typeface="+mn-ea"/>
                <a:cs typeface="Droid Sans" charset="0"/>
                <a:sym typeface="Droid Sans" charset="0"/>
              </a:rPr>
              <a:t> para </a:t>
            </a:r>
            <a:r>
              <a:rPr kumimoji="0" lang="en-GB" sz="700" b="1" i="0" u="none" strike="noStrike" kern="1200" cap="none" spc="0" normalizeH="0" baseline="0" noProof="0" err="1">
                <a:ln>
                  <a:noFill/>
                </a:ln>
                <a:solidFill>
                  <a:prstClr val="black"/>
                </a:solidFill>
                <a:effectLst/>
                <a:uLnTx/>
                <a:uFillTx/>
                <a:latin typeface="Droid Sans" charset="0"/>
                <a:ea typeface="+mn-ea"/>
                <a:cs typeface="Droid Sans" charset="0"/>
                <a:sym typeface="Droid Sans" charset="0"/>
              </a:rPr>
              <a:t>Dirección</a:t>
            </a:r>
            <a:endParaRPr kumimoji="0" lang="en-GB" sz="700" b="1" i="0" u="none" strike="noStrike" kern="1200" cap="none" spc="0" normalizeH="0" baseline="0" noProof="0">
              <a:ln>
                <a:noFill/>
              </a:ln>
              <a:solidFill>
                <a:prstClr val="black"/>
              </a:solidFill>
              <a:effectLst/>
              <a:uLnTx/>
              <a:uFillTx/>
              <a:latin typeface="Droid Sans" charset="0"/>
              <a:ea typeface="+mn-ea"/>
              <a:cs typeface="Droid Sans" charset="0"/>
              <a:sym typeface="Droid Sans" charset="0"/>
            </a:endParaRPr>
          </a:p>
        </p:txBody>
      </p:sp>
      <p:pic>
        <p:nvPicPr>
          <p:cNvPr id="141" name="Picture 11">
            <a:extLst>
              <a:ext uri="{FF2B5EF4-FFF2-40B4-BE49-F238E27FC236}">
                <a16:creationId xmlns:a16="http://schemas.microsoft.com/office/drawing/2014/main" id="{CC7CD9EA-3B47-265D-711E-BC99CE126B75}"/>
              </a:ext>
            </a:extLst>
          </p:cNvPr>
          <p:cNvPicPr>
            <a:picLocks noChangeAspect="1" noChangeArrowheads="1"/>
          </p:cNvPicPr>
          <p:nvPr/>
        </p:nvPicPr>
        <p:blipFill>
          <a:blip r:embed="rId60" cstate="screen"/>
          <a:srcRect l="2966"/>
          <a:stretch>
            <a:fillRect/>
          </a:stretch>
        </p:blipFill>
        <p:spPr bwMode="auto">
          <a:xfrm>
            <a:off x="1582138" y="6192492"/>
            <a:ext cx="451714" cy="215783"/>
          </a:xfrm>
          <a:prstGeom prst="rect">
            <a:avLst/>
          </a:prstGeom>
          <a:noFill/>
          <a:ln w="9525">
            <a:noFill/>
            <a:miter lim="800000"/>
            <a:headEnd/>
            <a:tailEnd/>
          </a:ln>
        </p:spPr>
      </p:pic>
      <p:pic>
        <p:nvPicPr>
          <p:cNvPr id="142" name="Imagen 1" descr="Descripción: Descripción: Descripción: cid:image001.png@01CD3F4D.06FF78D0">
            <a:extLst>
              <a:ext uri="{FF2B5EF4-FFF2-40B4-BE49-F238E27FC236}">
                <a16:creationId xmlns:a16="http://schemas.microsoft.com/office/drawing/2014/main" id="{40D6B1ED-C87C-112D-45CC-7528AFFCC0E3}"/>
              </a:ext>
            </a:extLst>
          </p:cNvPr>
          <p:cNvPicPr>
            <a:picLocks noChangeAspect="1" noChangeArrowheads="1"/>
          </p:cNvPicPr>
          <p:nvPr/>
        </p:nvPicPr>
        <p:blipFill>
          <a:blip r:embed="rId61" cstate="screen"/>
          <a:srcRect/>
          <a:stretch>
            <a:fillRect/>
          </a:stretch>
        </p:blipFill>
        <p:spPr bwMode="auto">
          <a:xfrm>
            <a:off x="3363514" y="5764898"/>
            <a:ext cx="412883" cy="290640"/>
          </a:xfrm>
          <a:prstGeom prst="rect">
            <a:avLst/>
          </a:prstGeom>
          <a:noFill/>
          <a:ln w="9525">
            <a:noFill/>
            <a:miter lim="800000"/>
            <a:headEnd/>
            <a:tailEnd/>
          </a:ln>
        </p:spPr>
      </p:pic>
      <p:sp>
        <p:nvSpPr>
          <p:cNvPr id="143" name="96 CuadroTexto">
            <a:extLst>
              <a:ext uri="{FF2B5EF4-FFF2-40B4-BE49-F238E27FC236}">
                <a16:creationId xmlns:a16="http://schemas.microsoft.com/office/drawing/2014/main" id="{E800BEA6-F6C8-57A1-296E-65B919DB5D3F}"/>
              </a:ext>
            </a:extLst>
          </p:cNvPr>
          <p:cNvSpPr txBox="1"/>
          <p:nvPr/>
        </p:nvSpPr>
        <p:spPr>
          <a:xfrm>
            <a:off x="3706842" y="5749350"/>
            <a:ext cx="1620797" cy="307777"/>
          </a:xfrm>
          <a:prstGeom prst="rect">
            <a:avLst/>
          </a:prstGeom>
          <a:noFill/>
        </p:spPr>
        <p:txBody>
          <a:bodyPr wrap="square" rtlCol="0">
            <a:spAutoFit/>
          </a:bodyPr>
          <a:lstStyle>
            <a:defPPr>
              <a:defRPr lang="es-ES_tradnl"/>
            </a:defPPr>
            <a:lvl1pPr algn="ctr" rtl="0" fontAlgn="base">
              <a:spcBef>
                <a:spcPct val="0"/>
              </a:spcBef>
              <a:spcAft>
                <a:spcPct val="0"/>
              </a:spcAft>
              <a:defRPr sz="1200" b="1" kern="1200">
                <a:solidFill>
                  <a:schemeClr val="tx1"/>
                </a:solidFill>
                <a:latin typeface="Arial" charset="0"/>
                <a:ea typeface="+mn-ea"/>
                <a:cs typeface="+mn-cs"/>
              </a:defRPr>
            </a:lvl1pPr>
            <a:lvl2pPr marL="457200" algn="ctr" rtl="0" fontAlgn="base">
              <a:spcBef>
                <a:spcPct val="0"/>
              </a:spcBef>
              <a:spcAft>
                <a:spcPct val="0"/>
              </a:spcAft>
              <a:defRPr sz="1200" b="1" kern="1200">
                <a:solidFill>
                  <a:schemeClr val="tx1"/>
                </a:solidFill>
                <a:latin typeface="Arial" charset="0"/>
                <a:ea typeface="+mn-ea"/>
                <a:cs typeface="+mn-cs"/>
              </a:defRPr>
            </a:lvl2pPr>
            <a:lvl3pPr marL="914400" algn="ctr" rtl="0" fontAlgn="base">
              <a:spcBef>
                <a:spcPct val="0"/>
              </a:spcBef>
              <a:spcAft>
                <a:spcPct val="0"/>
              </a:spcAft>
              <a:defRPr sz="1200" b="1" kern="1200">
                <a:solidFill>
                  <a:schemeClr val="tx1"/>
                </a:solidFill>
                <a:latin typeface="Arial" charset="0"/>
                <a:ea typeface="+mn-ea"/>
                <a:cs typeface="+mn-cs"/>
              </a:defRPr>
            </a:lvl3pPr>
            <a:lvl4pPr marL="1371600" algn="ctr" rtl="0" fontAlgn="base">
              <a:spcBef>
                <a:spcPct val="0"/>
              </a:spcBef>
              <a:spcAft>
                <a:spcPct val="0"/>
              </a:spcAft>
              <a:defRPr sz="1200" b="1" kern="1200">
                <a:solidFill>
                  <a:schemeClr val="tx1"/>
                </a:solidFill>
                <a:latin typeface="Arial" charset="0"/>
                <a:ea typeface="+mn-ea"/>
                <a:cs typeface="+mn-cs"/>
              </a:defRPr>
            </a:lvl4pPr>
            <a:lvl5pPr marL="1828800" algn="ctr" rtl="0" fontAlgn="base">
              <a:spcBef>
                <a:spcPct val="0"/>
              </a:spcBef>
              <a:spcAft>
                <a:spcPct val="0"/>
              </a:spcAft>
              <a:defRPr sz="1200" b="1" kern="1200">
                <a:solidFill>
                  <a:schemeClr val="tx1"/>
                </a:solidFill>
                <a:latin typeface="Arial" charset="0"/>
                <a:ea typeface="+mn-ea"/>
                <a:cs typeface="+mn-cs"/>
              </a:defRPr>
            </a:lvl5pPr>
            <a:lvl6pPr marL="2286000" algn="l" defTabSz="914400" rtl="0" eaLnBrk="1" latinLnBrk="0" hangingPunct="1">
              <a:defRPr sz="1200" b="1" kern="1200">
                <a:solidFill>
                  <a:schemeClr val="tx1"/>
                </a:solidFill>
                <a:latin typeface="Arial" charset="0"/>
                <a:ea typeface="+mn-ea"/>
                <a:cs typeface="+mn-cs"/>
              </a:defRPr>
            </a:lvl6pPr>
            <a:lvl7pPr marL="2743200" algn="l" defTabSz="914400" rtl="0" eaLnBrk="1" latinLnBrk="0" hangingPunct="1">
              <a:defRPr sz="1200" b="1" kern="1200">
                <a:solidFill>
                  <a:schemeClr val="tx1"/>
                </a:solidFill>
                <a:latin typeface="Arial" charset="0"/>
                <a:ea typeface="+mn-ea"/>
                <a:cs typeface="+mn-cs"/>
              </a:defRPr>
            </a:lvl7pPr>
            <a:lvl8pPr marL="3200400" algn="l" defTabSz="914400" rtl="0" eaLnBrk="1" latinLnBrk="0" hangingPunct="1">
              <a:defRPr sz="1200" b="1" kern="1200">
                <a:solidFill>
                  <a:schemeClr val="tx1"/>
                </a:solidFill>
                <a:latin typeface="Arial" charset="0"/>
                <a:ea typeface="+mn-ea"/>
                <a:cs typeface="+mn-cs"/>
              </a:defRPr>
            </a:lvl8pPr>
            <a:lvl9pPr marL="3657600" algn="l" defTabSz="914400" rtl="0" eaLnBrk="1" latinLnBrk="0" hangingPunct="1">
              <a:defRPr sz="1200" b="1"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00" b="1" i="0" u="none" strike="noStrike" kern="1200" cap="none" spc="0" normalizeH="0" baseline="0" noProof="0">
                <a:ln>
                  <a:noFill/>
                </a:ln>
                <a:solidFill>
                  <a:prstClr val="black"/>
                </a:solidFill>
                <a:effectLst/>
                <a:uLnTx/>
                <a:uFillTx/>
                <a:latin typeface="Droid Sans" charset="0"/>
                <a:ea typeface="+mn-ea"/>
                <a:cs typeface="Droid Sans" charset="0"/>
                <a:sym typeface="Droid Sans" charset="0"/>
              </a:rPr>
              <a:t>Cuadros de  Mando para GNL, RRHH, IT, </a:t>
            </a:r>
            <a:r>
              <a:rPr kumimoji="0" lang="en-GB" sz="700" b="1" i="0" u="none" strike="noStrike" kern="1200" cap="none" spc="0" normalizeH="0" baseline="0" noProof="0" err="1">
                <a:ln>
                  <a:noFill/>
                </a:ln>
                <a:solidFill>
                  <a:prstClr val="black"/>
                </a:solidFill>
                <a:effectLst/>
                <a:uLnTx/>
                <a:uFillTx/>
                <a:latin typeface="Droid Sans" charset="0"/>
                <a:ea typeface="+mn-ea"/>
                <a:cs typeface="Droid Sans" charset="0"/>
                <a:sym typeface="Droid Sans" charset="0"/>
              </a:rPr>
              <a:t>Compras</a:t>
            </a:r>
            <a:r>
              <a:rPr kumimoji="0" lang="en-GB" sz="700" b="1" i="0" u="none" strike="noStrike" kern="1200" cap="none" spc="0" normalizeH="0" baseline="0" noProof="0">
                <a:ln>
                  <a:noFill/>
                </a:ln>
                <a:solidFill>
                  <a:prstClr val="black"/>
                </a:solidFill>
                <a:effectLst/>
                <a:uLnTx/>
                <a:uFillTx/>
                <a:latin typeface="Droid Sans" charset="0"/>
                <a:ea typeface="+mn-ea"/>
                <a:cs typeface="Droid Sans" charset="0"/>
                <a:sym typeface="Droid Sans" charset="0"/>
              </a:rPr>
              <a:t> y </a:t>
            </a:r>
            <a:r>
              <a:rPr kumimoji="0" lang="en-GB" sz="700" b="1" i="0" u="none" strike="noStrike" kern="1200" cap="none" spc="0" normalizeH="0" baseline="0" noProof="0" err="1">
                <a:ln>
                  <a:noFill/>
                </a:ln>
                <a:solidFill>
                  <a:prstClr val="black"/>
                </a:solidFill>
                <a:effectLst/>
                <a:uLnTx/>
                <a:uFillTx/>
                <a:latin typeface="Droid Sans" charset="0"/>
                <a:ea typeface="+mn-ea"/>
                <a:cs typeface="Droid Sans" charset="0"/>
                <a:sym typeface="Droid Sans" charset="0"/>
              </a:rPr>
              <a:t>Finanzas</a:t>
            </a:r>
            <a:r>
              <a:rPr kumimoji="0" lang="en-GB" sz="700" b="1" i="0" u="none" strike="noStrike" kern="1200" cap="none" spc="0" normalizeH="0" baseline="0" noProof="0">
                <a:ln>
                  <a:noFill/>
                </a:ln>
                <a:solidFill>
                  <a:prstClr val="black"/>
                </a:solidFill>
                <a:effectLst/>
                <a:uLnTx/>
                <a:uFillTx/>
                <a:latin typeface="Droid Sans" charset="0"/>
                <a:ea typeface="+mn-ea"/>
                <a:cs typeface="Droid Sans" charset="0"/>
                <a:sym typeface="Droid Sans" charset="0"/>
              </a:rPr>
              <a:t>.</a:t>
            </a:r>
          </a:p>
        </p:txBody>
      </p:sp>
      <p:pic>
        <p:nvPicPr>
          <p:cNvPr id="144" name="Picture 126">
            <a:extLst>
              <a:ext uri="{FF2B5EF4-FFF2-40B4-BE49-F238E27FC236}">
                <a16:creationId xmlns:a16="http://schemas.microsoft.com/office/drawing/2014/main" id="{6C8979E8-9764-D8C2-CC9E-65200B9F164D}"/>
              </a:ext>
            </a:extLst>
          </p:cNvPr>
          <p:cNvPicPr>
            <a:picLocks noChangeAspect="1" noChangeArrowheads="1"/>
          </p:cNvPicPr>
          <p:nvPr/>
        </p:nvPicPr>
        <p:blipFill>
          <a:blip r:embed="rId62" cstate="screen"/>
          <a:srcRect/>
          <a:stretch>
            <a:fillRect/>
          </a:stretch>
        </p:blipFill>
        <p:spPr bwMode="auto">
          <a:xfrm>
            <a:off x="3350359" y="6205460"/>
            <a:ext cx="387236" cy="204022"/>
          </a:xfrm>
          <a:prstGeom prst="rect">
            <a:avLst/>
          </a:prstGeom>
          <a:noFill/>
          <a:ln w="9525">
            <a:noFill/>
            <a:miter lim="800000"/>
            <a:headEnd/>
            <a:tailEnd/>
          </a:ln>
        </p:spPr>
      </p:pic>
      <p:sp>
        <p:nvSpPr>
          <p:cNvPr id="145" name="96 CuadroTexto">
            <a:extLst>
              <a:ext uri="{FF2B5EF4-FFF2-40B4-BE49-F238E27FC236}">
                <a16:creationId xmlns:a16="http://schemas.microsoft.com/office/drawing/2014/main" id="{F22249D7-90D6-5BB7-4903-5CC8B691106E}"/>
              </a:ext>
            </a:extLst>
          </p:cNvPr>
          <p:cNvSpPr txBox="1"/>
          <p:nvPr/>
        </p:nvSpPr>
        <p:spPr>
          <a:xfrm>
            <a:off x="3706807" y="6148416"/>
            <a:ext cx="1303250" cy="307777"/>
          </a:xfrm>
          <a:prstGeom prst="rect">
            <a:avLst/>
          </a:prstGeom>
          <a:noFill/>
        </p:spPr>
        <p:txBody>
          <a:bodyPr wrap="square" rtlCol="0">
            <a:spAutoFit/>
          </a:bodyPr>
          <a:lstStyle>
            <a:defPPr>
              <a:defRPr lang="es-ES_tradnl"/>
            </a:defPPr>
            <a:lvl1pPr algn="ctr" rtl="0" fontAlgn="base">
              <a:spcBef>
                <a:spcPct val="0"/>
              </a:spcBef>
              <a:spcAft>
                <a:spcPct val="0"/>
              </a:spcAft>
              <a:defRPr sz="1200" b="1" kern="1200">
                <a:solidFill>
                  <a:schemeClr val="tx1"/>
                </a:solidFill>
                <a:latin typeface="Arial" charset="0"/>
                <a:ea typeface="+mn-ea"/>
                <a:cs typeface="+mn-cs"/>
              </a:defRPr>
            </a:lvl1pPr>
            <a:lvl2pPr marL="457200" algn="ctr" rtl="0" fontAlgn="base">
              <a:spcBef>
                <a:spcPct val="0"/>
              </a:spcBef>
              <a:spcAft>
                <a:spcPct val="0"/>
              </a:spcAft>
              <a:defRPr sz="1200" b="1" kern="1200">
                <a:solidFill>
                  <a:schemeClr val="tx1"/>
                </a:solidFill>
                <a:latin typeface="Arial" charset="0"/>
                <a:ea typeface="+mn-ea"/>
                <a:cs typeface="+mn-cs"/>
              </a:defRPr>
            </a:lvl2pPr>
            <a:lvl3pPr marL="914400" algn="ctr" rtl="0" fontAlgn="base">
              <a:spcBef>
                <a:spcPct val="0"/>
              </a:spcBef>
              <a:spcAft>
                <a:spcPct val="0"/>
              </a:spcAft>
              <a:defRPr sz="1200" b="1" kern="1200">
                <a:solidFill>
                  <a:schemeClr val="tx1"/>
                </a:solidFill>
                <a:latin typeface="Arial" charset="0"/>
                <a:ea typeface="+mn-ea"/>
                <a:cs typeface="+mn-cs"/>
              </a:defRPr>
            </a:lvl3pPr>
            <a:lvl4pPr marL="1371600" algn="ctr" rtl="0" fontAlgn="base">
              <a:spcBef>
                <a:spcPct val="0"/>
              </a:spcBef>
              <a:spcAft>
                <a:spcPct val="0"/>
              </a:spcAft>
              <a:defRPr sz="1200" b="1" kern="1200">
                <a:solidFill>
                  <a:schemeClr val="tx1"/>
                </a:solidFill>
                <a:latin typeface="Arial" charset="0"/>
                <a:ea typeface="+mn-ea"/>
                <a:cs typeface="+mn-cs"/>
              </a:defRPr>
            </a:lvl4pPr>
            <a:lvl5pPr marL="1828800" algn="ctr" rtl="0" fontAlgn="base">
              <a:spcBef>
                <a:spcPct val="0"/>
              </a:spcBef>
              <a:spcAft>
                <a:spcPct val="0"/>
              </a:spcAft>
              <a:defRPr sz="1200" b="1" kern="1200">
                <a:solidFill>
                  <a:schemeClr val="tx1"/>
                </a:solidFill>
                <a:latin typeface="Arial" charset="0"/>
                <a:ea typeface="+mn-ea"/>
                <a:cs typeface="+mn-cs"/>
              </a:defRPr>
            </a:lvl5pPr>
            <a:lvl6pPr marL="2286000" algn="l" defTabSz="914400" rtl="0" eaLnBrk="1" latinLnBrk="0" hangingPunct="1">
              <a:defRPr sz="1200" b="1" kern="1200">
                <a:solidFill>
                  <a:schemeClr val="tx1"/>
                </a:solidFill>
                <a:latin typeface="Arial" charset="0"/>
                <a:ea typeface="+mn-ea"/>
                <a:cs typeface="+mn-cs"/>
              </a:defRPr>
            </a:lvl6pPr>
            <a:lvl7pPr marL="2743200" algn="l" defTabSz="914400" rtl="0" eaLnBrk="1" latinLnBrk="0" hangingPunct="1">
              <a:defRPr sz="1200" b="1" kern="1200">
                <a:solidFill>
                  <a:schemeClr val="tx1"/>
                </a:solidFill>
                <a:latin typeface="Arial" charset="0"/>
                <a:ea typeface="+mn-ea"/>
                <a:cs typeface="+mn-cs"/>
              </a:defRPr>
            </a:lvl7pPr>
            <a:lvl8pPr marL="3200400" algn="l" defTabSz="914400" rtl="0" eaLnBrk="1" latinLnBrk="0" hangingPunct="1">
              <a:defRPr sz="1200" b="1" kern="1200">
                <a:solidFill>
                  <a:schemeClr val="tx1"/>
                </a:solidFill>
                <a:latin typeface="Arial" charset="0"/>
                <a:ea typeface="+mn-ea"/>
                <a:cs typeface="+mn-cs"/>
              </a:defRPr>
            </a:lvl8pPr>
            <a:lvl9pPr marL="3657600" algn="l" defTabSz="914400" rtl="0" eaLnBrk="1" latinLnBrk="0" hangingPunct="1">
              <a:defRPr sz="1200" b="1"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00" b="1" i="0" u="none" strike="noStrike" kern="1200" cap="none" spc="0" normalizeH="0" baseline="0" noProof="0" err="1">
                <a:ln>
                  <a:noFill/>
                </a:ln>
                <a:solidFill>
                  <a:prstClr val="black"/>
                </a:solidFill>
                <a:effectLst/>
                <a:uLnTx/>
                <a:uFillTx/>
                <a:latin typeface="Droid Sans" charset="0"/>
                <a:ea typeface="+mn-ea"/>
                <a:cs typeface="Droid Sans" charset="0"/>
                <a:sym typeface="Droid Sans" charset="0"/>
              </a:rPr>
              <a:t>Planificación</a:t>
            </a:r>
            <a:r>
              <a:rPr kumimoji="0" lang="en-GB" sz="700" b="1" i="0" u="none" strike="noStrike" kern="1200" cap="none" spc="0" normalizeH="0" baseline="0" noProof="0">
                <a:ln>
                  <a:noFill/>
                </a:ln>
                <a:solidFill>
                  <a:prstClr val="black"/>
                </a:solidFill>
                <a:effectLst/>
                <a:uLnTx/>
                <a:uFillTx/>
                <a:latin typeface="Droid Sans" charset="0"/>
                <a:ea typeface="+mn-ea"/>
                <a:cs typeface="Droid Sans" charset="0"/>
                <a:sym typeface="Droid Sans" charset="0"/>
              </a:rPr>
              <a:t> de </a:t>
            </a:r>
            <a:r>
              <a:rPr kumimoji="0" lang="en-GB" sz="700" b="1" i="0" u="none" strike="noStrike" kern="1200" cap="none" spc="0" normalizeH="0" baseline="0" noProof="0" err="1">
                <a:ln>
                  <a:noFill/>
                </a:ln>
                <a:solidFill>
                  <a:prstClr val="black"/>
                </a:solidFill>
                <a:effectLst/>
                <a:uLnTx/>
                <a:uFillTx/>
                <a:latin typeface="Droid Sans" charset="0"/>
                <a:ea typeface="+mn-ea"/>
                <a:cs typeface="Droid Sans" charset="0"/>
                <a:sym typeface="Droid Sans" charset="0"/>
              </a:rPr>
              <a:t>Recursos</a:t>
            </a:r>
            <a:r>
              <a:rPr kumimoji="0" lang="en-GB" sz="700" b="1" i="0" u="none" strike="noStrike" kern="1200" cap="none" spc="0" normalizeH="0" baseline="0" noProof="0">
                <a:ln>
                  <a:noFill/>
                </a:ln>
                <a:solidFill>
                  <a:prstClr val="black"/>
                </a:solidFill>
                <a:effectLst/>
                <a:uLnTx/>
                <a:uFillTx/>
                <a:latin typeface="Droid Sans" charset="0"/>
                <a:ea typeface="+mn-ea"/>
                <a:cs typeface="Droid Sans" charset="0"/>
                <a:sym typeface="Droid Sans" charset="0"/>
              </a:rPr>
              <a:t> de Ingeniería</a:t>
            </a:r>
          </a:p>
        </p:txBody>
      </p:sp>
      <p:sp>
        <p:nvSpPr>
          <p:cNvPr id="146" name="96 CuadroTexto">
            <a:extLst>
              <a:ext uri="{FF2B5EF4-FFF2-40B4-BE49-F238E27FC236}">
                <a16:creationId xmlns:a16="http://schemas.microsoft.com/office/drawing/2014/main" id="{59A0D28A-7A72-AB98-78D8-B17311E439BB}"/>
              </a:ext>
            </a:extLst>
          </p:cNvPr>
          <p:cNvSpPr txBox="1"/>
          <p:nvPr/>
        </p:nvSpPr>
        <p:spPr>
          <a:xfrm>
            <a:off x="5668642" y="5745034"/>
            <a:ext cx="1673614" cy="307777"/>
          </a:xfrm>
          <a:prstGeom prst="rect">
            <a:avLst/>
          </a:prstGeom>
          <a:noFill/>
        </p:spPr>
        <p:txBody>
          <a:bodyPr wrap="square" rtlCol="0">
            <a:spAutoFit/>
          </a:bodyPr>
          <a:lstStyle>
            <a:defPPr>
              <a:defRPr lang="es-ES_tradnl"/>
            </a:defPPr>
            <a:lvl1pPr algn="ctr" rtl="0" fontAlgn="base">
              <a:spcBef>
                <a:spcPct val="0"/>
              </a:spcBef>
              <a:spcAft>
                <a:spcPct val="0"/>
              </a:spcAft>
              <a:defRPr sz="1200" b="1" kern="1200">
                <a:solidFill>
                  <a:schemeClr val="tx1"/>
                </a:solidFill>
                <a:latin typeface="Arial" charset="0"/>
                <a:ea typeface="+mn-ea"/>
                <a:cs typeface="+mn-cs"/>
              </a:defRPr>
            </a:lvl1pPr>
            <a:lvl2pPr marL="457200" algn="ctr" rtl="0" fontAlgn="base">
              <a:spcBef>
                <a:spcPct val="0"/>
              </a:spcBef>
              <a:spcAft>
                <a:spcPct val="0"/>
              </a:spcAft>
              <a:defRPr sz="1200" b="1" kern="1200">
                <a:solidFill>
                  <a:schemeClr val="tx1"/>
                </a:solidFill>
                <a:latin typeface="Arial" charset="0"/>
                <a:ea typeface="+mn-ea"/>
                <a:cs typeface="+mn-cs"/>
              </a:defRPr>
            </a:lvl2pPr>
            <a:lvl3pPr marL="914400" algn="ctr" rtl="0" fontAlgn="base">
              <a:spcBef>
                <a:spcPct val="0"/>
              </a:spcBef>
              <a:spcAft>
                <a:spcPct val="0"/>
              </a:spcAft>
              <a:defRPr sz="1200" b="1" kern="1200">
                <a:solidFill>
                  <a:schemeClr val="tx1"/>
                </a:solidFill>
                <a:latin typeface="Arial" charset="0"/>
                <a:ea typeface="+mn-ea"/>
                <a:cs typeface="+mn-cs"/>
              </a:defRPr>
            </a:lvl3pPr>
            <a:lvl4pPr marL="1371600" algn="ctr" rtl="0" fontAlgn="base">
              <a:spcBef>
                <a:spcPct val="0"/>
              </a:spcBef>
              <a:spcAft>
                <a:spcPct val="0"/>
              </a:spcAft>
              <a:defRPr sz="1200" b="1" kern="1200">
                <a:solidFill>
                  <a:schemeClr val="tx1"/>
                </a:solidFill>
                <a:latin typeface="Arial" charset="0"/>
                <a:ea typeface="+mn-ea"/>
                <a:cs typeface="+mn-cs"/>
              </a:defRPr>
            </a:lvl4pPr>
            <a:lvl5pPr marL="1828800" algn="ctr" rtl="0" fontAlgn="base">
              <a:spcBef>
                <a:spcPct val="0"/>
              </a:spcBef>
              <a:spcAft>
                <a:spcPct val="0"/>
              </a:spcAft>
              <a:defRPr sz="1200" b="1" kern="1200">
                <a:solidFill>
                  <a:schemeClr val="tx1"/>
                </a:solidFill>
                <a:latin typeface="Arial" charset="0"/>
                <a:ea typeface="+mn-ea"/>
                <a:cs typeface="+mn-cs"/>
              </a:defRPr>
            </a:lvl5pPr>
            <a:lvl6pPr marL="2286000" algn="l" defTabSz="914400" rtl="0" eaLnBrk="1" latinLnBrk="0" hangingPunct="1">
              <a:defRPr sz="1200" b="1" kern="1200">
                <a:solidFill>
                  <a:schemeClr val="tx1"/>
                </a:solidFill>
                <a:latin typeface="Arial" charset="0"/>
                <a:ea typeface="+mn-ea"/>
                <a:cs typeface="+mn-cs"/>
              </a:defRPr>
            </a:lvl6pPr>
            <a:lvl7pPr marL="2743200" algn="l" defTabSz="914400" rtl="0" eaLnBrk="1" latinLnBrk="0" hangingPunct="1">
              <a:defRPr sz="1200" b="1" kern="1200">
                <a:solidFill>
                  <a:schemeClr val="tx1"/>
                </a:solidFill>
                <a:latin typeface="Arial" charset="0"/>
                <a:ea typeface="+mn-ea"/>
                <a:cs typeface="+mn-cs"/>
              </a:defRPr>
            </a:lvl7pPr>
            <a:lvl8pPr marL="3200400" algn="l" defTabSz="914400" rtl="0" eaLnBrk="1" latinLnBrk="0" hangingPunct="1">
              <a:defRPr sz="1200" b="1" kern="1200">
                <a:solidFill>
                  <a:schemeClr val="tx1"/>
                </a:solidFill>
                <a:latin typeface="Arial" charset="0"/>
                <a:ea typeface="+mn-ea"/>
                <a:cs typeface="+mn-cs"/>
              </a:defRPr>
            </a:lvl8pPr>
            <a:lvl9pPr marL="3657600" algn="l" defTabSz="914400" rtl="0" eaLnBrk="1" latinLnBrk="0" hangingPunct="1">
              <a:defRPr sz="1200" b="1"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00" b="1" i="0" u="none" strike="noStrike" kern="1200" cap="none" spc="0" normalizeH="0" baseline="0" noProof="0" err="1">
                <a:ln>
                  <a:noFill/>
                </a:ln>
                <a:solidFill>
                  <a:prstClr val="black"/>
                </a:solidFill>
                <a:effectLst/>
                <a:uLnTx/>
                <a:uFillTx/>
                <a:latin typeface="Droid Sans" charset="0"/>
                <a:ea typeface="+mn-ea"/>
                <a:cs typeface="Droid Sans" charset="0"/>
                <a:sym typeface="Droid Sans" charset="0"/>
              </a:rPr>
              <a:t>Presupuestación</a:t>
            </a:r>
            <a:r>
              <a:rPr kumimoji="0" lang="en-GB" sz="700" b="1" i="0" u="none" strike="noStrike" kern="1200" cap="none" spc="0" normalizeH="0" baseline="0" noProof="0">
                <a:ln>
                  <a:noFill/>
                </a:ln>
                <a:solidFill>
                  <a:prstClr val="black"/>
                </a:solidFill>
                <a:effectLst/>
                <a:uLnTx/>
                <a:uFillTx/>
                <a:latin typeface="Droid Sans" charset="0"/>
                <a:ea typeface="+mn-ea"/>
                <a:cs typeface="Droid Sans" charset="0"/>
                <a:sym typeface="Droid Sans" charset="0"/>
              </a:rPr>
              <a:t>, </a:t>
            </a:r>
            <a:r>
              <a:rPr kumimoji="0" lang="en-GB" sz="700" b="1" i="0" u="none" strike="noStrike" kern="1200" cap="none" spc="0" normalizeH="0" baseline="0" noProof="0" err="1">
                <a:ln>
                  <a:noFill/>
                </a:ln>
                <a:solidFill>
                  <a:prstClr val="black"/>
                </a:solidFill>
                <a:effectLst/>
                <a:uLnTx/>
                <a:uFillTx/>
                <a:latin typeface="Droid Sans" charset="0"/>
                <a:ea typeface="+mn-ea"/>
                <a:cs typeface="Droid Sans" charset="0"/>
                <a:sym typeface="Droid Sans" charset="0"/>
              </a:rPr>
              <a:t>consolidación</a:t>
            </a:r>
            <a:r>
              <a:rPr kumimoji="0" lang="en-GB" sz="700" b="1" i="0" u="none" strike="noStrike" kern="1200" cap="none" spc="0" normalizeH="0" baseline="0" noProof="0">
                <a:ln>
                  <a:noFill/>
                </a:ln>
                <a:solidFill>
                  <a:prstClr val="black"/>
                </a:solidFill>
                <a:effectLst/>
                <a:uLnTx/>
                <a:uFillTx/>
                <a:latin typeface="Droid Sans" charset="0"/>
                <a:ea typeface="+mn-ea"/>
                <a:cs typeface="Droid Sans" charset="0"/>
                <a:sym typeface="Droid Sans" charset="0"/>
              </a:rPr>
              <a:t> y </a:t>
            </a:r>
            <a:r>
              <a:rPr kumimoji="0" lang="en-GB" sz="700" b="1" i="0" u="none" strike="noStrike" kern="1200" cap="none" spc="0" normalizeH="0" baseline="0" noProof="0" err="1">
                <a:ln>
                  <a:noFill/>
                </a:ln>
                <a:solidFill>
                  <a:prstClr val="black"/>
                </a:solidFill>
                <a:effectLst/>
                <a:uLnTx/>
                <a:uFillTx/>
                <a:latin typeface="Droid Sans" charset="0"/>
                <a:ea typeface="+mn-ea"/>
                <a:cs typeface="Droid Sans" charset="0"/>
                <a:sym typeface="Droid Sans" charset="0"/>
              </a:rPr>
              <a:t>seguimiento</a:t>
            </a:r>
            <a:r>
              <a:rPr kumimoji="0" lang="en-GB" sz="700" b="1" i="0" u="none" strike="noStrike" kern="1200" cap="none" spc="0" normalizeH="0" baseline="0" noProof="0">
                <a:ln>
                  <a:noFill/>
                </a:ln>
                <a:solidFill>
                  <a:prstClr val="black"/>
                </a:solidFill>
                <a:effectLst/>
                <a:uLnTx/>
                <a:uFillTx/>
                <a:latin typeface="Droid Sans" charset="0"/>
                <a:ea typeface="+mn-ea"/>
                <a:cs typeface="Droid Sans" charset="0"/>
                <a:sym typeface="Droid Sans" charset="0"/>
              </a:rPr>
              <a:t> </a:t>
            </a:r>
            <a:r>
              <a:rPr kumimoji="0" lang="en-GB" sz="700" b="1" i="0" u="none" strike="noStrike" kern="1200" cap="none" spc="0" normalizeH="0" baseline="0" noProof="0" err="1">
                <a:ln>
                  <a:noFill/>
                </a:ln>
                <a:solidFill>
                  <a:prstClr val="black"/>
                </a:solidFill>
                <a:effectLst/>
                <a:uLnTx/>
                <a:uFillTx/>
                <a:latin typeface="Droid Sans" charset="0"/>
                <a:ea typeface="+mn-ea"/>
                <a:cs typeface="Droid Sans" charset="0"/>
                <a:sym typeface="Droid Sans" charset="0"/>
              </a:rPr>
              <a:t>presupuestario</a:t>
            </a:r>
            <a:endParaRPr kumimoji="0" lang="en-GB" sz="700" b="1" i="0" u="none" strike="noStrike" kern="1200" cap="none" spc="0" normalizeH="0" baseline="0" noProof="0">
              <a:ln>
                <a:noFill/>
              </a:ln>
              <a:solidFill>
                <a:prstClr val="black"/>
              </a:solidFill>
              <a:effectLst/>
              <a:uLnTx/>
              <a:uFillTx/>
              <a:latin typeface="Droid Sans" charset="0"/>
              <a:ea typeface="+mn-ea"/>
              <a:cs typeface="Droid Sans" charset="0"/>
              <a:sym typeface="Droid Sans" charset="0"/>
            </a:endParaRPr>
          </a:p>
        </p:txBody>
      </p:sp>
      <p:pic>
        <p:nvPicPr>
          <p:cNvPr id="147" name="Picture 2" descr="C:\Users\stratesys\Pictures\Work\Logos\ins_p_444082.png">
            <a:extLst>
              <a:ext uri="{FF2B5EF4-FFF2-40B4-BE49-F238E27FC236}">
                <a16:creationId xmlns:a16="http://schemas.microsoft.com/office/drawing/2014/main" id="{59D377B1-F29A-D0B3-573C-38B0028ED60F}"/>
              </a:ext>
            </a:extLst>
          </p:cNvPr>
          <p:cNvPicPr>
            <a:picLocks noChangeAspect="1" noChangeArrowheads="1"/>
          </p:cNvPicPr>
          <p:nvPr/>
        </p:nvPicPr>
        <p:blipFill>
          <a:blip r:embed="rId63" cstate="screen"/>
          <a:srcRect/>
          <a:stretch>
            <a:fillRect/>
          </a:stretch>
        </p:blipFill>
        <p:spPr bwMode="auto">
          <a:xfrm>
            <a:off x="3386955" y="4774221"/>
            <a:ext cx="442263" cy="241924"/>
          </a:xfrm>
          <a:prstGeom prst="rect">
            <a:avLst/>
          </a:prstGeom>
          <a:noFill/>
        </p:spPr>
      </p:pic>
      <p:sp>
        <p:nvSpPr>
          <p:cNvPr id="148" name="96 CuadroTexto">
            <a:extLst>
              <a:ext uri="{FF2B5EF4-FFF2-40B4-BE49-F238E27FC236}">
                <a16:creationId xmlns:a16="http://schemas.microsoft.com/office/drawing/2014/main" id="{F02594C4-9706-259B-8D12-15DC7D0C2E47}"/>
              </a:ext>
            </a:extLst>
          </p:cNvPr>
          <p:cNvSpPr txBox="1"/>
          <p:nvPr/>
        </p:nvSpPr>
        <p:spPr>
          <a:xfrm>
            <a:off x="3818277" y="4748527"/>
            <a:ext cx="1251524" cy="307777"/>
          </a:xfrm>
          <a:prstGeom prst="rect">
            <a:avLst/>
          </a:prstGeom>
          <a:noFill/>
        </p:spPr>
        <p:txBody>
          <a:bodyPr wrap="square" rtlCol="0">
            <a:spAutoFit/>
          </a:bodyPr>
          <a:lstStyle>
            <a:defPPr>
              <a:defRPr lang="es-ES_tradnl"/>
            </a:defPPr>
            <a:lvl1pPr algn="ctr" rtl="0" fontAlgn="base">
              <a:spcBef>
                <a:spcPct val="0"/>
              </a:spcBef>
              <a:spcAft>
                <a:spcPct val="0"/>
              </a:spcAft>
              <a:defRPr sz="1200" b="1" kern="1200">
                <a:solidFill>
                  <a:schemeClr val="tx1"/>
                </a:solidFill>
                <a:latin typeface="Arial" charset="0"/>
                <a:ea typeface="+mn-ea"/>
                <a:cs typeface="+mn-cs"/>
              </a:defRPr>
            </a:lvl1pPr>
            <a:lvl2pPr marL="457200" algn="ctr" rtl="0" fontAlgn="base">
              <a:spcBef>
                <a:spcPct val="0"/>
              </a:spcBef>
              <a:spcAft>
                <a:spcPct val="0"/>
              </a:spcAft>
              <a:defRPr sz="1200" b="1" kern="1200">
                <a:solidFill>
                  <a:schemeClr val="tx1"/>
                </a:solidFill>
                <a:latin typeface="Arial" charset="0"/>
                <a:ea typeface="+mn-ea"/>
                <a:cs typeface="+mn-cs"/>
              </a:defRPr>
            </a:lvl2pPr>
            <a:lvl3pPr marL="914400" algn="ctr" rtl="0" fontAlgn="base">
              <a:spcBef>
                <a:spcPct val="0"/>
              </a:spcBef>
              <a:spcAft>
                <a:spcPct val="0"/>
              </a:spcAft>
              <a:defRPr sz="1200" b="1" kern="1200">
                <a:solidFill>
                  <a:schemeClr val="tx1"/>
                </a:solidFill>
                <a:latin typeface="Arial" charset="0"/>
                <a:ea typeface="+mn-ea"/>
                <a:cs typeface="+mn-cs"/>
              </a:defRPr>
            </a:lvl3pPr>
            <a:lvl4pPr marL="1371600" algn="ctr" rtl="0" fontAlgn="base">
              <a:spcBef>
                <a:spcPct val="0"/>
              </a:spcBef>
              <a:spcAft>
                <a:spcPct val="0"/>
              </a:spcAft>
              <a:defRPr sz="1200" b="1" kern="1200">
                <a:solidFill>
                  <a:schemeClr val="tx1"/>
                </a:solidFill>
                <a:latin typeface="Arial" charset="0"/>
                <a:ea typeface="+mn-ea"/>
                <a:cs typeface="+mn-cs"/>
              </a:defRPr>
            </a:lvl4pPr>
            <a:lvl5pPr marL="1828800" algn="ctr" rtl="0" fontAlgn="base">
              <a:spcBef>
                <a:spcPct val="0"/>
              </a:spcBef>
              <a:spcAft>
                <a:spcPct val="0"/>
              </a:spcAft>
              <a:defRPr sz="1200" b="1" kern="1200">
                <a:solidFill>
                  <a:schemeClr val="tx1"/>
                </a:solidFill>
                <a:latin typeface="Arial" charset="0"/>
                <a:ea typeface="+mn-ea"/>
                <a:cs typeface="+mn-cs"/>
              </a:defRPr>
            </a:lvl5pPr>
            <a:lvl6pPr marL="2286000" algn="l" defTabSz="914400" rtl="0" eaLnBrk="1" latinLnBrk="0" hangingPunct="1">
              <a:defRPr sz="1200" b="1" kern="1200">
                <a:solidFill>
                  <a:schemeClr val="tx1"/>
                </a:solidFill>
                <a:latin typeface="Arial" charset="0"/>
                <a:ea typeface="+mn-ea"/>
                <a:cs typeface="+mn-cs"/>
              </a:defRPr>
            </a:lvl6pPr>
            <a:lvl7pPr marL="2743200" algn="l" defTabSz="914400" rtl="0" eaLnBrk="1" latinLnBrk="0" hangingPunct="1">
              <a:defRPr sz="1200" b="1" kern="1200">
                <a:solidFill>
                  <a:schemeClr val="tx1"/>
                </a:solidFill>
                <a:latin typeface="Arial" charset="0"/>
                <a:ea typeface="+mn-ea"/>
                <a:cs typeface="+mn-cs"/>
              </a:defRPr>
            </a:lvl7pPr>
            <a:lvl8pPr marL="3200400" algn="l" defTabSz="914400" rtl="0" eaLnBrk="1" latinLnBrk="0" hangingPunct="1">
              <a:defRPr sz="1200" b="1" kern="1200">
                <a:solidFill>
                  <a:schemeClr val="tx1"/>
                </a:solidFill>
                <a:latin typeface="Arial" charset="0"/>
                <a:ea typeface="+mn-ea"/>
                <a:cs typeface="+mn-cs"/>
              </a:defRPr>
            </a:lvl8pPr>
            <a:lvl9pPr marL="3657600" algn="l" defTabSz="914400" rtl="0" eaLnBrk="1" latinLnBrk="0" hangingPunct="1">
              <a:defRPr sz="1200" b="1"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00" b="1" i="0" u="none" strike="noStrike" kern="1200" cap="none" spc="0" normalizeH="0" baseline="0" noProof="0" err="1">
                <a:ln>
                  <a:noFill/>
                </a:ln>
                <a:solidFill>
                  <a:prstClr val="black"/>
                </a:solidFill>
                <a:effectLst/>
                <a:uLnTx/>
                <a:uFillTx/>
                <a:latin typeface="Droid Sans" charset="0"/>
                <a:ea typeface="+mn-ea"/>
                <a:cs typeface="Droid Sans" charset="0"/>
                <a:sym typeface="Droid Sans" charset="0"/>
              </a:rPr>
              <a:t>Evolutivos</a:t>
            </a:r>
            <a:r>
              <a:rPr kumimoji="0" lang="en-GB" sz="700" b="1" i="0" u="none" strike="noStrike" kern="1200" cap="none" spc="0" normalizeH="0" baseline="0" noProof="0">
                <a:ln>
                  <a:noFill/>
                </a:ln>
                <a:solidFill>
                  <a:prstClr val="black"/>
                </a:solidFill>
                <a:effectLst/>
                <a:uLnTx/>
                <a:uFillTx/>
                <a:latin typeface="Droid Sans" charset="0"/>
                <a:ea typeface="+mn-ea"/>
                <a:cs typeface="Droid Sans" charset="0"/>
                <a:sym typeface="Droid Sans" charset="0"/>
              </a:rPr>
              <a:t> y </a:t>
            </a:r>
            <a:r>
              <a:rPr kumimoji="0" lang="en-GB" sz="700" b="1" i="0" u="none" strike="noStrike" kern="1200" cap="none" spc="0" normalizeH="0" baseline="0" noProof="0" err="1">
                <a:ln>
                  <a:noFill/>
                </a:ln>
                <a:solidFill>
                  <a:prstClr val="black"/>
                </a:solidFill>
                <a:effectLst/>
                <a:uLnTx/>
                <a:uFillTx/>
                <a:latin typeface="Droid Sans" charset="0"/>
                <a:ea typeface="+mn-ea"/>
                <a:cs typeface="Droid Sans" charset="0"/>
                <a:sym typeface="Droid Sans" charset="0"/>
              </a:rPr>
              <a:t>soportes</a:t>
            </a:r>
            <a:r>
              <a:rPr kumimoji="0" lang="en-GB" sz="700" b="1" i="0" u="none" strike="noStrike" kern="1200" cap="none" spc="0" normalizeH="0" baseline="0" noProof="0">
                <a:ln>
                  <a:noFill/>
                </a:ln>
                <a:solidFill>
                  <a:prstClr val="black"/>
                </a:solidFill>
                <a:effectLst/>
                <a:uLnTx/>
                <a:uFillTx/>
                <a:latin typeface="Droid Sans" charset="0"/>
                <a:ea typeface="+mn-ea"/>
                <a:cs typeface="Droid Sans" charset="0"/>
                <a:sym typeface="Droid Sans" charset="0"/>
              </a:rPr>
              <a:t> </a:t>
            </a:r>
            <a:r>
              <a:rPr kumimoji="0" lang="en-GB" sz="700" b="1" i="0" u="none" strike="noStrike" kern="1200" cap="none" spc="0" normalizeH="0" baseline="0" noProof="0" err="1">
                <a:ln>
                  <a:noFill/>
                </a:ln>
                <a:solidFill>
                  <a:prstClr val="black"/>
                </a:solidFill>
                <a:effectLst/>
                <a:uLnTx/>
                <a:uFillTx/>
                <a:latin typeface="Droid Sans" charset="0"/>
                <a:ea typeface="+mn-ea"/>
                <a:cs typeface="Droid Sans" charset="0"/>
                <a:sym typeface="Droid Sans" charset="0"/>
              </a:rPr>
              <a:t>corporativos</a:t>
            </a:r>
            <a:endParaRPr kumimoji="0" lang="en-GB" sz="700" b="1" i="0" u="none" strike="noStrike" kern="1200" cap="none" spc="0" normalizeH="0" baseline="0" noProof="0">
              <a:ln>
                <a:noFill/>
              </a:ln>
              <a:solidFill>
                <a:prstClr val="black"/>
              </a:solidFill>
              <a:effectLst/>
              <a:uLnTx/>
              <a:uFillTx/>
              <a:latin typeface="Droid Sans" charset="0"/>
              <a:ea typeface="+mn-ea"/>
              <a:cs typeface="Droid Sans" charset="0"/>
              <a:sym typeface="Droid Sans" charset="0"/>
            </a:endParaRPr>
          </a:p>
        </p:txBody>
      </p:sp>
      <p:sp>
        <p:nvSpPr>
          <p:cNvPr id="149" name="96 CuadroTexto">
            <a:extLst>
              <a:ext uri="{FF2B5EF4-FFF2-40B4-BE49-F238E27FC236}">
                <a16:creationId xmlns:a16="http://schemas.microsoft.com/office/drawing/2014/main" id="{A236036E-94D5-BE05-9083-1EFF98B988DB}"/>
              </a:ext>
            </a:extLst>
          </p:cNvPr>
          <p:cNvSpPr txBox="1"/>
          <p:nvPr/>
        </p:nvSpPr>
        <p:spPr>
          <a:xfrm>
            <a:off x="3820394" y="5201822"/>
            <a:ext cx="1251524" cy="200055"/>
          </a:xfrm>
          <a:prstGeom prst="rect">
            <a:avLst/>
          </a:prstGeom>
          <a:noFill/>
        </p:spPr>
        <p:txBody>
          <a:bodyPr wrap="square" rtlCol="0">
            <a:spAutoFit/>
          </a:bodyPr>
          <a:lstStyle>
            <a:defPPr>
              <a:defRPr lang="es-ES_tradnl"/>
            </a:defPPr>
            <a:lvl1pPr algn="ctr" rtl="0" fontAlgn="base">
              <a:spcBef>
                <a:spcPct val="0"/>
              </a:spcBef>
              <a:spcAft>
                <a:spcPct val="0"/>
              </a:spcAft>
              <a:defRPr sz="1200" b="1" kern="1200">
                <a:solidFill>
                  <a:schemeClr val="tx1"/>
                </a:solidFill>
                <a:latin typeface="Arial" charset="0"/>
                <a:ea typeface="+mn-ea"/>
                <a:cs typeface="+mn-cs"/>
              </a:defRPr>
            </a:lvl1pPr>
            <a:lvl2pPr marL="457200" algn="ctr" rtl="0" fontAlgn="base">
              <a:spcBef>
                <a:spcPct val="0"/>
              </a:spcBef>
              <a:spcAft>
                <a:spcPct val="0"/>
              </a:spcAft>
              <a:defRPr sz="1200" b="1" kern="1200">
                <a:solidFill>
                  <a:schemeClr val="tx1"/>
                </a:solidFill>
                <a:latin typeface="Arial" charset="0"/>
                <a:ea typeface="+mn-ea"/>
                <a:cs typeface="+mn-cs"/>
              </a:defRPr>
            </a:lvl2pPr>
            <a:lvl3pPr marL="914400" algn="ctr" rtl="0" fontAlgn="base">
              <a:spcBef>
                <a:spcPct val="0"/>
              </a:spcBef>
              <a:spcAft>
                <a:spcPct val="0"/>
              </a:spcAft>
              <a:defRPr sz="1200" b="1" kern="1200">
                <a:solidFill>
                  <a:schemeClr val="tx1"/>
                </a:solidFill>
                <a:latin typeface="Arial" charset="0"/>
                <a:ea typeface="+mn-ea"/>
                <a:cs typeface="+mn-cs"/>
              </a:defRPr>
            </a:lvl3pPr>
            <a:lvl4pPr marL="1371600" algn="ctr" rtl="0" fontAlgn="base">
              <a:spcBef>
                <a:spcPct val="0"/>
              </a:spcBef>
              <a:spcAft>
                <a:spcPct val="0"/>
              </a:spcAft>
              <a:defRPr sz="1200" b="1" kern="1200">
                <a:solidFill>
                  <a:schemeClr val="tx1"/>
                </a:solidFill>
                <a:latin typeface="Arial" charset="0"/>
                <a:ea typeface="+mn-ea"/>
                <a:cs typeface="+mn-cs"/>
              </a:defRPr>
            </a:lvl4pPr>
            <a:lvl5pPr marL="1828800" algn="ctr" rtl="0" fontAlgn="base">
              <a:spcBef>
                <a:spcPct val="0"/>
              </a:spcBef>
              <a:spcAft>
                <a:spcPct val="0"/>
              </a:spcAft>
              <a:defRPr sz="1200" b="1" kern="1200">
                <a:solidFill>
                  <a:schemeClr val="tx1"/>
                </a:solidFill>
                <a:latin typeface="Arial" charset="0"/>
                <a:ea typeface="+mn-ea"/>
                <a:cs typeface="+mn-cs"/>
              </a:defRPr>
            </a:lvl5pPr>
            <a:lvl6pPr marL="2286000" algn="l" defTabSz="914400" rtl="0" eaLnBrk="1" latinLnBrk="0" hangingPunct="1">
              <a:defRPr sz="1200" b="1" kern="1200">
                <a:solidFill>
                  <a:schemeClr val="tx1"/>
                </a:solidFill>
                <a:latin typeface="Arial" charset="0"/>
                <a:ea typeface="+mn-ea"/>
                <a:cs typeface="+mn-cs"/>
              </a:defRPr>
            </a:lvl6pPr>
            <a:lvl7pPr marL="2743200" algn="l" defTabSz="914400" rtl="0" eaLnBrk="1" latinLnBrk="0" hangingPunct="1">
              <a:defRPr sz="1200" b="1" kern="1200">
                <a:solidFill>
                  <a:schemeClr val="tx1"/>
                </a:solidFill>
                <a:latin typeface="Arial" charset="0"/>
                <a:ea typeface="+mn-ea"/>
                <a:cs typeface="+mn-cs"/>
              </a:defRPr>
            </a:lvl7pPr>
            <a:lvl8pPr marL="3200400" algn="l" defTabSz="914400" rtl="0" eaLnBrk="1" latinLnBrk="0" hangingPunct="1">
              <a:defRPr sz="1200" b="1" kern="1200">
                <a:solidFill>
                  <a:schemeClr val="tx1"/>
                </a:solidFill>
                <a:latin typeface="Arial" charset="0"/>
                <a:ea typeface="+mn-ea"/>
                <a:cs typeface="+mn-cs"/>
              </a:defRPr>
            </a:lvl8pPr>
            <a:lvl9pPr marL="3657600" algn="l" defTabSz="914400" rtl="0" eaLnBrk="1" latinLnBrk="0" hangingPunct="1">
              <a:defRPr sz="1200" b="1"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00" b="1" i="0" u="none" strike="noStrike" kern="1200" cap="none" spc="0" normalizeH="0" baseline="0" noProof="0" err="1">
                <a:ln>
                  <a:noFill/>
                </a:ln>
                <a:solidFill>
                  <a:prstClr val="black"/>
                </a:solidFill>
                <a:effectLst/>
                <a:uLnTx/>
                <a:uFillTx/>
                <a:latin typeface="Droid Sans" charset="0"/>
                <a:ea typeface="+mn-ea"/>
                <a:cs typeface="Droid Sans" charset="0"/>
                <a:sym typeface="Droid Sans" charset="0"/>
              </a:rPr>
              <a:t>Soportes</a:t>
            </a:r>
            <a:r>
              <a:rPr kumimoji="0" lang="en-GB" sz="700" b="1" i="0" u="none" strike="noStrike" kern="1200" cap="none" spc="0" normalizeH="0" baseline="0" noProof="0">
                <a:ln>
                  <a:noFill/>
                </a:ln>
                <a:solidFill>
                  <a:prstClr val="black"/>
                </a:solidFill>
                <a:effectLst/>
                <a:uLnTx/>
                <a:uFillTx/>
                <a:latin typeface="Droid Sans" charset="0"/>
                <a:ea typeface="+mn-ea"/>
                <a:cs typeface="Droid Sans" charset="0"/>
                <a:sym typeface="Droid Sans" charset="0"/>
              </a:rPr>
              <a:t> y </a:t>
            </a:r>
            <a:r>
              <a:rPr kumimoji="0" lang="en-GB" sz="700" b="1" i="0" u="none" strike="noStrike" kern="1200" cap="none" spc="0" normalizeH="0" baseline="0" noProof="0" err="1">
                <a:ln>
                  <a:noFill/>
                </a:ln>
                <a:solidFill>
                  <a:prstClr val="black"/>
                </a:solidFill>
                <a:effectLst/>
                <a:uLnTx/>
                <a:uFillTx/>
                <a:latin typeface="Droid Sans" charset="0"/>
                <a:ea typeface="+mn-ea"/>
                <a:cs typeface="Droid Sans" charset="0"/>
                <a:sym typeface="Droid Sans" charset="0"/>
              </a:rPr>
              <a:t>evolutivos</a:t>
            </a:r>
            <a:endParaRPr kumimoji="0" lang="en-GB" sz="700" b="1" i="0" u="none" strike="noStrike" kern="1200" cap="none" spc="0" normalizeH="0" baseline="0" noProof="0">
              <a:ln>
                <a:noFill/>
              </a:ln>
              <a:solidFill>
                <a:prstClr val="black"/>
              </a:solidFill>
              <a:effectLst/>
              <a:uLnTx/>
              <a:uFillTx/>
              <a:latin typeface="Droid Sans" charset="0"/>
              <a:ea typeface="+mn-ea"/>
              <a:cs typeface="Droid Sans" charset="0"/>
              <a:sym typeface="Droid Sans" charset="0"/>
            </a:endParaRPr>
          </a:p>
        </p:txBody>
      </p:sp>
      <p:pic>
        <p:nvPicPr>
          <p:cNvPr id="150" name="Picture 2" descr="http://www.aguasdealbacete.com/IMG/01_TU-COMPANIA/1_8%20Agbar%20Agua_logotipo_AgbarAgua.jpg">
            <a:hlinkClick r:id="rId64"/>
            <a:extLst>
              <a:ext uri="{FF2B5EF4-FFF2-40B4-BE49-F238E27FC236}">
                <a16:creationId xmlns:a16="http://schemas.microsoft.com/office/drawing/2014/main" id="{C3515638-3B90-DA2E-04EF-4E91BF9B8F9D}"/>
              </a:ext>
            </a:extLst>
          </p:cNvPr>
          <p:cNvPicPr>
            <a:picLocks noChangeAspect="1" noChangeArrowheads="1"/>
          </p:cNvPicPr>
          <p:nvPr/>
        </p:nvPicPr>
        <p:blipFill>
          <a:blip r:embed="rId65" cstate="screen"/>
          <a:srcRect/>
          <a:stretch>
            <a:fillRect/>
          </a:stretch>
        </p:blipFill>
        <p:spPr bwMode="auto">
          <a:xfrm>
            <a:off x="5350989" y="6249886"/>
            <a:ext cx="350565" cy="138632"/>
          </a:xfrm>
          <a:prstGeom prst="rect">
            <a:avLst/>
          </a:prstGeom>
          <a:noFill/>
        </p:spPr>
      </p:pic>
      <p:pic>
        <p:nvPicPr>
          <p:cNvPr id="151" name="Picture 8" descr="TMB App (Metro Bus Barcelona) - Aplicaciones en Google Play">
            <a:extLst>
              <a:ext uri="{FF2B5EF4-FFF2-40B4-BE49-F238E27FC236}">
                <a16:creationId xmlns:a16="http://schemas.microsoft.com/office/drawing/2014/main" id="{CF9CFDC2-8CCA-AEC5-88EE-7E37277E20A6}"/>
              </a:ext>
            </a:extLst>
          </p:cNvPr>
          <p:cNvPicPr>
            <a:picLocks noChangeAspect="1" noChangeArrowheads="1"/>
          </p:cNvPicPr>
          <p:nvPr/>
        </p:nvPicPr>
        <p:blipFill>
          <a:blip r:embed="rId59" cstate="print">
            <a:extLst>
              <a:ext uri="{28A0092B-C50C-407E-A947-70E740481C1C}">
                <a14:useLocalDpi xmlns:a14="http://schemas.microsoft.com/office/drawing/2010/main" val="0"/>
              </a:ext>
            </a:extLst>
          </a:blip>
          <a:srcRect/>
          <a:stretch>
            <a:fillRect/>
          </a:stretch>
        </p:blipFill>
        <p:spPr bwMode="auto">
          <a:xfrm>
            <a:off x="1599711" y="5120240"/>
            <a:ext cx="349375" cy="349375"/>
          </a:xfrm>
          <a:prstGeom prst="rect">
            <a:avLst/>
          </a:prstGeom>
          <a:noFill/>
          <a:extLst>
            <a:ext uri="{909E8E84-426E-40DD-AFC4-6F175D3DCCD1}">
              <a14:hiddenFill xmlns:a14="http://schemas.microsoft.com/office/drawing/2010/main">
                <a:solidFill>
                  <a:srgbClr val="FFFFFF"/>
                </a:solidFill>
              </a14:hiddenFill>
            </a:ext>
          </a:extLst>
        </p:spPr>
      </p:pic>
      <p:pic>
        <p:nvPicPr>
          <p:cNvPr id="152" name="Picture 4">
            <a:extLst>
              <a:ext uri="{FF2B5EF4-FFF2-40B4-BE49-F238E27FC236}">
                <a16:creationId xmlns:a16="http://schemas.microsoft.com/office/drawing/2014/main" id="{B4F8AE06-AC3F-B573-0CF4-7392F0F4447E}"/>
              </a:ext>
            </a:extLst>
          </p:cNvPr>
          <p:cNvPicPr>
            <a:picLocks noChangeAspect="1" noChangeArrowheads="1"/>
          </p:cNvPicPr>
          <p:nvPr/>
        </p:nvPicPr>
        <p:blipFill rotWithShape="1">
          <a:blip r:embed="rId66">
            <a:extLst>
              <a:ext uri="{28A0092B-C50C-407E-A947-70E740481C1C}">
                <a14:useLocalDpi xmlns:a14="http://schemas.microsoft.com/office/drawing/2010/main" val="0"/>
              </a:ext>
            </a:extLst>
          </a:blip>
          <a:srcRect l="9166" r="9408"/>
          <a:stretch/>
        </p:blipFill>
        <p:spPr bwMode="auto">
          <a:xfrm>
            <a:off x="3361364" y="5195121"/>
            <a:ext cx="486731" cy="239961"/>
          </a:xfrm>
          <a:prstGeom prst="rect">
            <a:avLst/>
          </a:prstGeom>
          <a:noFill/>
          <a:extLst>
            <a:ext uri="{909E8E84-426E-40DD-AFC4-6F175D3DCCD1}">
              <a14:hiddenFill xmlns:a14="http://schemas.microsoft.com/office/drawing/2010/main">
                <a:solidFill>
                  <a:srgbClr val="FFFFFF"/>
                </a:solidFill>
              </a14:hiddenFill>
            </a:ext>
          </a:extLst>
        </p:spPr>
      </p:pic>
      <p:pic>
        <p:nvPicPr>
          <p:cNvPr id="153" name="Picture 6" descr="LOGO_GRUPO">
            <a:extLst>
              <a:ext uri="{FF2B5EF4-FFF2-40B4-BE49-F238E27FC236}">
                <a16:creationId xmlns:a16="http://schemas.microsoft.com/office/drawing/2014/main" id="{4B0133AF-1BEF-6A0D-7C98-EB9128AB27CF}"/>
              </a:ext>
            </a:extLst>
          </p:cNvPr>
          <p:cNvPicPr>
            <a:picLocks noChangeAspect="1" noChangeArrowheads="1"/>
          </p:cNvPicPr>
          <p:nvPr/>
        </p:nvPicPr>
        <p:blipFill>
          <a:blip r:embed="rId67" cstate="screen"/>
          <a:srcRect/>
          <a:stretch>
            <a:fillRect/>
          </a:stretch>
        </p:blipFill>
        <p:spPr bwMode="auto">
          <a:xfrm>
            <a:off x="1619248" y="4774959"/>
            <a:ext cx="310300" cy="249382"/>
          </a:xfrm>
          <a:prstGeom prst="rect">
            <a:avLst/>
          </a:prstGeom>
          <a:noFill/>
        </p:spPr>
      </p:pic>
      <p:pic>
        <p:nvPicPr>
          <p:cNvPr id="154" name="Picture 2" descr="C:\Users\stratesys\Pictures\Work\Logos\ins_p_444082.png">
            <a:extLst>
              <a:ext uri="{FF2B5EF4-FFF2-40B4-BE49-F238E27FC236}">
                <a16:creationId xmlns:a16="http://schemas.microsoft.com/office/drawing/2014/main" id="{A5482F00-91CA-B1C0-C395-A1DC123BC2EA}"/>
              </a:ext>
            </a:extLst>
          </p:cNvPr>
          <p:cNvPicPr>
            <a:picLocks noChangeAspect="1" noChangeArrowheads="1"/>
          </p:cNvPicPr>
          <p:nvPr/>
        </p:nvPicPr>
        <p:blipFill>
          <a:blip r:embed="rId63" cstate="screen"/>
          <a:srcRect/>
          <a:stretch>
            <a:fillRect/>
          </a:stretch>
        </p:blipFill>
        <p:spPr bwMode="auto">
          <a:xfrm>
            <a:off x="1585174" y="5781384"/>
            <a:ext cx="442263" cy="241924"/>
          </a:xfrm>
          <a:prstGeom prst="rect">
            <a:avLst/>
          </a:prstGeom>
          <a:noFill/>
        </p:spPr>
      </p:pic>
      <p:pic>
        <p:nvPicPr>
          <p:cNvPr id="155" name="Picture 6" descr="LOGO_GRUPO">
            <a:extLst>
              <a:ext uri="{FF2B5EF4-FFF2-40B4-BE49-F238E27FC236}">
                <a16:creationId xmlns:a16="http://schemas.microsoft.com/office/drawing/2014/main" id="{821A9007-A64E-D383-9703-31E7758225A4}"/>
              </a:ext>
            </a:extLst>
          </p:cNvPr>
          <p:cNvPicPr>
            <a:picLocks noChangeAspect="1" noChangeArrowheads="1"/>
          </p:cNvPicPr>
          <p:nvPr/>
        </p:nvPicPr>
        <p:blipFill>
          <a:blip r:embed="rId67" cstate="screen"/>
          <a:srcRect/>
          <a:stretch>
            <a:fillRect/>
          </a:stretch>
        </p:blipFill>
        <p:spPr bwMode="auto">
          <a:xfrm>
            <a:off x="5371101" y="5782122"/>
            <a:ext cx="310300" cy="249382"/>
          </a:xfrm>
          <a:prstGeom prst="rect">
            <a:avLst/>
          </a:prstGeom>
          <a:noFill/>
        </p:spPr>
      </p:pic>
      <p:sp>
        <p:nvSpPr>
          <p:cNvPr id="156" name="96 CuadroTexto">
            <a:extLst>
              <a:ext uri="{FF2B5EF4-FFF2-40B4-BE49-F238E27FC236}">
                <a16:creationId xmlns:a16="http://schemas.microsoft.com/office/drawing/2014/main" id="{D8A33518-3DC7-B54E-89D3-AC47BDDC9F76}"/>
              </a:ext>
            </a:extLst>
          </p:cNvPr>
          <p:cNvSpPr txBox="1"/>
          <p:nvPr/>
        </p:nvSpPr>
        <p:spPr>
          <a:xfrm>
            <a:off x="5668642" y="6155090"/>
            <a:ext cx="1543532" cy="307777"/>
          </a:xfrm>
          <a:prstGeom prst="rect">
            <a:avLst/>
          </a:prstGeom>
          <a:noFill/>
        </p:spPr>
        <p:txBody>
          <a:bodyPr wrap="square" rtlCol="0">
            <a:spAutoFit/>
          </a:bodyPr>
          <a:lstStyle>
            <a:defPPr>
              <a:defRPr lang="es-ES_tradnl"/>
            </a:defPPr>
            <a:lvl1pPr algn="ctr" rtl="0" fontAlgn="base">
              <a:spcBef>
                <a:spcPct val="0"/>
              </a:spcBef>
              <a:spcAft>
                <a:spcPct val="0"/>
              </a:spcAft>
              <a:defRPr sz="1200" b="1" kern="1200">
                <a:solidFill>
                  <a:schemeClr val="tx1"/>
                </a:solidFill>
                <a:latin typeface="Arial" charset="0"/>
                <a:ea typeface="+mn-ea"/>
                <a:cs typeface="+mn-cs"/>
              </a:defRPr>
            </a:lvl1pPr>
            <a:lvl2pPr marL="457200" algn="ctr" rtl="0" fontAlgn="base">
              <a:spcBef>
                <a:spcPct val="0"/>
              </a:spcBef>
              <a:spcAft>
                <a:spcPct val="0"/>
              </a:spcAft>
              <a:defRPr sz="1200" b="1" kern="1200">
                <a:solidFill>
                  <a:schemeClr val="tx1"/>
                </a:solidFill>
                <a:latin typeface="Arial" charset="0"/>
                <a:ea typeface="+mn-ea"/>
                <a:cs typeface="+mn-cs"/>
              </a:defRPr>
            </a:lvl2pPr>
            <a:lvl3pPr marL="914400" algn="ctr" rtl="0" fontAlgn="base">
              <a:spcBef>
                <a:spcPct val="0"/>
              </a:spcBef>
              <a:spcAft>
                <a:spcPct val="0"/>
              </a:spcAft>
              <a:defRPr sz="1200" b="1" kern="1200">
                <a:solidFill>
                  <a:schemeClr val="tx1"/>
                </a:solidFill>
                <a:latin typeface="Arial" charset="0"/>
                <a:ea typeface="+mn-ea"/>
                <a:cs typeface="+mn-cs"/>
              </a:defRPr>
            </a:lvl3pPr>
            <a:lvl4pPr marL="1371600" algn="ctr" rtl="0" fontAlgn="base">
              <a:spcBef>
                <a:spcPct val="0"/>
              </a:spcBef>
              <a:spcAft>
                <a:spcPct val="0"/>
              </a:spcAft>
              <a:defRPr sz="1200" b="1" kern="1200">
                <a:solidFill>
                  <a:schemeClr val="tx1"/>
                </a:solidFill>
                <a:latin typeface="Arial" charset="0"/>
                <a:ea typeface="+mn-ea"/>
                <a:cs typeface="+mn-cs"/>
              </a:defRPr>
            </a:lvl4pPr>
            <a:lvl5pPr marL="1828800" algn="ctr" rtl="0" fontAlgn="base">
              <a:spcBef>
                <a:spcPct val="0"/>
              </a:spcBef>
              <a:spcAft>
                <a:spcPct val="0"/>
              </a:spcAft>
              <a:defRPr sz="1200" b="1" kern="1200">
                <a:solidFill>
                  <a:schemeClr val="tx1"/>
                </a:solidFill>
                <a:latin typeface="Arial" charset="0"/>
                <a:ea typeface="+mn-ea"/>
                <a:cs typeface="+mn-cs"/>
              </a:defRPr>
            </a:lvl5pPr>
            <a:lvl6pPr marL="2286000" algn="l" defTabSz="914400" rtl="0" eaLnBrk="1" latinLnBrk="0" hangingPunct="1">
              <a:defRPr sz="1200" b="1" kern="1200">
                <a:solidFill>
                  <a:schemeClr val="tx1"/>
                </a:solidFill>
                <a:latin typeface="Arial" charset="0"/>
                <a:ea typeface="+mn-ea"/>
                <a:cs typeface="+mn-cs"/>
              </a:defRPr>
            </a:lvl6pPr>
            <a:lvl7pPr marL="2743200" algn="l" defTabSz="914400" rtl="0" eaLnBrk="1" latinLnBrk="0" hangingPunct="1">
              <a:defRPr sz="1200" b="1" kern="1200">
                <a:solidFill>
                  <a:schemeClr val="tx1"/>
                </a:solidFill>
                <a:latin typeface="Arial" charset="0"/>
                <a:ea typeface="+mn-ea"/>
                <a:cs typeface="+mn-cs"/>
              </a:defRPr>
            </a:lvl7pPr>
            <a:lvl8pPr marL="3200400" algn="l" defTabSz="914400" rtl="0" eaLnBrk="1" latinLnBrk="0" hangingPunct="1">
              <a:defRPr sz="1200" b="1" kern="1200">
                <a:solidFill>
                  <a:schemeClr val="tx1"/>
                </a:solidFill>
                <a:latin typeface="Arial" charset="0"/>
                <a:ea typeface="+mn-ea"/>
                <a:cs typeface="+mn-cs"/>
              </a:defRPr>
            </a:lvl8pPr>
            <a:lvl9pPr marL="3657600" algn="l" defTabSz="914400" rtl="0" eaLnBrk="1" latinLnBrk="0" hangingPunct="1">
              <a:defRPr sz="1200" b="1"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00" b="1" i="0" u="none" strike="noStrike" kern="1200" cap="none" spc="0" normalizeH="0" baseline="0" noProof="0" err="1">
                <a:ln>
                  <a:noFill/>
                </a:ln>
                <a:solidFill>
                  <a:prstClr val="black"/>
                </a:solidFill>
                <a:effectLst/>
                <a:uLnTx/>
                <a:uFillTx/>
                <a:latin typeface="Droid Sans" charset="0"/>
                <a:ea typeface="+mn-ea"/>
                <a:cs typeface="Droid Sans" charset="0"/>
                <a:sym typeface="Droid Sans" charset="0"/>
              </a:rPr>
              <a:t>Diseño</a:t>
            </a:r>
            <a:r>
              <a:rPr kumimoji="0" lang="en-GB" sz="700" b="1" i="0" u="none" strike="noStrike" kern="1200" cap="none" spc="0" normalizeH="0" baseline="0" noProof="0">
                <a:ln>
                  <a:noFill/>
                </a:ln>
                <a:solidFill>
                  <a:prstClr val="black"/>
                </a:solidFill>
                <a:effectLst/>
                <a:uLnTx/>
                <a:uFillTx/>
                <a:latin typeface="Droid Sans" charset="0"/>
                <a:ea typeface="+mn-ea"/>
                <a:cs typeface="Droid Sans" charset="0"/>
                <a:sym typeface="Droid Sans" charset="0"/>
              </a:rPr>
              <a:t> de Cuadro de Mando de RRHH (HCM DATAMART)</a:t>
            </a:r>
          </a:p>
        </p:txBody>
      </p:sp>
      <p:sp>
        <p:nvSpPr>
          <p:cNvPr id="157" name="CuadroTexto 156">
            <a:extLst>
              <a:ext uri="{FF2B5EF4-FFF2-40B4-BE49-F238E27FC236}">
                <a16:creationId xmlns:a16="http://schemas.microsoft.com/office/drawing/2014/main" id="{FD97DB1E-7B96-489A-F58D-D08F1F51C37D}"/>
              </a:ext>
            </a:extLst>
          </p:cNvPr>
          <p:cNvSpPr txBox="1"/>
          <p:nvPr/>
        </p:nvSpPr>
        <p:spPr>
          <a:xfrm>
            <a:off x="2018265" y="4744438"/>
            <a:ext cx="1332306" cy="307777"/>
          </a:xfrm>
          <a:prstGeom prst="rect">
            <a:avLst/>
          </a:prstGeom>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err="1">
                <a:ln>
                  <a:noFill/>
                </a:ln>
                <a:solidFill>
                  <a:prstClr val="black"/>
                </a:solidFill>
                <a:effectLst/>
                <a:uLnTx/>
                <a:uFillTx/>
                <a:latin typeface="Droid Sans"/>
                <a:ea typeface="Arial" charset="0"/>
                <a:cs typeface="Calibri" panose="020F0502020204030204" pitchFamily="34" charset="0"/>
                <a:sym typeface="Gill Sans" charset="0"/>
              </a:rPr>
              <a:t>Soporte</a:t>
            </a:r>
            <a:r>
              <a:rPr kumimoji="0" lang="en-GB" sz="700" b="1" i="0" u="none" strike="noStrike" kern="1200" cap="none" spc="0" normalizeH="0" baseline="0" noProof="0">
                <a:ln>
                  <a:noFill/>
                </a:ln>
                <a:solidFill>
                  <a:prstClr val="black"/>
                </a:solidFill>
                <a:effectLst/>
                <a:uLnTx/>
                <a:uFillTx/>
                <a:latin typeface="Droid Sans"/>
                <a:ea typeface="Arial" charset="0"/>
                <a:cs typeface="Calibri" panose="020F0502020204030204" pitchFamily="34" charset="0"/>
                <a:sym typeface="Gill Sans" charset="0"/>
              </a:rPr>
              <a:t> </a:t>
            </a:r>
            <a:r>
              <a:rPr kumimoji="0" lang="en-GB" sz="700" b="1" i="0" u="none" strike="noStrike" kern="1200" cap="none" spc="0" normalizeH="0" baseline="0" noProof="0" err="1">
                <a:ln>
                  <a:noFill/>
                </a:ln>
                <a:solidFill>
                  <a:prstClr val="black"/>
                </a:solidFill>
                <a:effectLst/>
                <a:uLnTx/>
                <a:uFillTx/>
                <a:latin typeface="Droid Sans"/>
                <a:ea typeface="Arial" charset="0"/>
                <a:cs typeface="Calibri" panose="020F0502020204030204" pitchFamily="34" charset="0"/>
                <a:sym typeface="Gill Sans" charset="0"/>
              </a:rPr>
              <a:t>en</a:t>
            </a:r>
            <a:r>
              <a:rPr kumimoji="0" lang="en-GB" sz="700" b="1" i="0" u="none" strike="noStrike" kern="1200" cap="none" spc="0" normalizeH="0" baseline="0" noProof="0">
                <a:ln>
                  <a:noFill/>
                </a:ln>
                <a:solidFill>
                  <a:prstClr val="black"/>
                </a:solidFill>
                <a:effectLst/>
                <a:uLnTx/>
                <a:uFillTx/>
                <a:latin typeface="Droid Sans"/>
                <a:ea typeface="Arial" charset="0"/>
                <a:cs typeface="Calibri" panose="020F0502020204030204" pitchFamily="34" charset="0"/>
                <a:sym typeface="Gill Sans" charset="0"/>
              </a:rPr>
              <a:t> </a:t>
            </a:r>
            <a:r>
              <a:rPr kumimoji="0" lang="en-GB" sz="700" b="1" i="0" u="none" strike="noStrike" kern="1200" cap="none" spc="0" normalizeH="0" baseline="0" noProof="0" err="1">
                <a:ln>
                  <a:noFill/>
                </a:ln>
                <a:solidFill>
                  <a:prstClr val="black"/>
                </a:solidFill>
                <a:effectLst/>
                <a:uLnTx/>
                <a:uFillTx/>
                <a:latin typeface="Droid Sans"/>
                <a:ea typeface="Arial" charset="0"/>
                <a:cs typeface="Calibri" panose="020F0502020204030204" pitchFamily="34" charset="0"/>
                <a:sym typeface="Gill Sans" charset="0"/>
              </a:rPr>
              <a:t>proceso</a:t>
            </a:r>
            <a:r>
              <a:rPr kumimoji="0" lang="en-GB" sz="700" b="1" i="0" u="none" strike="noStrike" kern="1200" cap="none" spc="0" normalizeH="0" baseline="0" noProof="0">
                <a:ln>
                  <a:noFill/>
                </a:ln>
                <a:solidFill>
                  <a:prstClr val="black"/>
                </a:solidFill>
                <a:effectLst/>
                <a:uLnTx/>
                <a:uFillTx/>
                <a:latin typeface="Droid Sans"/>
                <a:ea typeface="Arial" charset="0"/>
                <a:cs typeface="Calibri" panose="020F0502020204030204" pitchFamily="34" charset="0"/>
                <a:sym typeface="Gill Sans" charset="0"/>
              </a:rPr>
              <a:t> </a:t>
            </a:r>
            <a:r>
              <a:rPr kumimoji="0" lang="en-GB" sz="700" b="1" i="0" u="none" strike="noStrike" kern="1200" cap="none" spc="0" normalizeH="0" baseline="0" noProof="0" err="1">
                <a:ln>
                  <a:noFill/>
                </a:ln>
                <a:solidFill>
                  <a:prstClr val="black"/>
                </a:solidFill>
                <a:effectLst/>
                <a:uLnTx/>
                <a:uFillTx/>
                <a:latin typeface="Droid Sans"/>
                <a:ea typeface="Arial" charset="0"/>
                <a:cs typeface="Calibri" panose="020F0502020204030204" pitchFamily="34" charset="0"/>
                <a:sym typeface="Gill Sans" charset="0"/>
              </a:rPr>
              <a:t>presupuestario</a:t>
            </a:r>
            <a:r>
              <a:rPr kumimoji="0" lang="en-GB" sz="700" b="1" i="0" u="none" strike="noStrike" kern="1200" cap="none" spc="0" normalizeH="0" baseline="0" noProof="0">
                <a:ln>
                  <a:noFill/>
                </a:ln>
                <a:solidFill>
                  <a:prstClr val="black"/>
                </a:solidFill>
                <a:effectLst/>
                <a:uLnTx/>
                <a:uFillTx/>
                <a:latin typeface="Droid Sans"/>
                <a:ea typeface="Arial" charset="0"/>
                <a:cs typeface="Calibri" panose="020F0502020204030204" pitchFamily="34" charset="0"/>
                <a:sym typeface="Gill Sans" charset="0"/>
              </a:rPr>
              <a:t> </a:t>
            </a:r>
            <a:r>
              <a:rPr kumimoji="0" lang="en-GB" sz="700" b="1" i="0" u="none" strike="noStrike" kern="1200" cap="none" spc="0" normalizeH="0" baseline="0" noProof="0" err="1">
                <a:ln>
                  <a:noFill/>
                </a:ln>
                <a:solidFill>
                  <a:prstClr val="black"/>
                </a:solidFill>
                <a:effectLst/>
                <a:uLnTx/>
                <a:uFillTx/>
                <a:latin typeface="Droid Sans"/>
                <a:ea typeface="Arial" charset="0"/>
                <a:cs typeface="Calibri" panose="020F0502020204030204" pitchFamily="34" charset="0"/>
                <a:sym typeface="Gill Sans" charset="0"/>
              </a:rPr>
              <a:t>en</a:t>
            </a:r>
            <a:r>
              <a:rPr kumimoji="0" lang="en-GB" sz="700" b="1" i="0" u="none" strike="noStrike" kern="1200" cap="none" spc="0" normalizeH="0" baseline="0" noProof="0">
                <a:ln>
                  <a:noFill/>
                </a:ln>
                <a:solidFill>
                  <a:prstClr val="black"/>
                </a:solidFill>
                <a:effectLst/>
                <a:uLnTx/>
                <a:uFillTx/>
                <a:latin typeface="Droid Sans"/>
                <a:ea typeface="Arial" charset="0"/>
                <a:cs typeface="Calibri" panose="020F0502020204030204" pitchFamily="34" charset="0"/>
                <a:sym typeface="Gill Sans" charset="0"/>
              </a:rPr>
              <a:t> BW IP</a:t>
            </a:r>
          </a:p>
        </p:txBody>
      </p:sp>
      <p:sp>
        <p:nvSpPr>
          <p:cNvPr id="158" name="CuadroTexto 157">
            <a:extLst>
              <a:ext uri="{FF2B5EF4-FFF2-40B4-BE49-F238E27FC236}">
                <a16:creationId xmlns:a16="http://schemas.microsoft.com/office/drawing/2014/main" id="{16D3C0ED-463E-54A2-E742-DBABAD693495}"/>
              </a:ext>
            </a:extLst>
          </p:cNvPr>
          <p:cNvSpPr txBox="1"/>
          <p:nvPr/>
        </p:nvSpPr>
        <p:spPr>
          <a:xfrm>
            <a:off x="2018265" y="5139331"/>
            <a:ext cx="1168942" cy="307777"/>
          </a:xfrm>
          <a:prstGeom prst="rect">
            <a:avLst/>
          </a:prstGeom>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err="1">
                <a:ln>
                  <a:noFill/>
                </a:ln>
                <a:solidFill>
                  <a:prstClr val="black"/>
                </a:solidFill>
                <a:effectLst/>
                <a:uLnTx/>
                <a:uFillTx/>
                <a:latin typeface="Droid Sans"/>
                <a:ea typeface="Arial" charset="0"/>
                <a:cs typeface="Calibri" panose="020F0502020204030204" pitchFamily="34" charset="0"/>
                <a:sym typeface="Gill Sans" charset="0"/>
              </a:rPr>
              <a:t>Soporte</a:t>
            </a:r>
            <a:r>
              <a:rPr kumimoji="0" lang="en-GB" sz="700" b="1" i="0" u="none" strike="noStrike" kern="1200" cap="none" spc="0" normalizeH="0" baseline="0" noProof="0">
                <a:ln>
                  <a:noFill/>
                </a:ln>
                <a:solidFill>
                  <a:prstClr val="black"/>
                </a:solidFill>
                <a:effectLst/>
                <a:uLnTx/>
                <a:uFillTx/>
                <a:latin typeface="Droid Sans"/>
                <a:ea typeface="Arial" charset="0"/>
                <a:cs typeface="Calibri" panose="020F0502020204030204" pitchFamily="34" charset="0"/>
                <a:sym typeface="Gill Sans" charset="0"/>
              </a:rPr>
              <a:t> y </a:t>
            </a:r>
            <a:r>
              <a:rPr kumimoji="0" lang="en-GB" sz="700" b="1" i="0" u="none" strike="noStrike" kern="1200" cap="none" spc="0" normalizeH="0" baseline="0" noProof="0" err="1">
                <a:ln>
                  <a:noFill/>
                </a:ln>
                <a:solidFill>
                  <a:prstClr val="black"/>
                </a:solidFill>
                <a:effectLst/>
                <a:uLnTx/>
                <a:uFillTx/>
                <a:latin typeface="Droid Sans"/>
                <a:ea typeface="Arial" charset="0"/>
                <a:cs typeface="Calibri" panose="020F0502020204030204" pitchFamily="34" charset="0"/>
                <a:sym typeface="Gill Sans" charset="0"/>
              </a:rPr>
              <a:t>evolutivos</a:t>
            </a:r>
            <a:r>
              <a:rPr kumimoji="0" lang="en-GB" sz="700" b="1" i="0" u="none" strike="noStrike" kern="1200" cap="none" spc="0" normalizeH="0" baseline="0" noProof="0">
                <a:ln>
                  <a:noFill/>
                </a:ln>
                <a:solidFill>
                  <a:prstClr val="black"/>
                </a:solidFill>
                <a:effectLst/>
                <a:uLnTx/>
                <a:uFillTx/>
                <a:latin typeface="Droid Sans"/>
                <a:ea typeface="Arial" charset="0"/>
                <a:cs typeface="Calibri" panose="020F0502020204030204" pitchFamily="34" charset="0"/>
                <a:sym typeface="Gill Sans" charset="0"/>
              </a:rPr>
              <a:t> </a:t>
            </a:r>
            <a:r>
              <a:rPr kumimoji="0" lang="en-GB" sz="700" b="1" i="0" u="none" strike="noStrike" kern="1200" cap="none" spc="0" normalizeH="0" baseline="0" noProof="0" err="1">
                <a:ln>
                  <a:noFill/>
                </a:ln>
                <a:solidFill>
                  <a:prstClr val="black"/>
                </a:solidFill>
                <a:effectLst/>
                <a:uLnTx/>
                <a:uFillTx/>
                <a:latin typeface="Droid Sans"/>
                <a:ea typeface="Arial" charset="0"/>
                <a:cs typeface="Calibri" panose="020F0502020204030204" pitchFamily="34" charset="0"/>
                <a:sym typeface="Gill Sans" charset="0"/>
              </a:rPr>
              <a:t>corporativos</a:t>
            </a:r>
            <a:endParaRPr kumimoji="0" lang="en-GB" sz="700" b="1" i="0" u="none" strike="noStrike" kern="1200" cap="none" spc="0" normalizeH="0" baseline="0" noProof="0">
              <a:ln>
                <a:noFill/>
              </a:ln>
              <a:solidFill>
                <a:prstClr val="black"/>
              </a:solidFill>
              <a:effectLst/>
              <a:uLnTx/>
              <a:uFillTx/>
              <a:latin typeface="Droid Sans"/>
              <a:ea typeface="Arial" charset="0"/>
              <a:cs typeface="Calibri" panose="020F0502020204030204" pitchFamily="34" charset="0"/>
              <a:sym typeface="Gill Sans" charset="0"/>
            </a:endParaRPr>
          </a:p>
        </p:txBody>
      </p:sp>
      <p:sp>
        <p:nvSpPr>
          <p:cNvPr id="159" name="CuadroTexto 158">
            <a:extLst>
              <a:ext uri="{FF2B5EF4-FFF2-40B4-BE49-F238E27FC236}">
                <a16:creationId xmlns:a16="http://schemas.microsoft.com/office/drawing/2014/main" id="{6E3D6A6B-F059-78F1-CDAC-C17B8F1A6AB0}"/>
              </a:ext>
            </a:extLst>
          </p:cNvPr>
          <p:cNvSpPr txBox="1"/>
          <p:nvPr/>
        </p:nvSpPr>
        <p:spPr>
          <a:xfrm>
            <a:off x="3910907" y="3767920"/>
            <a:ext cx="1370372" cy="307777"/>
          </a:xfrm>
          <a:prstGeom prst="rect">
            <a:avLst/>
          </a:prstGeom>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a:ln>
                  <a:noFill/>
                </a:ln>
                <a:solidFill>
                  <a:prstClr val="black"/>
                </a:solidFill>
                <a:effectLst/>
                <a:uLnTx/>
                <a:uFillTx/>
                <a:latin typeface="Droid Sans"/>
                <a:ea typeface="+mn-ea"/>
                <a:cs typeface="Calibri" panose="020F0502020204030204" pitchFamily="34" charset="0"/>
                <a:sym typeface="Gill Sans" charset="0"/>
              </a:rPr>
              <a:t>Proyecto de </a:t>
            </a:r>
            <a:r>
              <a:rPr kumimoji="0" lang="en-GB" sz="700" b="1" i="0" u="none" strike="noStrike" kern="1200" cap="none" spc="0" normalizeH="0" baseline="0" noProof="0" err="1">
                <a:ln>
                  <a:noFill/>
                </a:ln>
                <a:solidFill>
                  <a:prstClr val="black"/>
                </a:solidFill>
                <a:effectLst/>
                <a:uLnTx/>
                <a:uFillTx/>
                <a:latin typeface="Droid Sans"/>
                <a:ea typeface="+mn-ea"/>
                <a:cs typeface="Calibri" panose="020F0502020204030204" pitchFamily="34" charset="0"/>
                <a:sym typeface="Gill Sans" charset="0"/>
              </a:rPr>
              <a:t>gestión</a:t>
            </a:r>
            <a:r>
              <a:rPr kumimoji="0" lang="en-GB" sz="700" b="1" i="0" u="none" strike="noStrike" kern="1200" cap="none" spc="0" normalizeH="0" baseline="0" noProof="0">
                <a:ln>
                  <a:noFill/>
                </a:ln>
                <a:solidFill>
                  <a:prstClr val="black"/>
                </a:solidFill>
                <a:effectLst/>
                <a:uLnTx/>
                <a:uFillTx/>
                <a:latin typeface="Droid Sans"/>
                <a:ea typeface="+mn-ea"/>
                <a:cs typeface="Calibri" panose="020F0502020204030204" pitchFamily="34" charset="0"/>
                <a:sym typeface="Gill Sans" charset="0"/>
              </a:rPr>
              <a:t> </a:t>
            </a:r>
            <a:r>
              <a:rPr kumimoji="0" lang="en-GB" sz="700" b="1" i="0" u="none" strike="noStrike" kern="1200" cap="none" spc="0" normalizeH="0" baseline="0" noProof="0" err="1">
                <a:ln>
                  <a:noFill/>
                </a:ln>
                <a:solidFill>
                  <a:prstClr val="black"/>
                </a:solidFill>
                <a:effectLst/>
                <a:uLnTx/>
                <a:uFillTx/>
                <a:latin typeface="Droid Sans"/>
                <a:ea typeface="+mn-ea"/>
                <a:cs typeface="Calibri" panose="020F0502020204030204" pitchFamily="34" charset="0"/>
                <a:sym typeface="Gill Sans" charset="0"/>
              </a:rPr>
              <a:t>financiera</a:t>
            </a:r>
            <a:r>
              <a:rPr kumimoji="0" lang="en-GB" sz="700" b="1" i="0" u="none" strike="noStrike" kern="1200" cap="none" spc="0" normalizeH="0" baseline="0" noProof="0">
                <a:ln>
                  <a:noFill/>
                </a:ln>
                <a:solidFill>
                  <a:prstClr val="black"/>
                </a:solidFill>
                <a:effectLst/>
                <a:uLnTx/>
                <a:uFillTx/>
                <a:latin typeface="Droid Sans"/>
                <a:ea typeface="+mn-ea"/>
                <a:cs typeface="Calibri" panose="020F0502020204030204" pitchFamily="34" charset="0"/>
                <a:sym typeface="Gill Sans" charset="0"/>
              </a:rPr>
              <a:t> </a:t>
            </a:r>
            <a:r>
              <a:rPr kumimoji="0" lang="en-GB" sz="700" b="1" i="0" u="none" strike="noStrike" kern="1200" cap="none" spc="0" normalizeH="0" baseline="0" noProof="0" err="1">
                <a:ln>
                  <a:noFill/>
                </a:ln>
                <a:solidFill>
                  <a:prstClr val="black"/>
                </a:solidFill>
                <a:effectLst/>
                <a:uLnTx/>
                <a:uFillTx/>
                <a:latin typeface="Droid Sans"/>
                <a:ea typeface="+mn-ea"/>
                <a:cs typeface="Calibri" panose="020F0502020204030204" pitchFamily="34" charset="0"/>
                <a:sym typeface="Gill Sans" charset="0"/>
              </a:rPr>
              <a:t>en</a:t>
            </a:r>
            <a:r>
              <a:rPr kumimoji="0" lang="en-GB" sz="700" b="1" i="0" u="none" strike="noStrike" kern="1200" cap="none" spc="0" normalizeH="0" baseline="0" noProof="0">
                <a:ln>
                  <a:noFill/>
                </a:ln>
                <a:solidFill>
                  <a:prstClr val="black"/>
                </a:solidFill>
                <a:effectLst/>
                <a:uLnTx/>
                <a:uFillTx/>
                <a:latin typeface="Droid Sans"/>
                <a:ea typeface="+mn-ea"/>
                <a:cs typeface="Calibri" panose="020F0502020204030204" pitchFamily="34" charset="0"/>
                <a:sym typeface="Gill Sans" charset="0"/>
              </a:rPr>
              <a:t> BW/4HANA 2.0 </a:t>
            </a:r>
          </a:p>
        </p:txBody>
      </p:sp>
      <p:pic>
        <p:nvPicPr>
          <p:cNvPr id="175" name="Picture 2" descr="Asisa: Teléfono gratuito, cuadro médico y opiniones clientes 2020">
            <a:extLst>
              <a:ext uri="{FF2B5EF4-FFF2-40B4-BE49-F238E27FC236}">
                <a16:creationId xmlns:a16="http://schemas.microsoft.com/office/drawing/2014/main" id="{5A275D27-F2F0-B3FC-EA76-BF56A1129420}"/>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130169" y="1312064"/>
            <a:ext cx="648000" cy="143264"/>
          </a:xfrm>
          <a:prstGeom prst="rect">
            <a:avLst/>
          </a:prstGeom>
          <a:noFill/>
          <a:extLst>
            <a:ext uri="{909E8E84-426E-40DD-AFC4-6F175D3DCCD1}">
              <a14:hiddenFill xmlns:a14="http://schemas.microsoft.com/office/drawing/2010/main">
                <a:solidFill>
                  <a:srgbClr val="FFFFFF"/>
                </a:solidFill>
              </a14:hiddenFill>
            </a:ext>
          </a:extLst>
        </p:spPr>
      </p:pic>
      <p:pic>
        <p:nvPicPr>
          <p:cNvPr id="176" name="Picture 11">
            <a:extLst>
              <a:ext uri="{FF2B5EF4-FFF2-40B4-BE49-F238E27FC236}">
                <a16:creationId xmlns:a16="http://schemas.microsoft.com/office/drawing/2014/main" id="{B3FC1427-F7A6-9E6F-8659-54ECC1EBF722}"/>
              </a:ext>
            </a:extLst>
          </p:cNvPr>
          <p:cNvPicPr>
            <a:picLocks noChangeAspect="1" noChangeArrowheads="1"/>
          </p:cNvPicPr>
          <p:nvPr/>
        </p:nvPicPr>
        <p:blipFill>
          <a:blip r:embed="rId60" cstate="screen"/>
          <a:srcRect l="2966"/>
          <a:stretch>
            <a:fillRect/>
          </a:stretch>
        </p:blipFill>
        <p:spPr bwMode="auto">
          <a:xfrm>
            <a:off x="5980004" y="1791006"/>
            <a:ext cx="265493" cy="126825"/>
          </a:xfrm>
          <a:prstGeom prst="rect">
            <a:avLst/>
          </a:prstGeom>
          <a:noFill/>
          <a:ln w="9525">
            <a:noFill/>
            <a:miter lim="800000"/>
            <a:headEnd/>
            <a:tailEnd/>
          </a:ln>
        </p:spPr>
      </p:pic>
      <p:pic>
        <p:nvPicPr>
          <p:cNvPr id="177" name="Picture 8" descr="Telefónica - Empresa - EL ESPAÑOL">
            <a:extLst>
              <a:ext uri="{FF2B5EF4-FFF2-40B4-BE49-F238E27FC236}">
                <a16:creationId xmlns:a16="http://schemas.microsoft.com/office/drawing/2014/main" id="{30998FCD-B32C-90D6-2482-7D7959C63786}"/>
              </a:ext>
            </a:extLst>
          </p:cNvPr>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7860673" y="1558442"/>
            <a:ext cx="529238" cy="133789"/>
          </a:xfrm>
          <a:prstGeom prst="rect">
            <a:avLst/>
          </a:prstGeom>
          <a:noFill/>
          <a:extLst>
            <a:ext uri="{909E8E84-426E-40DD-AFC4-6F175D3DCCD1}">
              <a14:hiddenFill xmlns:a14="http://schemas.microsoft.com/office/drawing/2010/main">
                <a:solidFill>
                  <a:srgbClr val="FFFFFF"/>
                </a:solidFill>
              </a14:hiddenFill>
            </a:ext>
          </a:extLst>
        </p:spPr>
      </p:pic>
      <p:pic>
        <p:nvPicPr>
          <p:cNvPr id="178" name="Picture 8">
            <a:extLst>
              <a:ext uri="{FF2B5EF4-FFF2-40B4-BE49-F238E27FC236}">
                <a16:creationId xmlns:a16="http://schemas.microsoft.com/office/drawing/2014/main" id="{483F99ED-8F20-9F6A-1143-D9DC1D6BBC34}"/>
              </a:ext>
            </a:extLst>
          </p:cNvPr>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8468505" y="1767393"/>
            <a:ext cx="466877" cy="175451"/>
          </a:xfrm>
          <a:prstGeom prst="rect">
            <a:avLst/>
          </a:prstGeom>
          <a:noFill/>
          <a:extLst>
            <a:ext uri="{909E8E84-426E-40DD-AFC4-6F175D3DCCD1}">
              <a14:hiddenFill xmlns:a14="http://schemas.microsoft.com/office/drawing/2010/main">
                <a:solidFill>
                  <a:srgbClr val="FFFFFF"/>
                </a:solidFill>
              </a14:hiddenFill>
            </a:ext>
          </a:extLst>
        </p:spPr>
      </p:pic>
      <p:pic>
        <p:nvPicPr>
          <p:cNvPr id="179" name="Picture 12">
            <a:extLst>
              <a:ext uri="{FF2B5EF4-FFF2-40B4-BE49-F238E27FC236}">
                <a16:creationId xmlns:a16="http://schemas.microsoft.com/office/drawing/2014/main" id="{803A2585-CD51-0F98-C4C3-C2046B9AFE8D}"/>
              </a:ext>
            </a:extLst>
          </p:cNvPr>
          <p:cNvPicPr>
            <a:picLocks noChangeAspect="1" noChangeArrowheads="1"/>
          </p:cNvPicPr>
          <p:nvPr/>
        </p:nvPicPr>
        <p:blipFill rotWithShape="1">
          <a:blip r:embed="rId54" cstate="print">
            <a:extLst>
              <a:ext uri="{28A0092B-C50C-407E-A947-70E740481C1C}">
                <a14:useLocalDpi xmlns:a14="http://schemas.microsoft.com/office/drawing/2010/main" val="0"/>
              </a:ext>
            </a:extLst>
          </a:blip>
          <a:srcRect l="4185" t="7075" r="-6634" b="-13383"/>
          <a:stretch/>
        </p:blipFill>
        <p:spPr bwMode="auto">
          <a:xfrm>
            <a:off x="6508137" y="1533402"/>
            <a:ext cx="443525" cy="182887"/>
          </a:xfrm>
          <a:prstGeom prst="rect">
            <a:avLst/>
          </a:prstGeom>
          <a:noFill/>
          <a:extLst>
            <a:ext uri="{909E8E84-426E-40DD-AFC4-6F175D3DCCD1}">
              <a14:hiddenFill xmlns:a14="http://schemas.microsoft.com/office/drawing/2010/main">
                <a:solidFill>
                  <a:srgbClr val="FFFFFF"/>
                </a:solidFill>
              </a14:hiddenFill>
            </a:ext>
          </a:extLst>
        </p:spPr>
      </p:pic>
      <p:pic>
        <p:nvPicPr>
          <p:cNvPr id="180" name="Picture 16" descr="Martiderm">
            <a:extLst>
              <a:ext uri="{FF2B5EF4-FFF2-40B4-BE49-F238E27FC236}">
                <a16:creationId xmlns:a16="http://schemas.microsoft.com/office/drawing/2014/main" id="{D2C1E760-3CED-DC2F-BC8D-70BF9ADA308B}"/>
              </a:ext>
            </a:extLst>
          </p:cNvPr>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8622337" y="2247596"/>
            <a:ext cx="185364" cy="133462"/>
          </a:xfrm>
          <a:prstGeom prst="rect">
            <a:avLst/>
          </a:prstGeom>
          <a:noFill/>
          <a:extLst>
            <a:ext uri="{909E8E84-426E-40DD-AFC4-6F175D3DCCD1}">
              <a14:hiddenFill xmlns:a14="http://schemas.microsoft.com/office/drawing/2010/main">
                <a:solidFill>
                  <a:srgbClr val="FFFFFF"/>
                </a:solidFill>
              </a14:hiddenFill>
            </a:ext>
          </a:extLst>
        </p:spPr>
      </p:pic>
      <p:pic>
        <p:nvPicPr>
          <p:cNvPr id="181" name="Picture 6" descr="GAM Soluciones | Siero">
            <a:extLst>
              <a:ext uri="{FF2B5EF4-FFF2-40B4-BE49-F238E27FC236}">
                <a16:creationId xmlns:a16="http://schemas.microsoft.com/office/drawing/2014/main" id="{1179969D-B582-9A29-EAA6-89CF2F005F7A}"/>
              </a:ext>
            </a:extLst>
          </p:cNvPr>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9171965" y="2014598"/>
            <a:ext cx="160911" cy="160911"/>
          </a:xfrm>
          <a:prstGeom prst="rect">
            <a:avLst/>
          </a:prstGeom>
          <a:noFill/>
          <a:extLst>
            <a:ext uri="{909E8E84-426E-40DD-AFC4-6F175D3DCCD1}">
              <a14:hiddenFill xmlns:a14="http://schemas.microsoft.com/office/drawing/2010/main">
                <a:solidFill>
                  <a:srgbClr val="FFFFFF"/>
                </a:solidFill>
              </a14:hiddenFill>
            </a:ext>
          </a:extLst>
        </p:spPr>
      </p:pic>
      <p:pic>
        <p:nvPicPr>
          <p:cNvPr id="182" name="Picture 6" descr="Inicio - Naturgy">
            <a:extLst>
              <a:ext uri="{FF2B5EF4-FFF2-40B4-BE49-F238E27FC236}">
                <a16:creationId xmlns:a16="http://schemas.microsoft.com/office/drawing/2014/main" id="{92B228D3-C569-9833-2097-DFE078C685A5}"/>
              </a:ext>
            </a:extLst>
          </p:cNvPr>
          <p:cNvPicPr>
            <a:picLocks noChangeAspect="1" noChangeArrowheads="1"/>
          </p:cNvPicPr>
          <p:nvPr/>
        </p:nvPicPr>
        <p:blipFill rotWithShape="1">
          <a:blip r:embed="rId52" cstate="print">
            <a:extLst>
              <a:ext uri="{28A0092B-C50C-407E-A947-70E740481C1C}">
                <a14:useLocalDpi xmlns:a14="http://schemas.microsoft.com/office/drawing/2010/main" val="0"/>
              </a:ext>
            </a:extLst>
          </a:blip>
          <a:srcRect l="11892" t="1" r="9911" b="12513"/>
          <a:stretch/>
        </p:blipFill>
        <p:spPr bwMode="auto">
          <a:xfrm>
            <a:off x="9708482" y="2346916"/>
            <a:ext cx="552739" cy="144737"/>
          </a:xfrm>
          <a:prstGeom prst="rect">
            <a:avLst/>
          </a:prstGeom>
          <a:noFill/>
          <a:extLst>
            <a:ext uri="{909E8E84-426E-40DD-AFC4-6F175D3DCCD1}">
              <a14:hiddenFill xmlns:a14="http://schemas.microsoft.com/office/drawing/2010/main">
                <a:solidFill>
                  <a:srgbClr val="FFFFFF"/>
                </a:solidFill>
              </a14:hiddenFill>
            </a:ext>
          </a:extLst>
        </p:spPr>
      </p:pic>
      <p:pic>
        <p:nvPicPr>
          <p:cNvPr id="183" name="Picture 2">
            <a:extLst>
              <a:ext uri="{FF2B5EF4-FFF2-40B4-BE49-F238E27FC236}">
                <a16:creationId xmlns:a16="http://schemas.microsoft.com/office/drawing/2014/main" id="{770CD315-CBE3-0182-2FEE-185E04E3474E}"/>
              </a:ext>
            </a:extLst>
          </p:cNvPr>
          <p:cNvPicPr>
            <a:picLocks noChangeAspect="1" noChangeArrowheads="1"/>
          </p:cNvPicPr>
          <p:nvPr/>
        </p:nvPicPr>
        <p:blipFill rotWithShape="1">
          <a:blip r:embed="rId55" cstate="print">
            <a:extLst>
              <a:ext uri="{28A0092B-C50C-407E-A947-70E740481C1C}">
                <a14:useLocalDpi xmlns:a14="http://schemas.microsoft.com/office/drawing/2010/main" val="0"/>
              </a:ext>
            </a:extLst>
          </a:blip>
          <a:srcRect l="11710" t="15729" r="13723" b="13723"/>
          <a:stretch/>
        </p:blipFill>
        <p:spPr bwMode="auto">
          <a:xfrm>
            <a:off x="9823436" y="1987979"/>
            <a:ext cx="218976" cy="207172"/>
          </a:xfrm>
          <a:prstGeom prst="rect">
            <a:avLst/>
          </a:prstGeom>
          <a:noFill/>
          <a:extLst>
            <a:ext uri="{909E8E84-426E-40DD-AFC4-6F175D3DCCD1}">
              <a14:hiddenFill xmlns:a14="http://schemas.microsoft.com/office/drawing/2010/main">
                <a:solidFill>
                  <a:srgbClr val="FFFFFF"/>
                </a:solidFill>
              </a14:hiddenFill>
            </a:ext>
          </a:extLst>
        </p:spPr>
      </p:pic>
      <p:grpSp>
        <p:nvGrpSpPr>
          <p:cNvPr id="184" name="Grupo 183">
            <a:extLst>
              <a:ext uri="{FF2B5EF4-FFF2-40B4-BE49-F238E27FC236}">
                <a16:creationId xmlns:a16="http://schemas.microsoft.com/office/drawing/2014/main" id="{4383CA9A-1909-4B75-77DF-EE608597EA74}"/>
              </a:ext>
            </a:extLst>
          </p:cNvPr>
          <p:cNvGrpSpPr/>
          <p:nvPr/>
        </p:nvGrpSpPr>
        <p:grpSpPr>
          <a:xfrm>
            <a:off x="9741776" y="1321689"/>
            <a:ext cx="500200" cy="129500"/>
            <a:chOff x="3410189" y="2250572"/>
            <a:chExt cx="500200" cy="129500"/>
          </a:xfrm>
        </p:grpSpPr>
        <p:pic>
          <p:nvPicPr>
            <p:cNvPr id="185" name="Picture 6">
              <a:extLst>
                <a:ext uri="{FF2B5EF4-FFF2-40B4-BE49-F238E27FC236}">
                  <a16:creationId xmlns:a16="http://schemas.microsoft.com/office/drawing/2014/main" id="{3DF71B46-D577-A8B1-16D3-876C917CC5A5}"/>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5297" r="1811" b="2439"/>
            <a:stretch/>
          </p:blipFill>
          <p:spPr bwMode="auto">
            <a:xfrm>
              <a:off x="3526122" y="2259178"/>
              <a:ext cx="384267" cy="110323"/>
            </a:xfrm>
            <a:prstGeom prst="rect">
              <a:avLst/>
            </a:prstGeom>
            <a:noFill/>
            <a:extLst>
              <a:ext uri="{909E8E84-426E-40DD-AFC4-6F175D3DCCD1}">
                <a14:hiddenFill xmlns:a14="http://schemas.microsoft.com/office/drawing/2010/main">
                  <a:solidFill>
                    <a:srgbClr val="FFFFFF"/>
                  </a:solidFill>
                </a14:hiddenFill>
              </a:ext>
            </a:extLst>
          </p:spPr>
        </p:pic>
        <p:pic>
          <p:nvPicPr>
            <p:cNvPr id="186" name="Picture 6">
              <a:extLst>
                <a:ext uri="{FF2B5EF4-FFF2-40B4-BE49-F238E27FC236}">
                  <a16:creationId xmlns:a16="http://schemas.microsoft.com/office/drawing/2014/main" id="{BE52A632-8C47-64B5-240F-63BE0FE50A99}"/>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26482" b="30200"/>
            <a:stretch/>
          </p:blipFill>
          <p:spPr bwMode="auto">
            <a:xfrm>
              <a:off x="3410189" y="2250572"/>
              <a:ext cx="156110" cy="129500"/>
            </a:xfrm>
            <a:prstGeom prst="rect">
              <a:avLst/>
            </a:prstGeom>
            <a:noFill/>
            <a:extLst>
              <a:ext uri="{909E8E84-426E-40DD-AFC4-6F175D3DCCD1}">
                <a14:hiddenFill xmlns:a14="http://schemas.microsoft.com/office/drawing/2010/main">
                  <a:solidFill>
                    <a:srgbClr val="FFFFFF"/>
                  </a:solidFill>
                </a14:hiddenFill>
              </a:ext>
            </a:extLst>
          </p:spPr>
        </p:pic>
      </p:grpSp>
      <p:pic>
        <p:nvPicPr>
          <p:cNvPr id="187" name="Picture 8" descr="Codestone is an SAP &amp; Cloud IT Services Company">
            <a:extLst>
              <a:ext uri="{FF2B5EF4-FFF2-40B4-BE49-F238E27FC236}">
                <a16:creationId xmlns:a16="http://schemas.microsoft.com/office/drawing/2014/main" id="{A363E887-BFFF-77A4-0EF5-CD1123B07229}"/>
              </a:ext>
            </a:extLst>
          </p:cNvPr>
          <p:cNvPicPr>
            <a:picLocks noChangeAspect="1" noChangeArrowheads="1"/>
          </p:cNvPicPr>
          <p:nvPr/>
        </p:nvPicPr>
        <p:blipFill>
          <a:blip r:embed="rId68">
            <a:extLst>
              <a:ext uri="{28A0092B-C50C-407E-A947-70E740481C1C}">
                <a14:useLocalDpi xmlns:a14="http://schemas.microsoft.com/office/drawing/2010/main" val="0"/>
              </a:ext>
            </a:extLst>
          </a:blip>
          <a:srcRect/>
          <a:stretch>
            <a:fillRect/>
          </a:stretch>
        </p:blipFill>
        <p:spPr bwMode="auto">
          <a:xfrm>
            <a:off x="259693" y="1477025"/>
            <a:ext cx="1090678" cy="464119"/>
          </a:xfrm>
          <a:prstGeom prst="rect">
            <a:avLst/>
          </a:prstGeom>
          <a:noFill/>
          <a:extLst>
            <a:ext uri="{909E8E84-426E-40DD-AFC4-6F175D3DCCD1}">
              <a14:hiddenFill xmlns:a14="http://schemas.microsoft.com/office/drawing/2010/main">
                <a:solidFill>
                  <a:srgbClr val="FFFFFF"/>
                </a:solidFill>
              </a14:hiddenFill>
            </a:ext>
          </a:extLst>
        </p:spPr>
      </p:pic>
      <p:pic>
        <p:nvPicPr>
          <p:cNvPr id="190" name="Picture 2" descr="SAP Business Intelligence Suite">
            <a:extLst>
              <a:ext uri="{FF2B5EF4-FFF2-40B4-BE49-F238E27FC236}">
                <a16:creationId xmlns:a16="http://schemas.microsoft.com/office/drawing/2014/main" id="{CF24F41B-43BD-A659-FA1A-34B969C5D6AF}"/>
              </a:ext>
            </a:extLst>
          </p:cNvPr>
          <p:cNvPicPr>
            <a:picLocks noChangeAspect="1" noChangeArrowheads="1"/>
          </p:cNvPicPr>
          <p:nvPr/>
        </p:nvPicPr>
        <p:blipFill rotWithShape="1">
          <a:blip r:embed="rId69">
            <a:extLst>
              <a:ext uri="{28A0092B-C50C-407E-A947-70E740481C1C}">
                <a14:useLocalDpi xmlns:a14="http://schemas.microsoft.com/office/drawing/2010/main" val="0"/>
              </a:ext>
            </a:extLst>
          </a:blip>
          <a:srcRect t="27111" b="31043"/>
          <a:stretch/>
        </p:blipFill>
        <p:spPr bwMode="auto">
          <a:xfrm>
            <a:off x="199220" y="3965244"/>
            <a:ext cx="1175706" cy="273331"/>
          </a:xfrm>
          <a:prstGeom prst="rect">
            <a:avLst/>
          </a:prstGeom>
          <a:noFill/>
          <a:extLst>
            <a:ext uri="{909E8E84-426E-40DD-AFC4-6F175D3DCCD1}">
              <a14:hiddenFill xmlns:a14="http://schemas.microsoft.com/office/drawing/2010/main">
                <a:solidFill>
                  <a:srgbClr val="FFFFFF"/>
                </a:solidFill>
              </a14:hiddenFill>
            </a:ext>
          </a:extLst>
        </p:spPr>
      </p:pic>
      <p:pic>
        <p:nvPicPr>
          <p:cNvPr id="193" name="Picture 14" descr="Sap Business Objects Icon, HD Png Download - kindpng">
            <a:extLst>
              <a:ext uri="{FF2B5EF4-FFF2-40B4-BE49-F238E27FC236}">
                <a16:creationId xmlns:a16="http://schemas.microsoft.com/office/drawing/2014/main" id="{A8D38592-589A-E65F-25B6-7C900C49DC8B}"/>
              </a:ext>
            </a:extLst>
          </p:cNvPr>
          <p:cNvPicPr>
            <a:picLocks noChangeAspect="1" noChangeArrowheads="1"/>
          </p:cNvPicPr>
          <p:nvPr/>
        </p:nvPicPr>
        <p:blipFill>
          <a:blip r:embed="rId70">
            <a:clrChange>
              <a:clrFrom>
                <a:srgbClr val="F7F7F7"/>
              </a:clrFrom>
              <a:clrTo>
                <a:srgbClr val="F7F7F7">
                  <a:alpha val="0"/>
                </a:srgbClr>
              </a:clrTo>
            </a:clrChange>
            <a:extLst>
              <a:ext uri="{28A0092B-C50C-407E-A947-70E740481C1C}">
                <a14:useLocalDpi xmlns:a14="http://schemas.microsoft.com/office/drawing/2010/main" val="0"/>
              </a:ext>
            </a:extLst>
          </a:blip>
          <a:srcRect/>
          <a:stretch>
            <a:fillRect/>
          </a:stretch>
        </p:blipFill>
        <p:spPr bwMode="auto">
          <a:xfrm>
            <a:off x="384593" y="5870824"/>
            <a:ext cx="942780" cy="366246"/>
          </a:xfrm>
          <a:prstGeom prst="rect">
            <a:avLst/>
          </a:prstGeom>
          <a:noFill/>
          <a:extLst>
            <a:ext uri="{909E8E84-426E-40DD-AFC4-6F175D3DCCD1}">
              <a14:hiddenFill xmlns:a14="http://schemas.microsoft.com/office/drawing/2010/main">
                <a:solidFill>
                  <a:srgbClr val="FFFFFF"/>
                </a:solidFill>
              </a14:hiddenFill>
            </a:ext>
          </a:extLst>
        </p:spPr>
      </p:pic>
      <p:pic>
        <p:nvPicPr>
          <p:cNvPr id="194" name="Picture 2" descr="Qué es SAP BW - SAP business warehouse">
            <a:extLst>
              <a:ext uri="{FF2B5EF4-FFF2-40B4-BE49-F238E27FC236}">
                <a16:creationId xmlns:a16="http://schemas.microsoft.com/office/drawing/2014/main" id="{6B673B0F-AC90-D775-A487-A4E3C561FB12}"/>
              </a:ext>
            </a:extLst>
          </p:cNvPr>
          <p:cNvPicPr>
            <a:picLocks noChangeAspect="1" noChangeArrowheads="1"/>
          </p:cNvPicPr>
          <p:nvPr/>
        </p:nvPicPr>
        <p:blipFill>
          <a:blip r:embed="rId71">
            <a:extLst>
              <a:ext uri="{28A0092B-C50C-407E-A947-70E740481C1C}">
                <a14:useLocalDpi xmlns:a14="http://schemas.microsoft.com/office/drawing/2010/main" val="0"/>
              </a:ext>
            </a:extLst>
          </a:blip>
          <a:srcRect/>
          <a:stretch>
            <a:fillRect/>
          </a:stretch>
        </p:blipFill>
        <p:spPr bwMode="auto">
          <a:xfrm>
            <a:off x="261032" y="4626945"/>
            <a:ext cx="988317" cy="902447"/>
          </a:xfrm>
          <a:prstGeom prst="rect">
            <a:avLst/>
          </a:prstGeom>
          <a:noFill/>
          <a:extLst>
            <a:ext uri="{909E8E84-426E-40DD-AFC4-6F175D3DCCD1}">
              <a14:hiddenFill xmlns:a14="http://schemas.microsoft.com/office/drawing/2010/main">
                <a:solidFill>
                  <a:srgbClr val="FFFFFF"/>
                </a:solidFill>
              </a14:hiddenFill>
            </a:ext>
          </a:extLst>
        </p:spPr>
      </p:pic>
      <p:sp>
        <p:nvSpPr>
          <p:cNvPr id="45" name="CuadroTexto 44">
            <a:extLst>
              <a:ext uri="{FF2B5EF4-FFF2-40B4-BE49-F238E27FC236}">
                <a16:creationId xmlns:a16="http://schemas.microsoft.com/office/drawing/2014/main" id="{0D2DCF20-C487-B879-544E-66D5F5BB504F}"/>
              </a:ext>
            </a:extLst>
          </p:cNvPr>
          <p:cNvSpPr txBox="1"/>
          <p:nvPr/>
        </p:nvSpPr>
        <p:spPr>
          <a:xfrm>
            <a:off x="473296" y="1850210"/>
            <a:ext cx="1278401" cy="200055"/>
          </a:xfrm>
          <a:prstGeom prst="rect">
            <a:avLst/>
          </a:prstGeom>
        </p:spPr>
        <p:txBody>
          <a:bodyPr wrap="square" lIns="0" rIns="0" rtlCol="0">
            <a:spAutoFit/>
          </a:bodyPr>
          <a:lstStyle/>
          <a:p>
            <a:pPr marL="0" marR="0" lvl="0" indent="0" algn="l" defTabSz="914400" rtl="0" eaLnBrk="1" fontAlgn="base" latinLnBrk="0" hangingPunct="1">
              <a:lnSpc>
                <a:spcPct val="100000"/>
              </a:lnSpc>
              <a:spcBef>
                <a:spcPct val="0"/>
              </a:spcBef>
              <a:spcAft>
                <a:spcPct val="0"/>
              </a:spcAft>
              <a:buClr>
                <a:srgbClr val="505150"/>
              </a:buClr>
              <a:buSzPct val="88000"/>
              <a:buFontTx/>
              <a:buNone/>
              <a:tabLst/>
              <a:defRPr/>
            </a:pPr>
            <a:r>
              <a:rPr kumimoji="0" lang="en-GB" sz="700" b="1" i="0" u="none" strike="noStrike" kern="1200" cap="none" spc="0" normalizeH="0" baseline="0" noProof="0">
                <a:ln>
                  <a:noFill/>
                </a:ln>
                <a:solidFill>
                  <a:srgbClr val="E7E6E6">
                    <a:lumMod val="25000"/>
                  </a:srgbClr>
                </a:solidFill>
                <a:effectLst/>
                <a:uLnTx/>
                <a:uFillTx/>
                <a:latin typeface="Droid Sans"/>
                <a:ea typeface="+mn-ea"/>
                <a:cs typeface="Droid Sans" charset="0"/>
                <a:sym typeface="Droid Sans" charset="0"/>
              </a:rPr>
              <a:t>+70 references</a:t>
            </a:r>
          </a:p>
        </p:txBody>
      </p:sp>
      <p:sp>
        <p:nvSpPr>
          <p:cNvPr id="46" name="CuadroTexto 45">
            <a:extLst>
              <a:ext uri="{FF2B5EF4-FFF2-40B4-BE49-F238E27FC236}">
                <a16:creationId xmlns:a16="http://schemas.microsoft.com/office/drawing/2014/main" id="{2B45D1E3-78D5-AE26-EA14-4DF50930AE5A}"/>
              </a:ext>
            </a:extLst>
          </p:cNvPr>
          <p:cNvSpPr txBox="1"/>
          <p:nvPr/>
        </p:nvSpPr>
        <p:spPr>
          <a:xfrm>
            <a:off x="405475" y="5301849"/>
            <a:ext cx="1278401" cy="200055"/>
          </a:xfrm>
          <a:prstGeom prst="rect">
            <a:avLst/>
          </a:prstGeom>
        </p:spPr>
        <p:txBody>
          <a:bodyPr wrap="square" lIns="0" rIns="0" rtlCol="0">
            <a:spAutoFit/>
          </a:bodyPr>
          <a:lstStyle/>
          <a:p>
            <a:pPr marL="0" marR="0" lvl="0" indent="0" algn="l" defTabSz="914400" rtl="0" eaLnBrk="1" fontAlgn="base" latinLnBrk="0" hangingPunct="1">
              <a:lnSpc>
                <a:spcPct val="100000"/>
              </a:lnSpc>
              <a:spcBef>
                <a:spcPct val="0"/>
              </a:spcBef>
              <a:spcAft>
                <a:spcPct val="0"/>
              </a:spcAft>
              <a:buClr>
                <a:srgbClr val="505150"/>
              </a:buClr>
              <a:buSzPct val="88000"/>
              <a:buFontTx/>
              <a:buNone/>
              <a:tabLst/>
              <a:defRPr/>
            </a:pPr>
            <a:r>
              <a:rPr kumimoji="0" lang="en-GB" sz="700" b="1" i="0" u="none" strike="noStrike" kern="1200" cap="none" spc="0" normalizeH="0" baseline="0" noProof="0">
                <a:ln>
                  <a:noFill/>
                </a:ln>
                <a:solidFill>
                  <a:srgbClr val="E7E6E6">
                    <a:lumMod val="25000"/>
                  </a:srgbClr>
                </a:solidFill>
                <a:effectLst/>
                <a:uLnTx/>
                <a:uFillTx/>
                <a:latin typeface="Droid Sans"/>
                <a:ea typeface="+mn-ea"/>
                <a:cs typeface="Droid Sans" charset="0"/>
                <a:sym typeface="Droid Sans" charset="0"/>
              </a:rPr>
              <a:t>+150 references</a:t>
            </a:r>
          </a:p>
        </p:txBody>
      </p:sp>
      <p:sp>
        <p:nvSpPr>
          <p:cNvPr id="48" name="CuadroTexto 47">
            <a:extLst>
              <a:ext uri="{FF2B5EF4-FFF2-40B4-BE49-F238E27FC236}">
                <a16:creationId xmlns:a16="http://schemas.microsoft.com/office/drawing/2014/main" id="{594F535C-CB10-AB11-9A76-8B4409F45CC2}"/>
              </a:ext>
            </a:extLst>
          </p:cNvPr>
          <p:cNvSpPr txBox="1"/>
          <p:nvPr/>
        </p:nvSpPr>
        <p:spPr>
          <a:xfrm>
            <a:off x="521705" y="4180124"/>
            <a:ext cx="1278401" cy="200055"/>
          </a:xfrm>
          <a:prstGeom prst="rect">
            <a:avLst/>
          </a:prstGeom>
        </p:spPr>
        <p:txBody>
          <a:bodyPr wrap="square" lIns="0" rIns="0" rtlCol="0">
            <a:spAutoFit/>
          </a:bodyPr>
          <a:lstStyle/>
          <a:p>
            <a:pPr marL="0" marR="0" lvl="0" indent="0" algn="l" defTabSz="914400" rtl="0" eaLnBrk="1" fontAlgn="base" latinLnBrk="0" hangingPunct="1">
              <a:lnSpc>
                <a:spcPct val="100000"/>
              </a:lnSpc>
              <a:spcBef>
                <a:spcPct val="0"/>
              </a:spcBef>
              <a:spcAft>
                <a:spcPct val="0"/>
              </a:spcAft>
              <a:buClr>
                <a:srgbClr val="505150"/>
              </a:buClr>
              <a:buSzPct val="88000"/>
              <a:buFontTx/>
              <a:buNone/>
              <a:tabLst/>
              <a:defRPr/>
            </a:pPr>
            <a:r>
              <a:rPr kumimoji="0" lang="en-GB" sz="700" b="1" i="0" u="none" strike="noStrike" kern="1200" cap="none" spc="0" normalizeH="0" baseline="0" noProof="0">
                <a:ln>
                  <a:noFill/>
                </a:ln>
                <a:solidFill>
                  <a:srgbClr val="E7E6E6">
                    <a:lumMod val="25000"/>
                  </a:srgbClr>
                </a:solidFill>
                <a:effectLst/>
                <a:uLnTx/>
                <a:uFillTx/>
                <a:latin typeface="Droid Sans"/>
                <a:ea typeface="+mn-ea"/>
                <a:cs typeface="Droid Sans" charset="0"/>
                <a:sym typeface="Droid Sans" charset="0"/>
              </a:rPr>
              <a:t>+15 references</a:t>
            </a:r>
          </a:p>
        </p:txBody>
      </p:sp>
      <p:sp>
        <p:nvSpPr>
          <p:cNvPr id="50" name="CuadroTexto 49">
            <a:extLst>
              <a:ext uri="{FF2B5EF4-FFF2-40B4-BE49-F238E27FC236}">
                <a16:creationId xmlns:a16="http://schemas.microsoft.com/office/drawing/2014/main" id="{27891E33-A26C-F03A-FAFA-D23A0EC6C5E5}"/>
              </a:ext>
            </a:extLst>
          </p:cNvPr>
          <p:cNvSpPr txBox="1"/>
          <p:nvPr/>
        </p:nvSpPr>
        <p:spPr>
          <a:xfrm>
            <a:off x="9467392" y="950674"/>
            <a:ext cx="975176" cy="246221"/>
          </a:xfrm>
          <a:prstGeom prst="rect">
            <a:avLst/>
          </a:prstGeom>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
                <a:srgbClr val="505150"/>
              </a:buClr>
              <a:buSzPct val="88000"/>
              <a:buFontTx/>
              <a:buNone/>
              <a:tabLst/>
              <a:defRPr/>
            </a:pPr>
            <a:r>
              <a:rPr kumimoji="0" lang="en-GB" sz="1000" b="0" i="0" u="none" strike="noStrike" kern="1200" cap="none" spc="0" normalizeH="0" baseline="0" noProof="0">
                <a:ln>
                  <a:noFill/>
                </a:ln>
                <a:solidFill>
                  <a:prstClr val="black"/>
                </a:solidFill>
                <a:effectLst/>
                <a:uLnTx/>
                <a:uFillTx/>
                <a:latin typeface="Droid Sans" charset="0"/>
                <a:ea typeface="+mn-ea"/>
                <a:cs typeface="Droid Sans" charset="0"/>
                <a:sym typeface="Droid Sans" charset="0"/>
              </a:rPr>
              <a:t>Industry</a:t>
            </a:r>
          </a:p>
        </p:txBody>
      </p:sp>
      <p:cxnSp>
        <p:nvCxnSpPr>
          <p:cNvPr id="51" name="Conector recto 50">
            <a:extLst>
              <a:ext uri="{FF2B5EF4-FFF2-40B4-BE49-F238E27FC236}">
                <a16:creationId xmlns:a16="http://schemas.microsoft.com/office/drawing/2014/main" id="{E5C2B16F-3E37-DBF8-29C0-D6BD746A406C}"/>
              </a:ext>
            </a:extLst>
          </p:cNvPr>
          <p:cNvCxnSpPr>
            <a:cxnSpLocks/>
          </p:cNvCxnSpPr>
          <p:nvPr/>
        </p:nvCxnSpPr>
        <p:spPr>
          <a:xfrm>
            <a:off x="9630634" y="1194710"/>
            <a:ext cx="72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8" name="CuadroTexto 57">
            <a:extLst>
              <a:ext uri="{FF2B5EF4-FFF2-40B4-BE49-F238E27FC236}">
                <a16:creationId xmlns:a16="http://schemas.microsoft.com/office/drawing/2014/main" id="{C9B2E578-1D2D-ED9E-0FA5-DC363661653D}"/>
              </a:ext>
            </a:extLst>
          </p:cNvPr>
          <p:cNvSpPr txBox="1"/>
          <p:nvPr/>
        </p:nvSpPr>
        <p:spPr>
          <a:xfrm>
            <a:off x="10298056" y="967297"/>
            <a:ext cx="975176" cy="400110"/>
          </a:xfrm>
          <a:prstGeom prst="rect">
            <a:avLst/>
          </a:prstGeom>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
                <a:srgbClr val="505150"/>
              </a:buClr>
              <a:buSzPct val="88000"/>
              <a:buFontTx/>
              <a:buNone/>
              <a:tabLst/>
              <a:defRPr/>
            </a:pPr>
            <a:r>
              <a:rPr kumimoji="0" lang="en-GB" sz="1000" b="0" i="0" u="none" strike="noStrike" kern="1200" cap="none" spc="0" normalizeH="0" baseline="0" noProof="0">
                <a:ln>
                  <a:noFill/>
                </a:ln>
                <a:solidFill>
                  <a:prstClr val="black"/>
                </a:solidFill>
                <a:effectLst/>
                <a:uLnTx/>
                <a:uFillTx/>
                <a:latin typeface="Droid Sans" charset="0"/>
                <a:ea typeface="+mn-ea"/>
                <a:cs typeface="Droid Sans" charset="0"/>
                <a:sym typeface="Droid Sans" charset="0"/>
              </a:rPr>
              <a:t>Real Estate</a:t>
            </a:r>
          </a:p>
          <a:p>
            <a:pPr marL="0" marR="0" lvl="0" indent="0" algn="ctr" defTabSz="914400" rtl="0" eaLnBrk="1" fontAlgn="base" latinLnBrk="0" hangingPunct="1">
              <a:lnSpc>
                <a:spcPct val="100000"/>
              </a:lnSpc>
              <a:spcBef>
                <a:spcPct val="0"/>
              </a:spcBef>
              <a:spcAft>
                <a:spcPct val="0"/>
              </a:spcAft>
              <a:buClr>
                <a:srgbClr val="505150"/>
              </a:buClr>
              <a:buSzPct val="88000"/>
              <a:buFontTx/>
              <a:buNone/>
              <a:tabLst/>
              <a:defRPr/>
            </a:pPr>
            <a:endParaRPr kumimoji="0" lang="en-GB" sz="1000" b="0" i="0" u="none" strike="noStrike" kern="1200" cap="none" spc="0" normalizeH="0" baseline="0" noProof="0">
              <a:ln>
                <a:noFill/>
              </a:ln>
              <a:solidFill>
                <a:prstClr val="black"/>
              </a:solidFill>
              <a:effectLst/>
              <a:uLnTx/>
              <a:uFillTx/>
              <a:latin typeface="Droid Sans" charset="0"/>
              <a:ea typeface="+mn-ea"/>
              <a:cs typeface="Droid Sans" charset="0"/>
              <a:sym typeface="Droid Sans" charset="0"/>
            </a:endParaRPr>
          </a:p>
        </p:txBody>
      </p:sp>
      <p:pic>
        <p:nvPicPr>
          <p:cNvPr id="60" name="Picture 4">
            <a:extLst>
              <a:ext uri="{FF2B5EF4-FFF2-40B4-BE49-F238E27FC236}">
                <a16:creationId xmlns:a16="http://schemas.microsoft.com/office/drawing/2014/main" id="{13E2B9FD-99A2-0D10-A376-06CC27D35CF9}"/>
              </a:ext>
            </a:extLst>
          </p:cNvPr>
          <p:cNvPicPr>
            <a:picLocks noChangeAspect="1" noChangeArrowheads="1"/>
          </p:cNvPicPr>
          <p:nvPr/>
        </p:nvPicPr>
        <p:blipFill>
          <a:blip r:embed="rId53" cstate="print">
            <a:extLst>
              <a:ext uri="{28A0092B-C50C-407E-A947-70E740481C1C}">
                <a14:useLocalDpi xmlns:a14="http://schemas.microsoft.com/office/drawing/2010/main" val="0"/>
              </a:ext>
            </a:extLst>
          </a:blip>
          <a:srcRect/>
          <a:stretch>
            <a:fillRect/>
          </a:stretch>
        </p:blipFill>
        <p:spPr bwMode="auto">
          <a:xfrm>
            <a:off x="10482085" y="1448657"/>
            <a:ext cx="631883" cy="316435"/>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2" descr="BUILDING-CENTER - Serlan Lanzamientos">
            <a:extLst>
              <a:ext uri="{FF2B5EF4-FFF2-40B4-BE49-F238E27FC236}">
                <a16:creationId xmlns:a16="http://schemas.microsoft.com/office/drawing/2014/main" id="{65A5F63B-FC9F-CBFD-C312-1A2A3F27C099}"/>
              </a:ext>
            </a:extLst>
          </p:cNvPr>
          <p:cNvPicPr>
            <a:picLocks noChangeAspect="1" noChangeArrowheads="1"/>
          </p:cNvPicPr>
          <p:nvPr/>
        </p:nvPicPr>
        <p:blipFill>
          <a:blip r:embed="rId72" cstate="print">
            <a:extLst>
              <a:ext uri="{28A0092B-C50C-407E-A947-70E740481C1C}">
                <a14:useLocalDpi xmlns:a14="http://schemas.microsoft.com/office/drawing/2010/main" val="0"/>
              </a:ext>
            </a:extLst>
          </a:blip>
          <a:srcRect/>
          <a:stretch>
            <a:fillRect/>
          </a:stretch>
        </p:blipFill>
        <p:spPr bwMode="auto">
          <a:xfrm>
            <a:off x="10576533" y="1255519"/>
            <a:ext cx="443011" cy="221506"/>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
            <a:extLst>
              <a:ext uri="{FF2B5EF4-FFF2-40B4-BE49-F238E27FC236}">
                <a16:creationId xmlns:a16="http://schemas.microsoft.com/office/drawing/2014/main" id="{BA65FCD5-E80C-3ABA-9443-259385CDA1E9}"/>
              </a:ext>
            </a:extLst>
          </p:cNvPr>
          <p:cNvPicPr>
            <a:picLocks noChangeAspect="1" noChangeArrowheads="1"/>
          </p:cNvPicPr>
          <p:nvPr/>
        </p:nvPicPr>
        <p:blipFill>
          <a:blip r:embed="rId73" cstate="print">
            <a:extLst>
              <a:ext uri="{28A0092B-C50C-407E-A947-70E740481C1C}">
                <a14:useLocalDpi xmlns:a14="http://schemas.microsoft.com/office/drawing/2010/main" val="0"/>
              </a:ext>
            </a:extLst>
          </a:blip>
          <a:srcRect/>
          <a:stretch>
            <a:fillRect/>
          </a:stretch>
        </p:blipFill>
        <p:spPr bwMode="auto">
          <a:xfrm>
            <a:off x="10586773" y="1778540"/>
            <a:ext cx="419074" cy="352012"/>
          </a:xfrm>
          <a:prstGeom prst="rect">
            <a:avLst/>
          </a:prstGeom>
          <a:noFill/>
          <a:extLst>
            <a:ext uri="{909E8E84-426E-40DD-AFC4-6F175D3DCCD1}">
              <a14:hiddenFill xmlns:a14="http://schemas.microsoft.com/office/drawing/2010/main">
                <a:solidFill>
                  <a:srgbClr val="FFFFFF"/>
                </a:solidFill>
              </a14:hiddenFill>
            </a:ext>
          </a:extLst>
        </p:spPr>
      </p:pic>
      <p:cxnSp>
        <p:nvCxnSpPr>
          <p:cNvPr id="160" name="Conector recto 159">
            <a:extLst>
              <a:ext uri="{FF2B5EF4-FFF2-40B4-BE49-F238E27FC236}">
                <a16:creationId xmlns:a16="http://schemas.microsoft.com/office/drawing/2014/main" id="{43968010-ED64-0B3B-59BF-F78B779DCDBA}"/>
              </a:ext>
            </a:extLst>
          </p:cNvPr>
          <p:cNvCxnSpPr>
            <a:cxnSpLocks/>
          </p:cNvCxnSpPr>
          <p:nvPr/>
        </p:nvCxnSpPr>
        <p:spPr>
          <a:xfrm>
            <a:off x="10434335" y="1189760"/>
            <a:ext cx="72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2" name="CuadroTexto 161">
            <a:extLst>
              <a:ext uri="{FF2B5EF4-FFF2-40B4-BE49-F238E27FC236}">
                <a16:creationId xmlns:a16="http://schemas.microsoft.com/office/drawing/2014/main" id="{B58D4CC4-F5E1-EB30-3BF8-EEF35D79EED4}"/>
              </a:ext>
            </a:extLst>
          </p:cNvPr>
          <p:cNvSpPr txBox="1"/>
          <p:nvPr/>
        </p:nvSpPr>
        <p:spPr>
          <a:xfrm>
            <a:off x="11103248" y="966358"/>
            <a:ext cx="975176" cy="246221"/>
          </a:xfrm>
          <a:prstGeom prst="rect">
            <a:avLst/>
          </a:prstGeom>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
                <a:srgbClr val="505150"/>
              </a:buClr>
              <a:buSzPct val="88000"/>
              <a:buFontTx/>
              <a:buNone/>
              <a:tabLst/>
              <a:defRPr/>
            </a:pPr>
            <a:r>
              <a:rPr kumimoji="0" lang="en-GB" sz="1000" b="0" i="0" u="none" strike="noStrike" kern="1200" cap="none" spc="0" normalizeH="0" baseline="0" noProof="0">
                <a:ln>
                  <a:noFill/>
                </a:ln>
                <a:solidFill>
                  <a:prstClr val="black"/>
                </a:solidFill>
                <a:effectLst/>
                <a:uLnTx/>
                <a:uFillTx/>
                <a:latin typeface="Droid Sans" charset="0"/>
                <a:ea typeface="+mn-ea"/>
                <a:cs typeface="Droid Sans" charset="0"/>
                <a:sym typeface="Droid Sans" charset="0"/>
              </a:rPr>
              <a:t>Pharma</a:t>
            </a:r>
          </a:p>
        </p:txBody>
      </p:sp>
      <p:pic>
        <p:nvPicPr>
          <p:cNvPr id="173" name="Picture 2" descr="Inicio - PRIM">
            <a:extLst>
              <a:ext uri="{FF2B5EF4-FFF2-40B4-BE49-F238E27FC236}">
                <a16:creationId xmlns:a16="http://schemas.microsoft.com/office/drawing/2014/main" id="{5F949B9B-1933-AD3F-3878-3A050A186C3E}"/>
              </a:ext>
            </a:extLst>
          </p:cNvPr>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11545856" y="1830003"/>
            <a:ext cx="491452" cy="225682"/>
          </a:xfrm>
          <a:prstGeom prst="rect">
            <a:avLst/>
          </a:prstGeom>
          <a:noFill/>
          <a:extLst>
            <a:ext uri="{909E8E84-426E-40DD-AFC4-6F175D3DCCD1}">
              <a14:hiddenFill xmlns:a14="http://schemas.microsoft.com/office/drawing/2010/main">
                <a:solidFill>
                  <a:srgbClr val="FFFFFF"/>
                </a:solidFill>
              </a14:hiddenFill>
            </a:ext>
          </a:extLst>
        </p:spPr>
      </p:pic>
      <p:pic>
        <p:nvPicPr>
          <p:cNvPr id="1024" name="Picture 4" descr="Aldo-Unión – 62 años al servicio de la medicina">
            <a:extLst>
              <a:ext uri="{FF2B5EF4-FFF2-40B4-BE49-F238E27FC236}">
                <a16:creationId xmlns:a16="http://schemas.microsoft.com/office/drawing/2014/main" id="{ABF84827-9A3D-D2C9-9AEB-D4EF058A4729}"/>
              </a:ext>
            </a:extLst>
          </p:cNvPr>
          <p:cNvPicPr>
            <a:picLocks noChangeAspect="1" noChangeArrowheads="1"/>
          </p:cNvPicPr>
          <p:nvPr/>
        </p:nvPicPr>
        <p:blipFill>
          <a:blip r:embed="rId74" cstate="print">
            <a:extLst>
              <a:ext uri="{28A0092B-C50C-407E-A947-70E740481C1C}">
                <a14:useLocalDpi xmlns:a14="http://schemas.microsoft.com/office/drawing/2010/main" val="0"/>
              </a:ext>
            </a:extLst>
          </a:blip>
          <a:srcRect/>
          <a:stretch>
            <a:fillRect/>
          </a:stretch>
        </p:blipFill>
        <p:spPr bwMode="auto">
          <a:xfrm>
            <a:off x="11400207" y="2089004"/>
            <a:ext cx="525324" cy="157983"/>
          </a:xfrm>
          <a:prstGeom prst="rect">
            <a:avLst/>
          </a:prstGeom>
          <a:noFill/>
          <a:extLst>
            <a:ext uri="{909E8E84-426E-40DD-AFC4-6F175D3DCCD1}">
              <a14:hiddenFill xmlns:a14="http://schemas.microsoft.com/office/drawing/2010/main">
                <a:solidFill>
                  <a:srgbClr val="FFFFFF"/>
                </a:solidFill>
              </a14:hiddenFill>
            </a:ext>
          </a:extLst>
        </p:spPr>
      </p:pic>
      <p:pic>
        <p:nvPicPr>
          <p:cNvPr id="1025" name="Picture 6" descr="Inicio - Inicio - BIDAFARMA">
            <a:extLst>
              <a:ext uri="{FF2B5EF4-FFF2-40B4-BE49-F238E27FC236}">
                <a16:creationId xmlns:a16="http://schemas.microsoft.com/office/drawing/2014/main" id="{2F516A0D-E92E-93EB-0515-D33C24BF2ECE}"/>
              </a:ext>
            </a:extLst>
          </p:cNvPr>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11354730" y="2290915"/>
            <a:ext cx="301401" cy="21299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8">
            <a:extLst>
              <a:ext uri="{FF2B5EF4-FFF2-40B4-BE49-F238E27FC236}">
                <a16:creationId xmlns:a16="http://schemas.microsoft.com/office/drawing/2014/main" id="{52E2ABA0-1B7C-D331-1554-E2D7F6E70758}"/>
              </a:ext>
            </a:extLst>
          </p:cNvPr>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11632386" y="1330295"/>
            <a:ext cx="420395" cy="157983"/>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16" descr="Martiderm">
            <a:extLst>
              <a:ext uri="{FF2B5EF4-FFF2-40B4-BE49-F238E27FC236}">
                <a16:creationId xmlns:a16="http://schemas.microsoft.com/office/drawing/2014/main" id="{08EFFCCA-8245-7DFF-F9F4-A45341C90C1C}"/>
              </a:ext>
            </a:extLst>
          </p:cNvPr>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11333279" y="1299071"/>
            <a:ext cx="257557" cy="185441"/>
          </a:xfrm>
          <a:prstGeom prst="rect">
            <a:avLst/>
          </a:prstGeom>
          <a:noFill/>
          <a:extLst>
            <a:ext uri="{909E8E84-426E-40DD-AFC4-6F175D3DCCD1}">
              <a14:hiddenFill xmlns:a14="http://schemas.microsoft.com/office/drawing/2010/main">
                <a:solidFill>
                  <a:srgbClr val="FFFFFF"/>
                </a:solidFill>
              </a14:hiddenFill>
            </a:ext>
          </a:extLst>
        </p:spPr>
      </p:pic>
      <p:pic>
        <p:nvPicPr>
          <p:cNvPr id="1031" name="Picture 22" descr="DIATER ALT A 1 - Diater Laboratorio Farmacéutico">
            <a:extLst>
              <a:ext uri="{FF2B5EF4-FFF2-40B4-BE49-F238E27FC236}">
                <a16:creationId xmlns:a16="http://schemas.microsoft.com/office/drawing/2014/main" id="{F3420671-16EC-7420-6923-01780918F53F}"/>
              </a:ext>
            </a:extLst>
          </p:cNvPr>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11642321" y="1582506"/>
            <a:ext cx="373246" cy="140245"/>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4" descr="Meiji Seika Pharma Sets up a New Subsidiary in the US | Business Wire">
            <a:extLst>
              <a:ext uri="{FF2B5EF4-FFF2-40B4-BE49-F238E27FC236}">
                <a16:creationId xmlns:a16="http://schemas.microsoft.com/office/drawing/2014/main" id="{25BE2A82-6A53-0FE1-05E0-2ABF890FA929}"/>
              </a:ext>
            </a:extLst>
          </p:cNvPr>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11696321" y="2298063"/>
            <a:ext cx="354558" cy="17727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8" descr="Inicio - Lacer">
            <a:extLst>
              <a:ext uri="{FF2B5EF4-FFF2-40B4-BE49-F238E27FC236}">
                <a16:creationId xmlns:a16="http://schemas.microsoft.com/office/drawing/2014/main" id="{CA5DE5E2-4459-6DF3-07C8-25F4B42A10B8}"/>
              </a:ext>
            </a:extLst>
          </p:cNvPr>
          <p:cNvPicPr>
            <a:picLocks noChangeAspect="1" noChangeArrowheads="1"/>
          </p:cNvPicPr>
          <p:nvPr/>
        </p:nvPicPr>
        <p:blipFill>
          <a:blip r:embed="rId46" cstate="print">
            <a:extLst>
              <a:ext uri="{28A0092B-C50C-407E-A947-70E740481C1C}">
                <a14:useLocalDpi xmlns:a14="http://schemas.microsoft.com/office/drawing/2010/main" val="0"/>
              </a:ext>
            </a:extLst>
          </a:blip>
          <a:srcRect/>
          <a:stretch>
            <a:fillRect/>
          </a:stretch>
        </p:blipFill>
        <p:spPr bwMode="auto">
          <a:xfrm>
            <a:off x="11353711" y="1568067"/>
            <a:ext cx="214907" cy="214907"/>
          </a:xfrm>
          <a:prstGeom prst="rect">
            <a:avLst/>
          </a:prstGeom>
          <a:noFill/>
          <a:extLst>
            <a:ext uri="{909E8E84-426E-40DD-AFC4-6F175D3DCCD1}">
              <a14:hiddenFill xmlns:a14="http://schemas.microsoft.com/office/drawing/2010/main">
                <a:solidFill>
                  <a:srgbClr val="FFFFFF"/>
                </a:solidFill>
              </a14:hiddenFill>
            </a:ext>
          </a:extLst>
        </p:spPr>
      </p:pic>
      <p:cxnSp>
        <p:nvCxnSpPr>
          <p:cNvPr id="1037" name="Conector recto 1036">
            <a:extLst>
              <a:ext uri="{FF2B5EF4-FFF2-40B4-BE49-F238E27FC236}">
                <a16:creationId xmlns:a16="http://schemas.microsoft.com/office/drawing/2014/main" id="{3D4D373C-BD17-63EC-9E89-5DDF74152ACB}"/>
              </a:ext>
            </a:extLst>
          </p:cNvPr>
          <p:cNvCxnSpPr>
            <a:cxnSpLocks/>
          </p:cNvCxnSpPr>
          <p:nvPr/>
        </p:nvCxnSpPr>
        <p:spPr>
          <a:xfrm>
            <a:off x="11230836" y="1190278"/>
            <a:ext cx="72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43" name="Picture 11">
            <a:extLst>
              <a:ext uri="{FF2B5EF4-FFF2-40B4-BE49-F238E27FC236}">
                <a16:creationId xmlns:a16="http://schemas.microsoft.com/office/drawing/2014/main" id="{19B5A5B2-7802-9765-4564-635E9E1C97F2}"/>
              </a:ext>
            </a:extLst>
          </p:cNvPr>
          <p:cNvPicPr>
            <a:picLocks noChangeAspect="1" noChangeArrowheads="1"/>
          </p:cNvPicPr>
          <p:nvPr/>
        </p:nvPicPr>
        <p:blipFill>
          <a:blip r:embed="rId60" cstate="screen"/>
          <a:srcRect l="2966"/>
          <a:stretch>
            <a:fillRect/>
          </a:stretch>
        </p:blipFill>
        <p:spPr bwMode="auto">
          <a:xfrm>
            <a:off x="5221677" y="3086941"/>
            <a:ext cx="451714" cy="215783"/>
          </a:xfrm>
          <a:prstGeom prst="rect">
            <a:avLst/>
          </a:prstGeom>
          <a:noFill/>
          <a:ln w="9525">
            <a:noFill/>
            <a:miter lim="800000"/>
            <a:headEnd/>
            <a:tailEnd/>
          </a:ln>
        </p:spPr>
      </p:pic>
      <p:sp>
        <p:nvSpPr>
          <p:cNvPr id="44" name="Rectángulo 43">
            <a:extLst>
              <a:ext uri="{FF2B5EF4-FFF2-40B4-BE49-F238E27FC236}">
                <a16:creationId xmlns:a16="http://schemas.microsoft.com/office/drawing/2014/main" id="{0EC495F1-7509-F84B-9257-40538C1D56E5}"/>
              </a:ext>
            </a:extLst>
          </p:cNvPr>
          <p:cNvSpPr/>
          <p:nvPr/>
        </p:nvSpPr>
        <p:spPr bwMode="auto">
          <a:xfrm>
            <a:off x="-9085" y="2983247"/>
            <a:ext cx="56270" cy="442438"/>
          </a:xfrm>
          <a:prstGeom prst="rect">
            <a:avLst/>
          </a:prstGeom>
          <a:solidFill>
            <a:schemeClr val="accent2">
              <a:lumMod val="40000"/>
              <a:lumOff val="60000"/>
            </a:schemeClr>
          </a:solidFill>
          <a:ln w="9525">
            <a:noFill/>
            <a:round/>
            <a:headEnd/>
            <a:tailEnd/>
          </a:ln>
        </p:spPr>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52" name="Conector recto 51">
            <a:extLst>
              <a:ext uri="{FF2B5EF4-FFF2-40B4-BE49-F238E27FC236}">
                <a16:creationId xmlns:a16="http://schemas.microsoft.com/office/drawing/2014/main" id="{2FF8CC99-BC61-7542-E8CA-BB942A607C61}"/>
              </a:ext>
            </a:extLst>
          </p:cNvPr>
          <p:cNvCxnSpPr>
            <a:cxnSpLocks/>
          </p:cNvCxnSpPr>
          <p:nvPr/>
        </p:nvCxnSpPr>
        <p:spPr>
          <a:xfrm>
            <a:off x="1498109" y="2893398"/>
            <a:ext cx="0" cy="629446"/>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53" name="CuadroTexto 52">
            <a:extLst>
              <a:ext uri="{FF2B5EF4-FFF2-40B4-BE49-F238E27FC236}">
                <a16:creationId xmlns:a16="http://schemas.microsoft.com/office/drawing/2014/main" id="{F734608D-C9AB-FB4E-AF80-582090FB915B}"/>
              </a:ext>
            </a:extLst>
          </p:cNvPr>
          <p:cNvSpPr txBox="1"/>
          <p:nvPr/>
        </p:nvSpPr>
        <p:spPr>
          <a:xfrm>
            <a:off x="2019136" y="2822828"/>
            <a:ext cx="1278401" cy="200055"/>
          </a:xfrm>
          <a:prstGeom prst="rect">
            <a:avLst/>
          </a:prstGeom>
        </p:spPr>
        <p:txBody>
          <a:bodyPr wrap="square" lIns="0" rIns="0" rtlCol="0">
            <a:spAutoFit/>
          </a:bodyPr>
          <a:lstStyle/>
          <a:p>
            <a:pPr marL="0" marR="0" lvl="0" indent="0" algn="l" defTabSz="914400" rtl="0" eaLnBrk="1" fontAlgn="base" latinLnBrk="0" hangingPunct="1">
              <a:lnSpc>
                <a:spcPct val="100000"/>
              </a:lnSpc>
              <a:spcBef>
                <a:spcPct val="0"/>
              </a:spcBef>
              <a:spcAft>
                <a:spcPct val="0"/>
              </a:spcAft>
              <a:buClr>
                <a:srgbClr val="505150"/>
              </a:buClr>
              <a:buSzPct val="88000"/>
              <a:buFontTx/>
              <a:buNone/>
              <a:tabLst/>
              <a:defRPr/>
            </a:pPr>
            <a:r>
              <a:rPr kumimoji="0" lang="en-GB" sz="700" b="1" i="0" u="none" strike="noStrike" kern="1200" cap="none" spc="0" normalizeH="0" baseline="0" noProof="0" err="1">
                <a:ln>
                  <a:noFill/>
                </a:ln>
                <a:solidFill>
                  <a:prstClr val="black"/>
                </a:solidFill>
                <a:effectLst/>
                <a:uLnTx/>
                <a:uFillTx/>
                <a:latin typeface="Droid Sans"/>
                <a:ea typeface="+mn-ea"/>
                <a:cs typeface="Droid Sans" charset="0"/>
                <a:sym typeface="Droid Sans" charset="0"/>
              </a:rPr>
              <a:t>Migración</a:t>
            </a:r>
            <a:r>
              <a:rPr kumimoji="0" lang="en-GB" sz="700" b="1" i="0" u="none" strike="noStrike" kern="1200" cap="none" spc="0" normalizeH="0" baseline="0" noProof="0">
                <a:ln>
                  <a:noFill/>
                </a:ln>
                <a:solidFill>
                  <a:prstClr val="black"/>
                </a:solidFill>
                <a:effectLst/>
                <a:uLnTx/>
                <a:uFillTx/>
                <a:latin typeface="Droid Sans"/>
                <a:ea typeface="+mn-ea"/>
                <a:cs typeface="Droid Sans" charset="0"/>
                <a:sym typeface="Droid Sans" charset="0"/>
              </a:rPr>
              <a:t> ETL Facturación</a:t>
            </a:r>
          </a:p>
        </p:txBody>
      </p:sp>
      <p:sp>
        <p:nvSpPr>
          <p:cNvPr id="54" name="CuadroTexto 53">
            <a:extLst>
              <a:ext uri="{FF2B5EF4-FFF2-40B4-BE49-F238E27FC236}">
                <a16:creationId xmlns:a16="http://schemas.microsoft.com/office/drawing/2014/main" id="{17371527-3C5F-07EE-AF39-519AF8BD58B7}"/>
              </a:ext>
            </a:extLst>
          </p:cNvPr>
          <p:cNvSpPr txBox="1"/>
          <p:nvPr/>
        </p:nvSpPr>
        <p:spPr>
          <a:xfrm>
            <a:off x="2027828" y="3099582"/>
            <a:ext cx="1256797" cy="200055"/>
          </a:xfrm>
          <a:prstGeom prst="rect">
            <a:avLst/>
          </a:prstGeom>
        </p:spPr>
        <p:txBody>
          <a:bodyPr wrap="square" lIns="0" rIns="0" rtlCol="0">
            <a:spAutoFit/>
          </a:bodyPr>
          <a:lstStyle/>
          <a:p>
            <a:pPr marL="0" marR="0" lvl="0" indent="0" algn="l" defTabSz="914400" rtl="0" eaLnBrk="1" fontAlgn="base" latinLnBrk="0" hangingPunct="1">
              <a:lnSpc>
                <a:spcPct val="100000"/>
              </a:lnSpc>
              <a:spcBef>
                <a:spcPct val="0"/>
              </a:spcBef>
              <a:spcAft>
                <a:spcPct val="0"/>
              </a:spcAft>
              <a:buClr>
                <a:srgbClr val="505150"/>
              </a:buClr>
              <a:buSzPct val="88000"/>
              <a:buFontTx/>
              <a:buNone/>
              <a:tabLst/>
              <a:defRPr/>
            </a:pPr>
            <a:r>
              <a:rPr kumimoji="0" lang="en-GB" sz="700" b="1" i="0" u="none" strike="noStrike" kern="1200" cap="none" spc="0" normalizeH="0" baseline="0" noProof="0" err="1">
                <a:ln>
                  <a:noFill/>
                </a:ln>
                <a:solidFill>
                  <a:prstClr val="black"/>
                </a:solidFill>
                <a:effectLst/>
                <a:uLnTx/>
                <a:uFillTx/>
                <a:latin typeface="Droid Sans"/>
                <a:ea typeface="+mn-ea"/>
                <a:cs typeface="Droid Sans" charset="0"/>
                <a:sym typeface="Droid Sans" charset="0"/>
              </a:rPr>
              <a:t>Análisis</a:t>
            </a:r>
            <a:r>
              <a:rPr kumimoji="0" lang="en-GB" sz="700" b="1" i="0" u="none" strike="noStrike" kern="1200" cap="none" spc="0" normalizeH="0" baseline="0" noProof="0">
                <a:ln>
                  <a:noFill/>
                </a:ln>
                <a:solidFill>
                  <a:prstClr val="black"/>
                </a:solidFill>
                <a:effectLst/>
                <a:uLnTx/>
                <a:uFillTx/>
                <a:latin typeface="Droid Sans"/>
                <a:ea typeface="+mn-ea"/>
                <a:cs typeface="Droid Sans" charset="0"/>
                <a:sym typeface="Droid Sans" charset="0"/>
              </a:rPr>
              <a:t> </a:t>
            </a:r>
            <a:r>
              <a:rPr kumimoji="0" lang="en-GB" sz="700" b="1" i="0" u="none" strike="noStrike" kern="1200" cap="none" spc="0" normalizeH="0" baseline="0" noProof="0" err="1">
                <a:ln>
                  <a:noFill/>
                </a:ln>
                <a:solidFill>
                  <a:prstClr val="black"/>
                </a:solidFill>
                <a:effectLst/>
                <a:uLnTx/>
                <a:uFillTx/>
                <a:latin typeface="Droid Sans"/>
                <a:ea typeface="+mn-ea"/>
                <a:cs typeface="Droid Sans" charset="0"/>
                <a:sym typeface="Droid Sans" charset="0"/>
              </a:rPr>
              <a:t>Finanzas</a:t>
            </a:r>
            <a:r>
              <a:rPr kumimoji="0" lang="en-GB" sz="700" b="1" i="0" u="none" strike="noStrike" kern="1200" cap="none" spc="0" normalizeH="0" baseline="0" noProof="0">
                <a:ln>
                  <a:noFill/>
                </a:ln>
                <a:solidFill>
                  <a:prstClr val="black"/>
                </a:solidFill>
                <a:effectLst/>
                <a:uLnTx/>
                <a:uFillTx/>
                <a:latin typeface="Droid Sans"/>
                <a:ea typeface="+mn-ea"/>
                <a:cs typeface="Droid Sans" charset="0"/>
                <a:sym typeface="Droid Sans" charset="0"/>
              </a:rPr>
              <a:t> y Ventas</a:t>
            </a:r>
          </a:p>
        </p:txBody>
      </p:sp>
      <p:pic>
        <p:nvPicPr>
          <p:cNvPr id="55" name="Picture 2">
            <a:extLst>
              <a:ext uri="{FF2B5EF4-FFF2-40B4-BE49-F238E27FC236}">
                <a16:creationId xmlns:a16="http://schemas.microsoft.com/office/drawing/2014/main" id="{FAE46DC2-ABE8-E218-E6C7-1C6283B037D5}"/>
              </a:ext>
            </a:extLst>
          </p:cNvPr>
          <p:cNvPicPr>
            <a:picLocks noChangeAspect="1" noChangeArrowheads="1"/>
          </p:cNvPicPr>
          <p:nvPr/>
        </p:nvPicPr>
        <p:blipFill rotWithShape="1">
          <a:blip r:embed="rId75" cstate="print">
            <a:extLst>
              <a:ext uri="{28A0092B-C50C-407E-A947-70E740481C1C}">
                <a14:useLocalDpi xmlns:a14="http://schemas.microsoft.com/office/drawing/2010/main" val="0"/>
              </a:ext>
            </a:extLst>
          </a:blip>
          <a:srcRect l="31118" t="15382" r="34728" b="19571"/>
          <a:stretch/>
        </p:blipFill>
        <p:spPr bwMode="auto">
          <a:xfrm>
            <a:off x="1643464" y="2776222"/>
            <a:ext cx="273166" cy="281007"/>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 descr="Areas - Wikipedia, la enciclopedia libre">
            <a:extLst>
              <a:ext uri="{FF2B5EF4-FFF2-40B4-BE49-F238E27FC236}">
                <a16:creationId xmlns:a16="http://schemas.microsoft.com/office/drawing/2014/main" id="{AAB1C212-C845-29DB-7B1C-C54D7752DDD7}"/>
              </a:ext>
            </a:extLst>
          </p:cNvPr>
          <p:cNvPicPr>
            <a:picLocks noChangeAspect="1" noChangeArrowheads="1"/>
          </p:cNvPicPr>
          <p:nvPr/>
        </p:nvPicPr>
        <p:blipFill rotWithShape="1">
          <a:blip r:embed="rId76" cstate="print">
            <a:extLst>
              <a:ext uri="{28A0092B-C50C-407E-A947-70E740481C1C}">
                <a14:useLocalDpi xmlns:a14="http://schemas.microsoft.com/office/drawing/2010/main" val="0"/>
              </a:ext>
            </a:extLst>
          </a:blip>
          <a:srcRect l="14689" t="16324" r="14937" b="15736"/>
          <a:stretch/>
        </p:blipFill>
        <p:spPr bwMode="auto">
          <a:xfrm>
            <a:off x="1622777" y="3114974"/>
            <a:ext cx="313437" cy="227809"/>
          </a:xfrm>
          <a:prstGeom prst="rect">
            <a:avLst/>
          </a:prstGeom>
          <a:noFill/>
          <a:extLst>
            <a:ext uri="{909E8E84-426E-40DD-AFC4-6F175D3DCCD1}">
              <a14:hiddenFill xmlns:a14="http://schemas.microsoft.com/office/drawing/2010/main">
                <a:solidFill>
                  <a:srgbClr val="FFFFFF"/>
                </a:solidFill>
              </a14:hiddenFill>
            </a:ext>
          </a:extLst>
        </p:spPr>
      </p:pic>
      <p:pic>
        <p:nvPicPr>
          <p:cNvPr id="57" name="Imagen 56">
            <a:extLst>
              <a:ext uri="{FF2B5EF4-FFF2-40B4-BE49-F238E27FC236}">
                <a16:creationId xmlns:a16="http://schemas.microsoft.com/office/drawing/2014/main" id="{6EC26C82-D1BD-4B35-0C88-E97DDA6C0A60}"/>
              </a:ext>
            </a:extLst>
          </p:cNvPr>
          <p:cNvPicPr>
            <a:picLocks noChangeAspect="1"/>
          </p:cNvPicPr>
          <p:nvPr/>
        </p:nvPicPr>
        <p:blipFill>
          <a:blip r:embed="rId77"/>
          <a:stretch>
            <a:fillRect/>
          </a:stretch>
        </p:blipFill>
        <p:spPr>
          <a:xfrm>
            <a:off x="3400132" y="2831095"/>
            <a:ext cx="423508" cy="190240"/>
          </a:xfrm>
          <a:prstGeom prst="rect">
            <a:avLst/>
          </a:prstGeom>
        </p:spPr>
      </p:pic>
      <p:sp>
        <p:nvSpPr>
          <p:cNvPr id="59" name="CuadroTexto 58">
            <a:extLst>
              <a:ext uri="{FF2B5EF4-FFF2-40B4-BE49-F238E27FC236}">
                <a16:creationId xmlns:a16="http://schemas.microsoft.com/office/drawing/2014/main" id="{134E913F-19FE-645B-8333-8F1BC9BB1BEB}"/>
              </a:ext>
            </a:extLst>
          </p:cNvPr>
          <p:cNvSpPr txBox="1"/>
          <p:nvPr/>
        </p:nvSpPr>
        <p:spPr>
          <a:xfrm>
            <a:off x="3914210" y="2822430"/>
            <a:ext cx="1076267" cy="200055"/>
          </a:xfrm>
          <a:prstGeom prst="rect">
            <a:avLst/>
          </a:prstGeom>
        </p:spPr>
        <p:txBody>
          <a:bodyPr wrap="square" lIns="0" rIns="0" rtlCol="0">
            <a:spAutoFit/>
          </a:bodyPr>
          <a:lstStyle/>
          <a:p>
            <a:pPr marL="0" marR="0" lvl="0" indent="0" algn="l" defTabSz="914400" rtl="0" eaLnBrk="1" fontAlgn="base" latinLnBrk="0" hangingPunct="1">
              <a:lnSpc>
                <a:spcPct val="100000"/>
              </a:lnSpc>
              <a:spcBef>
                <a:spcPct val="0"/>
              </a:spcBef>
              <a:spcAft>
                <a:spcPct val="0"/>
              </a:spcAft>
              <a:buClr>
                <a:srgbClr val="505150"/>
              </a:buClr>
              <a:buSzPct val="88000"/>
              <a:buFontTx/>
              <a:buNone/>
              <a:tabLst/>
              <a:defRPr/>
            </a:pPr>
            <a:r>
              <a:rPr kumimoji="0" lang="en-GB" sz="700" b="1" i="0" u="none" strike="noStrike" kern="1200" cap="none" spc="0" normalizeH="0" baseline="0" noProof="0" err="1">
                <a:ln>
                  <a:noFill/>
                </a:ln>
                <a:solidFill>
                  <a:prstClr val="black"/>
                </a:solidFill>
                <a:effectLst/>
                <a:uLnTx/>
                <a:uFillTx/>
                <a:latin typeface="Droid Sans"/>
                <a:ea typeface="+mn-ea"/>
                <a:cs typeface="Droid Sans" charset="0"/>
                <a:sym typeface="Droid Sans" charset="0"/>
              </a:rPr>
              <a:t>Integración</a:t>
            </a:r>
            <a:r>
              <a:rPr kumimoji="0" lang="en-GB" sz="700" b="1" i="0" u="none" strike="noStrike" kern="1200" cap="none" spc="0" normalizeH="0" baseline="0" noProof="0">
                <a:ln>
                  <a:noFill/>
                </a:ln>
                <a:solidFill>
                  <a:prstClr val="black"/>
                </a:solidFill>
                <a:effectLst/>
                <a:uLnTx/>
                <a:uFillTx/>
                <a:latin typeface="Droid Sans"/>
                <a:ea typeface="+mn-ea"/>
                <a:cs typeface="Droid Sans" charset="0"/>
                <a:sym typeface="Droid Sans" charset="0"/>
              </a:rPr>
              <a:t> IBM Maximo</a:t>
            </a:r>
          </a:p>
        </p:txBody>
      </p:sp>
      <p:pic>
        <p:nvPicPr>
          <p:cNvPr id="117" name="Picture 2" descr="DIA - Viquipèdia, l'enciclopèdia lliure">
            <a:extLst>
              <a:ext uri="{FF2B5EF4-FFF2-40B4-BE49-F238E27FC236}">
                <a16:creationId xmlns:a16="http://schemas.microsoft.com/office/drawing/2014/main" id="{0630D10E-FA88-3CCE-D6B1-024F818E0559}"/>
              </a:ext>
            </a:extLst>
          </p:cNvPr>
          <p:cNvPicPr>
            <a:picLocks noChangeAspect="1" noChangeArrowheads="1"/>
          </p:cNvPicPr>
          <p:nvPr/>
        </p:nvPicPr>
        <p:blipFill>
          <a:blip r:embed="rId78" cstate="email">
            <a:alphaModFix/>
            <a:extLst>
              <a:ext uri="{28A0092B-C50C-407E-A947-70E740481C1C}">
                <a14:useLocalDpi xmlns:a14="http://schemas.microsoft.com/office/drawing/2010/main"/>
              </a:ext>
            </a:extLst>
          </a:blip>
          <a:srcRect/>
          <a:stretch>
            <a:fillRect/>
          </a:stretch>
        </p:blipFill>
        <p:spPr bwMode="auto">
          <a:xfrm>
            <a:off x="3429224" y="3086266"/>
            <a:ext cx="361276" cy="200056"/>
          </a:xfrm>
          <a:prstGeom prst="rect">
            <a:avLst/>
          </a:prstGeom>
          <a:noFill/>
          <a:extLst>
            <a:ext uri="{909E8E84-426E-40DD-AFC4-6F175D3DCCD1}">
              <a14:hiddenFill xmlns:a14="http://schemas.microsoft.com/office/drawing/2010/main">
                <a:solidFill>
                  <a:srgbClr val="FFFFFF"/>
                </a:solidFill>
              </a14:hiddenFill>
            </a:ext>
          </a:extLst>
        </p:spPr>
      </p:pic>
      <p:sp>
        <p:nvSpPr>
          <p:cNvPr id="118" name="CuadroTexto 117">
            <a:extLst>
              <a:ext uri="{FF2B5EF4-FFF2-40B4-BE49-F238E27FC236}">
                <a16:creationId xmlns:a16="http://schemas.microsoft.com/office/drawing/2014/main" id="{547BBC23-6A98-D19C-2730-720D4BA8CFE4}"/>
              </a:ext>
            </a:extLst>
          </p:cNvPr>
          <p:cNvSpPr txBox="1"/>
          <p:nvPr/>
        </p:nvSpPr>
        <p:spPr>
          <a:xfrm>
            <a:off x="3914210" y="3093621"/>
            <a:ext cx="1076267" cy="200055"/>
          </a:xfrm>
          <a:prstGeom prst="rect">
            <a:avLst/>
          </a:prstGeom>
        </p:spPr>
        <p:txBody>
          <a:bodyPr wrap="square" lIns="0" rIns="0" rtlCol="0">
            <a:spAutoFit/>
          </a:bodyPr>
          <a:lstStyle/>
          <a:p>
            <a:pPr marL="0" marR="0" lvl="0" indent="0" algn="l" defTabSz="914400" rtl="0" eaLnBrk="1" fontAlgn="base" latinLnBrk="0" hangingPunct="1">
              <a:lnSpc>
                <a:spcPct val="100000"/>
              </a:lnSpc>
              <a:spcBef>
                <a:spcPct val="0"/>
              </a:spcBef>
              <a:spcAft>
                <a:spcPct val="0"/>
              </a:spcAft>
              <a:buClr>
                <a:srgbClr val="505150"/>
              </a:buClr>
              <a:buSzPct val="88000"/>
              <a:buFontTx/>
              <a:buNone/>
              <a:tabLst/>
              <a:defRPr/>
            </a:pPr>
            <a:r>
              <a:rPr kumimoji="0" lang="en-GB" sz="700" b="1" i="0" u="none" strike="noStrike" kern="1200" cap="none" spc="0" normalizeH="0" baseline="0" noProof="0" err="1">
                <a:ln>
                  <a:noFill/>
                </a:ln>
                <a:solidFill>
                  <a:prstClr val="black"/>
                </a:solidFill>
                <a:effectLst/>
                <a:uLnTx/>
                <a:uFillTx/>
                <a:latin typeface="Droid Sans"/>
                <a:ea typeface="+mn-ea"/>
                <a:cs typeface="Droid Sans" charset="0"/>
                <a:sym typeface="Droid Sans" charset="0"/>
              </a:rPr>
              <a:t>Información</a:t>
            </a:r>
            <a:r>
              <a:rPr kumimoji="0" lang="en-GB" sz="700" b="1" i="0" u="none" strike="noStrike" kern="1200" cap="none" spc="0" normalizeH="0" baseline="0" noProof="0">
                <a:ln>
                  <a:noFill/>
                </a:ln>
                <a:solidFill>
                  <a:prstClr val="black"/>
                </a:solidFill>
                <a:effectLst/>
                <a:uLnTx/>
                <a:uFillTx/>
                <a:latin typeface="Droid Sans"/>
                <a:ea typeface="+mn-ea"/>
                <a:cs typeface="Droid Sans" charset="0"/>
                <a:sym typeface="Droid Sans" charset="0"/>
              </a:rPr>
              <a:t> de Ventas </a:t>
            </a:r>
          </a:p>
        </p:txBody>
      </p:sp>
      <p:pic>
        <p:nvPicPr>
          <p:cNvPr id="119" name="Picture 10">
            <a:extLst>
              <a:ext uri="{FF2B5EF4-FFF2-40B4-BE49-F238E27FC236}">
                <a16:creationId xmlns:a16="http://schemas.microsoft.com/office/drawing/2014/main" id="{0B0B424C-D880-A984-D52F-C48159609BAB}"/>
              </a:ext>
            </a:extLst>
          </p:cNvPr>
          <p:cNvPicPr>
            <a:picLocks noChangeAspect="1" noChangeArrowheads="1"/>
          </p:cNvPicPr>
          <p:nvPr/>
        </p:nvPicPr>
        <p:blipFill>
          <a:blip r:embed="rId79" cstate="email">
            <a:extLst>
              <a:ext uri="{28A0092B-C50C-407E-A947-70E740481C1C}">
                <a14:useLocalDpi xmlns:a14="http://schemas.microsoft.com/office/drawing/2010/main"/>
              </a:ext>
            </a:extLst>
          </a:blip>
          <a:srcRect/>
          <a:stretch>
            <a:fillRect/>
          </a:stretch>
        </p:blipFill>
        <p:spPr bwMode="auto">
          <a:xfrm>
            <a:off x="5200788" y="2830144"/>
            <a:ext cx="502752" cy="188932"/>
          </a:xfrm>
          <a:prstGeom prst="rect">
            <a:avLst/>
          </a:prstGeom>
          <a:noFill/>
          <a:extLst>
            <a:ext uri="{909E8E84-426E-40DD-AFC4-6F175D3DCCD1}">
              <a14:hiddenFill xmlns:a14="http://schemas.microsoft.com/office/drawing/2010/main">
                <a:solidFill>
                  <a:srgbClr val="FFFFFF"/>
                </a:solidFill>
              </a14:hiddenFill>
            </a:ext>
          </a:extLst>
        </p:spPr>
      </p:pic>
      <p:sp>
        <p:nvSpPr>
          <p:cNvPr id="120" name="CuadroTexto 119">
            <a:extLst>
              <a:ext uri="{FF2B5EF4-FFF2-40B4-BE49-F238E27FC236}">
                <a16:creationId xmlns:a16="http://schemas.microsoft.com/office/drawing/2014/main" id="{2C6ABCF5-9141-F3A2-81D9-4B89AF8BECD6}"/>
              </a:ext>
            </a:extLst>
          </p:cNvPr>
          <p:cNvSpPr txBox="1"/>
          <p:nvPr/>
        </p:nvSpPr>
        <p:spPr>
          <a:xfrm>
            <a:off x="5748404" y="2822429"/>
            <a:ext cx="1186073" cy="200055"/>
          </a:xfrm>
          <a:prstGeom prst="rect">
            <a:avLst/>
          </a:prstGeom>
        </p:spPr>
        <p:txBody>
          <a:bodyPr wrap="square" lIns="0" rIns="0" rtlCol="0">
            <a:spAutoFit/>
          </a:bodyPr>
          <a:lstStyle/>
          <a:p>
            <a:pPr marL="0" marR="0" lvl="0" indent="0" algn="l" defTabSz="914400" rtl="0" eaLnBrk="1" fontAlgn="base" latinLnBrk="0" hangingPunct="1">
              <a:lnSpc>
                <a:spcPct val="100000"/>
              </a:lnSpc>
              <a:spcBef>
                <a:spcPct val="0"/>
              </a:spcBef>
              <a:spcAft>
                <a:spcPct val="0"/>
              </a:spcAft>
              <a:buClr>
                <a:srgbClr val="505150"/>
              </a:buClr>
              <a:buSzPct val="88000"/>
              <a:buFontTx/>
              <a:buNone/>
              <a:tabLst/>
              <a:defRPr/>
            </a:pPr>
            <a:r>
              <a:rPr kumimoji="0" lang="en-GB" sz="700" b="1" i="0" u="none" strike="noStrike" kern="1200" cap="none" spc="0" normalizeH="0" baseline="0" noProof="0" err="1">
                <a:ln>
                  <a:noFill/>
                </a:ln>
                <a:solidFill>
                  <a:prstClr val="black"/>
                </a:solidFill>
                <a:effectLst/>
                <a:uLnTx/>
                <a:uFillTx/>
                <a:latin typeface="Droid Sans"/>
                <a:ea typeface="+mn-ea"/>
                <a:cs typeface="Droid Sans" charset="0"/>
                <a:sym typeface="Droid Sans" charset="0"/>
              </a:rPr>
              <a:t>Migración</a:t>
            </a:r>
            <a:r>
              <a:rPr kumimoji="0" lang="en-GB" sz="700" b="1" i="0" u="none" strike="noStrike" kern="1200" cap="none" spc="0" normalizeH="0" baseline="0" noProof="0">
                <a:ln>
                  <a:noFill/>
                </a:ln>
                <a:solidFill>
                  <a:prstClr val="black"/>
                </a:solidFill>
                <a:effectLst/>
                <a:uLnTx/>
                <a:uFillTx/>
                <a:latin typeface="Droid Sans"/>
                <a:ea typeface="+mn-ea"/>
                <a:cs typeface="Droid Sans" charset="0"/>
                <a:sym typeface="Droid Sans" charset="0"/>
              </a:rPr>
              <a:t> </a:t>
            </a:r>
            <a:r>
              <a:rPr kumimoji="0" lang="en-GB" sz="700" b="1" i="0" u="none" strike="noStrike" kern="1200" cap="none" spc="0" normalizeH="0" baseline="0" noProof="0" err="1">
                <a:ln>
                  <a:noFill/>
                </a:ln>
                <a:solidFill>
                  <a:prstClr val="black"/>
                </a:solidFill>
                <a:effectLst/>
                <a:uLnTx/>
                <a:uFillTx/>
                <a:latin typeface="Droid Sans"/>
                <a:ea typeface="+mn-ea"/>
                <a:cs typeface="Droid Sans" charset="0"/>
                <a:sym typeface="Droid Sans" charset="0"/>
              </a:rPr>
              <a:t>Modelo</a:t>
            </a:r>
            <a:r>
              <a:rPr kumimoji="0" lang="en-GB" sz="700" b="1" i="0" u="none" strike="noStrike" kern="1200" cap="none" spc="0" normalizeH="0" baseline="0" noProof="0">
                <a:ln>
                  <a:noFill/>
                </a:ln>
                <a:solidFill>
                  <a:prstClr val="black"/>
                </a:solidFill>
                <a:effectLst/>
                <a:uLnTx/>
                <a:uFillTx/>
                <a:latin typeface="Droid Sans"/>
                <a:ea typeface="+mn-ea"/>
                <a:cs typeface="Droid Sans" charset="0"/>
                <a:sym typeface="Droid Sans" charset="0"/>
              </a:rPr>
              <a:t> </a:t>
            </a:r>
            <a:r>
              <a:rPr kumimoji="0" lang="en-GB" sz="700" b="1" i="0" u="none" strike="noStrike" kern="1200" cap="none" spc="0" normalizeH="0" baseline="0" noProof="0" err="1">
                <a:ln>
                  <a:noFill/>
                </a:ln>
                <a:solidFill>
                  <a:prstClr val="black"/>
                </a:solidFill>
                <a:effectLst/>
                <a:uLnTx/>
                <a:uFillTx/>
                <a:latin typeface="Droid Sans"/>
                <a:ea typeface="+mn-ea"/>
                <a:cs typeface="Droid Sans" charset="0"/>
                <a:sym typeface="Droid Sans" charset="0"/>
              </a:rPr>
              <a:t>Compras</a:t>
            </a:r>
            <a:endParaRPr kumimoji="0" lang="en-GB" sz="700" b="1" i="0" u="none" strike="noStrike" kern="1200" cap="none" spc="0" normalizeH="0" baseline="0" noProof="0">
              <a:ln>
                <a:noFill/>
              </a:ln>
              <a:solidFill>
                <a:prstClr val="black"/>
              </a:solidFill>
              <a:effectLst/>
              <a:uLnTx/>
              <a:uFillTx/>
              <a:latin typeface="Droid Sans"/>
              <a:ea typeface="+mn-ea"/>
              <a:cs typeface="Droid Sans" charset="0"/>
              <a:sym typeface="Droid Sans" charset="0"/>
            </a:endParaRPr>
          </a:p>
        </p:txBody>
      </p:sp>
      <p:sp>
        <p:nvSpPr>
          <p:cNvPr id="164" name="CuadroTexto 163">
            <a:extLst>
              <a:ext uri="{FF2B5EF4-FFF2-40B4-BE49-F238E27FC236}">
                <a16:creationId xmlns:a16="http://schemas.microsoft.com/office/drawing/2014/main" id="{B8281CF7-2857-1046-54A4-564FDC9E9E14}"/>
              </a:ext>
            </a:extLst>
          </p:cNvPr>
          <p:cNvSpPr txBox="1"/>
          <p:nvPr/>
        </p:nvSpPr>
        <p:spPr>
          <a:xfrm>
            <a:off x="5749141" y="3092716"/>
            <a:ext cx="1186073" cy="200055"/>
          </a:xfrm>
          <a:prstGeom prst="rect">
            <a:avLst/>
          </a:prstGeom>
        </p:spPr>
        <p:txBody>
          <a:bodyPr wrap="square" lIns="0" rIns="0" rtlCol="0">
            <a:spAutoFit/>
          </a:bodyPr>
          <a:lstStyle/>
          <a:p>
            <a:pPr marL="0" marR="0" lvl="0" indent="0" algn="l" defTabSz="914400" rtl="0" eaLnBrk="1" fontAlgn="base" latinLnBrk="0" hangingPunct="1">
              <a:lnSpc>
                <a:spcPct val="100000"/>
              </a:lnSpc>
              <a:spcBef>
                <a:spcPct val="0"/>
              </a:spcBef>
              <a:spcAft>
                <a:spcPct val="0"/>
              </a:spcAft>
              <a:buClr>
                <a:srgbClr val="505150"/>
              </a:buClr>
              <a:buSzPct val="88000"/>
              <a:buFontTx/>
              <a:buNone/>
              <a:tabLst/>
              <a:defRPr/>
            </a:pPr>
            <a:r>
              <a:rPr kumimoji="0" lang="en-GB" sz="700" b="1" i="0" u="none" strike="noStrike" kern="1200" cap="none" spc="0" normalizeH="0" baseline="0" noProof="0" err="1">
                <a:ln>
                  <a:noFill/>
                </a:ln>
                <a:solidFill>
                  <a:prstClr val="black"/>
                </a:solidFill>
                <a:effectLst/>
                <a:uLnTx/>
                <a:uFillTx/>
                <a:latin typeface="Droid Sans"/>
                <a:ea typeface="+mn-ea"/>
                <a:cs typeface="Droid Sans" charset="0"/>
                <a:sym typeface="Droid Sans" charset="0"/>
              </a:rPr>
              <a:t>Réplica</a:t>
            </a:r>
            <a:r>
              <a:rPr kumimoji="0" lang="en-GB" sz="700" b="1" i="0" u="none" strike="noStrike" kern="1200" cap="none" spc="0" normalizeH="0" baseline="0" noProof="0">
                <a:ln>
                  <a:noFill/>
                </a:ln>
                <a:solidFill>
                  <a:prstClr val="black"/>
                </a:solidFill>
                <a:effectLst/>
                <a:uLnTx/>
                <a:uFillTx/>
                <a:latin typeface="Droid Sans"/>
                <a:ea typeface="+mn-ea"/>
                <a:cs typeface="Droid Sans" charset="0"/>
                <a:sym typeface="Droid Sans" charset="0"/>
              </a:rPr>
              <a:t> </a:t>
            </a:r>
            <a:r>
              <a:rPr kumimoji="0" lang="en-GB" sz="700" b="1" i="0" u="none" strike="noStrike" kern="1200" cap="none" spc="0" normalizeH="0" baseline="0" noProof="0" err="1">
                <a:ln>
                  <a:noFill/>
                </a:ln>
                <a:solidFill>
                  <a:prstClr val="black"/>
                </a:solidFill>
                <a:effectLst/>
                <a:uLnTx/>
                <a:uFillTx/>
                <a:latin typeface="Droid Sans"/>
                <a:ea typeface="+mn-ea"/>
                <a:cs typeface="Droid Sans" charset="0"/>
                <a:sym typeface="Droid Sans" charset="0"/>
              </a:rPr>
              <a:t>modelo</a:t>
            </a:r>
            <a:r>
              <a:rPr kumimoji="0" lang="en-GB" sz="700" b="1" i="0" u="none" strike="noStrike" kern="1200" cap="none" spc="0" normalizeH="0" baseline="0" noProof="0">
                <a:ln>
                  <a:noFill/>
                </a:ln>
                <a:solidFill>
                  <a:prstClr val="black"/>
                </a:solidFill>
                <a:effectLst/>
                <a:uLnTx/>
                <a:uFillTx/>
                <a:latin typeface="Droid Sans"/>
                <a:ea typeface="+mn-ea"/>
                <a:cs typeface="Droid Sans" charset="0"/>
                <a:sym typeface="Droid Sans" charset="0"/>
              </a:rPr>
              <a:t> BW</a:t>
            </a:r>
          </a:p>
        </p:txBody>
      </p:sp>
      <p:pic>
        <p:nvPicPr>
          <p:cNvPr id="166" name="Picture 4" descr="Serveo - Facility Management and Services">
            <a:extLst>
              <a:ext uri="{FF2B5EF4-FFF2-40B4-BE49-F238E27FC236}">
                <a16:creationId xmlns:a16="http://schemas.microsoft.com/office/drawing/2014/main" id="{14B6973A-CDDB-6370-4CE9-F81D94671DD0}"/>
              </a:ext>
            </a:extLst>
          </p:cNvPr>
          <p:cNvPicPr>
            <a:picLocks noChangeAspect="1" noChangeArrowheads="1"/>
          </p:cNvPicPr>
          <p:nvPr/>
        </p:nvPicPr>
        <p:blipFill>
          <a:blip r:embed="rId80" cstate="print">
            <a:extLst>
              <a:ext uri="{28A0092B-C50C-407E-A947-70E740481C1C}">
                <a14:useLocalDpi xmlns:a14="http://schemas.microsoft.com/office/drawing/2010/main" val="0"/>
              </a:ext>
            </a:extLst>
          </a:blip>
          <a:srcRect/>
          <a:stretch>
            <a:fillRect/>
          </a:stretch>
        </p:blipFill>
        <p:spPr bwMode="auto">
          <a:xfrm>
            <a:off x="7124241" y="2795938"/>
            <a:ext cx="482400" cy="253260"/>
          </a:xfrm>
          <a:prstGeom prst="rect">
            <a:avLst/>
          </a:prstGeom>
          <a:noFill/>
          <a:extLst>
            <a:ext uri="{909E8E84-426E-40DD-AFC4-6F175D3DCCD1}">
              <a14:hiddenFill xmlns:a14="http://schemas.microsoft.com/office/drawing/2010/main">
                <a:solidFill>
                  <a:srgbClr val="FFFFFF"/>
                </a:solidFill>
              </a14:hiddenFill>
            </a:ext>
          </a:extLst>
        </p:spPr>
      </p:pic>
      <p:sp>
        <p:nvSpPr>
          <p:cNvPr id="169" name="CuadroTexto 168">
            <a:extLst>
              <a:ext uri="{FF2B5EF4-FFF2-40B4-BE49-F238E27FC236}">
                <a16:creationId xmlns:a16="http://schemas.microsoft.com/office/drawing/2014/main" id="{E54AFD71-9AC3-25EA-FD59-1F6A2CD4F380}"/>
              </a:ext>
            </a:extLst>
          </p:cNvPr>
          <p:cNvSpPr txBox="1"/>
          <p:nvPr/>
        </p:nvSpPr>
        <p:spPr>
          <a:xfrm>
            <a:off x="7674456" y="2821335"/>
            <a:ext cx="1576680" cy="204196"/>
          </a:xfrm>
          <a:prstGeom prst="rect">
            <a:avLst/>
          </a:prstGeom>
        </p:spPr>
        <p:txBody>
          <a:bodyPr wrap="square" lIns="0" rIns="0" rtlCol="0">
            <a:spAutoFit/>
          </a:bodyPr>
          <a:lstStyle/>
          <a:p>
            <a:pPr marL="0" marR="0" lvl="0" indent="0" algn="l" defTabSz="914400" rtl="0" eaLnBrk="1" fontAlgn="base" latinLnBrk="0" hangingPunct="1">
              <a:lnSpc>
                <a:spcPct val="100000"/>
              </a:lnSpc>
              <a:spcBef>
                <a:spcPct val="0"/>
              </a:spcBef>
              <a:spcAft>
                <a:spcPct val="0"/>
              </a:spcAft>
              <a:buClr>
                <a:srgbClr val="505150"/>
              </a:buClr>
              <a:buSzPct val="88000"/>
              <a:buFontTx/>
              <a:buNone/>
              <a:tabLst/>
              <a:defRPr/>
            </a:pPr>
            <a:r>
              <a:rPr kumimoji="0" lang="en-GB" sz="700" b="1" i="0" u="none" strike="noStrike" kern="1200" cap="none" spc="0" normalizeH="0" baseline="0" noProof="0" err="1">
                <a:ln>
                  <a:noFill/>
                </a:ln>
                <a:solidFill>
                  <a:prstClr val="black"/>
                </a:solidFill>
                <a:effectLst/>
                <a:uLnTx/>
                <a:uFillTx/>
                <a:latin typeface="Droid Sans"/>
                <a:ea typeface="+mn-ea"/>
                <a:cs typeface="Droid Sans" charset="0"/>
                <a:sym typeface="Droid Sans" charset="0"/>
              </a:rPr>
              <a:t>Migración</a:t>
            </a:r>
            <a:r>
              <a:rPr kumimoji="0" lang="en-GB" sz="700" b="1" i="0" u="none" strike="noStrike" kern="1200" cap="none" spc="0" normalizeH="0" baseline="0" noProof="0">
                <a:ln>
                  <a:noFill/>
                </a:ln>
                <a:solidFill>
                  <a:prstClr val="black"/>
                </a:solidFill>
                <a:effectLst/>
                <a:uLnTx/>
                <a:uFillTx/>
                <a:latin typeface="Droid Sans"/>
                <a:ea typeface="+mn-ea"/>
                <a:cs typeface="Droid Sans" charset="0"/>
                <a:sym typeface="Droid Sans" charset="0"/>
              </a:rPr>
              <a:t> </a:t>
            </a:r>
            <a:r>
              <a:rPr kumimoji="0" lang="en-GB" sz="700" b="1" i="0" u="none" strike="noStrike" kern="1200" cap="none" spc="0" normalizeH="0" baseline="0" noProof="0" err="1">
                <a:ln>
                  <a:noFill/>
                </a:ln>
                <a:solidFill>
                  <a:prstClr val="black"/>
                </a:solidFill>
                <a:effectLst/>
                <a:uLnTx/>
                <a:uFillTx/>
                <a:latin typeface="Droid Sans"/>
                <a:ea typeface="+mn-ea"/>
                <a:cs typeface="Droid Sans" charset="0"/>
                <a:sym typeface="Droid Sans" charset="0"/>
              </a:rPr>
              <a:t>Modelo</a:t>
            </a:r>
            <a:r>
              <a:rPr kumimoji="0" lang="en-GB" sz="700" b="1" i="0" u="none" strike="noStrike" kern="1200" cap="none" spc="0" normalizeH="0" baseline="0" noProof="0">
                <a:ln>
                  <a:noFill/>
                </a:ln>
                <a:solidFill>
                  <a:prstClr val="black"/>
                </a:solidFill>
                <a:effectLst/>
                <a:uLnTx/>
                <a:uFillTx/>
                <a:latin typeface="Droid Sans"/>
                <a:ea typeface="+mn-ea"/>
                <a:cs typeface="Droid Sans" charset="0"/>
                <a:sym typeface="Droid Sans" charset="0"/>
              </a:rPr>
              <a:t> Financiero</a:t>
            </a:r>
          </a:p>
        </p:txBody>
      </p:sp>
      <p:sp>
        <p:nvSpPr>
          <p:cNvPr id="171" name="CuadroTexto 170">
            <a:extLst>
              <a:ext uri="{FF2B5EF4-FFF2-40B4-BE49-F238E27FC236}">
                <a16:creationId xmlns:a16="http://schemas.microsoft.com/office/drawing/2014/main" id="{3BA6B5D5-4B62-7061-FAA5-35279DBA3565}"/>
              </a:ext>
            </a:extLst>
          </p:cNvPr>
          <p:cNvSpPr txBox="1"/>
          <p:nvPr/>
        </p:nvSpPr>
        <p:spPr>
          <a:xfrm>
            <a:off x="7674350" y="3035273"/>
            <a:ext cx="1810089" cy="307777"/>
          </a:xfrm>
          <a:prstGeom prst="rect">
            <a:avLst/>
          </a:prstGeom>
        </p:spPr>
        <p:txBody>
          <a:bodyPr wrap="square" lIns="0" rIns="0" rtlCol="0">
            <a:spAutoFit/>
          </a:bodyPr>
          <a:lstStyle/>
          <a:p>
            <a:pPr marL="0" marR="0" lvl="0" indent="0" algn="l" defTabSz="914400" rtl="0" eaLnBrk="1" fontAlgn="base" latinLnBrk="0" hangingPunct="1">
              <a:lnSpc>
                <a:spcPct val="100000"/>
              </a:lnSpc>
              <a:spcBef>
                <a:spcPct val="0"/>
              </a:spcBef>
              <a:spcAft>
                <a:spcPct val="0"/>
              </a:spcAft>
              <a:buClr>
                <a:srgbClr val="505150"/>
              </a:buClr>
              <a:buSzPct val="88000"/>
              <a:buFontTx/>
              <a:buNone/>
              <a:tabLst/>
              <a:defRPr/>
            </a:pPr>
            <a:r>
              <a:rPr kumimoji="0" lang="en-GB" sz="700" b="1" i="0" u="none" strike="noStrike" kern="1200" cap="none" spc="0" normalizeH="0" baseline="0" noProof="0" err="1">
                <a:ln>
                  <a:noFill/>
                </a:ln>
                <a:solidFill>
                  <a:prstClr val="black"/>
                </a:solidFill>
                <a:effectLst/>
                <a:uLnTx/>
                <a:uFillTx/>
                <a:latin typeface="Droid Sans"/>
                <a:ea typeface="+mn-ea"/>
                <a:cs typeface="Droid Sans" charset="0"/>
                <a:sym typeface="Droid Sans" charset="0"/>
              </a:rPr>
              <a:t>Migración</a:t>
            </a:r>
            <a:r>
              <a:rPr kumimoji="0" lang="en-GB" sz="700" b="1" i="0" u="none" strike="noStrike" kern="1200" cap="none" spc="0" normalizeH="0" baseline="0" noProof="0">
                <a:ln>
                  <a:noFill/>
                </a:ln>
                <a:solidFill>
                  <a:prstClr val="black"/>
                </a:solidFill>
                <a:effectLst/>
                <a:uLnTx/>
                <a:uFillTx/>
                <a:latin typeface="Droid Sans"/>
                <a:ea typeface="+mn-ea"/>
                <a:cs typeface="Droid Sans" charset="0"/>
                <a:sym typeface="Droid Sans" charset="0"/>
              </a:rPr>
              <a:t> </a:t>
            </a:r>
            <a:r>
              <a:rPr kumimoji="0" lang="en-GB" sz="700" b="1" i="0" u="none" strike="noStrike" kern="1200" cap="none" spc="0" normalizeH="0" baseline="0" noProof="0" err="1">
                <a:ln>
                  <a:noFill/>
                </a:ln>
                <a:solidFill>
                  <a:prstClr val="black"/>
                </a:solidFill>
                <a:effectLst/>
                <a:uLnTx/>
                <a:uFillTx/>
                <a:latin typeface="Droid Sans"/>
                <a:ea typeface="+mn-ea"/>
                <a:cs typeface="Droid Sans" charset="0"/>
                <a:sym typeface="Droid Sans" charset="0"/>
              </a:rPr>
              <a:t>Modelos</a:t>
            </a:r>
            <a:r>
              <a:rPr kumimoji="0" lang="en-GB" sz="700" b="1" i="0" u="none" strike="noStrike" kern="1200" cap="none" spc="0" normalizeH="0" baseline="0" noProof="0">
                <a:ln>
                  <a:noFill/>
                </a:ln>
                <a:solidFill>
                  <a:prstClr val="black"/>
                </a:solidFill>
                <a:effectLst/>
                <a:uLnTx/>
                <a:uFillTx/>
                <a:latin typeface="Droid Sans"/>
                <a:ea typeface="+mn-ea"/>
                <a:cs typeface="Droid Sans" charset="0"/>
                <a:sym typeface="Droid Sans" charset="0"/>
              </a:rPr>
              <a:t> Legal, </a:t>
            </a:r>
            <a:r>
              <a:rPr kumimoji="0" lang="en-GB" sz="700" b="1" i="0" u="none" strike="noStrike" kern="1200" cap="none" spc="0" normalizeH="0" baseline="0" noProof="0" err="1">
                <a:ln>
                  <a:noFill/>
                </a:ln>
                <a:solidFill>
                  <a:prstClr val="black"/>
                </a:solidFill>
                <a:effectLst/>
                <a:uLnTx/>
                <a:uFillTx/>
                <a:latin typeface="Droid Sans"/>
                <a:ea typeface="+mn-ea"/>
                <a:cs typeface="Droid Sans" charset="0"/>
                <a:sym typeface="Droid Sans" charset="0"/>
              </a:rPr>
              <a:t>Estructura</a:t>
            </a:r>
            <a:r>
              <a:rPr kumimoji="0" lang="en-GB" sz="700" b="1" i="0" u="none" strike="noStrike" kern="1200" cap="none" spc="0" normalizeH="0" baseline="0" noProof="0">
                <a:ln>
                  <a:noFill/>
                </a:ln>
                <a:solidFill>
                  <a:prstClr val="black"/>
                </a:solidFill>
                <a:effectLst/>
                <a:uLnTx/>
                <a:uFillTx/>
                <a:latin typeface="Droid Sans"/>
                <a:ea typeface="+mn-ea"/>
                <a:cs typeface="Droid Sans" charset="0"/>
                <a:sym typeface="Droid Sans" charset="0"/>
              </a:rPr>
              <a:t>, </a:t>
            </a:r>
            <a:r>
              <a:rPr kumimoji="0" lang="en-GB" sz="700" b="1" i="0" u="none" strike="noStrike" kern="1200" cap="none" spc="0" normalizeH="0" baseline="0" noProof="0" err="1">
                <a:ln>
                  <a:noFill/>
                </a:ln>
                <a:solidFill>
                  <a:prstClr val="black"/>
                </a:solidFill>
                <a:effectLst/>
                <a:uLnTx/>
                <a:uFillTx/>
                <a:latin typeface="Droid Sans"/>
                <a:ea typeface="+mn-ea"/>
                <a:cs typeface="Droid Sans" charset="0"/>
                <a:sym typeface="Droid Sans" charset="0"/>
              </a:rPr>
              <a:t>Operacional</a:t>
            </a:r>
            <a:r>
              <a:rPr kumimoji="0" lang="en-GB" sz="700" b="1" i="0" u="none" strike="noStrike" kern="1200" cap="none" spc="0" normalizeH="0" baseline="0" noProof="0">
                <a:ln>
                  <a:noFill/>
                </a:ln>
                <a:solidFill>
                  <a:prstClr val="black"/>
                </a:solidFill>
                <a:effectLst/>
                <a:uLnTx/>
                <a:uFillTx/>
                <a:latin typeface="Droid Sans"/>
                <a:ea typeface="+mn-ea"/>
                <a:cs typeface="Droid Sans" charset="0"/>
                <a:sym typeface="Droid Sans" charset="0"/>
              </a:rPr>
              <a:t> y </a:t>
            </a:r>
            <a:r>
              <a:rPr kumimoji="0" lang="en-GB" sz="700" b="1" i="0" u="none" strike="noStrike" kern="1200" cap="none" spc="0" normalizeH="0" baseline="0" noProof="0" err="1">
                <a:ln>
                  <a:noFill/>
                </a:ln>
                <a:solidFill>
                  <a:prstClr val="black"/>
                </a:solidFill>
                <a:effectLst/>
                <a:uLnTx/>
                <a:uFillTx/>
                <a:latin typeface="Droid Sans"/>
                <a:ea typeface="+mn-ea"/>
                <a:cs typeface="Droid Sans" charset="0"/>
                <a:sym typeface="Droid Sans" charset="0"/>
              </a:rPr>
              <a:t>Consolidación</a:t>
            </a:r>
            <a:endParaRPr kumimoji="0" lang="en-GB" sz="700" b="1" i="0" u="none" strike="noStrike" kern="1200" cap="none" spc="0" normalizeH="0" baseline="0" noProof="0">
              <a:ln>
                <a:noFill/>
              </a:ln>
              <a:solidFill>
                <a:prstClr val="black"/>
              </a:solidFill>
              <a:effectLst/>
              <a:uLnTx/>
              <a:uFillTx/>
              <a:latin typeface="Droid Sans"/>
              <a:ea typeface="+mn-ea"/>
              <a:cs typeface="Droid Sans" charset="0"/>
              <a:sym typeface="Droid Sans" charset="0"/>
            </a:endParaRPr>
          </a:p>
        </p:txBody>
      </p:sp>
      <p:pic>
        <p:nvPicPr>
          <p:cNvPr id="1038" name="Imagen 1037">
            <a:extLst>
              <a:ext uri="{FF2B5EF4-FFF2-40B4-BE49-F238E27FC236}">
                <a16:creationId xmlns:a16="http://schemas.microsoft.com/office/drawing/2014/main" id="{FA223EFF-FFB1-4AB3-9B09-58604B943D91}"/>
              </a:ext>
            </a:extLst>
          </p:cNvPr>
          <p:cNvPicPr>
            <a:picLocks noChangeAspect="1"/>
          </p:cNvPicPr>
          <p:nvPr/>
        </p:nvPicPr>
        <p:blipFill>
          <a:blip r:embed="rId77"/>
          <a:stretch>
            <a:fillRect/>
          </a:stretch>
        </p:blipFill>
        <p:spPr>
          <a:xfrm>
            <a:off x="7162408" y="3097376"/>
            <a:ext cx="423508" cy="190240"/>
          </a:xfrm>
          <a:prstGeom prst="rect">
            <a:avLst/>
          </a:prstGeom>
        </p:spPr>
      </p:pic>
      <p:pic>
        <p:nvPicPr>
          <p:cNvPr id="1039" name="Picture 10" descr="Getting Started with SAP Datasphere | SAP Community">
            <a:extLst>
              <a:ext uri="{FF2B5EF4-FFF2-40B4-BE49-F238E27FC236}">
                <a16:creationId xmlns:a16="http://schemas.microsoft.com/office/drawing/2014/main" id="{584F626E-5E78-93B4-25CE-7DC21F6E9B0C}"/>
              </a:ext>
            </a:extLst>
          </p:cNvPr>
          <p:cNvPicPr>
            <a:picLocks noChangeAspect="1" noChangeArrowheads="1"/>
          </p:cNvPicPr>
          <p:nvPr/>
        </p:nvPicPr>
        <p:blipFill>
          <a:blip r:embed="rId81">
            <a:extLst>
              <a:ext uri="{28A0092B-C50C-407E-A947-70E740481C1C}">
                <a14:useLocalDpi xmlns:a14="http://schemas.microsoft.com/office/drawing/2010/main" val="0"/>
              </a:ext>
            </a:extLst>
          </a:blip>
          <a:srcRect/>
          <a:stretch>
            <a:fillRect/>
          </a:stretch>
        </p:blipFill>
        <p:spPr bwMode="auto">
          <a:xfrm>
            <a:off x="557999" y="2817731"/>
            <a:ext cx="508524" cy="508524"/>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2" descr="Getting Started with SAP Datasphere | SAP Community">
            <a:extLst>
              <a:ext uri="{FF2B5EF4-FFF2-40B4-BE49-F238E27FC236}">
                <a16:creationId xmlns:a16="http://schemas.microsoft.com/office/drawing/2014/main" id="{D43E4405-6D38-5233-4CDA-046E8E907FD9}"/>
              </a:ext>
            </a:extLst>
          </p:cNvPr>
          <p:cNvPicPr>
            <a:picLocks noChangeAspect="1" noChangeArrowheads="1"/>
          </p:cNvPicPr>
          <p:nvPr/>
        </p:nvPicPr>
        <p:blipFill rotWithShape="1">
          <a:blip r:embed="rId82">
            <a:extLst>
              <a:ext uri="{28A0092B-C50C-407E-A947-70E740481C1C}">
                <a14:useLocalDpi xmlns:a14="http://schemas.microsoft.com/office/drawing/2010/main" val="0"/>
              </a:ext>
            </a:extLst>
          </a:blip>
          <a:srcRect/>
          <a:stretch/>
        </p:blipFill>
        <p:spPr bwMode="auto">
          <a:xfrm>
            <a:off x="199504" y="3173270"/>
            <a:ext cx="1168556" cy="316081"/>
          </a:xfrm>
          <a:prstGeom prst="rect">
            <a:avLst/>
          </a:prstGeom>
          <a:noFill/>
          <a:extLst>
            <a:ext uri="{909E8E84-426E-40DD-AFC4-6F175D3DCCD1}">
              <a14:hiddenFill xmlns:a14="http://schemas.microsoft.com/office/drawing/2010/main">
                <a:solidFill>
                  <a:srgbClr val="FFFFFF"/>
                </a:solidFill>
              </a14:hiddenFill>
            </a:ext>
          </a:extLst>
        </p:spPr>
      </p:pic>
      <p:sp>
        <p:nvSpPr>
          <p:cNvPr id="1041" name="CuadroTexto 1040">
            <a:extLst>
              <a:ext uri="{FF2B5EF4-FFF2-40B4-BE49-F238E27FC236}">
                <a16:creationId xmlns:a16="http://schemas.microsoft.com/office/drawing/2014/main" id="{B1893340-62F5-9C4F-5961-1513D92CF8C1}"/>
              </a:ext>
            </a:extLst>
          </p:cNvPr>
          <p:cNvSpPr txBox="1"/>
          <p:nvPr/>
        </p:nvSpPr>
        <p:spPr>
          <a:xfrm>
            <a:off x="521705" y="3474233"/>
            <a:ext cx="1278401" cy="200055"/>
          </a:xfrm>
          <a:prstGeom prst="rect">
            <a:avLst/>
          </a:prstGeom>
        </p:spPr>
        <p:txBody>
          <a:bodyPr wrap="square" lIns="0" rIns="0" rtlCol="0">
            <a:spAutoFit/>
          </a:bodyPr>
          <a:lstStyle/>
          <a:p>
            <a:pPr marL="0" marR="0" lvl="0" indent="0" algn="l" defTabSz="914400" rtl="0" eaLnBrk="1" fontAlgn="base" latinLnBrk="0" hangingPunct="1">
              <a:lnSpc>
                <a:spcPct val="100000"/>
              </a:lnSpc>
              <a:spcBef>
                <a:spcPct val="0"/>
              </a:spcBef>
              <a:spcAft>
                <a:spcPct val="0"/>
              </a:spcAft>
              <a:buClr>
                <a:srgbClr val="505150"/>
              </a:buClr>
              <a:buSzPct val="88000"/>
              <a:buFontTx/>
              <a:buNone/>
              <a:tabLst/>
              <a:defRPr/>
            </a:pPr>
            <a:r>
              <a:rPr kumimoji="0" lang="en-GB" sz="700" b="1" i="0" u="none" strike="noStrike" kern="1200" cap="none" spc="0" normalizeH="0" baseline="0" noProof="0">
                <a:ln>
                  <a:noFill/>
                </a:ln>
                <a:solidFill>
                  <a:srgbClr val="E7E6E6">
                    <a:lumMod val="25000"/>
                  </a:srgbClr>
                </a:solidFill>
                <a:effectLst/>
                <a:uLnTx/>
                <a:uFillTx/>
                <a:latin typeface="Droid Sans"/>
                <a:ea typeface="+mn-ea"/>
                <a:cs typeface="Droid Sans" charset="0"/>
                <a:sym typeface="Droid Sans" charset="0"/>
              </a:rPr>
              <a:t>+15 references</a:t>
            </a:r>
          </a:p>
        </p:txBody>
      </p:sp>
      <p:pic>
        <p:nvPicPr>
          <p:cNvPr id="1042" name="Picture 10" descr="Cuatrecasas top law firm for venture capital deals in Q3 2019 - Iberian  Lawyer">
            <a:extLst>
              <a:ext uri="{FF2B5EF4-FFF2-40B4-BE49-F238E27FC236}">
                <a16:creationId xmlns:a16="http://schemas.microsoft.com/office/drawing/2014/main" id="{650C5F3A-C4B6-8787-D590-7735FB21CC8C}"/>
              </a:ext>
            </a:extLst>
          </p:cNvPr>
          <p:cNvPicPr>
            <a:picLocks noChangeAspect="1" noChangeArrowheads="1"/>
          </p:cNvPicPr>
          <p:nvPr/>
        </p:nvPicPr>
        <p:blipFill rotWithShape="1">
          <a:blip r:embed="rId83">
            <a:extLst>
              <a:ext uri="{28A0092B-C50C-407E-A947-70E740481C1C}">
                <a14:useLocalDpi xmlns:a14="http://schemas.microsoft.com/office/drawing/2010/main" val="0"/>
              </a:ext>
            </a:extLst>
          </a:blip>
          <a:srcRect/>
          <a:stretch/>
        </p:blipFill>
        <p:spPr bwMode="auto">
          <a:xfrm>
            <a:off x="9218078" y="2847156"/>
            <a:ext cx="1005565" cy="180000"/>
          </a:xfrm>
          <a:prstGeom prst="rect">
            <a:avLst/>
          </a:prstGeom>
          <a:noFill/>
          <a:extLst>
            <a:ext uri="{909E8E84-426E-40DD-AFC4-6F175D3DCCD1}">
              <a14:hiddenFill xmlns:a14="http://schemas.microsoft.com/office/drawing/2010/main">
                <a:solidFill>
                  <a:srgbClr val="FFFFFF"/>
                </a:solidFill>
              </a14:hiddenFill>
            </a:ext>
          </a:extLst>
        </p:spPr>
      </p:pic>
      <p:sp>
        <p:nvSpPr>
          <p:cNvPr id="1043" name="CuadroTexto 1042">
            <a:extLst>
              <a:ext uri="{FF2B5EF4-FFF2-40B4-BE49-F238E27FC236}">
                <a16:creationId xmlns:a16="http://schemas.microsoft.com/office/drawing/2014/main" id="{E1425F89-B0C4-C093-7CD5-681AB50ECC6B}"/>
              </a:ext>
            </a:extLst>
          </p:cNvPr>
          <p:cNvSpPr txBox="1"/>
          <p:nvPr/>
        </p:nvSpPr>
        <p:spPr>
          <a:xfrm>
            <a:off x="10204925" y="2803642"/>
            <a:ext cx="1576680" cy="200055"/>
          </a:xfrm>
          <a:prstGeom prst="rect">
            <a:avLst/>
          </a:prstGeom>
        </p:spPr>
        <p:txBody>
          <a:bodyPr wrap="square" lIns="0" rIns="0" rtlCol="0">
            <a:spAutoFit/>
          </a:bodyPr>
          <a:lstStyle/>
          <a:p>
            <a:pPr marL="0" marR="0" lvl="0" indent="0" algn="l" defTabSz="914400" rtl="0" eaLnBrk="1" fontAlgn="base" latinLnBrk="0" hangingPunct="1">
              <a:lnSpc>
                <a:spcPct val="100000"/>
              </a:lnSpc>
              <a:spcBef>
                <a:spcPct val="0"/>
              </a:spcBef>
              <a:spcAft>
                <a:spcPct val="0"/>
              </a:spcAft>
              <a:buClr>
                <a:srgbClr val="505150"/>
              </a:buClr>
              <a:buSzPct val="88000"/>
              <a:buFontTx/>
              <a:buNone/>
              <a:tabLst/>
              <a:defRPr/>
            </a:pPr>
            <a:r>
              <a:rPr kumimoji="0" lang="en-GB" sz="700" b="1" i="0" u="none" strike="noStrike" kern="1200" cap="none" spc="0" normalizeH="0" baseline="0" noProof="0" err="1">
                <a:ln>
                  <a:noFill/>
                </a:ln>
                <a:solidFill>
                  <a:prstClr val="black"/>
                </a:solidFill>
                <a:effectLst/>
                <a:uLnTx/>
                <a:uFillTx/>
                <a:latin typeface="Droid Sans"/>
                <a:ea typeface="+mn-ea"/>
                <a:cs typeface="+mn-cs"/>
                <a:sym typeface="Droid Sans" charset="0"/>
              </a:rPr>
              <a:t>Migración</a:t>
            </a:r>
            <a:r>
              <a:rPr kumimoji="0" lang="en-GB" sz="700" b="1" i="0" u="none" strike="noStrike" kern="1200" cap="none" spc="0" normalizeH="0" baseline="0" noProof="0">
                <a:ln>
                  <a:noFill/>
                </a:ln>
                <a:solidFill>
                  <a:prstClr val="black"/>
                </a:solidFill>
                <a:effectLst/>
                <a:uLnTx/>
                <a:uFillTx/>
                <a:latin typeface="Droid Sans"/>
                <a:ea typeface="+mn-ea"/>
                <a:cs typeface="+mn-cs"/>
                <a:sym typeface="Droid Sans" charset="0"/>
              </a:rPr>
              <a:t> BW e </a:t>
            </a:r>
            <a:r>
              <a:rPr kumimoji="0" lang="en-GB" sz="700" b="1" i="0" u="none" strike="noStrike" kern="1200" cap="none" spc="0" normalizeH="0" baseline="0" noProof="0" err="1">
                <a:ln>
                  <a:noFill/>
                </a:ln>
                <a:solidFill>
                  <a:prstClr val="black"/>
                </a:solidFill>
                <a:effectLst/>
                <a:uLnTx/>
                <a:uFillTx/>
                <a:latin typeface="Droid Sans"/>
                <a:ea typeface="+mn-ea"/>
                <a:cs typeface="+mn-cs"/>
                <a:sym typeface="Droid Sans" charset="0"/>
              </a:rPr>
              <a:t>Informes</a:t>
            </a:r>
            <a:r>
              <a:rPr kumimoji="0" lang="en-GB" sz="700" b="1" i="0" u="none" strike="noStrike" kern="1200" cap="none" spc="0" normalizeH="0" baseline="0" noProof="0">
                <a:ln>
                  <a:noFill/>
                </a:ln>
                <a:solidFill>
                  <a:prstClr val="black"/>
                </a:solidFill>
                <a:effectLst/>
                <a:uLnTx/>
                <a:uFillTx/>
                <a:latin typeface="Droid Sans"/>
                <a:ea typeface="+mn-ea"/>
                <a:cs typeface="+mn-cs"/>
                <a:sym typeface="Droid Sans" charset="0"/>
              </a:rPr>
              <a:t> SAC</a:t>
            </a:r>
          </a:p>
        </p:txBody>
      </p:sp>
      <p:pic>
        <p:nvPicPr>
          <p:cNvPr id="1044" name="Imagen 1043">
            <a:extLst>
              <a:ext uri="{FF2B5EF4-FFF2-40B4-BE49-F238E27FC236}">
                <a16:creationId xmlns:a16="http://schemas.microsoft.com/office/drawing/2014/main" id="{90F7103A-9694-A684-00EC-DE3D76A8E4C9}"/>
              </a:ext>
            </a:extLst>
          </p:cNvPr>
          <p:cNvPicPr>
            <a:picLocks noChangeAspect="1"/>
          </p:cNvPicPr>
          <p:nvPr/>
        </p:nvPicPr>
        <p:blipFill>
          <a:blip r:embed="rId84"/>
          <a:stretch>
            <a:fillRect/>
          </a:stretch>
        </p:blipFill>
        <p:spPr>
          <a:xfrm>
            <a:off x="9332876" y="3098511"/>
            <a:ext cx="792000" cy="107811"/>
          </a:xfrm>
          <a:prstGeom prst="rect">
            <a:avLst/>
          </a:prstGeom>
        </p:spPr>
      </p:pic>
      <p:sp>
        <p:nvSpPr>
          <p:cNvPr id="1045" name="CuadroTexto 1044">
            <a:extLst>
              <a:ext uri="{FF2B5EF4-FFF2-40B4-BE49-F238E27FC236}">
                <a16:creationId xmlns:a16="http://schemas.microsoft.com/office/drawing/2014/main" id="{1EB9CB67-3628-D7B0-C375-99A046366829}"/>
              </a:ext>
            </a:extLst>
          </p:cNvPr>
          <p:cNvSpPr txBox="1"/>
          <p:nvPr/>
        </p:nvSpPr>
        <p:spPr>
          <a:xfrm>
            <a:off x="10191924" y="3002207"/>
            <a:ext cx="1576680" cy="307777"/>
          </a:xfrm>
          <a:prstGeom prst="rect">
            <a:avLst/>
          </a:prstGeom>
        </p:spPr>
        <p:txBody>
          <a:bodyPr wrap="square" lIns="0" rIns="0" rtlCol="0">
            <a:spAutoFit/>
          </a:bodyPr>
          <a:lstStyle/>
          <a:p>
            <a:pPr marL="0" marR="0" lvl="0" indent="0" algn="l" defTabSz="914400" rtl="0" eaLnBrk="1" fontAlgn="base" latinLnBrk="0" hangingPunct="1">
              <a:lnSpc>
                <a:spcPct val="100000"/>
              </a:lnSpc>
              <a:spcBef>
                <a:spcPct val="0"/>
              </a:spcBef>
              <a:spcAft>
                <a:spcPct val="0"/>
              </a:spcAft>
              <a:buClr>
                <a:srgbClr val="505150"/>
              </a:buClr>
              <a:buSzPct val="88000"/>
              <a:buFontTx/>
              <a:buNone/>
              <a:tabLst/>
              <a:defRPr/>
            </a:pPr>
            <a:r>
              <a:rPr kumimoji="0" lang="en-GB" sz="700" b="1" i="0" u="none" strike="noStrike" kern="1200" cap="none" spc="0" normalizeH="0" baseline="0" noProof="0" err="1">
                <a:ln>
                  <a:noFill/>
                </a:ln>
                <a:solidFill>
                  <a:prstClr val="black"/>
                </a:solidFill>
                <a:effectLst/>
                <a:uLnTx/>
                <a:uFillTx/>
                <a:latin typeface="Droid Sans"/>
                <a:ea typeface="+mn-ea"/>
                <a:cs typeface="+mn-cs"/>
                <a:sym typeface="Droid Sans" charset="0"/>
              </a:rPr>
              <a:t>Implementación</a:t>
            </a:r>
            <a:r>
              <a:rPr kumimoji="0" lang="en-GB" sz="700" b="1" i="0" u="none" strike="noStrike" kern="1200" cap="none" spc="0" normalizeH="0" baseline="0" noProof="0">
                <a:ln>
                  <a:noFill/>
                </a:ln>
                <a:solidFill>
                  <a:prstClr val="black"/>
                </a:solidFill>
                <a:effectLst/>
                <a:uLnTx/>
                <a:uFillTx/>
                <a:latin typeface="Droid Sans"/>
                <a:ea typeface="+mn-ea"/>
                <a:cs typeface="+mn-cs"/>
                <a:sym typeface="Droid Sans" charset="0"/>
              </a:rPr>
              <a:t> dataflow </a:t>
            </a:r>
            <a:r>
              <a:rPr kumimoji="0" lang="en-GB" sz="700" b="1" i="0" u="none" strike="noStrike" kern="1200" cap="none" spc="0" normalizeH="0" baseline="0" noProof="0" err="1">
                <a:ln>
                  <a:noFill/>
                </a:ln>
                <a:solidFill>
                  <a:prstClr val="black"/>
                </a:solidFill>
                <a:effectLst/>
                <a:uLnTx/>
                <a:uFillTx/>
                <a:latin typeface="Droid Sans"/>
                <a:ea typeface="+mn-ea"/>
                <a:cs typeface="+mn-cs"/>
                <a:sym typeface="Droid Sans" charset="0"/>
              </a:rPr>
              <a:t>compras</a:t>
            </a:r>
            <a:r>
              <a:rPr kumimoji="0" lang="en-GB" sz="700" b="1" i="0" u="none" strike="noStrike" kern="1200" cap="none" spc="0" normalizeH="0" baseline="0" noProof="0">
                <a:ln>
                  <a:noFill/>
                </a:ln>
                <a:solidFill>
                  <a:prstClr val="black"/>
                </a:solidFill>
                <a:effectLst/>
                <a:uLnTx/>
                <a:uFillTx/>
                <a:latin typeface="Droid Sans"/>
                <a:ea typeface="+mn-ea"/>
                <a:cs typeface="+mn-cs"/>
                <a:sym typeface="Droid Sans" charset="0"/>
              </a:rPr>
              <a:t> e </a:t>
            </a:r>
            <a:r>
              <a:rPr kumimoji="0" lang="en-GB" sz="700" b="1" i="0" u="none" strike="noStrike" kern="1200" cap="none" spc="0" normalizeH="0" baseline="0" noProof="0" err="1">
                <a:ln>
                  <a:noFill/>
                </a:ln>
                <a:solidFill>
                  <a:prstClr val="black"/>
                </a:solidFill>
                <a:effectLst/>
                <a:uLnTx/>
                <a:uFillTx/>
                <a:latin typeface="Droid Sans"/>
                <a:ea typeface="+mn-ea"/>
                <a:cs typeface="+mn-cs"/>
                <a:sym typeface="Droid Sans" charset="0"/>
              </a:rPr>
              <a:t>Informes</a:t>
            </a:r>
            <a:r>
              <a:rPr kumimoji="0" lang="en-GB" sz="700" b="1" i="0" u="none" strike="noStrike" kern="1200" cap="none" spc="0" normalizeH="0" baseline="0" noProof="0">
                <a:ln>
                  <a:noFill/>
                </a:ln>
                <a:solidFill>
                  <a:prstClr val="black"/>
                </a:solidFill>
                <a:effectLst/>
                <a:uLnTx/>
                <a:uFillTx/>
                <a:latin typeface="Droid Sans"/>
                <a:ea typeface="+mn-ea"/>
                <a:cs typeface="+mn-cs"/>
                <a:sym typeface="Droid Sans" charset="0"/>
              </a:rPr>
              <a:t> SAC</a:t>
            </a:r>
          </a:p>
        </p:txBody>
      </p:sp>
      <p:pic>
        <p:nvPicPr>
          <p:cNvPr id="1046" name="Picture 4">
            <a:extLst>
              <a:ext uri="{FF2B5EF4-FFF2-40B4-BE49-F238E27FC236}">
                <a16:creationId xmlns:a16="http://schemas.microsoft.com/office/drawing/2014/main" id="{993666C3-5101-8A10-0F63-A500B696E89D}"/>
              </a:ext>
            </a:extLst>
          </p:cNvPr>
          <p:cNvPicPr>
            <a:picLocks noChangeAspect="1" noChangeArrowheads="1"/>
          </p:cNvPicPr>
          <p:nvPr/>
        </p:nvPicPr>
        <p:blipFill rotWithShape="1">
          <a:blip r:embed="rId85">
            <a:extLst>
              <a:ext uri="{28A0092B-C50C-407E-A947-70E740481C1C}">
                <a14:useLocalDpi xmlns:a14="http://schemas.microsoft.com/office/drawing/2010/main" val="0"/>
              </a:ext>
            </a:extLst>
          </a:blip>
          <a:srcRect/>
          <a:stretch/>
        </p:blipFill>
        <p:spPr bwMode="auto">
          <a:xfrm>
            <a:off x="1562065" y="3415935"/>
            <a:ext cx="447385" cy="171140"/>
          </a:xfrm>
          <a:prstGeom prst="rect">
            <a:avLst/>
          </a:prstGeom>
          <a:noFill/>
          <a:extLst>
            <a:ext uri="{909E8E84-426E-40DD-AFC4-6F175D3DCCD1}">
              <a14:hiddenFill xmlns:a14="http://schemas.microsoft.com/office/drawing/2010/main">
                <a:solidFill>
                  <a:srgbClr val="FFFFFF"/>
                </a:solidFill>
              </a14:hiddenFill>
            </a:ext>
          </a:extLst>
        </p:spPr>
      </p:pic>
      <p:sp>
        <p:nvSpPr>
          <p:cNvPr id="1047" name="CuadroTexto 1046">
            <a:extLst>
              <a:ext uri="{FF2B5EF4-FFF2-40B4-BE49-F238E27FC236}">
                <a16:creationId xmlns:a16="http://schemas.microsoft.com/office/drawing/2014/main" id="{C1CD3E90-C714-7FAD-C604-8DF575553171}"/>
              </a:ext>
            </a:extLst>
          </p:cNvPr>
          <p:cNvSpPr txBox="1"/>
          <p:nvPr/>
        </p:nvSpPr>
        <p:spPr>
          <a:xfrm>
            <a:off x="2029937" y="3406713"/>
            <a:ext cx="1256797" cy="200055"/>
          </a:xfrm>
          <a:prstGeom prst="rect">
            <a:avLst/>
          </a:prstGeom>
        </p:spPr>
        <p:txBody>
          <a:bodyPr wrap="square" lIns="0" rIns="0" rtlCol="0">
            <a:spAutoFit/>
          </a:bodyPr>
          <a:lstStyle/>
          <a:p>
            <a:pPr marL="0" marR="0" lvl="0" indent="0" algn="l" defTabSz="914400" rtl="0" eaLnBrk="1" fontAlgn="base" latinLnBrk="0" hangingPunct="1">
              <a:lnSpc>
                <a:spcPct val="100000"/>
              </a:lnSpc>
              <a:spcBef>
                <a:spcPct val="0"/>
              </a:spcBef>
              <a:spcAft>
                <a:spcPct val="0"/>
              </a:spcAft>
              <a:buClr>
                <a:srgbClr val="505150"/>
              </a:buClr>
              <a:buSzPct val="88000"/>
              <a:buFontTx/>
              <a:buNone/>
              <a:tabLst/>
              <a:defRPr/>
            </a:pPr>
            <a:r>
              <a:rPr kumimoji="0" lang="en-GB" sz="700" b="1" i="0" u="none" strike="noStrike" kern="1200" cap="none" spc="0" normalizeH="0" baseline="0" noProof="0">
                <a:ln>
                  <a:noFill/>
                </a:ln>
                <a:solidFill>
                  <a:prstClr val="black"/>
                </a:solidFill>
                <a:effectLst/>
                <a:uLnTx/>
                <a:uFillTx/>
                <a:latin typeface="Droid Sans"/>
                <a:ea typeface="+mn-ea"/>
                <a:cs typeface="Droid Sans" charset="0"/>
                <a:sym typeface="Droid Sans" charset="0"/>
              </a:rPr>
              <a:t>Nueva </a:t>
            </a:r>
            <a:r>
              <a:rPr kumimoji="0" lang="en-GB" sz="700" b="1" i="0" u="none" strike="noStrike" kern="1200" cap="none" spc="0" normalizeH="0" baseline="0" noProof="0" err="1">
                <a:ln>
                  <a:noFill/>
                </a:ln>
                <a:solidFill>
                  <a:prstClr val="black"/>
                </a:solidFill>
                <a:effectLst/>
                <a:uLnTx/>
                <a:uFillTx/>
                <a:latin typeface="Droid Sans"/>
                <a:ea typeface="+mn-ea"/>
                <a:cs typeface="Droid Sans" charset="0"/>
                <a:sym typeface="Droid Sans" charset="0"/>
              </a:rPr>
              <a:t>plataforma</a:t>
            </a:r>
            <a:r>
              <a:rPr kumimoji="0" lang="en-GB" sz="700" b="1" i="0" u="none" strike="noStrike" kern="1200" cap="none" spc="0" normalizeH="0" baseline="0" noProof="0">
                <a:ln>
                  <a:noFill/>
                </a:ln>
                <a:solidFill>
                  <a:prstClr val="black"/>
                </a:solidFill>
                <a:effectLst/>
                <a:uLnTx/>
                <a:uFillTx/>
                <a:latin typeface="Droid Sans"/>
                <a:ea typeface="+mn-ea"/>
                <a:cs typeface="Droid Sans" charset="0"/>
                <a:sym typeface="Droid Sans" charset="0"/>
              </a:rPr>
              <a:t> </a:t>
            </a:r>
            <a:r>
              <a:rPr kumimoji="0" lang="en-GB" sz="700" b="1" i="0" u="none" strike="noStrike" kern="1200" cap="none" spc="0" normalizeH="0" baseline="0" noProof="0" err="1">
                <a:ln>
                  <a:noFill/>
                </a:ln>
                <a:solidFill>
                  <a:prstClr val="black"/>
                </a:solidFill>
                <a:effectLst/>
                <a:uLnTx/>
                <a:uFillTx/>
                <a:latin typeface="Droid Sans"/>
                <a:ea typeface="+mn-ea"/>
                <a:cs typeface="Droid Sans" charset="0"/>
                <a:sym typeface="Droid Sans" charset="0"/>
              </a:rPr>
              <a:t>analítica</a:t>
            </a:r>
            <a:endParaRPr kumimoji="0" lang="en-GB" sz="700" b="1" i="0" u="none" strike="noStrike" kern="1200" cap="none" spc="0" normalizeH="0" baseline="0" noProof="0">
              <a:ln>
                <a:noFill/>
              </a:ln>
              <a:solidFill>
                <a:prstClr val="black"/>
              </a:solidFill>
              <a:effectLst/>
              <a:uLnTx/>
              <a:uFillTx/>
              <a:latin typeface="Droid Sans"/>
              <a:ea typeface="+mn-ea"/>
              <a:cs typeface="Droid Sans" charset="0"/>
              <a:sym typeface="Droid Sans" charset="0"/>
            </a:endParaRPr>
          </a:p>
        </p:txBody>
      </p:sp>
      <p:pic>
        <p:nvPicPr>
          <p:cNvPr id="1048" name="Picture 2" descr="Liverpool – Centro Santa Fe">
            <a:extLst>
              <a:ext uri="{FF2B5EF4-FFF2-40B4-BE49-F238E27FC236}">
                <a16:creationId xmlns:a16="http://schemas.microsoft.com/office/drawing/2014/main" id="{6FA9ADFD-4DEF-46C3-291B-33237574345C}"/>
              </a:ext>
            </a:extLst>
          </p:cNvPr>
          <p:cNvPicPr>
            <a:picLocks noChangeAspect="1" noChangeArrowheads="1"/>
          </p:cNvPicPr>
          <p:nvPr/>
        </p:nvPicPr>
        <p:blipFill rotWithShape="1">
          <a:blip r:embed="rId86">
            <a:extLst>
              <a:ext uri="{28A0092B-C50C-407E-A947-70E740481C1C}">
                <a14:useLocalDpi xmlns:a14="http://schemas.microsoft.com/office/drawing/2010/main" val="0"/>
              </a:ext>
            </a:extLst>
          </a:blip>
          <a:srcRect/>
          <a:stretch/>
        </p:blipFill>
        <p:spPr bwMode="auto">
          <a:xfrm>
            <a:off x="3332903" y="3425685"/>
            <a:ext cx="608361" cy="144311"/>
          </a:xfrm>
          <a:prstGeom prst="rect">
            <a:avLst/>
          </a:prstGeom>
          <a:noFill/>
          <a:extLst>
            <a:ext uri="{909E8E84-426E-40DD-AFC4-6F175D3DCCD1}">
              <a14:hiddenFill xmlns:a14="http://schemas.microsoft.com/office/drawing/2010/main">
                <a:solidFill>
                  <a:srgbClr val="FFFFFF"/>
                </a:solidFill>
              </a14:hiddenFill>
            </a:ext>
          </a:extLst>
        </p:spPr>
      </p:pic>
      <p:sp>
        <p:nvSpPr>
          <p:cNvPr id="1049" name="CuadroTexto 1048">
            <a:extLst>
              <a:ext uri="{FF2B5EF4-FFF2-40B4-BE49-F238E27FC236}">
                <a16:creationId xmlns:a16="http://schemas.microsoft.com/office/drawing/2014/main" id="{89C3FC54-598D-9244-8F1C-61CDE33F7E65}"/>
              </a:ext>
            </a:extLst>
          </p:cNvPr>
          <p:cNvSpPr txBox="1"/>
          <p:nvPr/>
        </p:nvSpPr>
        <p:spPr>
          <a:xfrm>
            <a:off x="3927660" y="3394118"/>
            <a:ext cx="1076267" cy="200055"/>
          </a:xfrm>
          <a:prstGeom prst="rect">
            <a:avLst/>
          </a:prstGeom>
        </p:spPr>
        <p:txBody>
          <a:bodyPr wrap="square" lIns="0" rIns="0" rtlCol="0">
            <a:spAutoFit/>
          </a:bodyPr>
          <a:lstStyle/>
          <a:p>
            <a:pPr marL="0" marR="0" lvl="0" indent="0" algn="l" defTabSz="914400" rtl="0" eaLnBrk="1" fontAlgn="base" latinLnBrk="0" hangingPunct="1">
              <a:lnSpc>
                <a:spcPct val="100000"/>
              </a:lnSpc>
              <a:spcBef>
                <a:spcPct val="0"/>
              </a:spcBef>
              <a:spcAft>
                <a:spcPct val="0"/>
              </a:spcAft>
              <a:buClr>
                <a:srgbClr val="505150"/>
              </a:buClr>
              <a:buSzPct val="88000"/>
              <a:buFontTx/>
              <a:buNone/>
              <a:tabLst/>
              <a:defRPr/>
            </a:pPr>
            <a:r>
              <a:rPr kumimoji="0" lang="en-GB" sz="700" b="1" i="0" u="none" strike="noStrike" kern="1200" cap="none" spc="0" normalizeH="0" baseline="0" noProof="0" err="1">
                <a:ln>
                  <a:noFill/>
                </a:ln>
                <a:solidFill>
                  <a:prstClr val="black"/>
                </a:solidFill>
                <a:effectLst/>
                <a:uLnTx/>
                <a:uFillTx/>
                <a:latin typeface="Droid Sans"/>
                <a:ea typeface="+mn-ea"/>
                <a:cs typeface="Droid Sans" charset="0"/>
                <a:sym typeface="Droid Sans" charset="0"/>
              </a:rPr>
              <a:t>Migración</a:t>
            </a:r>
            <a:r>
              <a:rPr kumimoji="0" lang="en-GB" sz="700" b="1" i="0" u="none" strike="noStrike" kern="1200" cap="none" spc="0" normalizeH="0" baseline="0" noProof="0">
                <a:ln>
                  <a:noFill/>
                </a:ln>
                <a:solidFill>
                  <a:prstClr val="black"/>
                </a:solidFill>
                <a:effectLst/>
                <a:uLnTx/>
                <a:uFillTx/>
                <a:latin typeface="Droid Sans"/>
                <a:ea typeface="+mn-ea"/>
                <a:cs typeface="Droid Sans" charset="0"/>
                <a:sym typeface="Droid Sans" charset="0"/>
              </a:rPr>
              <a:t> </a:t>
            </a:r>
            <a:r>
              <a:rPr kumimoji="0" lang="en-GB" sz="700" b="1" i="0" u="none" strike="noStrike" kern="1200" cap="none" spc="0" normalizeH="0" baseline="0" noProof="0" err="1">
                <a:ln>
                  <a:noFill/>
                </a:ln>
                <a:solidFill>
                  <a:prstClr val="black"/>
                </a:solidFill>
                <a:effectLst/>
                <a:uLnTx/>
                <a:uFillTx/>
                <a:latin typeface="Droid Sans"/>
                <a:ea typeface="+mn-ea"/>
                <a:cs typeface="Droid Sans" charset="0"/>
                <a:sym typeface="Droid Sans" charset="0"/>
              </a:rPr>
              <a:t>modelos</a:t>
            </a:r>
            <a:r>
              <a:rPr kumimoji="0" lang="en-GB" sz="700" b="1" i="0" u="none" strike="noStrike" kern="1200" cap="none" spc="0" normalizeH="0" baseline="0" noProof="0">
                <a:ln>
                  <a:noFill/>
                </a:ln>
                <a:solidFill>
                  <a:prstClr val="black"/>
                </a:solidFill>
                <a:effectLst/>
                <a:uLnTx/>
                <a:uFillTx/>
                <a:latin typeface="Droid Sans"/>
                <a:ea typeface="+mn-ea"/>
                <a:cs typeface="Droid Sans" charset="0"/>
                <a:sym typeface="Droid Sans" charset="0"/>
              </a:rPr>
              <a:t> BW</a:t>
            </a:r>
          </a:p>
        </p:txBody>
      </p:sp>
      <p:pic>
        <p:nvPicPr>
          <p:cNvPr id="1050" name="Picture 4" descr="Grupo JAP">
            <a:extLst>
              <a:ext uri="{FF2B5EF4-FFF2-40B4-BE49-F238E27FC236}">
                <a16:creationId xmlns:a16="http://schemas.microsoft.com/office/drawing/2014/main" id="{2D94C233-AEA8-41BB-01E3-4B118B082381}"/>
              </a:ext>
            </a:extLst>
          </p:cNvPr>
          <p:cNvPicPr>
            <a:picLocks noChangeAspect="1" noChangeArrowheads="1"/>
          </p:cNvPicPr>
          <p:nvPr/>
        </p:nvPicPr>
        <p:blipFill>
          <a:blip r:embed="rId87">
            <a:extLst>
              <a:ext uri="{28A0092B-C50C-407E-A947-70E740481C1C}">
                <a14:useLocalDpi xmlns:a14="http://schemas.microsoft.com/office/drawing/2010/main" val="0"/>
              </a:ext>
            </a:extLst>
          </a:blip>
          <a:srcRect/>
          <a:stretch>
            <a:fillRect/>
          </a:stretch>
        </p:blipFill>
        <p:spPr bwMode="auto">
          <a:xfrm>
            <a:off x="5269865" y="3398848"/>
            <a:ext cx="404481" cy="202241"/>
          </a:xfrm>
          <a:prstGeom prst="rect">
            <a:avLst/>
          </a:prstGeom>
          <a:noFill/>
          <a:extLst>
            <a:ext uri="{909E8E84-426E-40DD-AFC4-6F175D3DCCD1}">
              <a14:hiddenFill xmlns:a14="http://schemas.microsoft.com/office/drawing/2010/main">
                <a:solidFill>
                  <a:srgbClr val="FFFFFF"/>
                </a:solidFill>
              </a14:hiddenFill>
            </a:ext>
          </a:extLst>
        </p:spPr>
      </p:pic>
      <p:sp>
        <p:nvSpPr>
          <p:cNvPr id="1051" name="CuadroTexto 1050">
            <a:extLst>
              <a:ext uri="{FF2B5EF4-FFF2-40B4-BE49-F238E27FC236}">
                <a16:creationId xmlns:a16="http://schemas.microsoft.com/office/drawing/2014/main" id="{AC0853D3-1C2E-EE52-9C33-793CD0BF9AAE}"/>
              </a:ext>
            </a:extLst>
          </p:cNvPr>
          <p:cNvSpPr txBox="1"/>
          <p:nvPr/>
        </p:nvSpPr>
        <p:spPr>
          <a:xfrm>
            <a:off x="5762314" y="3392582"/>
            <a:ext cx="1186073" cy="200055"/>
          </a:xfrm>
          <a:prstGeom prst="rect">
            <a:avLst/>
          </a:prstGeom>
        </p:spPr>
        <p:txBody>
          <a:bodyPr wrap="square" lIns="0" rIns="0" rtlCol="0">
            <a:spAutoFit/>
          </a:bodyPr>
          <a:lstStyle/>
          <a:p>
            <a:pPr marL="0" marR="0" lvl="0" indent="0" algn="l" defTabSz="914400" rtl="0" eaLnBrk="1" fontAlgn="base" latinLnBrk="0" hangingPunct="1">
              <a:lnSpc>
                <a:spcPct val="100000"/>
              </a:lnSpc>
              <a:spcBef>
                <a:spcPct val="0"/>
              </a:spcBef>
              <a:spcAft>
                <a:spcPct val="0"/>
              </a:spcAft>
              <a:buClr>
                <a:srgbClr val="505150"/>
              </a:buClr>
              <a:buSzPct val="88000"/>
              <a:buFontTx/>
              <a:buNone/>
              <a:tabLst/>
              <a:defRPr/>
            </a:pPr>
            <a:r>
              <a:rPr kumimoji="0" lang="en-GB" sz="700" b="1" i="0" u="none" strike="noStrike" kern="1200" cap="none" spc="0" normalizeH="0" baseline="0" noProof="0" err="1">
                <a:ln>
                  <a:noFill/>
                </a:ln>
                <a:solidFill>
                  <a:prstClr val="black"/>
                </a:solidFill>
                <a:effectLst/>
                <a:uLnTx/>
                <a:uFillTx/>
                <a:latin typeface="Droid Sans"/>
                <a:ea typeface="+mn-ea"/>
                <a:cs typeface="Droid Sans" charset="0"/>
                <a:sym typeface="Droid Sans" charset="0"/>
              </a:rPr>
              <a:t>Modelos</a:t>
            </a:r>
            <a:r>
              <a:rPr kumimoji="0" lang="en-GB" sz="700" b="1" i="0" u="none" strike="noStrike" kern="1200" cap="none" spc="0" normalizeH="0" baseline="0" noProof="0">
                <a:ln>
                  <a:noFill/>
                </a:ln>
                <a:solidFill>
                  <a:prstClr val="black"/>
                </a:solidFill>
                <a:effectLst/>
                <a:uLnTx/>
                <a:uFillTx/>
                <a:latin typeface="Droid Sans"/>
                <a:ea typeface="+mn-ea"/>
                <a:cs typeface="Droid Sans" charset="0"/>
                <a:sym typeface="Droid Sans" charset="0"/>
              </a:rPr>
              <a:t> </a:t>
            </a:r>
            <a:r>
              <a:rPr kumimoji="0" lang="en-GB" sz="700" b="1" i="0" u="none" strike="noStrike" kern="1200" cap="none" spc="0" normalizeH="0" baseline="0" noProof="0" err="1">
                <a:ln>
                  <a:noFill/>
                </a:ln>
                <a:solidFill>
                  <a:prstClr val="black"/>
                </a:solidFill>
                <a:effectLst/>
                <a:uLnTx/>
                <a:uFillTx/>
                <a:latin typeface="Droid Sans"/>
                <a:ea typeface="+mn-ea"/>
                <a:cs typeface="Droid Sans" charset="0"/>
                <a:sym typeface="Droid Sans" charset="0"/>
              </a:rPr>
              <a:t>analíticos</a:t>
            </a:r>
            <a:r>
              <a:rPr kumimoji="0" lang="en-GB" sz="700" b="1" i="0" u="none" strike="noStrike" kern="1200" cap="none" spc="0" normalizeH="0" baseline="0" noProof="0">
                <a:ln>
                  <a:noFill/>
                </a:ln>
                <a:solidFill>
                  <a:prstClr val="black"/>
                </a:solidFill>
                <a:effectLst/>
                <a:uLnTx/>
                <a:uFillTx/>
                <a:latin typeface="Droid Sans"/>
                <a:ea typeface="+mn-ea"/>
                <a:cs typeface="Droid Sans" charset="0"/>
                <a:sym typeface="Droid Sans" charset="0"/>
              </a:rPr>
              <a:t> con SAC</a:t>
            </a:r>
          </a:p>
        </p:txBody>
      </p:sp>
      <p:pic>
        <p:nvPicPr>
          <p:cNvPr id="1052" name="Picture 6" descr="Consum Logos">
            <a:extLst>
              <a:ext uri="{FF2B5EF4-FFF2-40B4-BE49-F238E27FC236}">
                <a16:creationId xmlns:a16="http://schemas.microsoft.com/office/drawing/2014/main" id="{D02930BE-824C-1162-B01D-71C377BA4BF3}"/>
              </a:ext>
            </a:extLst>
          </p:cNvPr>
          <p:cNvPicPr>
            <a:picLocks noChangeAspect="1" noChangeArrowheads="1"/>
          </p:cNvPicPr>
          <p:nvPr/>
        </p:nvPicPr>
        <p:blipFill rotWithShape="1">
          <a:blip r:embed="rId88">
            <a:extLst>
              <a:ext uri="{28A0092B-C50C-407E-A947-70E740481C1C}">
                <a14:useLocalDpi xmlns:a14="http://schemas.microsoft.com/office/drawing/2010/main" val="0"/>
              </a:ext>
            </a:extLst>
          </a:blip>
          <a:srcRect/>
          <a:stretch/>
        </p:blipFill>
        <p:spPr bwMode="auto">
          <a:xfrm>
            <a:off x="7161696" y="3327330"/>
            <a:ext cx="424220" cy="220519"/>
          </a:xfrm>
          <a:prstGeom prst="rect">
            <a:avLst/>
          </a:prstGeom>
          <a:noFill/>
          <a:extLst>
            <a:ext uri="{909E8E84-426E-40DD-AFC4-6F175D3DCCD1}">
              <a14:hiddenFill xmlns:a14="http://schemas.microsoft.com/office/drawing/2010/main">
                <a:solidFill>
                  <a:srgbClr val="FFFFFF"/>
                </a:solidFill>
              </a14:hiddenFill>
            </a:ext>
          </a:extLst>
        </p:spPr>
      </p:pic>
      <p:sp>
        <p:nvSpPr>
          <p:cNvPr id="1053" name="CuadroTexto 1052">
            <a:extLst>
              <a:ext uri="{FF2B5EF4-FFF2-40B4-BE49-F238E27FC236}">
                <a16:creationId xmlns:a16="http://schemas.microsoft.com/office/drawing/2014/main" id="{58E047C8-9BDD-F996-C8D1-D0A1B04C8872}"/>
              </a:ext>
            </a:extLst>
          </p:cNvPr>
          <p:cNvSpPr txBox="1"/>
          <p:nvPr/>
        </p:nvSpPr>
        <p:spPr>
          <a:xfrm>
            <a:off x="7673036" y="3343527"/>
            <a:ext cx="1810089" cy="200055"/>
          </a:xfrm>
          <a:prstGeom prst="rect">
            <a:avLst/>
          </a:prstGeom>
        </p:spPr>
        <p:txBody>
          <a:bodyPr wrap="square" lIns="0" rIns="0" rtlCol="0">
            <a:spAutoFit/>
          </a:bodyPr>
          <a:lstStyle/>
          <a:p>
            <a:pPr marL="0" marR="0" lvl="0" indent="0" algn="l" defTabSz="914400" rtl="0" eaLnBrk="1" fontAlgn="base" latinLnBrk="0" hangingPunct="1">
              <a:lnSpc>
                <a:spcPct val="100000"/>
              </a:lnSpc>
              <a:spcBef>
                <a:spcPct val="0"/>
              </a:spcBef>
              <a:spcAft>
                <a:spcPct val="0"/>
              </a:spcAft>
              <a:buClr>
                <a:srgbClr val="505150"/>
              </a:buClr>
              <a:buSzPct val="88000"/>
              <a:buFontTx/>
              <a:buNone/>
              <a:tabLst/>
              <a:defRPr/>
            </a:pPr>
            <a:r>
              <a:rPr kumimoji="0" lang="en-GB" sz="700" b="1" i="0" u="none" strike="noStrike" kern="1200" cap="none" spc="0" normalizeH="0" baseline="0" noProof="0" err="1">
                <a:ln>
                  <a:noFill/>
                </a:ln>
                <a:solidFill>
                  <a:prstClr val="black"/>
                </a:solidFill>
                <a:effectLst/>
                <a:uLnTx/>
                <a:uFillTx/>
                <a:latin typeface="Droid Sans"/>
                <a:ea typeface="+mn-ea"/>
                <a:cs typeface="Droid Sans" charset="0"/>
                <a:sym typeface="Droid Sans" charset="0"/>
              </a:rPr>
              <a:t>Nuevos</a:t>
            </a:r>
            <a:r>
              <a:rPr kumimoji="0" lang="en-GB" sz="700" b="1" i="0" u="none" strike="noStrike" kern="1200" cap="none" spc="0" normalizeH="0" baseline="0" noProof="0">
                <a:ln>
                  <a:noFill/>
                </a:ln>
                <a:solidFill>
                  <a:prstClr val="black"/>
                </a:solidFill>
                <a:effectLst/>
                <a:uLnTx/>
                <a:uFillTx/>
                <a:latin typeface="Droid Sans"/>
                <a:ea typeface="+mn-ea"/>
                <a:cs typeface="Droid Sans" charset="0"/>
                <a:sym typeface="Droid Sans" charset="0"/>
              </a:rPr>
              <a:t> </a:t>
            </a:r>
            <a:r>
              <a:rPr kumimoji="0" lang="en-GB" sz="700" b="1" i="0" u="none" strike="noStrike" kern="1200" cap="none" spc="0" normalizeH="0" baseline="0" noProof="0" err="1">
                <a:ln>
                  <a:noFill/>
                </a:ln>
                <a:solidFill>
                  <a:prstClr val="black"/>
                </a:solidFill>
                <a:effectLst/>
                <a:uLnTx/>
                <a:uFillTx/>
                <a:latin typeface="Droid Sans"/>
                <a:ea typeface="+mn-ea"/>
                <a:cs typeface="Droid Sans" charset="0"/>
                <a:sym typeface="Droid Sans" charset="0"/>
              </a:rPr>
              <a:t>modelos</a:t>
            </a:r>
            <a:r>
              <a:rPr kumimoji="0" lang="en-GB" sz="700" b="1" i="0" u="none" strike="noStrike" kern="1200" cap="none" spc="0" normalizeH="0" baseline="0" noProof="0">
                <a:ln>
                  <a:noFill/>
                </a:ln>
                <a:solidFill>
                  <a:prstClr val="black"/>
                </a:solidFill>
                <a:effectLst/>
                <a:uLnTx/>
                <a:uFillTx/>
                <a:latin typeface="Droid Sans"/>
                <a:ea typeface="+mn-ea"/>
                <a:cs typeface="Droid Sans" charset="0"/>
                <a:sym typeface="Droid Sans" charset="0"/>
              </a:rPr>
              <a:t> </a:t>
            </a:r>
            <a:r>
              <a:rPr kumimoji="0" lang="en-GB" sz="700" b="1" i="0" u="none" strike="noStrike" kern="1200" cap="none" spc="0" normalizeH="0" baseline="0" noProof="0" err="1">
                <a:ln>
                  <a:noFill/>
                </a:ln>
                <a:solidFill>
                  <a:prstClr val="black"/>
                </a:solidFill>
                <a:effectLst/>
                <a:uLnTx/>
                <a:uFillTx/>
                <a:latin typeface="Droid Sans"/>
                <a:ea typeface="+mn-ea"/>
                <a:cs typeface="Droid Sans" charset="0"/>
                <a:sym typeface="Droid Sans" charset="0"/>
              </a:rPr>
              <a:t>analíticos</a:t>
            </a:r>
            <a:r>
              <a:rPr kumimoji="0" lang="en-GB" sz="700" b="1" i="0" u="none" strike="noStrike" kern="1200" cap="none" spc="0" normalizeH="0" baseline="0" noProof="0">
                <a:ln>
                  <a:noFill/>
                </a:ln>
                <a:solidFill>
                  <a:prstClr val="black"/>
                </a:solidFill>
                <a:effectLst/>
                <a:uLnTx/>
                <a:uFillTx/>
                <a:latin typeface="Droid Sans"/>
                <a:ea typeface="+mn-ea"/>
                <a:cs typeface="Droid Sans" charset="0"/>
                <a:sym typeface="Droid Sans" charset="0"/>
              </a:rPr>
              <a:t> </a:t>
            </a:r>
            <a:r>
              <a:rPr kumimoji="0" lang="en-GB" sz="700" b="1" i="0" u="none" strike="noStrike" kern="1200" cap="none" spc="0" normalizeH="0" baseline="0" noProof="0" err="1">
                <a:ln>
                  <a:noFill/>
                </a:ln>
                <a:solidFill>
                  <a:prstClr val="black"/>
                </a:solidFill>
                <a:effectLst/>
                <a:uLnTx/>
                <a:uFillTx/>
                <a:latin typeface="Droid Sans"/>
                <a:ea typeface="+mn-ea"/>
                <a:cs typeface="Droid Sans" charset="0"/>
                <a:sym typeface="Droid Sans" charset="0"/>
              </a:rPr>
              <a:t>sobre</a:t>
            </a:r>
            <a:r>
              <a:rPr kumimoji="0" lang="en-GB" sz="700" b="1" i="0" u="none" strike="noStrike" kern="1200" cap="none" spc="0" normalizeH="0" baseline="0" noProof="0">
                <a:ln>
                  <a:noFill/>
                </a:ln>
                <a:solidFill>
                  <a:prstClr val="black"/>
                </a:solidFill>
                <a:effectLst/>
                <a:uLnTx/>
                <a:uFillTx/>
                <a:latin typeface="Droid Sans"/>
                <a:ea typeface="+mn-ea"/>
                <a:cs typeface="Droid Sans" charset="0"/>
                <a:sym typeface="Droid Sans" charset="0"/>
              </a:rPr>
              <a:t> S4</a:t>
            </a:r>
          </a:p>
        </p:txBody>
      </p:sp>
      <p:pic>
        <p:nvPicPr>
          <p:cNvPr id="7" name="Picture 2" descr="C:\Users\stratesys\Pictures\Work\Logos\ins_p_444082.png">
            <a:extLst>
              <a:ext uri="{FF2B5EF4-FFF2-40B4-BE49-F238E27FC236}">
                <a16:creationId xmlns:a16="http://schemas.microsoft.com/office/drawing/2014/main" id="{42D92F1A-0D0C-F41D-1995-1AE079688500}"/>
              </a:ext>
            </a:extLst>
          </p:cNvPr>
          <p:cNvPicPr>
            <a:picLocks noChangeAspect="1" noChangeArrowheads="1"/>
          </p:cNvPicPr>
          <p:nvPr/>
        </p:nvPicPr>
        <p:blipFill>
          <a:blip r:embed="rId63" cstate="screen"/>
          <a:srcRect/>
          <a:stretch>
            <a:fillRect/>
          </a:stretch>
        </p:blipFill>
        <p:spPr bwMode="auto">
          <a:xfrm>
            <a:off x="10095752" y="3755130"/>
            <a:ext cx="442263" cy="241924"/>
          </a:xfrm>
          <a:prstGeom prst="rect">
            <a:avLst/>
          </a:prstGeom>
          <a:noFill/>
        </p:spPr>
      </p:pic>
      <p:sp>
        <p:nvSpPr>
          <p:cNvPr id="9" name="CuadroTexto 8">
            <a:extLst>
              <a:ext uri="{FF2B5EF4-FFF2-40B4-BE49-F238E27FC236}">
                <a16:creationId xmlns:a16="http://schemas.microsoft.com/office/drawing/2014/main" id="{D33AFADE-9DAE-476D-F9E5-E0BB9BF11D67}"/>
              </a:ext>
            </a:extLst>
          </p:cNvPr>
          <p:cNvSpPr txBox="1"/>
          <p:nvPr/>
        </p:nvSpPr>
        <p:spPr>
          <a:xfrm>
            <a:off x="10629196" y="3786906"/>
            <a:ext cx="1181976" cy="200055"/>
          </a:xfrm>
          <a:prstGeom prst="rect">
            <a:avLst/>
          </a:prstGeom>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a:ln>
                  <a:noFill/>
                </a:ln>
                <a:solidFill>
                  <a:prstClr val="black"/>
                </a:solidFill>
                <a:effectLst/>
                <a:uLnTx/>
                <a:uFillTx/>
                <a:latin typeface="Droid Sans"/>
                <a:ea typeface="+mn-ea"/>
                <a:cs typeface="Calibri" panose="020F0502020204030204" pitchFamily="34" charset="0"/>
              </a:rPr>
              <a:t>BW/4HANA Migration</a:t>
            </a:r>
          </a:p>
        </p:txBody>
      </p:sp>
      <p:sp>
        <p:nvSpPr>
          <p:cNvPr id="39" name="CuadroTexto 38">
            <a:extLst>
              <a:ext uri="{FF2B5EF4-FFF2-40B4-BE49-F238E27FC236}">
                <a16:creationId xmlns:a16="http://schemas.microsoft.com/office/drawing/2014/main" id="{84883553-6314-9DF7-C2CA-1F27D499184F}"/>
              </a:ext>
            </a:extLst>
          </p:cNvPr>
          <p:cNvSpPr txBox="1"/>
          <p:nvPr/>
        </p:nvSpPr>
        <p:spPr>
          <a:xfrm>
            <a:off x="486557" y="6192837"/>
            <a:ext cx="1278401" cy="307777"/>
          </a:xfrm>
          <a:prstGeom prst="rect">
            <a:avLst/>
          </a:prstGeom>
        </p:spPr>
        <p:txBody>
          <a:bodyPr wrap="square" lIns="0" rIns="0" rtlCol="0">
            <a:spAutoFit/>
          </a:bodyPr>
          <a:lstStyle/>
          <a:p>
            <a:pPr marL="0" marR="0" lvl="0" indent="0" algn="l" defTabSz="914400" rtl="0" eaLnBrk="1" fontAlgn="base" latinLnBrk="0" hangingPunct="1">
              <a:lnSpc>
                <a:spcPct val="100000"/>
              </a:lnSpc>
              <a:spcBef>
                <a:spcPct val="0"/>
              </a:spcBef>
              <a:spcAft>
                <a:spcPct val="0"/>
              </a:spcAft>
              <a:buClr>
                <a:srgbClr val="505150"/>
              </a:buClr>
              <a:buSzPct val="88000"/>
              <a:buFontTx/>
              <a:buNone/>
              <a:tabLst/>
              <a:defRPr/>
            </a:pPr>
            <a:r>
              <a:rPr kumimoji="0" lang="en-GB" sz="700" b="1" i="0" u="none" strike="noStrike" kern="1200" cap="none" spc="0" normalizeH="0" baseline="0" noProof="0">
                <a:ln>
                  <a:noFill/>
                </a:ln>
                <a:solidFill>
                  <a:srgbClr val="E7E6E6">
                    <a:lumMod val="25000"/>
                  </a:srgbClr>
                </a:solidFill>
                <a:effectLst/>
                <a:uLnTx/>
                <a:uFillTx/>
                <a:latin typeface="Droid Sans"/>
                <a:ea typeface="+mn-ea"/>
                <a:cs typeface="Droid Sans" charset="0"/>
                <a:sym typeface="Droid Sans" charset="0"/>
              </a:rPr>
              <a:t>Upgrades to BO 4.3</a:t>
            </a:r>
          </a:p>
          <a:p>
            <a:pPr marL="0" marR="0" lvl="0" indent="0" algn="l" defTabSz="914400" rtl="0" eaLnBrk="1" fontAlgn="base" latinLnBrk="0" hangingPunct="1">
              <a:lnSpc>
                <a:spcPct val="100000"/>
              </a:lnSpc>
              <a:spcBef>
                <a:spcPct val="0"/>
              </a:spcBef>
              <a:spcAft>
                <a:spcPct val="0"/>
              </a:spcAft>
              <a:buClr>
                <a:srgbClr val="505150"/>
              </a:buClr>
              <a:buSzPct val="88000"/>
              <a:buFontTx/>
              <a:buNone/>
              <a:tabLst/>
              <a:defRPr/>
            </a:pPr>
            <a:r>
              <a:rPr kumimoji="0" lang="en-GB" sz="700" b="1" i="0" u="none" strike="noStrike" kern="1200" cap="none" spc="0" normalizeH="0" baseline="0" noProof="0">
                <a:ln>
                  <a:noFill/>
                </a:ln>
                <a:solidFill>
                  <a:srgbClr val="E7E6E6">
                    <a:lumMod val="25000"/>
                  </a:srgbClr>
                </a:solidFill>
                <a:effectLst/>
                <a:uLnTx/>
                <a:uFillTx/>
                <a:latin typeface="Droid Sans"/>
                <a:ea typeface="+mn-ea"/>
                <a:cs typeface="Droid Sans" charset="0"/>
                <a:sym typeface="Droid Sans" charset="0"/>
              </a:rPr>
              <a:t>and SAC migrations</a:t>
            </a:r>
          </a:p>
        </p:txBody>
      </p:sp>
    </p:spTree>
    <p:extLst>
      <p:ext uri="{BB962C8B-B14F-4D97-AF65-F5344CB8AC3E}">
        <p14:creationId xmlns:p14="http://schemas.microsoft.com/office/powerpoint/2010/main" val="1502703716"/>
      </p:ext>
    </p:extLst>
  </p:cSld>
  <p:clrMapOvr>
    <a:masterClrMapping/>
  </p:clrMapOvr>
  <p:transition spd="med">
    <p:fade/>
  </p:transition>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1" name="Marcador de texto 14">
            <a:extLst>
              <a:ext uri="{FF2B5EF4-FFF2-40B4-BE49-F238E27FC236}">
                <a16:creationId xmlns:a16="http://schemas.microsoft.com/office/drawing/2014/main" id="{E4445814-8E4B-96F2-8946-23019574E0EB}"/>
              </a:ext>
            </a:extLst>
          </p:cNvPr>
          <p:cNvSpPr txBox="1">
            <a:spLocks/>
          </p:cNvSpPr>
          <p:nvPr/>
        </p:nvSpPr>
        <p:spPr>
          <a:xfrm>
            <a:off x="11481854" y="6713581"/>
            <a:ext cx="286165" cy="185063"/>
          </a:xfrm>
          <a:prstGeom prst="rect">
            <a:avLst/>
          </a:prstGeom>
        </p:spPr>
        <p:txBody>
          <a:bodyPr vert="horz" lIns="0" tIns="0" rIns="0" bIns="0" rtlCol="0">
            <a:noAutofit/>
          </a:bodyPr>
          <a:lstStyle>
            <a:lvl1pPr marL="0" indent="0" algn="l" defTabSz="1125472" rtl="0" eaLnBrk="1" latinLnBrk="0" hangingPunct="1">
              <a:spcBef>
                <a:spcPts val="738"/>
              </a:spcBef>
              <a:spcAft>
                <a:spcPts val="738"/>
              </a:spcAft>
              <a:buFont typeface="Arial" pitchFamily="34" charset="0"/>
              <a:buNone/>
              <a:defRPr kumimoji="0" lang="es-ES" sz="1354" b="0" i="0" u="none" strike="noStrike" kern="1200" cap="none" spc="0" normalizeH="0" baseline="0" noProof="0" dirty="0" smtClean="0">
                <a:ln>
                  <a:noFill/>
                </a:ln>
                <a:solidFill>
                  <a:schemeClr val="tx1"/>
                </a:solidFill>
                <a:effectLst/>
                <a:uLnTx/>
                <a:uFillTx/>
                <a:latin typeface="+mn-lt"/>
                <a:ea typeface="+mn-ea"/>
                <a:cs typeface="+mn-cs"/>
              </a:defRPr>
            </a:lvl1pPr>
            <a:lvl2pPr marL="275507" indent="-212980" algn="l" defTabSz="1125472" rtl="0" eaLnBrk="1" latinLnBrk="0" hangingPunct="1">
              <a:spcBef>
                <a:spcPts val="738"/>
              </a:spcBef>
              <a:spcAft>
                <a:spcPts val="369"/>
              </a:spcAft>
              <a:buClr>
                <a:schemeClr val="accent1"/>
              </a:buClr>
              <a:buSzPct val="100000"/>
              <a:buFont typeface="Wingdings" charset="2"/>
              <a:buNone/>
              <a:tabLst/>
              <a:defRPr kumimoji="0" lang="es-ES" sz="1354" b="0" i="0" u="none" strike="noStrike" kern="1200" cap="none" spc="0" normalizeH="0" baseline="0" noProof="0" dirty="0" smtClean="0">
                <a:ln>
                  <a:noFill/>
                </a:ln>
                <a:solidFill>
                  <a:schemeClr val="tx1"/>
                </a:solidFill>
                <a:effectLst/>
                <a:uLnTx/>
                <a:uFillTx/>
                <a:latin typeface="+mn-lt"/>
                <a:ea typeface="+mn-ea"/>
                <a:cs typeface="+mn-cs"/>
              </a:defRPr>
            </a:lvl2pPr>
            <a:lvl3pPr marL="492394" indent="-154362" algn="l" defTabSz="1125472" rtl="0" eaLnBrk="1" latinLnBrk="0" hangingPunct="1">
              <a:spcBef>
                <a:spcPts val="738"/>
              </a:spcBef>
              <a:spcAft>
                <a:spcPts val="0"/>
              </a:spcAft>
              <a:buClr>
                <a:schemeClr val="tx1"/>
              </a:buClr>
              <a:buFont typeface="Arial" charset="0"/>
              <a:buChar char="•"/>
              <a:tabLst/>
              <a:defRPr kumimoji="0" lang="es-ES" sz="1354" b="0" i="0" u="none" strike="noStrike" kern="1200" cap="none" spc="0" normalizeH="0" baseline="0" noProof="0" dirty="0" smtClean="0">
                <a:ln>
                  <a:noFill/>
                </a:ln>
                <a:solidFill>
                  <a:schemeClr val="tx1"/>
                </a:solidFill>
                <a:effectLst/>
                <a:uLnTx/>
                <a:uFillTx/>
                <a:latin typeface="+mn-lt"/>
                <a:ea typeface="+mn-ea"/>
                <a:cs typeface="+mn-cs"/>
              </a:defRPr>
            </a:lvl3pPr>
            <a:lvl4pPr marL="769854" indent="-177810" algn="l" defTabSz="1125472" rtl="0" eaLnBrk="1" latinLnBrk="0" hangingPunct="1">
              <a:spcBef>
                <a:spcPts val="0"/>
              </a:spcBef>
              <a:spcAft>
                <a:spcPts val="246"/>
              </a:spcAft>
              <a:buClr>
                <a:schemeClr val="tx1"/>
              </a:buClr>
              <a:buFont typeface="Arial" pitchFamily="34" charset="0"/>
              <a:buChar char="•"/>
              <a:tabLst/>
              <a:defRPr kumimoji="0" lang="es-ES" sz="1354" b="0" i="0" u="none" strike="noStrike" kern="1200" cap="none" spc="0" normalizeH="0" baseline="0" noProof="0" dirty="0" smtClean="0">
                <a:ln>
                  <a:noFill/>
                </a:ln>
                <a:solidFill>
                  <a:schemeClr val="tx1"/>
                </a:solidFill>
                <a:effectLst/>
                <a:uLnTx/>
                <a:uFillTx/>
                <a:latin typeface="+mn-lt"/>
                <a:ea typeface="+mn-ea"/>
                <a:cs typeface="+mn-cs"/>
              </a:defRPr>
            </a:lvl4pPr>
            <a:lvl5pPr marL="672157" marR="0" indent="-171948" algn="l" defTabSz="1125472" rtl="0" eaLnBrk="1" fontAlgn="auto" latinLnBrk="0" hangingPunct="1">
              <a:lnSpc>
                <a:spcPct val="100000"/>
              </a:lnSpc>
              <a:spcBef>
                <a:spcPts val="0"/>
              </a:spcBef>
              <a:spcAft>
                <a:spcPts val="246"/>
              </a:spcAft>
              <a:buClr>
                <a:srgbClr val="FF9900"/>
              </a:buClr>
              <a:buSzTx/>
              <a:buFont typeface="Arial" pitchFamily="34" charset="0"/>
              <a:buChar char="•"/>
              <a:tabLst/>
              <a:defRPr kumimoji="0" lang="es-ES" sz="1354" b="0" i="0" u="none" strike="noStrike" kern="1200" cap="none" spc="0" normalizeH="0" baseline="0" noProof="0" dirty="0" smtClean="0">
                <a:ln>
                  <a:noFill/>
                </a:ln>
                <a:solidFill>
                  <a:srgbClr val="494949"/>
                </a:solidFill>
                <a:effectLst/>
                <a:uLnTx/>
                <a:uFillTx/>
                <a:latin typeface="+mn-lt"/>
                <a:ea typeface="+mn-ea"/>
                <a:cs typeface="+mn-cs"/>
              </a:defRPr>
            </a:lvl5pPr>
            <a:lvl6pPr marL="1057085" indent="-211027" algn="l" defTabSz="1125472" rtl="0" eaLnBrk="1" latinLnBrk="0" hangingPunct="1">
              <a:spcBef>
                <a:spcPct val="20000"/>
              </a:spcBef>
              <a:buFontTx/>
              <a:buNone/>
              <a:tabLst/>
              <a:defRPr kumimoji="0" lang="es-ES" sz="1354" b="0" i="0" u="none" strike="noStrike" kern="1200" cap="none" spc="0" normalizeH="0" baseline="0" noProof="0" dirty="0" smtClean="0">
                <a:ln>
                  <a:noFill/>
                </a:ln>
                <a:solidFill>
                  <a:schemeClr val="tx1"/>
                </a:solidFill>
                <a:effectLst/>
                <a:uLnTx/>
                <a:uFillTx/>
                <a:latin typeface="+mn-lt"/>
                <a:ea typeface="+mn-ea"/>
                <a:cs typeface="+mn-cs"/>
              </a:defRPr>
            </a:lvl6pPr>
            <a:lvl7pPr marL="88620" indent="0" algn="l" defTabSz="1125472" rtl="0" eaLnBrk="1" latinLnBrk="0" hangingPunct="1">
              <a:spcBef>
                <a:spcPct val="20000"/>
              </a:spcBef>
              <a:buFontTx/>
              <a:buNone/>
              <a:defRPr kumimoji="0" lang="en-US" sz="1477" b="0" i="0" u="none" strike="noStrike" kern="1200" cap="none" spc="0" normalizeH="0" baseline="0" noProof="0" dirty="0" smtClean="0">
                <a:ln>
                  <a:noFill/>
                </a:ln>
                <a:solidFill>
                  <a:schemeClr val="tx1">
                    <a:lumMod val="65000"/>
                    <a:lumOff val="35000"/>
                  </a:schemeClr>
                </a:solidFill>
                <a:effectLst/>
                <a:uLnTx/>
                <a:uFillTx/>
                <a:latin typeface="Droid Sans" charset="0"/>
                <a:ea typeface="+mn-ea"/>
                <a:cs typeface="Droid Sans" charset="0"/>
                <a:sym typeface="Droid Sans" charset="0"/>
              </a:defRPr>
            </a:lvl7pPr>
            <a:lvl8pPr marL="88620" indent="0" algn="l" defTabSz="1125472" rtl="0" eaLnBrk="1" latinLnBrk="0" hangingPunct="1">
              <a:spcBef>
                <a:spcPct val="20000"/>
              </a:spcBef>
              <a:buFontTx/>
              <a:buNone/>
              <a:defRPr sz="1292" kern="1200">
                <a:solidFill>
                  <a:schemeClr val="tx1"/>
                </a:solidFill>
                <a:latin typeface="+mn-lt"/>
                <a:ea typeface="+mn-ea"/>
                <a:cs typeface="+mn-cs"/>
              </a:defRPr>
            </a:lvl8pPr>
            <a:lvl9pPr marL="4783254" indent="-281368" algn="l" defTabSz="1125472" rtl="0" eaLnBrk="1" latinLnBrk="0" hangingPunct="1">
              <a:spcBef>
                <a:spcPct val="20000"/>
              </a:spcBef>
              <a:buFont typeface="Arial" pitchFamily="34" charset="0"/>
              <a:buChar char="•"/>
              <a:defRPr sz="2462" kern="1200">
                <a:solidFill>
                  <a:schemeClr val="tx1"/>
                </a:solidFill>
                <a:latin typeface="+mn-lt"/>
                <a:ea typeface="+mn-ea"/>
                <a:cs typeface="+mn-cs"/>
              </a:defRPr>
            </a:lvl9pPr>
          </a:lstStyle>
          <a:p>
            <a:pPr algn="r"/>
            <a:fld id="{5E133BDB-2FC4-45B9-8F87-368EEAFB6CCD}" type="slidenum">
              <a:rPr lang="en-GB" sz="1000" noProof="0" smtClean="0">
                <a:solidFill>
                  <a:schemeClr val="accent1">
                    <a:lumMod val="90000"/>
                  </a:schemeClr>
                </a:solidFill>
              </a:rPr>
              <a:pPr algn="r"/>
              <a:t>73</a:t>
            </a:fld>
            <a:endParaRPr lang="en-GB" sz="1000" noProof="0">
              <a:solidFill>
                <a:schemeClr val="accent1">
                  <a:lumMod val="90000"/>
                </a:schemeClr>
              </a:solidFill>
            </a:endParaRPr>
          </a:p>
        </p:txBody>
      </p:sp>
      <p:sp>
        <p:nvSpPr>
          <p:cNvPr id="2" name="Rectángulo 1">
            <a:extLst>
              <a:ext uri="{FF2B5EF4-FFF2-40B4-BE49-F238E27FC236}">
                <a16:creationId xmlns:a16="http://schemas.microsoft.com/office/drawing/2014/main" id="{3C84AEE6-D94F-26D7-A215-A152A7D798CF}"/>
              </a:ext>
            </a:extLst>
          </p:cNvPr>
          <p:cNvSpPr/>
          <p:nvPr/>
        </p:nvSpPr>
        <p:spPr bwMode="auto">
          <a:xfrm>
            <a:off x="0" y="0"/>
            <a:ext cx="9480376" cy="620688"/>
          </a:xfrm>
          <a:prstGeom prst="rect">
            <a:avLst/>
          </a:prstGeom>
          <a:gradFill>
            <a:gsLst>
              <a:gs pos="50000">
                <a:schemeClr val="accent1">
                  <a:lumMod val="60000"/>
                  <a:lumOff val="40000"/>
                </a:schemeClr>
              </a:gs>
              <a:gs pos="100000">
                <a:schemeClr val="bg1"/>
              </a:gs>
            </a:gsLst>
            <a:lin ang="0" scaled="1"/>
          </a:gradFill>
          <a:ln w="9525">
            <a:noFill/>
            <a:round/>
            <a:headEnd/>
            <a:tailEnd/>
          </a:ln>
        </p:spPr>
        <p:txBody>
          <a:bodyPr vert="horz" wrap="square" lIns="91440" tIns="45720" rIns="91440" bIns="45720" numCol="1" rtlCol="0" anchor="t" anchorCtr="0" compatLnSpc="1">
            <a:prstTxWarp prst="textNoShape">
              <a:avLst/>
            </a:prstTxWarp>
          </a:bodyPr>
          <a:lstStyle/>
          <a:p>
            <a:pPr algn="ctr"/>
            <a:endParaRPr lang="en-GB" noProof="0"/>
          </a:p>
        </p:txBody>
      </p:sp>
      <p:sp>
        <p:nvSpPr>
          <p:cNvPr id="3" name="Título 1">
            <a:extLst>
              <a:ext uri="{FF2B5EF4-FFF2-40B4-BE49-F238E27FC236}">
                <a16:creationId xmlns:a16="http://schemas.microsoft.com/office/drawing/2014/main" id="{E59FCECA-71F1-EB77-3E8D-EAD9BFC573E4}"/>
              </a:ext>
            </a:extLst>
          </p:cNvPr>
          <p:cNvSpPr txBox="1">
            <a:spLocks/>
          </p:cNvSpPr>
          <p:nvPr/>
        </p:nvSpPr>
        <p:spPr>
          <a:xfrm>
            <a:off x="191344" y="116632"/>
            <a:ext cx="10515600" cy="365721"/>
          </a:xfrm>
          <a:prstGeom prst="rect">
            <a:avLst/>
          </a:prstGeom>
        </p:spPr>
        <p:txBody>
          <a:bodyPr lIns="91440" tIns="45720" rIns="91440" bIns="45720" anchor="ctr">
            <a:noAutofit/>
          </a:bodyPr>
          <a:lstStyle>
            <a:lvl1pPr algn="l" defTabSz="914400" rtl="0" eaLnBrk="1" latinLnBrk="0" hangingPunct="1">
              <a:lnSpc>
                <a:spcPct val="90000"/>
              </a:lnSpc>
              <a:spcBef>
                <a:spcPct val="0"/>
              </a:spcBef>
              <a:buNone/>
              <a:defRPr sz="2200" kern="1200">
                <a:solidFill>
                  <a:schemeClr val="tx1">
                    <a:lumMod val="65000"/>
                    <a:lumOff val="35000"/>
                  </a:schemeClr>
                </a:solidFill>
                <a:latin typeface="Arial" panose="020B0604020202020204" pitchFamily="34" charset="0"/>
                <a:ea typeface="+mj-ea"/>
                <a:cs typeface="Arial" panose="020B0604020202020204" pitchFamily="34" charset="0"/>
              </a:defRPr>
            </a:lvl1pPr>
          </a:lstStyle>
          <a:p>
            <a:r>
              <a:rPr lang="en-GB" sz="2450" noProof="0">
                <a:solidFill>
                  <a:schemeClr val="bg1"/>
                </a:solidFill>
                <a:latin typeface="+mn-lt"/>
                <a:cs typeface="Arial"/>
              </a:rPr>
              <a:t>SAP Analytics Migrations</a:t>
            </a:r>
            <a:endParaRPr lang="en-GB" sz="2462" noProof="0">
              <a:solidFill>
                <a:schemeClr val="bg1"/>
              </a:solidFill>
              <a:latin typeface="+mn-lt"/>
            </a:endParaRPr>
          </a:p>
        </p:txBody>
      </p:sp>
      <p:sp>
        <p:nvSpPr>
          <p:cNvPr id="4" name="CuadroTexto 3">
            <a:extLst>
              <a:ext uri="{FF2B5EF4-FFF2-40B4-BE49-F238E27FC236}">
                <a16:creationId xmlns:a16="http://schemas.microsoft.com/office/drawing/2014/main" id="{3945F6E9-9630-1DAE-D0F0-B208748086D9}"/>
              </a:ext>
            </a:extLst>
          </p:cNvPr>
          <p:cNvSpPr txBox="1"/>
          <p:nvPr/>
        </p:nvSpPr>
        <p:spPr>
          <a:xfrm>
            <a:off x="2592044" y="1550819"/>
            <a:ext cx="2741742" cy="415498"/>
          </a:xfrm>
          <a:prstGeom prst="rect">
            <a:avLst/>
          </a:prstGeom>
          <a:noFill/>
        </p:spPr>
        <p:txBody>
          <a:bodyPr wrap="square" rtlCol="0" anchor="ctr" anchorCtr="0">
            <a:spAutoFit/>
          </a:bodyPr>
          <a:lstStyle>
            <a:defPPr>
              <a:defRPr lang="es-ES"/>
            </a:defPPr>
            <a:lvl1pPr>
              <a:defRPr sz="1050">
                <a:solidFill>
                  <a:srgbClr val="494949"/>
                </a:solidFill>
                <a:ea typeface="Arial" charset="0"/>
                <a:cs typeface="Arial" charset="0"/>
              </a:defRPr>
            </a:lvl1pPr>
          </a:lstStyle>
          <a:p>
            <a:r>
              <a:rPr lang="en-GB" noProof="0">
                <a:latin typeface="Arial" panose="020B0604020202020204" pitchFamily="34" charset="0"/>
                <a:cs typeface="Arial" panose="020B0604020202020204" pitchFamily="34" charset="0"/>
                <a:sym typeface="Gill Sans" charset="0"/>
              </a:rPr>
              <a:t>Migration project to BW/4HANA 2.0 in Greenfield mode.</a:t>
            </a:r>
          </a:p>
        </p:txBody>
      </p:sp>
      <p:sp>
        <p:nvSpPr>
          <p:cNvPr id="5" name="CuadroTexto 4">
            <a:extLst>
              <a:ext uri="{FF2B5EF4-FFF2-40B4-BE49-F238E27FC236}">
                <a16:creationId xmlns:a16="http://schemas.microsoft.com/office/drawing/2014/main" id="{5923EEEF-1766-2F74-DDE6-B4111378DECC}"/>
              </a:ext>
            </a:extLst>
          </p:cNvPr>
          <p:cNvSpPr txBox="1"/>
          <p:nvPr/>
        </p:nvSpPr>
        <p:spPr>
          <a:xfrm>
            <a:off x="2686559" y="6046262"/>
            <a:ext cx="2678334" cy="415498"/>
          </a:xfrm>
          <a:prstGeom prst="rect">
            <a:avLst/>
          </a:prstGeom>
          <a:noFill/>
        </p:spPr>
        <p:txBody>
          <a:bodyPr wrap="square" rtlCol="0" anchor="ctr" anchorCtr="0">
            <a:spAutoFit/>
          </a:bodyPr>
          <a:lstStyle>
            <a:defPPr>
              <a:defRPr lang="es-ES"/>
            </a:defPPr>
            <a:lvl1pPr>
              <a:defRPr sz="1050">
                <a:solidFill>
                  <a:srgbClr val="494949"/>
                </a:solidFill>
                <a:ea typeface="Arial" charset="0"/>
                <a:cs typeface="Arial" charset="0"/>
              </a:defRPr>
            </a:lvl1pPr>
          </a:lstStyle>
          <a:p>
            <a:r>
              <a:rPr lang="en-GB" noProof="0">
                <a:latin typeface="Arial" panose="020B0604020202020204" pitchFamily="34" charset="0"/>
                <a:cs typeface="Arial" panose="020B0604020202020204" pitchFamily="34" charset="0"/>
                <a:sym typeface="Gill Sans" charset="0"/>
              </a:rPr>
              <a:t>Migrating from BW 7.0 to BW4/HANA 1.0 using Remote Conversion</a:t>
            </a:r>
          </a:p>
        </p:txBody>
      </p:sp>
      <p:sp>
        <p:nvSpPr>
          <p:cNvPr id="6" name="CuadroTexto 5">
            <a:extLst>
              <a:ext uri="{FF2B5EF4-FFF2-40B4-BE49-F238E27FC236}">
                <a16:creationId xmlns:a16="http://schemas.microsoft.com/office/drawing/2014/main" id="{B45C77BD-3985-3ED2-3140-DB7FAC4ECE75}"/>
              </a:ext>
            </a:extLst>
          </p:cNvPr>
          <p:cNvSpPr txBox="1"/>
          <p:nvPr/>
        </p:nvSpPr>
        <p:spPr>
          <a:xfrm>
            <a:off x="2576136" y="3390761"/>
            <a:ext cx="2740352" cy="415498"/>
          </a:xfrm>
          <a:prstGeom prst="rect">
            <a:avLst/>
          </a:prstGeom>
          <a:noFill/>
        </p:spPr>
        <p:txBody>
          <a:bodyPr wrap="square" rtlCol="0" anchor="ctr" anchorCtr="0">
            <a:spAutoFit/>
          </a:bodyPr>
          <a:lstStyle>
            <a:defPPr>
              <a:defRPr lang="es-ES"/>
            </a:defPPr>
            <a:lvl1pPr>
              <a:defRPr sz="1050">
                <a:solidFill>
                  <a:srgbClr val="494949"/>
                </a:solidFill>
                <a:ea typeface="Arial" charset="0"/>
                <a:cs typeface="Arial" charset="0"/>
              </a:defRPr>
            </a:lvl1pPr>
          </a:lstStyle>
          <a:p>
            <a:r>
              <a:rPr lang="en-GB" noProof="0">
                <a:latin typeface="Arial" panose="020B0604020202020204" pitchFamily="34" charset="0"/>
                <a:cs typeface="Arial" panose="020B0604020202020204" pitchFamily="34" charset="0"/>
                <a:sym typeface="Gill Sans" charset="0"/>
              </a:rPr>
              <a:t>Upgrade from BW/4HANA 1.0 to BW/4HANA 2.0 </a:t>
            </a:r>
          </a:p>
        </p:txBody>
      </p:sp>
      <p:sp>
        <p:nvSpPr>
          <p:cNvPr id="7" name="CuadroTexto 6">
            <a:extLst>
              <a:ext uri="{FF2B5EF4-FFF2-40B4-BE49-F238E27FC236}">
                <a16:creationId xmlns:a16="http://schemas.microsoft.com/office/drawing/2014/main" id="{1C0CBE4E-8C8B-D85A-A693-E7CC92204F51}"/>
              </a:ext>
            </a:extLst>
          </p:cNvPr>
          <p:cNvSpPr txBox="1"/>
          <p:nvPr/>
        </p:nvSpPr>
        <p:spPr>
          <a:xfrm>
            <a:off x="2592044" y="2462814"/>
            <a:ext cx="2740352" cy="415498"/>
          </a:xfrm>
          <a:prstGeom prst="rect">
            <a:avLst/>
          </a:prstGeom>
          <a:noFill/>
        </p:spPr>
        <p:txBody>
          <a:bodyPr wrap="square" rtlCol="0" anchor="ctr" anchorCtr="0">
            <a:spAutoFit/>
          </a:bodyPr>
          <a:lstStyle>
            <a:defPPr>
              <a:defRPr lang="es-ES"/>
            </a:defPPr>
            <a:lvl1pPr>
              <a:defRPr sz="1050">
                <a:solidFill>
                  <a:srgbClr val="494949"/>
                </a:solidFill>
                <a:ea typeface="Arial" charset="0"/>
                <a:cs typeface="Arial" charset="0"/>
              </a:defRPr>
            </a:lvl1pPr>
          </a:lstStyle>
          <a:p>
            <a:r>
              <a:rPr lang="en-GB" noProof="0">
                <a:latin typeface="Arial" panose="020B0604020202020204" pitchFamily="34" charset="0"/>
                <a:cs typeface="Arial" panose="020B0604020202020204" pitchFamily="34" charset="0"/>
                <a:sym typeface="Gill Sans" charset="0"/>
              </a:rPr>
              <a:t>Migration project to BW/4HANA 2.0 from a BW 7.3 using Remote Conversion</a:t>
            </a:r>
          </a:p>
        </p:txBody>
      </p:sp>
      <p:sp>
        <p:nvSpPr>
          <p:cNvPr id="8" name="CuadroTexto 7">
            <a:extLst>
              <a:ext uri="{FF2B5EF4-FFF2-40B4-BE49-F238E27FC236}">
                <a16:creationId xmlns:a16="http://schemas.microsoft.com/office/drawing/2014/main" id="{2AA7933D-F246-150C-4098-F954AD14878F}"/>
              </a:ext>
            </a:extLst>
          </p:cNvPr>
          <p:cNvSpPr txBox="1"/>
          <p:nvPr/>
        </p:nvSpPr>
        <p:spPr>
          <a:xfrm>
            <a:off x="2672294" y="5161509"/>
            <a:ext cx="2681692" cy="415498"/>
          </a:xfrm>
          <a:prstGeom prst="rect">
            <a:avLst/>
          </a:prstGeom>
          <a:noFill/>
        </p:spPr>
        <p:txBody>
          <a:bodyPr wrap="square" rtlCol="0" anchor="ctr" anchorCtr="0">
            <a:spAutoFit/>
          </a:bodyPr>
          <a:lstStyle>
            <a:defPPr>
              <a:defRPr lang="es-ES"/>
            </a:defPPr>
            <a:lvl1pPr>
              <a:defRPr sz="1050">
                <a:solidFill>
                  <a:srgbClr val="494949"/>
                </a:solidFill>
                <a:ea typeface="Arial" charset="0"/>
                <a:cs typeface="Arial" charset="0"/>
              </a:defRPr>
            </a:lvl1pPr>
          </a:lstStyle>
          <a:p>
            <a:r>
              <a:rPr lang="en-GB" noProof="0">
                <a:latin typeface="Arial" panose="020B0604020202020204" pitchFamily="34" charset="0"/>
                <a:cs typeface="Arial" panose="020B0604020202020204" pitchFamily="34" charset="0"/>
                <a:sym typeface="Gill Sans" charset="0"/>
              </a:rPr>
              <a:t>Migrating from BW 7.0 to BW4/HANA 1.0 using In-Place Conversion</a:t>
            </a:r>
          </a:p>
        </p:txBody>
      </p:sp>
      <p:grpSp>
        <p:nvGrpSpPr>
          <p:cNvPr id="9" name="Grupo 8">
            <a:extLst>
              <a:ext uri="{FF2B5EF4-FFF2-40B4-BE49-F238E27FC236}">
                <a16:creationId xmlns:a16="http://schemas.microsoft.com/office/drawing/2014/main" id="{E9B4A921-33DD-54FC-7C74-8638E45AFA69}"/>
              </a:ext>
            </a:extLst>
          </p:cNvPr>
          <p:cNvGrpSpPr/>
          <p:nvPr/>
        </p:nvGrpSpPr>
        <p:grpSpPr>
          <a:xfrm>
            <a:off x="1276845" y="4938593"/>
            <a:ext cx="1404000" cy="935998"/>
            <a:chOff x="6808123" y="1302006"/>
            <a:chExt cx="2043310" cy="1539970"/>
          </a:xfrm>
        </p:grpSpPr>
        <p:pic>
          <p:nvPicPr>
            <p:cNvPr id="10" name="Imagen 9">
              <a:extLst>
                <a:ext uri="{FF2B5EF4-FFF2-40B4-BE49-F238E27FC236}">
                  <a16:creationId xmlns:a16="http://schemas.microsoft.com/office/drawing/2014/main" id="{5C2469F9-C9E7-DADD-74DD-8A80EA0FD980}"/>
                </a:ext>
              </a:extLst>
            </p:cNvPr>
            <p:cNvPicPr>
              <a:picLocks noChangeAspect="1"/>
            </p:cNvPicPr>
            <p:nvPr/>
          </p:nvPicPr>
          <p:blipFill rotWithShape="1">
            <a:blip r:embed="rId2"/>
            <a:srcRect l="7173" t="22664" r="6469" b="28832"/>
            <a:stretch/>
          </p:blipFill>
          <p:spPr>
            <a:xfrm>
              <a:off x="7133370" y="1836260"/>
              <a:ext cx="856088" cy="242439"/>
            </a:xfrm>
            <a:prstGeom prst="rect">
              <a:avLst/>
            </a:prstGeom>
          </p:spPr>
        </p:pic>
        <p:grpSp>
          <p:nvGrpSpPr>
            <p:cNvPr id="11" name="Circle D">
              <a:extLst>
                <a:ext uri="{FF2B5EF4-FFF2-40B4-BE49-F238E27FC236}">
                  <a16:creationId xmlns:a16="http://schemas.microsoft.com/office/drawing/2014/main" id="{AEC4178F-4E65-9BF2-2B50-106A5836C3BD}"/>
                </a:ext>
              </a:extLst>
            </p:cNvPr>
            <p:cNvGrpSpPr/>
            <p:nvPr/>
          </p:nvGrpSpPr>
          <p:grpSpPr>
            <a:xfrm>
              <a:off x="7031547" y="1427946"/>
              <a:ext cx="1059734" cy="1059066"/>
              <a:chOff x="4013977" y="3517105"/>
              <a:chExt cx="1117595" cy="1116013"/>
            </a:xfrm>
            <a:noFill/>
          </p:grpSpPr>
          <p:sp>
            <p:nvSpPr>
              <p:cNvPr id="18" name="Oval 28">
                <a:extLst>
                  <a:ext uri="{FF2B5EF4-FFF2-40B4-BE49-F238E27FC236}">
                    <a16:creationId xmlns:a16="http://schemas.microsoft.com/office/drawing/2014/main" id="{E058D063-ED89-63DB-AC64-FEC77FDB94A9}"/>
                  </a:ext>
                </a:extLst>
              </p:cNvPr>
              <p:cNvSpPr>
                <a:spLocks noChangeArrowheads="1"/>
              </p:cNvSpPr>
              <p:nvPr/>
            </p:nvSpPr>
            <p:spPr bwMode="auto">
              <a:xfrm>
                <a:off x="4013977" y="3517105"/>
                <a:ext cx="1117595" cy="1116013"/>
              </a:xfrm>
              <a:prstGeom prst="ellipse">
                <a:avLst/>
              </a:prstGeom>
              <a:grpFill/>
              <a:ln w="12700" cap="flat">
                <a:solidFill>
                  <a:srgbClr val="8DAFC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19" name="Freeform 26">
                <a:extLst>
                  <a:ext uri="{FF2B5EF4-FFF2-40B4-BE49-F238E27FC236}">
                    <a16:creationId xmlns:a16="http://schemas.microsoft.com/office/drawing/2014/main" id="{495B7C14-42E9-1047-0CFF-B292067EDAEF}"/>
                  </a:ext>
                </a:extLst>
              </p:cNvPr>
              <p:cNvSpPr>
                <a:spLocks/>
              </p:cNvSpPr>
              <p:nvPr/>
            </p:nvSpPr>
            <p:spPr bwMode="auto">
              <a:xfrm>
                <a:off x="5017273" y="3882228"/>
                <a:ext cx="39688" cy="171450"/>
              </a:xfrm>
              <a:custGeom>
                <a:avLst/>
                <a:gdLst/>
                <a:ahLst/>
                <a:cxnLst>
                  <a:cxn ang="0">
                    <a:pos x="0" y="0"/>
                  </a:cxn>
                  <a:cxn ang="0">
                    <a:pos x="26" y="114"/>
                  </a:cxn>
                </a:cxnLst>
                <a:rect l="0" t="0" r="r" b="b"/>
                <a:pathLst>
                  <a:path w="26" h="114">
                    <a:moveTo>
                      <a:pt x="0" y="0"/>
                    </a:moveTo>
                    <a:cubicBezTo>
                      <a:pt x="15" y="36"/>
                      <a:pt x="24" y="74"/>
                      <a:pt x="26" y="114"/>
                    </a:cubicBezTo>
                  </a:path>
                </a:pathLst>
              </a:custGeom>
              <a:grpFill/>
              <a:ln w="12700" cap="rnd">
                <a:solidFill>
                  <a:srgbClr val="8DAFC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20" name="Freeform 27">
                <a:extLst>
                  <a:ext uri="{FF2B5EF4-FFF2-40B4-BE49-F238E27FC236}">
                    <a16:creationId xmlns:a16="http://schemas.microsoft.com/office/drawing/2014/main" id="{099C435C-EFAB-6FD4-FFC5-534F3955D447}"/>
                  </a:ext>
                </a:extLst>
              </p:cNvPr>
              <p:cNvSpPr>
                <a:spLocks/>
              </p:cNvSpPr>
              <p:nvPr/>
            </p:nvSpPr>
            <p:spPr bwMode="auto">
              <a:xfrm>
                <a:off x="4855369" y="3680619"/>
                <a:ext cx="117474" cy="120650"/>
              </a:xfrm>
              <a:custGeom>
                <a:avLst/>
                <a:gdLst/>
                <a:ahLst/>
                <a:cxnLst>
                  <a:cxn ang="0">
                    <a:pos x="0" y="0"/>
                  </a:cxn>
                  <a:cxn ang="0">
                    <a:pos x="78" y="80"/>
                  </a:cxn>
                </a:cxnLst>
                <a:rect l="0" t="0" r="r" b="b"/>
                <a:pathLst>
                  <a:path w="78" h="80">
                    <a:moveTo>
                      <a:pt x="0" y="0"/>
                    </a:moveTo>
                    <a:cubicBezTo>
                      <a:pt x="30" y="22"/>
                      <a:pt x="57" y="49"/>
                      <a:pt x="78" y="80"/>
                    </a:cubicBezTo>
                  </a:path>
                </a:pathLst>
              </a:custGeom>
              <a:grpFill/>
              <a:ln w="12700" cap="rnd">
                <a:solidFill>
                  <a:srgbClr val="8DAFC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grpSp>
        <p:sp>
          <p:nvSpPr>
            <p:cNvPr id="12" name="Freeform 32">
              <a:extLst>
                <a:ext uri="{FF2B5EF4-FFF2-40B4-BE49-F238E27FC236}">
                  <a16:creationId xmlns:a16="http://schemas.microsoft.com/office/drawing/2014/main" id="{7401DBA5-5177-5B9C-7C37-941969319AB4}"/>
                </a:ext>
              </a:extLst>
            </p:cNvPr>
            <p:cNvSpPr>
              <a:spLocks/>
            </p:cNvSpPr>
            <p:nvPr/>
          </p:nvSpPr>
          <p:spPr bwMode="auto">
            <a:xfrm rot="1777099">
              <a:off x="7404494" y="1302006"/>
              <a:ext cx="84297" cy="70806"/>
            </a:xfrm>
            <a:custGeom>
              <a:avLst/>
              <a:gdLst/>
              <a:ahLst/>
              <a:cxnLst>
                <a:cxn ang="0">
                  <a:pos x="0" y="50"/>
                </a:cxn>
                <a:cxn ang="0">
                  <a:pos x="59" y="0"/>
                </a:cxn>
              </a:cxnLst>
              <a:rect l="0" t="0" r="r" b="b"/>
              <a:pathLst>
                <a:path w="59" h="50">
                  <a:moveTo>
                    <a:pt x="0" y="50"/>
                  </a:moveTo>
                  <a:cubicBezTo>
                    <a:pt x="18" y="32"/>
                    <a:pt x="38" y="16"/>
                    <a:pt x="59" y="0"/>
                  </a:cubicBezTo>
                </a:path>
              </a:pathLst>
            </a:custGeom>
            <a:noFill/>
            <a:ln w="12700" cap="rnd">
              <a:solidFill>
                <a:srgbClr val="FFFFFF">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13" name="Freeform 33">
              <a:extLst>
                <a:ext uri="{FF2B5EF4-FFF2-40B4-BE49-F238E27FC236}">
                  <a16:creationId xmlns:a16="http://schemas.microsoft.com/office/drawing/2014/main" id="{DB531964-ABFE-D9BA-4506-7D14FA875DF9}"/>
                </a:ext>
              </a:extLst>
            </p:cNvPr>
            <p:cNvSpPr>
              <a:spLocks/>
            </p:cNvSpPr>
            <p:nvPr/>
          </p:nvSpPr>
          <p:spPr bwMode="auto">
            <a:xfrm rot="1777099">
              <a:off x="7271372" y="1369506"/>
              <a:ext cx="28601" cy="42182"/>
            </a:xfrm>
            <a:custGeom>
              <a:avLst/>
              <a:gdLst/>
              <a:ahLst/>
              <a:cxnLst>
                <a:cxn ang="0">
                  <a:pos x="0" y="29"/>
                </a:cxn>
                <a:cxn ang="0">
                  <a:pos x="20" y="0"/>
                </a:cxn>
              </a:cxnLst>
              <a:rect l="0" t="0" r="r" b="b"/>
              <a:pathLst>
                <a:path w="20" h="29">
                  <a:moveTo>
                    <a:pt x="0" y="29"/>
                  </a:moveTo>
                  <a:cubicBezTo>
                    <a:pt x="7" y="19"/>
                    <a:pt x="13" y="9"/>
                    <a:pt x="20" y="0"/>
                  </a:cubicBezTo>
                </a:path>
              </a:pathLst>
            </a:custGeom>
            <a:noFill/>
            <a:ln w="12700" cap="rnd">
              <a:solidFill>
                <a:srgbClr val="FFFFFF">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14" name="Freeform 34">
              <a:extLst>
                <a:ext uri="{FF2B5EF4-FFF2-40B4-BE49-F238E27FC236}">
                  <a16:creationId xmlns:a16="http://schemas.microsoft.com/office/drawing/2014/main" id="{EA6A9712-0B5A-EF11-3F2E-2A08DAF601D0}"/>
                </a:ext>
              </a:extLst>
            </p:cNvPr>
            <p:cNvSpPr>
              <a:spLocks/>
            </p:cNvSpPr>
            <p:nvPr/>
          </p:nvSpPr>
          <p:spPr bwMode="auto">
            <a:xfrm rot="1777099">
              <a:off x="7040724" y="1422707"/>
              <a:ext cx="57202" cy="334444"/>
            </a:xfrm>
            <a:custGeom>
              <a:avLst/>
              <a:gdLst/>
              <a:ahLst/>
              <a:cxnLst>
                <a:cxn ang="0">
                  <a:pos x="12" y="234"/>
                </a:cxn>
                <a:cxn ang="0">
                  <a:pos x="40" y="0"/>
                </a:cxn>
              </a:cxnLst>
              <a:rect l="0" t="0" r="r" b="b"/>
              <a:pathLst>
                <a:path w="40" h="234">
                  <a:moveTo>
                    <a:pt x="12" y="234"/>
                  </a:moveTo>
                  <a:cubicBezTo>
                    <a:pt x="0" y="154"/>
                    <a:pt x="10" y="74"/>
                    <a:pt x="40" y="0"/>
                  </a:cubicBezTo>
                </a:path>
              </a:pathLst>
            </a:custGeom>
            <a:noFill/>
            <a:ln w="12700" cap="rnd">
              <a:solidFill>
                <a:srgbClr val="FFFFFF">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15" name="Freeform 38">
              <a:extLst>
                <a:ext uri="{FF2B5EF4-FFF2-40B4-BE49-F238E27FC236}">
                  <a16:creationId xmlns:a16="http://schemas.microsoft.com/office/drawing/2014/main" id="{9BD223E6-550D-3F8F-B273-C0C51D5944D0}"/>
                </a:ext>
              </a:extLst>
            </p:cNvPr>
            <p:cNvSpPr>
              <a:spLocks/>
            </p:cNvSpPr>
            <p:nvPr/>
          </p:nvSpPr>
          <p:spPr bwMode="auto">
            <a:xfrm rot="1777099">
              <a:off x="6808123" y="2039009"/>
              <a:ext cx="1944854" cy="802967"/>
            </a:xfrm>
            <a:custGeom>
              <a:avLst/>
              <a:gdLst/>
              <a:ahLst/>
              <a:cxnLst>
                <a:cxn ang="0">
                  <a:pos x="0" y="279"/>
                </a:cxn>
                <a:cxn ang="0">
                  <a:pos x="602" y="441"/>
                </a:cxn>
                <a:cxn ang="0">
                  <a:pos x="1366" y="0"/>
                </a:cxn>
              </a:cxnLst>
              <a:rect l="0" t="0" r="r" b="b"/>
              <a:pathLst>
                <a:path w="1366" h="563">
                  <a:moveTo>
                    <a:pt x="0" y="279"/>
                  </a:moveTo>
                  <a:cubicBezTo>
                    <a:pt x="121" y="490"/>
                    <a:pt x="391" y="563"/>
                    <a:pt x="602" y="441"/>
                  </a:cubicBezTo>
                  <a:cubicBezTo>
                    <a:pt x="1366" y="0"/>
                    <a:pt x="1366" y="0"/>
                    <a:pt x="1366" y="0"/>
                  </a:cubicBezTo>
                </a:path>
              </a:pathLst>
            </a:custGeom>
            <a:noFill/>
            <a:ln w="12700" cap="flat">
              <a:solidFill>
                <a:srgbClr val="FFFFFF">
                  <a:lumMod val="75000"/>
                </a:srgb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16" name="Freeform 39">
              <a:extLst>
                <a:ext uri="{FF2B5EF4-FFF2-40B4-BE49-F238E27FC236}">
                  <a16:creationId xmlns:a16="http://schemas.microsoft.com/office/drawing/2014/main" id="{2A4505A7-34FF-3A13-CF74-8B4110F9AE23}"/>
                </a:ext>
              </a:extLst>
            </p:cNvPr>
            <p:cNvSpPr>
              <a:spLocks/>
            </p:cNvSpPr>
            <p:nvPr/>
          </p:nvSpPr>
          <p:spPr bwMode="auto">
            <a:xfrm rot="1777099">
              <a:off x="6909675" y="1930545"/>
              <a:ext cx="52686" cy="52728"/>
            </a:xfrm>
            <a:custGeom>
              <a:avLst/>
              <a:gdLst/>
              <a:ahLst/>
              <a:cxnLst>
                <a:cxn ang="0">
                  <a:pos x="33" y="10"/>
                </a:cxn>
                <a:cxn ang="0">
                  <a:pos x="27" y="33"/>
                </a:cxn>
                <a:cxn ang="0">
                  <a:pos x="4" y="27"/>
                </a:cxn>
                <a:cxn ang="0">
                  <a:pos x="10" y="4"/>
                </a:cxn>
                <a:cxn ang="0">
                  <a:pos x="33" y="10"/>
                </a:cxn>
              </a:cxnLst>
              <a:rect l="0" t="0" r="r" b="b"/>
              <a:pathLst>
                <a:path w="37" h="37">
                  <a:moveTo>
                    <a:pt x="33" y="10"/>
                  </a:moveTo>
                  <a:cubicBezTo>
                    <a:pt x="37" y="18"/>
                    <a:pt x="35" y="28"/>
                    <a:pt x="27" y="33"/>
                  </a:cubicBezTo>
                  <a:cubicBezTo>
                    <a:pt x="19" y="37"/>
                    <a:pt x="9" y="34"/>
                    <a:pt x="4" y="27"/>
                  </a:cubicBezTo>
                  <a:cubicBezTo>
                    <a:pt x="0" y="19"/>
                    <a:pt x="2" y="9"/>
                    <a:pt x="10" y="4"/>
                  </a:cubicBezTo>
                  <a:cubicBezTo>
                    <a:pt x="18" y="0"/>
                    <a:pt x="28" y="2"/>
                    <a:pt x="33" y="10"/>
                  </a:cubicBez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17" name="Freeform 40">
              <a:extLst>
                <a:ext uri="{FF2B5EF4-FFF2-40B4-BE49-F238E27FC236}">
                  <a16:creationId xmlns:a16="http://schemas.microsoft.com/office/drawing/2014/main" id="{DD94307E-9D3E-5EBE-5AAB-12638471EB76}"/>
                </a:ext>
              </a:extLst>
            </p:cNvPr>
            <p:cNvSpPr>
              <a:spLocks/>
            </p:cNvSpPr>
            <p:nvPr/>
          </p:nvSpPr>
          <p:spPr bwMode="auto">
            <a:xfrm rot="1777099">
              <a:off x="8797242" y="2544944"/>
              <a:ext cx="54191" cy="54234"/>
            </a:xfrm>
            <a:custGeom>
              <a:avLst/>
              <a:gdLst/>
              <a:ahLst/>
              <a:cxnLst>
                <a:cxn ang="0">
                  <a:pos x="33" y="11"/>
                </a:cxn>
                <a:cxn ang="0">
                  <a:pos x="27" y="33"/>
                </a:cxn>
                <a:cxn ang="0">
                  <a:pos x="4" y="27"/>
                </a:cxn>
                <a:cxn ang="0">
                  <a:pos x="10" y="5"/>
                </a:cxn>
                <a:cxn ang="0">
                  <a:pos x="33" y="11"/>
                </a:cxn>
              </a:cxnLst>
              <a:rect l="0" t="0" r="r" b="b"/>
              <a:pathLst>
                <a:path w="38" h="38">
                  <a:moveTo>
                    <a:pt x="33" y="11"/>
                  </a:moveTo>
                  <a:cubicBezTo>
                    <a:pt x="38" y="18"/>
                    <a:pt x="35" y="28"/>
                    <a:pt x="27" y="33"/>
                  </a:cubicBezTo>
                  <a:cubicBezTo>
                    <a:pt x="19" y="38"/>
                    <a:pt x="9" y="35"/>
                    <a:pt x="4" y="27"/>
                  </a:cubicBezTo>
                  <a:cubicBezTo>
                    <a:pt x="0" y="19"/>
                    <a:pt x="3" y="9"/>
                    <a:pt x="10" y="5"/>
                  </a:cubicBezTo>
                  <a:cubicBezTo>
                    <a:pt x="18" y="0"/>
                    <a:pt x="28" y="3"/>
                    <a:pt x="33" y="11"/>
                  </a:cubicBez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grpSp>
      <p:grpSp>
        <p:nvGrpSpPr>
          <p:cNvPr id="21" name="Grupo 20">
            <a:extLst>
              <a:ext uri="{FF2B5EF4-FFF2-40B4-BE49-F238E27FC236}">
                <a16:creationId xmlns:a16="http://schemas.microsoft.com/office/drawing/2014/main" id="{7D88E3AB-EA58-8497-ABD6-37FA8C2CEA80}"/>
              </a:ext>
            </a:extLst>
          </p:cNvPr>
          <p:cNvGrpSpPr/>
          <p:nvPr/>
        </p:nvGrpSpPr>
        <p:grpSpPr>
          <a:xfrm>
            <a:off x="1276843" y="3149621"/>
            <a:ext cx="1404000" cy="936001"/>
            <a:chOff x="4281988" y="4670576"/>
            <a:chExt cx="2043310" cy="1539970"/>
          </a:xfrm>
        </p:grpSpPr>
        <p:pic>
          <p:nvPicPr>
            <p:cNvPr id="22" name="Imagen 21">
              <a:extLst>
                <a:ext uri="{FF2B5EF4-FFF2-40B4-BE49-F238E27FC236}">
                  <a16:creationId xmlns:a16="http://schemas.microsoft.com/office/drawing/2014/main" id="{88D8A40F-54B3-0C34-4594-7F5D2C25570F}"/>
                </a:ext>
              </a:extLst>
            </p:cNvPr>
            <p:cNvPicPr>
              <a:picLocks noChangeAspect="1"/>
            </p:cNvPicPr>
            <p:nvPr/>
          </p:nvPicPr>
          <p:blipFill>
            <a:blip r:embed="rId3"/>
            <a:stretch>
              <a:fillRect/>
            </a:stretch>
          </p:blipFill>
          <p:spPr>
            <a:xfrm>
              <a:off x="4719587" y="5213452"/>
              <a:ext cx="631384" cy="225194"/>
            </a:xfrm>
            <a:prstGeom prst="rect">
              <a:avLst/>
            </a:prstGeom>
          </p:spPr>
        </p:pic>
        <p:grpSp>
          <p:nvGrpSpPr>
            <p:cNvPr id="23" name="Circle D">
              <a:extLst>
                <a:ext uri="{FF2B5EF4-FFF2-40B4-BE49-F238E27FC236}">
                  <a16:creationId xmlns:a16="http://schemas.microsoft.com/office/drawing/2014/main" id="{0219A005-F009-F0BB-ED1E-711EF68C860D}"/>
                </a:ext>
              </a:extLst>
            </p:cNvPr>
            <p:cNvGrpSpPr/>
            <p:nvPr/>
          </p:nvGrpSpPr>
          <p:grpSpPr>
            <a:xfrm>
              <a:off x="4505412" y="4796516"/>
              <a:ext cx="1059734" cy="1059066"/>
              <a:chOff x="4013977" y="3517105"/>
              <a:chExt cx="1117595" cy="1116013"/>
            </a:xfrm>
            <a:noFill/>
          </p:grpSpPr>
          <p:sp>
            <p:nvSpPr>
              <p:cNvPr id="30" name="Oval 28">
                <a:extLst>
                  <a:ext uri="{FF2B5EF4-FFF2-40B4-BE49-F238E27FC236}">
                    <a16:creationId xmlns:a16="http://schemas.microsoft.com/office/drawing/2014/main" id="{CA56160A-A805-2722-22B6-C9ADF6B8C666}"/>
                  </a:ext>
                </a:extLst>
              </p:cNvPr>
              <p:cNvSpPr>
                <a:spLocks noChangeArrowheads="1"/>
              </p:cNvSpPr>
              <p:nvPr/>
            </p:nvSpPr>
            <p:spPr bwMode="auto">
              <a:xfrm>
                <a:off x="4013977" y="3517105"/>
                <a:ext cx="1117595" cy="1116013"/>
              </a:xfrm>
              <a:prstGeom prst="ellipse">
                <a:avLst/>
              </a:prstGeom>
              <a:grpFill/>
              <a:ln w="12700" cap="flat">
                <a:solidFill>
                  <a:srgbClr val="8DAFC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31" name="Freeform 26">
                <a:extLst>
                  <a:ext uri="{FF2B5EF4-FFF2-40B4-BE49-F238E27FC236}">
                    <a16:creationId xmlns:a16="http://schemas.microsoft.com/office/drawing/2014/main" id="{3E1BFB19-1AB0-2877-0F30-C92E77E4FDA2}"/>
                  </a:ext>
                </a:extLst>
              </p:cNvPr>
              <p:cNvSpPr>
                <a:spLocks/>
              </p:cNvSpPr>
              <p:nvPr/>
            </p:nvSpPr>
            <p:spPr bwMode="auto">
              <a:xfrm>
                <a:off x="5017273" y="3882228"/>
                <a:ext cx="39688" cy="171450"/>
              </a:xfrm>
              <a:custGeom>
                <a:avLst/>
                <a:gdLst/>
                <a:ahLst/>
                <a:cxnLst>
                  <a:cxn ang="0">
                    <a:pos x="0" y="0"/>
                  </a:cxn>
                  <a:cxn ang="0">
                    <a:pos x="26" y="114"/>
                  </a:cxn>
                </a:cxnLst>
                <a:rect l="0" t="0" r="r" b="b"/>
                <a:pathLst>
                  <a:path w="26" h="114">
                    <a:moveTo>
                      <a:pt x="0" y="0"/>
                    </a:moveTo>
                    <a:cubicBezTo>
                      <a:pt x="15" y="36"/>
                      <a:pt x="24" y="74"/>
                      <a:pt x="26" y="114"/>
                    </a:cubicBezTo>
                  </a:path>
                </a:pathLst>
              </a:custGeom>
              <a:grpFill/>
              <a:ln w="12700" cap="rnd">
                <a:solidFill>
                  <a:srgbClr val="8DAFC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96" name="Freeform 27">
                <a:extLst>
                  <a:ext uri="{FF2B5EF4-FFF2-40B4-BE49-F238E27FC236}">
                    <a16:creationId xmlns:a16="http://schemas.microsoft.com/office/drawing/2014/main" id="{D6F2C136-BA83-483A-B076-12BA31FA587C}"/>
                  </a:ext>
                </a:extLst>
              </p:cNvPr>
              <p:cNvSpPr>
                <a:spLocks/>
              </p:cNvSpPr>
              <p:nvPr/>
            </p:nvSpPr>
            <p:spPr bwMode="auto">
              <a:xfrm>
                <a:off x="4855369" y="3680619"/>
                <a:ext cx="117474" cy="120650"/>
              </a:xfrm>
              <a:custGeom>
                <a:avLst/>
                <a:gdLst/>
                <a:ahLst/>
                <a:cxnLst>
                  <a:cxn ang="0">
                    <a:pos x="0" y="0"/>
                  </a:cxn>
                  <a:cxn ang="0">
                    <a:pos x="78" y="80"/>
                  </a:cxn>
                </a:cxnLst>
                <a:rect l="0" t="0" r="r" b="b"/>
                <a:pathLst>
                  <a:path w="78" h="80">
                    <a:moveTo>
                      <a:pt x="0" y="0"/>
                    </a:moveTo>
                    <a:cubicBezTo>
                      <a:pt x="30" y="22"/>
                      <a:pt x="57" y="49"/>
                      <a:pt x="78" y="80"/>
                    </a:cubicBezTo>
                  </a:path>
                </a:pathLst>
              </a:custGeom>
              <a:grpFill/>
              <a:ln w="12700" cap="rnd">
                <a:solidFill>
                  <a:srgbClr val="8DAFC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grpSp>
        <p:sp>
          <p:nvSpPr>
            <p:cNvPr id="24" name="Freeform 32">
              <a:extLst>
                <a:ext uri="{FF2B5EF4-FFF2-40B4-BE49-F238E27FC236}">
                  <a16:creationId xmlns:a16="http://schemas.microsoft.com/office/drawing/2014/main" id="{B6B495CE-4850-8D48-D0A5-3A6143E9272B}"/>
                </a:ext>
              </a:extLst>
            </p:cNvPr>
            <p:cNvSpPr>
              <a:spLocks/>
            </p:cNvSpPr>
            <p:nvPr/>
          </p:nvSpPr>
          <p:spPr bwMode="auto">
            <a:xfrm rot="1777099">
              <a:off x="4878359" y="4670576"/>
              <a:ext cx="84297" cy="70806"/>
            </a:xfrm>
            <a:custGeom>
              <a:avLst/>
              <a:gdLst/>
              <a:ahLst/>
              <a:cxnLst>
                <a:cxn ang="0">
                  <a:pos x="0" y="50"/>
                </a:cxn>
                <a:cxn ang="0">
                  <a:pos x="59" y="0"/>
                </a:cxn>
              </a:cxnLst>
              <a:rect l="0" t="0" r="r" b="b"/>
              <a:pathLst>
                <a:path w="59" h="50">
                  <a:moveTo>
                    <a:pt x="0" y="50"/>
                  </a:moveTo>
                  <a:cubicBezTo>
                    <a:pt x="18" y="32"/>
                    <a:pt x="38" y="16"/>
                    <a:pt x="59" y="0"/>
                  </a:cubicBezTo>
                </a:path>
              </a:pathLst>
            </a:custGeom>
            <a:noFill/>
            <a:ln w="12700" cap="rnd">
              <a:solidFill>
                <a:srgbClr val="FFFFFF">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25" name="Freeform 33">
              <a:extLst>
                <a:ext uri="{FF2B5EF4-FFF2-40B4-BE49-F238E27FC236}">
                  <a16:creationId xmlns:a16="http://schemas.microsoft.com/office/drawing/2014/main" id="{35A26251-4D58-82C1-975B-1F54D5F66128}"/>
                </a:ext>
              </a:extLst>
            </p:cNvPr>
            <p:cNvSpPr>
              <a:spLocks/>
            </p:cNvSpPr>
            <p:nvPr/>
          </p:nvSpPr>
          <p:spPr bwMode="auto">
            <a:xfrm rot="1777099">
              <a:off x="4745237" y="4738076"/>
              <a:ext cx="28601" cy="42182"/>
            </a:xfrm>
            <a:custGeom>
              <a:avLst/>
              <a:gdLst/>
              <a:ahLst/>
              <a:cxnLst>
                <a:cxn ang="0">
                  <a:pos x="0" y="29"/>
                </a:cxn>
                <a:cxn ang="0">
                  <a:pos x="20" y="0"/>
                </a:cxn>
              </a:cxnLst>
              <a:rect l="0" t="0" r="r" b="b"/>
              <a:pathLst>
                <a:path w="20" h="29">
                  <a:moveTo>
                    <a:pt x="0" y="29"/>
                  </a:moveTo>
                  <a:cubicBezTo>
                    <a:pt x="7" y="19"/>
                    <a:pt x="13" y="9"/>
                    <a:pt x="20" y="0"/>
                  </a:cubicBezTo>
                </a:path>
              </a:pathLst>
            </a:custGeom>
            <a:noFill/>
            <a:ln w="12700" cap="rnd">
              <a:solidFill>
                <a:srgbClr val="FFFFFF">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26" name="Freeform 34">
              <a:extLst>
                <a:ext uri="{FF2B5EF4-FFF2-40B4-BE49-F238E27FC236}">
                  <a16:creationId xmlns:a16="http://schemas.microsoft.com/office/drawing/2014/main" id="{18014E5D-8081-661D-451D-9BAAC718275F}"/>
                </a:ext>
              </a:extLst>
            </p:cNvPr>
            <p:cNvSpPr>
              <a:spLocks/>
            </p:cNvSpPr>
            <p:nvPr/>
          </p:nvSpPr>
          <p:spPr bwMode="auto">
            <a:xfrm rot="1777099">
              <a:off x="4514589" y="4791277"/>
              <a:ext cx="57202" cy="334444"/>
            </a:xfrm>
            <a:custGeom>
              <a:avLst/>
              <a:gdLst/>
              <a:ahLst/>
              <a:cxnLst>
                <a:cxn ang="0">
                  <a:pos x="12" y="234"/>
                </a:cxn>
                <a:cxn ang="0">
                  <a:pos x="40" y="0"/>
                </a:cxn>
              </a:cxnLst>
              <a:rect l="0" t="0" r="r" b="b"/>
              <a:pathLst>
                <a:path w="40" h="234">
                  <a:moveTo>
                    <a:pt x="12" y="234"/>
                  </a:moveTo>
                  <a:cubicBezTo>
                    <a:pt x="0" y="154"/>
                    <a:pt x="10" y="74"/>
                    <a:pt x="40" y="0"/>
                  </a:cubicBezTo>
                </a:path>
              </a:pathLst>
            </a:custGeom>
            <a:noFill/>
            <a:ln w="12700" cap="rnd">
              <a:solidFill>
                <a:srgbClr val="FFFFFF">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27" name="Freeform 38">
              <a:extLst>
                <a:ext uri="{FF2B5EF4-FFF2-40B4-BE49-F238E27FC236}">
                  <a16:creationId xmlns:a16="http://schemas.microsoft.com/office/drawing/2014/main" id="{C1D1777E-65BD-CD52-2527-26CD9A215D30}"/>
                </a:ext>
              </a:extLst>
            </p:cNvPr>
            <p:cNvSpPr>
              <a:spLocks/>
            </p:cNvSpPr>
            <p:nvPr/>
          </p:nvSpPr>
          <p:spPr bwMode="auto">
            <a:xfrm rot="1777099">
              <a:off x="4281988" y="5407579"/>
              <a:ext cx="1944854" cy="802967"/>
            </a:xfrm>
            <a:custGeom>
              <a:avLst/>
              <a:gdLst/>
              <a:ahLst/>
              <a:cxnLst>
                <a:cxn ang="0">
                  <a:pos x="0" y="279"/>
                </a:cxn>
                <a:cxn ang="0">
                  <a:pos x="602" y="441"/>
                </a:cxn>
                <a:cxn ang="0">
                  <a:pos x="1366" y="0"/>
                </a:cxn>
              </a:cxnLst>
              <a:rect l="0" t="0" r="r" b="b"/>
              <a:pathLst>
                <a:path w="1366" h="563">
                  <a:moveTo>
                    <a:pt x="0" y="279"/>
                  </a:moveTo>
                  <a:cubicBezTo>
                    <a:pt x="121" y="490"/>
                    <a:pt x="391" y="563"/>
                    <a:pt x="602" y="441"/>
                  </a:cubicBezTo>
                  <a:cubicBezTo>
                    <a:pt x="1366" y="0"/>
                    <a:pt x="1366" y="0"/>
                    <a:pt x="1366" y="0"/>
                  </a:cubicBezTo>
                </a:path>
              </a:pathLst>
            </a:custGeom>
            <a:noFill/>
            <a:ln w="12700" cap="flat">
              <a:solidFill>
                <a:srgbClr val="FFFFFF">
                  <a:lumMod val="75000"/>
                </a:srgb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28" name="Freeform 39">
              <a:extLst>
                <a:ext uri="{FF2B5EF4-FFF2-40B4-BE49-F238E27FC236}">
                  <a16:creationId xmlns:a16="http://schemas.microsoft.com/office/drawing/2014/main" id="{F29966CF-4F47-C3AE-D143-CD808FFEEC20}"/>
                </a:ext>
              </a:extLst>
            </p:cNvPr>
            <p:cNvSpPr>
              <a:spLocks/>
            </p:cNvSpPr>
            <p:nvPr/>
          </p:nvSpPr>
          <p:spPr bwMode="auto">
            <a:xfrm rot="1777099">
              <a:off x="4383540" y="5299115"/>
              <a:ext cx="52686" cy="52728"/>
            </a:xfrm>
            <a:custGeom>
              <a:avLst/>
              <a:gdLst/>
              <a:ahLst/>
              <a:cxnLst>
                <a:cxn ang="0">
                  <a:pos x="33" y="10"/>
                </a:cxn>
                <a:cxn ang="0">
                  <a:pos x="27" y="33"/>
                </a:cxn>
                <a:cxn ang="0">
                  <a:pos x="4" y="27"/>
                </a:cxn>
                <a:cxn ang="0">
                  <a:pos x="10" y="4"/>
                </a:cxn>
                <a:cxn ang="0">
                  <a:pos x="33" y="10"/>
                </a:cxn>
              </a:cxnLst>
              <a:rect l="0" t="0" r="r" b="b"/>
              <a:pathLst>
                <a:path w="37" h="37">
                  <a:moveTo>
                    <a:pt x="33" y="10"/>
                  </a:moveTo>
                  <a:cubicBezTo>
                    <a:pt x="37" y="18"/>
                    <a:pt x="35" y="28"/>
                    <a:pt x="27" y="33"/>
                  </a:cubicBezTo>
                  <a:cubicBezTo>
                    <a:pt x="19" y="37"/>
                    <a:pt x="9" y="34"/>
                    <a:pt x="4" y="27"/>
                  </a:cubicBezTo>
                  <a:cubicBezTo>
                    <a:pt x="0" y="19"/>
                    <a:pt x="2" y="9"/>
                    <a:pt x="10" y="4"/>
                  </a:cubicBezTo>
                  <a:cubicBezTo>
                    <a:pt x="18" y="0"/>
                    <a:pt x="28" y="2"/>
                    <a:pt x="33" y="10"/>
                  </a:cubicBez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29" name="Freeform 40">
              <a:extLst>
                <a:ext uri="{FF2B5EF4-FFF2-40B4-BE49-F238E27FC236}">
                  <a16:creationId xmlns:a16="http://schemas.microsoft.com/office/drawing/2014/main" id="{3DAB49F9-4673-B2FB-CD36-0D018953BB96}"/>
                </a:ext>
              </a:extLst>
            </p:cNvPr>
            <p:cNvSpPr>
              <a:spLocks/>
            </p:cNvSpPr>
            <p:nvPr/>
          </p:nvSpPr>
          <p:spPr bwMode="auto">
            <a:xfrm rot="1777099">
              <a:off x="6271107" y="5913514"/>
              <a:ext cx="54191" cy="54234"/>
            </a:xfrm>
            <a:custGeom>
              <a:avLst/>
              <a:gdLst/>
              <a:ahLst/>
              <a:cxnLst>
                <a:cxn ang="0">
                  <a:pos x="33" y="11"/>
                </a:cxn>
                <a:cxn ang="0">
                  <a:pos x="27" y="33"/>
                </a:cxn>
                <a:cxn ang="0">
                  <a:pos x="4" y="27"/>
                </a:cxn>
                <a:cxn ang="0">
                  <a:pos x="10" y="5"/>
                </a:cxn>
                <a:cxn ang="0">
                  <a:pos x="33" y="11"/>
                </a:cxn>
              </a:cxnLst>
              <a:rect l="0" t="0" r="r" b="b"/>
              <a:pathLst>
                <a:path w="38" h="38">
                  <a:moveTo>
                    <a:pt x="33" y="11"/>
                  </a:moveTo>
                  <a:cubicBezTo>
                    <a:pt x="38" y="18"/>
                    <a:pt x="35" y="28"/>
                    <a:pt x="27" y="33"/>
                  </a:cubicBezTo>
                  <a:cubicBezTo>
                    <a:pt x="19" y="38"/>
                    <a:pt x="9" y="35"/>
                    <a:pt x="4" y="27"/>
                  </a:cubicBezTo>
                  <a:cubicBezTo>
                    <a:pt x="0" y="19"/>
                    <a:pt x="3" y="9"/>
                    <a:pt x="10" y="5"/>
                  </a:cubicBezTo>
                  <a:cubicBezTo>
                    <a:pt x="18" y="0"/>
                    <a:pt x="28" y="3"/>
                    <a:pt x="33" y="11"/>
                  </a:cubicBez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grpSp>
      <p:grpSp>
        <p:nvGrpSpPr>
          <p:cNvPr id="97" name="Grupo 96">
            <a:extLst>
              <a:ext uri="{FF2B5EF4-FFF2-40B4-BE49-F238E27FC236}">
                <a16:creationId xmlns:a16="http://schemas.microsoft.com/office/drawing/2014/main" id="{22DC01FE-F3DA-BD39-661D-074C44520CCC}"/>
              </a:ext>
            </a:extLst>
          </p:cNvPr>
          <p:cNvGrpSpPr/>
          <p:nvPr/>
        </p:nvGrpSpPr>
        <p:grpSpPr>
          <a:xfrm>
            <a:off x="1276847" y="2255128"/>
            <a:ext cx="1404000" cy="935999"/>
            <a:chOff x="164294" y="3155583"/>
            <a:chExt cx="2043310" cy="1539970"/>
          </a:xfrm>
        </p:grpSpPr>
        <p:pic>
          <p:nvPicPr>
            <p:cNvPr id="98" name="Picture 6" descr="Ver las imágenes de origen">
              <a:extLst>
                <a:ext uri="{FF2B5EF4-FFF2-40B4-BE49-F238E27FC236}">
                  <a16:creationId xmlns:a16="http://schemas.microsoft.com/office/drawing/2014/main" id="{BA063A64-EB1F-863D-89C7-1D9C46F6CE6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3557" y="3691137"/>
              <a:ext cx="848056" cy="239839"/>
            </a:xfrm>
            <a:prstGeom prst="rect">
              <a:avLst/>
            </a:prstGeom>
            <a:noFill/>
            <a:extLst>
              <a:ext uri="{909E8E84-426E-40DD-AFC4-6F175D3DCCD1}">
                <a14:hiddenFill xmlns:a14="http://schemas.microsoft.com/office/drawing/2010/main">
                  <a:solidFill>
                    <a:srgbClr val="FFFFFF"/>
                  </a:solidFill>
                </a14:hiddenFill>
              </a:ext>
            </a:extLst>
          </p:spPr>
        </p:pic>
        <p:grpSp>
          <p:nvGrpSpPr>
            <p:cNvPr id="99" name="Circle D">
              <a:extLst>
                <a:ext uri="{FF2B5EF4-FFF2-40B4-BE49-F238E27FC236}">
                  <a16:creationId xmlns:a16="http://schemas.microsoft.com/office/drawing/2014/main" id="{2E77A603-C227-F6AF-474B-64EE5DFCEF41}"/>
                </a:ext>
              </a:extLst>
            </p:cNvPr>
            <p:cNvGrpSpPr/>
            <p:nvPr/>
          </p:nvGrpSpPr>
          <p:grpSpPr>
            <a:xfrm>
              <a:off x="387718" y="3281523"/>
              <a:ext cx="1059734" cy="1059066"/>
              <a:chOff x="4013977" y="3517105"/>
              <a:chExt cx="1117595" cy="1116013"/>
            </a:xfrm>
            <a:noFill/>
          </p:grpSpPr>
          <p:sp>
            <p:nvSpPr>
              <p:cNvPr id="107" name="Oval 28">
                <a:extLst>
                  <a:ext uri="{FF2B5EF4-FFF2-40B4-BE49-F238E27FC236}">
                    <a16:creationId xmlns:a16="http://schemas.microsoft.com/office/drawing/2014/main" id="{D5DC5BDD-22BE-9CED-B20C-193158AA1133}"/>
                  </a:ext>
                </a:extLst>
              </p:cNvPr>
              <p:cNvSpPr>
                <a:spLocks noChangeArrowheads="1"/>
              </p:cNvSpPr>
              <p:nvPr/>
            </p:nvSpPr>
            <p:spPr bwMode="auto">
              <a:xfrm>
                <a:off x="4013977" y="3517105"/>
                <a:ext cx="1117595" cy="1116013"/>
              </a:xfrm>
              <a:prstGeom prst="ellipse">
                <a:avLst/>
              </a:prstGeom>
              <a:grpFill/>
              <a:ln w="12700" cap="flat">
                <a:solidFill>
                  <a:srgbClr val="8DAFC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108" name="Freeform 26">
                <a:extLst>
                  <a:ext uri="{FF2B5EF4-FFF2-40B4-BE49-F238E27FC236}">
                    <a16:creationId xmlns:a16="http://schemas.microsoft.com/office/drawing/2014/main" id="{14C2FE45-4E4B-7C2E-B643-774698B2DA2A}"/>
                  </a:ext>
                </a:extLst>
              </p:cNvPr>
              <p:cNvSpPr>
                <a:spLocks/>
              </p:cNvSpPr>
              <p:nvPr/>
            </p:nvSpPr>
            <p:spPr bwMode="auto">
              <a:xfrm>
                <a:off x="5017273" y="3882228"/>
                <a:ext cx="39688" cy="171450"/>
              </a:xfrm>
              <a:custGeom>
                <a:avLst/>
                <a:gdLst/>
                <a:ahLst/>
                <a:cxnLst>
                  <a:cxn ang="0">
                    <a:pos x="0" y="0"/>
                  </a:cxn>
                  <a:cxn ang="0">
                    <a:pos x="26" y="114"/>
                  </a:cxn>
                </a:cxnLst>
                <a:rect l="0" t="0" r="r" b="b"/>
                <a:pathLst>
                  <a:path w="26" h="114">
                    <a:moveTo>
                      <a:pt x="0" y="0"/>
                    </a:moveTo>
                    <a:cubicBezTo>
                      <a:pt x="15" y="36"/>
                      <a:pt x="24" y="74"/>
                      <a:pt x="26" y="114"/>
                    </a:cubicBezTo>
                  </a:path>
                </a:pathLst>
              </a:custGeom>
              <a:grpFill/>
              <a:ln w="12700" cap="rnd">
                <a:solidFill>
                  <a:srgbClr val="8DAFC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109" name="Freeform 27">
                <a:extLst>
                  <a:ext uri="{FF2B5EF4-FFF2-40B4-BE49-F238E27FC236}">
                    <a16:creationId xmlns:a16="http://schemas.microsoft.com/office/drawing/2014/main" id="{9A9245D6-E794-C7B5-09CF-797A9358C6FC}"/>
                  </a:ext>
                </a:extLst>
              </p:cNvPr>
              <p:cNvSpPr>
                <a:spLocks/>
              </p:cNvSpPr>
              <p:nvPr/>
            </p:nvSpPr>
            <p:spPr bwMode="auto">
              <a:xfrm>
                <a:off x="4855369" y="3680619"/>
                <a:ext cx="117474" cy="120650"/>
              </a:xfrm>
              <a:custGeom>
                <a:avLst/>
                <a:gdLst/>
                <a:ahLst/>
                <a:cxnLst>
                  <a:cxn ang="0">
                    <a:pos x="0" y="0"/>
                  </a:cxn>
                  <a:cxn ang="0">
                    <a:pos x="78" y="80"/>
                  </a:cxn>
                </a:cxnLst>
                <a:rect l="0" t="0" r="r" b="b"/>
                <a:pathLst>
                  <a:path w="78" h="80">
                    <a:moveTo>
                      <a:pt x="0" y="0"/>
                    </a:moveTo>
                    <a:cubicBezTo>
                      <a:pt x="30" y="22"/>
                      <a:pt x="57" y="49"/>
                      <a:pt x="78" y="80"/>
                    </a:cubicBezTo>
                  </a:path>
                </a:pathLst>
              </a:custGeom>
              <a:grpFill/>
              <a:ln w="12700" cap="rnd">
                <a:solidFill>
                  <a:srgbClr val="8DAFC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grpSp>
        <p:sp>
          <p:nvSpPr>
            <p:cNvPr id="100" name="Freeform 32">
              <a:extLst>
                <a:ext uri="{FF2B5EF4-FFF2-40B4-BE49-F238E27FC236}">
                  <a16:creationId xmlns:a16="http://schemas.microsoft.com/office/drawing/2014/main" id="{FCB775A0-A643-E557-6064-89411B6AA2C5}"/>
                </a:ext>
              </a:extLst>
            </p:cNvPr>
            <p:cNvSpPr>
              <a:spLocks/>
            </p:cNvSpPr>
            <p:nvPr/>
          </p:nvSpPr>
          <p:spPr bwMode="auto">
            <a:xfrm rot="1777099">
              <a:off x="760665" y="3155583"/>
              <a:ext cx="84297" cy="70806"/>
            </a:xfrm>
            <a:custGeom>
              <a:avLst/>
              <a:gdLst/>
              <a:ahLst/>
              <a:cxnLst>
                <a:cxn ang="0">
                  <a:pos x="0" y="50"/>
                </a:cxn>
                <a:cxn ang="0">
                  <a:pos x="59" y="0"/>
                </a:cxn>
              </a:cxnLst>
              <a:rect l="0" t="0" r="r" b="b"/>
              <a:pathLst>
                <a:path w="59" h="50">
                  <a:moveTo>
                    <a:pt x="0" y="50"/>
                  </a:moveTo>
                  <a:cubicBezTo>
                    <a:pt x="18" y="32"/>
                    <a:pt x="38" y="16"/>
                    <a:pt x="59" y="0"/>
                  </a:cubicBezTo>
                </a:path>
              </a:pathLst>
            </a:custGeom>
            <a:noFill/>
            <a:ln w="12700" cap="rnd">
              <a:solidFill>
                <a:srgbClr val="FFFFFF">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102" name="Freeform 33">
              <a:extLst>
                <a:ext uri="{FF2B5EF4-FFF2-40B4-BE49-F238E27FC236}">
                  <a16:creationId xmlns:a16="http://schemas.microsoft.com/office/drawing/2014/main" id="{B685AC31-86AA-BC02-56D9-63C6792766E3}"/>
                </a:ext>
              </a:extLst>
            </p:cNvPr>
            <p:cNvSpPr>
              <a:spLocks/>
            </p:cNvSpPr>
            <p:nvPr/>
          </p:nvSpPr>
          <p:spPr bwMode="auto">
            <a:xfrm rot="1777099">
              <a:off x="627543" y="3223083"/>
              <a:ext cx="28601" cy="42182"/>
            </a:xfrm>
            <a:custGeom>
              <a:avLst/>
              <a:gdLst/>
              <a:ahLst/>
              <a:cxnLst>
                <a:cxn ang="0">
                  <a:pos x="0" y="29"/>
                </a:cxn>
                <a:cxn ang="0">
                  <a:pos x="20" y="0"/>
                </a:cxn>
              </a:cxnLst>
              <a:rect l="0" t="0" r="r" b="b"/>
              <a:pathLst>
                <a:path w="20" h="29">
                  <a:moveTo>
                    <a:pt x="0" y="29"/>
                  </a:moveTo>
                  <a:cubicBezTo>
                    <a:pt x="7" y="19"/>
                    <a:pt x="13" y="9"/>
                    <a:pt x="20" y="0"/>
                  </a:cubicBezTo>
                </a:path>
              </a:pathLst>
            </a:custGeom>
            <a:noFill/>
            <a:ln w="12700" cap="rnd">
              <a:solidFill>
                <a:srgbClr val="FFFFFF">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103" name="Freeform 34">
              <a:extLst>
                <a:ext uri="{FF2B5EF4-FFF2-40B4-BE49-F238E27FC236}">
                  <a16:creationId xmlns:a16="http://schemas.microsoft.com/office/drawing/2014/main" id="{E3EB1016-CA72-B96A-749B-9188887A0371}"/>
                </a:ext>
              </a:extLst>
            </p:cNvPr>
            <p:cNvSpPr>
              <a:spLocks/>
            </p:cNvSpPr>
            <p:nvPr/>
          </p:nvSpPr>
          <p:spPr bwMode="auto">
            <a:xfrm rot="1777099">
              <a:off x="396895" y="3276284"/>
              <a:ext cx="57202" cy="334444"/>
            </a:xfrm>
            <a:custGeom>
              <a:avLst/>
              <a:gdLst/>
              <a:ahLst/>
              <a:cxnLst>
                <a:cxn ang="0">
                  <a:pos x="12" y="234"/>
                </a:cxn>
                <a:cxn ang="0">
                  <a:pos x="40" y="0"/>
                </a:cxn>
              </a:cxnLst>
              <a:rect l="0" t="0" r="r" b="b"/>
              <a:pathLst>
                <a:path w="40" h="234">
                  <a:moveTo>
                    <a:pt x="12" y="234"/>
                  </a:moveTo>
                  <a:cubicBezTo>
                    <a:pt x="0" y="154"/>
                    <a:pt x="10" y="74"/>
                    <a:pt x="40" y="0"/>
                  </a:cubicBezTo>
                </a:path>
              </a:pathLst>
            </a:custGeom>
            <a:noFill/>
            <a:ln w="12700" cap="rnd">
              <a:solidFill>
                <a:srgbClr val="FFFFFF">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104" name="Freeform 38">
              <a:extLst>
                <a:ext uri="{FF2B5EF4-FFF2-40B4-BE49-F238E27FC236}">
                  <a16:creationId xmlns:a16="http://schemas.microsoft.com/office/drawing/2014/main" id="{BA31C220-68FE-42F5-FEF3-FC50D3662837}"/>
                </a:ext>
              </a:extLst>
            </p:cNvPr>
            <p:cNvSpPr>
              <a:spLocks/>
            </p:cNvSpPr>
            <p:nvPr/>
          </p:nvSpPr>
          <p:spPr bwMode="auto">
            <a:xfrm rot="1777099">
              <a:off x="164294" y="3892586"/>
              <a:ext cx="1944854" cy="802967"/>
            </a:xfrm>
            <a:custGeom>
              <a:avLst/>
              <a:gdLst/>
              <a:ahLst/>
              <a:cxnLst>
                <a:cxn ang="0">
                  <a:pos x="0" y="279"/>
                </a:cxn>
                <a:cxn ang="0">
                  <a:pos x="602" y="441"/>
                </a:cxn>
                <a:cxn ang="0">
                  <a:pos x="1366" y="0"/>
                </a:cxn>
              </a:cxnLst>
              <a:rect l="0" t="0" r="r" b="b"/>
              <a:pathLst>
                <a:path w="1366" h="563">
                  <a:moveTo>
                    <a:pt x="0" y="279"/>
                  </a:moveTo>
                  <a:cubicBezTo>
                    <a:pt x="121" y="490"/>
                    <a:pt x="391" y="563"/>
                    <a:pt x="602" y="441"/>
                  </a:cubicBezTo>
                  <a:cubicBezTo>
                    <a:pt x="1366" y="0"/>
                    <a:pt x="1366" y="0"/>
                    <a:pt x="1366" y="0"/>
                  </a:cubicBezTo>
                </a:path>
              </a:pathLst>
            </a:custGeom>
            <a:noFill/>
            <a:ln w="12700" cap="flat">
              <a:solidFill>
                <a:srgbClr val="FFFFFF">
                  <a:lumMod val="75000"/>
                </a:srgb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105" name="Freeform 39">
              <a:extLst>
                <a:ext uri="{FF2B5EF4-FFF2-40B4-BE49-F238E27FC236}">
                  <a16:creationId xmlns:a16="http://schemas.microsoft.com/office/drawing/2014/main" id="{66676151-8086-7ECD-0877-765F30EACDC5}"/>
                </a:ext>
              </a:extLst>
            </p:cNvPr>
            <p:cNvSpPr>
              <a:spLocks/>
            </p:cNvSpPr>
            <p:nvPr/>
          </p:nvSpPr>
          <p:spPr bwMode="auto">
            <a:xfrm rot="1777099">
              <a:off x="265846" y="3784122"/>
              <a:ext cx="52686" cy="52728"/>
            </a:xfrm>
            <a:custGeom>
              <a:avLst/>
              <a:gdLst/>
              <a:ahLst/>
              <a:cxnLst>
                <a:cxn ang="0">
                  <a:pos x="33" y="10"/>
                </a:cxn>
                <a:cxn ang="0">
                  <a:pos x="27" y="33"/>
                </a:cxn>
                <a:cxn ang="0">
                  <a:pos x="4" y="27"/>
                </a:cxn>
                <a:cxn ang="0">
                  <a:pos x="10" y="4"/>
                </a:cxn>
                <a:cxn ang="0">
                  <a:pos x="33" y="10"/>
                </a:cxn>
              </a:cxnLst>
              <a:rect l="0" t="0" r="r" b="b"/>
              <a:pathLst>
                <a:path w="37" h="37">
                  <a:moveTo>
                    <a:pt x="33" y="10"/>
                  </a:moveTo>
                  <a:cubicBezTo>
                    <a:pt x="37" y="18"/>
                    <a:pt x="35" y="28"/>
                    <a:pt x="27" y="33"/>
                  </a:cubicBezTo>
                  <a:cubicBezTo>
                    <a:pt x="19" y="37"/>
                    <a:pt x="9" y="34"/>
                    <a:pt x="4" y="27"/>
                  </a:cubicBezTo>
                  <a:cubicBezTo>
                    <a:pt x="0" y="19"/>
                    <a:pt x="2" y="9"/>
                    <a:pt x="10" y="4"/>
                  </a:cubicBezTo>
                  <a:cubicBezTo>
                    <a:pt x="18" y="0"/>
                    <a:pt x="28" y="2"/>
                    <a:pt x="33" y="10"/>
                  </a:cubicBez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106" name="Freeform 40">
              <a:extLst>
                <a:ext uri="{FF2B5EF4-FFF2-40B4-BE49-F238E27FC236}">
                  <a16:creationId xmlns:a16="http://schemas.microsoft.com/office/drawing/2014/main" id="{2043177F-2D9C-1E4F-D5B7-B9699F89C65F}"/>
                </a:ext>
              </a:extLst>
            </p:cNvPr>
            <p:cNvSpPr>
              <a:spLocks/>
            </p:cNvSpPr>
            <p:nvPr/>
          </p:nvSpPr>
          <p:spPr bwMode="auto">
            <a:xfrm rot="1777099">
              <a:off x="2153413" y="4398521"/>
              <a:ext cx="54191" cy="54234"/>
            </a:xfrm>
            <a:custGeom>
              <a:avLst/>
              <a:gdLst/>
              <a:ahLst/>
              <a:cxnLst>
                <a:cxn ang="0">
                  <a:pos x="33" y="11"/>
                </a:cxn>
                <a:cxn ang="0">
                  <a:pos x="27" y="33"/>
                </a:cxn>
                <a:cxn ang="0">
                  <a:pos x="4" y="27"/>
                </a:cxn>
                <a:cxn ang="0">
                  <a:pos x="10" y="5"/>
                </a:cxn>
                <a:cxn ang="0">
                  <a:pos x="33" y="11"/>
                </a:cxn>
              </a:cxnLst>
              <a:rect l="0" t="0" r="r" b="b"/>
              <a:pathLst>
                <a:path w="38" h="38">
                  <a:moveTo>
                    <a:pt x="33" y="11"/>
                  </a:moveTo>
                  <a:cubicBezTo>
                    <a:pt x="38" y="18"/>
                    <a:pt x="35" y="28"/>
                    <a:pt x="27" y="33"/>
                  </a:cubicBezTo>
                  <a:cubicBezTo>
                    <a:pt x="19" y="38"/>
                    <a:pt x="9" y="35"/>
                    <a:pt x="4" y="27"/>
                  </a:cubicBezTo>
                  <a:cubicBezTo>
                    <a:pt x="0" y="19"/>
                    <a:pt x="3" y="9"/>
                    <a:pt x="10" y="5"/>
                  </a:cubicBezTo>
                  <a:cubicBezTo>
                    <a:pt x="18" y="0"/>
                    <a:pt x="28" y="3"/>
                    <a:pt x="33" y="11"/>
                  </a:cubicBez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grpSp>
      <p:grpSp>
        <p:nvGrpSpPr>
          <p:cNvPr id="110" name="Grupo 109">
            <a:extLst>
              <a:ext uri="{FF2B5EF4-FFF2-40B4-BE49-F238E27FC236}">
                <a16:creationId xmlns:a16="http://schemas.microsoft.com/office/drawing/2014/main" id="{E2C6C7B2-43FA-3449-E039-85C23C69B0EE}"/>
              </a:ext>
            </a:extLst>
          </p:cNvPr>
          <p:cNvGrpSpPr/>
          <p:nvPr/>
        </p:nvGrpSpPr>
        <p:grpSpPr>
          <a:xfrm>
            <a:off x="1276845" y="1360645"/>
            <a:ext cx="1404000" cy="936003"/>
            <a:chOff x="175617" y="1632752"/>
            <a:chExt cx="2043310" cy="1539970"/>
          </a:xfrm>
        </p:grpSpPr>
        <p:sp>
          <p:nvSpPr>
            <p:cNvPr id="111" name="Freeform 38">
              <a:extLst>
                <a:ext uri="{FF2B5EF4-FFF2-40B4-BE49-F238E27FC236}">
                  <a16:creationId xmlns:a16="http://schemas.microsoft.com/office/drawing/2014/main" id="{1B545EA4-7B87-B987-4D38-808BE7372A3D}"/>
                </a:ext>
              </a:extLst>
            </p:cNvPr>
            <p:cNvSpPr>
              <a:spLocks/>
            </p:cNvSpPr>
            <p:nvPr/>
          </p:nvSpPr>
          <p:spPr bwMode="auto">
            <a:xfrm rot="1777099">
              <a:off x="175617" y="2369755"/>
              <a:ext cx="1944854" cy="802967"/>
            </a:xfrm>
            <a:custGeom>
              <a:avLst/>
              <a:gdLst/>
              <a:ahLst/>
              <a:cxnLst>
                <a:cxn ang="0">
                  <a:pos x="0" y="279"/>
                </a:cxn>
                <a:cxn ang="0">
                  <a:pos x="602" y="441"/>
                </a:cxn>
                <a:cxn ang="0">
                  <a:pos x="1366" y="0"/>
                </a:cxn>
              </a:cxnLst>
              <a:rect l="0" t="0" r="r" b="b"/>
              <a:pathLst>
                <a:path w="1366" h="563">
                  <a:moveTo>
                    <a:pt x="0" y="279"/>
                  </a:moveTo>
                  <a:cubicBezTo>
                    <a:pt x="121" y="490"/>
                    <a:pt x="391" y="563"/>
                    <a:pt x="602" y="441"/>
                  </a:cubicBezTo>
                  <a:cubicBezTo>
                    <a:pt x="1366" y="0"/>
                    <a:pt x="1366" y="0"/>
                    <a:pt x="1366" y="0"/>
                  </a:cubicBezTo>
                </a:path>
              </a:pathLst>
            </a:custGeom>
            <a:noFill/>
            <a:ln w="12700" cap="flat">
              <a:solidFill>
                <a:srgbClr val="FFFFFF">
                  <a:lumMod val="75000"/>
                </a:srgb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grpSp>
          <p:nvGrpSpPr>
            <p:cNvPr id="112" name="Grupo 111">
              <a:extLst>
                <a:ext uri="{FF2B5EF4-FFF2-40B4-BE49-F238E27FC236}">
                  <a16:creationId xmlns:a16="http://schemas.microsoft.com/office/drawing/2014/main" id="{39FF6E99-6A15-4FBA-ADEF-17B02391A130}"/>
                </a:ext>
              </a:extLst>
            </p:cNvPr>
            <p:cNvGrpSpPr/>
            <p:nvPr/>
          </p:nvGrpSpPr>
          <p:grpSpPr>
            <a:xfrm>
              <a:off x="277169" y="1632752"/>
              <a:ext cx="1941758" cy="1297172"/>
              <a:chOff x="277169" y="1632752"/>
              <a:chExt cx="1941758" cy="1297172"/>
            </a:xfrm>
          </p:grpSpPr>
          <p:pic>
            <p:nvPicPr>
              <p:cNvPr id="113" name="Picture 2" descr="Ver las imágenes de origen">
                <a:extLst>
                  <a:ext uri="{FF2B5EF4-FFF2-40B4-BE49-F238E27FC236}">
                    <a16:creationId xmlns:a16="http://schemas.microsoft.com/office/drawing/2014/main" id="{30C6A591-21B8-6C75-20CF-4596A5BE398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0655" y="1995644"/>
                <a:ext cx="556506" cy="585162"/>
              </a:xfrm>
              <a:prstGeom prst="rect">
                <a:avLst/>
              </a:prstGeom>
              <a:noFill/>
              <a:extLst>
                <a:ext uri="{909E8E84-426E-40DD-AFC4-6F175D3DCCD1}">
                  <a14:hiddenFill xmlns:a14="http://schemas.microsoft.com/office/drawing/2010/main">
                    <a:solidFill>
                      <a:srgbClr val="FFFFFF"/>
                    </a:solidFill>
                  </a14:hiddenFill>
                </a:ext>
              </a:extLst>
            </p:spPr>
          </p:pic>
          <p:grpSp>
            <p:nvGrpSpPr>
              <p:cNvPr id="114" name="Circle D">
                <a:extLst>
                  <a:ext uri="{FF2B5EF4-FFF2-40B4-BE49-F238E27FC236}">
                    <a16:creationId xmlns:a16="http://schemas.microsoft.com/office/drawing/2014/main" id="{CF33B64F-C68F-A2CA-AD4B-4476424405B7}"/>
                  </a:ext>
                </a:extLst>
              </p:cNvPr>
              <p:cNvGrpSpPr/>
              <p:nvPr/>
            </p:nvGrpSpPr>
            <p:grpSpPr>
              <a:xfrm>
                <a:off x="399041" y="1758692"/>
                <a:ext cx="1059734" cy="1059066"/>
                <a:chOff x="4013977" y="3517105"/>
                <a:chExt cx="1117595" cy="1116013"/>
              </a:xfrm>
              <a:noFill/>
            </p:grpSpPr>
            <p:sp>
              <p:nvSpPr>
                <p:cNvPr id="120" name="Oval 28">
                  <a:extLst>
                    <a:ext uri="{FF2B5EF4-FFF2-40B4-BE49-F238E27FC236}">
                      <a16:creationId xmlns:a16="http://schemas.microsoft.com/office/drawing/2014/main" id="{F35B8ACA-A97F-C6D2-45EB-37084B9C6028}"/>
                    </a:ext>
                  </a:extLst>
                </p:cNvPr>
                <p:cNvSpPr>
                  <a:spLocks noChangeArrowheads="1"/>
                </p:cNvSpPr>
                <p:nvPr/>
              </p:nvSpPr>
              <p:spPr bwMode="auto">
                <a:xfrm>
                  <a:off x="4013977" y="3517105"/>
                  <a:ext cx="1117595" cy="1116013"/>
                </a:xfrm>
                <a:prstGeom prst="ellipse">
                  <a:avLst/>
                </a:prstGeom>
                <a:grpFill/>
                <a:ln w="12700" cap="flat">
                  <a:solidFill>
                    <a:srgbClr val="8DAFC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121" name="Freeform 26">
                  <a:extLst>
                    <a:ext uri="{FF2B5EF4-FFF2-40B4-BE49-F238E27FC236}">
                      <a16:creationId xmlns:a16="http://schemas.microsoft.com/office/drawing/2014/main" id="{85200142-1169-66F4-BA89-157023F8F3A7}"/>
                    </a:ext>
                  </a:extLst>
                </p:cNvPr>
                <p:cNvSpPr>
                  <a:spLocks/>
                </p:cNvSpPr>
                <p:nvPr/>
              </p:nvSpPr>
              <p:spPr bwMode="auto">
                <a:xfrm>
                  <a:off x="5017273" y="3882228"/>
                  <a:ext cx="39688" cy="171450"/>
                </a:xfrm>
                <a:custGeom>
                  <a:avLst/>
                  <a:gdLst/>
                  <a:ahLst/>
                  <a:cxnLst>
                    <a:cxn ang="0">
                      <a:pos x="0" y="0"/>
                    </a:cxn>
                    <a:cxn ang="0">
                      <a:pos x="26" y="114"/>
                    </a:cxn>
                  </a:cxnLst>
                  <a:rect l="0" t="0" r="r" b="b"/>
                  <a:pathLst>
                    <a:path w="26" h="114">
                      <a:moveTo>
                        <a:pt x="0" y="0"/>
                      </a:moveTo>
                      <a:cubicBezTo>
                        <a:pt x="15" y="36"/>
                        <a:pt x="24" y="74"/>
                        <a:pt x="26" y="114"/>
                      </a:cubicBezTo>
                    </a:path>
                  </a:pathLst>
                </a:custGeom>
                <a:grpFill/>
                <a:ln w="12700" cap="rnd">
                  <a:solidFill>
                    <a:srgbClr val="8DAFC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122" name="Freeform 27">
                  <a:extLst>
                    <a:ext uri="{FF2B5EF4-FFF2-40B4-BE49-F238E27FC236}">
                      <a16:creationId xmlns:a16="http://schemas.microsoft.com/office/drawing/2014/main" id="{920EBFC8-6797-6C0A-C7BB-4529409DAA71}"/>
                    </a:ext>
                  </a:extLst>
                </p:cNvPr>
                <p:cNvSpPr>
                  <a:spLocks/>
                </p:cNvSpPr>
                <p:nvPr/>
              </p:nvSpPr>
              <p:spPr bwMode="auto">
                <a:xfrm>
                  <a:off x="4855369" y="3680619"/>
                  <a:ext cx="117474" cy="120650"/>
                </a:xfrm>
                <a:custGeom>
                  <a:avLst/>
                  <a:gdLst/>
                  <a:ahLst/>
                  <a:cxnLst>
                    <a:cxn ang="0">
                      <a:pos x="0" y="0"/>
                    </a:cxn>
                    <a:cxn ang="0">
                      <a:pos x="78" y="80"/>
                    </a:cxn>
                  </a:cxnLst>
                  <a:rect l="0" t="0" r="r" b="b"/>
                  <a:pathLst>
                    <a:path w="78" h="80">
                      <a:moveTo>
                        <a:pt x="0" y="0"/>
                      </a:moveTo>
                      <a:cubicBezTo>
                        <a:pt x="30" y="22"/>
                        <a:pt x="57" y="49"/>
                        <a:pt x="78" y="80"/>
                      </a:cubicBezTo>
                    </a:path>
                  </a:pathLst>
                </a:custGeom>
                <a:grpFill/>
                <a:ln w="12700" cap="rnd">
                  <a:solidFill>
                    <a:srgbClr val="8DAFC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grpSp>
          <p:sp>
            <p:nvSpPr>
              <p:cNvPr id="115" name="Freeform 32">
                <a:extLst>
                  <a:ext uri="{FF2B5EF4-FFF2-40B4-BE49-F238E27FC236}">
                    <a16:creationId xmlns:a16="http://schemas.microsoft.com/office/drawing/2014/main" id="{77DC9A0E-CE03-AE79-3EBB-1E7310F71141}"/>
                  </a:ext>
                </a:extLst>
              </p:cNvPr>
              <p:cNvSpPr>
                <a:spLocks/>
              </p:cNvSpPr>
              <p:nvPr/>
            </p:nvSpPr>
            <p:spPr bwMode="auto">
              <a:xfrm rot="1777099">
                <a:off x="771988" y="1632752"/>
                <a:ext cx="84297" cy="70806"/>
              </a:xfrm>
              <a:custGeom>
                <a:avLst/>
                <a:gdLst/>
                <a:ahLst/>
                <a:cxnLst>
                  <a:cxn ang="0">
                    <a:pos x="0" y="50"/>
                  </a:cxn>
                  <a:cxn ang="0">
                    <a:pos x="59" y="0"/>
                  </a:cxn>
                </a:cxnLst>
                <a:rect l="0" t="0" r="r" b="b"/>
                <a:pathLst>
                  <a:path w="59" h="50">
                    <a:moveTo>
                      <a:pt x="0" y="50"/>
                    </a:moveTo>
                    <a:cubicBezTo>
                      <a:pt x="18" y="32"/>
                      <a:pt x="38" y="16"/>
                      <a:pt x="59" y="0"/>
                    </a:cubicBezTo>
                  </a:path>
                </a:pathLst>
              </a:custGeom>
              <a:noFill/>
              <a:ln w="12700" cap="rnd">
                <a:solidFill>
                  <a:srgbClr val="FFFFFF">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116" name="Freeform 33">
                <a:extLst>
                  <a:ext uri="{FF2B5EF4-FFF2-40B4-BE49-F238E27FC236}">
                    <a16:creationId xmlns:a16="http://schemas.microsoft.com/office/drawing/2014/main" id="{785B5069-5A08-1E0C-94D4-1ECD14C6B687}"/>
                  </a:ext>
                </a:extLst>
              </p:cNvPr>
              <p:cNvSpPr>
                <a:spLocks/>
              </p:cNvSpPr>
              <p:nvPr/>
            </p:nvSpPr>
            <p:spPr bwMode="auto">
              <a:xfrm rot="1777099">
                <a:off x="638866" y="1700252"/>
                <a:ext cx="28601" cy="42182"/>
              </a:xfrm>
              <a:custGeom>
                <a:avLst/>
                <a:gdLst/>
                <a:ahLst/>
                <a:cxnLst>
                  <a:cxn ang="0">
                    <a:pos x="0" y="29"/>
                  </a:cxn>
                  <a:cxn ang="0">
                    <a:pos x="20" y="0"/>
                  </a:cxn>
                </a:cxnLst>
                <a:rect l="0" t="0" r="r" b="b"/>
                <a:pathLst>
                  <a:path w="20" h="29">
                    <a:moveTo>
                      <a:pt x="0" y="29"/>
                    </a:moveTo>
                    <a:cubicBezTo>
                      <a:pt x="7" y="19"/>
                      <a:pt x="13" y="9"/>
                      <a:pt x="20" y="0"/>
                    </a:cubicBezTo>
                  </a:path>
                </a:pathLst>
              </a:custGeom>
              <a:noFill/>
              <a:ln w="12700" cap="rnd">
                <a:solidFill>
                  <a:srgbClr val="FFFFFF">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117" name="Freeform 34">
                <a:extLst>
                  <a:ext uri="{FF2B5EF4-FFF2-40B4-BE49-F238E27FC236}">
                    <a16:creationId xmlns:a16="http://schemas.microsoft.com/office/drawing/2014/main" id="{06FEA0CC-F922-0066-6472-D4B98D65183B}"/>
                  </a:ext>
                </a:extLst>
              </p:cNvPr>
              <p:cNvSpPr>
                <a:spLocks/>
              </p:cNvSpPr>
              <p:nvPr/>
            </p:nvSpPr>
            <p:spPr bwMode="auto">
              <a:xfrm rot="1777099">
                <a:off x="408218" y="1753453"/>
                <a:ext cx="57202" cy="334444"/>
              </a:xfrm>
              <a:custGeom>
                <a:avLst/>
                <a:gdLst/>
                <a:ahLst/>
                <a:cxnLst>
                  <a:cxn ang="0">
                    <a:pos x="12" y="234"/>
                  </a:cxn>
                  <a:cxn ang="0">
                    <a:pos x="40" y="0"/>
                  </a:cxn>
                </a:cxnLst>
                <a:rect l="0" t="0" r="r" b="b"/>
                <a:pathLst>
                  <a:path w="40" h="234">
                    <a:moveTo>
                      <a:pt x="12" y="234"/>
                    </a:moveTo>
                    <a:cubicBezTo>
                      <a:pt x="0" y="154"/>
                      <a:pt x="10" y="74"/>
                      <a:pt x="40" y="0"/>
                    </a:cubicBezTo>
                  </a:path>
                </a:pathLst>
              </a:custGeom>
              <a:noFill/>
              <a:ln w="12700" cap="rnd">
                <a:solidFill>
                  <a:srgbClr val="FFFFFF">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118" name="Freeform 39">
                <a:extLst>
                  <a:ext uri="{FF2B5EF4-FFF2-40B4-BE49-F238E27FC236}">
                    <a16:creationId xmlns:a16="http://schemas.microsoft.com/office/drawing/2014/main" id="{61DF5521-F47E-B0D9-9FBD-44F969A0207A}"/>
                  </a:ext>
                </a:extLst>
              </p:cNvPr>
              <p:cNvSpPr>
                <a:spLocks/>
              </p:cNvSpPr>
              <p:nvPr/>
            </p:nvSpPr>
            <p:spPr bwMode="auto">
              <a:xfrm rot="1777099">
                <a:off x="277169" y="2261291"/>
                <a:ext cx="52686" cy="52728"/>
              </a:xfrm>
              <a:custGeom>
                <a:avLst/>
                <a:gdLst/>
                <a:ahLst/>
                <a:cxnLst>
                  <a:cxn ang="0">
                    <a:pos x="33" y="10"/>
                  </a:cxn>
                  <a:cxn ang="0">
                    <a:pos x="27" y="33"/>
                  </a:cxn>
                  <a:cxn ang="0">
                    <a:pos x="4" y="27"/>
                  </a:cxn>
                  <a:cxn ang="0">
                    <a:pos x="10" y="4"/>
                  </a:cxn>
                  <a:cxn ang="0">
                    <a:pos x="33" y="10"/>
                  </a:cxn>
                </a:cxnLst>
                <a:rect l="0" t="0" r="r" b="b"/>
                <a:pathLst>
                  <a:path w="37" h="37">
                    <a:moveTo>
                      <a:pt x="33" y="10"/>
                    </a:moveTo>
                    <a:cubicBezTo>
                      <a:pt x="37" y="18"/>
                      <a:pt x="35" y="28"/>
                      <a:pt x="27" y="33"/>
                    </a:cubicBezTo>
                    <a:cubicBezTo>
                      <a:pt x="19" y="37"/>
                      <a:pt x="9" y="34"/>
                      <a:pt x="4" y="27"/>
                    </a:cubicBezTo>
                    <a:cubicBezTo>
                      <a:pt x="0" y="19"/>
                      <a:pt x="2" y="9"/>
                      <a:pt x="10" y="4"/>
                    </a:cubicBezTo>
                    <a:cubicBezTo>
                      <a:pt x="18" y="0"/>
                      <a:pt x="28" y="2"/>
                      <a:pt x="33" y="10"/>
                    </a:cubicBez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119" name="Freeform 40">
                <a:extLst>
                  <a:ext uri="{FF2B5EF4-FFF2-40B4-BE49-F238E27FC236}">
                    <a16:creationId xmlns:a16="http://schemas.microsoft.com/office/drawing/2014/main" id="{8705878D-56A1-223F-0AE1-10A8E45D9FC4}"/>
                  </a:ext>
                </a:extLst>
              </p:cNvPr>
              <p:cNvSpPr>
                <a:spLocks/>
              </p:cNvSpPr>
              <p:nvPr/>
            </p:nvSpPr>
            <p:spPr bwMode="auto">
              <a:xfrm rot="1777099">
                <a:off x="2164736" y="2875690"/>
                <a:ext cx="54191" cy="54234"/>
              </a:xfrm>
              <a:custGeom>
                <a:avLst/>
                <a:gdLst/>
                <a:ahLst/>
                <a:cxnLst>
                  <a:cxn ang="0">
                    <a:pos x="33" y="11"/>
                  </a:cxn>
                  <a:cxn ang="0">
                    <a:pos x="27" y="33"/>
                  </a:cxn>
                  <a:cxn ang="0">
                    <a:pos x="4" y="27"/>
                  </a:cxn>
                  <a:cxn ang="0">
                    <a:pos x="10" y="5"/>
                  </a:cxn>
                  <a:cxn ang="0">
                    <a:pos x="33" y="11"/>
                  </a:cxn>
                </a:cxnLst>
                <a:rect l="0" t="0" r="r" b="b"/>
                <a:pathLst>
                  <a:path w="38" h="38">
                    <a:moveTo>
                      <a:pt x="33" y="11"/>
                    </a:moveTo>
                    <a:cubicBezTo>
                      <a:pt x="38" y="18"/>
                      <a:pt x="35" y="28"/>
                      <a:pt x="27" y="33"/>
                    </a:cubicBezTo>
                    <a:cubicBezTo>
                      <a:pt x="19" y="38"/>
                      <a:pt x="9" y="35"/>
                      <a:pt x="4" y="27"/>
                    </a:cubicBezTo>
                    <a:cubicBezTo>
                      <a:pt x="0" y="19"/>
                      <a:pt x="3" y="9"/>
                      <a:pt x="10" y="5"/>
                    </a:cubicBezTo>
                    <a:cubicBezTo>
                      <a:pt x="18" y="0"/>
                      <a:pt x="28" y="3"/>
                      <a:pt x="33" y="11"/>
                    </a:cubicBez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grpSp>
      </p:grpSp>
      <p:grpSp>
        <p:nvGrpSpPr>
          <p:cNvPr id="123" name="Grupo 122">
            <a:extLst>
              <a:ext uri="{FF2B5EF4-FFF2-40B4-BE49-F238E27FC236}">
                <a16:creationId xmlns:a16="http://schemas.microsoft.com/office/drawing/2014/main" id="{448E022C-34B6-542E-5209-40681B0CCBAC}"/>
              </a:ext>
            </a:extLst>
          </p:cNvPr>
          <p:cNvGrpSpPr/>
          <p:nvPr/>
        </p:nvGrpSpPr>
        <p:grpSpPr>
          <a:xfrm>
            <a:off x="1276845" y="5833087"/>
            <a:ext cx="1404000" cy="936001"/>
            <a:chOff x="7364570" y="4492791"/>
            <a:chExt cx="2043310" cy="1539970"/>
          </a:xfrm>
        </p:grpSpPr>
        <p:grpSp>
          <p:nvGrpSpPr>
            <p:cNvPr id="124" name="Circle D">
              <a:extLst>
                <a:ext uri="{FF2B5EF4-FFF2-40B4-BE49-F238E27FC236}">
                  <a16:creationId xmlns:a16="http://schemas.microsoft.com/office/drawing/2014/main" id="{1067B73B-7FB8-CD88-6799-A61C86F8B9F9}"/>
                </a:ext>
              </a:extLst>
            </p:cNvPr>
            <p:cNvGrpSpPr/>
            <p:nvPr/>
          </p:nvGrpSpPr>
          <p:grpSpPr>
            <a:xfrm>
              <a:off x="7587994" y="4618731"/>
              <a:ext cx="1059734" cy="1059066"/>
              <a:chOff x="4013977" y="3517105"/>
              <a:chExt cx="1117595" cy="1116013"/>
            </a:xfrm>
            <a:noFill/>
          </p:grpSpPr>
          <p:sp>
            <p:nvSpPr>
              <p:cNvPr id="132" name="Oval 28">
                <a:extLst>
                  <a:ext uri="{FF2B5EF4-FFF2-40B4-BE49-F238E27FC236}">
                    <a16:creationId xmlns:a16="http://schemas.microsoft.com/office/drawing/2014/main" id="{25B19DC4-D6A7-0782-BC19-D20A20618E77}"/>
                  </a:ext>
                </a:extLst>
              </p:cNvPr>
              <p:cNvSpPr>
                <a:spLocks noChangeArrowheads="1"/>
              </p:cNvSpPr>
              <p:nvPr/>
            </p:nvSpPr>
            <p:spPr bwMode="auto">
              <a:xfrm>
                <a:off x="4013977" y="3517105"/>
                <a:ext cx="1117595" cy="1116013"/>
              </a:xfrm>
              <a:prstGeom prst="ellipse">
                <a:avLst/>
              </a:prstGeom>
              <a:grpFill/>
              <a:ln w="12700" cap="flat">
                <a:solidFill>
                  <a:srgbClr val="8DAFC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133" name="Freeform 26">
                <a:extLst>
                  <a:ext uri="{FF2B5EF4-FFF2-40B4-BE49-F238E27FC236}">
                    <a16:creationId xmlns:a16="http://schemas.microsoft.com/office/drawing/2014/main" id="{CFC64884-7780-E691-8E27-5BE71DABF7C0}"/>
                  </a:ext>
                </a:extLst>
              </p:cNvPr>
              <p:cNvSpPr>
                <a:spLocks/>
              </p:cNvSpPr>
              <p:nvPr/>
            </p:nvSpPr>
            <p:spPr bwMode="auto">
              <a:xfrm>
                <a:off x="5017273" y="3882228"/>
                <a:ext cx="39688" cy="171450"/>
              </a:xfrm>
              <a:custGeom>
                <a:avLst/>
                <a:gdLst/>
                <a:ahLst/>
                <a:cxnLst>
                  <a:cxn ang="0">
                    <a:pos x="0" y="0"/>
                  </a:cxn>
                  <a:cxn ang="0">
                    <a:pos x="26" y="114"/>
                  </a:cxn>
                </a:cxnLst>
                <a:rect l="0" t="0" r="r" b="b"/>
                <a:pathLst>
                  <a:path w="26" h="114">
                    <a:moveTo>
                      <a:pt x="0" y="0"/>
                    </a:moveTo>
                    <a:cubicBezTo>
                      <a:pt x="15" y="36"/>
                      <a:pt x="24" y="74"/>
                      <a:pt x="26" y="114"/>
                    </a:cubicBezTo>
                  </a:path>
                </a:pathLst>
              </a:custGeom>
              <a:grpFill/>
              <a:ln w="12700" cap="rnd">
                <a:solidFill>
                  <a:srgbClr val="8DAFC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134" name="Freeform 27">
                <a:extLst>
                  <a:ext uri="{FF2B5EF4-FFF2-40B4-BE49-F238E27FC236}">
                    <a16:creationId xmlns:a16="http://schemas.microsoft.com/office/drawing/2014/main" id="{73502252-8576-846C-BDED-3933EC6312FE}"/>
                  </a:ext>
                </a:extLst>
              </p:cNvPr>
              <p:cNvSpPr>
                <a:spLocks/>
              </p:cNvSpPr>
              <p:nvPr/>
            </p:nvSpPr>
            <p:spPr bwMode="auto">
              <a:xfrm>
                <a:off x="4855369" y="3680619"/>
                <a:ext cx="117474" cy="120650"/>
              </a:xfrm>
              <a:custGeom>
                <a:avLst/>
                <a:gdLst/>
                <a:ahLst/>
                <a:cxnLst>
                  <a:cxn ang="0">
                    <a:pos x="0" y="0"/>
                  </a:cxn>
                  <a:cxn ang="0">
                    <a:pos x="78" y="80"/>
                  </a:cxn>
                </a:cxnLst>
                <a:rect l="0" t="0" r="r" b="b"/>
                <a:pathLst>
                  <a:path w="78" h="80">
                    <a:moveTo>
                      <a:pt x="0" y="0"/>
                    </a:moveTo>
                    <a:cubicBezTo>
                      <a:pt x="30" y="22"/>
                      <a:pt x="57" y="49"/>
                      <a:pt x="78" y="80"/>
                    </a:cubicBezTo>
                  </a:path>
                </a:pathLst>
              </a:custGeom>
              <a:grpFill/>
              <a:ln w="12700" cap="rnd">
                <a:solidFill>
                  <a:srgbClr val="8DAFC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grpSp>
        <p:sp>
          <p:nvSpPr>
            <p:cNvPr id="125" name="Freeform 32">
              <a:extLst>
                <a:ext uri="{FF2B5EF4-FFF2-40B4-BE49-F238E27FC236}">
                  <a16:creationId xmlns:a16="http://schemas.microsoft.com/office/drawing/2014/main" id="{73BC2F1A-903D-3AC1-21FF-998EA5A5B910}"/>
                </a:ext>
              </a:extLst>
            </p:cNvPr>
            <p:cNvSpPr>
              <a:spLocks/>
            </p:cNvSpPr>
            <p:nvPr/>
          </p:nvSpPr>
          <p:spPr bwMode="auto">
            <a:xfrm rot="1777099">
              <a:off x="7960941" y="4492791"/>
              <a:ext cx="84297" cy="70806"/>
            </a:xfrm>
            <a:custGeom>
              <a:avLst/>
              <a:gdLst/>
              <a:ahLst/>
              <a:cxnLst>
                <a:cxn ang="0">
                  <a:pos x="0" y="50"/>
                </a:cxn>
                <a:cxn ang="0">
                  <a:pos x="59" y="0"/>
                </a:cxn>
              </a:cxnLst>
              <a:rect l="0" t="0" r="r" b="b"/>
              <a:pathLst>
                <a:path w="59" h="50">
                  <a:moveTo>
                    <a:pt x="0" y="50"/>
                  </a:moveTo>
                  <a:cubicBezTo>
                    <a:pt x="18" y="32"/>
                    <a:pt x="38" y="16"/>
                    <a:pt x="59" y="0"/>
                  </a:cubicBezTo>
                </a:path>
              </a:pathLst>
            </a:custGeom>
            <a:noFill/>
            <a:ln w="12700" cap="rnd">
              <a:solidFill>
                <a:srgbClr val="FFFFFF">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126" name="Freeform 33">
              <a:extLst>
                <a:ext uri="{FF2B5EF4-FFF2-40B4-BE49-F238E27FC236}">
                  <a16:creationId xmlns:a16="http://schemas.microsoft.com/office/drawing/2014/main" id="{1B8E735E-E46B-6E03-70DE-69F1B06D5CB9}"/>
                </a:ext>
              </a:extLst>
            </p:cNvPr>
            <p:cNvSpPr>
              <a:spLocks/>
            </p:cNvSpPr>
            <p:nvPr/>
          </p:nvSpPr>
          <p:spPr bwMode="auto">
            <a:xfrm rot="1777099">
              <a:off x="7827819" y="4560291"/>
              <a:ext cx="28601" cy="42182"/>
            </a:xfrm>
            <a:custGeom>
              <a:avLst/>
              <a:gdLst/>
              <a:ahLst/>
              <a:cxnLst>
                <a:cxn ang="0">
                  <a:pos x="0" y="29"/>
                </a:cxn>
                <a:cxn ang="0">
                  <a:pos x="20" y="0"/>
                </a:cxn>
              </a:cxnLst>
              <a:rect l="0" t="0" r="r" b="b"/>
              <a:pathLst>
                <a:path w="20" h="29">
                  <a:moveTo>
                    <a:pt x="0" y="29"/>
                  </a:moveTo>
                  <a:cubicBezTo>
                    <a:pt x="7" y="19"/>
                    <a:pt x="13" y="9"/>
                    <a:pt x="20" y="0"/>
                  </a:cubicBezTo>
                </a:path>
              </a:pathLst>
            </a:custGeom>
            <a:noFill/>
            <a:ln w="12700" cap="rnd">
              <a:solidFill>
                <a:srgbClr val="FFFFFF">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127" name="Freeform 34">
              <a:extLst>
                <a:ext uri="{FF2B5EF4-FFF2-40B4-BE49-F238E27FC236}">
                  <a16:creationId xmlns:a16="http://schemas.microsoft.com/office/drawing/2014/main" id="{189FBE01-7CA5-8EC9-49DC-CF39271981EF}"/>
                </a:ext>
              </a:extLst>
            </p:cNvPr>
            <p:cNvSpPr>
              <a:spLocks/>
            </p:cNvSpPr>
            <p:nvPr/>
          </p:nvSpPr>
          <p:spPr bwMode="auto">
            <a:xfrm rot="1777099">
              <a:off x="7597171" y="4613492"/>
              <a:ext cx="57202" cy="334444"/>
            </a:xfrm>
            <a:custGeom>
              <a:avLst/>
              <a:gdLst/>
              <a:ahLst/>
              <a:cxnLst>
                <a:cxn ang="0">
                  <a:pos x="12" y="234"/>
                </a:cxn>
                <a:cxn ang="0">
                  <a:pos x="40" y="0"/>
                </a:cxn>
              </a:cxnLst>
              <a:rect l="0" t="0" r="r" b="b"/>
              <a:pathLst>
                <a:path w="40" h="234">
                  <a:moveTo>
                    <a:pt x="12" y="234"/>
                  </a:moveTo>
                  <a:cubicBezTo>
                    <a:pt x="0" y="154"/>
                    <a:pt x="10" y="74"/>
                    <a:pt x="40" y="0"/>
                  </a:cubicBezTo>
                </a:path>
              </a:pathLst>
            </a:custGeom>
            <a:noFill/>
            <a:ln w="12700" cap="rnd">
              <a:solidFill>
                <a:srgbClr val="FFFFFF">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128" name="Freeform 38">
              <a:extLst>
                <a:ext uri="{FF2B5EF4-FFF2-40B4-BE49-F238E27FC236}">
                  <a16:creationId xmlns:a16="http://schemas.microsoft.com/office/drawing/2014/main" id="{AD0D7AE3-D304-DBDC-C059-6426C6986F1F}"/>
                </a:ext>
              </a:extLst>
            </p:cNvPr>
            <p:cNvSpPr>
              <a:spLocks/>
            </p:cNvSpPr>
            <p:nvPr/>
          </p:nvSpPr>
          <p:spPr bwMode="auto">
            <a:xfrm rot="1777099">
              <a:off x="7364570" y="5229794"/>
              <a:ext cx="1944854" cy="802967"/>
            </a:xfrm>
            <a:custGeom>
              <a:avLst/>
              <a:gdLst/>
              <a:ahLst/>
              <a:cxnLst>
                <a:cxn ang="0">
                  <a:pos x="0" y="279"/>
                </a:cxn>
                <a:cxn ang="0">
                  <a:pos x="602" y="441"/>
                </a:cxn>
                <a:cxn ang="0">
                  <a:pos x="1366" y="0"/>
                </a:cxn>
              </a:cxnLst>
              <a:rect l="0" t="0" r="r" b="b"/>
              <a:pathLst>
                <a:path w="1366" h="563">
                  <a:moveTo>
                    <a:pt x="0" y="279"/>
                  </a:moveTo>
                  <a:cubicBezTo>
                    <a:pt x="121" y="490"/>
                    <a:pt x="391" y="563"/>
                    <a:pt x="602" y="441"/>
                  </a:cubicBezTo>
                  <a:cubicBezTo>
                    <a:pt x="1366" y="0"/>
                    <a:pt x="1366" y="0"/>
                    <a:pt x="1366" y="0"/>
                  </a:cubicBezTo>
                </a:path>
              </a:pathLst>
            </a:custGeom>
            <a:noFill/>
            <a:ln w="12700" cap="flat">
              <a:solidFill>
                <a:srgbClr val="FFFFFF">
                  <a:lumMod val="75000"/>
                </a:srgb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129" name="Freeform 39">
              <a:extLst>
                <a:ext uri="{FF2B5EF4-FFF2-40B4-BE49-F238E27FC236}">
                  <a16:creationId xmlns:a16="http://schemas.microsoft.com/office/drawing/2014/main" id="{40CD3E9E-B57B-6869-18AE-180541329117}"/>
                </a:ext>
              </a:extLst>
            </p:cNvPr>
            <p:cNvSpPr>
              <a:spLocks/>
            </p:cNvSpPr>
            <p:nvPr/>
          </p:nvSpPr>
          <p:spPr bwMode="auto">
            <a:xfrm rot="1777099">
              <a:off x="7466122" y="5121330"/>
              <a:ext cx="52686" cy="52728"/>
            </a:xfrm>
            <a:custGeom>
              <a:avLst/>
              <a:gdLst/>
              <a:ahLst/>
              <a:cxnLst>
                <a:cxn ang="0">
                  <a:pos x="33" y="10"/>
                </a:cxn>
                <a:cxn ang="0">
                  <a:pos x="27" y="33"/>
                </a:cxn>
                <a:cxn ang="0">
                  <a:pos x="4" y="27"/>
                </a:cxn>
                <a:cxn ang="0">
                  <a:pos x="10" y="4"/>
                </a:cxn>
                <a:cxn ang="0">
                  <a:pos x="33" y="10"/>
                </a:cxn>
              </a:cxnLst>
              <a:rect l="0" t="0" r="r" b="b"/>
              <a:pathLst>
                <a:path w="37" h="37">
                  <a:moveTo>
                    <a:pt x="33" y="10"/>
                  </a:moveTo>
                  <a:cubicBezTo>
                    <a:pt x="37" y="18"/>
                    <a:pt x="35" y="28"/>
                    <a:pt x="27" y="33"/>
                  </a:cubicBezTo>
                  <a:cubicBezTo>
                    <a:pt x="19" y="37"/>
                    <a:pt x="9" y="34"/>
                    <a:pt x="4" y="27"/>
                  </a:cubicBezTo>
                  <a:cubicBezTo>
                    <a:pt x="0" y="19"/>
                    <a:pt x="2" y="9"/>
                    <a:pt x="10" y="4"/>
                  </a:cubicBezTo>
                  <a:cubicBezTo>
                    <a:pt x="18" y="0"/>
                    <a:pt x="28" y="2"/>
                    <a:pt x="33" y="10"/>
                  </a:cubicBez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130" name="Freeform 40">
              <a:extLst>
                <a:ext uri="{FF2B5EF4-FFF2-40B4-BE49-F238E27FC236}">
                  <a16:creationId xmlns:a16="http://schemas.microsoft.com/office/drawing/2014/main" id="{74BFCCF5-B5F8-95D0-93B1-B06D2FE6DBAC}"/>
                </a:ext>
              </a:extLst>
            </p:cNvPr>
            <p:cNvSpPr>
              <a:spLocks/>
            </p:cNvSpPr>
            <p:nvPr/>
          </p:nvSpPr>
          <p:spPr bwMode="auto">
            <a:xfrm rot="1777099">
              <a:off x="9353689" y="5735729"/>
              <a:ext cx="54191" cy="54234"/>
            </a:xfrm>
            <a:custGeom>
              <a:avLst/>
              <a:gdLst/>
              <a:ahLst/>
              <a:cxnLst>
                <a:cxn ang="0">
                  <a:pos x="33" y="11"/>
                </a:cxn>
                <a:cxn ang="0">
                  <a:pos x="27" y="33"/>
                </a:cxn>
                <a:cxn ang="0">
                  <a:pos x="4" y="27"/>
                </a:cxn>
                <a:cxn ang="0">
                  <a:pos x="10" y="5"/>
                </a:cxn>
                <a:cxn ang="0">
                  <a:pos x="33" y="11"/>
                </a:cxn>
              </a:cxnLst>
              <a:rect l="0" t="0" r="r" b="b"/>
              <a:pathLst>
                <a:path w="38" h="38">
                  <a:moveTo>
                    <a:pt x="33" y="11"/>
                  </a:moveTo>
                  <a:cubicBezTo>
                    <a:pt x="38" y="18"/>
                    <a:pt x="35" y="28"/>
                    <a:pt x="27" y="33"/>
                  </a:cubicBezTo>
                  <a:cubicBezTo>
                    <a:pt x="19" y="38"/>
                    <a:pt x="9" y="35"/>
                    <a:pt x="4" y="27"/>
                  </a:cubicBezTo>
                  <a:cubicBezTo>
                    <a:pt x="0" y="19"/>
                    <a:pt x="3" y="9"/>
                    <a:pt x="10" y="5"/>
                  </a:cubicBezTo>
                  <a:cubicBezTo>
                    <a:pt x="18" y="0"/>
                    <a:pt x="28" y="3"/>
                    <a:pt x="33" y="11"/>
                  </a:cubicBez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pic>
          <p:nvPicPr>
            <p:cNvPr id="131" name="Picture 64" descr="Resultado de imagen para IBEROSTAR PNG">
              <a:extLst>
                <a:ext uri="{FF2B5EF4-FFF2-40B4-BE49-F238E27FC236}">
                  <a16:creationId xmlns:a16="http://schemas.microsoft.com/office/drawing/2014/main" id="{09DA9B0B-4A5C-B72B-F8FE-B6998FA22C53}"/>
                </a:ext>
              </a:extLst>
            </p:cNvPr>
            <p:cNvPicPr>
              <a:picLocks noChangeAspect="1" noChangeArrowheads="1"/>
            </p:cNvPicPr>
            <p:nvPr/>
          </p:nvPicPr>
          <p:blipFill rotWithShape="1">
            <a:blip r:embed="rId6" cstate="email">
              <a:clrChange>
                <a:clrFrom>
                  <a:srgbClr val="FFFFFF"/>
                </a:clrFrom>
                <a:clrTo>
                  <a:srgbClr val="FFFFFF">
                    <a:alpha val="0"/>
                  </a:srgbClr>
                </a:clrTo>
              </a:clrChange>
              <a:extLst>
                <a:ext uri="{28A0092B-C50C-407E-A947-70E740481C1C}">
                  <a14:useLocalDpi xmlns:a14="http://schemas.microsoft.com/office/drawing/2010/main"/>
                </a:ext>
              </a:extLst>
            </a:blip>
            <a:srcRect l="6834" t="6689" r="7888" b="17845"/>
            <a:stretch/>
          </p:blipFill>
          <p:spPr bwMode="auto">
            <a:xfrm>
              <a:off x="7665745" y="4898509"/>
              <a:ext cx="904232" cy="499511"/>
            </a:xfrm>
            <a:prstGeom prst="rect">
              <a:avLst/>
            </a:prstGeom>
            <a:noFill/>
            <a:extLst>
              <a:ext uri="{909E8E84-426E-40DD-AFC4-6F175D3DCCD1}">
                <a14:hiddenFill xmlns:a14="http://schemas.microsoft.com/office/drawing/2010/main">
                  <a:solidFill>
                    <a:srgbClr val="FFFFFF"/>
                  </a:solidFill>
                </a14:hiddenFill>
              </a:ext>
            </a:extLst>
          </p:spPr>
        </p:pic>
      </p:grpSp>
      <p:sp>
        <p:nvSpPr>
          <p:cNvPr id="135" name="CuadroTexto 134">
            <a:extLst>
              <a:ext uri="{FF2B5EF4-FFF2-40B4-BE49-F238E27FC236}">
                <a16:creationId xmlns:a16="http://schemas.microsoft.com/office/drawing/2014/main" id="{E500303E-1A3A-5DFF-D785-CE437445BC66}"/>
              </a:ext>
            </a:extLst>
          </p:cNvPr>
          <p:cNvSpPr txBox="1"/>
          <p:nvPr/>
        </p:nvSpPr>
        <p:spPr>
          <a:xfrm>
            <a:off x="2646490" y="4234126"/>
            <a:ext cx="2817270" cy="415498"/>
          </a:xfrm>
          <a:prstGeom prst="rect">
            <a:avLst/>
          </a:prstGeom>
          <a:noFill/>
        </p:spPr>
        <p:txBody>
          <a:bodyPr wrap="square" rtlCol="0">
            <a:spAutoFit/>
          </a:bodyPr>
          <a:lstStyle/>
          <a:p>
            <a:pPr lvl="0">
              <a:defRPr/>
            </a:pPr>
            <a:r>
              <a:rPr lang="en-GB" sz="1050" noProof="0">
                <a:solidFill>
                  <a:srgbClr val="494949"/>
                </a:solidFill>
                <a:latin typeface="Arial" panose="020B0604020202020204" pitchFamily="34" charset="0"/>
                <a:ea typeface="Arial" charset="0"/>
                <a:cs typeface="Arial" panose="020B0604020202020204" pitchFamily="34" charset="0"/>
                <a:sym typeface="Gill Sans" charset="0"/>
              </a:rPr>
              <a:t>Migration to BW/4HANA 2.0 from a BW 7.5 using Shell Conversion.</a:t>
            </a:r>
            <a:endParaRPr kumimoji="0" lang="en-GB" sz="1050" b="0" i="0" u="none" strike="noStrike" kern="1200" cap="none" spc="0" normalizeH="0" baseline="0" noProof="0">
              <a:ln>
                <a:noFill/>
              </a:ln>
              <a:solidFill>
                <a:srgbClr val="494949"/>
              </a:solidFill>
              <a:effectLst/>
              <a:uLnTx/>
              <a:uFillTx/>
              <a:latin typeface="Arial" panose="020B0604020202020204" pitchFamily="34" charset="0"/>
              <a:ea typeface="Arial" charset="0"/>
              <a:cs typeface="Arial" panose="020B0604020202020204" pitchFamily="34" charset="0"/>
              <a:sym typeface="Gill Sans" charset="0"/>
            </a:endParaRPr>
          </a:p>
        </p:txBody>
      </p:sp>
      <p:grpSp>
        <p:nvGrpSpPr>
          <p:cNvPr id="136" name="Grupo 135">
            <a:extLst>
              <a:ext uri="{FF2B5EF4-FFF2-40B4-BE49-F238E27FC236}">
                <a16:creationId xmlns:a16="http://schemas.microsoft.com/office/drawing/2014/main" id="{19549502-DEA7-05DF-87FC-9D3A410F6644}"/>
              </a:ext>
            </a:extLst>
          </p:cNvPr>
          <p:cNvGrpSpPr/>
          <p:nvPr/>
        </p:nvGrpSpPr>
        <p:grpSpPr>
          <a:xfrm>
            <a:off x="1276845" y="4044106"/>
            <a:ext cx="1404000" cy="936000"/>
            <a:chOff x="7443688" y="1698962"/>
            <a:chExt cx="2043310" cy="1539970"/>
          </a:xfrm>
        </p:grpSpPr>
        <p:grpSp>
          <p:nvGrpSpPr>
            <p:cNvPr id="137" name="Grupo 136">
              <a:extLst>
                <a:ext uri="{FF2B5EF4-FFF2-40B4-BE49-F238E27FC236}">
                  <a16:creationId xmlns:a16="http://schemas.microsoft.com/office/drawing/2014/main" id="{8120EA81-0B4F-5185-F547-F38B259B02A1}"/>
                </a:ext>
              </a:extLst>
            </p:cNvPr>
            <p:cNvGrpSpPr/>
            <p:nvPr/>
          </p:nvGrpSpPr>
          <p:grpSpPr>
            <a:xfrm>
              <a:off x="7443688" y="1698962"/>
              <a:ext cx="2043310" cy="1539970"/>
              <a:chOff x="7614262" y="2464258"/>
              <a:chExt cx="2043310" cy="1539970"/>
            </a:xfrm>
          </p:grpSpPr>
          <p:sp>
            <p:nvSpPr>
              <p:cNvPr id="139" name="Freeform 38">
                <a:extLst>
                  <a:ext uri="{FF2B5EF4-FFF2-40B4-BE49-F238E27FC236}">
                    <a16:creationId xmlns:a16="http://schemas.microsoft.com/office/drawing/2014/main" id="{5AE45987-F58E-3FB9-4A87-1D1E628A759D}"/>
                  </a:ext>
                </a:extLst>
              </p:cNvPr>
              <p:cNvSpPr>
                <a:spLocks/>
              </p:cNvSpPr>
              <p:nvPr/>
            </p:nvSpPr>
            <p:spPr bwMode="auto">
              <a:xfrm rot="1777099">
                <a:off x="7614262" y="3201261"/>
                <a:ext cx="1944854" cy="802967"/>
              </a:xfrm>
              <a:custGeom>
                <a:avLst/>
                <a:gdLst/>
                <a:ahLst/>
                <a:cxnLst>
                  <a:cxn ang="0">
                    <a:pos x="0" y="279"/>
                  </a:cxn>
                  <a:cxn ang="0">
                    <a:pos x="602" y="441"/>
                  </a:cxn>
                  <a:cxn ang="0">
                    <a:pos x="1366" y="0"/>
                  </a:cxn>
                </a:cxnLst>
                <a:rect l="0" t="0" r="r" b="b"/>
                <a:pathLst>
                  <a:path w="1366" h="563">
                    <a:moveTo>
                      <a:pt x="0" y="279"/>
                    </a:moveTo>
                    <a:cubicBezTo>
                      <a:pt x="121" y="490"/>
                      <a:pt x="391" y="563"/>
                      <a:pt x="602" y="441"/>
                    </a:cubicBezTo>
                    <a:cubicBezTo>
                      <a:pt x="1366" y="0"/>
                      <a:pt x="1366" y="0"/>
                      <a:pt x="1366" y="0"/>
                    </a:cubicBezTo>
                  </a:path>
                </a:pathLst>
              </a:custGeom>
              <a:noFill/>
              <a:ln w="12700" cap="flat">
                <a:solidFill>
                  <a:srgbClr val="FFFFFF">
                    <a:lumMod val="75000"/>
                  </a:srgb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grpSp>
            <p:nvGrpSpPr>
              <p:cNvPr id="140" name="Circle D">
                <a:extLst>
                  <a:ext uri="{FF2B5EF4-FFF2-40B4-BE49-F238E27FC236}">
                    <a16:creationId xmlns:a16="http://schemas.microsoft.com/office/drawing/2014/main" id="{ADE59B74-F2D8-EA29-BCBC-373B2A9B71DB}"/>
                  </a:ext>
                </a:extLst>
              </p:cNvPr>
              <p:cNvGrpSpPr/>
              <p:nvPr/>
            </p:nvGrpSpPr>
            <p:grpSpPr>
              <a:xfrm>
                <a:off x="7837686" y="2590198"/>
                <a:ext cx="1059734" cy="1059066"/>
                <a:chOff x="4013977" y="3517105"/>
                <a:chExt cx="1117595" cy="1116013"/>
              </a:xfrm>
              <a:noFill/>
            </p:grpSpPr>
            <p:sp>
              <p:nvSpPr>
                <p:cNvPr id="146" name="Oval 28">
                  <a:extLst>
                    <a:ext uri="{FF2B5EF4-FFF2-40B4-BE49-F238E27FC236}">
                      <a16:creationId xmlns:a16="http://schemas.microsoft.com/office/drawing/2014/main" id="{A61AFA54-E584-879D-0B38-80A53D8A307D}"/>
                    </a:ext>
                  </a:extLst>
                </p:cNvPr>
                <p:cNvSpPr>
                  <a:spLocks noChangeArrowheads="1"/>
                </p:cNvSpPr>
                <p:nvPr/>
              </p:nvSpPr>
              <p:spPr bwMode="auto">
                <a:xfrm>
                  <a:off x="4013977" y="3517105"/>
                  <a:ext cx="1117595" cy="1116013"/>
                </a:xfrm>
                <a:prstGeom prst="ellipse">
                  <a:avLst/>
                </a:prstGeom>
                <a:grpFill/>
                <a:ln w="12700" cap="flat">
                  <a:solidFill>
                    <a:srgbClr val="8DAFC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147" name="Freeform 26">
                  <a:extLst>
                    <a:ext uri="{FF2B5EF4-FFF2-40B4-BE49-F238E27FC236}">
                      <a16:creationId xmlns:a16="http://schemas.microsoft.com/office/drawing/2014/main" id="{F071B337-2FE2-F018-63E1-739E1CADEC0D}"/>
                    </a:ext>
                  </a:extLst>
                </p:cNvPr>
                <p:cNvSpPr>
                  <a:spLocks/>
                </p:cNvSpPr>
                <p:nvPr/>
              </p:nvSpPr>
              <p:spPr bwMode="auto">
                <a:xfrm>
                  <a:off x="5017273" y="3882228"/>
                  <a:ext cx="39688" cy="171450"/>
                </a:xfrm>
                <a:custGeom>
                  <a:avLst/>
                  <a:gdLst/>
                  <a:ahLst/>
                  <a:cxnLst>
                    <a:cxn ang="0">
                      <a:pos x="0" y="0"/>
                    </a:cxn>
                    <a:cxn ang="0">
                      <a:pos x="26" y="114"/>
                    </a:cxn>
                  </a:cxnLst>
                  <a:rect l="0" t="0" r="r" b="b"/>
                  <a:pathLst>
                    <a:path w="26" h="114">
                      <a:moveTo>
                        <a:pt x="0" y="0"/>
                      </a:moveTo>
                      <a:cubicBezTo>
                        <a:pt x="15" y="36"/>
                        <a:pt x="24" y="74"/>
                        <a:pt x="26" y="114"/>
                      </a:cubicBezTo>
                    </a:path>
                  </a:pathLst>
                </a:custGeom>
                <a:grpFill/>
                <a:ln w="12700" cap="rnd">
                  <a:solidFill>
                    <a:srgbClr val="8DAFC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148" name="Freeform 27">
                  <a:extLst>
                    <a:ext uri="{FF2B5EF4-FFF2-40B4-BE49-F238E27FC236}">
                      <a16:creationId xmlns:a16="http://schemas.microsoft.com/office/drawing/2014/main" id="{9EA1ABDD-E313-412E-BA1A-F1D14BBD8CD3}"/>
                    </a:ext>
                  </a:extLst>
                </p:cNvPr>
                <p:cNvSpPr>
                  <a:spLocks/>
                </p:cNvSpPr>
                <p:nvPr/>
              </p:nvSpPr>
              <p:spPr bwMode="auto">
                <a:xfrm>
                  <a:off x="4855369" y="3680619"/>
                  <a:ext cx="117474" cy="120650"/>
                </a:xfrm>
                <a:custGeom>
                  <a:avLst/>
                  <a:gdLst/>
                  <a:ahLst/>
                  <a:cxnLst>
                    <a:cxn ang="0">
                      <a:pos x="0" y="0"/>
                    </a:cxn>
                    <a:cxn ang="0">
                      <a:pos x="78" y="80"/>
                    </a:cxn>
                  </a:cxnLst>
                  <a:rect l="0" t="0" r="r" b="b"/>
                  <a:pathLst>
                    <a:path w="78" h="80">
                      <a:moveTo>
                        <a:pt x="0" y="0"/>
                      </a:moveTo>
                      <a:cubicBezTo>
                        <a:pt x="30" y="22"/>
                        <a:pt x="57" y="49"/>
                        <a:pt x="78" y="80"/>
                      </a:cubicBezTo>
                    </a:path>
                  </a:pathLst>
                </a:custGeom>
                <a:grpFill/>
                <a:ln w="12700" cap="rnd">
                  <a:solidFill>
                    <a:srgbClr val="8DAFC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grpSp>
          <p:sp>
            <p:nvSpPr>
              <p:cNvPr id="141" name="Freeform 32">
                <a:extLst>
                  <a:ext uri="{FF2B5EF4-FFF2-40B4-BE49-F238E27FC236}">
                    <a16:creationId xmlns:a16="http://schemas.microsoft.com/office/drawing/2014/main" id="{5925A350-975D-0876-AE66-7E781B690986}"/>
                  </a:ext>
                </a:extLst>
              </p:cNvPr>
              <p:cNvSpPr>
                <a:spLocks/>
              </p:cNvSpPr>
              <p:nvPr/>
            </p:nvSpPr>
            <p:spPr bwMode="auto">
              <a:xfrm rot="1777099">
                <a:off x="8210633" y="2464258"/>
                <a:ext cx="84297" cy="70806"/>
              </a:xfrm>
              <a:custGeom>
                <a:avLst/>
                <a:gdLst/>
                <a:ahLst/>
                <a:cxnLst>
                  <a:cxn ang="0">
                    <a:pos x="0" y="50"/>
                  </a:cxn>
                  <a:cxn ang="0">
                    <a:pos x="59" y="0"/>
                  </a:cxn>
                </a:cxnLst>
                <a:rect l="0" t="0" r="r" b="b"/>
                <a:pathLst>
                  <a:path w="59" h="50">
                    <a:moveTo>
                      <a:pt x="0" y="50"/>
                    </a:moveTo>
                    <a:cubicBezTo>
                      <a:pt x="18" y="32"/>
                      <a:pt x="38" y="16"/>
                      <a:pt x="59" y="0"/>
                    </a:cubicBezTo>
                  </a:path>
                </a:pathLst>
              </a:custGeom>
              <a:noFill/>
              <a:ln w="12700" cap="rnd">
                <a:solidFill>
                  <a:srgbClr val="FFFFFF">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142" name="Freeform 33">
                <a:extLst>
                  <a:ext uri="{FF2B5EF4-FFF2-40B4-BE49-F238E27FC236}">
                    <a16:creationId xmlns:a16="http://schemas.microsoft.com/office/drawing/2014/main" id="{CD0EFF02-39DD-6AFC-FD06-E5975BC57EDE}"/>
                  </a:ext>
                </a:extLst>
              </p:cNvPr>
              <p:cNvSpPr>
                <a:spLocks/>
              </p:cNvSpPr>
              <p:nvPr/>
            </p:nvSpPr>
            <p:spPr bwMode="auto">
              <a:xfrm rot="1777099">
                <a:off x="8077511" y="2531758"/>
                <a:ext cx="28601" cy="42182"/>
              </a:xfrm>
              <a:custGeom>
                <a:avLst/>
                <a:gdLst/>
                <a:ahLst/>
                <a:cxnLst>
                  <a:cxn ang="0">
                    <a:pos x="0" y="29"/>
                  </a:cxn>
                  <a:cxn ang="0">
                    <a:pos x="20" y="0"/>
                  </a:cxn>
                </a:cxnLst>
                <a:rect l="0" t="0" r="r" b="b"/>
                <a:pathLst>
                  <a:path w="20" h="29">
                    <a:moveTo>
                      <a:pt x="0" y="29"/>
                    </a:moveTo>
                    <a:cubicBezTo>
                      <a:pt x="7" y="19"/>
                      <a:pt x="13" y="9"/>
                      <a:pt x="20" y="0"/>
                    </a:cubicBezTo>
                  </a:path>
                </a:pathLst>
              </a:custGeom>
              <a:noFill/>
              <a:ln w="12700" cap="rnd">
                <a:solidFill>
                  <a:srgbClr val="FFFFFF">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143" name="Freeform 34">
                <a:extLst>
                  <a:ext uri="{FF2B5EF4-FFF2-40B4-BE49-F238E27FC236}">
                    <a16:creationId xmlns:a16="http://schemas.microsoft.com/office/drawing/2014/main" id="{B15A87BC-CB1F-58C5-9E0D-17719F7DD683}"/>
                  </a:ext>
                </a:extLst>
              </p:cNvPr>
              <p:cNvSpPr>
                <a:spLocks/>
              </p:cNvSpPr>
              <p:nvPr/>
            </p:nvSpPr>
            <p:spPr bwMode="auto">
              <a:xfrm rot="1777099">
                <a:off x="7846863" y="2584959"/>
                <a:ext cx="57202" cy="334444"/>
              </a:xfrm>
              <a:custGeom>
                <a:avLst/>
                <a:gdLst/>
                <a:ahLst/>
                <a:cxnLst>
                  <a:cxn ang="0">
                    <a:pos x="12" y="234"/>
                  </a:cxn>
                  <a:cxn ang="0">
                    <a:pos x="40" y="0"/>
                  </a:cxn>
                </a:cxnLst>
                <a:rect l="0" t="0" r="r" b="b"/>
                <a:pathLst>
                  <a:path w="40" h="234">
                    <a:moveTo>
                      <a:pt x="12" y="234"/>
                    </a:moveTo>
                    <a:cubicBezTo>
                      <a:pt x="0" y="154"/>
                      <a:pt x="10" y="74"/>
                      <a:pt x="40" y="0"/>
                    </a:cubicBezTo>
                  </a:path>
                </a:pathLst>
              </a:custGeom>
              <a:noFill/>
              <a:ln w="12700" cap="rnd">
                <a:solidFill>
                  <a:srgbClr val="FFFFFF">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144" name="Freeform 39">
                <a:extLst>
                  <a:ext uri="{FF2B5EF4-FFF2-40B4-BE49-F238E27FC236}">
                    <a16:creationId xmlns:a16="http://schemas.microsoft.com/office/drawing/2014/main" id="{D08AD47A-D3D9-17D7-A38F-73657CAE8060}"/>
                  </a:ext>
                </a:extLst>
              </p:cNvPr>
              <p:cNvSpPr>
                <a:spLocks/>
              </p:cNvSpPr>
              <p:nvPr/>
            </p:nvSpPr>
            <p:spPr bwMode="auto">
              <a:xfrm rot="1777099">
                <a:off x="7715814" y="3092797"/>
                <a:ext cx="52686" cy="52728"/>
              </a:xfrm>
              <a:custGeom>
                <a:avLst/>
                <a:gdLst/>
                <a:ahLst/>
                <a:cxnLst>
                  <a:cxn ang="0">
                    <a:pos x="33" y="10"/>
                  </a:cxn>
                  <a:cxn ang="0">
                    <a:pos x="27" y="33"/>
                  </a:cxn>
                  <a:cxn ang="0">
                    <a:pos x="4" y="27"/>
                  </a:cxn>
                  <a:cxn ang="0">
                    <a:pos x="10" y="4"/>
                  </a:cxn>
                  <a:cxn ang="0">
                    <a:pos x="33" y="10"/>
                  </a:cxn>
                </a:cxnLst>
                <a:rect l="0" t="0" r="r" b="b"/>
                <a:pathLst>
                  <a:path w="37" h="37">
                    <a:moveTo>
                      <a:pt x="33" y="10"/>
                    </a:moveTo>
                    <a:cubicBezTo>
                      <a:pt x="37" y="18"/>
                      <a:pt x="35" y="28"/>
                      <a:pt x="27" y="33"/>
                    </a:cubicBezTo>
                    <a:cubicBezTo>
                      <a:pt x="19" y="37"/>
                      <a:pt x="9" y="34"/>
                      <a:pt x="4" y="27"/>
                    </a:cubicBezTo>
                    <a:cubicBezTo>
                      <a:pt x="0" y="19"/>
                      <a:pt x="2" y="9"/>
                      <a:pt x="10" y="4"/>
                    </a:cubicBezTo>
                    <a:cubicBezTo>
                      <a:pt x="18" y="0"/>
                      <a:pt x="28" y="2"/>
                      <a:pt x="33" y="10"/>
                    </a:cubicBez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145" name="Freeform 40">
                <a:extLst>
                  <a:ext uri="{FF2B5EF4-FFF2-40B4-BE49-F238E27FC236}">
                    <a16:creationId xmlns:a16="http://schemas.microsoft.com/office/drawing/2014/main" id="{66458716-50CC-D80D-3CB6-3C5A3B5972B2}"/>
                  </a:ext>
                </a:extLst>
              </p:cNvPr>
              <p:cNvSpPr>
                <a:spLocks/>
              </p:cNvSpPr>
              <p:nvPr/>
            </p:nvSpPr>
            <p:spPr bwMode="auto">
              <a:xfrm rot="1777099">
                <a:off x="9603381" y="3707196"/>
                <a:ext cx="54191" cy="54234"/>
              </a:xfrm>
              <a:custGeom>
                <a:avLst/>
                <a:gdLst/>
                <a:ahLst/>
                <a:cxnLst>
                  <a:cxn ang="0">
                    <a:pos x="33" y="11"/>
                  </a:cxn>
                  <a:cxn ang="0">
                    <a:pos x="27" y="33"/>
                  </a:cxn>
                  <a:cxn ang="0">
                    <a:pos x="4" y="27"/>
                  </a:cxn>
                  <a:cxn ang="0">
                    <a:pos x="10" y="5"/>
                  </a:cxn>
                  <a:cxn ang="0">
                    <a:pos x="33" y="11"/>
                  </a:cxn>
                </a:cxnLst>
                <a:rect l="0" t="0" r="r" b="b"/>
                <a:pathLst>
                  <a:path w="38" h="38">
                    <a:moveTo>
                      <a:pt x="33" y="11"/>
                    </a:moveTo>
                    <a:cubicBezTo>
                      <a:pt x="38" y="18"/>
                      <a:pt x="35" y="28"/>
                      <a:pt x="27" y="33"/>
                    </a:cubicBezTo>
                    <a:cubicBezTo>
                      <a:pt x="19" y="38"/>
                      <a:pt x="9" y="35"/>
                      <a:pt x="4" y="27"/>
                    </a:cubicBezTo>
                    <a:cubicBezTo>
                      <a:pt x="0" y="19"/>
                      <a:pt x="3" y="9"/>
                      <a:pt x="10" y="5"/>
                    </a:cubicBezTo>
                    <a:cubicBezTo>
                      <a:pt x="18" y="0"/>
                      <a:pt x="28" y="3"/>
                      <a:pt x="33" y="11"/>
                    </a:cubicBez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grpSp>
        <p:pic>
          <p:nvPicPr>
            <p:cNvPr id="138" name="Imagen 137">
              <a:extLst>
                <a:ext uri="{FF2B5EF4-FFF2-40B4-BE49-F238E27FC236}">
                  <a16:creationId xmlns:a16="http://schemas.microsoft.com/office/drawing/2014/main" id="{A3C0AEFF-9964-5853-0FF2-5F1CEFFD0D09}"/>
                </a:ext>
              </a:extLst>
            </p:cNvPr>
            <p:cNvPicPr>
              <a:picLocks noChangeAspect="1"/>
            </p:cNvPicPr>
            <p:nvPr/>
          </p:nvPicPr>
          <p:blipFill>
            <a:blip r:embed="rId7"/>
            <a:stretch>
              <a:fillRect/>
            </a:stretch>
          </p:blipFill>
          <p:spPr>
            <a:xfrm>
              <a:off x="7733412" y="2173356"/>
              <a:ext cx="947903" cy="360203"/>
            </a:xfrm>
            <a:prstGeom prst="rect">
              <a:avLst/>
            </a:prstGeom>
          </p:spPr>
        </p:pic>
      </p:grpSp>
      <p:pic>
        <p:nvPicPr>
          <p:cNvPr id="1026" name="Picture 2" descr="Migration to BW/4HANA">
            <a:extLst>
              <a:ext uri="{FF2B5EF4-FFF2-40B4-BE49-F238E27FC236}">
                <a16:creationId xmlns:a16="http://schemas.microsoft.com/office/drawing/2014/main" id="{4CDE071E-F865-999E-614D-8DED5B6C52B5}"/>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24509" b="28409"/>
          <a:stretch/>
        </p:blipFill>
        <p:spPr bwMode="auto">
          <a:xfrm>
            <a:off x="2835733" y="737320"/>
            <a:ext cx="2122365" cy="522823"/>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14" descr="Sap Business Objects Icon, HD Png Download - kindpng">
            <a:extLst>
              <a:ext uri="{FF2B5EF4-FFF2-40B4-BE49-F238E27FC236}">
                <a16:creationId xmlns:a16="http://schemas.microsoft.com/office/drawing/2014/main" id="{1B4431FE-5409-D883-EF84-F2ED3F3AD142}"/>
              </a:ext>
            </a:extLst>
          </p:cNvPr>
          <p:cNvPicPr>
            <a:picLocks noChangeAspect="1" noChangeArrowheads="1"/>
          </p:cNvPicPr>
          <p:nvPr/>
        </p:nvPicPr>
        <p:blipFill>
          <a:blip r:embed="rId9" cstate="print">
            <a:clrChange>
              <a:clrFrom>
                <a:srgbClr val="F7F7F7"/>
              </a:clrFrom>
              <a:clrTo>
                <a:srgbClr val="F7F7F7">
                  <a:alpha val="0"/>
                </a:srgbClr>
              </a:clrTo>
            </a:clrChange>
            <a:extLst>
              <a:ext uri="{28A0092B-C50C-407E-A947-70E740481C1C}">
                <a14:useLocalDpi xmlns:a14="http://schemas.microsoft.com/office/drawing/2010/main" val="0"/>
              </a:ext>
            </a:extLst>
          </a:blip>
          <a:srcRect/>
          <a:stretch>
            <a:fillRect/>
          </a:stretch>
        </p:blipFill>
        <p:spPr bwMode="auto">
          <a:xfrm>
            <a:off x="6680212" y="696343"/>
            <a:ext cx="1485662" cy="577142"/>
          </a:xfrm>
          <a:prstGeom prst="rect">
            <a:avLst/>
          </a:prstGeom>
          <a:noFill/>
          <a:extLst>
            <a:ext uri="{909E8E84-426E-40DD-AFC4-6F175D3DCCD1}">
              <a14:hiddenFill xmlns:a14="http://schemas.microsoft.com/office/drawing/2010/main">
                <a:solidFill>
                  <a:srgbClr val="FFFFFF"/>
                </a:solidFill>
              </a14:hiddenFill>
            </a:ext>
          </a:extLst>
        </p:spPr>
      </p:pic>
      <p:sp>
        <p:nvSpPr>
          <p:cNvPr id="47" name="CuadroTexto 46">
            <a:extLst>
              <a:ext uri="{FF2B5EF4-FFF2-40B4-BE49-F238E27FC236}">
                <a16:creationId xmlns:a16="http://schemas.microsoft.com/office/drawing/2014/main" id="{47848252-A909-2FAD-9F95-13EDB59EE963}"/>
              </a:ext>
            </a:extLst>
          </p:cNvPr>
          <p:cNvSpPr txBox="1"/>
          <p:nvPr/>
        </p:nvSpPr>
        <p:spPr>
          <a:xfrm>
            <a:off x="7659506" y="1714662"/>
            <a:ext cx="2741742" cy="253916"/>
          </a:xfrm>
          <a:prstGeom prst="rect">
            <a:avLst/>
          </a:prstGeom>
          <a:noFill/>
        </p:spPr>
        <p:txBody>
          <a:bodyPr wrap="square" rtlCol="0" anchor="ctr" anchorCtr="0">
            <a:spAutoFit/>
          </a:bodyPr>
          <a:lstStyle>
            <a:defPPr>
              <a:defRPr lang="es-ES"/>
            </a:defPPr>
            <a:lvl1pPr>
              <a:defRPr sz="1050">
                <a:solidFill>
                  <a:srgbClr val="494949"/>
                </a:solidFill>
                <a:ea typeface="Arial" charset="0"/>
                <a:cs typeface="Arial" charset="0"/>
              </a:defRPr>
            </a:lvl1pPr>
          </a:lstStyle>
          <a:p>
            <a:r>
              <a:rPr lang="en-GB" noProof="0">
                <a:latin typeface="Arial" panose="020B0604020202020204" pitchFamily="34" charset="0"/>
                <a:cs typeface="Arial" panose="020B0604020202020204" pitchFamily="34" charset="0"/>
                <a:sym typeface="Gill Sans" charset="0"/>
              </a:rPr>
              <a:t>Migration from BO 4.1 to BO 4.3</a:t>
            </a:r>
          </a:p>
        </p:txBody>
      </p:sp>
      <p:sp>
        <p:nvSpPr>
          <p:cNvPr id="48" name="CuadroTexto 47">
            <a:extLst>
              <a:ext uri="{FF2B5EF4-FFF2-40B4-BE49-F238E27FC236}">
                <a16:creationId xmlns:a16="http://schemas.microsoft.com/office/drawing/2014/main" id="{2EB73836-2C42-4219-3B4E-FDF3F631E625}"/>
              </a:ext>
            </a:extLst>
          </p:cNvPr>
          <p:cNvSpPr txBox="1"/>
          <p:nvPr/>
        </p:nvSpPr>
        <p:spPr>
          <a:xfrm>
            <a:off x="7643598" y="3554604"/>
            <a:ext cx="2740352" cy="253916"/>
          </a:xfrm>
          <a:prstGeom prst="rect">
            <a:avLst/>
          </a:prstGeom>
          <a:noFill/>
        </p:spPr>
        <p:txBody>
          <a:bodyPr wrap="square" rtlCol="0" anchor="ctr" anchorCtr="0">
            <a:spAutoFit/>
          </a:bodyPr>
          <a:lstStyle>
            <a:defPPr>
              <a:defRPr lang="es-ES"/>
            </a:defPPr>
            <a:lvl1pPr>
              <a:defRPr sz="1050">
                <a:solidFill>
                  <a:srgbClr val="494949"/>
                </a:solidFill>
                <a:ea typeface="Arial" charset="0"/>
                <a:cs typeface="Arial" charset="0"/>
              </a:defRPr>
            </a:lvl1pPr>
          </a:lstStyle>
          <a:p>
            <a:r>
              <a:rPr lang="en-GB" noProof="0">
                <a:latin typeface="Arial" panose="020B0604020202020204" pitchFamily="34" charset="0"/>
                <a:cs typeface="Arial" panose="020B0604020202020204" pitchFamily="34" charset="0"/>
                <a:sym typeface="Gill Sans" charset="0"/>
              </a:rPr>
              <a:t>Migration from BO 4.1 to BO 4.2</a:t>
            </a:r>
          </a:p>
        </p:txBody>
      </p:sp>
      <p:sp>
        <p:nvSpPr>
          <p:cNvPr id="49" name="CuadroTexto 48">
            <a:extLst>
              <a:ext uri="{FF2B5EF4-FFF2-40B4-BE49-F238E27FC236}">
                <a16:creationId xmlns:a16="http://schemas.microsoft.com/office/drawing/2014/main" id="{B9FF11EC-80E7-0A1A-1C4B-8A649A941CBA}"/>
              </a:ext>
            </a:extLst>
          </p:cNvPr>
          <p:cNvSpPr txBox="1"/>
          <p:nvPr/>
        </p:nvSpPr>
        <p:spPr>
          <a:xfrm>
            <a:off x="7659506" y="2626657"/>
            <a:ext cx="2740352" cy="253916"/>
          </a:xfrm>
          <a:prstGeom prst="rect">
            <a:avLst/>
          </a:prstGeom>
          <a:noFill/>
        </p:spPr>
        <p:txBody>
          <a:bodyPr wrap="square" rtlCol="0" anchor="ctr" anchorCtr="0">
            <a:spAutoFit/>
          </a:bodyPr>
          <a:lstStyle>
            <a:defPPr>
              <a:defRPr lang="es-ES"/>
            </a:defPPr>
            <a:lvl1pPr>
              <a:defRPr sz="1050">
                <a:solidFill>
                  <a:srgbClr val="494949"/>
                </a:solidFill>
                <a:ea typeface="Arial" charset="0"/>
                <a:cs typeface="Arial" charset="0"/>
              </a:defRPr>
            </a:lvl1pPr>
          </a:lstStyle>
          <a:p>
            <a:r>
              <a:rPr lang="en-GB" noProof="0">
                <a:latin typeface="Arial" panose="020B0604020202020204" pitchFamily="34" charset="0"/>
                <a:cs typeface="Arial" panose="020B0604020202020204" pitchFamily="34" charset="0"/>
                <a:sym typeface="Gill Sans" charset="0"/>
              </a:rPr>
              <a:t>Migration from BO 4.1 to BO 4.3</a:t>
            </a:r>
          </a:p>
        </p:txBody>
      </p:sp>
      <p:sp>
        <p:nvSpPr>
          <p:cNvPr id="53" name="Freeform 32">
            <a:extLst>
              <a:ext uri="{FF2B5EF4-FFF2-40B4-BE49-F238E27FC236}">
                <a16:creationId xmlns:a16="http://schemas.microsoft.com/office/drawing/2014/main" id="{1E83ECE3-3E51-C26C-EFE6-6C8A9B4A323A}"/>
              </a:ext>
            </a:extLst>
          </p:cNvPr>
          <p:cNvSpPr>
            <a:spLocks/>
          </p:cNvSpPr>
          <p:nvPr/>
        </p:nvSpPr>
        <p:spPr bwMode="auto">
          <a:xfrm rot="1777099">
            <a:off x="6754086" y="3232670"/>
            <a:ext cx="57922" cy="43036"/>
          </a:xfrm>
          <a:custGeom>
            <a:avLst/>
            <a:gdLst/>
            <a:ahLst/>
            <a:cxnLst>
              <a:cxn ang="0">
                <a:pos x="0" y="50"/>
              </a:cxn>
              <a:cxn ang="0">
                <a:pos x="59" y="0"/>
              </a:cxn>
            </a:cxnLst>
            <a:rect l="0" t="0" r="r" b="b"/>
            <a:pathLst>
              <a:path w="59" h="50">
                <a:moveTo>
                  <a:pt x="0" y="50"/>
                </a:moveTo>
                <a:cubicBezTo>
                  <a:pt x="18" y="32"/>
                  <a:pt x="38" y="16"/>
                  <a:pt x="59" y="0"/>
                </a:cubicBezTo>
              </a:path>
            </a:pathLst>
          </a:custGeom>
          <a:noFill/>
          <a:ln w="12700" cap="rnd">
            <a:solidFill>
              <a:srgbClr val="FFFFFF">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54" name="Freeform 33">
            <a:extLst>
              <a:ext uri="{FF2B5EF4-FFF2-40B4-BE49-F238E27FC236}">
                <a16:creationId xmlns:a16="http://schemas.microsoft.com/office/drawing/2014/main" id="{9BA6063D-8727-5B42-E383-3984E1F6B3F8}"/>
              </a:ext>
            </a:extLst>
          </p:cNvPr>
          <p:cNvSpPr>
            <a:spLocks/>
          </p:cNvSpPr>
          <p:nvPr/>
        </p:nvSpPr>
        <p:spPr bwMode="auto">
          <a:xfrm rot="1777099">
            <a:off x="6662615" y="3273697"/>
            <a:ext cx="19652" cy="25638"/>
          </a:xfrm>
          <a:custGeom>
            <a:avLst/>
            <a:gdLst/>
            <a:ahLst/>
            <a:cxnLst>
              <a:cxn ang="0">
                <a:pos x="0" y="29"/>
              </a:cxn>
              <a:cxn ang="0">
                <a:pos x="20" y="0"/>
              </a:cxn>
            </a:cxnLst>
            <a:rect l="0" t="0" r="r" b="b"/>
            <a:pathLst>
              <a:path w="20" h="29">
                <a:moveTo>
                  <a:pt x="0" y="29"/>
                </a:moveTo>
                <a:cubicBezTo>
                  <a:pt x="7" y="19"/>
                  <a:pt x="13" y="9"/>
                  <a:pt x="20" y="0"/>
                </a:cubicBezTo>
              </a:path>
            </a:pathLst>
          </a:custGeom>
          <a:noFill/>
          <a:ln w="12700" cap="rnd">
            <a:solidFill>
              <a:srgbClr val="FFFFFF">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55" name="Freeform 34">
            <a:extLst>
              <a:ext uri="{FF2B5EF4-FFF2-40B4-BE49-F238E27FC236}">
                <a16:creationId xmlns:a16="http://schemas.microsoft.com/office/drawing/2014/main" id="{4D68029E-D364-9616-97B6-F6E75083524F}"/>
              </a:ext>
            </a:extLst>
          </p:cNvPr>
          <p:cNvSpPr>
            <a:spLocks/>
          </p:cNvSpPr>
          <p:nvPr/>
        </p:nvSpPr>
        <p:spPr bwMode="auto">
          <a:xfrm rot="1777099">
            <a:off x="6504132" y="3306033"/>
            <a:ext cx="39305" cy="203276"/>
          </a:xfrm>
          <a:custGeom>
            <a:avLst/>
            <a:gdLst/>
            <a:ahLst/>
            <a:cxnLst>
              <a:cxn ang="0">
                <a:pos x="12" y="234"/>
              </a:cxn>
              <a:cxn ang="0">
                <a:pos x="40" y="0"/>
              </a:cxn>
            </a:cxnLst>
            <a:rect l="0" t="0" r="r" b="b"/>
            <a:pathLst>
              <a:path w="40" h="234">
                <a:moveTo>
                  <a:pt x="12" y="234"/>
                </a:moveTo>
                <a:cubicBezTo>
                  <a:pt x="0" y="154"/>
                  <a:pt x="10" y="74"/>
                  <a:pt x="40" y="0"/>
                </a:cubicBezTo>
              </a:path>
            </a:pathLst>
          </a:custGeom>
          <a:noFill/>
          <a:ln w="12700" cap="rnd">
            <a:solidFill>
              <a:srgbClr val="FFFFFF">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57" name="Freeform 39">
            <a:extLst>
              <a:ext uri="{FF2B5EF4-FFF2-40B4-BE49-F238E27FC236}">
                <a16:creationId xmlns:a16="http://schemas.microsoft.com/office/drawing/2014/main" id="{94E5B921-74E4-DDDB-AE99-232F46D412A0}"/>
              </a:ext>
            </a:extLst>
          </p:cNvPr>
          <p:cNvSpPr>
            <a:spLocks/>
          </p:cNvSpPr>
          <p:nvPr/>
        </p:nvSpPr>
        <p:spPr bwMode="auto">
          <a:xfrm rot="1777099">
            <a:off x="6414085" y="3614699"/>
            <a:ext cx="36202" cy="32048"/>
          </a:xfrm>
          <a:custGeom>
            <a:avLst/>
            <a:gdLst/>
            <a:ahLst/>
            <a:cxnLst>
              <a:cxn ang="0">
                <a:pos x="33" y="10"/>
              </a:cxn>
              <a:cxn ang="0">
                <a:pos x="27" y="33"/>
              </a:cxn>
              <a:cxn ang="0">
                <a:pos x="4" y="27"/>
              </a:cxn>
              <a:cxn ang="0">
                <a:pos x="10" y="4"/>
              </a:cxn>
              <a:cxn ang="0">
                <a:pos x="33" y="10"/>
              </a:cxn>
            </a:cxnLst>
            <a:rect l="0" t="0" r="r" b="b"/>
            <a:pathLst>
              <a:path w="37" h="37">
                <a:moveTo>
                  <a:pt x="33" y="10"/>
                </a:moveTo>
                <a:cubicBezTo>
                  <a:pt x="37" y="18"/>
                  <a:pt x="35" y="28"/>
                  <a:pt x="27" y="33"/>
                </a:cubicBezTo>
                <a:cubicBezTo>
                  <a:pt x="19" y="37"/>
                  <a:pt x="9" y="34"/>
                  <a:pt x="4" y="27"/>
                </a:cubicBezTo>
                <a:cubicBezTo>
                  <a:pt x="0" y="19"/>
                  <a:pt x="2" y="9"/>
                  <a:pt x="10" y="4"/>
                </a:cubicBezTo>
                <a:cubicBezTo>
                  <a:pt x="18" y="0"/>
                  <a:pt x="28" y="2"/>
                  <a:pt x="33" y="10"/>
                </a:cubicBez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58" name="Freeform 40">
            <a:extLst>
              <a:ext uri="{FF2B5EF4-FFF2-40B4-BE49-F238E27FC236}">
                <a16:creationId xmlns:a16="http://schemas.microsoft.com/office/drawing/2014/main" id="{C12CA61F-557A-CC0F-EB8C-364C45529421}"/>
              </a:ext>
            </a:extLst>
          </p:cNvPr>
          <p:cNvSpPr>
            <a:spLocks/>
          </p:cNvSpPr>
          <p:nvPr/>
        </p:nvSpPr>
        <p:spPr bwMode="auto">
          <a:xfrm rot="1777099">
            <a:off x="7711071" y="3988133"/>
            <a:ext cx="37236" cy="32964"/>
          </a:xfrm>
          <a:custGeom>
            <a:avLst/>
            <a:gdLst/>
            <a:ahLst/>
            <a:cxnLst>
              <a:cxn ang="0">
                <a:pos x="33" y="11"/>
              </a:cxn>
              <a:cxn ang="0">
                <a:pos x="27" y="33"/>
              </a:cxn>
              <a:cxn ang="0">
                <a:pos x="4" y="27"/>
              </a:cxn>
              <a:cxn ang="0">
                <a:pos x="10" y="5"/>
              </a:cxn>
              <a:cxn ang="0">
                <a:pos x="33" y="11"/>
              </a:cxn>
            </a:cxnLst>
            <a:rect l="0" t="0" r="r" b="b"/>
            <a:pathLst>
              <a:path w="38" h="38">
                <a:moveTo>
                  <a:pt x="33" y="11"/>
                </a:moveTo>
                <a:cubicBezTo>
                  <a:pt x="38" y="18"/>
                  <a:pt x="35" y="28"/>
                  <a:pt x="27" y="33"/>
                </a:cubicBezTo>
                <a:cubicBezTo>
                  <a:pt x="19" y="38"/>
                  <a:pt x="9" y="35"/>
                  <a:pt x="4" y="27"/>
                </a:cubicBezTo>
                <a:cubicBezTo>
                  <a:pt x="0" y="19"/>
                  <a:pt x="3" y="9"/>
                  <a:pt x="10" y="5"/>
                </a:cubicBezTo>
                <a:cubicBezTo>
                  <a:pt x="18" y="0"/>
                  <a:pt x="28" y="3"/>
                  <a:pt x="33" y="11"/>
                </a:cubicBez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65" name="Freeform 32">
            <a:extLst>
              <a:ext uri="{FF2B5EF4-FFF2-40B4-BE49-F238E27FC236}">
                <a16:creationId xmlns:a16="http://schemas.microsoft.com/office/drawing/2014/main" id="{6C4EFD98-8FCD-4517-32F4-5A9628D413DA}"/>
              </a:ext>
            </a:extLst>
          </p:cNvPr>
          <p:cNvSpPr>
            <a:spLocks/>
          </p:cNvSpPr>
          <p:nvPr/>
        </p:nvSpPr>
        <p:spPr bwMode="auto">
          <a:xfrm rot="1777099">
            <a:off x="6754086" y="2338182"/>
            <a:ext cx="57922" cy="43036"/>
          </a:xfrm>
          <a:custGeom>
            <a:avLst/>
            <a:gdLst/>
            <a:ahLst/>
            <a:cxnLst>
              <a:cxn ang="0">
                <a:pos x="0" y="50"/>
              </a:cxn>
              <a:cxn ang="0">
                <a:pos x="59" y="0"/>
              </a:cxn>
            </a:cxnLst>
            <a:rect l="0" t="0" r="r" b="b"/>
            <a:pathLst>
              <a:path w="59" h="50">
                <a:moveTo>
                  <a:pt x="0" y="50"/>
                </a:moveTo>
                <a:cubicBezTo>
                  <a:pt x="18" y="32"/>
                  <a:pt x="38" y="16"/>
                  <a:pt x="59" y="0"/>
                </a:cubicBezTo>
              </a:path>
            </a:pathLst>
          </a:custGeom>
          <a:noFill/>
          <a:ln w="12700" cap="rnd">
            <a:solidFill>
              <a:srgbClr val="FFFFFF">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66" name="Freeform 33">
            <a:extLst>
              <a:ext uri="{FF2B5EF4-FFF2-40B4-BE49-F238E27FC236}">
                <a16:creationId xmlns:a16="http://schemas.microsoft.com/office/drawing/2014/main" id="{2464473C-9234-D02E-F932-A8AE94689053}"/>
              </a:ext>
            </a:extLst>
          </p:cNvPr>
          <p:cNvSpPr>
            <a:spLocks/>
          </p:cNvSpPr>
          <p:nvPr/>
        </p:nvSpPr>
        <p:spPr bwMode="auto">
          <a:xfrm rot="1777099">
            <a:off x="6662615" y="2379209"/>
            <a:ext cx="19652" cy="25638"/>
          </a:xfrm>
          <a:custGeom>
            <a:avLst/>
            <a:gdLst/>
            <a:ahLst/>
            <a:cxnLst>
              <a:cxn ang="0">
                <a:pos x="0" y="29"/>
              </a:cxn>
              <a:cxn ang="0">
                <a:pos x="20" y="0"/>
              </a:cxn>
            </a:cxnLst>
            <a:rect l="0" t="0" r="r" b="b"/>
            <a:pathLst>
              <a:path w="20" h="29">
                <a:moveTo>
                  <a:pt x="0" y="29"/>
                </a:moveTo>
                <a:cubicBezTo>
                  <a:pt x="7" y="19"/>
                  <a:pt x="13" y="9"/>
                  <a:pt x="20" y="0"/>
                </a:cubicBezTo>
              </a:path>
            </a:pathLst>
          </a:custGeom>
          <a:noFill/>
          <a:ln w="12700" cap="rnd">
            <a:solidFill>
              <a:srgbClr val="FFFFFF">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67" name="Freeform 34">
            <a:extLst>
              <a:ext uri="{FF2B5EF4-FFF2-40B4-BE49-F238E27FC236}">
                <a16:creationId xmlns:a16="http://schemas.microsoft.com/office/drawing/2014/main" id="{6C02A5F5-102B-C502-52CF-C71E222CDF4B}"/>
              </a:ext>
            </a:extLst>
          </p:cNvPr>
          <p:cNvSpPr>
            <a:spLocks/>
          </p:cNvSpPr>
          <p:nvPr/>
        </p:nvSpPr>
        <p:spPr bwMode="auto">
          <a:xfrm rot="1777099">
            <a:off x="6504132" y="2411545"/>
            <a:ext cx="39305" cy="203276"/>
          </a:xfrm>
          <a:custGeom>
            <a:avLst/>
            <a:gdLst/>
            <a:ahLst/>
            <a:cxnLst>
              <a:cxn ang="0">
                <a:pos x="12" y="234"/>
              </a:cxn>
              <a:cxn ang="0">
                <a:pos x="40" y="0"/>
              </a:cxn>
            </a:cxnLst>
            <a:rect l="0" t="0" r="r" b="b"/>
            <a:pathLst>
              <a:path w="40" h="234">
                <a:moveTo>
                  <a:pt x="12" y="234"/>
                </a:moveTo>
                <a:cubicBezTo>
                  <a:pt x="0" y="154"/>
                  <a:pt x="10" y="74"/>
                  <a:pt x="40" y="0"/>
                </a:cubicBezTo>
              </a:path>
            </a:pathLst>
          </a:custGeom>
          <a:noFill/>
          <a:ln w="12700" cap="rnd">
            <a:solidFill>
              <a:srgbClr val="FFFFFF">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69" name="Freeform 39">
            <a:extLst>
              <a:ext uri="{FF2B5EF4-FFF2-40B4-BE49-F238E27FC236}">
                <a16:creationId xmlns:a16="http://schemas.microsoft.com/office/drawing/2014/main" id="{7913C97F-EF0D-B043-79C2-B04773D8048B}"/>
              </a:ext>
            </a:extLst>
          </p:cNvPr>
          <p:cNvSpPr>
            <a:spLocks/>
          </p:cNvSpPr>
          <p:nvPr/>
        </p:nvSpPr>
        <p:spPr bwMode="auto">
          <a:xfrm rot="1777099">
            <a:off x="6414085" y="2720211"/>
            <a:ext cx="36202" cy="32048"/>
          </a:xfrm>
          <a:custGeom>
            <a:avLst/>
            <a:gdLst/>
            <a:ahLst/>
            <a:cxnLst>
              <a:cxn ang="0">
                <a:pos x="33" y="10"/>
              </a:cxn>
              <a:cxn ang="0">
                <a:pos x="27" y="33"/>
              </a:cxn>
              <a:cxn ang="0">
                <a:pos x="4" y="27"/>
              </a:cxn>
              <a:cxn ang="0">
                <a:pos x="10" y="4"/>
              </a:cxn>
              <a:cxn ang="0">
                <a:pos x="33" y="10"/>
              </a:cxn>
            </a:cxnLst>
            <a:rect l="0" t="0" r="r" b="b"/>
            <a:pathLst>
              <a:path w="37" h="37">
                <a:moveTo>
                  <a:pt x="33" y="10"/>
                </a:moveTo>
                <a:cubicBezTo>
                  <a:pt x="37" y="18"/>
                  <a:pt x="35" y="28"/>
                  <a:pt x="27" y="33"/>
                </a:cubicBezTo>
                <a:cubicBezTo>
                  <a:pt x="19" y="37"/>
                  <a:pt x="9" y="34"/>
                  <a:pt x="4" y="27"/>
                </a:cubicBezTo>
                <a:cubicBezTo>
                  <a:pt x="0" y="19"/>
                  <a:pt x="2" y="9"/>
                  <a:pt x="10" y="4"/>
                </a:cubicBezTo>
                <a:cubicBezTo>
                  <a:pt x="18" y="0"/>
                  <a:pt x="28" y="2"/>
                  <a:pt x="33" y="10"/>
                </a:cubicBez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70" name="Freeform 40">
            <a:extLst>
              <a:ext uri="{FF2B5EF4-FFF2-40B4-BE49-F238E27FC236}">
                <a16:creationId xmlns:a16="http://schemas.microsoft.com/office/drawing/2014/main" id="{48AA7A18-1122-BE84-4912-29A898275AF3}"/>
              </a:ext>
            </a:extLst>
          </p:cNvPr>
          <p:cNvSpPr>
            <a:spLocks/>
          </p:cNvSpPr>
          <p:nvPr/>
        </p:nvSpPr>
        <p:spPr bwMode="auto">
          <a:xfrm rot="1777099">
            <a:off x="7711071" y="3093645"/>
            <a:ext cx="37236" cy="32964"/>
          </a:xfrm>
          <a:custGeom>
            <a:avLst/>
            <a:gdLst/>
            <a:ahLst/>
            <a:cxnLst>
              <a:cxn ang="0">
                <a:pos x="33" y="11"/>
              </a:cxn>
              <a:cxn ang="0">
                <a:pos x="27" y="33"/>
              </a:cxn>
              <a:cxn ang="0">
                <a:pos x="4" y="27"/>
              </a:cxn>
              <a:cxn ang="0">
                <a:pos x="10" y="5"/>
              </a:cxn>
              <a:cxn ang="0">
                <a:pos x="33" y="11"/>
              </a:cxn>
            </a:cxnLst>
            <a:rect l="0" t="0" r="r" b="b"/>
            <a:pathLst>
              <a:path w="38" h="38">
                <a:moveTo>
                  <a:pt x="33" y="11"/>
                </a:moveTo>
                <a:cubicBezTo>
                  <a:pt x="38" y="18"/>
                  <a:pt x="35" y="28"/>
                  <a:pt x="27" y="33"/>
                </a:cubicBezTo>
                <a:cubicBezTo>
                  <a:pt x="19" y="38"/>
                  <a:pt x="9" y="35"/>
                  <a:pt x="4" y="27"/>
                </a:cubicBezTo>
                <a:cubicBezTo>
                  <a:pt x="0" y="19"/>
                  <a:pt x="3" y="9"/>
                  <a:pt x="10" y="5"/>
                </a:cubicBezTo>
                <a:cubicBezTo>
                  <a:pt x="18" y="0"/>
                  <a:pt x="28" y="3"/>
                  <a:pt x="33" y="11"/>
                </a:cubicBez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74" name="CuadroTexto 73">
            <a:extLst>
              <a:ext uri="{FF2B5EF4-FFF2-40B4-BE49-F238E27FC236}">
                <a16:creationId xmlns:a16="http://schemas.microsoft.com/office/drawing/2014/main" id="{E94A6257-73E5-26D9-8940-1C7FC1B4D228}"/>
              </a:ext>
            </a:extLst>
          </p:cNvPr>
          <p:cNvSpPr txBox="1"/>
          <p:nvPr/>
        </p:nvSpPr>
        <p:spPr>
          <a:xfrm>
            <a:off x="7659506" y="4316894"/>
            <a:ext cx="2817270" cy="415498"/>
          </a:xfrm>
          <a:prstGeom prst="rect">
            <a:avLst/>
          </a:prstGeom>
          <a:noFill/>
        </p:spPr>
        <p:txBody>
          <a:bodyPr wrap="square" rtlCol="0">
            <a:spAutoFit/>
          </a:bodyPr>
          <a:lstStyle/>
          <a:p>
            <a:pPr>
              <a:defRPr/>
            </a:pPr>
            <a:r>
              <a:rPr lang="en-GB" sz="1050" noProof="0">
                <a:solidFill>
                  <a:srgbClr val="494949"/>
                </a:solidFill>
                <a:latin typeface="Arial" panose="020B0604020202020204" pitchFamily="34" charset="0"/>
                <a:cs typeface="Arial" panose="020B0604020202020204" pitchFamily="34" charset="0"/>
                <a:sym typeface="Gill Sans" charset="0"/>
              </a:rPr>
              <a:t>Migration from BO 4.1 to BO 4.3</a:t>
            </a:r>
          </a:p>
          <a:p>
            <a:pPr lvl="0">
              <a:defRPr/>
            </a:pPr>
            <a:r>
              <a:rPr lang="en-GB" sz="1050" noProof="0">
                <a:solidFill>
                  <a:srgbClr val="494949"/>
                </a:solidFill>
                <a:latin typeface="Arial" panose="020B0604020202020204" pitchFamily="34" charset="0"/>
                <a:ea typeface="Arial" charset="0"/>
                <a:cs typeface="Arial" panose="020B0604020202020204" pitchFamily="34" charset="0"/>
                <a:sym typeface="Gill Sans" charset="0"/>
              </a:rPr>
              <a:t>.</a:t>
            </a:r>
            <a:endParaRPr kumimoji="0" lang="en-GB" sz="1050" b="0" i="0" u="none" strike="noStrike" kern="1200" cap="none" spc="0" normalizeH="0" baseline="0" noProof="0">
              <a:ln>
                <a:noFill/>
              </a:ln>
              <a:solidFill>
                <a:srgbClr val="494949"/>
              </a:solidFill>
              <a:effectLst/>
              <a:uLnTx/>
              <a:uFillTx/>
              <a:latin typeface="Arial" panose="020B0604020202020204" pitchFamily="34" charset="0"/>
              <a:ea typeface="Arial" charset="0"/>
              <a:cs typeface="Arial" panose="020B0604020202020204" pitchFamily="34" charset="0"/>
              <a:sym typeface="Gill Sans" charset="0"/>
            </a:endParaRPr>
          </a:p>
        </p:txBody>
      </p:sp>
      <p:sp>
        <p:nvSpPr>
          <p:cNvPr id="80" name="Freeform 32">
            <a:extLst>
              <a:ext uri="{FF2B5EF4-FFF2-40B4-BE49-F238E27FC236}">
                <a16:creationId xmlns:a16="http://schemas.microsoft.com/office/drawing/2014/main" id="{A8A52327-8A70-8655-D9CC-7340BB7715B4}"/>
              </a:ext>
            </a:extLst>
          </p:cNvPr>
          <p:cNvSpPr>
            <a:spLocks/>
          </p:cNvSpPr>
          <p:nvPr/>
        </p:nvSpPr>
        <p:spPr bwMode="auto">
          <a:xfrm rot="1777099">
            <a:off x="6754086" y="4127158"/>
            <a:ext cx="57922" cy="43036"/>
          </a:xfrm>
          <a:custGeom>
            <a:avLst/>
            <a:gdLst/>
            <a:ahLst/>
            <a:cxnLst>
              <a:cxn ang="0">
                <a:pos x="0" y="50"/>
              </a:cxn>
              <a:cxn ang="0">
                <a:pos x="59" y="0"/>
              </a:cxn>
            </a:cxnLst>
            <a:rect l="0" t="0" r="r" b="b"/>
            <a:pathLst>
              <a:path w="59" h="50">
                <a:moveTo>
                  <a:pt x="0" y="50"/>
                </a:moveTo>
                <a:cubicBezTo>
                  <a:pt x="18" y="32"/>
                  <a:pt x="38" y="16"/>
                  <a:pt x="59" y="0"/>
                </a:cubicBezTo>
              </a:path>
            </a:pathLst>
          </a:custGeom>
          <a:noFill/>
          <a:ln w="12700" cap="rnd">
            <a:solidFill>
              <a:srgbClr val="FFFFFF">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81" name="Freeform 33">
            <a:extLst>
              <a:ext uri="{FF2B5EF4-FFF2-40B4-BE49-F238E27FC236}">
                <a16:creationId xmlns:a16="http://schemas.microsoft.com/office/drawing/2014/main" id="{179304FE-D03A-C273-B518-D0B4E5B64D84}"/>
              </a:ext>
            </a:extLst>
          </p:cNvPr>
          <p:cNvSpPr>
            <a:spLocks/>
          </p:cNvSpPr>
          <p:nvPr/>
        </p:nvSpPr>
        <p:spPr bwMode="auto">
          <a:xfrm rot="1777099">
            <a:off x="6662615" y="4168185"/>
            <a:ext cx="19652" cy="25638"/>
          </a:xfrm>
          <a:custGeom>
            <a:avLst/>
            <a:gdLst/>
            <a:ahLst/>
            <a:cxnLst>
              <a:cxn ang="0">
                <a:pos x="0" y="29"/>
              </a:cxn>
              <a:cxn ang="0">
                <a:pos x="20" y="0"/>
              </a:cxn>
            </a:cxnLst>
            <a:rect l="0" t="0" r="r" b="b"/>
            <a:pathLst>
              <a:path w="20" h="29">
                <a:moveTo>
                  <a:pt x="0" y="29"/>
                </a:moveTo>
                <a:cubicBezTo>
                  <a:pt x="7" y="19"/>
                  <a:pt x="13" y="9"/>
                  <a:pt x="20" y="0"/>
                </a:cubicBezTo>
              </a:path>
            </a:pathLst>
          </a:custGeom>
          <a:noFill/>
          <a:ln w="12700" cap="rnd">
            <a:solidFill>
              <a:srgbClr val="FFFFFF">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82" name="Freeform 34">
            <a:extLst>
              <a:ext uri="{FF2B5EF4-FFF2-40B4-BE49-F238E27FC236}">
                <a16:creationId xmlns:a16="http://schemas.microsoft.com/office/drawing/2014/main" id="{2CFF5CF7-3209-E457-9D8F-CF9AC3904E67}"/>
              </a:ext>
            </a:extLst>
          </p:cNvPr>
          <p:cNvSpPr>
            <a:spLocks/>
          </p:cNvSpPr>
          <p:nvPr/>
        </p:nvSpPr>
        <p:spPr bwMode="auto">
          <a:xfrm rot="1777099">
            <a:off x="6504132" y="4200521"/>
            <a:ext cx="39305" cy="203276"/>
          </a:xfrm>
          <a:custGeom>
            <a:avLst/>
            <a:gdLst/>
            <a:ahLst/>
            <a:cxnLst>
              <a:cxn ang="0">
                <a:pos x="12" y="234"/>
              </a:cxn>
              <a:cxn ang="0">
                <a:pos x="40" y="0"/>
              </a:cxn>
            </a:cxnLst>
            <a:rect l="0" t="0" r="r" b="b"/>
            <a:pathLst>
              <a:path w="40" h="234">
                <a:moveTo>
                  <a:pt x="12" y="234"/>
                </a:moveTo>
                <a:cubicBezTo>
                  <a:pt x="0" y="154"/>
                  <a:pt x="10" y="74"/>
                  <a:pt x="40" y="0"/>
                </a:cubicBezTo>
              </a:path>
            </a:pathLst>
          </a:custGeom>
          <a:noFill/>
          <a:ln w="12700" cap="rnd">
            <a:solidFill>
              <a:srgbClr val="FFFFFF">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83" name="Freeform 39">
            <a:extLst>
              <a:ext uri="{FF2B5EF4-FFF2-40B4-BE49-F238E27FC236}">
                <a16:creationId xmlns:a16="http://schemas.microsoft.com/office/drawing/2014/main" id="{C1BD8F6A-C862-A3FA-D588-176CE2298C4F}"/>
              </a:ext>
            </a:extLst>
          </p:cNvPr>
          <p:cNvSpPr>
            <a:spLocks/>
          </p:cNvSpPr>
          <p:nvPr/>
        </p:nvSpPr>
        <p:spPr bwMode="auto">
          <a:xfrm rot="1777099">
            <a:off x="6414085" y="4509187"/>
            <a:ext cx="36202" cy="32048"/>
          </a:xfrm>
          <a:custGeom>
            <a:avLst/>
            <a:gdLst/>
            <a:ahLst/>
            <a:cxnLst>
              <a:cxn ang="0">
                <a:pos x="33" y="10"/>
              </a:cxn>
              <a:cxn ang="0">
                <a:pos x="27" y="33"/>
              </a:cxn>
              <a:cxn ang="0">
                <a:pos x="4" y="27"/>
              </a:cxn>
              <a:cxn ang="0">
                <a:pos x="10" y="4"/>
              </a:cxn>
              <a:cxn ang="0">
                <a:pos x="33" y="10"/>
              </a:cxn>
            </a:cxnLst>
            <a:rect l="0" t="0" r="r" b="b"/>
            <a:pathLst>
              <a:path w="37" h="37">
                <a:moveTo>
                  <a:pt x="33" y="10"/>
                </a:moveTo>
                <a:cubicBezTo>
                  <a:pt x="37" y="18"/>
                  <a:pt x="35" y="28"/>
                  <a:pt x="27" y="33"/>
                </a:cubicBezTo>
                <a:cubicBezTo>
                  <a:pt x="19" y="37"/>
                  <a:pt x="9" y="34"/>
                  <a:pt x="4" y="27"/>
                </a:cubicBezTo>
                <a:cubicBezTo>
                  <a:pt x="0" y="19"/>
                  <a:pt x="2" y="9"/>
                  <a:pt x="10" y="4"/>
                </a:cubicBezTo>
                <a:cubicBezTo>
                  <a:pt x="18" y="0"/>
                  <a:pt x="28" y="2"/>
                  <a:pt x="33" y="10"/>
                </a:cubicBez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84" name="Freeform 40">
            <a:extLst>
              <a:ext uri="{FF2B5EF4-FFF2-40B4-BE49-F238E27FC236}">
                <a16:creationId xmlns:a16="http://schemas.microsoft.com/office/drawing/2014/main" id="{BC3E2602-394C-4ECA-9FE5-D1E3F3ED087D}"/>
              </a:ext>
            </a:extLst>
          </p:cNvPr>
          <p:cNvSpPr>
            <a:spLocks/>
          </p:cNvSpPr>
          <p:nvPr/>
        </p:nvSpPr>
        <p:spPr bwMode="auto">
          <a:xfrm rot="1777099">
            <a:off x="7711071" y="4882621"/>
            <a:ext cx="37236" cy="32964"/>
          </a:xfrm>
          <a:custGeom>
            <a:avLst/>
            <a:gdLst/>
            <a:ahLst/>
            <a:cxnLst>
              <a:cxn ang="0">
                <a:pos x="33" y="11"/>
              </a:cxn>
              <a:cxn ang="0">
                <a:pos x="27" y="33"/>
              </a:cxn>
              <a:cxn ang="0">
                <a:pos x="4" y="27"/>
              </a:cxn>
              <a:cxn ang="0">
                <a:pos x="10" y="5"/>
              </a:cxn>
              <a:cxn ang="0">
                <a:pos x="33" y="11"/>
              </a:cxn>
            </a:cxnLst>
            <a:rect l="0" t="0" r="r" b="b"/>
            <a:pathLst>
              <a:path w="38" h="38">
                <a:moveTo>
                  <a:pt x="33" y="11"/>
                </a:moveTo>
                <a:cubicBezTo>
                  <a:pt x="38" y="18"/>
                  <a:pt x="35" y="28"/>
                  <a:pt x="27" y="33"/>
                </a:cubicBezTo>
                <a:cubicBezTo>
                  <a:pt x="19" y="38"/>
                  <a:pt x="9" y="35"/>
                  <a:pt x="4" y="27"/>
                </a:cubicBezTo>
                <a:cubicBezTo>
                  <a:pt x="0" y="19"/>
                  <a:pt x="3" y="9"/>
                  <a:pt x="10" y="5"/>
                </a:cubicBezTo>
                <a:cubicBezTo>
                  <a:pt x="18" y="0"/>
                  <a:pt x="28" y="3"/>
                  <a:pt x="33" y="11"/>
                </a:cubicBez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grpSp>
        <p:nvGrpSpPr>
          <p:cNvPr id="164" name="Grupo 163">
            <a:extLst>
              <a:ext uri="{FF2B5EF4-FFF2-40B4-BE49-F238E27FC236}">
                <a16:creationId xmlns:a16="http://schemas.microsoft.com/office/drawing/2014/main" id="{BB20CEC8-3CE4-1EA0-0DB8-D0F08EBD9C15}"/>
              </a:ext>
            </a:extLst>
          </p:cNvPr>
          <p:cNvGrpSpPr/>
          <p:nvPr/>
        </p:nvGrpSpPr>
        <p:grpSpPr>
          <a:xfrm>
            <a:off x="6331152" y="1406265"/>
            <a:ext cx="1404000" cy="936000"/>
            <a:chOff x="6331152" y="1406265"/>
            <a:chExt cx="1404000" cy="936000"/>
          </a:xfrm>
        </p:grpSpPr>
        <p:sp>
          <p:nvSpPr>
            <p:cNvPr id="89" name="Freeform 38">
              <a:extLst>
                <a:ext uri="{FF2B5EF4-FFF2-40B4-BE49-F238E27FC236}">
                  <a16:creationId xmlns:a16="http://schemas.microsoft.com/office/drawing/2014/main" id="{91899DED-25B0-73AA-FC9A-4A6816A495AE}"/>
                </a:ext>
              </a:extLst>
            </p:cNvPr>
            <p:cNvSpPr>
              <a:spLocks/>
            </p:cNvSpPr>
            <p:nvPr/>
          </p:nvSpPr>
          <p:spPr bwMode="auto">
            <a:xfrm rot="1777099">
              <a:off x="6331152" y="1854218"/>
              <a:ext cx="1336349" cy="488047"/>
            </a:xfrm>
            <a:custGeom>
              <a:avLst/>
              <a:gdLst/>
              <a:ahLst/>
              <a:cxnLst>
                <a:cxn ang="0">
                  <a:pos x="0" y="279"/>
                </a:cxn>
                <a:cxn ang="0">
                  <a:pos x="602" y="441"/>
                </a:cxn>
                <a:cxn ang="0">
                  <a:pos x="1366" y="0"/>
                </a:cxn>
              </a:cxnLst>
              <a:rect l="0" t="0" r="r" b="b"/>
              <a:pathLst>
                <a:path w="1366" h="563">
                  <a:moveTo>
                    <a:pt x="0" y="279"/>
                  </a:moveTo>
                  <a:cubicBezTo>
                    <a:pt x="121" y="490"/>
                    <a:pt x="391" y="563"/>
                    <a:pt x="602" y="441"/>
                  </a:cubicBezTo>
                  <a:cubicBezTo>
                    <a:pt x="1366" y="0"/>
                    <a:pt x="1366" y="0"/>
                    <a:pt x="1366" y="0"/>
                  </a:cubicBezTo>
                </a:path>
              </a:pathLst>
            </a:custGeom>
            <a:noFill/>
            <a:ln w="12700" cap="flat">
              <a:solidFill>
                <a:srgbClr val="FFFFFF">
                  <a:lumMod val="75000"/>
                </a:srgb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grpSp>
          <p:nvGrpSpPr>
            <p:cNvPr id="155" name="Grupo 154">
              <a:extLst>
                <a:ext uri="{FF2B5EF4-FFF2-40B4-BE49-F238E27FC236}">
                  <a16:creationId xmlns:a16="http://schemas.microsoft.com/office/drawing/2014/main" id="{46D58D57-438F-97B1-3BAB-C5F54127BBE0}"/>
                </a:ext>
              </a:extLst>
            </p:cNvPr>
            <p:cNvGrpSpPr/>
            <p:nvPr/>
          </p:nvGrpSpPr>
          <p:grpSpPr>
            <a:xfrm>
              <a:off x="6400930" y="1406265"/>
              <a:ext cx="1334222" cy="788426"/>
              <a:chOff x="6400930" y="1406265"/>
              <a:chExt cx="1334222" cy="788426"/>
            </a:xfrm>
          </p:grpSpPr>
          <p:grpSp>
            <p:nvGrpSpPr>
              <p:cNvPr id="90" name="Grupo 89">
                <a:extLst>
                  <a:ext uri="{FF2B5EF4-FFF2-40B4-BE49-F238E27FC236}">
                    <a16:creationId xmlns:a16="http://schemas.microsoft.com/office/drawing/2014/main" id="{25AFF532-A8CE-D34A-48C0-82F01DC60F6E}"/>
                  </a:ext>
                </a:extLst>
              </p:cNvPr>
              <p:cNvGrpSpPr/>
              <p:nvPr/>
            </p:nvGrpSpPr>
            <p:grpSpPr>
              <a:xfrm>
                <a:off x="6400930" y="1406265"/>
                <a:ext cx="1334222" cy="788426"/>
                <a:chOff x="277169" y="1632752"/>
                <a:chExt cx="1941758" cy="1297172"/>
              </a:xfrm>
            </p:grpSpPr>
            <p:grpSp>
              <p:nvGrpSpPr>
                <p:cNvPr id="92" name="Circle D">
                  <a:extLst>
                    <a:ext uri="{FF2B5EF4-FFF2-40B4-BE49-F238E27FC236}">
                      <a16:creationId xmlns:a16="http://schemas.microsoft.com/office/drawing/2014/main" id="{D895966A-D36D-2C2C-3EEB-AD651139AA87}"/>
                    </a:ext>
                  </a:extLst>
                </p:cNvPr>
                <p:cNvGrpSpPr/>
                <p:nvPr/>
              </p:nvGrpSpPr>
              <p:grpSpPr>
                <a:xfrm>
                  <a:off x="399041" y="1758692"/>
                  <a:ext cx="1059734" cy="1059066"/>
                  <a:chOff x="4013977" y="3517105"/>
                  <a:chExt cx="1117595" cy="1116013"/>
                </a:xfrm>
                <a:noFill/>
              </p:grpSpPr>
              <p:sp>
                <p:nvSpPr>
                  <p:cNvPr id="151" name="Oval 28">
                    <a:extLst>
                      <a:ext uri="{FF2B5EF4-FFF2-40B4-BE49-F238E27FC236}">
                        <a16:creationId xmlns:a16="http://schemas.microsoft.com/office/drawing/2014/main" id="{B9F83D63-D559-0BF6-DD95-65A6E072A5A5}"/>
                      </a:ext>
                    </a:extLst>
                  </p:cNvPr>
                  <p:cNvSpPr>
                    <a:spLocks noChangeArrowheads="1"/>
                  </p:cNvSpPr>
                  <p:nvPr/>
                </p:nvSpPr>
                <p:spPr bwMode="auto">
                  <a:xfrm>
                    <a:off x="4013977" y="3517105"/>
                    <a:ext cx="1117595" cy="1116013"/>
                  </a:xfrm>
                  <a:prstGeom prst="ellipse">
                    <a:avLst/>
                  </a:prstGeom>
                  <a:grpFill/>
                  <a:ln w="12700" cap="flat">
                    <a:solidFill>
                      <a:srgbClr val="8DAFC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152" name="Freeform 26">
                    <a:extLst>
                      <a:ext uri="{FF2B5EF4-FFF2-40B4-BE49-F238E27FC236}">
                        <a16:creationId xmlns:a16="http://schemas.microsoft.com/office/drawing/2014/main" id="{DE4E92D0-F8FA-C5EB-DDCC-87D897316E7D}"/>
                      </a:ext>
                    </a:extLst>
                  </p:cNvPr>
                  <p:cNvSpPr>
                    <a:spLocks/>
                  </p:cNvSpPr>
                  <p:nvPr/>
                </p:nvSpPr>
                <p:spPr bwMode="auto">
                  <a:xfrm>
                    <a:off x="5017273" y="3882228"/>
                    <a:ext cx="39688" cy="171450"/>
                  </a:xfrm>
                  <a:custGeom>
                    <a:avLst/>
                    <a:gdLst/>
                    <a:ahLst/>
                    <a:cxnLst>
                      <a:cxn ang="0">
                        <a:pos x="0" y="0"/>
                      </a:cxn>
                      <a:cxn ang="0">
                        <a:pos x="26" y="114"/>
                      </a:cxn>
                    </a:cxnLst>
                    <a:rect l="0" t="0" r="r" b="b"/>
                    <a:pathLst>
                      <a:path w="26" h="114">
                        <a:moveTo>
                          <a:pt x="0" y="0"/>
                        </a:moveTo>
                        <a:cubicBezTo>
                          <a:pt x="15" y="36"/>
                          <a:pt x="24" y="74"/>
                          <a:pt x="26" y="114"/>
                        </a:cubicBezTo>
                      </a:path>
                    </a:pathLst>
                  </a:custGeom>
                  <a:grpFill/>
                  <a:ln w="12700" cap="rnd">
                    <a:solidFill>
                      <a:srgbClr val="8DAFC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153" name="Freeform 27">
                    <a:extLst>
                      <a:ext uri="{FF2B5EF4-FFF2-40B4-BE49-F238E27FC236}">
                        <a16:creationId xmlns:a16="http://schemas.microsoft.com/office/drawing/2014/main" id="{8FD54BCF-6481-8ECA-B3B7-1A093F76CD06}"/>
                      </a:ext>
                    </a:extLst>
                  </p:cNvPr>
                  <p:cNvSpPr>
                    <a:spLocks/>
                  </p:cNvSpPr>
                  <p:nvPr/>
                </p:nvSpPr>
                <p:spPr bwMode="auto">
                  <a:xfrm>
                    <a:off x="4855369" y="3680619"/>
                    <a:ext cx="117474" cy="120650"/>
                  </a:xfrm>
                  <a:custGeom>
                    <a:avLst/>
                    <a:gdLst/>
                    <a:ahLst/>
                    <a:cxnLst>
                      <a:cxn ang="0">
                        <a:pos x="0" y="0"/>
                      </a:cxn>
                      <a:cxn ang="0">
                        <a:pos x="78" y="80"/>
                      </a:cxn>
                    </a:cxnLst>
                    <a:rect l="0" t="0" r="r" b="b"/>
                    <a:pathLst>
                      <a:path w="78" h="80">
                        <a:moveTo>
                          <a:pt x="0" y="0"/>
                        </a:moveTo>
                        <a:cubicBezTo>
                          <a:pt x="30" y="22"/>
                          <a:pt x="57" y="49"/>
                          <a:pt x="78" y="80"/>
                        </a:cubicBezTo>
                      </a:path>
                    </a:pathLst>
                  </a:custGeom>
                  <a:grpFill/>
                  <a:ln w="12700" cap="rnd">
                    <a:solidFill>
                      <a:srgbClr val="8DAFC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grpSp>
            <p:sp>
              <p:nvSpPr>
                <p:cNvPr id="93" name="Freeform 32">
                  <a:extLst>
                    <a:ext uri="{FF2B5EF4-FFF2-40B4-BE49-F238E27FC236}">
                      <a16:creationId xmlns:a16="http://schemas.microsoft.com/office/drawing/2014/main" id="{F6C5B50D-75F5-F49F-E605-5976B8F4F793}"/>
                    </a:ext>
                  </a:extLst>
                </p:cNvPr>
                <p:cNvSpPr>
                  <a:spLocks/>
                </p:cNvSpPr>
                <p:nvPr/>
              </p:nvSpPr>
              <p:spPr bwMode="auto">
                <a:xfrm rot="1777099">
                  <a:off x="771988" y="1632752"/>
                  <a:ext cx="84297" cy="70806"/>
                </a:xfrm>
                <a:custGeom>
                  <a:avLst/>
                  <a:gdLst/>
                  <a:ahLst/>
                  <a:cxnLst>
                    <a:cxn ang="0">
                      <a:pos x="0" y="50"/>
                    </a:cxn>
                    <a:cxn ang="0">
                      <a:pos x="59" y="0"/>
                    </a:cxn>
                  </a:cxnLst>
                  <a:rect l="0" t="0" r="r" b="b"/>
                  <a:pathLst>
                    <a:path w="59" h="50">
                      <a:moveTo>
                        <a:pt x="0" y="50"/>
                      </a:moveTo>
                      <a:cubicBezTo>
                        <a:pt x="18" y="32"/>
                        <a:pt x="38" y="16"/>
                        <a:pt x="59" y="0"/>
                      </a:cubicBezTo>
                    </a:path>
                  </a:pathLst>
                </a:custGeom>
                <a:noFill/>
                <a:ln w="12700" cap="rnd">
                  <a:solidFill>
                    <a:srgbClr val="FFFFFF">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94" name="Freeform 33">
                  <a:extLst>
                    <a:ext uri="{FF2B5EF4-FFF2-40B4-BE49-F238E27FC236}">
                      <a16:creationId xmlns:a16="http://schemas.microsoft.com/office/drawing/2014/main" id="{7F625ED1-17AB-D6A0-8BBD-567CF408C9F6}"/>
                    </a:ext>
                  </a:extLst>
                </p:cNvPr>
                <p:cNvSpPr>
                  <a:spLocks/>
                </p:cNvSpPr>
                <p:nvPr/>
              </p:nvSpPr>
              <p:spPr bwMode="auto">
                <a:xfrm rot="1777099">
                  <a:off x="638866" y="1700252"/>
                  <a:ext cx="28601" cy="42182"/>
                </a:xfrm>
                <a:custGeom>
                  <a:avLst/>
                  <a:gdLst/>
                  <a:ahLst/>
                  <a:cxnLst>
                    <a:cxn ang="0">
                      <a:pos x="0" y="29"/>
                    </a:cxn>
                    <a:cxn ang="0">
                      <a:pos x="20" y="0"/>
                    </a:cxn>
                  </a:cxnLst>
                  <a:rect l="0" t="0" r="r" b="b"/>
                  <a:pathLst>
                    <a:path w="20" h="29">
                      <a:moveTo>
                        <a:pt x="0" y="29"/>
                      </a:moveTo>
                      <a:cubicBezTo>
                        <a:pt x="7" y="19"/>
                        <a:pt x="13" y="9"/>
                        <a:pt x="20" y="0"/>
                      </a:cubicBezTo>
                    </a:path>
                  </a:pathLst>
                </a:custGeom>
                <a:noFill/>
                <a:ln w="12700" cap="rnd">
                  <a:solidFill>
                    <a:srgbClr val="FFFFFF">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95" name="Freeform 34">
                  <a:extLst>
                    <a:ext uri="{FF2B5EF4-FFF2-40B4-BE49-F238E27FC236}">
                      <a16:creationId xmlns:a16="http://schemas.microsoft.com/office/drawing/2014/main" id="{A155526E-05E3-2E1D-C764-349642958CE9}"/>
                    </a:ext>
                  </a:extLst>
                </p:cNvPr>
                <p:cNvSpPr>
                  <a:spLocks/>
                </p:cNvSpPr>
                <p:nvPr/>
              </p:nvSpPr>
              <p:spPr bwMode="auto">
                <a:xfrm rot="1777099">
                  <a:off x="408218" y="1753453"/>
                  <a:ext cx="57202" cy="334444"/>
                </a:xfrm>
                <a:custGeom>
                  <a:avLst/>
                  <a:gdLst/>
                  <a:ahLst/>
                  <a:cxnLst>
                    <a:cxn ang="0">
                      <a:pos x="12" y="234"/>
                    </a:cxn>
                    <a:cxn ang="0">
                      <a:pos x="40" y="0"/>
                    </a:cxn>
                  </a:cxnLst>
                  <a:rect l="0" t="0" r="r" b="b"/>
                  <a:pathLst>
                    <a:path w="40" h="234">
                      <a:moveTo>
                        <a:pt x="12" y="234"/>
                      </a:moveTo>
                      <a:cubicBezTo>
                        <a:pt x="0" y="154"/>
                        <a:pt x="10" y="74"/>
                        <a:pt x="40" y="0"/>
                      </a:cubicBezTo>
                    </a:path>
                  </a:pathLst>
                </a:custGeom>
                <a:noFill/>
                <a:ln w="12700" cap="rnd">
                  <a:solidFill>
                    <a:srgbClr val="FFFFFF">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149" name="Freeform 39">
                  <a:extLst>
                    <a:ext uri="{FF2B5EF4-FFF2-40B4-BE49-F238E27FC236}">
                      <a16:creationId xmlns:a16="http://schemas.microsoft.com/office/drawing/2014/main" id="{6E28B996-8AE1-9B2E-EB1F-24771C71ECD4}"/>
                    </a:ext>
                  </a:extLst>
                </p:cNvPr>
                <p:cNvSpPr>
                  <a:spLocks/>
                </p:cNvSpPr>
                <p:nvPr/>
              </p:nvSpPr>
              <p:spPr bwMode="auto">
                <a:xfrm rot="1777099">
                  <a:off x="277169" y="2261291"/>
                  <a:ext cx="52686" cy="52728"/>
                </a:xfrm>
                <a:custGeom>
                  <a:avLst/>
                  <a:gdLst/>
                  <a:ahLst/>
                  <a:cxnLst>
                    <a:cxn ang="0">
                      <a:pos x="33" y="10"/>
                    </a:cxn>
                    <a:cxn ang="0">
                      <a:pos x="27" y="33"/>
                    </a:cxn>
                    <a:cxn ang="0">
                      <a:pos x="4" y="27"/>
                    </a:cxn>
                    <a:cxn ang="0">
                      <a:pos x="10" y="4"/>
                    </a:cxn>
                    <a:cxn ang="0">
                      <a:pos x="33" y="10"/>
                    </a:cxn>
                  </a:cxnLst>
                  <a:rect l="0" t="0" r="r" b="b"/>
                  <a:pathLst>
                    <a:path w="37" h="37">
                      <a:moveTo>
                        <a:pt x="33" y="10"/>
                      </a:moveTo>
                      <a:cubicBezTo>
                        <a:pt x="37" y="18"/>
                        <a:pt x="35" y="28"/>
                        <a:pt x="27" y="33"/>
                      </a:cubicBezTo>
                      <a:cubicBezTo>
                        <a:pt x="19" y="37"/>
                        <a:pt x="9" y="34"/>
                        <a:pt x="4" y="27"/>
                      </a:cubicBezTo>
                      <a:cubicBezTo>
                        <a:pt x="0" y="19"/>
                        <a:pt x="2" y="9"/>
                        <a:pt x="10" y="4"/>
                      </a:cubicBezTo>
                      <a:cubicBezTo>
                        <a:pt x="18" y="0"/>
                        <a:pt x="28" y="2"/>
                        <a:pt x="33" y="10"/>
                      </a:cubicBez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150" name="Freeform 40">
                  <a:extLst>
                    <a:ext uri="{FF2B5EF4-FFF2-40B4-BE49-F238E27FC236}">
                      <a16:creationId xmlns:a16="http://schemas.microsoft.com/office/drawing/2014/main" id="{92A9A168-3EB1-8D6A-8D13-71CA30FC254C}"/>
                    </a:ext>
                  </a:extLst>
                </p:cNvPr>
                <p:cNvSpPr>
                  <a:spLocks/>
                </p:cNvSpPr>
                <p:nvPr/>
              </p:nvSpPr>
              <p:spPr bwMode="auto">
                <a:xfrm rot="1777099">
                  <a:off x="2164736" y="2875690"/>
                  <a:ext cx="54191" cy="54234"/>
                </a:xfrm>
                <a:custGeom>
                  <a:avLst/>
                  <a:gdLst/>
                  <a:ahLst/>
                  <a:cxnLst>
                    <a:cxn ang="0">
                      <a:pos x="33" y="11"/>
                    </a:cxn>
                    <a:cxn ang="0">
                      <a:pos x="27" y="33"/>
                    </a:cxn>
                    <a:cxn ang="0">
                      <a:pos x="4" y="27"/>
                    </a:cxn>
                    <a:cxn ang="0">
                      <a:pos x="10" y="5"/>
                    </a:cxn>
                    <a:cxn ang="0">
                      <a:pos x="33" y="11"/>
                    </a:cxn>
                  </a:cxnLst>
                  <a:rect l="0" t="0" r="r" b="b"/>
                  <a:pathLst>
                    <a:path w="38" h="38">
                      <a:moveTo>
                        <a:pt x="33" y="11"/>
                      </a:moveTo>
                      <a:cubicBezTo>
                        <a:pt x="38" y="18"/>
                        <a:pt x="35" y="28"/>
                        <a:pt x="27" y="33"/>
                      </a:cubicBezTo>
                      <a:cubicBezTo>
                        <a:pt x="19" y="38"/>
                        <a:pt x="9" y="35"/>
                        <a:pt x="4" y="27"/>
                      </a:cubicBezTo>
                      <a:cubicBezTo>
                        <a:pt x="0" y="19"/>
                        <a:pt x="3" y="9"/>
                        <a:pt x="10" y="5"/>
                      </a:cubicBezTo>
                      <a:cubicBezTo>
                        <a:pt x="18" y="0"/>
                        <a:pt x="28" y="3"/>
                        <a:pt x="33" y="11"/>
                      </a:cubicBez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grpSp>
          <p:pic>
            <p:nvPicPr>
              <p:cNvPr id="154" name="Imagen 153">
                <a:extLst>
                  <a:ext uri="{FF2B5EF4-FFF2-40B4-BE49-F238E27FC236}">
                    <a16:creationId xmlns:a16="http://schemas.microsoft.com/office/drawing/2014/main" id="{9A2CD47E-F5D5-9EB0-8EBC-225040286472}"/>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619258" y="1668441"/>
                <a:ext cx="459569" cy="248022"/>
              </a:xfrm>
              <a:prstGeom prst="rect">
                <a:avLst/>
              </a:prstGeom>
            </p:spPr>
          </p:pic>
        </p:grpSp>
      </p:grpSp>
      <p:grpSp>
        <p:nvGrpSpPr>
          <p:cNvPr id="162" name="Grupo 161">
            <a:extLst>
              <a:ext uri="{FF2B5EF4-FFF2-40B4-BE49-F238E27FC236}">
                <a16:creationId xmlns:a16="http://schemas.microsoft.com/office/drawing/2014/main" id="{FE9E6D7D-E52C-1D40-6420-1F774F3C36D6}"/>
              </a:ext>
            </a:extLst>
          </p:cNvPr>
          <p:cNvGrpSpPr/>
          <p:nvPr/>
        </p:nvGrpSpPr>
        <p:grpSpPr>
          <a:xfrm>
            <a:off x="6344307" y="2414729"/>
            <a:ext cx="1336349" cy="859453"/>
            <a:chOff x="6344307" y="2414729"/>
            <a:chExt cx="1336349" cy="859453"/>
          </a:xfrm>
        </p:grpSpPr>
        <p:sp>
          <p:nvSpPr>
            <p:cNvPr id="68" name="Freeform 38">
              <a:extLst>
                <a:ext uri="{FF2B5EF4-FFF2-40B4-BE49-F238E27FC236}">
                  <a16:creationId xmlns:a16="http://schemas.microsoft.com/office/drawing/2014/main" id="{A5D2BEC4-DE6B-5503-BD00-186D6A006CE9}"/>
                </a:ext>
              </a:extLst>
            </p:cNvPr>
            <p:cNvSpPr>
              <a:spLocks/>
            </p:cNvSpPr>
            <p:nvPr/>
          </p:nvSpPr>
          <p:spPr bwMode="auto">
            <a:xfrm rot="1777099">
              <a:off x="6344307" y="2786135"/>
              <a:ext cx="1336349" cy="488047"/>
            </a:xfrm>
            <a:custGeom>
              <a:avLst/>
              <a:gdLst/>
              <a:ahLst/>
              <a:cxnLst>
                <a:cxn ang="0">
                  <a:pos x="0" y="279"/>
                </a:cxn>
                <a:cxn ang="0">
                  <a:pos x="602" y="441"/>
                </a:cxn>
                <a:cxn ang="0">
                  <a:pos x="1366" y="0"/>
                </a:cxn>
              </a:cxnLst>
              <a:rect l="0" t="0" r="r" b="b"/>
              <a:pathLst>
                <a:path w="1366" h="563">
                  <a:moveTo>
                    <a:pt x="0" y="279"/>
                  </a:moveTo>
                  <a:cubicBezTo>
                    <a:pt x="121" y="490"/>
                    <a:pt x="391" y="563"/>
                    <a:pt x="602" y="441"/>
                  </a:cubicBezTo>
                  <a:cubicBezTo>
                    <a:pt x="1366" y="0"/>
                    <a:pt x="1366" y="0"/>
                    <a:pt x="1366" y="0"/>
                  </a:cubicBezTo>
                </a:path>
              </a:pathLst>
            </a:custGeom>
            <a:noFill/>
            <a:ln w="12700" cap="flat">
              <a:solidFill>
                <a:srgbClr val="FFFFFF">
                  <a:lumMod val="75000"/>
                </a:srgb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grpSp>
          <p:nvGrpSpPr>
            <p:cNvPr id="157" name="Grupo 156">
              <a:extLst>
                <a:ext uri="{FF2B5EF4-FFF2-40B4-BE49-F238E27FC236}">
                  <a16:creationId xmlns:a16="http://schemas.microsoft.com/office/drawing/2014/main" id="{E06E7BF0-4075-1222-7482-A26859A77841}"/>
                </a:ext>
              </a:extLst>
            </p:cNvPr>
            <p:cNvGrpSpPr/>
            <p:nvPr/>
          </p:nvGrpSpPr>
          <p:grpSpPr>
            <a:xfrm>
              <a:off x="6497826" y="2414729"/>
              <a:ext cx="728165" cy="643705"/>
              <a:chOff x="6497826" y="2414729"/>
              <a:chExt cx="728165" cy="643705"/>
            </a:xfrm>
          </p:grpSpPr>
          <p:grpSp>
            <p:nvGrpSpPr>
              <p:cNvPr id="64" name="Circle D">
                <a:extLst>
                  <a:ext uri="{FF2B5EF4-FFF2-40B4-BE49-F238E27FC236}">
                    <a16:creationId xmlns:a16="http://schemas.microsoft.com/office/drawing/2014/main" id="{86212F2F-05BC-F587-02B6-FB96E1970294}"/>
                  </a:ext>
                </a:extLst>
              </p:cNvPr>
              <p:cNvGrpSpPr/>
              <p:nvPr/>
            </p:nvGrpSpPr>
            <p:grpSpPr>
              <a:xfrm>
                <a:off x="6497826" y="2414729"/>
                <a:ext cx="728165" cy="643705"/>
                <a:chOff x="4013977" y="3517105"/>
                <a:chExt cx="1117595" cy="1116013"/>
              </a:xfrm>
              <a:noFill/>
            </p:grpSpPr>
            <p:sp>
              <p:nvSpPr>
                <p:cNvPr id="71" name="Oval 28">
                  <a:extLst>
                    <a:ext uri="{FF2B5EF4-FFF2-40B4-BE49-F238E27FC236}">
                      <a16:creationId xmlns:a16="http://schemas.microsoft.com/office/drawing/2014/main" id="{27575343-65EA-8380-D4EB-E0AE6EB8696E}"/>
                    </a:ext>
                  </a:extLst>
                </p:cNvPr>
                <p:cNvSpPr>
                  <a:spLocks noChangeArrowheads="1"/>
                </p:cNvSpPr>
                <p:nvPr/>
              </p:nvSpPr>
              <p:spPr bwMode="auto">
                <a:xfrm>
                  <a:off x="4013977" y="3517105"/>
                  <a:ext cx="1117595" cy="1116013"/>
                </a:xfrm>
                <a:prstGeom prst="ellipse">
                  <a:avLst/>
                </a:prstGeom>
                <a:grpFill/>
                <a:ln w="12700" cap="flat">
                  <a:solidFill>
                    <a:srgbClr val="8DAFC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72" name="Freeform 26">
                  <a:extLst>
                    <a:ext uri="{FF2B5EF4-FFF2-40B4-BE49-F238E27FC236}">
                      <a16:creationId xmlns:a16="http://schemas.microsoft.com/office/drawing/2014/main" id="{BF44FCF7-3C62-3F66-AE0D-C60BC5D3C085}"/>
                    </a:ext>
                  </a:extLst>
                </p:cNvPr>
                <p:cNvSpPr>
                  <a:spLocks/>
                </p:cNvSpPr>
                <p:nvPr/>
              </p:nvSpPr>
              <p:spPr bwMode="auto">
                <a:xfrm>
                  <a:off x="5017273" y="3882228"/>
                  <a:ext cx="39688" cy="171450"/>
                </a:xfrm>
                <a:custGeom>
                  <a:avLst/>
                  <a:gdLst/>
                  <a:ahLst/>
                  <a:cxnLst>
                    <a:cxn ang="0">
                      <a:pos x="0" y="0"/>
                    </a:cxn>
                    <a:cxn ang="0">
                      <a:pos x="26" y="114"/>
                    </a:cxn>
                  </a:cxnLst>
                  <a:rect l="0" t="0" r="r" b="b"/>
                  <a:pathLst>
                    <a:path w="26" h="114">
                      <a:moveTo>
                        <a:pt x="0" y="0"/>
                      </a:moveTo>
                      <a:cubicBezTo>
                        <a:pt x="15" y="36"/>
                        <a:pt x="24" y="74"/>
                        <a:pt x="26" y="114"/>
                      </a:cubicBezTo>
                    </a:path>
                  </a:pathLst>
                </a:custGeom>
                <a:grpFill/>
                <a:ln w="12700" cap="rnd">
                  <a:solidFill>
                    <a:srgbClr val="8DAFC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73" name="Freeform 27">
                  <a:extLst>
                    <a:ext uri="{FF2B5EF4-FFF2-40B4-BE49-F238E27FC236}">
                      <a16:creationId xmlns:a16="http://schemas.microsoft.com/office/drawing/2014/main" id="{1F72C5C7-C324-D162-7DF8-9353C67F1590}"/>
                    </a:ext>
                  </a:extLst>
                </p:cNvPr>
                <p:cNvSpPr>
                  <a:spLocks/>
                </p:cNvSpPr>
                <p:nvPr/>
              </p:nvSpPr>
              <p:spPr bwMode="auto">
                <a:xfrm>
                  <a:off x="4855369" y="3680619"/>
                  <a:ext cx="117474" cy="120650"/>
                </a:xfrm>
                <a:custGeom>
                  <a:avLst/>
                  <a:gdLst/>
                  <a:ahLst/>
                  <a:cxnLst>
                    <a:cxn ang="0">
                      <a:pos x="0" y="0"/>
                    </a:cxn>
                    <a:cxn ang="0">
                      <a:pos x="78" y="80"/>
                    </a:cxn>
                  </a:cxnLst>
                  <a:rect l="0" t="0" r="r" b="b"/>
                  <a:pathLst>
                    <a:path w="78" h="80">
                      <a:moveTo>
                        <a:pt x="0" y="0"/>
                      </a:moveTo>
                      <a:cubicBezTo>
                        <a:pt x="30" y="22"/>
                        <a:pt x="57" y="49"/>
                        <a:pt x="78" y="80"/>
                      </a:cubicBezTo>
                    </a:path>
                  </a:pathLst>
                </a:custGeom>
                <a:grpFill/>
                <a:ln w="12700" cap="rnd">
                  <a:solidFill>
                    <a:srgbClr val="8DAFC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grpSp>
          <p:pic>
            <p:nvPicPr>
              <p:cNvPr id="156" name="Picture 2" descr="Prosegur Logo - PNG y Vector">
                <a:extLst>
                  <a:ext uri="{FF2B5EF4-FFF2-40B4-BE49-F238E27FC236}">
                    <a16:creationId xmlns:a16="http://schemas.microsoft.com/office/drawing/2014/main" id="{81592B48-72F8-8049-1035-F24F2389D5A4}"/>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592481" y="2668191"/>
                <a:ext cx="517055" cy="194955"/>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63" name="Grupo 162">
            <a:extLst>
              <a:ext uri="{FF2B5EF4-FFF2-40B4-BE49-F238E27FC236}">
                <a16:creationId xmlns:a16="http://schemas.microsoft.com/office/drawing/2014/main" id="{6957304D-39E6-56A9-5A2D-46AE3714ECBF}"/>
              </a:ext>
            </a:extLst>
          </p:cNvPr>
          <p:cNvGrpSpPr/>
          <p:nvPr/>
        </p:nvGrpSpPr>
        <p:grpSpPr>
          <a:xfrm>
            <a:off x="6344307" y="3309217"/>
            <a:ext cx="1336349" cy="859453"/>
            <a:chOff x="6344307" y="3309217"/>
            <a:chExt cx="1336349" cy="859453"/>
          </a:xfrm>
        </p:grpSpPr>
        <p:sp>
          <p:nvSpPr>
            <p:cNvPr id="56" name="Freeform 38">
              <a:extLst>
                <a:ext uri="{FF2B5EF4-FFF2-40B4-BE49-F238E27FC236}">
                  <a16:creationId xmlns:a16="http://schemas.microsoft.com/office/drawing/2014/main" id="{6ADAF7D9-BBA0-5DE6-A22A-41301F91479C}"/>
                </a:ext>
              </a:extLst>
            </p:cNvPr>
            <p:cNvSpPr>
              <a:spLocks/>
            </p:cNvSpPr>
            <p:nvPr/>
          </p:nvSpPr>
          <p:spPr bwMode="auto">
            <a:xfrm rot="1777099">
              <a:off x="6344307" y="3680623"/>
              <a:ext cx="1336349" cy="488047"/>
            </a:xfrm>
            <a:custGeom>
              <a:avLst/>
              <a:gdLst/>
              <a:ahLst/>
              <a:cxnLst>
                <a:cxn ang="0">
                  <a:pos x="0" y="279"/>
                </a:cxn>
                <a:cxn ang="0">
                  <a:pos x="602" y="441"/>
                </a:cxn>
                <a:cxn ang="0">
                  <a:pos x="1366" y="0"/>
                </a:cxn>
              </a:cxnLst>
              <a:rect l="0" t="0" r="r" b="b"/>
              <a:pathLst>
                <a:path w="1366" h="563">
                  <a:moveTo>
                    <a:pt x="0" y="279"/>
                  </a:moveTo>
                  <a:cubicBezTo>
                    <a:pt x="121" y="490"/>
                    <a:pt x="391" y="563"/>
                    <a:pt x="602" y="441"/>
                  </a:cubicBezTo>
                  <a:cubicBezTo>
                    <a:pt x="1366" y="0"/>
                    <a:pt x="1366" y="0"/>
                    <a:pt x="1366" y="0"/>
                  </a:cubicBezTo>
                </a:path>
              </a:pathLst>
            </a:custGeom>
            <a:noFill/>
            <a:ln w="12700" cap="flat">
              <a:solidFill>
                <a:srgbClr val="FFFFFF">
                  <a:lumMod val="75000"/>
                </a:srgb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grpSp>
          <p:nvGrpSpPr>
            <p:cNvPr id="159" name="Grupo 158">
              <a:extLst>
                <a:ext uri="{FF2B5EF4-FFF2-40B4-BE49-F238E27FC236}">
                  <a16:creationId xmlns:a16="http://schemas.microsoft.com/office/drawing/2014/main" id="{7A4D2146-8619-4049-8670-8363DF51E738}"/>
                </a:ext>
              </a:extLst>
            </p:cNvPr>
            <p:cNvGrpSpPr/>
            <p:nvPr/>
          </p:nvGrpSpPr>
          <p:grpSpPr>
            <a:xfrm>
              <a:off x="6497826" y="3309217"/>
              <a:ext cx="728165" cy="643705"/>
              <a:chOff x="6497826" y="3309217"/>
              <a:chExt cx="728165" cy="643705"/>
            </a:xfrm>
          </p:grpSpPr>
          <p:grpSp>
            <p:nvGrpSpPr>
              <p:cNvPr id="52" name="Circle D">
                <a:extLst>
                  <a:ext uri="{FF2B5EF4-FFF2-40B4-BE49-F238E27FC236}">
                    <a16:creationId xmlns:a16="http://schemas.microsoft.com/office/drawing/2014/main" id="{73D72011-BB16-2D3E-51BD-F42326CF8A46}"/>
                  </a:ext>
                </a:extLst>
              </p:cNvPr>
              <p:cNvGrpSpPr/>
              <p:nvPr/>
            </p:nvGrpSpPr>
            <p:grpSpPr>
              <a:xfrm>
                <a:off x="6497826" y="3309217"/>
                <a:ext cx="728165" cy="643705"/>
                <a:chOff x="4013977" y="3517105"/>
                <a:chExt cx="1117595" cy="1116013"/>
              </a:xfrm>
              <a:noFill/>
            </p:grpSpPr>
            <p:sp>
              <p:nvSpPr>
                <p:cNvPr id="59" name="Oval 28">
                  <a:extLst>
                    <a:ext uri="{FF2B5EF4-FFF2-40B4-BE49-F238E27FC236}">
                      <a16:creationId xmlns:a16="http://schemas.microsoft.com/office/drawing/2014/main" id="{7C44954F-CFCB-B8D9-85E9-BB1C4E829541}"/>
                    </a:ext>
                  </a:extLst>
                </p:cNvPr>
                <p:cNvSpPr>
                  <a:spLocks noChangeArrowheads="1"/>
                </p:cNvSpPr>
                <p:nvPr/>
              </p:nvSpPr>
              <p:spPr bwMode="auto">
                <a:xfrm>
                  <a:off x="4013977" y="3517105"/>
                  <a:ext cx="1117595" cy="1116013"/>
                </a:xfrm>
                <a:prstGeom prst="ellipse">
                  <a:avLst/>
                </a:prstGeom>
                <a:grpFill/>
                <a:ln w="12700" cap="flat">
                  <a:solidFill>
                    <a:srgbClr val="8DAFC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60" name="Freeform 26">
                  <a:extLst>
                    <a:ext uri="{FF2B5EF4-FFF2-40B4-BE49-F238E27FC236}">
                      <a16:creationId xmlns:a16="http://schemas.microsoft.com/office/drawing/2014/main" id="{7FC8D022-BE36-B773-B993-D878A8B0CE9F}"/>
                    </a:ext>
                  </a:extLst>
                </p:cNvPr>
                <p:cNvSpPr>
                  <a:spLocks/>
                </p:cNvSpPr>
                <p:nvPr/>
              </p:nvSpPr>
              <p:spPr bwMode="auto">
                <a:xfrm>
                  <a:off x="5017273" y="3882228"/>
                  <a:ext cx="39688" cy="171450"/>
                </a:xfrm>
                <a:custGeom>
                  <a:avLst/>
                  <a:gdLst/>
                  <a:ahLst/>
                  <a:cxnLst>
                    <a:cxn ang="0">
                      <a:pos x="0" y="0"/>
                    </a:cxn>
                    <a:cxn ang="0">
                      <a:pos x="26" y="114"/>
                    </a:cxn>
                  </a:cxnLst>
                  <a:rect l="0" t="0" r="r" b="b"/>
                  <a:pathLst>
                    <a:path w="26" h="114">
                      <a:moveTo>
                        <a:pt x="0" y="0"/>
                      </a:moveTo>
                      <a:cubicBezTo>
                        <a:pt x="15" y="36"/>
                        <a:pt x="24" y="74"/>
                        <a:pt x="26" y="114"/>
                      </a:cubicBezTo>
                    </a:path>
                  </a:pathLst>
                </a:custGeom>
                <a:grpFill/>
                <a:ln w="12700" cap="rnd">
                  <a:solidFill>
                    <a:srgbClr val="8DAFC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61" name="Freeform 27">
                  <a:extLst>
                    <a:ext uri="{FF2B5EF4-FFF2-40B4-BE49-F238E27FC236}">
                      <a16:creationId xmlns:a16="http://schemas.microsoft.com/office/drawing/2014/main" id="{69494799-76B9-E88A-3411-8C9728612F01}"/>
                    </a:ext>
                  </a:extLst>
                </p:cNvPr>
                <p:cNvSpPr>
                  <a:spLocks/>
                </p:cNvSpPr>
                <p:nvPr/>
              </p:nvSpPr>
              <p:spPr bwMode="auto">
                <a:xfrm>
                  <a:off x="4855369" y="3680619"/>
                  <a:ext cx="117474" cy="120650"/>
                </a:xfrm>
                <a:custGeom>
                  <a:avLst/>
                  <a:gdLst/>
                  <a:ahLst/>
                  <a:cxnLst>
                    <a:cxn ang="0">
                      <a:pos x="0" y="0"/>
                    </a:cxn>
                    <a:cxn ang="0">
                      <a:pos x="78" y="80"/>
                    </a:cxn>
                  </a:cxnLst>
                  <a:rect l="0" t="0" r="r" b="b"/>
                  <a:pathLst>
                    <a:path w="78" h="80">
                      <a:moveTo>
                        <a:pt x="0" y="0"/>
                      </a:moveTo>
                      <a:cubicBezTo>
                        <a:pt x="30" y="22"/>
                        <a:pt x="57" y="49"/>
                        <a:pt x="78" y="80"/>
                      </a:cubicBezTo>
                    </a:path>
                  </a:pathLst>
                </a:custGeom>
                <a:grpFill/>
                <a:ln w="12700" cap="rnd">
                  <a:solidFill>
                    <a:srgbClr val="8DAFC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grpSp>
          <p:pic>
            <p:nvPicPr>
              <p:cNvPr id="158" name="Picture 2" descr="http://www.arrabalenfiestas.com/imagenes%20patrocinadores/saica.jpg">
                <a:extLst>
                  <a:ext uri="{FF2B5EF4-FFF2-40B4-BE49-F238E27FC236}">
                    <a16:creationId xmlns:a16="http://schemas.microsoft.com/office/drawing/2014/main" id="{9871F8B2-4C82-A0D9-B966-40E1A5F2CEC5}"/>
                  </a:ext>
                </a:extLst>
              </p:cNvPr>
              <p:cNvPicPr>
                <a:picLocks noChangeAspect="1" noChangeArrowheads="1"/>
              </p:cNvPicPr>
              <p:nvPr/>
            </p:nvPicPr>
            <p:blipFill>
              <a:blip r:embed="rId12" cstate="email"/>
              <a:srcRect/>
              <a:stretch>
                <a:fillRect/>
              </a:stretch>
            </p:blipFill>
            <p:spPr bwMode="auto">
              <a:xfrm>
                <a:off x="6610925" y="3487797"/>
                <a:ext cx="485114" cy="328088"/>
              </a:xfrm>
              <a:prstGeom prst="rect">
                <a:avLst/>
              </a:prstGeom>
              <a:noFill/>
            </p:spPr>
          </p:pic>
        </p:grpSp>
      </p:grpSp>
      <p:grpSp>
        <p:nvGrpSpPr>
          <p:cNvPr id="161" name="Grupo 160">
            <a:extLst>
              <a:ext uri="{FF2B5EF4-FFF2-40B4-BE49-F238E27FC236}">
                <a16:creationId xmlns:a16="http://schemas.microsoft.com/office/drawing/2014/main" id="{9CA51EE2-5491-D73B-EB33-64A40DAB62D0}"/>
              </a:ext>
            </a:extLst>
          </p:cNvPr>
          <p:cNvGrpSpPr/>
          <p:nvPr/>
        </p:nvGrpSpPr>
        <p:grpSpPr>
          <a:xfrm>
            <a:off x="6344307" y="4203705"/>
            <a:ext cx="1336349" cy="859453"/>
            <a:chOff x="6344307" y="4203705"/>
            <a:chExt cx="1336349" cy="859453"/>
          </a:xfrm>
        </p:grpSpPr>
        <p:sp>
          <p:nvSpPr>
            <p:cNvPr id="78" name="Freeform 38">
              <a:extLst>
                <a:ext uri="{FF2B5EF4-FFF2-40B4-BE49-F238E27FC236}">
                  <a16:creationId xmlns:a16="http://schemas.microsoft.com/office/drawing/2014/main" id="{B02FD580-DEC1-F0D0-E801-4160327B0177}"/>
                </a:ext>
              </a:extLst>
            </p:cNvPr>
            <p:cNvSpPr>
              <a:spLocks/>
            </p:cNvSpPr>
            <p:nvPr/>
          </p:nvSpPr>
          <p:spPr bwMode="auto">
            <a:xfrm rot="1777099">
              <a:off x="6344307" y="4575111"/>
              <a:ext cx="1336349" cy="488047"/>
            </a:xfrm>
            <a:custGeom>
              <a:avLst/>
              <a:gdLst/>
              <a:ahLst/>
              <a:cxnLst>
                <a:cxn ang="0">
                  <a:pos x="0" y="279"/>
                </a:cxn>
                <a:cxn ang="0">
                  <a:pos x="602" y="441"/>
                </a:cxn>
                <a:cxn ang="0">
                  <a:pos x="1366" y="0"/>
                </a:cxn>
              </a:cxnLst>
              <a:rect l="0" t="0" r="r" b="b"/>
              <a:pathLst>
                <a:path w="1366" h="563">
                  <a:moveTo>
                    <a:pt x="0" y="279"/>
                  </a:moveTo>
                  <a:cubicBezTo>
                    <a:pt x="121" y="490"/>
                    <a:pt x="391" y="563"/>
                    <a:pt x="602" y="441"/>
                  </a:cubicBezTo>
                  <a:cubicBezTo>
                    <a:pt x="1366" y="0"/>
                    <a:pt x="1366" y="0"/>
                    <a:pt x="1366" y="0"/>
                  </a:cubicBezTo>
                </a:path>
              </a:pathLst>
            </a:custGeom>
            <a:noFill/>
            <a:ln w="12700" cap="flat">
              <a:solidFill>
                <a:srgbClr val="FFFFFF">
                  <a:lumMod val="75000"/>
                </a:srgb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grpSp>
          <p:nvGrpSpPr>
            <p:cNvPr id="79" name="Circle D">
              <a:extLst>
                <a:ext uri="{FF2B5EF4-FFF2-40B4-BE49-F238E27FC236}">
                  <a16:creationId xmlns:a16="http://schemas.microsoft.com/office/drawing/2014/main" id="{72814C8E-1EC8-9EF4-08FF-B41CD4847D3A}"/>
                </a:ext>
              </a:extLst>
            </p:cNvPr>
            <p:cNvGrpSpPr/>
            <p:nvPr/>
          </p:nvGrpSpPr>
          <p:grpSpPr>
            <a:xfrm>
              <a:off x="6497826" y="4203705"/>
              <a:ext cx="728165" cy="643705"/>
              <a:chOff x="4013977" y="3517105"/>
              <a:chExt cx="1117595" cy="1116013"/>
            </a:xfrm>
            <a:noFill/>
          </p:grpSpPr>
          <p:sp>
            <p:nvSpPr>
              <p:cNvPr id="85" name="Oval 28">
                <a:extLst>
                  <a:ext uri="{FF2B5EF4-FFF2-40B4-BE49-F238E27FC236}">
                    <a16:creationId xmlns:a16="http://schemas.microsoft.com/office/drawing/2014/main" id="{B2B54DD7-63CB-5C42-99F4-CC0A5D837206}"/>
                  </a:ext>
                </a:extLst>
              </p:cNvPr>
              <p:cNvSpPr>
                <a:spLocks noChangeArrowheads="1"/>
              </p:cNvSpPr>
              <p:nvPr/>
            </p:nvSpPr>
            <p:spPr bwMode="auto">
              <a:xfrm>
                <a:off x="4013977" y="3517105"/>
                <a:ext cx="1117595" cy="1116013"/>
              </a:xfrm>
              <a:prstGeom prst="ellipse">
                <a:avLst/>
              </a:prstGeom>
              <a:grpFill/>
              <a:ln w="12700" cap="flat">
                <a:solidFill>
                  <a:srgbClr val="8DAFC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86" name="Freeform 26">
                <a:extLst>
                  <a:ext uri="{FF2B5EF4-FFF2-40B4-BE49-F238E27FC236}">
                    <a16:creationId xmlns:a16="http://schemas.microsoft.com/office/drawing/2014/main" id="{CB670286-CCF6-10CA-9C8D-78BF8050E81C}"/>
                  </a:ext>
                </a:extLst>
              </p:cNvPr>
              <p:cNvSpPr>
                <a:spLocks/>
              </p:cNvSpPr>
              <p:nvPr/>
            </p:nvSpPr>
            <p:spPr bwMode="auto">
              <a:xfrm>
                <a:off x="5017273" y="3882228"/>
                <a:ext cx="39688" cy="171450"/>
              </a:xfrm>
              <a:custGeom>
                <a:avLst/>
                <a:gdLst/>
                <a:ahLst/>
                <a:cxnLst>
                  <a:cxn ang="0">
                    <a:pos x="0" y="0"/>
                  </a:cxn>
                  <a:cxn ang="0">
                    <a:pos x="26" y="114"/>
                  </a:cxn>
                </a:cxnLst>
                <a:rect l="0" t="0" r="r" b="b"/>
                <a:pathLst>
                  <a:path w="26" h="114">
                    <a:moveTo>
                      <a:pt x="0" y="0"/>
                    </a:moveTo>
                    <a:cubicBezTo>
                      <a:pt x="15" y="36"/>
                      <a:pt x="24" y="74"/>
                      <a:pt x="26" y="114"/>
                    </a:cubicBezTo>
                  </a:path>
                </a:pathLst>
              </a:custGeom>
              <a:grpFill/>
              <a:ln w="12700" cap="rnd">
                <a:solidFill>
                  <a:srgbClr val="8DAFC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sp>
            <p:nvSpPr>
              <p:cNvPr id="87" name="Freeform 27">
                <a:extLst>
                  <a:ext uri="{FF2B5EF4-FFF2-40B4-BE49-F238E27FC236}">
                    <a16:creationId xmlns:a16="http://schemas.microsoft.com/office/drawing/2014/main" id="{53672515-0CCB-B86D-23D2-9C95E867B56F}"/>
                  </a:ext>
                </a:extLst>
              </p:cNvPr>
              <p:cNvSpPr>
                <a:spLocks/>
              </p:cNvSpPr>
              <p:nvPr/>
            </p:nvSpPr>
            <p:spPr bwMode="auto">
              <a:xfrm>
                <a:off x="4855369" y="3680619"/>
                <a:ext cx="117474" cy="120650"/>
              </a:xfrm>
              <a:custGeom>
                <a:avLst/>
                <a:gdLst/>
                <a:ahLst/>
                <a:cxnLst>
                  <a:cxn ang="0">
                    <a:pos x="0" y="0"/>
                  </a:cxn>
                  <a:cxn ang="0">
                    <a:pos x="78" y="80"/>
                  </a:cxn>
                </a:cxnLst>
                <a:rect l="0" t="0" r="r" b="b"/>
                <a:pathLst>
                  <a:path w="78" h="80">
                    <a:moveTo>
                      <a:pt x="0" y="0"/>
                    </a:moveTo>
                    <a:cubicBezTo>
                      <a:pt x="30" y="22"/>
                      <a:pt x="57" y="49"/>
                      <a:pt x="78" y="80"/>
                    </a:cubicBezTo>
                  </a:path>
                </a:pathLst>
              </a:custGeom>
              <a:grpFill/>
              <a:ln w="12700" cap="rnd">
                <a:solidFill>
                  <a:srgbClr val="8DAFC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494949"/>
                  </a:solidFill>
                  <a:effectLst/>
                  <a:uLnTx/>
                  <a:uFillTx/>
                  <a:latin typeface="Arial" panose="020B0604020202020204"/>
                </a:endParaRPr>
              </a:p>
            </p:txBody>
          </p:sp>
        </p:grpSp>
        <p:pic>
          <p:nvPicPr>
            <p:cNvPr id="160" name="Picture 4" descr="Resultado de imagen de alimerka">
              <a:extLst>
                <a:ext uri="{FF2B5EF4-FFF2-40B4-BE49-F238E27FC236}">
                  <a16:creationId xmlns:a16="http://schemas.microsoft.com/office/drawing/2014/main" id="{511B6956-8AFE-B572-91BC-3DB87DAED591}"/>
                </a:ext>
              </a:extLst>
            </p:cNvPr>
            <p:cNvPicPr>
              <a:picLocks noChangeAspect="1" noChangeArrowheads="1"/>
            </p:cNvPicPr>
            <p:nvPr/>
          </p:nvPicPr>
          <p:blipFill>
            <a:blip r:embed="rId13" cstate="print"/>
            <a:srcRect t="61090"/>
            <a:stretch>
              <a:fillRect/>
            </a:stretch>
          </p:blipFill>
          <p:spPr bwMode="auto">
            <a:xfrm>
              <a:off x="6538717" y="4492314"/>
              <a:ext cx="612803" cy="124241"/>
            </a:xfrm>
            <a:prstGeom prst="rect">
              <a:avLst/>
            </a:prstGeom>
            <a:noFill/>
          </p:spPr>
        </p:pic>
      </p:grpSp>
    </p:spTree>
    <p:extLst>
      <p:ext uri="{BB962C8B-B14F-4D97-AF65-F5344CB8AC3E}">
        <p14:creationId xmlns:p14="http://schemas.microsoft.com/office/powerpoint/2010/main" val="183255962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 name="CuadroTexto 19">
            <a:extLst>
              <a:ext uri="{FF2B5EF4-FFF2-40B4-BE49-F238E27FC236}">
                <a16:creationId xmlns:a16="http://schemas.microsoft.com/office/drawing/2014/main" id="{12E87880-745F-E557-23F9-A1E9940341A2}"/>
              </a:ext>
            </a:extLst>
          </p:cNvPr>
          <p:cNvSpPr txBox="1"/>
          <p:nvPr/>
        </p:nvSpPr>
        <p:spPr>
          <a:xfrm>
            <a:off x="332800" y="766154"/>
            <a:ext cx="11208295" cy="49244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lang="en-GB" sz="1300" noProof="0"/>
              <a:t>The end-to-end analysis of expenses based on advanced analytics, predictive and machine learning around 5 fundamental business axes allows designing a Data Driven strategy to improve the company's decision-making process.</a:t>
            </a:r>
            <a:endParaRPr kumimoji="0" lang="en-GB" sz="1400" b="0" i="0" u="none" strike="noStrike" kern="1200" cap="none" spc="0"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sp>
        <p:nvSpPr>
          <p:cNvPr id="23" name="Google Shape;543;p26">
            <a:extLst>
              <a:ext uri="{FF2B5EF4-FFF2-40B4-BE49-F238E27FC236}">
                <a16:creationId xmlns:a16="http://schemas.microsoft.com/office/drawing/2014/main" id="{A49CF107-FA64-81E0-3EE2-C2CBA1AE94E5}"/>
              </a:ext>
            </a:extLst>
          </p:cNvPr>
          <p:cNvSpPr/>
          <p:nvPr/>
        </p:nvSpPr>
        <p:spPr>
          <a:xfrm>
            <a:off x="535593" y="1282060"/>
            <a:ext cx="214929" cy="272655"/>
          </a:xfrm>
          <a:custGeom>
            <a:avLst/>
            <a:gdLst/>
            <a:ahLst/>
            <a:cxnLst/>
            <a:rect l="l" t="t" r="r" b="b"/>
            <a:pathLst>
              <a:path w="5585" h="7085" extrusionOk="0">
                <a:moveTo>
                  <a:pt x="1988" y="0"/>
                </a:moveTo>
                <a:cubicBezTo>
                  <a:pt x="1953" y="96"/>
                  <a:pt x="1846" y="203"/>
                  <a:pt x="1679" y="334"/>
                </a:cubicBezTo>
                <a:cubicBezTo>
                  <a:pt x="1512" y="465"/>
                  <a:pt x="1334" y="584"/>
                  <a:pt x="1131" y="715"/>
                </a:cubicBezTo>
                <a:cubicBezTo>
                  <a:pt x="917" y="858"/>
                  <a:pt x="714" y="953"/>
                  <a:pt x="500" y="1048"/>
                </a:cubicBezTo>
                <a:cubicBezTo>
                  <a:pt x="298" y="1131"/>
                  <a:pt x="131" y="1179"/>
                  <a:pt x="0" y="1179"/>
                </a:cubicBezTo>
                <a:lnTo>
                  <a:pt x="0" y="3013"/>
                </a:lnTo>
                <a:cubicBezTo>
                  <a:pt x="143" y="3013"/>
                  <a:pt x="322" y="3001"/>
                  <a:pt x="536" y="2941"/>
                </a:cubicBezTo>
                <a:cubicBezTo>
                  <a:pt x="738" y="2894"/>
                  <a:pt x="941" y="2822"/>
                  <a:pt x="1131" y="2727"/>
                </a:cubicBezTo>
                <a:cubicBezTo>
                  <a:pt x="1322" y="2644"/>
                  <a:pt x="1488" y="2548"/>
                  <a:pt x="1655" y="2441"/>
                </a:cubicBezTo>
                <a:cubicBezTo>
                  <a:pt x="1798" y="2346"/>
                  <a:pt x="1917" y="2251"/>
                  <a:pt x="1988" y="2143"/>
                </a:cubicBezTo>
                <a:lnTo>
                  <a:pt x="1988" y="5299"/>
                </a:lnTo>
                <a:lnTo>
                  <a:pt x="238" y="5299"/>
                </a:lnTo>
                <a:lnTo>
                  <a:pt x="238" y="7085"/>
                </a:lnTo>
                <a:lnTo>
                  <a:pt x="5584" y="7085"/>
                </a:lnTo>
                <a:lnTo>
                  <a:pt x="5584" y="5299"/>
                </a:lnTo>
                <a:lnTo>
                  <a:pt x="5584" y="5287"/>
                </a:lnTo>
                <a:lnTo>
                  <a:pt x="4001" y="5287"/>
                </a:lnTo>
                <a:lnTo>
                  <a:pt x="4001" y="0"/>
                </a:lnTo>
                <a:close/>
              </a:path>
            </a:pathLst>
          </a:custGeom>
          <a:solidFill>
            <a:srgbClr val="5B9BD5"/>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33" b="0" i="0" u="none" strike="noStrike" kern="0" cap="none" spc="0" normalizeH="0" baseline="0" noProof="0">
              <a:ln>
                <a:noFill/>
              </a:ln>
              <a:solidFill>
                <a:srgbClr val="5B9BD5"/>
              </a:solidFill>
              <a:effectLst/>
              <a:uLnTx/>
              <a:uFillTx/>
              <a:ea typeface="Roboto"/>
              <a:cs typeface="Calibri" panose="020F0502020204030204" pitchFamily="34" charset="0"/>
              <a:sym typeface="Roboto"/>
            </a:endParaRPr>
          </a:p>
        </p:txBody>
      </p:sp>
      <p:sp>
        <p:nvSpPr>
          <p:cNvPr id="24" name="Google Shape;544;p26">
            <a:extLst>
              <a:ext uri="{FF2B5EF4-FFF2-40B4-BE49-F238E27FC236}">
                <a16:creationId xmlns:a16="http://schemas.microsoft.com/office/drawing/2014/main" id="{A927EF70-236A-FE77-2CA0-3674BC4A4EEF}"/>
              </a:ext>
            </a:extLst>
          </p:cNvPr>
          <p:cNvSpPr/>
          <p:nvPr/>
        </p:nvSpPr>
        <p:spPr>
          <a:xfrm>
            <a:off x="245082" y="1270131"/>
            <a:ext cx="247909" cy="289164"/>
          </a:xfrm>
          <a:custGeom>
            <a:avLst/>
            <a:gdLst/>
            <a:ahLst/>
            <a:cxnLst/>
            <a:rect l="l" t="t" r="r" b="b"/>
            <a:pathLst>
              <a:path w="6442" h="7514" extrusionOk="0">
                <a:moveTo>
                  <a:pt x="3227" y="1834"/>
                </a:moveTo>
                <a:cubicBezTo>
                  <a:pt x="3608" y="1834"/>
                  <a:pt x="3906" y="2013"/>
                  <a:pt x="4120" y="2370"/>
                </a:cubicBezTo>
                <a:cubicBezTo>
                  <a:pt x="4346" y="2727"/>
                  <a:pt x="4465" y="3192"/>
                  <a:pt x="4465" y="3763"/>
                </a:cubicBezTo>
                <a:cubicBezTo>
                  <a:pt x="4465" y="4347"/>
                  <a:pt x="4346" y="4811"/>
                  <a:pt x="4120" y="5168"/>
                </a:cubicBezTo>
                <a:cubicBezTo>
                  <a:pt x="3882" y="5525"/>
                  <a:pt x="3584" y="5704"/>
                  <a:pt x="3227" y="5704"/>
                </a:cubicBezTo>
                <a:cubicBezTo>
                  <a:pt x="2858" y="5704"/>
                  <a:pt x="2548" y="5525"/>
                  <a:pt x="2322" y="5168"/>
                </a:cubicBezTo>
                <a:cubicBezTo>
                  <a:pt x="2096" y="4811"/>
                  <a:pt x="1977" y="4347"/>
                  <a:pt x="1977" y="3763"/>
                </a:cubicBezTo>
                <a:cubicBezTo>
                  <a:pt x="1977" y="3192"/>
                  <a:pt x="2096" y="2727"/>
                  <a:pt x="2322" y="2370"/>
                </a:cubicBezTo>
                <a:cubicBezTo>
                  <a:pt x="2548" y="2013"/>
                  <a:pt x="2858" y="1834"/>
                  <a:pt x="3227" y="1834"/>
                </a:cubicBezTo>
                <a:close/>
                <a:moveTo>
                  <a:pt x="3215" y="1"/>
                </a:moveTo>
                <a:cubicBezTo>
                  <a:pt x="2751" y="1"/>
                  <a:pt x="2334" y="84"/>
                  <a:pt x="1941" y="287"/>
                </a:cubicBezTo>
                <a:cubicBezTo>
                  <a:pt x="1536" y="477"/>
                  <a:pt x="1191" y="751"/>
                  <a:pt x="905" y="1072"/>
                </a:cubicBezTo>
                <a:cubicBezTo>
                  <a:pt x="632" y="1418"/>
                  <a:pt x="405" y="1799"/>
                  <a:pt x="239" y="2263"/>
                </a:cubicBezTo>
                <a:cubicBezTo>
                  <a:pt x="72" y="2727"/>
                  <a:pt x="0" y="3215"/>
                  <a:pt x="0" y="3763"/>
                </a:cubicBezTo>
                <a:cubicBezTo>
                  <a:pt x="0" y="4323"/>
                  <a:pt x="72" y="4811"/>
                  <a:pt x="239" y="5275"/>
                </a:cubicBezTo>
                <a:cubicBezTo>
                  <a:pt x="405" y="5728"/>
                  <a:pt x="632" y="6133"/>
                  <a:pt x="905" y="6466"/>
                </a:cubicBezTo>
                <a:cubicBezTo>
                  <a:pt x="1191" y="6787"/>
                  <a:pt x="1536" y="7061"/>
                  <a:pt x="1941" y="7240"/>
                </a:cubicBezTo>
                <a:cubicBezTo>
                  <a:pt x="2322" y="7430"/>
                  <a:pt x="2751" y="7514"/>
                  <a:pt x="3215" y="7514"/>
                </a:cubicBezTo>
                <a:cubicBezTo>
                  <a:pt x="3680" y="7514"/>
                  <a:pt x="4108" y="7418"/>
                  <a:pt x="4501" y="7240"/>
                </a:cubicBezTo>
                <a:cubicBezTo>
                  <a:pt x="4882" y="7061"/>
                  <a:pt x="5227" y="6787"/>
                  <a:pt x="5513" y="6466"/>
                </a:cubicBezTo>
                <a:cubicBezTo>
                  <a:pt x="5811" y="6121"/>
                  <a:pt x="6025" y="5728"/>
                  <a:pt x="6192" y="5275"/>
                </a:cubicBezTo>
                <a:cubicBezTo>
                  <a:pt x="6358" y="4811"/>
                  <a:pt x="6442" y="4323"/>
                  <a:pt x="6442" y="3763"/>
                </a:cubicBezTo>
                <a:cubicBezTo>
                  <a:pt x="6442" y="3227"/>
                  <a:pt x="6370" y="2727"/>
                  <a:pt x="6192" y="2263"/>
                </a:cubicBezTo>
                <a:cubicBezTo>
                  <a:pt x="6025" y="1799"/>
                  <a:pt x="5787" y="1394"/>
                  <a:pt x="5513" y="1072"/>
                </a:cubicBezTo>
                <a:cubicBezTo>
                  <a:pt x="5227" y="727"/>
                  <a:pt x="4882" y="477"/>
                  <a:pt x="4501" y="287"/>
                </a:cubicBezTo>
                <a:cubicBezTo>
                  <a:pt x="4108" y="96"/>
                  <a:pt x="3680" y="1"/>
                  <a:pt x="3215" y="1"/>
                </a:cubicBezTo>
                <a:close/>
              </a:path>
            </a:pathLst>
          </a:custGeom>
          <a:solidFill>
            <a:srgbClr val="5B9BD5"/>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33" b="0" i="0" u="none" strike="noStrike" kern="0" cap="none" spc="0" normalizeH="0" baseline="0" noProof="0">
              <a:ln>
                <a:noFill/>
              </a:ln>
              <a:solidFill>
                <a:srgbClr val="5B9BD5"/>
              </a:solidFill>
              <a:effectLst/>
              <a:uLnTx/>
              <a:uFillTx/>
              <a:ea typeface="Roboto"/>
              <a:cs typeface="Calibri" panose="020F0502020204030204" pitchFamily="34" charset="0"/>
              <a:sym typeface="Roboto"/>
            </a:endParaRPr>
          </a:p>
        </p:txBody>
      </p:sp>
      <p:sp>
        <p:nvSpPr>
          <p:cNvPr id="25" name="Google Shape;535;p26">
            <a:extLst>
              <a:ext uri="{FF2B5EF4-FFF2-40B4-BE49-F238E27FC236}">
                <a16:creationId xmlns:a16="http://schemas.microsoft.com/office/drawing/2014/main" id="{F2C2BBCD-379B-1E51-6E99-8F21651720E2}"/>
              </a:ext>
            </a:extLst>
          </p:cNvPr>
          <p:cNvSpPr/>
          <p:nvPr/>
        </p:nvSpPr>
        <p:spPr>
          <a:xfrm>
            <a:off x="7824192" y="1438540"/>
            <a:ext cx="170020" cy="198420"/>
          </a:xfrm>
          <a:custGeom>
            <a:avLst/>
            <a:gdLst/>
            <a:ahLst/>
            <a:cxnLst/>
            <a:rect l="l" t="t" r="r" b="b"/>
            <a:pathLst>
              <a:path w="4418" h="5156" extrusionOk="0">
                <a:moveTo>
                  <a:pt x="2191" y="1250"/>
                </a:moveTo>
                <a:cubicBezTo>
                  <a:pt x="2453" y="1250"/>
                  <a:pt x="2644" y="1381"/>
                  <a:pt x="2810" y="1619"/>
                </a:cubicBezTo>
                <a:cubicBezTo>
                  <a:pt x="2965" y="1857"/>
                  <a:pt x="3049" y="2179"/>
                  <a:pt x="3049" y="2572"/>
                </a:cubicBezTo>
                <a:cubicBezTo>
                  <a:pt x="3049" y="2977"/>
                  <a:pt x="2965" y="3286"/>
                  <a:pt x="2810" y="3524"/>
                </a:cubicBezTo>
                <a:cubicBezTo>
                  <a:pt x="2644" y="3762"/>
                  <a:pt x="2453" y="3881"/>
                  <a:pt x="2191" y="3881"/>
                </a:cubicBezTo>
                <a:cubicBezTo>
                  <a:pt x="1929" y="3881"/>
                  <a:pt x="1715" y="3762"/>
                  <a:pt x="1572" y="3524"/>
                </a:cubicBezTo>
                <a:cubicBezTo>
                  <a:pt x="1405" y="3286"/>
                  <a:pt x="1334" y="2977"/>
                  <a:pt x="1334" y="2572"/>
                </a:cubicBezTo>
                <a:cubicBezTo>
                  <a:pt x="1334" y="2191"/>
                  <a:pt x="1417" y="1857"/>
                  <a:pt x="1572" y="1619"/>
                </a:cubicBezTo>
                <a:cubicBezTo>
                  <a:pt x="1739" y="1369"/>
                  <a:pt x="1941" y="1250"/>
                  <a:pt x="2191" y="1250"/>
                </a:cubicBezTo>
                <a:close/>
                <a:moveTo>
                  <a:pt x="2215" y="0"/>
                </a:moveTo>
                <a:cubicBezTo>
                  <a:pt x="1894" y="0"/>
                  <a:pt x="1596" y="60"/>
                  <a:pt x="1334" y="191"/>
                </a:cubicBezTo>
                <a:cubicBezTo>
                  <a:pt x="1060" y="333"/>
                  <a:pt x="822" y="512"/>
                  <a:pt x="632" y="726"/>
                </a:cubicBezTo>
                <a:cubicBezTo>
                  <a:pt x="441" y="964"/>
                  <a:pt x="274" y="1238"/>
                  <a:pt x="167" y="1548"/>
                </a:cubicBezTo>
                <a:cubicBezTo>
                  <a:pt x="60" y="1857"/>
                  <a:pt x="1" y="2203"/>
                  <a:pt x="1" y="2572"/>
                </a:cubicBezTo>
                <a:cubicBezTo>
                  <a:pt x="1" y="2953"/>
                  <a:pt x="60" y="3286"/>
                  <a:pt x="167" y="3608"/>
                </a:cubicBezTo>
                <a:cubicBezTo>
                  <a:pt x="274" y="3917"/>
                  <a:pt x="441" y="4203"/>
                  <a:pt x="632" y="4417"/>
                </a:cubicBezTo>
                <a:cubicBezTo>
                  <a:pt x="822" y="4655"/>
                  <a:pt x="1060" y="4822"/>
                  <a:pt x="1334" y="4953"/>
                </a:cubicBezTo>
                <a:cubicBezTo>
                  <a:pt x="1596" y="5096"/>
                  <a:pt x="1894" y="5155"/>
                  <a:pt x="2215" y="5155"/>
                </a:cubicBezTo>
                <a:cubicBezTo>
                  <a:pt x="2525" y="5155"/>
                  <a:pt x="2822" y="5096"/>
                  <a:pt x="3084" y="4953"/>
                </a:cubicBezTo>
                <a:cubicBezTo>
                  <a:pt x="3358" y="4822"/>
                  <a:pt x="3596" y="4643"/>
                  <a:pt x="3787" y="4417"/>
                </a:cubicBezTo>
                <a:cubicBezTo>
                  <a:pt x="3977" y="4179"/>
                  <a:pt x="4132" y="3917"/>
                  <a:pt x="4251" y="3608"/>
                </a:cubicBezTo>
                <a:cubicBezTo>
                  <a:pt x="4358" y="3286"/>
                  <a:pt x="4418" y="2953"/>
                  <a:pt x="4418" y="2572"/>
                </a:cubicBezTo>
                <a:cubicBezTo>
                  <a:pt x="4418" y="2203"/>
                  <a:pt x="4358" y="1857"/>
                  <a:pt x="4251" y="1548"/>
                </a:cubicBezTo>
                <a:cubicBezTo>
                  <a:pt x="4144" y="1238"/>
                  <a:pt x="3977" y="953"/>
                  <a:pt x="3787" y="726"/>
                </a:cubicBezTo>
                <a:cubicBezTo>
                  <a:pt x="3596" y="512"/>
                  <a:pt x="3358" y="333"/>
                  <a:pt x="3084" y="191"/>
                </a:cubicBezTo>
                <a:cubicBezTo>
                  <a:pt x="2822" y="60"/>
                  <a:pt x="2525" y="0"/>
                  <a:pt x="2215" y="0"/>
                </a:cubicBezTo>
                <a:close/>
              </a:path>
            </a:pathLst>
          </a:custGeom>
          <a:solidFill>
            <a:srgbClr val="FFC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mn-ea"/>
              <a:cs typeface="Calibri" panose="020F0502020204030204" pitchFamily="34" charset="0"/>
            </a:endParaRPr>
          </a:p>
        </p:txBody>
      </p:sp>
      <p:sp>
        <p:nvSpPr>
          <p:cNvPr id="26" name="Google Shape;536;p26">
            <a:extLst>
              <a:ext uri="{FF2B5EF4-FFF2-40B4-BE49-F238E27FC236}">
                <a16:creationId xmlns:a16="http://schemas.microsoft.com/office/drawing/2014/main" id="{9944AB01-3104-8B3B-C232-2CC838F686C2}"/>
              </a:ext>
            </a:extLst>
          </p:cNvPr>
          <p:cNvSpPr/>
          <p:nvPr/>
        </p:nvSpPr>
        <p:spPr>
          <a:xfrm>
            <a:off x="8021688" y="1444466"/>
            <a:ext cx="161745" cy="188837"/>
          </a:xfrm>
          <a:custGeom>
            <a:avLst/>
            <a:gdLst/>
            <a:ahLst/>
            <a:cxnLst/>
            <a:rect l="l" t="t" r="r" b="b"/>
            <a:pathLst>
              <a:path w="4203" h="4907" extrusionOk="0">
                <a:moveTo>
                  <a:pt x="2238" y="1"/>
                </a:moveTo>
                <a:cubicBezTo>
                  <a:pt x="1988" y="1"/>
                  <a:pt x="1750" y="25"/>
                  <a:pt x="1524" y="72"/>
                </a:cubicBezTo>
                <a:cubicBezTo>
                  <a:pt x="1310" y="108"/>
                  <a:pt x="1095" y="179"/>
                  <a:pt x="905" y="251"/>
                </a:cubicBezTo>
                <a:cubicBezTo>
                  <a:pt x="714" y="322"/>
                  <a:pt x="536" y="406"/>
                  <a:pt x="381" y="501"/>
                </a:cubicBezTo>
                <a:cubicBezTo>
                  <a:pt x="238" y="608"/>
                  <a:pt x="119" y="691"/>
                  <a:pt x="24" y="799"/>
                </a:cubicBezTo>
                <a:lnTo>
                  <a:pt x="893" y="1799"/>
                </a:lnTo>
                <a:cubicBezTo>
                  <a:pt x="1048" y="1620"/>
                  <a:pt x="1215" y="1465"/>
                  <a:pt x="1393" y="1346"/>
                </a:cubicBezTo>
                <a:cubicBezTo>
                  <a:pt x="1560" y="1227"/>
                  <a:pt x="1762" y="1168"/>
                  <a:pt x="2000" y="1168"/>
                </a:cubicBezTo>
                <a:cubicBezTo>
                  <a:pt x="2215" y="1168"/>
                  <a:pt x="2358" y="1227"/>
                  <a:pt x="2477" y="1322"/>
                </a:cubicBezTo>
                <a:cubicBezTo>
                  <a:pt x="2584" y="1418"/>
                  <a:pt x="2643" y="1537"/>
                  <a:pt x="2643" y="1703"/>
                </a:cubicBezTo>
                <a:cubicBezTo>
                  <a:pt x="2643" y="1775"/>
                  <a:pt x="2608" y="1858"/>
                  <a:pt x="2572" y="1918"/>
                </a:cubicBezTo>
                <a:cubicBezTo>
                  <a:pt x="2524" y="1977"/>
                  <a:pt x="2453" y="2037"/>
                  <a:pt x="2346" y="2108"/>
                </a:cubicBezTo>
                <a:cubicBezTo>
                  <a:pt x="2238" y="2180"/>
                  <a:pt x="2108" y="2275"/>
                  <a:pt x="1929" y="2358"/>
                </a:cubicBezTo>
                <a:cubicBezTo>
                  <a:pt x="1750" y="2453"/>
                  <a:pt x="1524" y="2573"/>
                  <a:pt x="1262" y="2715"/>
                </a:cubicBezTo>
                <a:cubicBezTo>
                  <a:pt x="1024" y="2858"/>
                  <a:pt x="810" y="3001"/>
                  <a:pt x="655" y="3156"/>
                </a:cubicBezTo>
                <a:cubicBezTo>
                  <a:pt x="488" y="3299"/>
                  <a:pt x="357" y="3454"/>
                  <a:pt x="262" y="3620"/>
                </a:cubicBezTo>
                <a:cubicBezTo>
                  <a:pt x="155" y="3787"/>
                  <a:pt x="95" y="3977"/>
                  <a:pt x="60" y="4192"/>
                </a:cubicBezTo>
                <a:cubicBezTo>
                  <a:pt x="12" y="4406"/>
                  <a:pt x="0" y="4644"/>
                  <a:pt x="0" y="4906"/>
                </a:cubicBezTo>
                <a:lnTo>
                  <a:pt x="4203" y="4906"/>
                </a:lnTo>
                <a:lnTo>
                  <a:pt x="4203" y="3680"/>
                </a:lnTo>
                <a:lnTo>
                  <a:pt x="1917" y="3680"/>
                </a:lnTo>
                <a:cubicBezTo>
                  <a:pt x="1965" y="3620"/>
                  <a:pt x="2036" y="3561"/>
                  <a:pt x="2143" y="3489"/>
                </a:cubicBezTo>
                <a:cubicBezTo>
                  <a:pt x="2238" y="3418"/>
                  <a:pt x="2346" y="3358"/>
                  <a:pt x="2465" y="3287"/>
                </a:cubicBezTo>
                <a:cubicBezTo>
                  <a:pt x="2584" y="3204"/>
                  <a:pt x="2703" y="3144"/>
                  <a:pt x="2822" y="3073"/>
                </a:cubicBezTo>
                <a:cubicBezTo>
                  <a:pt x="2941" y="3001"/>
                  <a:pt x="3036" y="2942"/>
                  <a:pt x="3120" y="2894"/>
                </a:cubicBezTo>
                <a:cubicBezTo>
                  <a:pt x="3239" y="2823"/>
                  <a:pt x="3358" y="2751"/>
                  <a:pt x="3477" y="2656"/>
                </a:cubicBezTo>
                <a:cubicBezTo>
                  <a:pt x="3596" y="2584"/>
                  <a:pt x="3715" y="2477"/>
                  <a:pt x="3810" y="2358"/>
                </a:cubicBezTo>
                <a:cubicBezTo>
                  <a:pt x="3905" y="2263"/>
                  <a:pt x="3989" y="2120"/>
                  <a:pt x="4048" y="1977"/>
                </a:cubicBezTo>
                <a:cubicBezTo>
                  <a:pt x="4108" y="1822"/>
                  <a:pt x="4132" y="1644"/>
                  <a:pt x="4132" y="1465"/>
                </a:cubicBezTo>
                <a:cubicBezTo>
                  <a:pt x="4132" y="1025"/>
                  <a:pt x="3965" y="668"/>
                  <a:pt x="3643" y="394"/>
                </a:cubicBezTo>
                <a:cubicBezTo>
                  <a:pt x="3310" y="132"/>
                  <a:pt x="2858" y="1"/>
                  <a:pt x="2238" y="1"/>
                </a:cubicBezTo>
                <a:close/>
              </a:path>
            </a:pathLst>
          </a:custGeom>
          <a:solidFill>
            <a:srgbClr val="FFC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mn-ea"/>
              <a:cs typeface="Calibri" panose="020F0502020204030204" pitchFamily="34" charset="0"/>
            </a:endParaRPr>
          </a:p>
        </p:txBody>
      </p:sp>
      <p:sp>
        <p:nvSpPr>
          <p:cNvPr id="27" name="Google Shape;537;p26">
            <a:extLst>
              <a:ext uri="{FF2B5EF4-FFF2-40B4-BE49-F238E27FC236}">
                <a16:creationId xmlns:a16="http://schemas.microsoft.com/office/drawing/2014/main" id="{A94012CE-9272-8A84-508F-2D04A504F324}"/>
              </a:ext>
            </a:extLst>
          </p:cNvPr>
          <p:cNvSpPr/>
          <p:nvPr/>
        </p:nvSpPr>
        <p:spPr>
          <a:xfrm>
            <a:off x="7861468" y="3276757"/>
            <a:ext cx="169557" cy="198420"/>
          </a:xfrm>
          <a:custGeom>
            <a:avLst/>
            <a:gdLst/>
            <a:ahLst/>
            <a:cxnLst/>
            <a:rect l="l" t="t" r="r" b="b"/>
            <a:pathLst>
              <a:path w="4406" h="5156" extrusionOk="0">
                <a:moveTo>
                  <a:pt x="2191" y="1250"/>
                </a:moveTo>
                <a:cubicBezTo>
                  <a:pt x="2441" y="1250"/>
                  <a:pt x="2643" y="1393"/>
                  <a:pt x="2798" y="1631"/>
                </a:cubicBezTo>
                <a:cubicBezTo>
                  <a:pt x="2965" y="1869"/>
                  <a:pt x="3036" y="2179"/>
                  <a:pt x="3036" y="2584"/>
                </a:cubicBezTo>
                <a:cubicBezTo>
                  <a:pt x="3036" y="2965"/>
                  <a:pt x="2965" y="3298"/>
                  <a:pt x="2798" y="3536"/>
                </a:cubicBezTo>
                <a:cubicBezTo>
                  <a:pt x="2643" y="3762"/>
                  <a:pt x="2441" y="3893"/>
                  <a:pt x="2191" y="3893"/>
                </a:cubicBezTo>
                <a:cubicBezTo>
                  <a:pt x="1929" y="3893"/>
                  <a:pt x="1715" y="3774"/>
                  <a:pt x="1572" y="3536"/>
                </a:cubicBezTo>
                <a:cubicBezTo>
                  <a:pt x="1405" y="3298"/>
                  <a:pt x="1334" y="2977"/>
                  <a:pt x="1334" y="2584"/>
                </a:cubicBezTo>
                <a:cubicBezTo>
                  <a:pt x="1334" y="2191"/>
                  <a:pt x="1417" y="1869"/>
                  <a:pt x="1572" y="1631"/>
                </a:cubicBezTo>
                <a:cubicBezTo>
                  <a:pt x="1727" y="1369"/>
                  <a:pt x="1941" y="1250"/>
                  <a:pt x="2191" y="1250"/>
                </a:cubicBezTo>
                <a:close/>
                <a:moveTo>
                  <a:pt x="2203" y="0"/>
                </a:moveTo>
                <a:cubicBezTo>
                  <a:pt x="1893" y="0"/>
                  <a:pt x="1596" y="60"/>
                  <a:pt x="1334" y="203"/>
                </a:cubicBezTo>
                <a:cubicBezTo>
                  <a:pt x="1060" y="333"/>
                  <a:pt x="822" y="512"/>
                  <a:pt x="631" y="738"/>
                </a:cubicBezTo>
                <a:cubicBezTo>
                  <a:pt x="441" y="976"/>
                  <a:pt x="274" y="1238"/>
                  <a:pt x="167" y="1548"/>
                </a:cubicBezTo>
                <a:cubicBezTo>
                  <a:pt x="60" y="1869"/>
                  <a:pt x="0" y="2203"/>
                  <a:pt x="0" y="2584"/>
                </a:cubicBezTo>
                <a:cubicBezTo>
                  <a:pt x="0" y="2953"/>
                  <a:pt x="60" y="3298"/>
                  <a:pt x="167" y="3608"/>
                </a:cubicBezTo>
                <a:cubicBezTo>
                  <a:pt x="274" y="3917"/>
                  <a:pt x="441" y="4203"/>
                  <a:pt x="631" y="4429"/>
                </a:cubicBezTo>
                <a:cubicBezTo>
                  <a:pt x="822" y="4667"/>
                  <a:pt x="1060" y="4822"/>
                  <a:pt x="1334" y="4965"/>
                </a:cubicBezTo>
                <a:cubicBezTo>
                  <a:pt x="1596" y="5096"/>
                  <a:pt x="1893" y="5156"/>
                  <a:pt x="2203" y="5156"/>
                </a:cubicBezTo>
                <a:cubicBezTo>
                  <a:pt x="2524" y="5156"/>
                  <a:pt x="2822" y="5096"/>
                  <a:pt x="3084" y="4965"/>
                </a:cubicBezTo>
                <a:cubicBezTo>
                  <a:pt x="3358" y="4822"/>
                  <a:pt x="3596" y="4644"/>
                  <a:pt x="3786" y="4429"/>
                </a:cubicBezTo>
                <a:cubicBezTo>
                  <a:pt x="3977" y="4191"/>
                  <a:pt x="4132" y="3917"/>
                  <a:pt x="4251" y="3608"/>
                </a:cubicBezTo>
                <a:cubicBezTo>
                  <a:pt x="4346" y="3298"/>
                  <a:pt x="4405" y="2953"/>
                  <a:pt x="4405" y="2584"/>
                </a:cubicBezTo>
                <a:cubicBezTo>
                  <a:pt x="4405" y="2203"/>
                  <a:pt x="4346" y="1869"/>
                  <a:pt x="4251" y="1548"/>
                </a:cubicBezTo>
                <a:cubicBezTo>
                  <a:pt x="4143" y="1238"/>
                  <a:pt x="3977" y="953"/>
                  <a:pt x="3786" y="738"/>
                </a:cubicBezTo>
                <a:cubicBezTo>
                  <a:pt x="3596" y="512"/>
                  <a:pt x="3358" y="333"/>
                  <a:pt x="3084" y="203"/>
                </a:cubicBezTo>
                <a:cubicBezTo>
                  <a:pt x="2822" y="60"/>
                  <a:pt x="2524" y="0"/>
                  <a:pt x="2203" y="0"/>
                </a:cubicBezTo>
                <a:close/>
              </a:path>
            </a:pathLst>
          </a:custGeom>
          <a:solidFill>
            <a:srgbClr val="A5A5A5"/>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mn-ea"/>
              <a:cs typeface="Calibri" panose="020F0502020204030204" pitchFamily="34" charset="0"/>
            </a:endParaRPr>
          </a:p>
        </p:txBody>
      </p:sp>
      <p:sp>
        <p:nvSpPr>
          <p:cNvPr id="28" name="Google Shape;538;p26">
            <a:extLst>
              <a:ext uri="{FF2B5EF4-FFF2-40B4-BE49-F238E27FC236}">
                <a16:creationId xmlns:a16="http://schemas.microsoft.com/office/drawing/2014/main" id="{A49037AE-2E27-AEEC-BC84-51D67D0F8ED0}"/>
              </a:ext>
            </a:extLst>
          </p:cNvPr>
          <p:cNvSpPr/>
          <p:nvPr/>
        </p:nvSpPr>
        <p:spPr>
          <a:xfrm>
            <a:off x="8052961" y="3283145"/>
            <a:ext cx="165901" cy="235556"/>
          </a:xfrm>
          <a:custGeom>
            <a:avLst/>
            <a:gdLst/>
            <a:ahLst/>
            <a:cxnLst/>
            <a:rect l="l" t="t" r="r" b="b"/>
            <a:pathLst>
              <a:path w="4311" h="6121" extrusionOk="0">
                <a:moveTo>
                  <a:pt x="2215" y="1"/>
                </a:moveTo>
                <a:cubicBezTo>
                  <a:pt x="1989" y="1"/>
                  <a:pt x="1775" y="13"/>
                  <a:pt x="1561" y="60"/>
                </a:cubicBezTo>
                <a:cubicBezTo>
                  <a:pt x="1358" y="108"/>
                  <a:pt x="1144" y="156"/>
                  <a:pt x="965" y="227"/>
                </a:cubicBezTo>
                <a:cubicBezTo>
                  <a:pt x="775" y="287"/>
                  <a:pt x="608" y="370"/>
                  <a:pt x="465" y="477"/>
                </a:cubicBezTo>
                <a:cubicBezTo>
                  <a:pt x="310" y="584"/>
                  <a:pt x="191" y="691"/>
                  <a:pt x="96" y="810"/>
                </a:cubicBezTo>
                <a:lnTo>
                  <a:pt x="953" y="1787"/>
                </a:lnTo>
                <a:cubicBezTo>
                  <a:pt x="1084" y="1584"/>
                  <a:pt x="1239" y="1418"/>
                  <a:pt x="1430" y="1310"/>
                </a:cubicBezTo>
                <a:cubicBezTo>
                  <a:pt x="1608" y="1203"/>
                  <a:pt x="1811" y="1144"/>
                  <a:pt x="2049" y="1144"/>
                </a:cubicBezTo>
                <a:cubicBezTo>
                  <a:pt x="2275" y="1144"/>
                  <a:pt x="2442" y="1203"/>
                  <a:pt x="2573" y="1299"/>
                </a:cubicBezTo>
                <a:cubicBezTo>
                  <a:pt x="2704" y="1382"/>
                  <a:pt x="2763" y="1537"/>
                  <a:pt x="2763" y="1715"/>
                </a:cubicBezTo>
                <a:cubicBezTo>
                  <a:pt x="2763" y="1942"/>
                  <a:pt x="2680" y="2096"/>
                  <a:pt x="2501" y="2239"/>
                </a:cubicBezTo>
                <a:cubicBezTo>
                  <a:pt x="2323" y="2370"/>
                  <a:pt x="2061" y="2430"/>
                  <a:pt x="1751" y="2430"/>
                </a:cubicBezTo>
                <a:lnTo>
                  <a:pt x="1465" y="2430"/>
                </a:lnTo>
                <a:lnTo>
                  <a:pt x="1465" y="3394"/>
                </a:lnTo>
                <a:lnTo>
                  <a:pt x="1727" y="3394"/>
                </a:lnTo>
                <a:cubicBezTo>
                  <a:pt x="2132" y="3394"/>
                  <a:pt x="2430" y="3454"/>
                  <a:pt x="2620" y="3585"/>
                </a:cubicBezTo>
                <a:cubicBezTo>
                  <a:pt x="2811" y="3727"/>
                  <a:pt x="2906" y="3918"/>
                  <a:pt x="2906" y="4168"/>
                </a:cubicBezTo>
                <a:cubicBezTo>
                  <a:pt x="2906" y="4632"/>
                  <a:pt x="2585" y="4870"/>
                  <a:pt x="1954" y="4870"/>
                </a:cubicBezTo>
                <a:cubicBezTo>
                  <a:pt x="1680" y="4870"/>
                  <a:pt x="1442" y="4823"/>
                  <a:pt x="1251" y="4751"/>
                </a:cubicBezTo>
                <a:cubicBezTo>
                  <a:pt x="1061" y="4680"/>
                  <a:pt x="870" y="4561"/>
                  <a:pt x="727" y="4394"/>
                </a:cubicBezTo>
                <a:lnTo>
                  <a:pt x="1" y="5359"/>
                </a:lnTo>
                <a:cubicBezTo>
                  <a:pt x="477" y="5871"/>
                  <a:pt x="1144" y="6121"/>
                  <a:pt x="2001" y="6121"/>
                </a:cubicBezTo>
                <a:cubicBezTo>
                  <a:pt x="2358" y="6121"/>
                  <a:pt x="2680" y="6073"/>
                  <a:pt x="2954" y="6002"/>
                </a:cubicBezTo>
                <a:cubicBezTo>
                  <a:pt x="3239" y="5930"/>
                  <a:pt x="3501" y="5811"/>
                  <a:pt x="3692" y="5656"/>
                </a:cubicBezTo>
                <a:cubicBezTo>
                  <a:pt x="3882" y="5513"/>
                  <a:pt x="4049" y="5335"/>
                  <a:pt x="4144" y="5120"/>
                </a:cubicBezTo>
                <a:cubicBezTo>
                  <a:pt x="4251" y="4918"/>
                  <a:pt x="4311" y="4680"/>
                  <a:pt x="4311" y="4406"/>
                </a:cubicBezTo>
                <a:cubicBezTo>
                  <a:pt x="4311" y="4216"/>
                  <a:pt x="4287" y="4037"/>
                  <a:pt x="4228" y="3858"/>
                </a:cubicBezTo>
                <a:cubicBezTo>
                  <a:pt x="4168" y="3680"/>
                  <a:pt x="4097" y="3525"/>
                  <a:pt x="3990" y="3394"/>
                </a:cubicBezTo>
                <a:cubicBezTo>
                  <a:pt x="3882" y="3263"/>
                  <a:pt x="3763" y="3156"/>
                  <a:pt x="3620" y="3073"/>
                </a:cubicBezTo>
                <a:cubicBezTo>
                  <a:pt x="3478" y="2977"/>
                  <a:pt x="3323" y="2918"/>
                  <a:pt x="3144" y="2894"/>
                </a:cubicBezTo>
                <a:cubicBezTo>
                  <a:pt x="3299" y="2858"/>
                  <a:pt x="3454" y="2799"/>
                  <a:pt x="3585" y="2692"/>
                </a:cubicBezTo>
                <a:cubicBezTo>
                  <a:pt x="3716" y="2608"/>
                  <a:pt x="3835" y="2501"/>
                  <a:pt x="3930" y="2382"/>
                </a:cubicBezTo>
                <a:cubicBezTo>
                  <a:pt x="4013" y="2263"/>
                  <a:pt x="4097" y="2120"/>
                  <a:pt x="4156" y="1965"/>
                </a:cubicBezTo>
                <a:cubicBezTo>
                  <a:pt x="4192" y="1822"/>
                  <a:pt x="4228" y="1656"/>
                  <a:pt x="4228" y="1489"/>
                </a:cubicBezTo>
                <a:cubicBezTo>
                  <a:pt x="4228" y="1263"/>
                  <a:pt x="4168" y="1060"/>
                  <a:pt x="4073" y="882"/>
                </a:cubicBezTo>
                <a:cubicBezTo>
                  <a:pt x="3990" y="703"/>
                  <a:pt x="3859" y="537"/>
                  <a:pt x="3680" y="406"/>
                </a:cubicBezTo>
                <a:cubicBezTo>
                  <a:pt x="3501" y="287"/>
                  <a:pt x="3287" y="179"/>
                  <a:pt x="3037" y="108"/>
                </a:cubicBezTo>
                <a:cubicBezTo>
                  <a:pt x="2787" y="37"/>
                  <a:pt x="2513" y="1"/>
                  <a:pt x="2215" y="1"/>
                </a:cubicBezTo>
                <a:close/>
              </a:path>
            </a:pathLst>
          </a:custGeom>
          <a:solidFill>
            <a:srgbClr val="A5A5A5"/>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mn-ea"/>
              <a:cs typeface="Calibri" panose="020F0502020204030204" pitchFamily="34" charset="0"/>
            </a:endParaRPr>
          </a:p>
        </p:txBody>
      </p:sp>
      <p:sp>
        <p:nvSpPr>
          <p:cNvPr id="29" name="Google Shape;539;p26">
            <a:extLst>
              <a:ext uri="{FF2B5EF4-FFF2-40B4-BE49-F238E27FC236}">
                <a16:creationId xmlns:a16="http://schemas.microsoft.com/office/drawing/2014/main" id="{1E262FAF-24D5-695E-235E-2FFA9D50B2E0}"/>
              </a:ext>
            </a:extLst>
          </p:cNvPr>
          <p:cNvSpPr/>
          <p:nvPr/>
        </p:nvSpPr>
        <p:spPr>
          <a:xfrm>
            <a:off x="7644070" y="5306949"/>
            <a:ext cx="248409" cy="289125"/>
          </a:xfrm>
          <a:custGeom>
            <a:avLst/>
            <a:gdLst/>
            <a:ahLst/>
            <a:cxnLst/>
            <a:rect l="l" t="t" r="r" b="b"/>
            <a:pathLst>
              <a:path w="6455" h="7513" extrusionOk="0">
                <a:moveTo>
                  <a:pt x="3216" y="1834"/>
                </a:moveTo>
                <a:cubicBezTo>
                  <a:pt x="3597" y="1834"/>
                  <a:pt x="3894" y="2012"/>
                  <a:pt x="4109" y="2369"/>
                </a:cubicBezTo>
                <a:cubicBezTo>
                  <a:pt x="4335" y="2727"/>
                  <a:pt x="4454" y="3191"/>
                  <a:pt x="4454" y="3762"/>
                </a:cubicBezTo>
                <a:cubicBezTo>
                  <a:pt x="4454" y="4346"/>
                  <a:pt x="4335" y="4810"/>
                  <a:pt x="4109" y="5167"/>
                </a:cubicBezTo>
                <a:cubicBezTo>
                  <a:pt x="3871" y="5525"/>
                  <a:pt x="3573" y="5703"/>
                  <a:pt x="3216" y="5703"/>
                </a:cubicBezTo>
                <a:cubicBezTo>
                  <a:pt x="2847" y="5703"/>
                  <a:pt x="2537" y="5525"/>
                  <a:pt x="2311" y="5167"/>
                </a:cubicBezTo>
                <a:cubicBezTo>
                  <a:pt x="2085" y="4810"/>
                  <a:pt x="1966" y="4346"/>
                  <a:pt x="1966" y="3762"/>
                </a:cubicBezTo>
                <a:cubicBezTo>
                  <a:pt x="1966" y="3191"/>
                  <a:pt x="2085" y="2727"/>
                  <a:pt x="2311" y="2369"/>
                </a:cubicBezTo>
                <a:cubicBezTo>
                  <a:pt x="2537" y="2012"/>
                  <a:pt x="2847" y="1834"/>
                  <a:pt x="3216" y="1834"/>
                </a:cubicBezTo>
                <a:close/>
                <a:moveTo>
                  <a:pt x="3216" y="0"/>
                </a:moveTo>
                <a:cubicBezTo>
                  <a:pt x="2763" y="0"/>
                  <a:pt x="2347" y="95"/>
                  <a:pt x="1942" y="286"/>
                </a:cubicBezTo>
                <a:cubicBezTo>
                  <a:pt x="1537" y="476"/>
                  <a:pt x="1192" y="750"/>
                  <a:pt x="918" y="1072"/>
                </a:cubicBezTo>
                <a:cubicBezTo>
                  <a:pt x="632" y="1417"/>
                  <a:pt x="406" y="1798"/>
                  <a:pt x="239" y="2262"/>
                </a:cubicBezTo>
                <a:cubicBezTo>
                  <a:pt x="84" y="2727"/>
                  <a:pt x="1" y="3215"/>
                  <a:pt x="1" y="3762"/>
                </a:cubicBezTo>
                <a:cubicBezTo>
                  <a:pt x="1" y="4322"/>
                  <a:pt x="84" y="4810"/>
                  <a:pt x="239" y="5275"/>
                </a:cubicBezTo>
                <a:cubicBezTo>
                  <a:pt x="406" y="5727"/>
                  <a:pt x="632" y="6132"/>
                  <a:pt x="918" y="6465"/>
                </a:cubicBezTo>
                <a:cubicBezTo>
                  <a:pt x="1192" y="6787"/>
                  <a:pt x="1537" y="7060"/>
                  <a:pt x="1942" y="7239"/>
                </a:cubicBezTo>
                <a:cubicBezTo>
                  <a:pt x="2323" y="7430"/>
                  <a:pt x="2763" y="7513"/>
                  <a:pt x="3216" y="7513"/>
                </a:cubicBezTo>
                <a:cubicBezTo>
                  <a:pt x="3680" y="7513"/>
                  <a:pt x="4109" y="7418"/>
                  <a:pt x="4502" y="7239"/>
                </a:cubicBezTo>
                <a:cubicBezTo>
                  <a:pt x="4883" y="7060"/>
                  <a:pt x="5228" y="6787"/>
                  <a:pt x="5514" y="6465"/>
                </a:cubicBezTo>
                <a:cubicBezTo>
                  <a:pt x="5811" y="6120"/>
                  <a:pt x="6037" y="5727"/>
                  <a:pt x="6192" y="5275"/>
                </a:cubicBezTo>
                <a:cubicBezTo>
                  <a:pt x="6359" y="4810"/>
                  <a:pt x="6454" y="4322"/>
                  <a:pt x="6454" y="3762"/>
                </a:cubicBezTo>
                <a:cubicBezTo>
                  <a:pt x="6454" y="3227"/>
                  <a:pt x="6359" y="2727"/>
                  <a:pt x="6192" y="2262"/>
                </a:cubicBezTo>
                <a:cubicBezTo>
                  <a:pt x="6037" y="1798"/>
                  <a:pt x="5799" y="1405"/>
                  <a:pt x="5514" y="1072"/>
                </a:cubicBezTo>
                <a:cubicBezTo>
                  <a:pt x="5228" y="726"/>
                  <a:pt x="4883" y="476"/>
                  <a:pt x="4502" y="286"/>
                </a:cubicBezTo>
                <a:cubicBezTo>
                  <a:pt x="4109" y="95"/>
                  <a:pt x="3680" y="0"/>
                  <a:pt x="3216" y="0"/>
                </a:cubicBezTo>
                <a:close/>
              </a:path>
            </a:pathLst>
          </a:custGeom>
          <a:solidFill>
            <a:srgbClr val="ED7D3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mn-ea"/>
              <a:cs typeface="Calibri" panose="020F0502020204030204" pitchFamily="34" charset="0"/>
            </a:endParaRPr>
          </a:p>
        </p:txBody>
      </p:sp>
      <p:sp>
        <p:nvSpPr>
          <p:cNvPr id="30" name="Google Shape;540;p26">
            <a:extLst>
              <a:ext uri="{FF2B5EF4-FFF2-40B4-BE49-F238E27FC236}">
                <a16:creationId xmlns:a16="http://schemas.microsoft.com/office/drawing/2014/main" id="{76DCAD10-CA9B-B627-D2B3-55B25EA279BE}"/>
              </a:ext>
            </a:extLst>
          </p:cNvPr>
          <p:cNvSpPr/>
          <p:nvPr/>
        </p:nvSpPr>
        <p:spPr>
          <a:xfrm>
            <a:off x="7922651" y="5319764"/>
            <a:ext cx="248872" cy="332227"/>
          </a:xfrm>
          <a:custGeom>
            <a:avLst/>
            <a:gdLst/>
            <a:ahLst/>
            <a:cxnLst/>
            <a:rect l="l" t="t" r="r" b="b"/>
            <a:pathLst>
              <a:path w="6467" h="8633" extrusionOk="0">
                <a:moveTo>
                  <a:pt x="3632" y="2977"/>
                </a:moveTo>
                <a:lnTo>
                  <a:pt x="3632" y="5156"/>
                </a:lnTo>
                <a:lnTo>
                  <a:pt x="1954" y="5156"/>
                </a:lnTo>
                <a:lnTo>
                  <a:pt x="3632" y="2977"/>
                </a:lnTo>
                <a:close/>
                <a:moveTo>
                  <a:pt x="4037" y="0"/>
                </a:moveTo>
                <a:lnTo>
                  <a:pt x="1" y="5156"/>
                </a:lnTo>
                <a:lnTo>
                  <a:pt x="1" y="6930"/>
                </a:lnTo>
                <a:lnTo>
                  <a:pt x="3394" y="6930"/>
                </a:lnTo>
                <a:lnTo>
                  <a:pt x="3394" y="8632"/>
                </a:lnTo>
                <a:lnTo>
                  <a:pt x="5383" y="8632"/>
                </a:lnTo>
                <a:lnTo>
                  <a:pt x="5383" y="6930"/>
                </a:lnTo>
                <a:lnTo>
                  <a:pt x="6466" y="6930"/>
                </a:lnTo>
                <a:lnTo>
                  <a:pt x="6466" y="5144"/>
                </a:lnTo>
                <a:lnTo>
                  <a:pt x="5383" y="5144"/>
                </a:lnTo>
                <a:lnTo>
                  <a:pt x="5383" y="0"/>
                </a:lnTo>
                <a:close/>
              </a:path>
            </a:pathLst>
          </a:custGeom>
          <a:solidFill>
            <a:srgbClr val="ED7D3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mn-ea"/>
              <a:cs typeface="Calibri" panose="020F0502020204030204" pitchFamily="34" charset="0"/>
            </a:endParaRPr>
          </a:p>
        </p:txBody>
      </p:sp>
      <p:sp>
        <p:nvSpPr>
          <p:cNvPr id="31" name="Google Shape;541;p26">
            <a:extLst>
              <a:ext uri="{FF2B5EF4-FFF2-40B4-BE49-F238E27FC236}">
                <a16:creationId xmlns:a16="http://schemas.microsoft.com/office/drawing/2014/main" id="{60725E50-729D-BE8D-D329-AD2C543140C3}"/>
              </a:ext>
            </a:extLst>
          </p:cNvPr>
          <p:cNvSpPr/>
          <p:nvPr/>
        </p:nvSpPr>
        <p:spPr>
          <a:xfrm>
            <a:off x="253897" y="4068006"/>
            <a:ext cx="169557" cy="198459"/>
          </a:xfrm>
          <a:custGeom>
            <a:avLst/>
            <a:gdLst/>
            <a:ahLst/>
            <a:cxnLst/>
            <a:rect l="l" t="t" r="r" b="b"/>
            <a:pathLst>
              <a:path w="4406" h="5157" extrusionOk="0">
                <a:moveTo>
                  <a:pt x="2191" y="1251"/>
                </a:moveTo>
                <a:cubicBezTo>
                  <a:pt x="2441" y="1251"/>
                  <a:pt x="2632" y="1382"/>
                  <a:pt x="2799" y="1620"/>
                </a:cubicBezTo>
                <a:cubicBezTo>
                  <a:pt x="2965" y="1858"/>
                  <a:pt x="3037" y="2180"/>
                  <a:pt x="3037" y="2573"/>
                </a:cubicBezTo>
                <a:cubicBezTo>
                  <a:pt x="3037" y="2977"/>
                  <a:pt x="2965" y="3287"/>
                  <a:pt x="2799" y="3525"/>
                </a:cubicBezTo>
                <a:cubicBezTo>
                  <a:pt x="2632" y="3763"/>
                  <a:pt x="2441" y="3882"/>
                  <a:pt x="2191" y="3882"/>
                </a:cubicBezTo>
                <a:cubicBezTo>
                  <a:pt x="1918" y="3882"/>
                  <a:pt x="1715" y="3763"/>
                  <a:pt x="1560" y="3525"/>
                </a:cubicBezTo>
                <a:cubicBezTo>
                  <a:pt x="1394" y="3287"/>
                  <a:pt x="1322" y="2977"/>
                  <a:pt x="1322" y="2573"/>
                </a:cubicBezTo>
                <a:cubicBezTo>
                  <a:pt x="1322" y="2192"/>
                  <a:pt x="1417" y="1858"/>
                  <a:pt x="1560" y="1620"/>
                </a:cubicBezTo>
                <a:cubicBezTo>
                  <a:pt x="1727" y="1370"/>
                  <a:pt x="1929" y="1251"/>
                  <a:pt x="2191" y="1251"/>
                </a:cubicBezTo>
                <a:close/>
                <a:moveTo>
                  <a:pt x="2203" y="1"/>
                </a:moveTo>
                <a:cubicBezTo>
                  <a:pt x="1894" y="1"/>
                  <a:pt x="1596" y="60"/>
                  <a:pt x="1322" y="191"/>
                </a:cubicBezTo>
                <a:cubicBezTo>
                  <a:pt x="1060" y="334"/>
                  <a:pt x="822" y="513"/>
                  <a:pt x="632" y="727"/>
                </a:cubicBezTo>
                <a:cubicBezTo>
                  <a:pt x="429" y="965"/>
                  <a:pt x="274" y="1239"/>
                  <a:pt x="167" y="1549"/>
                </a:cubicBezTo>
                <a:cubicBezTo>
                  <a:pt x="60" y="1858"/>
                  <a:pt x="1" y="2204"/>
                  <a:pt x="1" y="2573"/>
                </a:cubicBezTo>
                <a:cubicBezTo>
                  <a:pt x="1" y="2954"/>
                  <a:pt x="60" y="3287"/>
                  <a:pt x="167" y="3608"/>
                </a:cubicBezTo>
                <a:cubicBezTo>
                  <a:pt x="274" y="3918"/>
                  <a:pt x="429" y="4204"/>
                  <a:pt x="632" y="4418"/>
                </a:cubicBezTo>
                <a:cubicBezTo>
                  <a:pt x="822" y="4656"/>
                  <a:pt x="1060" y="4823"/>
                  <a:pt x="1322" y="4954"/>
                </a:cubicBezTo>
                <a:cubicBezTo>
                  <a:pt x="1596" y="5097"/>
                  <a:pt x="1894" y="5156"/>
                  <a:pt x="2203" y="5156"/>
                </a:cubicBezTo>
                <a:cubicBezTo>
                  <a:pt x="2513" y="5156"/>
                  <a:pt x="2810" y="5097"/>
                  <a:pt x="3084" y="4954"/>
                </a:cubicBezTo>
                <a:cubicBezTo>
                  <a:pt x="3346" y="4823"/>
                  <a:pt x="3584" y="4644"/>
                  <a:pt x="3787" y="4418"/>
                </a:cubicBezTo>
                <a:cubicBezTo>
                  <a:pt x="3977" y="4180"/>
                  <a:pt x="4120" y="3918"/>
                  <a:pt x="4239" y="3608"/>
                </a:cubicBezTo>
                <a:cubicBezTo>
                  <a:pt x="4346" y="3287"/>
                  <a:pt x="4406" y="2954"/>
                  <a:pt x="4406" y="2573"/>
                </a:cubicBezTo>
                <a:cubicBezTo>
                  <a:pt x="4406" y="2204"/>
                  <a:pt x="4346" y="1858"/>
                  <a:pt x="4239" y="1549"/>
                </a:cubicBezTo>
                <a:cubicBezTo>
                  <a:pt x="4144" y="1239"/>
                  <a:pt x="3977" y="953"/>
                  <a:pt x="3787" y="727"/>
                </a:cubicBezTo>
                <a:cubicBezTo>
                  <a:pt x="3584" y="513"/>
                  <a:pt x="3346" y="334"/>
                  <a:pt x="3084" y="191"/>
                </a:cubicBezTo>
                <a:cubicBezTo>
                  <a:pt x="2810" y="60"/>
                  <a:pt x="2513" y="1"/>
                  <a:pt x="2203" y="1"/>
                </a:cubicBezTo>
                <a:close/>
              </a:path>
            </a:pathLst>
          </a:custGeom>
          <a:solidFill>
            <a:srgbClr val="4472C4"/>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mn-ea"/>
              <a:cs typeface="Calibri" panose="020F0502020204030204" pitchFamily="34" charset="0"/>
            </a:endParaRPr>
          </a:p>
        </p:txBody>
      </p:sp>
      <p:sp>
        <p:nvSpPr>
          <p:cNvPr id="32" name="Google Shape;542;p26">
            <a:extLst>
              <a:ext uri="{FF2B5EF4-FFF2-40B4-BE49-F238E27FC236}">
                <a16:creationId xmlns:a16="http://schemas.microsoft.com/office/drawing/2014/main" id="{A0943587-41E7-8174-3D6E-610ADF7C0592}"/>
              </a:ext>
            </a:extLst>
          </p:cNvPr>
          <p:cNvSpPr/>
          <p:nvPr/>
        </p:nvSpPr>
        <p:spPr>
          <a:xfrm>
            <a:off x="446813" y="4077203"/>
            <a:ext cx="163592" cy="234171"/>
          </a:xfrm>
          <a:custGeom>
            <a:avLst/>
            <a:gdLst/>
            <a:ahLst/>
            <a:cxnLst/>
            <a:rect l="l" t="t" r="r" b="b"/>
            <a:pathLst>
              <a:path w="4251" h="6085" extrusionOk="0">
                <a:moveTo>
                  <a:pt x="857" y="0"/>
                </a:moveTo>
                <a:cubicBezTo>
                  <a:pt x="738" y="667"/>
                  <a:pt x="619" y="1262"/>
                  <a:pt x="512" y="1798"/>
                </a:cubicBezTo>
                <a:cubicBezTo>
                  <a:pt x="464" y="2036"/>
                  <a:pt x="417" y="2250"/>
                  <a:pt x="381" y="2477"/>
                </a:cubicBezTo>
                <a:cubicBezTo>
                  <a:pt x="345" y="2679"/>
                  <a:pt x="298" y="2869"/>
                  <a:pt x="274" y="3048"/>
                </a:cubicBezTo>
                <a:cubicBezTo>
                  <a:pt x="238" y="3227"/>
                  <a:pt x="226" y="3381"/>
                  <a:pt x="203" y="3489"/>
                </a:cubicBezTo>
                <a:cubicBezTo>
                  <a:pt x="179" y="3608"/>
                  <a:pt x="167" y="3667"/>
                  <a:pt x="167" y="3667"/>
                </a:cubicBezTo>
                <a:lnTo>
                  <a:pt x="1346" y="3667"/>
                </a:lnTo>
                <a:cubicBezTo>
                  <a:pt x="1417" y="3548"/>
                  <a:pt x="1524" y="3453"/>
                  <a:pt x="1655" y="3381"/>
                </a:cubicBezTo>
                <a:cubicBezTo>
                  <a:pt x="1774" y="3310"/>
                  <a:pt x="1929" y="3274"/>
                  <a:pt x="2072" y="3274"/>
                </a:cubicBezTo>
                <a:cubicBezTo>
                  <a:pt x="2310" y="3274"/>
                  <a:pt x="2500" y="3346"/>
                  <a:pt x="2655" y="3500"/>
                </a:cubicBezTo>
                <a:cubicBezTo>
                  <a:pt x="2798" y="3643"/>
                  <a:pt x="2870" y="3846"/>
                  <a:pt x="2870" y="4084"/>
                </a:cubicBezTo>
                <a:cubicBezTo>
                  <a:pt x="2870" y="4334"/>
                  <a:pt x="2798" y="4536"/>
                  <a:pt x="2631" y="4691"/>
                </a:cubicBezTo>
                <a:cubicBezTo>
                  <a:pt x="2477" y="4834"/>
                  <a:pt x="2262" y="4917"/>
                  <a:pt x="2000" y="4917"/>
                </a:cubicBezTo>
                <a:cubicBezTo>
                  <a:pt x="1762" y="4917"/>
                  <a:pt x="1548" y="4858"/>
                  <a:pt x="1334" y="4739"/>
                </a:cubicBezTo>
                <a:cubicBezTo>
                  <a:pt x="1119" y="4620"/>
                  <a:pt x="929" y="4453"/>
                  <a:pt x="762" y="4262"/>
                </a:cubicBezTo>
                <a:lnTo>
                  <a:pt x="0" y="5096"/>
                </a:lnTo>
                <a:cubicBezTo>
                  <a:pt x="179" y="5405"/>
                  <a:pt x="453" y="5644"/>
                  <a:pt x="786" y="5822"/>
                </a:cubicBezTo>
                <a:cubicBezTo>
                  <a:pt x="1143" y="6001"/>
                  <a:pt x="1536" y="6084"/>
                  <a:pt x="1977" y="6084"/>
                </a:cubicBezTo>
                <a:cubicBezTo>
                  <a:pt x="2310" y="6084"/>
                  <a:pt x="2608" y="6048"/>
                  <a:pt x="2893" y="5941"/>
                </a:cubicBezTo>
                <a:cubicBezTo>
                  <a:pt x="3167" y="5834"/>
                  <a:pt x="3417" y="5703"/>
                  <a:pt x="3608" y="5525"/>
                </a:cubicBezTo>
                <a:cubicBezTo>
                  <a:pt x="3810" y="5346"/>
                  <a:pt x="3965" y="5132"/>
                  <a:pt x="4084" y="4882"/>
                </a:cubicBezTo>
                <a:cubicBezTo>
                  <a:pt x="4191" y="4632"/>
                  <a:pt x="4251" y="4346"/>
                  <a:pt x="4251" y="4048"/>
                </a:cubicBezTo>
                <a:cubicBezTo>
                  <a:pt x="4251" y="3762"/>
                  <a:pt x="4203" y="3500"/>
                  <a:pt x="4096" y="3262"/>
                </a:cubicBezTo>
                <a:cubicBezTo>
                  <a:pt x="3989" y="3024"/>
                  <a:pt x="3858" y="2810"/>
                  <a:pt x="3679" y="2655"/>
                </a:cubicBezTo>
                <a:cubicBezTo>
                  <a:pt x="3501" y="2477"/>
                  <a:pt x="3298" y="2334"/>
                  <a:pt x="3060" y="2250"/>
                </a:cubicBezTo>
                <a:cubicBezTo>
                  <a:pt x="2822" y="2143"/>
                  <a:pt x="2548" y="2096"/>
                  <a:pt x="2262" y="2096"/>
                </a:cubicBezTo>
                <a:cubicBezTo>
                  <a:pt x="2108" y="2096"/>
                  <a:pt x="1965" y="2119"/>
                  <a:pt x="1846" y="2155"/>
                </a:cubicBezTo>
                <a:cubicBezTo>
                  <a:pt x="1762" y="2191"/>
                  <a:pt x="1691" y="2215"/>
                  <a:pt x="1655" y="2262"/>
                </a:cubicBezTo>
                <a:lnTo>
                  <a:pt x="1822" y="1238"/>
                </a:lnTo>
                <a:lnTo>
                  <a:pt x="3834" y="1238"/>
                </a:lnTo>
                <a:lnTo>
                  <a:pt x="3834" y="0"/>
                </a:lnTo>
                <a:close/>
              </a:path>
            </a:pathLst>
          </a:custGeom>
          <a:solidFill>
            <a:srgbClr val="4472C4"/>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mn-ea"/>
              <a:cs typeface="Calibri" panose="020F0502020204030204" pitchFamily="34" charset="0"/>
            </a:endParaRPr>
          </a:p>
        </p:txBody>
      </p:sp>
      <p:grpSp>
        <p:nvGrpSpPr>
          <p:cNvPr id="33" name="Group 3">
            <a:extLst>
              <a:ext uri="{FF2B5EF4-FFF2-40B4-BE49-F238E27FC236}">
                <a16:creationId xmlns:a16="http://schemas.microsoft.com/office/drawing/2014/main" id="{88AE9BF1-C197-94C6-4EDF-0ACFB7A874B7}"/>
              </a:ext>
            </a:extLst>
          </p:cNvPr>
          <p:cNvGrpSpPr/>
          <p:nvPr/>
        </p:nvGrpSpPr>
        <p:grpSpPr>
          <a:xfrm>
            <a:off x="3876154" y="2004004"/>
            <a:ext cx="3495097" cy="3297023"/>
            <a:chOff x="3424227" y="1753408"/>
            <a:chExt cx="4265803" cy="4394107"/>
          </a:xfrm>
        </p:grpSpPr>
        <p:sp>
          <p:nvSpPr>
            <p:cNvPr id="34" name="Google Shape;523;p26">
              <a:extLst>
                <a:ext uri="{FF2B5EF4-FFF2-40B4-BE49-F238E27FC236}">
                  <a16:creationId xmlns:a16="http://schemas.microsoft.com/office/drawing/2014/main" id="{1E6FC600-2A9C-8621-BAD1-CD75CEA2D5BD}"/>
                </a:ext>
              </a:extLst>
            </p:cNvPr>
            <p:cNvSpPr/>
            <p:nvPr/>
          </p:nvSpPr>
          <p:spPr>
            <a:xfrm>
              <a:off x="4896061" y="3392547"/>
              <a:ext cx="1266459" cy="1098135"/>
            </a:xfrm>
            <a:custGeom>
              <a:avLst/>
              <a:gdLst/>
              <a:ahLst/>
              <a:cxnLst/>
              <a:rect l="l" t="t" r="r" b="b"/>
              <a:pathLst>
                <a:path w="20420" h="17706" extrusionOk="0">
                  <a:moveTo>
                    <a:pt x="5108" y="17705"/>
                  </a:moveTo>
                  <a:lnTo>
                    <a:pt x="15312" y="17705"/>
                  </a:lnTo>
                  <a:lnTo>
                    <a:pt x="20420" y="8847"/>
                  </a:lnTo>
                  <a:lnTo>
                    <a:pt x="15312" y="1"/>
                  </a:lnTo>
                  <a:lnTo>
                    <a:pt x="5108" y="1"/>
                  </a:lnTo>
                  <a:lnTo>
                    <a:pt x="1" y="8847"/>
                  </a:lnTo>
                  <a:close/>
                </a:path>
              </a:pathLst>
            </a:custGeom>
            <a:solidFill>
              <a:srgbClr val="FFC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mn-ea"/>
                <a:cs typeface="Calibri" panose="020F0502020204030204" pitchFamily="34" charset="0"/>
              </a:endParaRPr>
            </a:p>
          </p:txBody>
        </p:sp>
        <p:sp>
          <p:nvSpPr>
            <p:cNvPr id="35" name="Google Shape;519;p26">
              <a:extLst>
                <a:ext uri="{FF2B5EF4-FFF2-40B4-BE49-F238E27FC236}">
                  <a16:creationId xmlns:a16="http://schemas.microsoft.com/office/drawing/2014/main" id="{11C8C0A2-C35B-BF61-B1C1-901CC2FE1FE0}"/>
                </a:ext>
              </a:extLst>
            </p:cNvPr>
            <p:cNvSpPr/>
            <p:nvPr/>
          </p:nvSpPr>
          <p:spPr>
            <a:xfrm>
              <a:off x="3804514" y="4425785"/>
              <a:ext cx="718945" cy="622276"/>
            </a:xfrm>
            <a:custGeom>
              <a:avLst/>
              <a:gdLst/>
              <a:ahLst/>
              <a:cxnLst/>
              <a:rect l="l" t="t" r="r" b="b"/>
              <a:pathLst>
                <a:path w="18682" h="16170" extrusionOk="0">
                  <a:moveTo>
                    <a:pt x="4680" y="16170"/>
                  </a:moveTo>
                  <a:lnTo>
                    <a:pt x="14014" y="16170"/>
                  </a:lnTo>
                  <a:lnTo>
                    <a:pt x="18682" y="8085"/>
                  </a:lnTo>
                  <a:lnTo>
                    <a:pt x="14014" y="1"/>
                  </a:lnTo>
                  <a:lnTo>
                    <a:pt x="4680" y="1"/>
                  </a:lnTo>
                  <a:lnTo>
                    <a:pt x="1" y="8085"/>
                  </a:lnTo>
                  <a:close/>
                </a:path>
              </a:pathLst>
            </a:custGeom>
            <a:solidFill>
              <a:srgbClr val="4472C4"/>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mn-ea"/>
                <a:cs typeface="Calibri" panose="020F0502020204030204" pitchFamily="34" charset="0"/>
              </a:endParaRPr>
            </a:p>
          </p:txBody>
        </p:sp>
        <p:sp>
          <p:nvSpPr>
            <p:cNvPr id="36" name="Google Shape;520;p26">
              <a:extLst>
                <a:ext uri="{FF2B5EF4-FFF2-40B4-BE49-F238E27FC236}">
                  <a16:creationId xmlns:a16="http://schemas.microsoft.com/office/drawing/2014/main" id="{0D073A60-4468-4FE0-CB77-A200265D289C}"/>
                </a:ext>
              </a:extLst>
            </p:cNvPr>
            <p:cNvSpPr/>
            <p:nvPr/>
          </p:nvSpPr>
          <p:spPr>
            <a:xfrm>
              <a:off x="5080583" y="5208173"/>
              <a:ext cx="893544" cy="773939"/>
            </a:xfrm>
            <a:custGeom>
              <a:avLst/>
              <a:gdLst/>
              <a:ahLst/>
              <a:cxnLst/>
              <a:rect l="l" t="t" r="r" b="b"/>
              <a:pathLst>
                <a:path w="23219" h="20111" extrusionOk="0">
                  <a:moveTo>
                    <a:pt x="5811" y="20110"/>
                  </a:moveTo>
                  <a:lnTo>
                    <a:pt x="1" y="10050"/>
                  </a:lnTo>
                  <a:lnTo>
                    <a:pt x="5811" y="1"/>
                  </a:lnTo>
                  <a:lnTo>
                    <a:pt x="17420" y="1"/>
                  </a:lnTo>
                  <a:lnTo>
                    <a:pt x="23218" y="10050"/>
                  </a:lnTo>
                  <a:lnTo>
                    <a:pt x="17420" y="20110"/>
                  </a:lnTo>
                  <a:close/>
                </a:path>
              </a:pathLst>
            </a:custGeom>
            <a:solidFill>
              <a:srgbClr val="E2F0F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mn-ea"/>
                <a:cs typeface="Calibri" panose="020F0502020204030204" pitchFamily="34" charset="0"/>
              </a:endParaRPr>
            </a:p>
          </p:txBody>
        </p:sp>
        <p:sp>
          <p:nvSpPr>
            <p:cNvPr id="37" name="Google Shape;521;p26">
              <a:extLst>
                <a:ext uri="{FF2B5EF4-FFF2-40B4-BE49-F238E27FC236}">
                  <a16:creationId xmlns:a16="http://schemas.microsoft.com/office/drawing/2014/main" id="{44C07142-5C34-9E08-E5A9-61F1330C0A8F}"/>
                </a:ext>
              </a:extLst>
            </p:cNvPr>
            <p:cNvSpPr/>
            <p:nvPr/>
          </p:nvSpPr>
          <p:spPr>
            <a:xfrm>
              <a:off x="4204087" y="2025601"/>
              <a:ext cx="901280" cy="780788"/>
            </a:xfrm>
            <a:custGeom>
              <a:avLst/>
              <a:gdLst/>
              <a:ahLst/>
              <a:cxnLst/>
              <a:rect l="l" t="t" r="r" b="b"/>
              <a:pathLst>
                <a:path w="23420" h="20289" extrusionOk="0">
                  <a:moveTo>
                    <a:pt x="17562" y="0"/>
                  </a:moveTo>
                  <a:lnTo>
                    <a:pt x="23420" y="10144"/>
                  </a:lnTo>
                  <a:lnTo>
                    <a:pt x="17562" y="20288"/>
                  </a:lnTo>
                  <a:lnTo>
                    <a:pt x="5846" y="20288"/>
                  </a:lnTo>
                  <a:lnTo>
                    <a:pt x="0" y="10144"/>
                  </a:lnTo>
                  <a:lnTo>
                    <a:pt x="5846" y="0"/>
                  </a:lnTo>
                  <a:close/>
                </a:path>
              </a:pathLst>
            </a:custGeom>
            <a:solidFill>
              <a:srgbClr val="E2F0F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mn-ea"/>
                <a:cs typeface="Calibri" panose="020F0502020204030204" pitchFamily="34" charset="0"/>
              </a:endParaRPr>
            </a:p>
          </p:txBody>
        </p:sp>
        <p:sp>
          <p:nvSpPr>
            <p:cNvPr id="38" name="Google Shape;523;p26">
              <a:extLst>
                <a:ext uri="{FF2B5EF4-FFF2-40B4-BE49-F238E27FC236}">
                  <a16:creationId xmlns:a16="http://schemas.microsoft.com/office/drawing/2014/main" id="{C3C66412-4D18-266C-E1A6-0C398BD717A2}"/>
                </a:ext>
              </a:extLst>
            </p:cNvPr>
            <p:cNvSpPr/>
            <p:nvPr/>
          </p:nvSpPr>
          <p:spPr>
            <a:xfrm>
              <a:off x="5922752" y="2250999"/>
              <a:ext cx="785829" cy="681385"/>
            </a:xfrm>
            <a:custGeom>
              <a:avLst/>
              <a:gdLst/>
              <a:ahLst/>
              <a:cxnLst/>
              <a:rect l="l" t="t" r="r" b="b"/>
              <a:pathLst>
                <a:path w="20420" h="17706" extrusionOk="0">
                  <a:moveTo>
                    <a:pt x="5108" y="17705"/>
                  </a:moveTo>
                  <a:lnTo>
                    <a:pt x="15312" y="17705"/>
                  </a:lnTo>
                  <a:lnTo>
                    <a:pt x="20420" y="8847"/>
                  </a:lnTo>
                  <a:lnTo>
                    <a:pt x="15312" y="1"/>
                  </a:lnTo>
                  <a:lnTo>
                    <a:pt x="5108" y="1"/>
                  </a:lnTo>
                  <a:lnTo>
                    <a:pt x="1" y="8847"/>
                  </a:lnTo>
                  <a:close/>
                </a:path>
              </a:pathLst>
            </a:custGeom>
            <a:solidFill>
              <a:srgbClr val="FFC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mn-ea"/>
                <a:cs typeface="Calibri" panose="020F0502020204030204" pitchFamily="34" charset="0"/>
              </a:endParaRPr>
            </a:p>
          </p:txBody>
        </p:sp>
        <p:grpSp>
          <p:nvGrpSpPr>
            <p:cNvPr id="39" name="Google Shape;529;p26">
              <a:extLst>
                <a:ext uri="{FF2B5EF4-FFF2-40B4-BE49-F238E27FC236}">
                  <a16:creationId xmlns:a16="http://schemas.microsoft.com/office/drawing/2014/main" id="{BDE9A50D-95E4-C4A3-FBB4-070DF7E53900}"/>
                </a:ext>
              </a:extLst>
            </p:cNvPr>
            <p:cNvGrpSpPr/>
            <p:nvPr/>
          </p:nvGrpSpPr>
          <p:grpSpPr>
            <a:xfrm>
              <a:off x="3424227" y="1753408"/>
              <a:ext cx="4265803" cy="4394107"/>
              <a:chOff x="2972967" y="1353526"/>
              <a:chExt cx="3199351" cy="3295579"/>
            </a:xfrm>
          </p:grpSpPr>
          <p:sp>
            <p:nvSpPr>
              <p:cNvPr id="62" name="Google Shape;530;p26">
                <a:extLst>
                  <a:ext uri="{FF2B5EF4-FFF2-40B4-BE49-F238E27FC236}">
                    <a16:creationId xmlns:a16="http://schemas.microsoft.com/office/drawing/2014/main" id="{03C2BDDB-4C42-9F4A-0CD5-F5854B1A8775}"/>
                  </a:ext>
                </a:extLst>
              </p:cNvPr>
              <p:cNvSpPr/>
              <p:nvPr/>
            </p:nvSpPr>
            <p:spPr>
              <a:xfrm>
                <a:off x="2972967" y="2162138"/>
                <a:ext cx="434756" cy="953963"/>
              </a:xfrm>
              <a:custGeom>
                <a:avLst/>
                <a:gdLst/>
                <a:ahLst/>
                <a:cxnLst/>
                <a:rect l="l" t="t" r="r" b="b"/>
                <a:pathLst>
                  <a:path w="15063" h="33052" extrusionOk="0">
                    <a:moveTo>
                      <a:pt x="5621" y="7811"/>
                    </a:moveTo>
                    <a:cubicBezTo>
                      <a:pt x="5871" y="8132"/>
                      <a:pt x="6347" y="8215"/>
                      <a:pt x="6668" y="7953"/>
                    </a:cubicBezTo>
                    <a:lnTo>
                      <a:pt x="6716" y="7930"/>
                    </a:lnTo>
                    <a:cubicBezTo>
                      <a:pt x="7049" y="7680"/>
                      <a:pt x="7121" y="7203"/>
                      <a:pt x="6871" y="6870"/>
                    </a:cubicBezTo>
                    <a:cubicBezTo>
                      <a:pt x="6609" y="6549"/>
                      <a:pt x="6133" y="6465"/>
                      <a:pt x="5811" y="6727"/>
                    </a:cubicBezTo>
                    <a:lnTo>
                      <a:pt x="5763" y="6751"/>
                    </a:lnTo>
                    <a:cubicBezTo>
                      <a:pt x="5418" y="7001"/>
                      <a:pt x="5359" y="7477"/>
                      <a:pt x="5621" y="7811"/>
                    </a:cubicBezTo>
                    <a:close/>
                    <a:moveTo>
                      <a:pt x="14407" y="5394"/>
                    </a:moveTo>
                    <a:lnTo>
                      <a:pt x="15062" y="655"/>
                    </a:lnTo>
                    <a:lnTo>
                      <a:pt x="10324" y="0"/>
                    </a:lnTo>
                    <a:close/>
                    <a:moveTo>
                      <a:pt x="8514" y="5620"/>
                    </a:moveTo>
                    <a:cubicBezTo>
                      <a:pt x="8776" y="5953"/>
                      <a:pt x="9228" y="6025"/>
                      <a:pt x="9573" y="5775"/>
                    </a:cubicBezTo>
                    <a:lnTo>
                      <a:pt x="9585" y="5751"/>
                    </a:lnTo>
                    <a:cubicBezTo>
                      <a:pt x="9919" y="5501"/>
                      <a:pt x="9990" y="5025"/>
                      <a:pt x="9740" y="4691"/>
                    </a:cubicBezTo>
                    <a:cubicBezTo>
                      <a:pt x="9490" y="4370"/>
                      <a:pt x="9014" y="4298"/>
                      <a:pt x="8680" y="4548"/>
                    </a:cubicBezTo>
                    <a:cubicBezTo>
                      <a:pt x="8335" y="4798"/>
                      <a:pt x="8264" y="5275"/>
                      <a:pt x="8514" y="5620"/>
                    </a:cubicBezTo>
                    <a:close/>
                    <a:moveTo>
                      <a:pt x="2977" y="10251"/>
                    </a:moveTo>
                    <a:cubicBezTo>
                      <a:pt x="3013" y="10299"/>
                      <a:pt x="3061" y="10335"/>
                      <a:pt x="3096" y="10370"/>
                    </a:cubicBezTo>
                    <a:cubicBezTo>
                      <a:pt x="3430" y="10632"/>
                      <a:pt x="3882" y="10609"/>
                      <a:pt x="4156" y="10275"/>
                    </a:cubicBezTo>
                    <a:lnTo>
                      <a:pt x="4192" y="10239"/>
                    </a:lnTo>
                    <a:cubicBezTo>
                      <a:pt x="4454" y="9906"/>
                      <a:pt x="4394" y="9430"/>
                      <a:pt x="4085" y="9180"/>
                    </a:cubicBezTo>
                    <a:cubicBezTo>
                      <a:pt x="3751" y="8906"/>
                      <a:pt x="3275" y="8954"/>
                      <a:pt x="3013" y="9275"/>
                    </a:cubicBezTo>
                    <a:cubicBezTo>
                      <a:pt x="2775" y="9561"/>
                      <a:pt x="2775" y="9966"/>
                      <a:pt x="2977" y="10251"/>
                    </a:cubicBezTo>
                    <a:close/>
                    <a:moveTo>
                      <a:pt x="1108" y="13347"/>
                    </a:moveTo>
                    <a:cubicBezTo>
                      <a:pt x="1180" y="13454"/>
                      <a:pt x="1287" y="13526"/>
                      <a:pt x="1406" y="13585"/>
                    </a:cubicBezTo>
                    <a:cubicBezTo>
                      <a:pt x="1787" y="13752"/>
                      <a:pt x="2227" y="13585"/>
                      <a:pt x="2406" y="13192"/>
                    </a:cubicBezTo>
                    <a:lnTo>
                      <a:pt x="2430" y="13121"/>
                    </a:lnTo>
                    <a:cubicBezTo>
                      <a:pt x="2584" y="12740"/>
                      <a:pt x="2382" y="12287"/>
                      <a:pt x="2001" y="12144"/>
                    </a:cubicBezTo>
                    <a:cubicBezTo>
                      <a:pt x="1608" y="11990"/>
                      <a:pt x="1168" y="12180"/>
                      <a:pt x="1013" y="12573"/>
                    </a:cubicBezTo>
                    <a:cubicBezTo>
                      <a:pt x="894" y="12823"/>
                      <a:pt x="941" y="13121"/>
                      <a:pt x="1108" y="13347"/>
                    </a:cubicBezTo>
                    <a:close/>
                    <a:moveTo>
                      <a:pt x="179" y="16812"/>
                    </a:moveTo>
                    <a:cubicBezTo>
                      <a:pt x="298" y="16978"/>
                      <a:pt x="477" y="17086"/>
                      <a:pt x="691" y="17109"/>
                    </a:cubicBezTo>
                    <a:cubicBezTo>
                      <a:pt x="1108" y="17157"/>
                      <a:pt x="1477" y="16883"/>
                      <a:pt x="1525" y="16466"/>
                    </a:cubicBezTo>
                    <a:lnTo>
                      <a:pt x="1525" y="16407"/>
                    </a:lnTo>
                    <a:cubicBezTo>
                      <a:pt x="1572" y="15990"/>
                      <a:pt x="1251" y="15621"/>
                      <a:pt x="834" y="15597"/>
                    </a:cubicBezTo>
                    <a:cubicBezTo>
                      <a:pt x="418" y="15550"/>
                      <a:pt x="48" y="15859"/>
                      <a:pt x="25" y="16276"/>
                    </a:cubicBezTo>
                    <a:cubicBezTo>
                      <a:pt x="1" y="16455"/>
                      <a:pt x="72" y="16669"/>
                      <a:pt x="179" y="16812"/>
                    </a:cubicBezTo>
                    <a:close/>
                    <a:moveTo>
                      <a:pt x="287" y="20431"/>
                    </a:moveTo>
                    <a:cubicBezTo>
                      <a:pt x="453" y="20657"/>
                      <a:pt x="739" y="20776"/>
                      <a:pt x="1013" y="20717"/>
                    </a:cubicBezTo>
                    <a:cubicBezTo>
                      <a:pt x="1430" y="20634"/>
                      <a:pt x="1703" y="20253"/>
                      <a:pt x="1632" y="19836"/>
                    </a:cubicBezTo>
                    <a:lnTo>
                      <a:pt x="1632" y="19788"/>
                    </a:lnTo>
                    <a:cubicBezTo>
                      <a:pt x="1572" y="19372"/>
                      <a:pt x="1180" y="19086"/>
                      <a:pt x="763" y="19169"/>
                    </a:cubicBezTo>
                    <a:cubicBezTo>
                      <a:pt x="346" y="19229"/>
                      <a:pt x="60" y="19610"/>
                      <a:pt x="144" y="20026"/>
                    </a:cubicBezTo>
                    <a:lnTo>
                      <a:pt x="156" y="20086"/>
                    </a:lnTo>
                    <a:cubicBezTo>
                      <a:pt x="168" y="20241"/>
                      <a:pt x="215" y="20336"/>
                      <a:pt x="287" y="20431"/>
                    </a:cubicBezTo>
                    <a:close/>
                    <a:moveTo>
                      <a:pt x="1406" y="23872"/>
                    </a:moveTo>
                    <a:cubicBezTo>
                      <a:pt x="1632" y="24146"/>
                      <a:pt x="2013" y="24253"/>
                      <a:pt x="2358" y="24086"/>
                    </a:cubicBezTo>
                    <a:cubicBezTo>
                      <a:pt x="2727" y="23896"/>
                      <a:pt x="2882" y="23455"/>
                      <a:pt x="2680" y="23074"/>
                    </a:cubicBezTo>
                    <a:lnTo>
                      <a:pt x="2668" y="23051"/>
                    </a:lnTo>
                    <a:cubicBezTo>
                      <a:pt x="2489" y="22681"/>
                      <a:pt x="2049" y="22515"/>
                      <a:pt x="1656" y="22693"/>
                    </a:cubicBezTo>
                    <a:cubicBezTo>
                      <a:pt x="1287" y="22872"/>
                      <a:pt x="1120" y="23313"/>
                      <a:pt x="1299" y="23705"/>
                    </a:cubicBezTo>
                    <a:lnTo>
                      <a:pt x="1334" y="23765"/>
                    </a:lnTo>
                    <a:cubicBezTo>
                      <a:pt x="1358" y="23789"/>
                      <a:pt x="1370" y="23824"/>
                      <a:pt x="1406" y="23872"/>
                    </a:cubicBezTo>
                    <a:close/>
                    <a:moveTo>
                      <a:pt x="7740" y="32599"/>
                    </a:moveTo>
                    <a:lnTo>
                      <a:pt x="7776" y="32647"/>
                    </a:lnTo>
                    <a:cubicBezTo>
                      <a:pt x="8026" y="32980"/>
                      <a:pt x="8502" y="33052"/>
                      <a:pt x="8835" y="32790"/>
                    </a:cubicBezTo>
                    <a:cubicBezTo>
                      <a:pt x="9157" y="32540"/>
                      <a:pt x="9228" y="32064"/>
                      <a:pt x="8978" y="31742"/>
                    </a:cubicBezTo>
                    <a:lnTo>
                      <a:pt x="8954" y="31694"/>
                    </a:lnTo>
                    <a:cubicBezTo>
                      <a:pt x="8692" y="31361"/>
                      <a:pt x="8216" y="31290"/>
                      <a:pt x="7895" y="31552"/>
                    </a:cubicBezTo>
                    <a:cubicBezTo>
                      <a:pt x="7549" y="31790"/>
                      <a:pt x="7490" y="32266"/>
                      <a:pt x="7740" y="32599"/>
                    </a:cubicBezTo>
                    <a:close/>
                    <a:moveTo>
                      <a:pt x="5561" y="29718"/>
                    </a:moveTo>
                    <a:lnTo>
                      <a:pt x="5585" y="29766"/>
                    </a:lnTo>
                    <a:cubicBezTo>
                      <a:pt x="5835" y="30087"/>
                      <a:pt x="6311" y="30159"/>
                      <a:pt x="6645" y="29909"/>
                    </a:cubicBezTo>
                    <a:cubicBezTo>
                      <a:pt x="6966" y="29659"/>
                      <a:pt x="7049" y="29182"/>
                      <a:pt x="6787" y="28849"/>
                    </a:cubicBezTo>
                    <a:lnTo>
                      <a:pt x="6764" y="28813"/>
                    </a:lnTo>
                    <a:cubicBezTo>
                      <a:pt x="6514" y="28480"/>
                      <a:pt x="6037" y="28408"/>
                      <a:pt x="5704" y="28658"/>
                    </a:cubicBezTo>
                    <a:cubicBezTo>
                      <a:pt x="5359" y="28897"/>
                      <a:pt x="5299" y="29373"/>
                      <a:pt x="5561" y="29718"/>
                    </a:cubicBezTo>
                    <a:close/>
                    <a:moveTo>
                      <a:pt x="3370" y="26825"/>
                    </a:moveTo>
                    <a:lnTo>
                      <a:pt x="3394" y="26872"/>
                    </a:lnTo>
                    <a:cubicBezTo>
                      <a:pt x="3656" y="27206"/>
                      <a:pt x="4132" y="27277"/>
                      <a:pt x="4454" y="27027"/>
                    </a:cubicBezTo>
                    <a:cubicBezTo>
                      <a:pt x="4787" y="26765"/>
                      <a:pt x="4859" y="26289"/>
                      <a:pt x="4609" y="25968"/>
                    </a:cubicBezTo>
                    <a:lnTo>
                      <a:pt x="4573" y="25920"/>
                    </a:lnTo>
                    <a:cubicBezTo>
                      <a:pt x="4323" y="25598"/>
                      <a:pt x="3847" y="25515"/>
                      <a:pt x="3513" y="25777"/>
                    </a:cubicBezTo>
                    <a:cubicBezTo>
                      <a:pt x="3192" y="26027"/>
                      <a:pt x="3120" y="26491"/>
                      <a:pt x="3370" y="26825"/>
                    </a:cubicBezTo>
                    <a:close/>
                  </a:path>
                </a:pathLst>
              </a:custGeom>
              <a:solidFill>
                <a:srgbClr val="5B9BD5"/>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mn-ea"/>
                  <a:cs typeface="Calibri" panose="020F0502020204030204" pitchFamily="34" charset="0"/>
                </a:endParaRPr>
              </a:p>
            </p:txBody>
          </p:sp>
          <p:sp>
            <p:nvSpPr>
              <p:cNvPr id="94" name="Google Shape;531;p26">
                <a:extLst>
                  <a:ext uri="{FF2B5EF4-FFF2-40B4-BE49-F238E27FC236}">
                    <a16:creationId xmlns:a16="http://schemas.microsoft.com/office/drawing/2014/main" id="{5423B727-50CF-5A11-6C26-0E3E1F3CEFD6}"/>
                  </a:ext>
                </a:extLst>
              </p:cNvPr>
              <p:cNvSpPr/>
              <p:nvPr/>
            </p:nvSpPr>
            <p:spPr>
              <a:xfrm>
                <a:off x="5166806" y="3497866"/>
                <a:ext cx="671169" cy="806909"/>
              </a:xfrm>
              <a:custGeom>
                <a:avLst/>
                <a:gdLst/>
                <a:ahLst/>
                <a:cxnLst/>
                <a:rect l="l" t="t" r="r" b="b"/>
                <a:pathLst>
                  <a:path w="23254" h="27957" extrusionOk="0">
                    <a:moveTo>
                      <a:pt x="11740" y="23432"/>
                    </a:moveTo>
                    <a:cubicBezTo>
                      <a:pt x="11680" y="23015"/>
                      <a:pt x="11311" y="22730"/>
                      <a:pt x="10895" y="22789"/>
                    </a:cubicBezTo>
                    <a:lnTo>
                      <a:pt x="10847" y="22789"/>
                    </a:lnTo>
                    <a:cubicBezTo>
                      <a:pt x="10430" y="22849"/>
                      <a:pt x="10156" y="23230"/>
                      <a:pt x="10216" y="23634"/>
                    </a:cubicBezTo>
                    <a:cubicBezTo>
                      <a:pt x="10275" y="24051"/>
                      <a:pt x="10656" y="24337"/>
                      <a:pt x="11061" y="24277"/>
                    </a:cubicBezTo>
                    <a:lnTo>
                      <a:pt x="11109" y="24277"/>
                    </a:lnTo>
                    <a:cubicBezTo>
                      <a:pt x="11526" y="24218"/>
                      <a:pt x="11799" y="23849"/>
                      <a:pt x="11740" y="23432"/>
                    </a:cubicBezTo>
                    <a:close/>
                    <a:moveTo>
                      <a:pt x="2894" y="21241"/>
                    </a:moveTo>
                    <a:lnTo>
                      <a:pt x="0" y="25063"/>
                    </a:lnTo>
                    <a:lnTo>
                      <a:pt x="3822" y="27956"/>
                    </a:lnTo>
                    <a:close/>
                    <a:moveTo>
                      <a:pt x="8144" y="23932"/>
                    </a:moveTo>
                    <a:cubicBezTo>
                      <a:pt x="8085" y="23515"/>
                      <a:pt x="7716" y="23230"/>
                      <a:pt x="7311" y="23289"/>
                    </a:cubicBezTo>
                    <a:lnTo>
                      <a:pt x="7275" y="23289"/>
                    </a:lnTo>
                    <a:cubicBezTo>
                      <a:pt x="6858" y="23349"/>
                      <a:pt x="6584" y="23742"/>
                      <a:pt x="6644" y="24146"/>
                    </a:cubicBezTo>
                    <a:cubicBezTo>
                      <a:pt x="6704" y="24563"/>
                      <a:pt x="7073" y="24837"/>
                      <a:pt x="7489" y="24777"/>
                    </a:cubicBezTo>
                    <a:cubicBezTo>
                      <a:pt x="7906" y="24718"/>
                      <a:pt x="8204" y="24337"/>
                      <a:pt x="8144" y="23932"/>
                    </a:cubicBezTo>
                    <a:close/>
                    <a:moveTo>
                      <a:pt x="15228" y="22599"/>
                    </a:moveTo>
                    <a:cubicBezTo>
                      <a:pt x="15217" y="22539"/>
                      <a:pt x="15217" y="22491"/>
                      <a:pt x="15181" y="22432"/>
                    </a:cubicBezTo>
                    <a:cubicBezTo>
                      <a:pt x="15038" y="22039"/>
                      <a:pt x="14621" y="21837"/>
                      <a:pt x="14228" y="21980"/>
                    </a:cubicBezTo>
                    <a:lnTo>
                      <a:pt x="14169" y="22003"/>
                    </a:lnTo>
                    <a:cubicBezTo>
                      <a:pt x="13776" y="22146"/>
                      <a:pt x="13585" y="22599"/>
                      <a:pt x="13740" y="22980"/>
                    </a:cubicBezTo>
                    <a:cubicBezTo>
                      <a:pt x="13883" y="23373"/>
                      <a:pt x="14335" y="23563"/>
                      <a:pt x="14716" y="23408"/>
                    </a:cubicBezTo>
                    <a:cubicBezTo>
                      <a:pt x="15074" y="23277"/>
                      <a:pt x="15288" y="22932"/>
                      <a:pt x="15228" y="22599"/>
                    </a:cubicBezTo>
                    <a:close/>
                    <a:moveTo>
                      <a:pt x="18384" y="20813"/>
                    </a:moveTo>
                    <a:cubicBezTo>
                      <a:pt x="18372" y="20694"/>
                      <a:pt x="18324" y="20575"/>
                      <a:pt x="18229" y="20467"/>
                    </a:cubicBezTo>
                    <a:cubicBezTo>
                      <a:pt x="17979" y="20134"/>
                      <a:pt x="17514" y="20063"/>
                      <a:pt x="17181" y="20313"/>
                    </a:cubicBezTo>
                    <a:lnTo>
                      <a:pt x="17122" y="20360"/>
                    </a:lnTo>
                    <a:cubicBezTo>
                      <a:pt x="16788" y="20634"/>
                      <a:pt x="16741" y="21110"/>
                      <a:pt x="17014" y="21432"/>
                    </a:cubicBezTo>
                    <a:cubicBezTo>
                      <a:pt x="17276" y="21765"/>
                      <a:pt x="17753" y="21801"/>
                      <a:pt x="18086" y="21539"/>
                    </a:cubicBezTo>
                    <a:cubicBezTo>
                      <a:pt x="18312" y="21348"/>
                      <a:pt x="18407" y="21063"/>
                      <a:pt x="18384" y="20813"/>
                    </a:cubicBezTo>
                    <a:close/>
                    <a:moveTo>
                      <a:pt x="20872" y="18217"/>
                    </a:moveTo>
                    <a:cubicBezTo>
                      <a:pt x="20836" y="18027"/>
                      <a:pt x="20729" y="17836"/>
                      <a:pt x="20574" y="17717"/>
                    </a:cubicBezTo>
                    <a:cubicBezTo>
                      <a:pt x="20229" y="17479"/>
                      <a:pt x="19765" y="17538"/>
                      <a:pt x="19527" y="17860"/>
                    </a:cubicBezTo>
                    <a:lnTo>
                      <a:pt x="19479" y="17919"/>
                    </a:lnTo>
                    <a:cubicBezTo>
                      <a:pt x="19241" y="18265"/>
                      <a:pt x="19336" y="18741"/>
                      <a:pt x="19681" y="18979"/>
                    </a:cubicBezTo>
                    <a:cubicBezTo>
                      <a:pt x="20015" y="19217"/>
                      <a:pt x="20491" y="19122"/>
                      <a:pt x="20729" y="18789"/>
                    </a:cubicBezTo>
                    <a:cubicBezTo>
                      <a:pt x="20848" y="18610"/>
                      <a:pt x="20896" y="18408"/>
                      <a:pt x="20872" y="18217"/>
                    </a:cubicBezTo>
                    <a:close/>
                    <a:moveTo>
                      <a:pt x="22551" y="15002"/>
                    </a:moveTo>
                    <a:cubicBezTo>
                      <a:pt x="22503" y="14741"/>
                      <a:pt x="22325" y="14502"/>
                      <a:pt x="22063" y="14395"/>
                    </a:cubicBezTo>
                    <a:cubicBezTo>
                      <a:pt x="21670" y="14264"/>
                      <a:pt x="21241" y="14467"/>
                      <a:pt x="21086" y="14860"/>
                    </a:cubicBezTo>
                    <a:lnTo>
                      <a:pt x="21074" y="14895"/>
                    </a:lnTo>
                    <a:cubicBezTo>
                      <a:pt x="20932" y="15288"/>
                      <a:pt x="21134" y="15717"/>
                      <a:pt x="21527" y="15872"/>
                    </a:cubicBezTo>
                    <a:cubicBezTo>
                      <a:pt x="21908" y="16014"/>
                      <a:pt x="22360" y="15812"/>
                      <a:pt x="22491" y="15419"/>
                    </a:cubicBezTo>
                    <a:lnTo>
                      <a:pt x="22503" y="15360"/>
                    </a:lnTo>
                    <a:cubicBezTo>
                      <a:pt x="22563" y="15241"/>
                      <a:pt x="22563" y="15122"/>
                      <a:pt x="22551" y="15002"/>
                    </a:cubicBezTo>
                    <a:close/>
                    <a:moveTo>
                      <a:pt x="23253" y="11466"/>
                    </a:moveTo>
                    <a:cubicBezTo>
                      <a:pt x="23206" y="11109"/>
                      <a:pt x="22908" y="10823"/>
                      <a:pt x="22539" y="10811"/>
                    </a:cubicBezTo>
                    <a:cubicBezTo>
                      <a:pt x="22122" y="10788"/>
                      <a:pt x="21765" y="11121"/>
                      <a:pt x="21741" y="11538"/>
                    </a:cubicBezTo>
                    <a:lnTo>
                      <a:pt x="21741" y="11562"/>
                    </a:lnTo>
                    <a:cubicBezTo>
                      <a:pt x="21717" y="11978"/>
                      <a:pt x="22027" y="12335"/>
                      <a:pt x="22444" y="12371"/>
                    </a:cubicBezTo>
                    <a:cubicBezTo>
                      <a:pt x="22860" y="12395"/>
                      <a:pt x="23218" y="12085"/>
                      <a:pt x="23253" y="11669"/>
                    </a:cubicBezTo>
                    <a:lnTo>
                      <a:pt x="23253" y="11597"/>
                    </a:lnTo>
                    <a:close/>
                    <a:moveTo>
                      <a:pt x="21979" y="751"/>
                    </a:moveTo>
                    <a:lnTo>
                      <a:pt x="21979" y="703"/>
                    </a:lnTo>
                    <a:cubicBezTo>
                      <a:pt x="21920" y="286"/>
                      <a:pt x="21539" y="1"/>
                      <a:pt x="21134" y="60"/>
                    </a:cubicBezTo>
                    <a:cubicBezTo>
                      <a:pt x="20717" y="120"/>
                      <a:pt x="20431" y="513"/>
                      <a:pt x="20491" y="905"/>
                    </a:cubicBezTo>
                    <a:lnTo>
                      <a:pt x="20491" y="953"/>
                    </a:lnTo>
                    <a:cubicBezTo>
                      <a:pt x="20551" y="1370"/>
                      <a:pt x="20943" y="1656"/>
                      <a:pt x="21348" y="1596"/>
                    </a:cubicBezTo>
                    <a:cubicBezTo>
                      <a:pt x="21741" y="1548"/>
                      <a:pt x="22027" y="1167"/>
                      <a:pt x="21979" y="751"/>
                    </a:cubicBezTo>
                    <a:close/>
                    <a:moveTo>
                      <a:pt x="22479" y="4334"/>
                    </a:moveTo>
                    <a:lnTo>
                      <a:pt x="22479" y="4287"/>
                    </a:lnTo>
                    <a:cubicBezTo>
                      <a:pt x="22408" y="3870"/>
                      <a:pt x="22027" y="3584"/>
                      <a:pt x="21622" y="3644"/>
                    </a:cubicBezTo>
                    <a:cubicBezTo>
                      <a:pt x="21205" y="3703"/>
                      <a:pt x="20920" y="4096"/>
                      <a:pt x="20991" y="4501"/>
                    </a:cubicBezTo>
                    <a:lnTo>
                      <a:pt x="20991" y="4537"/>
                    </a:lnTo>
                    <a:cubicBezTo>
                      <a:pt x="21051" y="4954"/>
                      <a:pt x="21432" y="5239"/>
                      <a:pt x="21836" y="5180"/>
                    </a:cubicBezTo>
                    <a:cubicBezTo>
                      <a:pt x="22253" y="5132"/>
                      <a:pt x="22539" y="4751"/>
                      <a:pt x="22479" y="4334"/>
                    </a:cubicBezTo>
                    <a:close/>
                    <a:moveTo>
                      <a:pt x="22979" y="7918"/>
                    </a:moveTo>
                    <a:lnTo>
                      <a:pt x="22979" y="7871"/>
                    </a:lnTo>
                    <a:cubicBezTo>
                      <a:pt x="22920" y="7454"/>
                      <a:pt x="22539" y="7180"/>
                      <a:pt x="22134" y="7240"/>
                    </a:cubicBezTo>
                    <a:cubicBezTo>
                      <a:pt x="21717" y="7299"/>
                      <a:pt x="21432" y="7680"/>
                      <a:pt x="21491" y="8085"/>
                    </a:cubicBezTo>
                    <a:lnTo>
                      <a:pt x="21491" y="8133"/>
                    </a:lnTo>
                    <a:cubicBezTo>
                      <a:pt x="21551" y="8549"/>
                      <a:pt x="21944" y="8823"/>
                      <a:pt x="22336" y="8764"/>
                    </a:cubicBezTo>
                    <a:cubicBezTo>
                      <a:pt x="22741" y="8704"/>
                      <a:pt x="23027" y="8335"/>
                      <a:pt x="22979" y="7918"/>
                    </a:cubicBezTo>
                    <a:close/>
                  </a:path>
                </a:pathLst>
              </a:custGeom>
              <a:solidFill>
                <a:srgbClr val="ED7D3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mn-ea"/>
                  <a:cs typeface="Calibri" panose="020F0502020204030204" pitchFamily="34" charset="0"/>
                </a:endParaRPr>
              </a:p>
            </p:txBody>
          </p:sp>
          <p:sp>
            <p:nvSpPr>
              <p:cNvPr id="95" name="Google Shape;532;p26">
                <a:extLst>
                  <a:ext uri="{FF2B5EF4-FFF2-40B4-BE49-F238E27FC236}">
                    <a16:creationId xmlns:a16="http://schemas.microsoft.com/office/drawing/2014/main" id="{AF42185D-1F18-1328-E1CD-52DB647DD59B}"/>
                  </a:ext>
                </a:extLst>
              </p:cNvPr>
              <p:cNvSpPr/>
              <p:nvPr/>
            </p:nvSpPr>
            <p:spPr>
              <a:xfrm>
                <a:off x="4310773" y="1353526"/>
                <a:ext cx="593500" cy="242301"/>
              </a:xfrm>
              <a:custGeom>
                <a:avLst/>
                <a:gdLst/>
                <a:ahLst/>
                <a:cxnLst/>
                <a:rect l="l" t="t" r="r" b="b"/>
                <a:pathLst>
                  <a:path w="20563" h="8395" extrusionOk="0">
                    <a:moveTo>
                      <a:pt x="14634" y="1941"/>
                    </a:moveTo>
                    <a:cubicBezTo>
                      <a:pt x="14479" y="2144"/>
                      <a:pt x="14515" y="2442"/>
                      <a:pt x="14729" y="2596"/>
                    </a:cubicBezTo>
                    <a:lnTo>
                      <a:pt x="14765" y="2608"/>
                    </a:lnTo>
                    <a:cubicBezTo>
                      <a:pt x="14967" y="2751"/>
                      <a:pt x="15265" y="2703"/>
                      <a:pt x="15419" y="2501"/>
                    </a:cubicBezTo>
                    <a:cubicBezTo>
                      <a:pt x="15562" y="2299"/>
                      <a:pt x="15527" y="2001"/>
                      <a:pt x="15312" y="1846"/>
                    </a:cubicBezTo>
                    <a:lnTo>
                      <a:pt x="15288" y="1834"/>
                    </a:lnTo>
                    <a:cubicBezTo>
                      <a:pt x="15074" y="1680"/>
                      <a:pt x="14777" y="1727"/>
                      <a:pt x="14634" y="1941"/>
                    </a:cubicBezTo>
                    <a:close/>
                    <a:moveTo>
                      <a:pt x="17622" y="6775"/>
                    </a:moveTo>
                    <a:lnTo>
                      <a:pt x="20563" y="6323"/>
                    </a:lnTo>
                    <a:lnTo>
                      <a:pt x="20122" y="3382"/>
                    </a:lnTo>
                    <a:close/>
                    <a:moveTo>
                      <a:pt x="16443" y="3287"/>
                    </a:moveTo>
                    <a:cubicBezTo>
                      <a:pt x="16301" y="3501"/>
                      <a:pt x="16324" y="3799"/>
                      <a:pt x="16539" y="3942"/>
                    </a:cubicBezTo>
                    <a:lnTo>
                      <a:pt x="16551" y="3966"/>
                    </a:lnTo>
                    <a:cubicBezTo>
                      <a:pt x="16753" y="4108"/>
                      <a:pt x="17051" y="4061"/>
                      <a:pt x="17205" y="3858"/>
                    </a:cubicBezTo>
                    <a:cubicBezTo>
                      <a:pt x="17348" y="3644"/>
                      <a:pt x="17313" y="3346"/>
                      <a:pt x="17098" y="3204"/>
                    </a:cubicBezTo>
                    <a:cubicBezTo>
                      <a:pt x="16908" y="3037"/>
                      <a:pt x="16610" y="3084"/>
                      <a:pt x="16443" y="3287"/>
                    </a:cubicBezTo>
                    <a:close/>
                    <a:moveTo>
                      <a:pt x="12705" y="787"/>
                    </a:moveTo>
                    <a:cubicBezTo>
                      <a:pt x="12693" y="822"/>
                      <a:pt x="12669" y="846"/>
                      <a:pt x="12669" y="882"/>
                    </a:cubicBezTo>
                    <a:cubicBezTo>
                      <a:pt x="12562" y="1120"/>
                      <a:pt x="12669" y="1382"/>
                      <a:pt x="12895" y="1489"/>
                    </a:cubicBezTo>
                    <a:lnTo>
                      <a:pt x="12931" y="1501"/>
                    </a:lnTo>
                    <a:cubicBezTo>
                      <a:pt x="13169" y="1608"/>
                      <a:pt x="13455" y="1489"/>
                      <a:pt x="13562" y="1251"/>
                    </a:cubicBezTo>
                    <a:cubicBezTo>
                      <a:pt x="13657" y="1013"/>
                      <a:pt x="13538" y="727"/>
                      <a:pt x="13300" y="632"/>
                    </a:cubicBezTo>
                    <a:cubicBezTo>
                      <a:pt x="13074" y="548"/>
                      <a:pt x="12824" y="608"/>
                      <a:pt x="12705" y="787"/>
                    </a:cubicBezTo>
                    <a:close/>
                    <a:moveTo>
                      <a:pt x="10526" y="215"/>
                    </a:moveTo>
                    <a:cubicBezTo>
                      <a:pt x="10478" y="275"/>
                      <a:pt x="10443" y="346"/>
                      <a:pt x="10431" y="429"/>
                    </a:cubicBezTo>
                    <a:cubicBezTo>
                      <a:pt x="10407" y="679"/>
                      <a:pt x="10586" y="929"/>
                      <a:pt x="10836" y="953"/>
                    </a:cubicBezTo>
                    <a:lnTo>
                      <a:pt x="10883" y="953"/>
                    </a:lnTo>
                    <a:cubicBezTo>
                      <a:pt x="11133" y="965"/>
                      <a:pt x="11371" y="775"/>
                      <a:pt x="11383" y="525"/>
                    </a:cubicBezTo>
                    <a:cubicBezTo>
                      <a:pt x="11395" y="275"/>
                      <a:pt x="11205" y="25"/>
                      <a:pt x="10955" y="13"/>
                    </a:cubicBezTo>
                    <a:cubicBezTo>
                      <a:pt x="10788" y="1"/>
                      <a:pt x="10621" y="72"/>
                      <a:pt x="10526" y="215"/>
                    </a:cubicBezTo>
                    <a:close/>
                    <a:moveTo>
                      <a:pt x="8288" y="275"/>
                    </a:moveTo>
                    <a:cubicBezTo>
                      <a:pt x="8216" y="370"/>
                      <a:pt x="8180" y="489"/>
                      <a:pt x="8204" y="632"/>
                    </a:cubicBezTo>
                    <a:cubicBezTo>
                      <a:pt x="8240" y="882"/>
                      <a:pt x="8478" y="1060"/>
                      <a:pt x="8740" y="1013"/>
                    </a:cubicBezTo>
                    <a:lnTo>
                      <a:pt x="8776" y="1001"/>
                    </a:lnTo>
                    <a:cubicBezTo>
                      <a:pt x="9038" y="953"/>
                      <a:pt x="9192" y="703"/>
                      <a:pt x="9157" y="453"/>
                    </a:cubicBezTo>
                    <a:cubicBezTo>
                      <a:pt x="9109" y="191"/>
                      <a:pt x="8859" y="36"/>
                      <a:pt x="8597" y="72"/>
                    </a:cubicBezTo>
                    <a:cubicBezTo>
                      <a:pt x="8466" y="108"/>
                      <a:pt x="8359" y="179"/>
                      <a:pt x="8288" y="275"/>
                    </a:cubicBezTo>
                    <a:close/>
                    <a:moveTo>
                      <a:pt x="6133" y="965"/>
                    </a:moveTo>
                    <a:cubicBezTo>
                      <a:pt x="6025" y="1108"/>
                      <a:pt x="6014" y="1299"/>
                      <a:pt x="6085" y="1465"/>
                    </a:cubicBezTo>
                    <a:cubicBezTo>
                      <a:pt x="6204" y="1703"/>
                      <a:pt x="6490" y="1787"/>
                      <a:pt x="6716" y="1668"/>
                    </a:cubicBezTo>
                    <a:lnTo>
                      <a:pt x="6740" y="1656"/>
                    </a:lnTo>
                    <a:cubicBezTo>
                      <a:pt x="6978" y="1549"/>
                      <a:pt x="7085" y="1263"/>
                      <a:pt x="6966" y="1025"/>
                    </a:cubicBezTo>
                    <a:cubicBezTo>
                      <a:pt x="6847" y="787"/>
                      <a:pt x="6573" y="691"/>
                      <a:pt x="6335" y="810"/>
                    </a:cubicBezTo>
                    <a:lnTo>
                      <a:pt x="6311" y="822"/>
                    </a:lnTo>
                    <a:cubicBezTo>
                      <a:pt x="6240" y="870"/>
                      <a:pt x="6180" y="906"/>
                      <a:pt x="6133" y="965"/>
                    </a:cubicBezTo>
                    <a:close/>
                    <a:moveTo>
                      <a:pt x="4287" y="2239"/>
                    </a:moveTo>
                    <a:cubicBezTo>
                      <a:pt x="4156" y="2406"/>
                      <a:pt x="4168" y="2668"/>
                      <a:pt x="4311" y="2846"/>
                    </a:cubicBezTo>
                    <a:cubicBezTo>
                      <a:pt x="4490" y="3037"/>
                      <a:pt x="4787" y="3037"/>
                      <a:pt x="4990" y="2858"/>
                    </a:cubicBezTo>
                    <a:lnTo>
                      <a:pt x="5001" y="2846"/>
                    </a:lnTo>
                    <a:cubicBezTo>
                      <a:pt x="5192" y="2668"/>
                      <a:pt x="5204" y="2370"/>
                      <a:pt x="5049" y="2180"/>
                    </a:cubicBezTo>
                    <a:cubicBezTo>
                      <a:pt x="4871" y="1977"/>
                      <a:pt x="4573" y="1965"/>
                      <a:pt x="4370" y="2144"/>
                    </a:cubicBezTo>
                    <a:lnTo>
                      <a:pt x="4347" y="2180"/>
                    </a:lnTo>
                    <a:close/>
                    <a:moveTo>
                      <a:pt x="168" y="7561"/>
                    </a:moveTo>
                    <a:lnTo>
                      <a:pt x="144" y="7597"/>
                    </a:lnTo>
                    <a:cubicBezTo>
                      <a:pt x="1" y="7799"/>
                      <a:pt x="37" y="8097"/>
                      <a:pt x="251" y="8252"/>
                    </a:cubicBezTo>
                    <a:cubicBezTo>
                      <a:pt x="465" y="8395"/>
                      <a:pt x="763" y="8347"/>
                      <a:pt x="906" y="8145"/>
                    </a:cubicBezTo>
                    <a:lnTo>
                      <a:pt x="918" y="8109"/>
                    </a:lnTo>
                    <a:cubicBezTo>
                      <a:pt x="1072" y="7906"/>
                      <a:pt x="1025" y="7609"/>
                      <a:pt x="822" y="7454"/>
                    </a:cubicBezTo>
                    <a:cubicBezTo>
                      <a:pt x="620" y="7311"/>
                      <a:pt x="322" y="7359"/>
                      <a:pt x="168" y="7561"/>
                    </a:cubicBezTo>
                    <a:close/>
                    <a:moveTo>
                      <a:pt x="1513" y="5751"/>
                    </a:moveTo>
                    <a:lnTo>
                      <a:pt x="1501" y="5775"/>
                    </a:lnTo>
                    <a:cubicBezTo>
                      <a:pt x="1358" y="5990"/>
                      <a:pt x="1394" y="6287"/>
                      <a:pt x="1608" y="6430"/>
                    </a:cubicBezTo>
                    <a:cubicBezTo>
                      <a:pt x="1811" y="6585"/>
                      <a:pt x="2108" y="6537"/>
                      <a:pt x="2263" y="6323"/>
                    </a:cubicBezTo>
                    <a:lnTo>
                      <a:pt x="2275" y="6299"/>
                    </a:lnTo>
                    <a:cubicBezTo>
                      <a:pt x="2430" y="6085"/>
                      <a:pt x="2382" y="5787"/>
                      <a:pt x="2168" y="5644"/>
                    </a:cubicBezTo>
                    <a:cubicBezTo>
                      <a:pt x="1965" y="5490"/>
                      <a:pt x="1668" y="5537"/>
                      <a:pt x="1513" y="5751"/>
                    </a:cubicBezTo>
                    <a:close/>
                    <a:moveTo>
                      <a:pt x="2858" y="3942"/>
                    </a:moveTo>
                    <a:lnTo>
                      <a:pt x="2846" y="3977"/>
                    </a:lnTo>
                    <a:cubicBezTo>
                      <a:pt x="2692" y="4180"/>
                      <a:pt x="2739" y="4478"/>
                      <a:pt x="2942" y="4632"/>
                    </a:cubicBezTo>
                    <a:cubicBezTo>
                      <a:pt x="3156" y="4775"/>
                      <a:pt x="3454" y="4728"/>
                      <a:pt x="3597" y="4525"/>
                    </a:cubicBezTo>
                    <a:lnTo>
                      <a:pt x="3620" y="4501"/>
                    </a:lnTo>
                    <a:cubicBezTo>
                      <a:pt x="3763" y="4287"/>
                      <a:pt x="3716" y="3989"/>
                      <a:pt x="3513" y="3846"/>
                    </a:cubicBezTo>
                    <a:cubicBezTo>
                      <a:pt x="3299" y="3692"/>
                      <a:pt x="3001" y="3739"/>
                      <a:pt x="2858" y="3942"/>
                    </a:cubicBezTo>
                    <a:close/>
                  </a:path>
                </a:pathLst>
              </a:custGeom>
              <a:solidFill>
                <a:srgbClr val="FFC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mn-ea"/>
                  <a:cs typeface="Calibri" panose="020F0502020204030204" pitchFamily="34" charset="0"/>
                </a:endParaRPr>
              </a:p>
            </p:txBody>
          </p:sp>
          <p:sp>
            <p:nvSpPr>
              <p:cNvPr id="96" name="Google Shape;533;p26">
                <a:extLst>
                  <a:ext uri="{FF2B5EF4-FFF2-40B4-BE49-F238E27FC236}">
                    <a16:creationId xmlns:a16="http://schemas.microsoft.com/office/drawing/2014/main" id="{8D755C61-854E-0DFE-D6EE-28A3EBCDD961}"/>
                  </a:ext>
                </a:extLst>
              </p:cNvPr>
              <p:cNvSpPr/>
              <p:nvPr/>
            </p:nvSpPr>
            <p:spPr>
              <a:xfrm>
                <a:off x="5630713" y="2006800"/>
                <a:ext cx="310358" cy="565330"/>
              </a:xfrm>
              <a:custGeom>
                <a:avLst/>
                <a:gdLst/>
                <a:ahLst/>
                <a:cxnLst/>
                <a:rect l="l" t="t" r="r" b="b"/>
                <a:pathLst>
                  <a:path w="10753" h="19587" extrusionOk="0">
                    <a:moveTo>
                      <a:pt x="9752" y="12740"/>
                    </a:moveTo>
                    <a:cubicBezTo>
                      <a:pt x="9514" y="12645"/>
                      <a:pt x="9228" y="12764"/>
                      <a:pt x="9145" y="13002"/>
                    </a:cubicBezTo>
                    <a:lnTo>
                      <a:pt x="9121" y="13026"/>
                    </a:lnTo>
                    <a:cubicBezTo>
                      <a:pt x="9026" y="13264"/>
                      <a:pt x="9145" y="13550"/>
                      <a:pt x="9383" y="13633"/>
                    </a:cubicBezTo>
                    <a:cubicBezTo>
                      <a:pt x="9621" y="13740"/>
                      <a:pt x="9895" y="13621"/>
                      <a:pt x="9990" y="13383"/>
                    </a:cubicBezTo>
                    <a:lnTo>
                      <a:pt x="10002" y="13359"/>
                    </a:lnTo>
                    <a:cubicBezTo>
                      <a:pt x="10109" y="13133"/>
                      <a:pt x="10002" y="12847"/>
                      <a:pt x="9752" y="12740"/>
                    </a:cubicBezTo>
                    <a:close/>
                    <a:moveTo>
                      <a:pt x="5787" y="16836"/>
                    </a:moveTo>
                    <a:lnTo>
                      <a:pt x="6942" y="19586"/>
                    </a:lnTo>
                    <a:lnTo>
                      <a:pt x="9692" y="18443"/>
                    </a:lnTo>
                    <a:close/>
                    <a:moveTo>
                      <a:pt x="8907" y="14859"/>
                    </a:moveTo>
                    <a:cubicBezTo>
                      <a:pt x="8669" y="14752"/>
                      <a:pt x="8383" y="14871"/>
                      <a:pt x="8288" y="15110"/>
                    </a:cubicBezTo>
                    <a:lnTo>
                      <a:pt x="8288" y="15121"/>
                    </a:lnTo>
                    <a:cubicBezTo>
                      <a:pt x="8192" y="15360"/>
                      <a:pt x="8311" y="15645"/>
                      <a:pt x="8549" y="15741"/>
                    </a:cubicBezTo>
                    <a:cubicBezTo>
                      <a:pt x="8788" y="15836"/>
                      <a:pt x="9061" y="15717"/>
                      <a:pt x="9157" y="15479"/>
                    </a:cubicBezTo>
                    <a:cubicBezTo>
                      <a:pt x="9240" y="15229"/>
                      <a:pt x="9145" y="14943"/>
                      <a:pt x="8907" y="14859"/>
                    </a:cubicBezTo>
                    <a:close/>
                    <a:moveTo>
                      <a:pt x="10395" y="10621"/>
                    </a:moveTo>
                    <a:cubicBezTo>
                      <a:pt x="10359" y="10597"/>
                      <a:pt x="10335" y="10585"/>
                      <a:pt x="10288" y="10585"/>
                    </a:cubicBezTo>
                    <a:cubicBezTo>
                      <a:pt x="10038" y="10538"/>
                      <a:pt x="9800" y="10704"/>
                      <a:pt x="9752" y="10954"/>
                    </a:cubicBezTo>
                    <a:lnTo>
                      <a:pt x="9752" y="10990"/>
                    </a:lnTo>
                    <a:cubicBezTo>
                      <a:pt x="9704" y="11240"/>
                      <a:pt x="9883" y="11478"/>
                      <a:pt x="10157" y="11526"/>
                    </a:cubicBezTo>
                    <a:cubicBezTo>
                      <a:pt x="10407" y="11573"/>
                      <a:pt x="10645" y="11395"/>
                      <a:pt x="10693" y="11121"/>
                    </a:cubicBezTo>
                    <a:cubicBezTo>
                      <a:pt x="10716" y="10919"/>
                      <a:pt x="10597" y="10692"/>
                      <a:pt x="10395" y="10621"/>
                    </a:cubicBezTo>
                    <a:close/>
                    <a:moveTo>
                      <a:pt x="10419" y="8359"/>
                    </a:moveTo>
                    <a:cubicBezTo>
                      <a:pt x="10347" y="8323"/>
                      <a:pt x="10276" y="8311"/>
                      <a:pt x="10181" y="8323"/>
                    </a:cubicBezTo>
                    <a:cubicBezTo>
                      <a:pt x="9931" y="8359"/>
                      <a:pt x="9740" y="8597"/>
                      <a:pt x="9776" y="8847"/>
                    </a:cubicBezTo>
                    <a:lnTo>
                      <a:pt x="9776" y="8894"/>
                    </a:lnTo>
                    <a:cubicBezTo>
                      <a:pt x="9823" y="9144"/>
                      <a:pt x="10062" y="9323"/>
                      <a:pt x="10312" y="9275"/>
                    </a:cubicBezTo>
                    <a:cubicBezTo>
                      <a:pt x="10574" y="9228"/>
                      <a:pt x="10752" y="8990"/>
                      <a:pt x="10704" y="8728"/>
                    </a:cubicBezTo>
                    <a:cubicBezTo>
                      <a:pt x="10693" y="8561"/>
                      <a:pt x="10574" y="8418"/>
                      <a:pt x="10419" y="8359"/>
                    </a:cubicBezTo>
                    <a:close/>
                    <a:moveTo>
                      <a:pt x="9812" y="6192"/>
                    </a:moveTo>
                    <a:cubicBezTo>
                      <a:pt x="9692" y="6156"/>
                      <a:pt x="9561" y="6156"/>
                      <a:pt x="9442" y="6192"/>
                    </a:cubicBezTo>
                    <a:cubicBezTo>
                      <a:pt x="9204" y="6299"/>
                      <a:pt x="9085" y="6573"/>
                      <a:pt x="9204" y="6811"/>
                    </a:cubicBezTo>
                    <a:lnTo>
                      <a:pt x="9216" y="6847"/>
                    </a:lnTo>
                    <a:cubicBezTo>
                      <a:pt x="9323" y="7085"/>
                      <a:pt x="9597" y="7192"/>
                      <a:pt x="9835" y="7073"/>
                    </a:cubicBezTo>
                    <a:cubicBezTo>
                      <a:pt x="10073" y="6966"/>
                      <a:pt x="10181" y="6692"/>
                      <a:pt x="10062" y="6454"/>
                    </a:cubicBezTo>
                    <a:cubicBezTo>
                      <a:pt x="10014" y="6335"/>
                      <a:pt x="9931" y="6239"/>
                      <a:pt x="9812" y="6192"/>
                    </a:cubicBezTo>
                    <a:close/>
                    <a:moveTo>
                      <a:pt x="8609" y="4287"/>
                    </a:moveTo>
                    <a:cubicBezTo>
                      <a:pt x="8442" y="4227"/>
                      <a:pt x="8264" y="4251"/>
                      <a:pt x="8109" y="4370"/>
                    </a:cubicBezTo>
                    <a:cubicBezTo>
                      <a:pt x="7918" y="4525"/>
                      <a:pt x="7895" y="4823"/>
                      <a:pt x="8049" y="5037"/>
                    </a:cubicBezTo>
                    <a:lnTo>
                      <a:pt x="8061" y="5049"/>
                    </a:lnTo>
                    <a:cubicBezTo>
                      <a:pt x="8228" y="5239"/>
                      <a:pt x="8526" y="5275"/>
                      <a:pt x="8740" y="5108"/>
                    </a:cubicBezTo>
                    <a:cubicBezTo>
                      <a:pt x="8930" y="4942"/>
                      <a:pt x="8954" y="4644"/>
                      <a:pt x="8799" y="4442"/>
                    </a:cubicBezTo>
                    <a:lnTo>
                      <a:pt x="8764" y="4406"/>
                    </a:lnTo>
                    <a:cubicBezTo>
                      <a:pt x="8740" y="4346"/>
                      <a:pt x="8680" y="4311"/>
                      <a:pt x="8609" y="4287"/>
                    </a:cubicBezTo>
                    <a:close/>
                    <a:moveTo>
                      <a:pt x="6918" y="2798"/>
                    </a:moveTo>
                    <a:cubicBezTo>
                      <a:pt x="6716" y="2715"/>
                      <a:pt x="6478" y="2787"/>
                      <a:pt x="6335" y="2977"/>
                    </a:cubicBezTo>
                    <a:cubicBezTo>
                      <a:pt x="6204" y="3203"/>
                      <a:pt x="6263" y="3489"/>
                      <a:pt x="6490" y="3632"/>
                    </a:cubicBezTo>
                    <a:lnTo>
                      <a:pt x="6502" y="3656"/>
                    </a:lnTo>
                    <a:cubicBezTo>
                      <a:pt x="6728" y="3799"/>
                      <a:pt x="7014" y="3739"/>
                      <a:pt x="7156" y="3513"/>
                    </a:cubicBezTo>
                    <a:cubicBezTo>
                      <a:pt x="7311" y="3299"/>
                      <a:pt x="7252" y="3013"/>
                      <a:pt x="7025" y="2858"/>
                    </a:cubicBezTo>
                    <a:lnTo>
                      <a:pt x="6978" y="2834"/>
                    </a:lnTo>
                    <a:cubicBezTo>
                      <a:pt x="6966" y="2822"/>
                      <a:pt x="6930" y="2822"/>
                      <a:pt x="6918" y="2798"/>
                    </a:cubicBezTo>
                    <a:close/>
                    <a:moveTo>
                      <a:pt x="751" y="120"/>
                    </a:moveTo>
                    <a:lnTo>
                      <a:pt x="715" y="108"/>
                    </a:lnTo>
                    <a:cubicBezTo>
                      <a:pt x="477" y="1"/>
                      <a:pt x="191" y="120"/>
                      <a:pt x="108" y="358"/>
                    </a:cubicBezTo>
                    <a:cubicBezTo>
                      <a:pt x="1" y="596"/>
                      <a:pt x="120" y="882"/>
                      <a:pt x="358" y="977"/>
                    </a:cubicBezTo>
                    <a:lnTo>
                      <a:pt x="394" y="989"/>
                    </a:lnTo>
                    <a:cubicBezTo>
                      <a:pt x="632" y="1096"/>
                      <a:pt x="906" y="977"/>
                      <a:pt x="1001" y="739"/>
                    </a:cubicBezTo>
                    <a:cubicBezTo>
                      <a:pt x="1108" y="501"/>
                      <a:pt x="977" y="215"/>
                      <a:pt x="751" y="120"/>
                    </a:cubicBezTo>
                    <a:close/>
                    <a:moveTo>
                      <a:pt x="2834" y="977"/>
                    </a:moveTo>
                    <a:lnTo>
                      <a:pt x="2799" y="953"/>
                    </a:lnTo>
                    <a:cubicBezTo>
                      <a:pt x="2561" y="858"/>
                      <a:pt x="2275" y="977"/>
                      <a:pt x="2192" y="1203"/>
                    </a:cubicBezTo>
                    <a:cubicBezTo>
                      <a:pt x="2084" y="1453"/>
                      <a:pt x="2203" y="1727"/>
                      <a:pt x="2442" y="1822"/>
                    </a:cubicBezTo>
                    <a:lnTo>
                      <a:pt x="2477" y="1834"/>
                    </a:lnTo>
                    <a:cubicBezTo>
                      <a:pt x="2715" y="1941"/>
                      <a:pt x="2989" y="1822"/>
                      <a:pt x="3084" y="1584"/>
                    </a:cubicBezTo>
                    <a:cubicBezTo>
                      <a:pt x="3192" y="1358"/>
                      <a:pt x="3061" y="1072"/>
                      <a:pt x="2834" y="977"/>
                    </a:cubicBezTo>
                    <a:close/>
                    <a:moveTo>
                      <a:pt x="4918" y="1834"/>
                    </a:moveTo>
                    <a:lnTo>
                      <a:pt x="4882" y="1822"/>
                    </a:lnTo>
                    <a:cubicBezTo>
                      <a:pt x="4644" y="1715"/>
                      <a:pt x="4358" y="1834"/>
                      <a:pt x="4275" y="2072"/>
                    </a:cubicBezTo>
                    <a:cubicBezTo>
                      <a:pt x="4168" y="2310"/>
                      <a:pt x="4287" y="2596"/>
                      <a:pt x="4525" y="2679"/>
                    </a:cubicBezTo>
                    <a:lnTo>
                      <a:pt x="4561" y="2703"/>
                    </a:lnTo>
                    <a:cubicBezTo>
                      <a:pt x="4799" y="2798"/>
                      <a:pt x="5073" y="2679"/>
                      <a:pt x="5168" y="2441"/>
                    </a:cubicBezTo>
                    <a:cubicBezTo>
                      <a:pt x="5275" y="2203"/>
                      <a:pt x="5168" y="1941"/>
                      <a:pt x="4918" y="1834"/>
                    </a:cubicBezTo>
                    <a:close/>
                  </a:path>
                </a:pathLst>
              </a:custGeom>
              <a:solidFill>
                <a:srgbClr val="A5A5A5"/>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mn-ea"/>
                  <a:cs typeface="Calibri" panose="020F0502020204030204" pitchFamily="34" charset="0"/>
                </a:endParaRPr>
              </a:p>
            </p:txBody>
          </p:sp>
          <p:sp>
            <p:nvSpPr>
              <p:cNvPr id="98" name="Google Shape;534;p26">
                <a:extLst>
                  <a:ext uri="{FF2B5EF4-FFF2-40B4-BE49-F238E27FC236}">
                    <a16:creationId xmlns:a16="http://schemas.microsoft.com/office/drawing/2014/main" id="{7E1469F4-5712-E333-FF07-2F4518272498}"/>
                  </a:ext>
                </a:extLst>
              </p:cNvPr>
              <p:cNvSpPr/>
              <p:nvPr/>
            </p:nvSpPr>
            <p:spPr>
              <a:xfrm>
                <a:off x="3447207" y="3977243"/>
                <a:ext cx="544029" cy="379080"/>
              </a:xfrm>
              <a:custGeom>
                <a:avLst/>
                <a:gdLst/>
                <a:ahLst/>
                <a:cxnLst/>
                <a:rect l="l" t="t" r="r" b="b"/>
                <a:pathLst>
                  <a:path w="18849" h="13134" extrusionOk="0">
                    <a:moveTo>
                      <a:pt x="3501" y="7097"/>
                    </a:moveTo>
                    <a:cubicBezTo>
                      <a:pt x="3751" y="7025"/>
                      <a:pt x="3894" y="6764"/>
                      <a:pt x="3834" y="6525"/>
                    </a:cubicBezTo>
                    <a:lnTo>
                      <a:pt x="3810" y="6490"/>
                    </a:lnTo>
                    <a:cubicBezTo>
                      <a:pt x="3739" y="6240"/>
                      <a:pt x="3477" y="6109"/>
                      <a:pt x="3239" y="6168"/>
                    </a:cubicBezTo>
                    <a:cubicBezTo>
                      <a:pt x="2977" y="6240"/>
                      <a:pt x="2846" y="6502"/>
                      <a:pt x="2917" y="6740"/>
                    </a:cubicBezTo>
                    <a:lnTo>
                      <a:pt x="2941" y="6775"/>
                    </a:lnTo>
                    <a:cubicBezTo>
                      <a:pt x="3001" y="7025"/>
                      <a:pt x="3263" y="7180"/>
                      <a:pt x="3501" y="7097"/>
                    </a:cubicBezTo>
                    <a:close/>
                    <a:moveTo>
                      <a:pt x="4049" y="1430"/>
                    </a:moveTo>
                    <a:lnTo>
                      <a:pt x="1429" y="1"/>
                    </a:lnTo>
                    <a:lnTo>
                      <a:pt x="0" y="2620"/>
                    </a:lnTo>
                    <a:close/>
                    <a:moveTo>
                      <a:pt x="2882" y="4918"/>
                    </a:moveTo>
                    <a:cubicBezTo>
                      <a:pt x="3132" y="4835"/>
                      <a:pt x="3275" y="4585"/>
                      <a:pt x="3203" y="4335"/>
                    </a:cubicBezTo>
                    <a:lnTo>
                      <a:pt x="3203" y="4323"/>
                    </a:lnTo>
                    <a:cubicBezTo>
                      <a:pt x="3132" y="4061"/>
                      <a:pt x="2858" y="3930"/>
                      <a:pt x="2620" y="3989"/>
                    </a:cubicBezTo>
                    <a:cubicBezTo>
                      <a:pt x="2370" y="4061"/>
                      <a:pt x="2239" y="4335"/>
                      <a:pt x="2298" y="4573"/>
                    </a:cubicBezTo>
                    <a:cubicBezTo>
                      <a:pt x="2358" y="4835"/>
                      <a:pt x="2620" y="4990"/>
                      <a:pt x="2882" y="4918"/>
                    </a:cubicBezTo>
                    <a:close/>
                    <a:moveTo>
                      <a:pt x="4346" y="9169"/>
                    </a:moveTo>
                    <a:lnTo>
                      <a:pt x="4441" y="9121"/>
                    </a:lnTo>
                    <a:cubicBezTo>
                      <a:pt x="4668" y="8990"/>
                      <a:pt x="4751" y="8728"/>
                      <a:pt x="4620" y="8502"/>
                    </a:cubicBezTo>
                    <a:lnTo>
                      <a:pt x="4608" y="8466"/>
                    </a:lnTo>
                    <a:cubicBezTo>
                      <a:pt x="4465" y="8252"/>
                      <a:pt x="4191" y="8168"/>
                      <a:pt x="3965" y="8288"/>
                    </a:cubicBezTo>
                    <a:cubicBezTo>
                      <a:pt x="3739" y="8418"/>
                      <a:pt x="3668" y="8704"/>
                      <a:pt x="3787" y="8930"/>
                    </a:cubicBezTo>
                    <a:cubicBezTo>
                      <a:pt x="3906" y="9145"/>
                      <a:pt x="4144" y="9228"/>
                      <a:pt x="4346" y="9169"/>
                    </a:cubicBezTo>
                    <a:close/>
                    <a:moveTo>
                      <a:pt x="5739" y="10955"/>
                    </a:moveTo>
                    <a:cubicBezTo>
                      <a:pt x="5811" y="10943"/>
                      <a:pt x="5882" y="10895"/>
                      <a:pt x="5942" y="10835"/>
                    </a:cubicBezTo>
                    <a:cubicBezTo>
                      <a:pt x="6120" y="10645"/>
                      <a:pt x="6120" y="10359"/>
                      <a:pt x="5942" y="10169"/>
                    </a:cubicBezTo>
                    <a:lnTo>
                      <a:pt x="5918" y="10133"/>
                    </a:lnTo>
                    <a:cubicBezTo>
                      <a:pt x="5715" y="9954"/>
                      <a:pt x="5418" y="9978"/>
                      <a:pt x="5239" y="10169"/>
                    </a:cubicBezTo>
                    <a:cubicBezTo>
                      <a:pt x="5061" y="10359"/>
                      <a:pt x="5084" y="10657"/>
                      <a:pt x="5275" y="10835"/>
                    </a:cubicBezTo>
                    <a:cubicBezTo>
                      <a:pt x="5394" y="10955"/>
                      <a:pt x="5573" y="11002"/>
                      <a:pt x="5739" y="10955"/>
                    </a:cubicBezTo>
                    <a:close/>
                    <a:moveTo>
                      <a:pt x="7549" y="12252"/>
                    </a:moveTo>
                    <a:cubicBezTo>
                      <a:pt x="7668" y="12217"/>
                      <a:pt x="7775" y="12133"/>
                      <a:pt x="7835" y="12026"/>
                    </a:cubicBezTo>
                    <a:cubicBezTo>
                      <a:pt x="7954" y="11788"/>
                      <a:pt x="7870" y="11526"/>
                      <a:pt x="7644" y="11395"/>
                    </a:cubicBezTo>
                    <a:lnTo>
                      <a:pt x="7597" y="11383"/>
                    </a:lnTo>
                    <a:cubicBezTo>
                      <a:pt x="7359" y="11264"/>
                      <a:pt x="7073" y="11371"/>
                      <a:pt x="6966" y="11597"/>
                    </a:cubicBezTo>
                    <a:cubicBezTo>
                      <a:pt x="6847" y="11836"/>
                      <a:pt x="6954" y="12109"/>
                      <a:pt x="7180" y="12217"/>
                    </a:cubicBezTo>
                    <a:cubicBezTo>
                      <a:pt x="7311" y="12276"/>
                      <a:pt x="7442" y="12276"/>
                      <a:pt x="7549" y="12252"/>
                    </a:cubicBezTo>
                    <a:close/>
                    <a:moveTo>
                      <a:pt x="9692" y="12990"/>
                    </a:moveTo>
                    <a:cubicBezTo>
                      <a:pt x="9859" y="12955"/>
                      <a:pt x="9990" y="12812"/>
                      <a:pt x="10026" y="12633"/>
                    </a:cubicBezTo>
                    <a:cubicBezTo>
                      <a:pt x="10061" y="12383"/>
                      <a:pt x="9906" y="12133"/>
                      <a:pt x="9645" y="12086"/>
                    </a:cubicBezTo>
                    <a:lnTo>
                      <a:pt x="9621" y="12086"/>
                    </a:lnTo>
                    <a:cubicBezTo>
                      <a:pt x="9359" y="12026"/>
                      <a:pt x="9109" y="12193"/>
                      <a:pt x="9061" y="12455"/>
                    </a:cubicBezTo>
                    <a:cubicBezTo>
                      <a:pt x="9013" y="12717"/>
                      <a:pt x="9168" y="12967"/>
                      <a:pt x="9442" y="13014"/>
                    </a:cubicBezTo>
                    <a:lnTo>
                      <a:pt x="9478" y="13014"/>
                    </a:lnTo>
                    <a:cubicBezTo>
                      <a:pt x="9549" y="13026"/>
                      <a:pt x="9621" y="13026"/>
                      <a:pt x="9692" y="12990"/>
                    </a:cubicBezTo>
                    <a:close/>
                    <a:moveTo>
                      <a:pt x="11942" y="13098"/>
                    </a:moveTo>
                    <a:cubicBezTo>
                      <a:pt x="12145" y="13038"/>
                      <a:pt x="12300" y="12836"/>
                      <a:pt x="12288" y="12598"/>
                    </a:cubicBezTo>
                    <a:cubicBezTo>
                      <a:pt x="12252" y="12336"/>
                      <a:pt x="12014" y="12145"/>
                      <a:pt x="11764" y="12181"/>
                    </a:cubicBezTo>
                    <a:lnTo>
                      <a:pt x="11740" y="12181"/>
                    </a:lnTo>
                    <a:cubicBezTo>
                      <a:pt x="11490" y="12193"/>
                      <a:pt x="11299" y="12431"/>
                      <a:pt x="11311" y="12681"/>
                    </a:cubicBezTo>
                    <a:cubicBezTo>
                      <a:pt x="11335" y="12931"/>
                      <a:pt x="11573" y="13133"/>
                      <a:pt x="11823" y="13110"/>
                    </a:cubicBezTo>
                    <a:lnTo>
                      <a:pt x="11859" y="13110"/>
                    </a:lnTo>
                    <a:cubicBezTo>
                      <a:pt x="11883" y="13110"/>
                      <a:pt x="11907" y="13110"/>
                      <a:pt x="11942" y="13098"/>
                    </a:cubicBezTo>
                    <a:close/>
                    <a:moveTo>
                      <a:pt x="18431" y="11347"/>
                    </a:moveTo>
                    <a:lnTo>
                      <a:pt x="18455" y="11324"/>
                    </a:lnTo>
                    <a:cubicBezTo>
                      <a:pt x="18717" y="11252"/>
                      <a:pt x="18848" y="10990"/>
                      <a:pt x="18789" y="10752"/>
                    </a:cubicBezTo>
                    <a:cubicBezTo>
                      <a:pt x="18717" y="10490"/>
                      <a:pt x="18443" y="10359"/>
                      <a:pt x="18205" y="10419"/>
                    </a:cubicBezTo>
                    <a:lnTo>
                      <a:pt x="18181" y="10431"/>
                    </a:lnTo>
                    <a:cubicBezTo>
                      <a:pt x="17919" y="10514"/>
                      <a:pt x="17788" y="10776"/>
                      <a:pt x="17848" y="11014"/>
                    </a:cubicBezTo>
                    <a:cubicBezTo>
                      <a:pt x="17919" y="11264"/>
                      <a:pt x="18181" y="11419"/>
                      <a:pt x="18431" y="11347"/>
                    </a:cubicBezTo>
                    <a:close/>
                    <a:moveTo>
                      <a:pt x="16276" y="11978"/>
                    </a:moveTo>
                    <a:lnTo>
                      <a:pt x="16300" y="11967"/>
                    </a:lnTo>
                    <a:cubicBezTo>
                      <a:pt x="16550" y="11895"/>
                      <a:pt x="16693" y="11621"/>
                      <a:pt x="16633" y="11383"/>
                    </a:cubicBezTo>
                    <a:cubicBezTo>
                      <a:pt x="16550" y="11133"/>
                      <a:pt x="16288" y="11002"/>
                      <a:pt x="16050" y="11062"/>
                    </a:cubicBezTo>
                    <a:lnTo>
                      <a:pt x="16014" y="11074"/>
                    </a:lnTo>
                    <a:cubicBezTo>
                      <a:pt x="15764" y="11145"/>
                      <a:pt x="15633" y="11419"/>
                      <a:pt x="15705" y="11657"/>
                    </a:cubicBezTo>
                    <a:cubicBezTo>
                      <a:pt x="15752" y="11907"/>
                      <a:pt x="16014" y="12062"/>
                      <a:pt x="16276" y="11978"/>
                    </a:cubicBezTo>
                    <a:close/>
                    <a:moveTo>
                      <a:pt x="14097" y="12609"/>
                    </a:moveTo>
                    <a:lnTo>
                      <a:pt x="14133" y="12598"/>
                    </a:lnTo>
                    <a:cubicBezTo>
                      <a:pt x="14383" y="12514"/>
                      <a:pt x="14514" y="12252"/>
                      <a:pt x="14455" y="12014"/>
                    </a:cubicBezTo>
                    <a:cubicBezTo>
                      <a:pt x="14383" y="11764"/>
                      <a:pt x="14109" y="11621"/>
                      <a:pt x="13871" y="11681"/>
                    </a:cubicBezTo>
                    <a:lnTo>
                      <a:pt x="13847" y="11705"/>
                    </a:lnTo>
                    <a:cubicBezTo>
                      <a:pt x="13597" y="11776"/>
                      <a:pt x="13455" y="12038"/>
                      <a:pt x="13514" y="12276"/>
                    </a:cubicBezTo>
                    <a:cubicBezTo>
                      <a:pt x="13597" y="12550"/>
                      <a:pt x="13847" y="12681"/>
                      <a:pt x="14097" y="12609"/>
                    </a:cubicBezTo>
                    <a:close/>
                  </a:path>
                </a:pathLst>
              </a:custGeom>
              <a:solidFill>
                <a:srgbClr val="4472C4"/>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mn-ea"/>
                  <a:cs typeface="Calibri" panose="020F0502020204030204" pitchFamily="34" charset="0"/>
                </a:endParaRPr>
              </a:p>
            </p:txBody>
          </p:sp>
          <p:sp>
            <p:nvSpPr>
              <p:cNvPr id="100" name="Google Shape;535;p26">
                <a:extLst>
                  <a:ext uri="{FF2B5EF4-FFF2-40B4-BE49-F238E27FC236}">
                    <a16:creationId xmlns:a16="http://schemas.microsoft.com/office/drawing/2014/main" id="{FE3D762B-703C-86F0-F9F1-0AAAB9E1F647}"/>
                  </a:ext>
                </a:extLst>
              </p:cNvPr>
              <p:cNvSpPr/>
              <p:nvPr/>
            </p:nvSpPr>
            <p:spPr>
              <a:xfrm>
                <a:off x="4473327" y="1561452"/>
                <a:ext cx="127515" cy="148815"/>
              </a:xfrm>
              <a:custGeom>
                <a:avLst/>
                <a:gdLst/>
                <a:ahLst/>
                <a:cxnLst/>
                <a:rect l="l" t="t" r="r" b="b"/>
                <a:pathLst>
                  <a:path w="4418" h="5156" extrusionOk="0">
                    <a:moveTo>
                      <a:pt x="2191" y="1250"/>
                    </a:moveTo>
                    <a:cubicBezTo>
                      <a:pt x="2453" y="1250"/>
                      <a:pt x="2644" y="1381"/>
                      <a:pt x="2810" y="1619"/>
                    </a:cubicBezTo>
                    <a:cubicBezTo>
                      <a:pt x="2965" y="1857"/>
                      <a:pt x="3049" y="2179"/>
                      <a:pt x="3049" y="2572"/>
                    </a:cubicBezTo>
                    <a:cubicBezTo>
                      <a:pt x="3049" y="2977"/>
                      <a:pt x="2965" y="3286"/>
                      <a:pt x="2810" y="3524"/>
                    </a:cubicBezTo>
                    <a:cubicBezTo>
                      <a:pt x="2644" y="3762"/>
                      <a:pt x="2453" y="3881"/>
                      <a:pt x="2191" y="3881"/>
                    </a:cubicBezTo>
                    <a:cubicBezTo>
                      <a:pt x="1929" y="3881"/>
                      <a:pt x="1715" y="3762"/>
                      <a:pt x="1572" y="3524"/>
                    </a:cubicBezTo>
                    <a:cubicBezTo>
                      <a:pt x="1405" y="3286"/>
                      <a:pt x="1334" y="2977"/>
                      <a:pt x="1334" y="2572"/>
                    </a:cubicBezTo>
                    <a:cubicBezTo>
                      <a:pt x="1334" y="2191"/>
                      <a:pt x="1417" y="1857"/>
                      <a:pt x="1572" y="1619"/>
                    </a:cubicBezTo>
                    <a:cubicBezTo>
                      <a:pt x="1739" y="1369"/>
                      <a:pt x="1941" y="1250"/>
                      <a:pt x="2191" y="1250"/>
                    </a:cubicBezTo>
                    <a:close/>
                    <a:moveTo>
                      <a:pt x="2215" y="0"/>
                    </a:moveTo>
                    <a:cubicBezTo>
                      <a:pt x="1894" y="0"/>
                      <a:pt x="1596" y="60"/>
                      <a:pt x="1334" y="191"/>
                    </a:cubicBezTo>
                    <a:cubicBezTo>
                      <a:pt x="1060" y="333"/>
                      <a:pt x="822" y="512"/>
                      <a:pt x="632" y="726"/>
                    </a:cubicBezTo>
                    <a:cubicBezTo>
                      <a:pt x="441" y="964"/>
                      <a:pt x="274" y="1238"/>
                      <a:pt x="167" y="1548"/>
                    </a:cubicBezTo>
                    <a:cubicBezTo>
                      <a:pt x="60" y="1857"/>
                      <a:pt x="1" y="2203"/>
                      <a:pt x="1" y="2572"/>
                    </a:cubicBezTo>
                    <a:cubicBezTo>
                      <a:pt x="1" y="2953"/>
                      <a:pt x="60" y="3286"/>
                      <a:pt x="167" y="3608"/>
                    </a:cubicBezTo>
                    <a:cubicBezTo>
                      <a:pt x="274" y="3917"/>
                      <a:pt x="441" y="4203"/>
                      <a:pt x="632" y="4417"/>
                    </a:cubicBezTo>
                    <a:cubicBezTo>
                      <a:pt x="822" y="4655"/>
                      <a:pt x="1060" y="4822"/>
                      <a:pt x="1334" y="4953"/>
                    </a:cubicBezTo>
                    <a:cubicBezTo>
                      <a:pt x="1596" y="5096"/>
                      <a:pt x="1894" y="5155"/>
                      <a:pt x="2215" y="5155"/>
                    </a:cubicBezTo>
                    <a:cubicBezTo>
                      <a:pt x="2525" y="5155"/>
                      <a:pt x="2822" y="5096"/>
                      <a:pt x="3084" y="4953"/>
                    </a:cubicBezTo>
                    <a:cubicBezTo>
                      <a:pt x="3358" y="4822"/>
                      <a:pt x="3596" y="4643"/>
                      <a:pt x="3787" y="4417"/>
                    </a:cubicBezTo>
                    <a:cubicBezTo>
                      <a:pt x="3977" y="4179"/>
                      <a:pt x="4132" y="3917"/>
                      <a:pt x="4251" y="3608"/>
                    </a:cubicBezTo>
                    <a:cubicBezTo>
                      <a:pt x="4358" y="3286"/>
                      <a:pt x="4418" y="2953"/>
                      <a:pt x="4418" y="2572"/>
                    </a:cubicBezTo>
                    <a:cubicBezTo>
                      <a:pt x="4418" y="2203"/>
                      <a:pt x="4358" y="1857"/>
                      <a:pt x="4251" y="1548"/>
                    </a:cubicBezTo>
                    <a:cubicBezTo>
                      <a:pt x="4144" y="1238"/>
                      <a:pt x="3977" y="953"/>
                      <a:pt x="3787" y="726"/>
                    </a:cubicBezTo>
                    <a:cubicBezTo>
                      <a:pt x="3596" y="512"/>
                      <a:pt x="3358" y="333"/>
                      <a:pt x="3084" y="191"/>
                    </a:cubicBezTo>
                    <a:cubicBezTo>
                      <a:pt x="2822" y="60"/>
                      <a:pt x="2525" y="0"/>
                      <a:pt x="2215" y="0"/>
                    </a:cubicBezTo>
                    <a:close/>
                  </a:path>
                </a:pathLst>
              </a:custGeom>
              <a:solidFill>
                <a:srgbClr val="FFC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mn-ea"/>
                  <a:cs typeface="Calibri" panose="020F0502020204030204" pitchFamily="34" charset="0"/>
                </a:endParaRPr>
              </a:p>
            </p:txBody>
          </p:sp>
          <p:sp>
            <p:nvSpPr>
              <p:cNvPr id="101" name="Google Shape;536;p26">
                <a:extLst>
                  <a:ext uri="{FF2B5EF4-FFF2-40B4-BE49-F238E27FC236}">
                    <a16:creationId xmlns:a16="http://schemas.microsoft.com/office/drawing/2014/main" id="{B269F26D-4A8E-81F2-640B-633200C7FD75}"/>
                  </a:ext>
                </a:extLst>
              </p:cNvPr>
              <p:cNvSpPr/>
              <p:nvPr/>
            </p:nvSpPr>
            <p:spPr>
              <a:xfrm>
                <a:off x="4621449" y="1565897"/>
                <a:ext cx="121309" cy="141628"/>
              </a:xfrm>
              <a:custGeom>
                <a:avLst/>
                <a:gdLst/>
                <a:ahLst/>
                <a:cxnLst/>
                <a:rect l="l" t="t" r="r" b="b"/>
                <a:pathLst>
                  <a:path w="4203" h="4907" extrusionOk="0">
                    <a:moveTo>
                      <a:pt x="2238" y="1"/>
                    </a:moveTo>
                    <a:cubicBezTo>
                      <a:pt x="1988" y="1"/>
                      <a:pt x="1750" y="25"/>
                      <a:pt x="1524" y="72"/>
                    </a:cubicBezTo>
                    <a:cubicBezTo>
                      <a:pt x="1310" y="108"/>
                      <a:pt x="1095" y="179"/>
                      <a:pt x="905" y="251"/>
                    </a:cubicBezTo>
                    <a:cubicBezTo>
                      <a:pt x="714" y="322"/>
                      <a:pt x="536" y="406"/>
                      <a:pt x="381" y="501"/>
                    </a:cubicBezTo>
                    <a:cubicBezTo>
                      <a:pt x="238" y="608"/>
                      <a:pt x="119" y="691"/>
                      <a:pt x="24" y="799"/>
                    </a:cubicBezTo>
                    <a:lnTo>
                      <a:pt x="893" y="1799"/>
                    </a:lnTo>
                    <a:cubicBezTo>
                      <a:pt x="1048" y="1620"/>
                      <a:pt x="1215" y="1465"/>
                      <a:pt x="1393" y="1346"/>
                    </a:cubicBezTo>
                    <a:cubicBezTo>
                      <a:pt x="1560" y="1227"/>
                      <a:pt x="1762" y="1168"/>
                      <a:pt x="2000" y="1168"/>
                    </a:cubicBezTo>
                    <a:cubicBezTo>
                      <a:pt x="2215" y="1168"/>
                      <a:pt x="2358" y="1227"/>
                      <a:pt x="2477" y="1322"/>
                    </a:cubicBezTo>
                    <a:cubicBezTo>
                      <a:pt x="2584" y="1418"/>
                      <a:pt x="2643" y="1537"/>
                      <a:pt x="2643" y="1703"/>
                    </a:cubicBezTo>
                    <a:cubicBezTo>
                      <a:pt x="2643" y="1775"/>
                      <a:pt x="2608" y="1858"/>
                      <a:pt x="2572" y="1918"/>
                    </a:cubicBezTo>
                    <a:cubicBezTo>
                      <a:pt x="2524" y="1977"/>
                      <a:pt x="2453" y="2037"/>
                      <a:pt x="2346" y="2108"/>
                    </a:cubicBezTo>
                    <a:cubicBezTo>
                      <a:pt x="2238" y="2180"/>
                      <a:pt x="2108" y="2275"/>
                      <a:pt x="1929" y="2358"/>
                    </a:cubicBezTo>
                    <a:cubicBezTo>
                      <a:pt x="1750" y="2453"/>
                      <a:pt x="1524" y="2573"/>
                      <a:pt x="1262" y="2715"/>
                    </a:cubicBezTo>
                    <a:cubicBezTo>
                      <a:pt x="1024" y="2858"/>
                      <a:pt x="810" y="3001"/>
                      <a:pt x="655" y="3156"/>
                    </a:cubicBezTo>
                    <a:cubicBezTo>
                      <a:pt x="488" y="3299"/>
                      <a:pt x="357" y="3454"/>
                      <a:pt x="262" y="3620"/>
                    </a:cubicBezTo>
                    <a:cubicBezTo>
                      <a:pt x="155" y="3787"/>
                      <a:pt x="95" y="3977"/>
                      <a:pt x="60" y="4192"/>
                    </a:cubicBezTo>
                    <a:cubicBezTo>
                      <a:pt x="12" y="4406"/>
                      <a:pt x="0" y="4644"/>
                      <a:pt x="0" y="4906"/>
                    </a:cubicBezTo>
                    <a:lnTo>
                      <a:pt x="4203" y="4906"/>
                    </a:lnTo>
                    <a:lnTo>
                      <a:pt x="4203" y="3680"/>
                    </a:lnTo>
                    <a:lnTo>
                      <a:pt x="1917" y="3680"/>
                    </a:lnTo>
                    <a:cubicBezTo>
                      <a:pt x="1965" y="3620"/>
                      <a:pt x="2036" y="3561"/>
                      <a:pt x="2143" y="3489"/>
                    </a:cubicBezTo>
                    <a:cubicBezTo>
                      <a:pt x="2238" y="3418"/>
                      <a:pt x="2346" y="3358"/>
                      <a:pt x="2465" y="3287"/>
                    </a:cubicBezTo>
                    <a:cubicBezTo>
                      <a:pt x="2584" y="3204"/>
                      <a:pt x="2703" y="3144"/>
                      <a:pt x="2822" y="3073"/>
                    </a:cubicBezTo>
                    <a:cubicBezTo>
                      <a:pt x="2941" y="3001"/>
                      <a:pt x="3036" y="2942"/>
                      <a:pt x="3120" y="2894"/>
                    </a:cubicBezTo>
                    <a:cubicBezTo>
                      <a:pt x="3239" y="2823"/>
                      <a:pt x="3358" y="2751"/>
                      <a:pt x="3477" y="2656"/>
                    </a:cubicBezTo>
                    <a:cubicBezTo>
                      <a:pt x="3596" y="2584"/>
                      <a:pt x="3715" y="2477"/>
                      <a:pt x="3810" y="2358"/>
                    </a:cubicBezTo>
                    <a:cubicBezTo>
                      <a:pt x="3905" y="2263"/>
                      <a:pt x="3989" y="2120"/>
                      <a:pt x="4048" y="1977"/>
                    </a:cubicBezTo>
                    <a:cubicBezTo>
                      <a:pt x="4108" y="1822"/>
                      <a:pt x="4132" y="1644"/>
                      <a:pt x="4132" y="1465"/>
                    </a:cubicBezTo>
                    <a:cubicBezTo>
                      <a:pt x="4132" y="1025"/>
                      <a:pt x="3965" y="668"/>
                      <a:pt x="3643" y="394"/>
                    </a:cubicBezTo>
                    <a:cubicBezTo>
                      <a:pt x="3310" y="132"/>
                      <a:pt x="2858" y="1"/>
                      <a:pt x="2238" y="1"/>
                    </a:cubicBezTo>
                    <a:close/>
                  </a:path>
                </a:pathLst>
              </a:custGeom>
              <a:solidFill>
                <a:srgbClr val="FFC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mn-ea"/>
                  <a:cs typeface="Calibri" panose="020F0502020204030204" pitchFamily="34" charset="0"/>
                </a:endParaRPr>
              </a:p>
            </p:txBody>
          </p:sp>
          <p:sp>
            <p:nvSpPr>
              <p:cNvPr id="102" name="Google Shape;537;p26">
                <a:extLst>
                  <a:ext uri="{FF2B5EF4-FFF2-40B4-BE49-F238E27FC236}">
                    <a16:creationId xmlns:a16="http://schemas.microsoft.com/office/drawing/2014/main" id="{A522CFC4-3D1D-2102-1AFF-28B74F53F18B}"/>
                  </a:ext>
                </a:extLst>
              </p:cNvPr>
              <p:cNvSpPr/>
              <p:nvPr/>
            </p:nvSpPr>
            <p:spPr>
              <a:xfrm>
                <a:off x="5490181" y="2261108"/>
                <a:ext cx="127168" cy="148815"/>
              </a:xfrm>
              <a:custGeom>
                <a:avLst/>
                <a:gdLst/>
                <a:ahLst/>
                <a:cxnLst/>
                <a:rect l="l" t="t" r="r" b="b"/>
                <a:pathLst>
                  <a:path w="4406" h="5156" extrusionOk="0">
                    <a:moveTo>
                      <a:pt x="2191" y="1250"/>
                    </a:moveTo>
                    <a:cubicBezTo>
                      <a:pt x="2441" y="1250"/>
                      <a:pt x="2643" y="1393"/>
                      <a:pt x="2798" y="1631"/>
                    </a:cubicBezTo>
                    <a:cubicBezTo>
                      <a:pt x="2965" y="1869"/>
                      <a:pt x="3036" y="2179"/>
                      <a:pt x="3036" y="2584"/>
                    </a:cubicBezTo>
                    <a:cubicBezTo>
                      <a:pt x="3036" y="2965"/>
                      <a:pt x="2965" y="3298"/>
                      <a:pt x="2798" y="3536"/>
                    </a:cubicBezTo>
                    <a:cubicBezTo>
                      <a:pt x="2643" y="3762"/>
                      <a:pt x="2441" y="3893"/>
                      <a:pt x="2191" y="3893"/>
                    </a:cubicBezTo>
                    <a:cubicBezTo>
                      <a:pt x="1929" y="3893"/>
                      <a:pt x="1715" y="3774"/>
                      <a:pt x="1572" y="3536"/>
                    </a:cubicBezTo>
                    <a:cubicBezTo>
                      <a:pt x="1405" y="3298"/>
                      <a:pt x="1334" y="2977"/>
                      <a:pt x="1334" y="2584"/>
                    </a:cubicBezTo>
                    <a:cubicBezTo>
                      <a:pt x="1334" y="2191"/>
                      <a:pt x="1417" y="1869"/>
                      <a:pt x="1572" y="1631"/>
                    </a:cubicBezTo>
                    <a:cubicBezTo>
                      <a:pt x="1727" y="1369"/>
                      <a:pt x="1941" y="1250"/>
                      <a:pt x="2191" y="1250"/>
                    </a:cubicBezTo>
                    <a:close/>
                    <a:moveTo>
                      <a:pt x="2203" y="0"/>
                    </a:moveTo>
                    <a:cubicBezTo>
                      <a:pt x="1893" y="0"/>
                      <a:pt x="1596" y="60"/>
                      <a:pt x="1334" y="203"/>
                    </a:cubicBezTo>
                    <a:cubicBezTo>
                      <a:pt x="1060" y="333"/>
                      <a:pt x="822" y="512"/>
                      <a:pt x="631" y="738"/>
                    </a:cubicBezTo>
                    <a:cubicBezTo>
                      <a:pt x="441" y="976"/>
                      <a:pt x="274" y="1238"/>
                      <a:pt x="167" y="1548"/>
                    </a:cubicBezTo>
                    <a:cubicBezTo>
                      <a:pt x="60" y="1869"/>
                      <a:pt x="0" y="2203"/>
                      <a:pt x="0" y="2584"/>
                    </a:cubicBezTo>
                    <a:cubicBezTo>
                      <a:pt x="0" y="2953"/>
                      <a:pt x="60" y="3298"/>
                      <a:pt x="167" y="3608"/>
                    </a:cubicBezTo>
                    <a:cubicBezTo>
                      <a:pt x="274" y="3917"/>
                      <a:pt x="441" y="4203"/>
                      <a:pt x="631" y="4429"/>
                    </a:cubicBezTo>
                    <a:cubicBezTo>
                      <a:pt x="822" y="4667"/>
                      <a:pt x="1060" y="4822"/>
                      <a:pt x="1334" y="4965"/>
                    </a:cubicBezTo>
                    <a:cubicBezTo>
                      <a:pt x="1596" y="5096"/>
                      <a:pt x="1893" y="5156"/>
                      <a:pt x="2203" y="5156"/>
                    </a:cubicBezTo>
                    <a:cubicBezTo>
                      <a:pt x="2524" y="5156"/>
                      <a:pt x="2822" y="5096"/>
                      <a:pt x="3084" y="4965"/>
                    </a:cubicBezTo>
                    <a:cubicBezTo>
                      <a:pt x="3358" y="4822"/>
                      <a:pt x="3596" y="4644"/>
                      <a:pt x="3786" y="4429"/>
                    </a:cubicBezTo>
                    <a:cubicBezTo>
                      <a:pt x="3977" y="4191"/>
                      <a:pt x="4132" y="3917"/>
                      <a:pt x="4251" y="3608"/>
                    </a:cubicBezTo>
                    <a:cubicBezTo>
                      <a:pt x="4346" y="3298"/>
                      <a:pt x="4405" y="2953"/>
                      <a:pt x="4405" y="2584"/>
                    </a:cubicBezTo>
                    <a:cubicBezTo>
                      <a:pt x="4405" y="2203"/>
                      <a:pt x="4346" y="1869"/>
                      <a:pt x="4251" y="1548"/>
                    </a:cubicBezTo>
                    <a:cubicBezTo>
                      <a:pt x="4143" y="1238"/>
                      <a:pt x="3977" y="953"/>
                      <a:pt x="3786" y="738"/>
                    </a:cubicBezTo>
                    <a:cubicBezTo>
                      <a:pt x="3596" y="512"/>
                      <a:pt x="3358" y="333"/>
                      <a:pt x="3084" y="203"/>
                    </a:cubicBezTo>
                    <a:cubicBezTo>
                      <a:pt x="2822" y="60"/>
                      <a:pt x="2524" y="0"/>
                      <a:pt x="2203" y="0"/>
                    </a:cubicBezTo>
                    <a:close/>
                  </a:path>
                </a:pathLst>
              </a:custGeom>
              <a:solidFill>
                <a:srgbClr val="A5A5A5"/>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mn-ea"/>
                  <a:cs typeface="Calibri" panose="020F0502020204030204" pitchFamily="34" charset="0"/>
                </a:endParaRPr>
              </a:p>
            </p:txBody>
          </p:sp>
          <p:sp>
            <p:nvSpPr>
              <p:cNvPr id="103" name="Google Shape;538;p26">
                <a:extLst>
                  <a:ext uri="{FF2B5EF4-FFF2-40B4-BE49-F238E27FC236}">
                    <a16:creationId xmlns:a16="http://schemas.microsoft.com/office/drawing/2014/main" id="{F4AF212D-B5FC-B548-6658-04124C734EB1}"/>
                  </a:ext>
                </a:extLst>
              </p:cNvPr>
              <p:cNvSpPr/>
              <p:nvPr/>
            </p:nvSpPr>
            <p:spPr>
              <a:xfrm>
                <a:off x="5633801" y="2265899"/>
                <a:ext cx="124426" cy="176667"/>
              </a:xfrm>
              <a:custGeom>
                <a:avLst/>
                <a:gdLst/>
                <a:ahLst/>
                <a:cxnLst/>
                <a:rect l="l" t="t" r="r" b="b"/>
                <a:pathLst>
                  <a:path w="4311" h="6121" extrusionOk="0">
                    <a:moveTo>
                      <a:pt x="2215" y="1"/>
                    </a:moveTo>
                    <a:cubicBezTo>
                      <a:pt x="1989" y="1"/>
                      <a:pt x="1775" y="13"/>
                      <a:pt x="1561" y="60"/>
                    </a:cubicBezTo>
                    <a:cubicBezTo>
                      <a:pt x="1358" y="108"/>
                      <a:pt x="1144" y="156"/>
                      <a:pt x="965" y="227"/>
                    </a:cubicBezTo>
                    <a:cubicBezTo>
                      <a:pt x="775" y="287"/>
                      <a:pt x="608" y="370"/>
                      <a:pt x="465" y="477"/>
                    </a:cubicBezTo>
                    <a:cubicBezTo>
                      <a:pt x="310" y="584"/>
                      <a:pt x="191" y="691"/>
                      <a:pt x="96" y="810"/>
                    </a:cubicBezTo>
                    <a:lnTo>
                      <a:pt x="953" y="1787"/>
                    </a:lnTo>
                    <a:cubicBezTo>
                      <a:pt x="1084" y="1584"/>
                      <a:pt x="1239" y="1418"/>
                      <a:pt x="1430" y="1310"/>
                    </a:cubicBezTo>
                    <a:cubicBezTo>
                      <a:pt x="1608" y="1203"/>
                      <a:pt x="1811" y="1144"/>
                      <a:pt x="2049" y="1144"/>
                    </a:cubicBezTo>
                    <a:cubicBezTo>
                      <a:pt x="2275" y="1144"/>
                      <a:pt x="2442" y="1203"/>
                      <a:pt x="2573" y="1299"/>
                    </a:cubicBezTo>
                    <a:cubicBezTo>
                      <a:pt x="2704" y="1382"/>
                      <a:pt x="2763" y="1537"/>
                      <a:pt x="2763" y="1715"/>
                    </a:cubicBezTo>
                    <a:cubicBezTo>
                      <a:pt x="2763" y="1942"/>
                      <a:pt x="2680" y="2096"/>
                      <a:pt x="2501" y="2239"/>
                    </a:cubicBezTo>
                    <a:cubicBezTo>
                      <a:pt x="2323" y="2370"/>
                      <a:pt x="2061" y="2430"/>
                      <a:pt x="1751" y="2430"/>
                    </a:cubicBezTo>
                    <a:lnTo>
                      <a:pt x="1465" y="2430"/>
                    </a:lnTo>
                    <a:lnTo>
                      <a:pt x="1465" y="3394"/>
                    </a:lnTo>
                    <a:lnTo>
                      <a:pt x="1727" y="3394"/>
                    </a:lnTo>
                    <a:cubicBezTo>
                      <a:pt x="2132" y="3394"/>
                      <a:pt x="2430" y="3454"/>
                      <a:pt x="2620" y="3585"/>
                    </a:cubicBezTo>
                    <a:cubicBezTo>
                      <a:pt x="2811" y="3727"/>
                      <a:pt x="2906" y="3918"/>
                      <a:pt x="2906" y="4168"/>
                    </a:cubicBezTo>
                    <a:cubicBezTo>
                      <a:pt x="2906" y="4632"/>
                      <a:pt x="2585" y="4870"/>
                      <a:pt x="1954" y="4870"/>
                    </a:cubicBezTo>
                    <a:cubicBezTo>
                      <a:pt x="1680" y="4870"/>
                      <a:pt x="1442" y="4823"/>
                      <a:pt x="1251" y="4751"/>
                    </a:cubicBezTo>
                    <a:cubicBezTo>
                      <a:pt x="1061" y="4680"/>
                      <a:pt x="870" y="4561"/>
                      <a:pt x="727" y="4394"/>
                    </a:cubicBezTo>
                    <a:lnTo>
                      <a:pt x="1" y="5359"/>
                    </a:lnTo>
                    <a:cubicBezTo>
                      <a:pt x="477" y="5871"/>
                      <a:pt x="1144" y="6121"/>
                      <a:pt x="2001" y="6121"/>
                    </a:cubicBezTo>
                    <a:cubicBezTo>
                      <a:pt x="2358" y="6121"/>
                      <a:pt x="2680" y="6073"/>
                      <a:pt x="2954" y="6002"/>
                    </a:cubicBezTo>
                    <a:cubicBezTo>
                      <a:pt x="3239" y="5930"/>
                      <a:pt x="3501" y="5811"/>
                      <a:pt x="3692" y="5656"/>
                    </a:cubicBezTo>
                    <a:cubicBezTo>
                      <a:pt x="3882" y="5513"/>
                      <a:pt x="4049" y="5335"/>
                      <a:pt x="4144" y="5120"/>
                    </a:cubicBezTo>
                    <a:cubicBezTo>
                      <a:pt x="4251" y="4918"/>
                      <a:pt x="4311" y="4680"/>
                      <a:pt x="4311" y="4406"/>
                    </a:cubicBezTo>
                    <a:cubicBezTo>
                      <a:pt x="4311" y="4216"/>
                      <a:pt x="4287" y="4037"/>
                      <a:pt x="4228" y="3858"/>
                    </a:cubicBezTo>
                    <a:cubicBezTo>
                      <a:pt x="4168" y="3680"/>
                      <a:pt x="4097" y="3525"/>
                      <a:pt x="3990" y="3394"/>
                    </a:cubicBezTo>
                    <a:cubicBezTo>
                      <a:pt x="3882" y="3263"/>
                      <a:pt x="3763" y="3156"/>
                      <a:pt x="3620" y="3073"/>
                    </a:cubicBezTo>
                    <a:cubicBezTo>
                      <a:pt x="3478" y="2977"/>
                      <a:pt x="3323" y="2918"/>
                      <a:pt x="3144" y="2894"/>
                    </a:cubicBezTo>
                    <a:cubicBezTo>
                      <a:pt x="3299" y="2858"/>
                      <a:pt x="3454" y="2799"/>
                      <a:pt x="3585" y="2692"/>
                    </a:cubicBezTo>
                    <a:cubicBezTo>
                      <a:pt x="3716" y="2608"/>
                      <a:pt x="3835" y="2501"/>
                      <a:pt x="3930" y="2382"/>
                    </a:cubicBezTo>
                    <a:cubicBezTo>
                      <a:pt x="4013" y="2263"/>
                      <a:pt x="4097" y="2120"/>
                      <a:pt x="4156" y="1965"/>
                    </a:cubicBezTo>
                    <a:cubicBezTo>
                      <a:pt x="4192" y="1822"/>
                      <a:pt x="4228" y="1656"/>
                      <a:pt x="4228" y="1489"/>
                    </a:cubicBezTo>
                    <a:cubicBezTo>
                      <a:pt x="4228" y="1263"/>
                      <a:pt x="4168" y="1060"/>
                      <a:pt x="4073" y="882"/>
                    </a:cubicBezTo>
                    <a:cubicBezTo>
                      <a:pt x="3990" y="703"/>
                      <a:pt x="3859" y="537"/>
                      <a:pt x="3680" y="406"/>
                    </a:cubicBezTo>
                    <a:cubicBezTo>
                      <a:pt x="3501" y="287"/>
                      <a:pt x="3287" y="179"/>
                      <a:pt x="3037" y="108"/>
                    </a:cubicBezTo>
                    <a:cubicBezTo>
                      <a:pt x="2787" y="37"/>
                      <a:pt x="2513" y="1"/>
                      <a:pt x="2215" y="1"/>
                    </a:cubicBezTo>
                    <a:close/>
                  </a:path>
                </a:pathLst>
              </a:custGeom>
              <a:solidFill>
                <a:srgbClr val="A5A5A5"/>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mn-ea"/>
                  <a:cs typeface="Calibri" panose="020F0502020204030204" pitchFamily="34" charset="0"/>
                </a:endParaRPr>
              </a:p>
            </p:txBody>
          </p:sp>
          <p:sp>
            <p:nvSpPr>
              <p:cNvPr id="104" name="Google Shape;539;p26">
                <a:extLst>
                  <a:ext uri="{FF2B5EF4-FFF2-40B4-BE49-F238E27FC236}">
                    <a16:creationId xmlns:a16="http://schemas.microsoft.com/office/drawing/2014/main" id="{53A41A81-95D0-B16D-F170-4A8A6870B3B2}"/>
                  </a:ext>
                </a:extLst>
              </p:cNvPr>
              <p:cNvSpPr/>
              <p:nvPr/>
            </p:nvSpPr>
            <p:spPr>
              <a:xfrm>
                <a:off x="5263351" y="3690321"/>
                <a:ext cx="186307" cy="216844"/>
              </a:xfrm>
              <a:custGeom>
                <a:avLst/>
                <a:gdLst/>
                <a:ahLst/>
                <a:cxnLst/>
                <a:rect l="l" t="t" r="r" b="b"/>
                <a:pathLst>
                  <a:path w="6455" h="7513" extrusionOk="0">
                    <a:moveTo>
                      <a:pt x="3216" y="1834"/>
                    </a:moveTo>
                    <a:cubicBezTo>
                      <a:pt x="3597" y="1834"/>
                      <a:pt x="3894" y="2012"/>
                      <a:pt x="4109" y="2369"/>
                    </a:cubicBezTo>
                    <a:cubicBezTo>
                      <a:pt x="4335" y="2727"/>
                      <a:pt x="4454" y="3191"/>
                      <a:pt x="4454" y="3762"/>
                    </a:cubicBezTo>
                    <a:cubicBezTo>
                      <a:pt x="4454" y="4346"/>
                      <a:pt x="4335" y="4810"/>
                      <a:pt x="4109" y="5167"/>
                    </a:cubicBezTo>
                    <a:cubicBezTo>
                      <a:pt x="3871" y="5525"/>
                      <a:pt x="3573" y="5703"/>
                      <a:pt x="3216" y="5703"/>
                    </a:cubicBezTo>
                    <a:cubicBezTo>
                      <a:pt x="2847" y="5703"/>
                      <a:pt x="2537" y="5525"/>
                      <a:pt x="2311" y="5167"/>
                    </a:cubicBezTo>
                    <a:cubicBezTo>
                      <a:pt x="2085" y="4810"/>
                      <a:pt x="1966" y="4346"/>
                      <a:pt x="1966" y="3762"/>
                    </a:cubicBezTo>
                    <a:cubicBezTo>
                      <a:pt x="1966" y="3191"/>
                      <a:pt x="2085" y="2727"/>
                      <a:pt x="2311" y="2369"/>
                    </a:cubicBezTo>
                    <a:cubicBezTo>
                      <a:pt x="2537" y="2012"/>
                      <a:pt x="2847" y="1834"/>
                      <a:pt x="3216" y="1834"/>
                    </a:cubicBezTo>
                    <a:close/>
                    <a:moveTo>
                      <a:pt x="3216" y="0"/>
                    </a:moveTo>
                    <a:cubicBezTo>
                      <a:pt x="2763" y="0"/>
                      <a:pt x="2347" y="95"/>
                      <a:pt x="1942" y="286"/>
                    </a:cubicBezTo>
                    <a:cubicBezTo>
                      <a:pt x="1537" y="476"/>
                      <a:pt x="1192" y="750"/>
                      <a:pt x="918" y="1072"/>
                    </a:cubicBezTo>
                    <a:cubicBezTo>
                      <a:pt x="632" y="1417"/>
                      <a:pt x="406" y="1798"/>
                      <a:pt x="239" y="2262"/>
                    </a:cubicBezTo>
                    <a:cubicBezTo>
                      <a:pt x="84" y="2727"/>
                      <a:pt x="1" y="3215"/>
                      <a:pt x="1" y="3762"/>
                    </a:cubicBezTo>
                    <a:cubicBezTo>
                      <a:pt x="1" y="4322"/>
                      <a:pt x="84" y="4810"/>
                      <a:pt x="239" y="5275"/>
                    </a:cubicBezTo>
                    <a:cubicBezTo>
                      <a:pt x="406" y="5727"/>
                      <a:pt x="632" y="6132"/>
                      <a:pt x="918" y="6465"/>
                    </a:cubicBezTo>
                    <a:cubicBezTo>
                      <a:pt x="1192" y="6787"/>
                      <a:pt x="1537" y="7060"/>
                      <a:pt x="1942" y="7239"/>
                    </a:cubicBezTo>
                    <a:cubicBezTo>
                      <a:pt x="2323" y="7430"/>
                      <a:pt x="2763" y="7513"/>
                      <a:pt x="3216" y="7513"/>
                    </a:cubicBezTo>
                    <a:cubicBezTo>
                      <a:pt x="3680" y="7513"/>
                      <a:pt x="4109" y="7418"/>
                      <a:pt x="4502" y="7239"/>
                    </a:cubicBezTo>
                    <a:cubicBezTo>
                      <a:pt x="4883" y="7060"/>
                      <a:pt x="5228" y="6787"/>
                      <a:pt x="5514" y="6465"/>
                    </a:cubicBezTo>
                    <a:cubicBezTo>
                      <a:pt x="5811" y="6120"/>
                      <a:pt x="6037" y="5727"/>
                      <a:pt x="6192" y="5275"/>
                    </a:cubicBezTo>
                    <a:cubicBezTo>
                      <a:pt x="6359" y="4810"/>
                      <a:pt x="6454" y="4322"/>
                      <a:pt x="6454" y="3762"/>
                    </a:cubicBezTo>
                    <a:cubicBezTo>
                      <a:pt x="6454" y="3227"/>
                      <a:pt x="6359" y="2727"/>
                      <a:pt x="6192" y="2262"/>
                    </a:cubicBezTo>
                    <a:cubicBezTo>
                      <a:pt x="6037" y="1798"/>
                      <a:pt x="5799" y="1405"/>
                      <a:pt x="5514" y="1072"/>
                    </a:cubicBezTo>
                    <a:cubicBezTo>
                      <a:pt x="5228" y="726"/>
                      <a:pt x="4883" y="476"/>
                      <a:pt x="4502" y="286"/>
                    </a:cubicBezTo>
                    <a:cubicBezTo>
                      <a:pt x="4109" y="95"/>
                      <a:pt x="3680" y="0"/>
                      <a:pt x="3216" y="0"/>
                    </a:cubicBezTo>
                    <a:close/>
                  </a:path>
                </a:pathLst>
              </a:custGeom>
              <a:solidFill>
                <a:srgbClr val="ED7D3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mn-ea"/>
                  <a:cs typeface="Calibri" panose="020F0502020204030204" pitchFamily="34" charset="0"/>
                </a:endParaRPr>
              </a:p>
            </p:txBody>
          </p:sp>
          <p:sp>
            <p:nvSpPr>
              <p:cNvPr id="105" name="Google Shape;540;p26">
                <a:extLst>
                  <a:ext uri="{FF2B5EF4-FFF2-40B4-BE49-F238E27FC236}">
                    <a16:creationId xmlns:a16="http://schemas.microsoft.com/office/drawing/2014/main" id="{89D0E054-D32D-46EF-C5A2-74A25A390A78}"/>
                  </a:ext>
                </a:extLst>
              </p:cNvPr>
              <p:cNvSpPr/>
              <p:nvPr/>
            </p:nvSpPr>
            <p:spPr>
              <a:xfrm>
                <a:off x="5472287" y="3699932"/>
                <a:ext cx="186654" cy="249170"/>
              </a:xfrm>
              <a:custGeom>
                <a:avLst/>
                <a:gdLst/>
                <a:ahLst/>
                <a:cxnLst/>
                <a:rect l="l" t="t" r="r" b="b"/>
                <a:pathLst>
                  <a:path w="6467" h="8633" extrusionOk="0">
                    <a:moveTo>
                      <a:pt x="3632" y="2977"/>
                    </a:moveTo>
                    <a:lnTo>
                      <a:pt x="3632" y="5156"/>
                    </a:lnTo>
                    <a:lnTo>
                      <a:pt x="1954" y="5156"/>
                    </a:lnTo>
                    <a:lnTo>
                      <a:pt x="3632" y="2977"/>
                    </a:lnTo>
                    <a:close/>
                    <a:moveTo>
                      <a:pt x="4037" y="0"/>
                    </a:moveTo>
                    <a:lnTo>
                      <a:pt x="1" y="5156"/>
                    </a:lnTo>
                    <a:lnTo>
                      <a:pt x="1" y="6930"/>
                    </a:lnTo>
                    <a:lnTo>
                      <a:pt x="3394" y="6930"/>
                    </a:lnTo>
                    <a:lnTo>
                      <a:pt x="3394" y="8632"/>
                    </a:lnTo>
                    <a:lnTo>
                      <a:pt x="5383" y="8632"/>
                    </a:lnTo>
                    <a:lnTo>
                      <a:pt x="5383" y="6930"/>
                    </a:lnTo>
                    <a:lnTo>
                      <a:pt x="6466" y="6930"/>
                    </a:lnTo>
                    <a:lnTo>
                      <a:pt x="6466" y="5144"/>
                    </a:lnTo>
                    <a:lnTo>
                      <a:pt x="5383" y="5144"/>
                    </a:lnTo>
                    <a:lnTo>
                      <a:pt x="5383" y="0"/>
                    </a:lnTo>
                    <a:close/>
                  </a:path>
                </a:pathLst>
              </a:custGeom>
              <a:solidFill>
                <a:srgbClr val="ED7D3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mn-ea"/>
                  <a:cs typeface="Calibri" panose="020F0502020204030204" pitchFamily="34" charset="0"/>
                </a:endParaRPr>
              </a:p>
            </p:txBody>
          </p:sp>
          <p:sp>
            <p:nvSpPr>
              <p:cNvPr id="106" name="Google Shape;541;p26">
                <a:extLst>
                  <a:ext uri="{FF2B5EF4-FFF2-40B4-BE49-F238E27FC236}">
                    <a16:creationId xmlns:a16="http://schemas.microsoft.com/office/drawing/2014/main" id="{C7EB9202-4E4B-0D4E-AF05-116BA98829D7}"/>
                  </a:ext>
                </a:extLst>
              </p:cNvPr>
              <p:cNvSpPr/>
              <p:nvPr/>
            </p:nvSpPr>
            <p:spPr>
              <a:xfrm>
                <a:off x="3670228" y="4009887"/>
                <a:ext cx="127168" cy="148844"/>
              </a:xfrm>
              <a:custGeom>
                <a:avLst/>
                <a:gdLst/>
                <a:ahLst/>
                <a:cxnLst/>
                <a:rect l="l" t="t" r="r" b="b"/>
                <a:pathLst>
                  <a:path w="4406" h="5157" extrusionOk="0">
                    <a:moveTo>
                      <a:pt x="2191" y="1251"/>
                    </a:moveTo>
                    <a:cubicBezTo>
                      <a:pt x="2441" y="1251"/>
                      <a:pt x="2632" y="1382"/>
                      <a:pt x="2799" y="1620"/>
                    </a:cubicBezTo>
                    <a:cubicBezTo>
                      <a:pt x="2965" y="1858"/>
                      <a:pt x="3037" y="2180"/>
                      <a:pt x="3037" y="2573"/>
                    </a:cubicBezTo>
                    <a:cubicBezTo>
                      <a:pt x="3037" y="2977"/>
                      <a:pt x="2965" y="3287"/>
                      <a:pt x="2799" y="3525"/>
                    </a:cubicBezTo>
                    <a:cubicBezTo>
                      <a:pt x="2632" y="3763"/>
                      <a:pt x="2441" y="3882"/>
                      <a:pt x="2191" y="3882"/>
                    </a:cubicBezTo>
                    <a:cubicBezTo>
                      <a:pt x="1918" y="3882"/>
                      <a:pt x="1715" y="3763"/>
                      <a:pt x="1560" y="3525"/>
                    </a:cubicBezTo>
                    <a:cubicBezTo>
                      <a:pt x="1394" y="3287"/>
                      <a:pt x="1322" y="2977"/>
                      <a:pt x="1322" y="2573"/>
                    </a:cubicBezTo>
                    <a:cubicBezTo>
                      <a:pt x="1322" y="2192"/>
                      <a:pt x="1417" y="1858"/>
                      <a:pt x="1560" y="1620"/>
                    </a:cubicBezTo>
                    <a:cubicBezTo>
                      <a:pt x="1727" y="1370"/>
                      <a:pt x="1929" y="1251"/>
                      <a:pt x="2191" y="1251"/>
                    </a:cubicBezTo>
                    <a:close/>
                    <a:moveTo>
                      <a:pt x="2203" y="1"/>
                    </a:moveTo>
                    <a:cubicBezTo>
                      <a:pt x="1894" y="1"/>
                      <a:pt x="1596" y="60"/>
                      <a:pt x="1322" y="191"/>
                    </a:cubicBezTo>
                    <a:cubicBezTo>
                      <a:pt x="1060" y="334"/>
                      <a:pt x="822" y="513"/>
                      <a:pt x="632" y="727"/>
                    </a:cubicBezTo>
                    <a:cubicBezTo>
                      <a:pt x="429" y="965"/>
                      <a:pt x="274" y="1239"/>
                      <a:pt x="167" y="1549"/>
                    </a:cubicBezTo>
                    <a:cubicBezTo>
                      <a:pt x="60" y="1858"/>
                      <a:pt x="1" y="2204"/>
                      <a:pt x="1" y="2573"/>
                    </a:cubicBezTo>
                    <a:cubicBezTo>
                      <a:pt x="1" y="2954"/>
                      <a:pt x="60" y="3287"/>
                      <a:pt x="167" y="3608"/>
                    </a:cubicBezTo>
                    <a:cubicBezTo>
                      <a:pt x="274" y="3918"/>
                      <a:pt x="429" y="4204"/>
                      <a:pt x="632" y="4418"/>
                    </a:cubicBezTo>
                    <a:cubicBezTo>
                      <a:pt x="822" y="4656"/>
                      <a:pt x="1060" y="4823"/>
                      <a:pt x="1322" y="4954"/>
                    </a:cubicBezTo>
                    <a:cubicBezTo>
                      <a:pt x="1596" y="5097"/>
                      <a:pt x="1894" y="5156"/>
                      <a:pt x="2203" y="5156"/>
                    </a:cubicBezTo>
                    <a:cubicBezTo>
                      <a:pt x="2513" y="5156"/>
                      <a:pt x="2810" y="5097"/>
                      <a:pt x="3084" y="4954"/>
                    </a:cubicBezTo>
                    <a:cubicBezTo>
                      <a:pt x="3346" y="4823"/>
                      <a:pt x="3584" y="4644"/>
                      <a:pt x="3787" y="4418"/>
                    </a:cubicBezTo>
                    <a:cubicBezTo>
                      <a:pt x="3977" y="4180"/>
                      <a:pt x="4120" y="3918"/>
                      <a:pt x="4239" y="3608"/>
                    </a:cubicBezTo>
                    <a:cubicBezTo>
                      <a:pt x="4346" y="3287"/>
                      <a:pt x="4406" y="2954"/>
                      <a:pt x="4406" y="2573"/>
                    </a:cubicBezTo>
                    <a:cubicBezTo>
                      <a:pt x="4406" y="2204"/>
                      <a:pt x="4346" y="1858"/>
                      <a:pt x="4239" y="1549"/>
                    </a:cubicBezTo>
                    <a:cubicBezTo>
                      <a:pt x="4144" y="1239"/>
                      <a:pt x="3977" y="953"/>
                      <a:pt x="3787" y="727"/>
                    </a:cubicBezTo>
                    <a:cubicBezTo>
                      <a:pt x="3584" y="513"/>
                      <a:pt x="3346" y="334"/>
                      <a:pt x="3084" y="191"/>
                    </a:cubicBezTo>
                    <a:cubicBezTo>
                      <a:pt x="2810" y="60"/>
                      <a:pt x="2513" y="1"/>
                      <a:pt x="2203" y="1"/>
                    </a:cubicBezTo>
                    <a:close/>
                  </a:path>
                </a:pathLst>
              </a:custGeom>
              <a:solidFill>
                <a:srgbClr val="4472C4"/>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mn-ea"/>
                  <a:cs typeface="Calibri" panose="020F0502020204030204" pitchFamily="34" charset="0"/>
                </a:endParaRPr>
              </a:p>
            </p:txBody>
          </p:sp>
          <p:sp>
            <p:nvSpPr>
              <p:cNvPr id="107" name="Google Shape;542;p26">
                <a:extLst>
                  <a:ext uri="{FF2B5EF4-FFF2-40B4-BE49-F238E27FC236}">
                    <a16:creationId xmlns:a16="http://schemas.microsoft.com/office/drawing/2014/main" id="{CE915B73-0609-4725-6A5A-F7C547162D82}"/>
                  </a:ext>
                </a:extLst>
              </p:cNvPr>
              <p:cNvSpPr/>
              <p:nvPr/>
            </p:nvSpPr>
            <p:spPr>
              <a:xfrm>
                <a:off x="3814915" y="4016785"/>
                <a:ext cx="122694" cy="175628"/>
              </a:xfrm>
              <a:custGeom>
                <a:avLst/>
                <a:gdLst/>
                <a:ahLst/>
                <a:cxnLst/>
                <a:rect l="l" t="t" r="r" b="b"/>
                <a:pathLst>
                  <a:path w="4251" h="6085" extrusionOk="0">
                    <a:moveTo>
                      <a:pt x="857" y="0"/>
                    </a:moveTo>
                    <a:cubicBezTo>
                      <a:pt x="738" y="667"/>
                      <a:pt x="619" y="1262"/>
                      <a:pt x="512" y="1798"/>
                    </a:cubicBezTo>
                    <a:cubicBezTo>
                      <a:pt x="464" y="2036"/>
                      <a:pt x="417" y="2250"/>
                      <a:pt x="381" y="2477"/>
                    </a:cubicBezTo>
                    <a:cubicBezTo>
                      <a:pt x="345" y="2679"/>
                      <a:pt x="298" y="2869"/>
                      <a:pt x="274" y="3048"/>
                    </a:cubicBezTo>
                    <a:cubicBezTo>
                      <a:pt x="238" y="3227"/>
                      <a:pt x="226" y="3381"/>
                      <a:pt x="203" y="3489"/>
                    </a:cubicBezTo>
                    <a:cubicBezTo>
                      <a:pt x="179" y="3608"/>
                      <a:pt x="167" y="3667"/>
                      <a:pt x="167" y="3667"/>
                    </a:cubicBezTo>
                    <a:lnTo>
                      <a:pt x="1346" y="3667"/>
                    </a:lnTo>
                    <a:cubicBezTo>
                      <a:pt x="1417" y="3548"/>
                      <a:pt x="1524" y="3453"/>
                      <a:pt x="1655" y="3381"/>
                    </a:cubicBezTo>
                    <a:cubicBezTo>
                      <a:pt x="1774" y="3310"/>
                      <a:pt x="1929" y="3274"/>
                      <a:pt x="2072" y="3274"/>
                    </a:cubicBezTo>
                    <a:cubicBezTo>
                      <a:pt x="2310" y="3274"/>
                      <a:pt x="2500" y="3346"/>
                      <a:pt x="2655" y="3500"/>
                    </a:cubicBezTo>
                    <a:cubicBezTo>
                      <a:pt x="2798" y="3643"/>
                      <a:pt x="2870" y="3846"/>
                      <a:pt x="2870" y="4084"/>
                    </a:cubicBezTo>
                    <a:cubicBezTo>
                      <a:pt x="2870" y="4334"/>
                      <a:pt x="2798" y="4536"/>
                      <a:pt x="2631" y="4691"/>
                    </a:cubicBezTo>
                    <a:cubicBezTo>
                      <a:pt x="2477" y="4834"/>
                      <a:pt x="2262" y="4917"/>
                      <a:pt x="2000" y="4917"/>
                    </a:cubicBezTo>
                    <a:cubicBezTo>
                      <a:pt x="1762" y="4917"/>
                      <a:pt x="1548" y="4858"/>
                      <a:pt x="1334" y="4739"/>
                    </a:cubicBezTo>
                    <a:cubicBezTo>
                      <a:pt x="1119" y="4620"/>
                      <a:pt x="929" y="4453"/>
                      <a:pt x="762" y="4262"/>
                    </a:cubicBezTo>
                    <a:lnTo>
                      <a:pt x="0" y="5096"/>
                    </a:lnTo>
                    <a:cubicBezTo>
                      <a:pt x="179" y="5405"/>
                      <a:pt x="453" y="5644"/>
                      <a:pt x="786" y="5822"/>
                    </a:cubicBezTo>
                    <a:cubicBezTo>
                      <a:pt x="1143" y="6001"/>
                      <a:pt x="1536" y="6084"/>
                      <a:pt x="1977" y="6084"/>
                    </a:cubicBezTo>
                    <a:cubicBezTo>
                      <a:pt x="2310" y="6084"/>
                      <a:pt x="2608" y="6048"/>
                      <a:pt x="2893" y="5941"/>
                    </a:cubicBezTo>
                    <a:cubicBezTo>
                      <a:pt x="3167" y="5834"/>
                      <a:pt x="3417" y="5703"/>
                      <a:pt x="3608" y="5525"/>
                    </a:cubicBezTo>
                    <a:cubicBezTo>
                      <a:pt x="3810" y="5346"/>
                      <a:pt x="3965" y="5132"/>
                      <a:pt x="4084" y="4882"/>
                    </a:cubicBezTo>
                    <a:cubicBezTo>
                      <a:pt x="4191" y="4632"/>
                      <a:pt x="4251" y="4346"/>
                      <a:pt x="4251" y="4048"/>
                    </a:cubicBezTo>
                    <a:cubicBezTo>
                      <a:pt x="4251" y="3762"/>
                      <a:pt x="4203" y="3500"/>
                      <a:pt x="4096" y="3262"/>
                    </a:cubicBezTo>
                    <a:cubicBezTo>
                      <a:pt x="3989" y="3024"/>
                      <a:pt x="3858" y="2810"/>
                      <a:pt x="3679" y="2655"/>
                    </a:cubicBezTo>
                    <a:cubicBezTo>
                      <a:pt x="3501" y="2477"/>
                      <a:pt x="3298" y="2334"/>
                      <a:pt x="3060" y="2250"/>
                    </a:cubicBezTo>
                    <a:cubicBezTo>
                      <a:pt x="2822" y="2143"/>
                      <a:pt x="2548" y="2096"/>
                      <a:pt x="2262" y="2096"/>
                    </a:cubicBezTo>
                    <a:cubicBezTo>
                      <a:pt x="2108" y="2096"/>
                      <a:pt x="1965" y="2119"/>
                      <a:pt x="1846" y="2155"/>
                    </a:cubicBezTo>
                    <a:cubicBezTo>
                      <a:pt x="1762" y="2191"/>
                      <a:pt x="1691" y="2215"/>
                      <a:pt x="1655" y="2262"/>
                    </a:cubicBezTo>
                    <a:lnTo>
                      <a:pt x="1822" y="1238"/>
                    </a:lnTo>
                    <a:lnTo>
                      <a:pt x="3834" y="1238"/>
                    </a:lnTo>
                    <a:lnTo>
                      <a:pt x="3834" y="0"/>
                    </a:lnTo>
                    <a:close/>
                  </a:path>
                </a:pathLst>
              </a:custGeom>
              <a:solidFill>
                <a:srgbClr val="4472C4"/>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mn-ea"/>
                  <a:cs typeface="Calibri" panose="020F0502020204030204" pitchFamily="34" charset="0"/>
                </a:endParaRPr>
              </a:p>
            </p:txBody>
          </p:sp>
          <p:sp>
            <p:nvSpPr>
              <p:cNvPr id="108" name="Google Shape;543;p26">
                <a:extLst>
                  <a:ext uri="{FF2B5EF4-FFF2-40B4-BE49-F238E27FC236}">
                    <a16:creationId xmlns:a16="http://schemas.microsoft.com/office/drawing/2014/main" id="{C85DB12D-B837-F1FA-9D56-0FBA9704B9DB}"/>
                  </a:ext>
                </a:extLst>
              </p:cNvPr>
              <p:cNvSpPr/>
              <p:nvPr/>
            </p:nvSpPr>
            <p:spPr>
              <a:xfrm>
                <a:off x="3386394" y="2578970"/>
                <a:ext cx="161197" cy="204491"/>
              </a:xfrm>
              <a:custGeom>
                <a:avLst/>
                <a:gdLst/>
                <a:ahLst/>
                <a:cxnLst/>
                <a:rect l="l" t="t" r="r" b="b"/>
                <a:pathLst>
                  <a:path w="5585" h="7085" extrusionOk="0">
                    <a:moveTo>
                      <a:pt x="1988" y="0"/>
                    </a:moveTo>
                    <a:cubicBezTo>
                      <a:pt x="1953" y="96"/>
                      <a:pt x="1846" y="203"/>
                      <a:pt x="1679" y="334"/>
                    </a:cubicBezTo>
                    <a:cubicBezTo>
                      <a:pt x="1512" y="465"/>
                      <a:pt x="1334" y="584"/>
                      <a:pt x="1131" y="715"/>
                    </a:cubicBezTo>
                    <a:cubicBezTo>
                      <a:pt x="917" y="858"/>
                      <a:pt x="714" y="953"/>
                      <a:pt x="500" y="1048"/>
                    </a:cubicBezTo>
                    <a:cubicBezTo>
                      <a:pt x="298" y="1131"/>
                      <a:pt x="131" y="1179"/>
                      <a:pt x="0" y="1179"/>
                    </a:cubicBezTo>
                    <a:lnTo>
                      <a:pt x="0" y="3013"/>
                    </a:lnTo>
                    <a:cubicBezTo>
                      <a:pt x="143" y="3013"/>
                      <a:pt x="322" y="3001"/>
                      <a:pt x="536" y="2941"/>
                    </a:cubicBezTo>
                    <a:cubicBezTo>
                      <a:pt x="738" y="2894"/>
                      <a:pt x="941" y="2822"/>
                      <a:pt x="1131" y="2727"/>
                    </a:cubicBezTo>
                    <a:cubicBezTo>
                      <a:pt x="1322" y="2644"/>
                      <a:pt x="1488" y="2548"/>
                      <a:pt x="1655" y="2441"/>
                    </a:cubicBezTo>
                    <a:cubicBezTo>
                      <a:pt x="1798" y="2346"/>
                      <a:pt x="1917" y="2251"/>
                      <a:pt x="1988" y="2143"/>
                    </a:cubicBezTo>
                    <a:lnTo>
                      <a:pt x="1988" y="5299"/>
                    </a:lnTo>
                    <a:lnTo>
                      <a:pt x="238" y="5299"/>
                    </a:lnTo>
                    <a:lnTo>
                      <a:pt x="238" y="7085"/>
                    </a:lnTo>
                    <a:lnTo>
                      <a:pt x="5584" y="7085"/>
                    </a:lnTo>
                    <a:lnTo>
                      <a:pt x="5584" y="5299"/>
                    </a:lnTo>
                    <a:lnTo>
                      <a:pt x="5584" y="5287"/>
                    </a:lnTo>
                    <a:lnTo>
                      <a:pt x="4001" y="5287"/>
                    </a:lnTo>
                    <a:lnTo>
                      <a:pt x="4001" y="0"/>
                    </a:lnTo>
                    <a:close/>
                  </a:path>
                </a:pathLst>
              </a:custGeom>
              <a:solidFill>
                <a:srgbClr val="5B9BD5"/>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33" b="0" i="0" u="none" strike="noStrike" kern="0" cap="none" spc="0" normalizeH="0" baseline="0" noProof="0">
                  <a:ln>
                    <a:noFill/>
                  </a:ln>
                  <a:solidFill>
                    <a:srgbClr val="5B9BD5"/>
                  </a:solidFill>
                  <a:effectLst/>
                  <a:uLnTx/>
                  <a:uFillTx/>
                  <a:ea typeface="Roboto"/>
                  <a:cs typeface="Calibri" panose="020F0502020204030204" pitchFamily="34" charset="0"/>
                  <a:sym typeface="Roboto"/>
                </a:endParaRPr>
              </a:p>
            </p:txBody>
          </p:sp>
          <p:sp>
            <p:nvSpPr>
              <p:cNvPr id="109" name="Google Shape;544;p26">
                <a:extLst>
                  <a:ext uri="{FF2B5EF4-FFF2-40B4-BE49-F238E27FC236}">
                    <a16:creationId xmlns:a16="http://schemas.microsoft.com/office/drawing/2014/main" id="{51ABFB83-3FE6-5BA9-5EE7-8C11E6B4314A}"/>
                  </a:ext>
                </a:extLst>
              </p:cNvPr>
              <p:cNvSpPr/>
              <p:nvPr/>
            </p:nvSpPr>
            <p:spPr>
              <a:xfrm>
                <a:off x="3168511" y="2570023"/>
                <a:ext cx="185932" cy="216873"/>
              </a:xfrm>
              <a:custGeom>
                <a:avLst/>
                <a:gdLst/>
                <a:ahLst/>
                <a:cxnLst/>
                <a:rect l="l" t="t" r="r" b="b"/>
                <a:pathLst>
                  <a:path w="6442" h="7514" extrusionOk="0">
                    <a:moveTo>
                      <a:pt x="3227" y="1834"/>
                    </a:moveTo>
                    <a:cubicBezTo>
                      <a:pt x="3608" y="1834"/>
                      <a:pt x="3906" y="2013"/>
                      <a:pt x="4120" y="2370"/>
                    </a:cubicBezTo>
                    <a:cubicBezTo>
                      <a:pt x="4346" y="2727"/>
                      <a:pt x="4465" y="3192"/>
                      <a:pt x="4465" y="3763"/>
                    </a:cubicBezTo>
                    <a:cubicBezTo>
                      <a:pt x="4465" y="4347"/>
                      <a:pt x="4346" y="4811"/>
                      <a:pt x="4120" y="5168"/>
                    </a:cubicBezTo>
                    <a:cubicBezTo>
                      <a:pt x="3882" y="5525"/>
                      <a:pt x="3584" y="5704"/>
                      <a:pt x="3227" y="5704"/>
                    </a:cubicBezTo>
                    <a:cubicBezTo>
                      <a:pt x="2858" y="5704"/>
                      <a:pt x="2548" y="5525"/>
                      <a:pt x="2322" y="5168"/>
                    </a:cubicBezTo>
                    <a:cubicBezTo>
                      <a:pt x="2096" y="4811"/>
                      <a:pt x="1977" y="4347"/>
                      <a:pt x="1977" y="3763"/>
                    </a:cubicBezTo>
                    <a:cubicBezTo>
                      <a:pt x="1977" y="3192"/>
                      <a:pt x="2096" y="2727"/>
                      <a:pt x="2322" y="2370"/>
                    </a:cubicBezTo>
                    <a:cubicBezTo>
                      <a:pt x="2548" y="2013"/>
                      <a:pt x="2858" y="1834"/>
                      <a:pt x="3227" y="1834"/>
                    </a:cubicBezTo>
                    <a:close/>
                    <a:moveTo>
                      <a:pt x="3215" y="1"/>
                    </a:moveTo>
                    <a:cubicBezTo>
                      <a:pt x="2751" y="1"/>
                      <a:pt x="2334" y="84"/>
                      <a:pt x="1941" y="287"/>
                    </a:cubicBezTo>
                    <a:cubicBezTo>
                      <a:pt x="1536" y="477"/>
                      <a:pt x="1191" y="751"/>
                      <a:pt x="905" y="1072"/>
                    </a:cubicBezTo>
                    <a:cubicBezTo>
                      <a:pt x="632" y="1418"/>
                      <a:pt x="405" y="1799"/>
                      <a:pt x="239" y="2263"/>
                    </a:cubicBezTo>
                    <a:cubicBezTo>
                      <a:pt x="72" y="2727"/>
                      <a:pt x="0" y="3215"/>
                      <a:pt x="0" y="3763"/>
                    </a:cubicBezTo>
                    <a:cubicBezTo>
                      <a:pt x="0" y="4323"/>
                      <a:pt x="72" y="4811"/>
                      <a:pt x="239" y="5275"/>
                    </a:cubicBezTo>
                    <a:cubicBezTo>
                      <a:pt x="405" y="5728"/>
                      <a:pt x="632" y="6133"/>
                      <a:pt x="905" y="6466"/>
                    </a:cubicBezTo>
                    <a:cubicBezTo>
                      <a:pt x="1191" y="6787"/>
                      <a:pt x="1536" y="7061"/>
                      <a:pt x="1941" y="7240"/>
                    </a:cubicBezTo>
                    <a:cubicBezTo>
                      <a:pt x="2322" y="7430"/>
                      <a:pt x="2751" y="7514"/>
                      <a:pt x="3215" y="7514"/>
                    </a:cubicBezTo>
                    <a:cubicBezTo>
                      <a:pt x="3680" y="7514"/>
                      <a:pt x="4108" y="7418"/>
                      <a:pt x="4501" y="7240"/>
                    </a:cubicBezTo>
                    <a:cubicBezTo>
                      <a:pt x="4882" y="7061"/>
                      <a:pt x="5227" y="6787"/>
                      <a:pt x="5513" y="6466"/>
                    </a:cubicBezTo>
                    <a:cubicBezTo>
                      <a:pt x="5811" y="6121"/>
                      <a:pt x="6025" y="5728"/>
                      <a:pt x="6192" y="5275"/>
                    </a:cubicBezTo>
                    <a:cubicBezTo>
                      <a:pt x="6358" y="4811"/>
                      <a:pt x="6442" y="4323"/>
                      <a:pt x="6442" y="3763"/>
                    </a:cubicBezTo>
                    <a:cubicBezTo>
                      <a:pt x="6442" y="3227"/>
                      <a:pt x="6370" y="2727"/>
                      <a:pt x="6192" y="2263"/>
                    </a:cubicBezTo>
                    <a:cubicBezTo>
                      <a:pt x="6025" y="1799"/>
                      <a:pt x="5787" y="1394"/>
                      <a:pt x="5513" y="1072"/>
                    </a:cubicBezTo>
                    <a:cubicBezTo>
                      <a:pt x="5227" y="727"/>
                      <a:pt x="4882" y="477"/>
                      <a:pt x="4501" y="287"/>
                    </a:cubicBezTo>
                    <a:cubicBezTo>
                      <a:pt x="4108" y="96"/>
                      <a:pt x="3680" y="1"/>
                      <a:pt x="3215" y="1"/>
                    </a:cubicBezTo>
                    <a:close/>
                  </a:path>
                </a:pathLst>
              </a:custGeom>
              <a:solidFill>
                <a:srgbClr val="5B9BD5"/>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33" b="0" i="0" u="none" strike="noStrike" kern="0" cap="none" spc="0" normalizeH="0" baseline="0" noProof="0">
                  <a:ln>
                    <a:noFill/>
                  </a:ln>
                  <a:solidFill>
                    <a:srgbClr val="5B9BD5"/>
                  </a:solidFill>
                  <a:effectLst/>
                  <a:uLnTx/>
                  <a:uFillTx/>
                  <a:ea typeface="Roboto"/>
                  <a:cs typeface="Calibri" panose="020F0502020204030204" pitchFamily="34" charset="0"/>
                  <a:sym typeface="Roboto"/>
                </a:endParaRPr>
              </a:p>
            </p:txBody>
          </p:sp>
          <p:sp>
            <p:nvSpPr>
              <p:cNvPr id="110" name="Google Shape;545;p26">
                <a:extLst>
                  <a:ext uri="{FF2B5EF4-FFF2-40B4-BE49-F238E27FC236}">
                    <a16:creationId xmlns:a16="http://schemas.microsoft.com/office/drawing/2014/main" id="{474D88E4-76E5-7FD6-BBB6-82D8E6FFF761}"/>
                  </a:ext>
                </a:extLst>
              </p:cNvPr>
              <p:cNvSpPr/>
              <p:nvPr/>
            </p:nvSpPr>
            <p:spPr>
              <a:xfrm>
                <a:off x="3147903" y="1432235"/>
                <a:ext cx="3024415" cy="3216870"/>
              </a:xfrm>
              <a:custGeom>
                <a:avLst/>
                <a:gdLst/>
                <a:ahLst/>
                <a:cxnLst/>
                <a:rect l="l" t="t" r="r" b="b"/>
                <a:pathLst>
                  <a:path w="104787" h="111455" extrusionOk="0">
                    <a:moveTo>
                      <a:pt x="37802" y="73212"/>
                    </a:moveTo>
                    <a:lnTo>
                      <a:pt x="46542" y="73212"/>
                    </a:lnTo>
                    <a:lnTo>
                      <a:pt x="46482" y="82737"/>
                    </a:lnTo>
                    <a:lnTo>
                      <a:pt x="40291" y="82737"/>
                    </a:lnTo>
                    <a:lnTo>
                      <a:pt x="32004" y="97096"/>
                    </a:lnTo>
                    <a:lnTo>
                      <a:pt x="40291" y="111454"/>
                    </a:lnTo>
                    <a:lnTo>
                      <a:pt x="56864" y="111454"/>
                    </a:lnTo>
                    <a:lnTo>
                      <a:pt x="65163" y="97096"/>
                    </a:lnTo>
                    <a:lnTo>
                      <a:pt x="56864" y="82737"/>
                    </a:lnTo>
                    <a:lnTo>
                      <a:pt x="50614" y="82737"/>
                    </a:lnTo>
                    <a:lnTo>
                      <a:pt x="50673" y="73212"/>
                    </a:lnTo>
                    <a:lnTo>
                      <a:pt x="59365" y="73212"/>
                    </a:lnTo>
                    <a:lnTo>
                      <a:pt x="68735" y="56983"/>
                    </a:lnTo>
                    <a:lnTo>
                      <a:pt x="79689" y="56876"/>
                    </a:lnTo>
                    <a:lnTo>
                      <a:pt x="84999" y="66080"/>
                    </a:lnTo>
                    <a:lnTo>
                      <a:pt x="98203" y="66080"/>
                    </a:lnTo>
                    <a:lnTo>
                      <a:pt x="104787" y="54650"/>
                    </a:lnTo>
                    <a:lnTo>
                      <a:pt x="98203" y="43220"/>
                    </a:lnTo>
                    <a:lnTo>
                      <a:pt x="84999" y="43220"/>
                    </a:lnTo>
                    <a:lnTo>
                      <a:pt x="79486" y="52745"/>
                    </a:lnTo>
                    <a:lnTo>
                      <a:pt x="69175" y="52840"/>
                    </a:lnTo>
                    <a:lnTo>
                      <a:pt x="60579" y="37922"/>
                    </a:lnTo>
                    <a:lnTo>
                      <a:pt x="64175" y="31695"/>
                    </a:lnTo>
                    <a:lnTo>
                      <a:pt x="76379" y="31695"/>
                    </a:lnTo>
                    <a:lnTo>
                      <a:pt x="83677" y="19062"/>
                    </a:lnTo>
                    <a:lnTo>
                      <a:pt x="76379" y="6430"/>
                    </a:lnTo>
                    <a:lnTo>
                      <a:pt x="61782" y="6430"/>
                    </a:lnTo>
                    <a:lnTo>
                      <a:pt x="54483" y="19062"/>
                    </a:lnTo>
                    <a:lnTo>
                      <a:pt x="60591" y="29635"/>
                    </a:lnTo>
                    <a:lnTo>
                      <a:pt x="56983" y="35850"/>
                    </a:lnTo>
                    <a:lnTo>
                      <a:pt x="39946" y="35850"/>
                    </a:lnTo>
                    <a:lnTo>
                      <a:pt x="35255" y="27289"/>
                    </a:lnTo>
                    <a:lnTo>
                      <a:pt x="42660" y="14490"/>
                    </a:lnTo>
                    <a:lnTo>
                      <a:pt x="34290" y="0"/>
                    </a:lnTo>
                    <a:lnTo>
                      <a:pt x="17538" y="0"/>
                    </a:lnTo>
                    <a:lnTo>
                      <a:pt x="9168" y="14490"/>
                    </a:lnTo>
                    <a:lnTo>
                      <a:pt x="17538" y="28992"/>
                    </a:lnTo>
                    <a:lnTo>
                      <a:pt x="31433" y="28992"/>
                    </a:lnTo>
                    <a:lnTo>
                      <a:pt x="36457" y="38160"/>
                    </a:lnTo>
                    <a:lnTo>
                      <a:pt x="27015" y="54531"/>
                    </a:lnTo>
                    <a:lnTo>
                      <a:pt x="31183" y="61746"/>
                    </a:lnTo>
                    <a:lnTo>
                      <a:pt x="22289" y="66937"/>
                    </a:lnTo>
                    <a:lnTo>
                      <a:pt x="20003" y="62972"/>
                    </a:lnTo>
                    <a:lnTo>
                      <a:pt x="6656" y="62972"/>
                    </a:lnTo>
                    <a:lnTo>
                      <a:pt x="0" y="74533"/>
                    </a:lnTo>
                    <a:lnTo>
                      <a:pt x="6668" y="86082"/>
                    </a:lnTo>
                    <a:lnTo>
                      <a:pt x="20015" y="86082"/>
                    </a:lnTo>
                    <a:lnTo>
                      <a:pt x="26682" y="74533"/>
                    </a:lnTo>
                    <a:lnTo>
                      <a:pt x="24384" y="70545"/>
                    </a:lnTo>
                    <a:lnTo>
                      <a:pt x="33266" y="65354"/>
                    </a:lnTo>
                    <a:close/>
                    <a:moveTo>
                      <a:pt x="40529" y="68497"/>
                    </a:moveTo>
                    <a:lnTo>
                      <a:pt x="56662" y="68497"/>
                    </a:lnTo>
                    <a:lnTo>
                      <a:pt x="64722" y="54531"/>
                    </a:lnTo>
                    <a:lnTo>
                      <a:pt x="56662" y="40553"/>
                    </a:lnTo>
                    <a:lnTo>
                      <a:pt x="40529" y="40553"/>
                    </a:lnTo>
                    <a:lnTo>
                      <a:pt x="32457" y="54531"/>
                    </a:lnTo>
                    <a:close/>
                    <a:moveTo>
                      <a:pt x="8680" y="82618"/>
                    </a:moveTo>
                    <a:lnTo>
                      <a:pt x="18014" y="82618"/>
                    </a:lnTo>
                    <a:lnTo>
                      <a:pt x="22682" y="74533"/>
                    </a:lnTo>
                    <a:lnTo>
                      <a:pt x="18014" y="66449"/>
                    </a:lnTo>
                    <a:lnTo>
                      <a:pt x="8680" y="66449"/>
                    </a:lnTo>
                    <a:lnTo>
                      <a:pt x="4001" y="74533"/>
                    </a:lnTo>
                    <a:close/>
                    <a:moveTo>
                      <a:pt x="42791" y="107156"/>
                    </a:moveTo>
                    <a:lnTo>
                      <a:pt x="36981" y="97107"/>
                    </a:lnTo>
                    <a:lnTo>
                      <a:pt x="42791" y="87059"/>
                    </a:lnTo>
                    <a:lnTo>
                      <a:pt x="54400" y="87059"/>
                    </a:lnTo>
                    <a:lnTo>
                      <a:pt x="60198" y="97107"/>
                    </a:lnTo>
                    <a:lnTo>
                      <a:pt x="54400" y="107156"/>
                    </a:lnTo>
                    <a:close/>
                    <a:moveTo>
                      <a:pt x="82368" y="54638"/>
                    </a:moveTo>
                    <a:cubicBezTo>
                      <a:pt x="83892" y="57293"/>
                      <a:pt x="85439" y="59960"/>
                      <a:pt x="86975" y="62627"/>
                    </a:cubicBezTo>
                    <a:lnTo>
                      <a:pt x="96215" y="62627"/>
                    </a:lnTo>
                    <a:lnTo>
                      <a:pt x="100834" y="54638"/>
                    </a:lnTo>
                    <a:lnTo>
                      <a:pt x="96215" y="46637"/>
                    </a:lnTo>
                    <a:lnTo>
                      <a:pt x="86975" y="46637"/>
                    </a:lnTo>
                    <a:close/>
                    <a:moveTo>
                      <a:pt x="63972" y="27908"/>
                    </a:moveTo>
                    <a:lnTo>
                      <a:pt x="74176" y="27908"/>
                    </a:lnTo>
                    <a:lnTo>
                      <a:pt x="79284" y="19062"/>
                    </a:lnTo>
                    <a:lnTo>
                      <a:pt x="74176" y="10228"/>
                    </a:lnTo>
                    <a:lnTo>
                      <a:pt x="63972" y="10228"/>
                    </a:lnTo>
                    <a:lnTo>
                      <a:pt x="58865" y="19062"/>
                    </a:lnTo>
                    <a:close/>
                    <a:moveTo>
                      <a:pt x="31766" y="24634"/>
                    </a:moveTo>
                    <a:lnTo>
                      <a:pt x="20050" y="24634"/>
                    </a:lnTo>
                    <a:lnTo>
                      <a:pt x="14204" y="14490"/>
                    </a:lnTo>
                    <a:lnTo>
                      <a:pt x="20050" y="4358"/>
                    </a:lnTo>
                    <a:lnTo>
                      <a:pt x="31766" y="4358"/>
                    </a:lnTo>
                    <a:lnTo>
                      <a:pt x="37612" y="14490"/>
                    </a:lnTo>
                    <a:close/>
                  </a:path>
                </a:pathLst>
              </a:custGeom>
              <a:solidFill>
                <a:srgbClr val="E7E6E6"/>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mn-ea"/>
                  <a:cs typeface="Calibri" panose="020F0502020204030204" pitchFamily="34" charset="0"/>
                </a:endParaRPr>
              </a:p>
            </p:txBody>
          </p:sp>
        </p:grpSp>
        <p:grpSp>
          <p:nvGrpSpPr>
            <p:cNvPr id="40" name="Google Shape;552;p26">
              <a:extLst>
                <a:ext uri="{FF2B5EF4-FFF2-40B4-BE49-F238E27FC236}">
                  <a16:creationId xmlns:a16="http://schemas.microsoft.com/office/drawing/2014/main" id="{DED116D8-4759-0596-6495-56582126F5AD}"/>
                </a:ext>
              </a:extLst>
            </p:cNvPr>
            <p:cNvGrpSpPr/>
            <p:nvPr/>
          </p:nvGrpSpPr>
          <p:grpSpPr>
            <a:xfrm>
              <a:off x="6976231" y="3779175"/>
              <a:ext cx="412693" cy="363628"/>
              <a:chOff x="-3137650" y="2067900"/>
              <a:chExt cx="291450" cy="256775"/>
            </a:xfrm>
          </p:grpSpPr>
          <p:sp>
            <p:nvSpPr>
              <p:cNvPr id="57" name="Google Shape;553;p26">
                <a:extLst>
                  <a:ext uri="{FF2B5EF4-FFF2-40B4-BE49-F238E27FC236}">
                    <a16:creationId xmlns:a16="http://schemas.microsoft.com/office/drawing/2014/main" id="{93718BED-0AAD-1739-D764-A2269B5642B0}"/>
                  </a:ext>
                </a:extLst>
              </p:cNvPr>
              <p:cNvSpPr/>
              <p:nvPr/>
            </p:nvSpPr>
            <p:spPr>
              <a:xfrm>
                <a:off x="-3137650" y="2067900"/>
                <a:ext cx="291450" cy="187475"/>
              </a:xfrm>
              <a:custGeom>
                <a:avLst/>
                <a:gdLst/>
                <a:ahLst/>
                <a:cxnLst/>
                <a:rect l="l" t="t" r="r" b="b"/>
                <a:pathLst>
                  <a:path w="11658" h="7499" extrusionOk="0">
                    <a:moveTo>
                      <a:pt x="10618" y="694"/>
                    </a:moveTo>
                    <a:cubicBezTo>
                      <a:pt x="10838" y="694"/>
                      <a:pt x="10964" y="851"/>
                      <a:pt x="10964" y="1040"/>
                    </a:cubicBezTo>
                    <a:lnTo>
                      <a:pt x="10964" y="6522"/>
                    </a:lnTo>
                    <a:cubicBezTo>
                      <a:pt x="10964" y="6711"/>
                      <a:pt x="10838" y="6868"/>
                      <a:pt x="10618" y="6868"/>
                    </a:cubicBezTo>
                    <a:lnTo>
                      <a:pt x="1009" y="6868"/>
                    </a:lnTo>
                    <a:cubicBezTo>
                      <a:pt x="820" y="6868"/>
                      <a:pt x="662" y="6711"/>
                      <a:pt x="662" y="6522"/>
                    </a:cubicBezTo>
                    <a:lnTo>
                      <a:pt x="662" y="1040"/>
                    </a:lnTo>
                    <a:cubicBezTo>
                      <a:pt x="662" y="851"/>
                      <a:pt x="820" y="694"/>
                      <a:pt x="1009" y="694"/>
                    </a:cubicBezTo>
                    <a:close/>
                    <a:moveTo>
                      <a:pt x="1009" y="0"/>
                    </a:moveTo>
                    <a:cubicBezTo>
                      <a:pt x="473" y="0"/>
                      <a:pt x="1" y="473"/>
                      <a:pt x="1" y="1009"/>
                    </a:cubicBezTo>
                    <a:lnTo>
                      <a:pt x="1" y="6490"/>
                    </a:lnTo>
                    <a:cubicBezTo>
                      <a:pt x="1" y="7026"/>
                      <a:pt x="473" y="7499"/>
                      <a:pt x="1009" y="7499"/>
                    </a:cubicBezTo>
                    <a:lnTo>
                      <a:pt x="10618" y="7499"/>
                    </a:lnTo>
                    <a:cubicBezTo>
                      <a:pt x="11185" y="7499"/>
                      <a:pt x="11658" y="7026"/>
                      <a:pt x="11658" y="6490"/>
                    </a:cubicBezTo>
                    <a:lnTo>
                      <a:pt x="11658" y="1009"/>
                    </a:lnTo>
                    <a:cubicBezTo>
                      <a:pt x="11658" y="473"/>
                      <a:pt x="11217" y="0"/>
                      <a:pt x="10618" y="0"/>
                    </a:cubicBezTo>
                    <a:close/>
                  </a:path>
                </a:pathLst>
              </a:custGeom>
              <a:solidFill>
                <a:sysClr val="window" lastClr="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mn-ea"/>
                  <a:cs typeface="Calibri" panose="020F0502020204030204" pitchFamily="34" charset="0"/>
                </a:endParaRPr>
              </a:p>
            </p:txBody>
          </p:sp>
          <p:sp>
            <p:nvSpPr>
              <p:cNvPr id="58" name="Google Shape;554;p26">
                <a:extLst>
                  <a:ext uri="{FF2B5EF4-FFF2-40B4-BE49-F238E27FC236}">
                    <a16:creationId xmlns:a16="http://schemas.microsoft.com/office/drawing/2014/main" id="{80F86177-FD17-06ED-5447-391651A74EC6}"/>
                  </a:ext>
                </a:extLst>
              </p:cNvPr>
              <p:cNvSpPr/>
              <p:nvPr/>
            </p:nvSpPr>
            <p:spPr>
              <a:xfrm>
                <a:off x="-3137650" y="2273475"/>
                <a:ext cx="291450" cy="51200"/>
              </a:xfrm>
              <a:custGeom>
                <a:avLst/>
                <a:gdLst/>
                <a:ahLst/>
                <a:cxnLst/>
                <a:rect l="l" t="t" r="r" b="b"/>
                <a:pathLst>
                  <a:path w="11658" h="2048" extrusionOk="0">
                    <a:moveTo>
                      <a:pt x="10618" y="662"/>
                    </a:moveTo>
                    <a:cubicBezTo>
                      <a:pt x="10838" y="662"/>
                      <a:pt x="10964" y="819"/>
                      <a:pt x="10964" y="1008"/>
                    </a:cubicBezTo>
                    <a:cubicBezTo>
                      <a:pt x="10964" y="1197"/>
                      <a:pt x="10838" y="1355"/>
                      <a:pt x="10618" y="1355"/>
                    </a:cubicBezTo>
                    <a:lnTo>
                      <a:pt x="6050" y="1355"/>
                    </a:lnTo>
                    <a:cubicBezTo>
                      <a:pt x="6113" y="1260"/>
                      <a:pt x="6113" y="1134"/>
                      <a:pt x="6113" y="1008"/>
                    </a:cubicBezTo>
                    <a:cubicBezTo>
                      <a:pt x="6113" y="882"/>
                      <a:pt x="6050" y="788"/>
                      <a:pt x="6050" y="662"/>
                    </a:cubicBezTo>
                    <a:close/>
                    <a:moveTo>
                      <a:pt x="5105" y="662"/>
                    </a:moveTo>
                    <a:cubicBezTo>
                      <a:pt x="5294" y="662"/>
                      <a:pt x="5451" y="819"/>
                      <a:pt x="5451" y="1008"/>
                    </a:cubicBezTo>
                    <a:cubicBezTo>
                      <a:pt x="5451" y="1229"/>
                      <a:pt x="5294" y="1386"/>
                      <a:pt x="5105" y="1386"/>
                    </a:cubicBezTo>
                    <a:lnTo>
                      <a:pt x="1009" y="1386"/>
                    </a:lnTo>
                    <a:cubicBezTo>
                      <a:pt x="820" y="1355"/>
                      <a:pt x="662" y="1229"/>
                      <a:pt x="662" y="1008"/>
                    </a:cubicBezTo>
                    <a:cubicBezTo>
                      <a:pt x="662" y="819"/>
                      <a:pt x="820" y="662"/>
                      <a:pt x="1009" y="662"/>
                    </a:cubicBezTo>
                    <a:close/>
                    <a:moveTo>
                      <a:pt x="1009" y="0"/>
                    </a:moveTo>
                    <a:cubicBezTo>
                      <a:pt x="473" y="0"/>
                      <a:pt x="1" y="473"/>
                      <a:pt x="1" y="1008"/>
                    </a:cubicBezTo>
                    <a:cubicBezTo>
                      <a:pt x="1" y="1575"/>
                      <a:pt x="473" y="2048"/>
                      <a:pt x="1009" y="2048"/>
                    </a:cubicBezTo>
                    <a:lnTo>
                      <a:pt x="10618" y="2048"/>
                    </a:lnTo>
                    <a:cubicBezTo>
                      <a:pt x="11185" y="2048"/>
                      <a:pt x="11658" y="1575"/>
                      <a:pt x="11658" y="1008"/>
                    </a:cubicBezTo>
                    <a:cubicBezTo>
                      <a:pt x="11658" y="473"/>
                      <a:pt x="11217" y="0"/>
                      <a:pt x="10618" y="0"/>
                    </a:cubicBezTo>
                    <a:close/>
                  </a:path>
                </a:pathLst>
              </a:custGeom>
              <a:solidFill>
                <a:sysClr val="window" lastClr="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mn-ea"/>
                  <a:cs typeface="Calibri" panose="020F0502020204030204" pitchFamily="34" charset="0"/>
                </a:endParaRPr>
              </a:p>
            </p:txBody>
          </p:sp>
          <p:sp>
            <p:nvSpPr>
              <p:cNvPr id="60" name="Google Shape;555;p26">
                <a:extLst>
                  <a:ext uri="{FF2B5EF4-FFF2-40B4-BE49-F238E27FC236}">
                    <a16:creationId xmlns:a16="http://schemas.microsoft.com/office/drawing/2014/main" id="{8F14069B-6D83-65B7-638B-A7A34F830E82}"/>
                  </a:ext>
                </a:extLst>
              </p:cNvPr>
              <p:cNvSpPr/>
              <p:nvPr/>
            </p:nvSpPr>
            <p:spPr>
              <a:xfrm>
                <a:off x="-3035250" y="2103000"/>
                <a:ext cx="104000" cy="118500"/>
              </a:xfrm>
              <a:custGeom>
                <a:avLst/>
                <a:gdLst/>
                <a:ahLst/>
                <a:cxnLst/>
                <a:rect l="l" t="t" r="r" b="b"/>
                <a:pathLst>
                  <a:path w="4160" h="4740" extrusionOk="0">
                    <a:moveTo>
                      <a:pt x="662" y="896"/>
                    </a:moveTo>
                    <a:lnTo>
                      <a:pt x="3056" y="2346"/>
                    </a:lnTo>
                    <a:lnTo>
                      <a:pt x="662" y="3826"/>
                    </a:lnTo>
                    <a:lnTo>
                      <a:pt x="662" y="896"/>
                    </a:lnTo>
                    <a:close/>
                    <a:moveTo>
                      <a:pt x="322" y="1"/>
                    </a:moveTo>
                    <a:cubicBezTo>
                      <a:pt x="144" y="1"/>
                      <a:pt x="0" y="131"/>
                      <a:pt x="0" y="298"/>
                    </a:cubicBezTo>
                    <a:lnTo>
                      <a:pt x="0" y="4425"/>
                    </a:lnTo>
                    <a:cubicBezTo>
                      <a:pt x="0" y="4607"/>
                      <a:pt x="132" y="4740"/>
                      <a:pt x="301" y="4740"/>
                    </a:cubicBezTo>
                    <a:cubicBezTo>
                      <a:pt x="365" y="4740"/>
                      <a:pt x="435" y="4720"/>
                      <a:pt x="504" y="4677"/>
                    </a:cubicBezTo>
                    <a:lnTo>
                      <a:pt x="3939" y="2629"/>
                    </a:lnTo>
                    <a:cubicBezTo>
                      <a:pt x="4159" y="2535"/>
                      <a:pt x="4159" y="2219"/>
                      <a:pt x="3939" y="2093"/>
                    </a:cubicBezTo>
                    <a:lnTo>
                      <a:pt x="504" y="46"/>
                    </a:lnTo>
                    <a:cubicBezTo>
                      <a:pt x="443" y="15"/>
                      <a:pt x="381" y="1"/>
                      <a:pt x="322" y="1"/>
                    </a:cubicBezTo>
                    <a:close/>
                  </a:path>
                </a:pathLst>
              </a:custGeom>
              <a:solidFill>
                <a:sysClr val="window" lastClr="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mn-ea"/>
                  <a:cs typeface="Calibri" panose="020F0502020204030204" pitchFamily="34" charset="0"/>
                </a:endParaRPr>
              </a:p>
            </p:txBody>
          </p:sp>
        </p:grpSp>
        <p:sp>
          <p:nvSpPr>
            <p:cNvPr id="41" name="Google Shape;519;p26">
              <a:extLst>
                <a:ext uri="{FF2B5EF4-FFF2-40B4-BE49-F238E27FC236}">
                  <a16:creationId xmlns:a16="http://schemas.microsoft.com/office/drawing/2014/main" id="{96545073-3A0B-257F-ABA2-EFCC828F3DDB}"/>
                </a:ext>
              </a:extLst>
            </p:cNvPr>
            <p:cNvSpPr/>
            <p:nvPr/>
          </p:nvSpPr>
          <p:spPr>
            <a:xfrm>
              <a:off x="6813126" y="3644824"/>
              <a:ext cx="718945" cy="622276"/>
            </a:xfrm>
            <a:custGeom>
              <a:avLst/>
              <a:gdLst/>
              <a:ahLst/>
              <a:cxnLst/>
              <a:rect l="l" t="t" r="r" b="b"/>
              <a:pathLst>
                <a:path w="18682" h="16170" extrusionOk="0">
                  <a:moveTo>
                    <a:pt x="4680" y="16170"/>
                  </a:moveTo>
                  <a:lnTo>
                    <a:pt x="14014" y="16170"/>
                  </a:lnTo>
                  <a:lnTo>
                    <a:pt x="18682" y="8085"/>
                  </a:lnTo>
                  <a:lnTo>
                    <a:pt x="14014" y="1"/>
                  </a:lnTo>
                  <a:lnTo>
                    <a:pt x="4680" y="1"/>
                  </a:lnTo>
                  <a:lnTo>
                    <a:pt x="1" y="8085"/>
                  </a:lnTo>
                  <a:close/>
                </a:path>
              </a:pathLst>
            </a:custGeom>
            <a:solidFill>
              <a:srgbClr val="4472C4"/>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a typeface="+mn-ea"/>
                <a:cs typeface="Calibri" panose="020F0502020204030204" pitchFamily="34" charset="0"/>
              </a:endParaRPr>
            </a:p>
          </p:txBody>
        </p:sp>
        <p:pic>
          <p:nvPicPr>
            <p:cNvPr id="42" name="Gráfico 41" descr="Avión">
              <a:extLst>
                <a:ext uri="{FF2B5EF4-FFF2-40B4-BE49-F238E27FC236}">
                  <a16:creationId xmlns:a16="http://schemas.microsoft.com/office/drawing/2014/main" id="{3610C9A1-15E0-BF8C-4E20-0D5668AA49F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63136" y="5217785"/>
              <a:ext cx="681536" cy="681536"/>
            </a:xfrm>
            <a:prstGeom prst="rect">
              <a:avLst/>
            </a:prstGeom>
          </p:spPr>
        </p:pic>
        <p:pic>
          <p:nvPicPr>
            <p:cNvPr id="43" name="Gráfico 42" descr="Calendario mensual">
              <a:extLst>
                <a:ext uri="{FF2B5EF4-FFF2-40B4-BE49-F238E27FC236}">
                  <a16:creationId xmlns:a16="http://schemas.microsoft.com/office/drawing/2014/main" id="{76BFA25C-044C-18B7-342B-76EBB6320CA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932855" y="4450396"/>
              <a:ext cx="505441" cy="505441"/>
            </a:xfrm>
            <a:prstGeom prst="rect">
              <a:avLst/>
            </a:prstGeom>
          </p:spPr>
        </p:pic>
        <p:pic>
          <p:nvPicPr>
            <p:cNvPr id="44" name="Gráfico 43" descr="Cartera contorno">
              <a:extLst>
                <a:ext uri="{FF2B5EF4-FFF2-40B4-BE49-F238E27FC236}">
                  <a16:creationId xmlns:a16="http://schemas.microsoft.com/office/drawing/2014/main" id="{7DF21A98-E86A-E821-687E-05880AB809D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88558" y="3489166"/>
              <a:ext cx="885569" cy="889167"/>
            </a:xfrm>
            <a:prstGeom prst="rect">
              <a:avLst/>
            </a:prstGeom>
          </p:spPr>
        </p:pic>
        <p:pic>
          <p:nvPicPr>
            <p:cNvPr id="45" name="Gráfico 44" descr="Euro">
              <a:extLst>
                <a:ext uri="{FF2B5EF4-FFF2-40B4-BE49-F238E27FC236}">
                  <a16:creationId xmlns:a16="http://schemas.microsoft.com/office/drawing/2014/main" id="{CDD56041-082A-BEAB-E109-5049122FF03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279000" y="2086324"/>
              <a:ext cx="659342" cy="659342"/>
            </a:xfrm>
            <a:prstGeom prst="rect">
              <a:avLst/>
            </a:prstGeom>
          </p:spPr>
        </p:pic>
        <p:sp>
          <p:nvSpPr>
            <p:cNvPr id="46" name="Shape 3690">
              <a:extLst>
                <a:ext uri="{FF2B5EF4-FFF2-40B4-BE49-F238E27FC236}">
                  <a16:creationId xmlns:a16="http://schemas.microsoft.com/office/drawing/2014/main" id="{AF4E3591-53D6-07B4-2CDC-6CD3C0C3BBEE}"/>
                </a:ext>
              </a:extLst>
            </p:cNvPr>
            <p:cNvSpPr/>
            <p:nvPr/>
          </p:nvSpPr>
          <p:spPr>
            <a:xfrm>
              <a:off x="6953621" y="3743009"/>
              <a:ext cx="412694" cy="360500"/>
            </a:xfrm>
            <a:custGeom>
              <a:avLst/>
              <a:gdLst/>
              <a:ahLst/>
              <a:cxnLst>
                <a:cxn ang="0">
                  <a:pos x="wd2" y="hd2"/>
                </a:cxn>
                <a:cxn ang="5400000">
                  <a:pos x="wd2" y="hd2"/>
                </a:cxn>
                <a:cxn ang="10800000">
                  <a:pos x="wd2" y="hd2"/>
                </a:cxn>
                <a:cxn ang="16200000">
                  <a:pos x="wd2" y="hd2"/>
                </a:cxn>
              </a:cxnLst>
              <a:rect l="0" t="0" r="r" b="b"/>
              <a:pathLst>
                <a:path w="21600" h="21600" extrusionOk="0">
                  <a:moveTo>
                    <a:pt x="4457" y="20400"/>
                  </a:moveTo>
                  <a:cubicBezTo>
                    <a:pt x="4686" y="18710"/>
                    <a:pt x="5897" y="18036"/>
                    <a:pt x="7134" y="17493"/>
                  </a:cubicBezTo>
                  <a:lnTo>
                    <a:pt x="7173" y="17477"/>
                  </a:lnTo>
                  <a:cubicBezTo>
                    <a:pt x="8055" y="17190"/>
                    <a:pt x="9626" y="16039"/>
                    <a:pt x="9626" y="13569"/>
                  </a:cubicBezTo>
                  <a:cubicBezTo>
                    <a:pt x="9626" y="11474"/>
                    <a:pt x="8932" y="10452"/>
                    <a:pt x="8558" y="9902"/>
                  </a:cubicBezTo>
                  <a:cubicBezTo>
                    <a:pt x="8484" y="9791"/>
                    <a:pt x="8394" y="9649"/>
                    <a:pt x="8414" y="9680"/>
                  </a:cubicBezTo>
                  <a:cubicBezTo>
                    <a:pt x="8384" y="9599"/>
                    <a:pt x="8237" y="9129"/>
                    <a:pt x="8449" y="8035"/>
                  </a:cubicBezTo>
                  <a:cubicBezTo>
                    <a:pt x="8549" y="7523"/>
                    <a:pt x="8380" y="7241"/>
                    <a:pt x="8380" y="7241"/>
                  </a:cubicBezTo>
                  <a:cubicBezTo>
                    <a:pt x="8112" y="6504"/>
                    <a:pt x="7614" y="5133"/>
                    <a:pt x="7988" y="4025"/>
                  </a:cubicBezTo>
                  <a:cubicBezTo>
                    <a:pt x="8490" y="2492"/>
                    <a:pt x="8935" y="2190"/>
                    <a:pt x="9741" y="1747"/>
                  </a:cubicBezTo>
                  <a:cubicBezTo>
                    <a:pt x="9788" y="1721"/>
                    <a:pt x="9834" y="1692"/>
                    <a:pt x="9877" y="1657"/>
                  </a:cubicBezTo>
                  <a:cubicBezTo>
                    <a:pt x="10029" y="1535"/>
                    <a:pt x="10674" y="1200"/>
                    <a:pt x="11403" y="1200"/>
                  </a:cubicBezTo>
                  <a:cubicBezTo>
                    <a:pt x="11768" y="1200"/>
                    <a:pt x="12075" y="1285"/>
                    <a:pt x="12318" y="1454"/>
                  </a:cubicBezTo>
                  <a:cubicBezTo>
                    <a:pt x="12610" y="1656"/>
                    <a:pt x="12890" y="2039"/>
                    <a:pt x="13313" y="3272"/>
                  </a:cubicBezTo>
                  <a:cubicBezTo>
                    <a:pt x="14101" y="5469"/>
                    <a:pt x="13602" y="6698"/>
                    <a:pt x="13350" y="7124"/>
                  </a:cubicBezTo>
                  <a:cubicBezTo>
                    <a:pt x="13183" y="7407"/>
                    <a:pt x="13126" y="7764"/>
                    <a:pt x="13191" y="8103"/>
                  </a:cubicBezTo>
                  <a:cubicBezTo>
                    <a:pt x="13386" y="9109"/>
                    <a:pt x="13260" y="9535"/>
                    <a:pt x="13227" y="9619"/>
                  </a:cubicBezTo>
                  <a:cubicBezTo>
                    <a:pt x="13219" y="9631"/>
                    <a:pt x="13101" y="9813"/>
                    <a:pt x="13041" y="9902"/>
                  </a:cubicBezTo>
                  <a:cubicBezTo>
                    <a:pt x="12668" y="10452"/>
                    <a:pt x="11973" y="11474"/>
                    <a:pt x="11973" y="13569"/>
                  </a:cubicBezTo>
                  <a:cubicBezTo>
                    <a:pt x="11973" y="16039"/>
                    <a:pt x="13545" y="17190"/>
                    <a:pt x="14427" y="17477"/>
                  </a:cubicBezTo>
                  <a:lnTo>
                    <a:pt x="14466" y="17493"/>
                  </a:lnTo>
                  <a:cubicBezTo>
                    <a:pt x="15703" y="18036"/>
                    <a:pt x="16914" y="18710"/>
                    <a:pt x="17143" y="20400"/>
                  </a:cubicBezTo>
                  <a:cubicBezTo>
                    <a:pt x="17143" y="20400"/>
                    <a:pt x="4457" y="20400"/>
                    <a:pt x="4457" y="20400"/>
                  </a:cubicBezTo>
                  <a:close/>
                  <a:moveTo>
                    <a:pt x="14715" y="16328"/>
                  </a:moveTo>
                  <a:cubicBezTo>
                    <a:pt x="14715" y="16328"/>
                    <a:pt x="12955" y="15815"/>
                    <a:pt x="12955" y="13569"/>
                  </a:cubicBezTo>
                  <a:cubicBezTo>
                    <a:pt x="12955" y="11596"/>
                    <a:pt x="13678" y="10901"/>
                    <a:pt x="13957" y="10422"/>
                  </a:cubicBezTo>
                  <a:cubicBezTo>
                    <a:pt x="13957" y="10422"/>
                    <a:pt x="14531" y="9808"/>
                    <a:pt x="14146" y="7826"/>
                  </a:cubicBezTo>
                  <a:cubicBezTo>
                    <a:pt x="14787" y="6740"/>
                    <a:pt x="14995" y="4972"/>
                    <a:pt x="14211" y="2789"/>
                  </a:cubicBezTo>
                  <a:cubicBezTo>
                    <a:pt x="13774" y="1514"/>
                    <a:pt x="13389" y="814"/>
                    <a:pt x="12801" y="409"/>
                  </a:cubicBezTo>
                  <a:cubicBezTo>
                    <a:pt x="12370" y="110"/>
                    <a:pt x="11880" y="0"/>
                    <a:pt x="11403" y="0"/>
                  </a:cubicBezTo>
                  <a:cubicBezTo>
                    <a:pt x="10516" y="0"/>
                    <a:pt x="9675" y="384"/>
                    <a:pt x="9339" y="653"/>
                  </a:cubicBezTo>
                  <a:cubicBezTo>
                    <a:pt x="8357" y="1192"/>
                    <a:pt x="7697" y="1688"/>
                    <a:pt x="7077" y="3580"/>
                  </a:cubicBezTo>
                  <a:cubicBezTo>
                    <a:pt x="6540" y="5169"/>
                    <a:pt x="7179" y="6892"/>
                    <a:pt x="7494" y="7758"/>
                  </a:cubicBezTo>
                  <a:cubicBezTo>
                    <a:pt x="7110" y="9740"/>
                    <a:pt x="7642" y="10422"/>
                    <a:pt x="7642" y="10422"/>
                  </a:cubicBezTo>
                  <a:cubicBezTo>
                    <a:pt x="7922" y="10901"/>
                    <a:pt x="8644" y="11596"/>
                    <a:pt x="8644" y="13569"/>
                  </a:cubicBezTo>
                  <a:cubicBezTo>
                    <a:pt x="8644" y="15815"/>
                    <a:pt x="6885" y="16328"/>
                    <a:pt x="6885" y="16328"/>
                  </a:cubicBezTo>
                  <a:cubicBezTo>
                    <a:pt x="5768" y="16819"/>
                    <a:pt x="3436" y="17760"/>
                    <a:pt x="3436" y="21000"/>
                  </a:cubicBezTo>
                  <a:cubicBezTo>
                    <a:pt x="3436" y="21000"/>
                    <a:pt x="3436" y="21600"/>
                    <a:pt x="3927" y="21600"/>
                  </a:cubicBezTo>
                  <a:lnTo>
                    <a:pt x="17673" y="21600"/>
                  </a:lnTo>
                  <a:cubicBezTo>
                    <a:pt x="18164" y="21600"/>
                    <a:pt x="18164" y="21000"/>
                    <a:pt x="18164" y="21000"/>
                  </a:cubicBezTo>
                  <a:cubicBezTo>
                    <a:pt x="18164" y="17760"/>
                    <a:pt x="15832" y="16819"/>
                    <a:pt x="14715" y="16328"/>
                  </a:cubicBezTo>
                  <a:moveTo>
                    <a:pt x="19516" y="15007"/>
                  </a:moveTo>
                  <a:cubicBezTo>
                    <a:pt x="19516" y="15007"/>
                    <a:pt x="18416" y="14701"/>
                    <a:pt x="18416" y="12954"/>
                  </a:cubicBezTo>
                  <a:cubicBezTo>
                    <a:pt x="18416" y="11419"/>
                    <a:pt x="18794" y="10879"/>
                    <a:pt x="19017" y="10506"/>
                  </a:cubicBezTo>
                  <a:cubicBezTo>
                    <a:pt x="19017" y="10506"/>
                    <a:pt x="19443" y="9975"/>
                    <a:pt x="19136" y="8434"/>
                  </a:cubicBezTo>
                  <a:cubicBezTo>
                    <a:pt x="19388" y="7760"/>
                    <a:pt x="19900" y="6420"/>
                    <a:pt x="19470" y="5184"/>
                  </a:cubicBezTo>
                  <a:cubicBezTo>
                    <a:pt x="18974" y="3713"/>
                    <a:pt x="18645" y="3327"/>
                    <a:pt x="17860" y="2908"/>
                  </a:cubicBezTo>
                  <a:cubicBezTo>
                    <a:pt x="17591" y="2699"/>
                    <a:pt x="16918" y="2400"/>
                    <a:pt x="16208" y="2400"/>
                  </a:cubicBezTo>
                  <a:cubicBezTo>
                    <a:pt x="15873" y="2400"/>
                    <a:pt x="15531" y="2474"/>
                    <a:pt x="15218" y="2647"/>
                  </a:cubicBezTo>
                  <a:cubicBezTo>
                    <a:pt x="15343" y="3035"/>
                    <a:pt x="15449" y="3420"/>
                    <a:pt x="15525" y="3799"/>
                  </a:cubicBezTo>
                  <a:cubicBezTo>
                    <a:pt x="15537" y="3791"/>
                    <a:pt x="15550" y="3779"/>
                    <a:pt x="15563" y="3770"/>
                  </a:cubicBezTo>
                  <a:cubicBezTo>
                    <a:pt x="15730" y="3657"/>
                    <a:pt x="15948" y="3600"/>
                    <a:pt x="16208" y="3600"/>
                  </a:cubicBezTo>
                  <a:cubicBezTo>
                    <a:pt x="16716" y="3600"/>
                    <a:pt x="17211" y="3826"/>
                    <a:pt x="17332" y="3919"/>
                  </a:cubicBezTo>
                  <a:cubicBezTo>
                    <a:pt x="17375" y="3953"/>
                    <a:pt x="17421" y="3983"/>
                    <a:pt x="17467" y="4007"/>
                  </a:cubicBezTo>
                  <a:cubicBezTo>
                    <a:pt x="17950" y="4265"/>
                    <a:pt x="18131" y="4361"/>
                    <a:pt x="18562" y="5641"/>
                  </a:cubicBezTo>
                  <a:cubicBezTo>
                    <a:pt x="18822" y="6387"/>
                    <a:pt x="18452" y="7378"/>
                    <a:pt x="18253" y="7910"/>
                  </a:cubicBezTo>
                  <a:cubicBezTo>
                    <a:pt x="18161" y="8155"/>
                    <a:pt x="18130" y="8457"/>
                    <a:pt x="18182" y="8719"/>
                  </a:cubicBezTo>
                  <a:cubicBezTo>
                    <a:pt x="18316" y="9392"/>
                    <a:pt x="18254" y="9707"/>
                    <a:pt x="18232" y="9784"/>
                  </a:cubicBezTo>
                  <a:cubicBezTo>
                    <a:pt x="18230" y="9789"/>
                    <a:pt x="18227" y="9793"/>
                    <a:pt x="18224" y="9798"/>
                  </a:cubicBezTo>
                  <a:lnTo>
                    <a:pt x="18191" y="9853"/>
                  </a:lnTo>
                  <a:cubicBezTo>
                    <a:pt x="17926" y="10290"/>
                    <a:pt x="17434" y="11106"/>
                    <a:pt x="17434" y="12954"/>
                  </a:cubicBezTo>
                  <a:cubicBezTo>
                    <a:pt x="17434" y="15019"/>
                    <a:pt x="18570" y="15932"/>
                    <a:pt x="19229" y="16155"/>
                  </a:cubicBezTo>
                  <a:cubicBezTo>
                    <a:pt x="19856" y="16429"/>
                    <a:pt x="20435" y="16859"/>
                    <a:pt x="20582" y="17999"/>
                  </a:cubicBezTo>
                  <a:lnTo>
                    <a:pt x="18459" y="18000"/>
                  </a:lnTo>
                  <a:cubicBezTo>
                    <a:pt x="18647" y="18353"/>
                    <a:pt x="18802" y="18755"/>
                    <a:pt x="18920" y="19200"/>
                  </a:cubicBezTo>
                  <a:lnTo>
                    <a:pt x="21109" y="19199"/>
                  </a:lnTo>
                  <a:cubicBezTo>
                    <a:pt x="21600" y="19199"/>
                    <a:pt x="21600" y="18599"/>
                    <a:pt x="21600" y="18599"/>
                  </a:cubicBezTo>
                  <a:cubicBezTo>
                    <a:pt x="21600" y="16199"/>
                    <a:pt x="20410" y="15387"/>
                    <a:pt x="19516" y="15007"/>
                  </a:cubicBezTo>
                  <a:moveTo>
                    <a:pt x="2371" y="16155"/>
                  </a:moveTo>
                  <a:cubicBezTo>
                    <a:pt x="3030" y="15932"/>
                    <a:pt x="4166" y="15019"/>
                    <a:pt x="4166" y="12954"/>
                  </a:cubicBezTo>
                  <a:cubicBezTo>
                    <a:pt x="4166" y="11106"/>
                    <a:pt x="3673" y="10290"/>
                    <a:pt x="3409" y="9853"/>
                  </a:cubicBezTo>
                  <a:lnTo>
                    <a:pt x="3376" y="9798"/>
                  </a:lnTo>
                  <a:cubicBezTo>
                    <a:pt x="3373" y="9793"/>
                    <a:pt x="3370" y="9789"/>
                    <a:pt x="3367" y="9784"/>
                  </a:cubicBezTo>
                  <a:cubicBezTo>
                    <a:pt x="3346" y="9707"/>
                    <a:pt x="3283" y="9392"/>
                    <a:pt x="3418" y="8719"/>
                  </a:cubicBezTo>
                  <a:cubicBezTo>
                    <a:pt x="3470" y="8457"/>
                    <a:pt x="3439" y="8155"/>
                    <a:pt x="3347" y="7910"/>
                  </a:cubicBezTo>
                  <a:cubicBezTo>
                    <a:pt x="3148" y="7378"/>
                    <a:pt x="2778" y="6387"/>
                    <a:pt x="3038" y="5641"/>
                  </a:cubicBezTo>
                  <a:cubicBezTo>
                    <a:pt x="3469" y="4361"/>
                    <a:pt x="3649" y="4265"/>
                    <a:pt x="4133" y="4007"/>
                  </a:cubicBezTo>
                  <a:cubicBezTo>
                    <a:pt x="4180" y="3983"/>
                    <a:pt x="4225" y="3953"/>
                    <a:pt x="4268" y="3919"/>
                  </a:cubicBezTo>
                  <a:cubicBezTo>
                    <a:pt x="4389" y="3826"/>
                    <a:pt x="4884" y="3600"/>
                    <a:pt x="5392" y="3600"/>
                  </a:cubicBezTo>
                  <a:cubicBezTo>
                    <a:pt x="5636" y="3600"/>
                    <a:pt x="5839" y="3655"/>
                    <a:pt x="6002" y="3754"/>
                  </a:cubicBezTo>
                  <a:cubicBezTo>
                    <a:pt x="6045" y="3548"/>
                    <a:pt x="6096" y="3341"/>
                    <a:pt x="6165" y="3133"/>
                  </a:cubicBezTo>
                  <a:cubicBezTo>
                    <a:pt x="6225" y="2950"/>
                    <a:pt x="6289" y="2793"/>
                    <a:pt x="6351" y="2631"/>
                  </a:cubicBezTo>
                  <a:cubicBezTo>
                    <a:pt x="6046" y="2469"/>
                    <a:pt x="5716" y="2400"/>
                    <a:pt x="5392" y="2400"/>
                  </a:cubicBezTo>
                  <a:cubicBezTo>
                    <a:pt x="4682" y="2400"/>
                    <a:pt x="4009" y="2699"/>
                    <a:pt x="3740" y="2908"/>
                  </a:cubicBezTo>
                  <a:cubicBezTo>
                    <a:pt x="2955" y="3327"/>
                    <a:pt x="2625" y="3713"/>
                    <a:pt x="2130" y="5184"/>
                  </a:cubicBezTo>
                  <a:cubicBezTo>
                    <a:pt x="1700" y="6420"/>
                    <a:pt x="2212" y="7760"/>
                    <a:pt x="2464" y="8434"/>
                  </a:cubicBezTo>
                  <a:cubicBezTo>
                    <a:pt x="2156" y="9975"/>
                    <a:pt x="2583" y="10506"/>
                    <a:pt x="2583" y="10506"/>
                  </a:cubicBezTo>
                  <a:cubicBezTo>
                    <a:pt x="2806" y="10879"/>
                    <a:pt x="3185" y="11419"/>
                    <a:pt x="3185" y="12954"/>
                  </a:cubicBezTo>
                  <a:cubicBezTo>
                    <a:pt x="3185" y="14701"/>
                    <a:pt x="2084" y="15007"/>
                    <a:pt x="2084" y="15007"/>
                  </a:cubicBezTo>
                  <a:cubicBezTo>
                    <a:pt x="1191" y="15387"/>
                    <a:pt x="0" y="16199"/>
                    <a:pt x="0" y="18599"/>
                  </a:cubicBezTo>
                  <a:cubicBezTo>
                    <a:pt x="0" y="18599"/>
                    <a:pt x="0" y="19199"/>
                    <a:pt x="491" y="19199"/>
                  </a:cubicBezTo>
                  <a:lnTo>
                    <a:pt x="2680" y="19200"/>
                  </a:lnTo>
                  <a:cubicBezTo>
                    <a:pt x="2798" y="18755"/>
                    <a:pt x="2952" y="18353"/>
                    <a:pt x="3141" y="18000"/>
                  </a:cubicBezTo>
                  <a:lnTo>
                    <a:pt x="1018" y="17999"/>
                  </a:lnTo>
                  <a:cubicBezTo>
                    <a:pt x="1165" y="16859"/>
                    <a:pt x="1744" y="16429"/>
                    <a:pt x="2371" y="16155"/>
                  </a:cubicBezTo>
                </a:path>
              </a:pathLst>
            </a:custGeom>
            <a:solidFill>
              <a:srgbClr val="003C76"/>
            </a:solidFill>
            <a:ln w="12700">
              <a:solidFill>
                <a:srgbClr val="003C76"/>
              </a:solidFill>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solidFill>
                    <a:srgbClr val="003C76"/>
                  </a:solidFill>
                </a:ln>
                <a:solidFill>
                  <a:prstClr val="black"/>
                </a:solidFill>
                <a:effectLst/>
                <a:uLnTx/>
                <a:uFillTx/>
                <a:ea typeface="+mn-ea"/>
                <a:cs typeface="+mn-cs"/>
              </a:endParaRPr>
            </a:p>
          </p:txBody>
        </p:sp>
        <p:pic>
          <p:nvPicPr>
            <p:cNvPr id="47" name="Gráfico 46" descr="Quiosco contorno">
              <a:extLst>
                <a:ext uri="{FF2B5EF4-FFF2-40B4-BE49-F238E27FC236}">
                  <a16:creationId xmlns:a16="http://schemas.microsoft.com/office/drawing/2014/main" id="{945EE318-F303-79E9-7F49-3C2DA6F725F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031250" y="2284639"/>
              <a:ext cx="569161" cy="569161"/>
            </a:xfrm>
            <a:prstGeom prst="rect">
              <a:avLst/>
            </a:prstGeom>
          </p:spPr>
        </p:pic>
      </p:grpSp>
      <p:sp>
        <p:nvSpPr>
          <p:cNvPr id="7" name="Rectángulo 6">
            <a:extLst>
              <a:ext uri="{FF2B5EF4-FFF2-40B4-BE49-F238E27FC236}">
                <a16:creationId xmlns:a16="http://schemas.microsoft.com/office/drawing/2014/main" id="{0296B835-8D71-77CC-91C8-113DCE83ECB1}"/>
              </a:ext>
            </a:extLst>
          </p:cNvPr>
          <p:cNvSpPr/>
          <p:nvPr/>
        </p:nvSpPr>
        <p:spPr>
          <a:xfrm>
            <a:off x="568821" y="97286"/>
            <a:ext cx="10901128" cy="276999"/>
          </a:xfrm>
          <a:prstGeom prst="rect">
            <a:avLst/>
          </a:prstGeom>
        </p:spPr>
        <p:txBody>
          <a:bodyPr wrap="square" lIns="91440" tIns="45720" rIns="91440" bIns="45720" anchor="t">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300" normalizeH="0" baseline="0" noProof="0">
                <a:ln>
                  <a:noFill/>
                </a:ln>
                <a:solidFill>
                  <a:prstClr val="white"/>
                </a:solidFill>
                <a:effectLst/>
                <a:uLnTx/>
                <a:uFillTx/>
                <a:latin typeface="Arial"/>
                <a:ea typeface="+mn-ea"/>
                <a:cs typeface="+mn-cs"/>
              </a:rPr>
              <a:t>GLOBAL SPEND</a:t>
            </a:r>
          </a:p>
        </p:txBody>
      </p:sp>
      <p:sp>
        <p:nvSpPr>
          <p:cNvPr id="2" name="Rectángulo 1">
            <a:extLst>
              <a:ext uri="{FF2B5EF4-FFF2-40B4-BE49-F238E27FC236}">
                <a16:creationId xmlns:a16="http://schemas.microsoft.com/office/drawing/2014/main" id="{85FD078A-A2B4-54A8-10F0-2A4E7C1301B1}"/>
              </a:ext>
            </a:extLst>
          </p:cNvPr>
          <p:cNvSpPr/>
          <p:nvPr/>
        </p:nvSpPr>
        <p:spPr bwMode="auto">
          <a:xfrm>
            <a:off x="0" y="0"/>
            <a:ext cx="9480376" cy="620688"/>
          </a:xfrm>
          <a:prstGeom prst="rect">
            <a:avLst/>
          </a:prstGeom>
          <a:gradFill>
            <a:gsLst>
              <a:gs pos="50000">
                <a:schemeClr val="accent2"/>
              </a:gs>
              <a:gs pos="100000">
                <a:schemeClr val="bg1"/>
              </a:gs>
            </a:gsLst>
            <a:lin ang="0" scaled="1"/>
          </a:gradFill>
          <a:ln w="9525">
            <a:noFill/>
            <a:round/>
            <a:headEnd/>
            <a:tailEnd/>
          </a:ln>
        </p:spPr>
        <p:txBody>
          <a:bodyPr vert="horz" wrap="square" lIns="91440" tIns="45720" rIns="91440" bIns="45720" numCol="1" rtlCol="0" anchor="t" anchorCtr="0" compatLnSpc="1">
            <a:prstTxWarp prst="textNoShape">
              <a:avLst/>
            </a:prstTxWarp>
          </a:bodyPr>
          <a:lstStyle/>
          <a:p>
            <a:pPr algn="ctr"/>
            <a:endParaRPr lang="en-GB" noProof="0"/>
          </a:p>
        </p:txBody>
      </p:sp>
      <p:sp>
        <p:nvSpPr>
          <p:cNvPr id="3" name="Título 1">
            <a:extLst>
              <a:ext uri="{FF2B5EF4-FFF2-40B4-BE49-F238E27FC236}">
                <a16:creationId xmlns:a16="http://schemas.microsoft.com/office/drawing/2014/main" id="{08C08BF7-6083-068A-EF80-18FA8DF4524C}"/>
              </a:ext>
            </a:extLst>
          </p:cNvPr>
          <p:cNvSpPr>
            <a:spLocks noGrp="1"/>
          </p:cNvSpPr>
          <p:nvPr>
            <p:ph type="title"/>
          </p:nvPr>
        </p:nvSpPr>
        <p:spPr>
          <a:xfrm>
            <a:off x="191344" y="116632"/>
            <a:ext cx="10515600" cy="365721"/>
          </a:xfrm>
        </p:spPr>
        <p:txBody>
          <a:bodyPr anchor="ctr">
            <a:noAutofit/>
          </a:bodyPr>
          <a:lstStyle/>
          <a:p>
            <a:r>
              <a:rPr lang="en-GB" sz="2462" noProof="0">
                <a:solidFill>
                  <a:schemeClr val="bg1"/>
                </a:solidFill>
                <a:latin typeface="+mn-lt"/>
              </a:rPr>
              <a:t>Global Spend</a:t>
            </a:r>
          </a:p>
        </p:txBody>
      </p:sp>
      <p:sp>
        <p:nvSpPr>
          <p:cNvPr id="4" name="CuadroTexto 3">
            <a:extLst>
              <a:ext uri="{FF2B5EF4-FFF2-40B4-BE49-F238E27FC236}">
                <a16:creationId xmlns:a16="http://schemas.microsoft.com/office/drawing/2014/main" id="{BFF7000B-1921-01AF-B5E9-13D1C034D60E}"/>
              </a:ext>
            </a:extLst>
          </p:cNvPr>
          <p:cNvSpPr txBox="1"/>
          <p:nvPr/>
        </p:nvSpPr>
        <p:spPr>
          <a:xfrm>
            <a:off x="8279432" y="1353478"/>
            <a:ext cx="3375252" cy="1369606"/>
          </a:xfrm>
          <a:prstGeom prst="rect">
            <a:avLst/>
          </a:prstGeom>
          <a:noFill/>
        </p:spPr>
        <p:txBody>
          <a:bodyPr wrap="square" rtlCol="0">
            <a:spAutoFit/>
          </a:bodyPr>
          <a:lstStyle/>
          <a:p>
            <a:r>
              <a:rPr lang="en-GB" b="1" noProof="0"/>
              <a:t>Suppliers</a:t>
            </a:r>
          </a:p>
          <a:p>
            <a:r>
              <a:rPr lang="en-GB" sz="1300" b="1" noProof="0"/>
              <a:t>SAP Ariba &amp; S4HANA</a:t>
            </a:r>
          </a:p>
          <a:p>
            <a:pPr marL="171450" indent="-171450">
              <a:buFont typeface="Arial" panose="020B0604020202020204" pitchFamily="34" charset="0"/>
              <a:buChar char="•"/>
            </a:pPr>
            <a:r>
              <a:rPr lang="en-GB" sz="1300" noProof="0"/>
              <a:t>SLP - 360º Supplier Analysis to track volume, quality and certifications by product and service
Supplier Risk - Sentiment Analysis</a:t>
            </a:r>
          </a:p>
        </p:txBody>
      </p:sp>
      <p:sp>
        <p:nvSpPr>
          <p:cNvPr id="5" name="CuadroTexto 4">
            <a:extLst>
              <a:ext uri="{FF2B5EF4-FFF2-40B4-BE49-F238E27FC236}">
                <a16:creationId xmlns:a16="http://schemas.microsoft.com/office/drawing/2014/main" id="{5DA7AB81-D544-1BF3-8BFD-ED8D070BA1CB}"/>
              </a:ext>
            </a:extLst>
          </p:cNvPr>
          <p:cNvSpPr txBox="1"/>
          <p:nvPr/>
        </p:nvSpPr>
        <p:spPr>
          <a:xfrm>
            <a:off x="8287942" y="3199786"/>
            <a:ext cx="3495097" cy="1769715"/>
          </a:xfrm>
          <a:prstGeom prst="rect">
            <a:avLst/>
          </a:prstGeom>
          <a:noFill/>
        </p:spPr>
        <p:txBody>
          <a:bodyPr wrap="square" rtlCol="0">
            <a:spAutoFit/>
          </a:bodyPr>
          <a:lstStyle/>
          <a:p>
            <a:r>
              <a:rPr lang="en-GB" b="1" noProof="0"/>
              <a:t>Personnel Costs</a:t>
            </a:r>
          </a:p>
          <a:p>
            <a:r>
              <a:rPr lang="en-GB" sz="1300" b="1" noProof="0"/>
              <a:t>SAP </a:t>
            </a:r>
            <a:r>
              <a:rPr lang="en-GB" sz="1300" b="1" noProof="0" err="1"/>
              <a:t>SuccessFactos</a:t>
            </a:r>
            <a:r>
              <a:rPr lang="en-GB" sz="1300" b="1" noProof="0"/>
              <a:t> &amp; SAP Fieldglass</a:t>
            </a:r>
          </a:p>
          <a:p>
            <a:pPr marL="285750" indent="-285750">
              <a:buFont typeface="Arial" panose="020B0604020202020204" pitchFamily="34" charset="0"/>
              <a:buChar char="•"/>
            </a:pPr>
            <a:r>
              <a:rPr lang="en-GB" sz="1300" noProof="0"/>
              <a:t>Employee costs
External Services Analysis and Outsourcing</a:t>
            </a:r>
          </a:p>
          <a:p>
            <a:endParaRPr lang="en-GB" sz="1300" noProof="0"/>
          </a:p>
          <a:p>
            <a:r>
              <a:rPr lang="en-GB" sz="1300" noProof="0"/>
              <a:t>Streamline workforce management with integrated visualization of total personnel costs (payroll, training, social security,..).</a:t>
            </a:r>
          </a:p>
        </p:txBody>
      </p:sp>
      <p:sp>
        <p:nvSpPr>
          <p:cNvPr id="6" name="CuadroTexto 5">
            <a:extLst>
              <a:ext uri="{FF2B5EF4-FFF2-40B4-BE49-F238E27FC236}">
                <a16:creationId xmlns:a16="http://schemas.microsoft.com/office/drawing/2014/main" id="{3E45E7D9-A450-C1E6-F5DD-D7E41289F9BA}"/>
              </a:ext>
            </a:extLst>
          </p:cNvPr>
          <p:cNvSpPr txBox="1"/>
          <p:nvPr/>
        </p:nvSpPr>
        <p:spPr>
          <a:xfrm>
            <a:off x="853654" y="1191772"/>
            <a:ext cx="3158570" cy="2769989"/>
          </a:xfrm>
          <a:prstGeom prst="rect">
            <a:avLst/>
          </a:prstGeom>
          <a:noFill/>
        </p:spPr>
        <p:txBody>
          <a:bodyPr wrap="square" lIns="91440" tIns="45720" rIns="91440" bIns="45720" rtlCol="0" anchor="t">
            <a:spAutoFit/>
          </a:bodyPr>
          <a:lstStyle/>
          <a:p>
            <a:r>
              <a:rPr lang="en-GB" b="1" noProof="0"/>
              <a:t>Procurement insights</a:t>
            </a:r>
          </a:p>
          <a:p>
            <a:r>
              <a:rPr lang="en-GB" sz="1300" noProof="0"/>
              <a:t>It allows you to measure and </a:t>
            </a:r>
            <a:r>
              <a:rPr lang="en-GB" sz="1300" noProof="0" err="1"/>
              <a:t>analyze</a:t>
            </a:r>
            <a:r>
              <a:rPr lang="en-GB" sz="1300" noProof="0"/>
              <a:t> the main purchasing processes (Sourcing, Invoicing, contract and operations management)</a:t>
            </a:r>
          </a:p>
          <a:p>
            <a:endParaRPr lang="en-GB" sz="1300" noProof="0"/>
          </a:p>
          <a:p>
            <a:r>
              <a:rPr lang="en-GB" sz="1300" b="1" noProof="0"/>
              <a:t>SAP Ariba &amp; S4HANA</a:t>
            </a:r>
          </a:p>
          <a:p>
            <a:pPr marL="285750" indent="-285750">
              <a:buFont typeface="Arial" panose="020B0604020202020204" pitchFamily="34" charset="0"/>
              <a:buChar char="•"/>
            </a:pPr>
            <a:r>
              <a:rPr lang="en-GB" sz="1300" noProof="0"/>
              <a:t>Procure to order</a:t>
            </a:r>
          </a:p>
          <a:p>
            <a:pPr marL="285750" indent="-285750">
              <a:buFont typeface="Arial" panose="020B0604020202020204" pitchFamily="34" charset="0"/>
              <a:buChar char="•"/>
            </a:pPr>
            <a:r>
              <a:rPr lang="en-GB" sz="1300" noProof="0"/>
              <a:t>Sourcing</a:t>
            </a:r>
          </a:p>
          <a:p>
            <a:pPr marL="285750" indent="-285750">
              <a:buFont typeface="Arial" panose="020B0604020202020204" pitchFamily="34" charset="0"/>
              <a:buChar char="•"/>
            </a:pPr>
            <a:r>
              <a:rPr lang="en-GB" sz="1300" noProof="0"/>
              <a:t>Invoicing</a:t>
            </a:r>
          </a:p>
          <a:p>
            <a:pPr marL="285750" indent="-285750">
              <a:buFont typeface="Arial" panose="020B0604020202020204" pitchFamily="34" charset="0"/>
              <a:buChar char="•"/>
            </a:pPr>
            <a:r>
              <a:rPr lang="en-GB" sz="1300" noProof="0"/>
              <a:t>Contract Management</a:t>
            </a:r>
          </a:p>
          <a:p>
            <a:pPr marL="285750" indent="-285750">
              <a:buFont typeface="Arial" panose="020B0604020202020204" pitchFamily="34" charset="0"/>
              <a:buChar char="•"/>
            </a:pPr>
            <a:r>
              <a:rPr lang="en-GB" sz="1300" noProof="0"/>
              <a:t>Buying </a:t>
            </a:r>
          </a:p>
          <a:p>
            <a:pPr marL="285750" indent="-285750">
              <a:buFont typeface="Arial" panose="020B0604020202020204" pitchFamily="34" charset="0"/>
              <a:buChar char="•"/>
            </a:pPr>
            <a:r>
              <a:rPr lang="en-GB" sz="1300" noProof="0"/>
              <a:t>Catalogue</a:t>
            </a:r>
          </a:p>
        </p:txBody>
      </p:sp>
      <p:sp>
        <p:nvSpPr>
          <p:cNvPr id="8" name="CuadroTexto 7">
            <a:extLst>
              <a:ext uri="{FF2B5EF4-FFF2-40B4-BE49-F238E27FC236}">
                <a16:creationId xmlns:a16="http://schemas.microsoft.com/office/drawing/2014/main" id="{4AEAC534-47C9-CDBC-CBF7-452F66F68D93}"/>
              </a:ext>
            </a:extLst>
          </p:cNvPr>
          <p:cNvSpPr txBox="1"/>
          <p:nvPr/>
        </p:nvSpPr>
        <p:spPr>
          <a:xfrm>
            <a:off x="693646" y="4020274"/>
            <a:ext cx="3358044" cy="2169825"/>
          </a:xfrm>
          <a:prstGeom prst="rect">
            <a:avLst/>
          </a:prstGeom>
          <a:noFill/>
        </p:spPr>
        <p:txBody>
          <a:bodyPr wrap="square" rtlCol="0">
            <a:spAutoFit/>
          </a:bodyPr>
          <a:lstStyle/>
          <a:p>
            <a:r>
              <a:rPr lang="en-GB" b="1" noProof="0"/>
              <a:t>Expense Planning</a:t>
            </a:r>
          </a:p>
          <a:p>
            <a:pPr marL="285750" indent="-285750">
              <a:buFont typeface="Arial" panose="020B0604020202020204" pitchFamily="34" charset="0"/>
              <a:buChar char="•"/>
            </a:pPr>
            <a:r>
              <a:rPr lang="en-GB" sz="1300" noProof="0"/>
              <a:t>Planning of purchases of goods and services of the company, allowing planning both centralized purchases and decentralized purchases by department
Personnel cost planning</a:t>
            </a:r>
          </a:p>
          <a:p>
            <a:pPr marL="285750" indent="-285750">
              <a:buFont typeface="Arial" panose="020B0604020202020204" pitchFamily="34" charset="0"/>
              <a:buChar char="•"/>
            </a:pPr>
            <a:endParaRPr lang="en-GB" sz="1300" noProof="0"/>
          </a:p>
          <a:p>
            <a:r>
              <a:rPr lang="en-GB" sz="1300" noProof="0"/>
              <a:t>Improves process agility by unifying tasks of preparation, elaboration and analysis and monitoring of the planning process</a:t>
            </a:r>
          </a:p>
        </p:txBody>
      </p:sp>
      <p:sp>
        <p:nvSpPr>
          <p:cNvPr id="11" name="CuadroTexto 10">
            <a:extLst>
              <a:ext uri="{FF2B5EF4-FFF2-40B4-BE49-F238E27FC236}">
                <a16:creationId xmlns:a16="http://schemas.microsoft.com/office/drawing/2014/main" id="{C33AFAE5-B4FC-ADEB-B7F6-0A30108C3548}"/>
              </a:ext>
            </a:extLst>
          </p:cNvPr>
          <p:cNvSpPr txBox="1"/>
          <p:nvPr/>
        </p:nvSpPr>
        <p:spPr>
          <a:xfrm>
            <a:off x="8254245" y="5301028"/>
            <a:ext cx="3495097" cy="969496"/>
          </a:xfrm>
          <a:prstGeom prst="rect">
            <a:avLst/>
          </a:prstGeom>
          <a:noFill/>
        </p:spPr>
        <p:txBody>
          <a:bodyPr wrap="square" rtlCol="0">
            <a:spAutoFit/>
          </a:bodyPr>
          <a:lstStyle/>
          <a:p>
            <a:r>
              <a:rPr lang="en-GB" b="1" noProof="0"/>
              <a:t>Travel Expenses</a:t>
            </a:r>
          </a:p>
          <a:p>
            <a:r>
              <a:rPr lang="en-GB" sz="1300" b="1" noProof="0"/>
              <a:t>SAP Concur </a:t>
            </a:r>
          </a:p>
          <a:p>
            <a:pPr marL="285750" indent="-285750">
              <a:buFont typeface="Arial" panose="020B0604020202020204" pitchFamily="34" charset="0"/>
              <a:buChar char="•"/>
            </a:pPr>
            <a:r>
              <a:rPr lang="en-GB" sz="1300" noProof="0"/>
              <a:t>Comprehensive view of employee travel spend control</a:t>
            </a:r>
          </a:p>
        </p:txBody>
      </p:sp>
    </p:spTree>
    <p:extLst>
      <p:ext uri="{BB962C8B-B14F-4D97-AF65-F5344CB8AC3E}">
        <p14:creationId xmlns:p14="http://schemas.microsoft.com/office/powerpoint/2010/main" val="451548878"/>
      </p:ext>
    </p:extLst>
  </p:cSld>
  <p:clrMapOvr>
    <a:masterClrMapping/>
  </p:clrMapOvr>
  <p:transition spd="slow">
    <p:push dir="u"/>
  </p:transition>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2" name="Rectangle 51">
            <a:extLst>
              <a:ext uri="{FF2B5EF4-FFF2-40B4-BE49-F238E27FC236}">
                <a16:creationId xmlns:a16="http://schemas.microsoft.com/office/drawing/2014/main" id="{ABA04BA5-7999-1EAD-68BC-B0D65BA00C87}"/>
              </a:ext>
            </a:extLst>
          </p:cNvPr>
          <p:cNvSpPr/>
          <p:nvPr/>
        </p:nvSpPr>
        <p:spPr>
          <a:xfrm>
            <a:off x="3647728" y="620689"/>
            <a:ext cx="8544272" cy="59766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5" name="Imagen 34" descr="Logotipo">
            <a:extLst>
              <a:ext uri="{FF2B5EF4-FFF2-40B4-BE49-F238E27FC236}">
                <a16:creationId xmlns:a16="http://schemas.microsoft.com/office/drawing/2014/main" id="{3646CAC4-8441-41A9-8687-057949D646C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9521" y="6176278"/>
            <a:ext cx="967300" cy="223700"/>
          </a:xfrm>
          <a:prstGeom prst="rect">
            <a:avLst/>
          </a:prstGeom>
        </p:spPr>
      </p:pic>
      <p:sp>
        <p:nvSpPr>
          <p:cNvPr id="54" name="CuadroTexto 53">
            <a:extLst>
              <a:ext uri="{FF2B5EF4-FFF2-40B4-BE49-F238E27FC236}">
                <a16:creationId xmlns:a16="http://schemas.microsoft.com/office/drawing/2014/main" id="{DFF51CEF-DA6F-40AE-0CEE-0258FEF849FE}"/>
              </a:ext>
            </a:extLst>
          </p:cNvPr>
          <p:cNvSpPr txBox="1"/>
          <p:nvPr/>
        </p:nvSpPr>
        <p:spPr>
          <a:xfrm>
            <a:off x="902197" y="1156387"/>
            <a:ext cx="2232247" cy="1323439"/>
          </a:xfrm>
          <a:prstGeom prst="rect">
            <a:avLst/>
          </a:prstGeom>
        </p:spPr>
        <p:txBody>
          <a:bodyPr wrap="square" lIns="0" rIns="0" rtlCol="0">
            <a:spAutoFit/>
          </a:bodyPr>
          <a:lstStyle/>
          <a:p>
            <a:pPr marL="0" marR="0" lvl="0" indent="0" algn="l" defTabSz="742950" rtl="0" eaLnBrk="1" fontAlgn="base" latinLnBrk="0" hangingPunct="1">
              <a:lnSpc>
                <a:spcPct val="100000"/>
              </a:lnSpc>
              <a:spcBef>
                <a:spcPct val="0"/>
              </a:spcBef>
              <a:spcAft>
                <a:spcPct val="0"/>
              </a:spcAft>
              <a:buClr>
                <a:srgbClr val="505150"/>
              </a:buClr>
              <a:buSzPct val="88000"/>
              <a:buFontTx/>
              <a:buNone/>
              <a:tabLst/>
              <a:defRPr/>
            </a:pPr>
            <a:r>
              <a:rPr kumimoji="0" lang="en-GB" sz="1400" b="1" i="0" u="none" strike="noStrike" kern="0" cap="none" spc="0" normalizeH="0" baseline="0" noProof="0">
                <a:ln>
                  <a:noFill/>
                </a:ln>
                <a:effectLst/>
                <a:uLnTx/>
                <a:uFillTx/>
                <a:ea typeface="+mn-ea"/>
                <a:cs typeface="+mn-cs"/>
                <a:sym typeface="Droid Sans" charset="0"/>
              </a:rPr>
              <a:t>Procure to Order</a:t>
            </a:r>
          </a:p>
          <a:p>
            <a:pPr lvl="0" defTabSz="742950" fontAlgn="base">
              <a:spcBef>
                <a:spcPct val="0"/>
              </a:spcBef>
              <a:spcAft>
                <a:spcPct val="0"/>
              </a:spcAft>
              <a:buClr>
                <a:srgbClr val="505150"/>
              </a:buClr>
              <a:buSzPct val="88000"/>
              <a:defRPr/>
            </a:pPr>
            <a:r>
              <a:rPr lang="en-GB" sz="1100" spc="-20" noProof="0">
                <a:sym typeface="Droid Sans" charset="0"/>
              </a:rPr>
              <a:t>Analysis of the company's expenses and savings. The evolution of expenditure is studied, according to the type of expenditure, the cost centre and the supplier.</a:t>
            </a:r>
            <a:r>
              <a:rPr kumimoji="0" lang="en-GB" sz="1100" b="0" i="0" u="none" strike="noStrike" kern="1200" cap="none" spc="-20" normalizeH="0" baseline="0" noProof="0">
                <a:ln>
                  <a:noFill/>
                </a:ln>
                <a:effectLst/>
                <a:uLnTx/>
                <a:uFillTx/>
                <a:ea typeface="+mn-ea"/>
                <a:cs typeface="+mn-cs"/>
                <a:sym typeface="Droid Sans" charset="0"/>
              </a:rPr>
              <a:t>
</a:t>
            </a:r>
          </a:p>
        </p:txBody>
      </p:sp>
      <p:sp>
        <p:nvSpPr>
          <p:cNvPr id="37" name="CuadroTexto 36">
            <a:extLst>
              <a:ext uri="{FF2B5EF4-FFF2-40B4-BE49-F238E27FC236}">
                <a16:creationId xmlns:a16="http://schemas.microsoft.com/office/drawing/2014/main" id="{9CFA3BC3-F20C-B667-EF27-7CBEBC0B3497}"/>
              </a:ext>
            </a:extLst>
          </p:cNvPr>
          <p:cNvSpPr txBox="1"/>
          <p:nvPr/>
        </p:nvSpPr>
        <p:spPr>
          <a:xfrm>
            <a:off x="902197" y="2364200"/>
            <a:ext cx="2428239" cy="646331"/>
          </a:xfrm>
          <a:prstGeom prst="rect">
            <a:avLst/>
          </a:prstGeom>
        </p:spPr>
        <p:txBody>
          <a:bodyPr wrap="square" lIns="0" rIns="0" rtlCol="0">
            <a:spAutoFit/>
          </a:bodyPr>
          <a:lstStyle/>
          <a:p>
            <a:pPr marL="0" marR="0" lvl="0" indent="0" algn="l" defTabSz="742950" rtl="0" eaLnBrk="1" fontAlgn="base" latinLnBrk="0" hangingPunct="1">
              <a:lnSpc>
                <a:spcPct val="100000"/>
              </a:lnSpc>
              <a:spcBef>
                <a:spcPct val="0"/>
              </a:spcBef>
              <a:spcAft>
                <a:spcPct val="0"/>
              </a:spcAft>
              <a:buClr>
                <a:srgbClr val="505150"/>
              </a:buClr>
              <a:buSzPct val="88000"/>
              <a:buFontTx/>
              <a:buNone/>
              <a:tabLst/>
              <a:defRPr/>
            </a:pPr>
            <a:r>
              <a:rPr kumimoji="0" lang="en-GB" sz="1400" b="1" i="0" u="none" strike="noStrike" kern="0" cap="none" spc="0" normalizeH="0" baseline="0" noProof="0">
                <a:ln>
                  <a:noFill/>
                </a:ln>
                <a:effectLst/>
                <a:uLnTx/>
                <a:uFillTx/>
                <a:ea typeface="+mn-ea"/>
                <a:cs typeface="+mn-cs"/>
                <a:sym typeface="Droid Sans" charset="0"/>
              </a:rPr>
              <a:t>Sourcing Project</a:t>
            </a:r>
          </a:p>
          <a:p>
            <a:pPr lvl="0" defTabSz="742950" fontAlgn="base">
              <a:spcBef>
                <a:spcPct val="0"/>
              </a:spcBef>
              <a:spcAft>
                <a:spcPct val="0"/>
              </a:spcAft>
              <a:buClr>
                <a:srgbClr val="505150"/>
              </a:buClr>
              <a:buSzPct val="88000"/>
              <a:defRPr/>
            </a:pPr>
            <a:r>
              <a:rPr lang="en-GB" sz="1100" spc="-20" noProof="0">
                <a:sym typeface="Droid Sans" charset="0"/>
              </a:rPr>
              <a:t>Global analysis of supply projects and their monitoring</a:t>
            </a:r>
            <a:r>
              <a:rPr kumimoji="0" lang="en-GB" sz="1100" b="0" i="0" u="none" strike="noStrike" kern="1200" cap="none" spc="-20" normalizeH="0" baseline="0" noProof="0">
                <a:ln>
                  <a:noFill/>
                </a:ln>
                <a:effectLst/>
                <a:uLnTx/>
                <a:uFillTx/>
                <a:ea typeface="+mn-ea"/>
                <a:cs typeface="+mn-cs"/>
                <a:sym typeface="Droid Sans" charset="0"/>
              </a:rPr>
              <a:t>.</a:t>
            </a:r>
          </a:p>
        </p:txBody>
      </p:sp>
      <p:sp>
        <p:nvSpPr>
          <p:cNvPr id="38" name="CuadroTexto 37">
            <a:extLst>
              <a:ext uri="{FF2B5EF4-FFF2-40B4-BE49-F238E27FC236}">
                <a16:creationId xmlns:a16="http://schemas.microsoft.com/office/drawing/2014/main" id="{7C0E7FDB-6497-8F9A-6649-A3510B2BE5F9}"/>
              </a:ext>
            </a:extLst>
          </p:cNvPr>
          <p:cNvSpPr txBox="1"/>
          <p:nvPr/>
        </p:nvSpPr>
        <p:spPr>
          <a:xfrm>
            <a:off x="902197" y="4235261"/>
            <a:ext cx="2232247" cy="815608"/>
          </a:xfrm>
          <a:prstGeom prst="rect">
            <a:avLst/>
          </a:prstGeom>
        </p:spPr>
        <p:txBody>
          <a:bodyPr wrap="square" lIns="0" rIns="0" rtlCol="0">
            <a:spAutoFit/>
          </a:bodyPr>
          <a:lstStyle/>
          <a:p>
            <a:pPr marL="0" marR="0" lvl="0" indent="0" algn="l" defTabSz="742950" rtl="0" eaLnBrk="1" fontAlgn="base" latinLnBrk="0" hangingPunct="1">
              <a:lnSpc>
                <a:spcPct val="100000"/>
              </a:lnSpc>
              <a:spcBef>
                <a:spcPct val="0"/>
              </a:spcBef>
              <a:spcAft>
                <a:spcPct val="0"/>
              </a:spcAft>
              <a:buClr>
                <a:srgbClr val="505150"/>
              </a:buClr>
              <a:buSzPct val="88000"/>
              <a:buFontTx/>
              <a:buNone/>
              <a:tabLst/>
              <a:defRPr/>
            </a:pPr>
            <a:r>
              <a:rPr kumimoji="0" lang="en-GB" sz="1400" b="1" i="0" u="none" strike="noStrike" kern="0" cap="none" spc="0" normalizeH="0" baseline="0" noProof="0">
                <a:ln>
                  <a:noFill/>
                </a:ln>
                <a:effectLst/>
                <a:uLnTx/>
                <a:uFillTx/>
                <a:ea typeface="+mn-ea"/>
                <a:cs typeface="+mn-cs"/>
                <a:sym typeface="Droid Sans" charset="0"/>
              </a:rPr>
              <a:t>Invoicing</a:t>
            </a:r>
          </a:p>
          <a:p>
            <a:pPr lvl="0" algn="just" defTabSz="742950" fontAlgn="base">
              <a:spcBef>
                <a:spcPct val="0"/>
              </a:spcBef>
              <a:spcAft>
                <a:spcPct val="0"/>
              </a:spcAft>
              <a:buClr>
                <a:srgbClr val="505150"/>
              </a:buClr>
              <a:buSzPct val="88000"/>
              <a:defRPr/>
            </a:pPr>
            <a:r>
              <a:rPr lang="en-GB" sz="1100" spc="-20" noProof="0">
                <a:sym typeface="Droid Sans" charset="0"/>
              </a:rPr>
              <a:t>Detail of invoices according to status, type of exception and days in pending status.</a:t>
            </a:r>
            <a:endParaRPr kumimoji="0" lang="en-GB" sz="1100" b="0" i="0" u="none" strike="noStrike" kern="1200" cap="none" spc="-20" normalizeH="0" baseline="0" noProof="0">
              <a:ln>
                <a:noFill/>
              </a:ln>
              <a:effectLst/>
              <a:uLnTx/>
              <a:uFillTx/>
              <a:ea typeface="+mn-ea"/>
              <a:cs typeface="+mn-cs"/>
            </a:endParaRPr>
          </a:p>
        </p:txBody>
      </p:sp>
      <p:pic>
        <p:nvPicPr>
          <p:cNvPr id="12" name="Picture 11">
            <a:extLst>
              <a:ext uri="{FF2B5EF4-FFF2-40B4-BE49-F238E27FC236}">
                <a16:creationId xmlns:a16="http://schemas.microsoft.com/office/drawing/2014/main" id="{395F3026-9D89-68EC-F8CC-38502B2ABF5E}"/>
              </a:ext>
            </a:extLst>
          </p:cNvPr>
          <p:cNvPicPr>
            <a:picLocks noChangeAspect="1"/>
          </p:cNvPicPr>
          <p:nvPr/>
        </p:nvPicPr>
        <p:blipFill>
          <a:blip r:embed="rId4"/>
          <a:stretch>
            <a:fillRect/>
          </a:stretch>
        </p:blipFill>
        <p:spPr>
          <a:xfrm>
            <a:off x="3749376" y="4339659"/>
            <a:ext cx="4358692" cy="2186921"/>
          </a:xfrm>
          <a:prstGeom prst="rect">
            <a:avLst/>
          </a:prstGeom>
          <a:ln>
            <a:noFill/>
          </a:ln>
          <a:effectLst>
            <a:outerShdw blurRad="190500" algn="tl" rotWithShape="0">
              <a:srgbClr val="000000">
                <a:alpha val="70000"/>
              </a:srgbClr>
            </a:outerShdw>
          </a:effectLst>
        </p:spPr>
      </p:pic>
      <p:pic>
        <p:nvPicPr>
          <p:cNvPr id="6" name="Picture 5">
            <a:extLst>
              <a:ext uri="{FF2B5EF4-FFF2-40B4-BE49-F238E27FC236}">
                <a16:creationId xmlns:a16="http://schemas.microsoft.com/office/drawing/2014/main" id="{888D51E1-88B8-07BA-142F-391FB5E60CD1}"/>
              </a:ext>
            </a:extLst>
          </p:cNvPr>
          <p:cNvPicPr>
            <a:picLocks noChangeAspect="1"/>
          </p:cNvPicPr>
          <p:nvPr/>
        </p:nvPicPr>
        <p:blipFill>
          <a:blip r:embed="rId5"/>
          <a:stretch>
            <a:fillRect/>
          </a:stretch>
        </p:blipFill>
        <p:spPr>
          <a:xfrm>
            <a:off x="8189103" y="2422495"/>
            <a:ext cx="3752848" cy="1664506"/>
          </a:xfrm>
          <a:prstGeom prst="rect">
            <a:avLst/>
          </a:prstGeom>
          <a:ln>
            <a:noFill/>
          </a:ln>
          <a:effectLst>
            <a:outerShdw blurRad="190500" algn="tl" rotWithShape="0">
              <a:srgbClr val="000000">
                <a:alpha val="70000"/>
              </a:srgbClr>
            </a:outerShdw>
          </a:effectLst>
        </p:spPr>
      </p:pic>
      <p:pic>
        <p:nvPicPr>
          <p:cNvPr id="14" name="Picture 13">
            <a:extLst>
              <a:ext uri="{FF2B5EF4-FFF2-40B4-BE49-F238E27FC236}">
                <a16:creationId xmlns:a16="http://schemas.microsoft.com/office/drawing/2014/main" id="{5D7B87A2-32DB-653D-27E0-BE39E11E59E8}"/>
              </a:ext>
            </a:extLst>
          </p:cNvPr>
          <p:cNvPicPr>
            <a:picLocks noChangeAspect="1"/>
          </p:cNvPicPr>
          <p:nvPr/>
        </p:nvPicPr>
        <p:blipFill>
          <a:blip r:embed="rId6"/>
          <a:stretch>
            <a:fillRect/>
          </a:stretch>
        </p:blipFill>
        <p:spPr>
          <a:xfrm>
            <a:off x="8205520" y="4178832"/>
            <a:ext cx="3752848" cy="2347748"/>
          </a:xfrm>
          <a:prstGeom prst="rect">
            <a:avLst/>
          </a:prstGeom>
          <a:ln>
            <a:noFill/>
          </a:ln>
          <a:effectLst>
            <a:outerShdw blurRad="190500" algn="tl" rotWithShape="0">
              <a:srgbClr val="000000">
                <a:alpha val="70000"/>
              </a:srgbClr>
            </a:outerShdw>
          </a:effectLst>
        </p:spPr>
      </p:pic>
      <p:pic>
        <p:nvPicPr>
          <p:cNvPr id="16" name="Picture 15">
            <a:extLst>
              <a:ext uri="{FF2B5EF4-FFF2-40B4-BE49-F238E27FC236}">
                <a16:creationId xmlns:a16="http://schemas.microsoft.com/office/drawing/2014/main" id="{F2D6A797-7F9E-E3FB-D6D1-2007960B4250}"/>
              </a:ext>
            </a:extLst>
          </p:cNvPr>
          <p:cNvPicPr>
            <a:picLocks noChangeAspect="1"/>
          </p:cNvPicPr>
          <p:nvPr/>
        </p:nvPicPr>
        <p:blipFill>
          <a:blip r:embed="rId7"/>
          <a:stretch>
            <a:fillRect/>
          </a:stretch>
        </p:blipFill>
        <p:spPr>
          <a:xfrm>
            <a:off x="3749376" y="2099214"/>
            <a:ext cx="4379841" cy="2186921"/>
          </a:xfrm>
          <a:prstGeom prst="rect">
            <a:avLst/>
          </a:prstGeom>
          <a:ln>
            <a:noFill/>
          </a:ln>
          <a:effectLst>
            <a:outerShdw blurRad="190500" algn="tl" rotWithShape="0">
              <a:srgbClr val="000000">
                <a:alpha val="70000"/>
              </a:srgbClr>
            </a:outerShdw>
          </a:effectLst>
        </p:spPr>
      </p:pic>
      <p:sp>
        <p:nvSpPr>
          <p:cNvPr id="42" name="CuadroTexto 37">
            <a:extLst>
              <a:ext uri="{FF2B5EF4-FFF2-40B4-BE49-F238E27FC236}">
                <a16:creationId xmlns:a16="http://schemas.microsoft.com/office/drawing/2014/main" id="{B5806F53-278D-9063-00E8-5ACC5E47FAD1}"/>
              </a:ext>
            </a:extLst>
          </p:cNvPr>
          <p:cNvSpPr txBox="1"/>
          <p:nvPr/>
        </p:nvSpPr>
        <p:spPr>
          <a:xfrm>
            <a:off x="902197" y="3308225"/>
            <a:ext cx="2232247" cy="815608"/>
          </a:xfrm>
          <a:prstGeom prst="rect">
            <a:avLst/>
          </a:prstGeom>
        </p:spPr>
        <p:txBody>
          <a:bodyPr wrap="square" lIns="0" rIns="0" rtlCol="0">
            <a:spAutoFit/>
          </a:bodyPr>
          <a:lstStyle/>
          <a:p>
            <a:pPr marL="0" marR="0" lvl="0" indent="0" algn="l" defTabSz="742950" rtl="0" eaLnBrk="1" fontAlgn="base" latinLnBrk="0" hangingPunct="1">
              <a:lnSpc>
                <a:spcPct val="100000"/>
              </a:lnSpc>
              <a:spcBef>
                <a:spcPct val="0"/>
              </a:spcBef>
              <a:spcAft>
                <a:spcPct val="0"/>
              </a:spcAft>
              <a:buClr>
                <a:srgbClr val="505150"/>
              </a:buClr>
              <a:buSzPct val="88000"/>
              <a:buFontTx/>
              <a:buNone/>
              <a:tabLst/>
              <a:defRPr/>
            </a:pPr>
            <a:r>
              <a:rPr kumimoji="0" lang="en-GB" sz="1400" b="1" i="0" u="none" strike="noStrike" kern="0" cap="none" spc="0" normalizeH="0" baseline="0" noProof="0">
                <a:ln>
                  <a:noFill/>
                </a:ln>
                <a:effectLst/>
                <a:uLnTx/>
                <a:uFillTx/>
                <a:ea typeface="+mn-ea"/>
                <a:cs typeface="+mn-cs"/>
                <a:sym typeface="Droid Sans" charset="0"/>
              </a:rPr>
              <a:t>Contract Management</a:t>
            </a:r>
          </a:p>
          <a:p>
            <a:pPr lvl="0" algn="just" defTabSz="742950" fontAlgn="base">
              <a:spcBef>
                <a:spcPct val="0"/>
              </a:spcBef>
              <a:spcAft>
                <a:spcPct val="0"/>
              </a:spcAft>
              <a:buClr>
                <a:srgbClr val="505150"/>
              </a:buClr>
              <a:buSzPct val="88000"/>
              <a:defRPr/>
            </a:pPr>
            <a:r>
              <a:rPr lang="en-GB" sz="1100" spc="-20" noProof="0"/>
              <a:t>Analysis of the company's contract and supplier management.</a:t>
            </a:r>
            <a:r>
              <a:rPr kumimoji="0" lang="en-GB" sz="1100" b="0" i="0" u="none" strike="noStrike" kern="1200" cap="none" spc="-20" normalizeH="0" baseline="0" noProof="0">
                <a:ln>
                  <a:noFill/>
                </a:ln>
                <a:effectLst/>
                <a:uLnTx/>
                <a:uFillTx/>
                <a:ea typeface="+mn-ea"/>
                <a:cs typeface="+mn-cs"/>
              </a:rPr>
              <a:t>
</a:t>
            </a:r>
          </a:p>
        </p:txBody>
      </p:sp>
      <p:sp>
        <p:nvSpPr>
          <p:cNvPr id="43" name="CuadroTexto 37">
            <a:extLst>
              <a:ext uri="{FF2B5EF4-FFF2-40B4-BE49-F238E27FC236}">
                <a16:creationId xmlns:a16="http://schemas.microsoft.com/office/drawing/2014/main" id="{ED09D9A3-6CB0-E59B-2326-6660070E4CB0}"/>
              </a:ext>
            </a:extLst>
          </p:cNvPr>
          <p:cNvSpPr txBox="1"/>
          <p:nvPr/>
        </p:nvSpPr>
        <p:spPr>
          <a:xfrm>
            <a:off x="902197" y="5112998"/>
            <a:ext cx="2232247" cy="646331"/>
          </a:xfrm>
          <a:prstGeom prst="rect">
            <a:avLst/>
          </a:prstGeom>
        </p:spPr>
        <p:txBody>
          <a:bodyPr wrap="square" lIns="0" rIns="0" rtlCol="0">
            <a:spAutoFit/>
          </a:bodyPr>
          <a:lstStyle/>
          <a:p>
            <a:pPr marL="0" marR="0" lvl="0" indent="0" algn="l" defTabSz="742950" rtl="0" eaLnBrk="1" fontAlgn="base" latinLnBrk="0" hangingPunct="1">
              <a:lnSpc>
                <a:spcPct val="100000"/>
              </a:lnSpc>
              <a:spcBef>
                <a:spcPct val="0"/>
              </a:spcBef>
              <a:spcAft>
                <a:spcPct val="0"/>
              </a:spcAft>
              <a:buClr>
                <a:srgbClr val="505150"/>
              </a:buClr>
              <a:buSzPct val="88000"/>
              <a:buFontTx/>
              <a:buNone/>
              <a:tabLst/>
              <a:defRPr/>
            </a:pPr>
            <a:r>
              <a:rPr kumimoji="0" lang="en-GB" sz="1400" b="1" i="0" u="none" strike="noStrike" kern="0" cap="none" spc="0" normalizeH="0" baseline="0" noProof="0">
                <a:ln>
                  <a:noFill/>
                </a:ln>
                <a:effectLst/>
                <a:uLnTx/>
                <a:uFillTx/>
                <a:ea typeface="+mn-ea"/>
                <a:cs typeface="+mn-cs"/>
                <a:sym typeface="Droid Sans" charset="0"/>
              </a:rPr>
              <a:t>Buying</a:t>
            </a:r>
          </a:p>
          <a:p>
            <a:pPr lvl="0" algn="just" defTabSz="742950" fontAlgn="base">
              <a:spcBef>
                <a:spcPct val="0"/>
              </a:spcBef>
              <a:spcAft>
                <a:spcPct val="0"/>
              </a:spcAft>
              <a:buClr>
                <a:srgbClr val="505150"/>
              </a:buClr>
              <a:buSzPct val="88000"/>
              <a:defRPr/>
            </a:pPr>
            <a:r>
              <a:rPr lang="en-GB" sz="1100" spc="-20" noProof="0"/>
              <a:t>Study of the purchases made and each of the stages of a purchase.</a:t>
            </a:r>
            <a:endParaRPr kumimoji="0" lang="en-GB" sz="1100" b="0" i="0" u="none" strike="noStrike" kern="1200" cap="none" spc="-20" normalizeH="0" baseline="0" noProof="0">
              <a:ln>
                <a:noFill/>
              </a:ln>
              <a:effectLst/>
              <a:uLnTx/>
              <a:uFillTx/>
              <a:ea typeface="+mn-ea"/>
              <a:cs typeface="+mn-cs"/>
            </a:endParaRPr>
          </a:p>
        </p:txBody>
      </p:sp>
      <p:pic>
        <p:nvPicPr>
          <p:cNvPr id="44" name="Imagen 27">
            <a:extLst>
              <a:ext uri="{FF2B5EF4-FFF2-40B4-BE49-F238E27FC236}">
                <a16:creationId xmlns:a16="http://schemas.microsoft.com/office/drawing/2014/main" id="{9362F4C3-6924-40A6-7665-4D1CD3B393D2}"/>
              </a:ext>
            </a:extLst>
          </p:cNvPr>
          <p:cNvPicPr>
            <a:picLocks noChangeAspect="1"/>
          </p:cNvPicPr>
          <p:nvPr/>
        </p:nvPicPr>
        <p:blipFill>
          <a:blip r:embed="rId8"/>
          <a:stretch>
            <a:fillRect/>
          </a:stretch>
        </p:blipFill>
        <p:spPr>
          <a:xfrm>
            <a:off x="259521" y="4286135"/>
            <a:ext cx="520288" cy="546969"/>
          </a:xfrm>
          <a:prstGeom prst="rect">
            <a:avLst/>
          </a:prstGeom>
        </p:spPr>
      </p:pic>
      <p:pic>
        <p:nvPicPr>
          <p:cNvPr id="47" name="Imagen 25">
            <a:extLst>
              <a:ext uri="{FF2B5EF4-FFF2-40B4-BE49-F238E27FC236}">
                <a16:creationId xmlns:a16="http://schemas.microsoft.com/office/drawing/2014/main" id="{29A07CF3-3CBB-6AF2-611E-1B483AD2A4A5}"/>
              </a:ext>
            </a:extLst>
          </p:cNvPr>
          <p:cNvPicPr>
            <a:picLocks noChangeAspect="1"/>
          </p:cNvPicPr>
          <p:nvPr/>
        </p:nvPicPr>
        <p:blipFill>
          <a:blip r:embed="rId9"/>
          <a:stretch>
            <a:fillRect/>
          </a:stretch>
        </p:blipFill>
        <p:spPr>
          <a:xfrm>
            <a:off x="279597" y="3378492"/>
            <a:ext cx="595588" cy="546969"/>
          </a:xfrm>
          <a:prstGeom prst="rect">
            <a:avLst/>
          </a:prstGeom>
        </p:spPr>
      </p:pic>
      <p:pic>
        <p:nvPicPr>
          <p:cNvPr id="48" name="Imagen 3">
            <a:extLst>
              <a:ext uri="{FF2B5EF4-FFF2-40B4-BE49-F238E27FC236}">
                <a16:creationId xmlns:a16="http://schemas.microsoft.com/office/drawing/2014/main" id="{9821AE81-A78C-48EA-961B-54863F1B8662}"/>
              </a:ext>
            </a:extLst>
          </p:cNvPr>
          <p:cNvPicPr>
            <a:picLocks noChangeAspect="1"/>
          </p:cNvPicPr>
          <p:nvPr/>
        </p:nvPicPr>
        <p:blipFill>
          <a:blip r:embed="rId10"/>
          <a:stretch>
            <a:fillRect/>
          </a:stretch>
        </p:blipFill>
        <p:spPr>
          <a:xfrm>
            <a:off x="263352" y="2364200"/>
            <a:ext cx="595587" cy="660169"/>
          </a:xfrm>
          <a:prstGeom prst="rect">
            <a:avLst/>
          </a:prstGeom>
        </p:spPr>
      </p:pic>
      <p:pic>
        <p:nvPicPr>
          <p:cNvPr id="49" name="Imagen 2">
            <a:extLst>
              <a:ext uri="{FF2B5EF4-FFF2-40B4-BE49-F238E27FC236}">
                <a16:creationId xmlns:a16="http://schemas.microsoft.com/office/drawing/2014/main" id="{CCD6F170-C40E-0FDE-B521-13A7D84F0E39}"/>
              </a:ext>
            </a:extLst>
          </p:cNvPr>
          <p:cNvPicPr>
            <a:picLocks noChangeAspect="1"/>
          </p:cNvPicPr>
          <p:nvPr/>
        </p:nvPicPr>
        <p:blipFill>
          <a:blip r:embed="rId11"/>
          <a:stretch>
            <a:fillRect/>
          </a:stretch>
        </p:blipFill>
        <p:spPr>
          <a:xfrm>
            <a:off x="365316" y="1244151"/>
            <a:ext cx="552735" cy="414551"/>
          </a:xfrm>
          <a:prstGeom prst="rect">
            <a:avLst/>
          </a:prstGeom>
        </p:spPr>
      </p:pic>
      <p:pic>
        <p:nvPicPr>
          <p:cNvPr id="51" name="Picture 50" descr="A bag with colorful cards&#10;&#10;Description automatically generated with medium confidence">
            <a:extLst>
              <a:ext uri="{FF2B5EF4-FFF2-40B4-BE49-F238E27FC236}">
                <a16:creationId xmlns:a16="http://schemas.microsoft.com/office/drawing/2014/main" id="{DFF3E4AD-4125-DC7F-1AF8-F0F9ED332668}"/>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61243" y="5232276"/>
            <a:ext cx="383037" cy="383037"/>
          </a:xfrm>
          <a:prstGeom prst="rect">
            <a:avLst/>
          </a:prstGeom>
        </p:spPr>
      </p:pic>
      <p:pic>
        <p:nvPicPr>
          <p:cNvPr id="2" name="Picture 2">
            <a:extLst>
              <a:ext uri="{FF2B5EF4-FFF2-40B4-BE49-F238E27FC236}">
                <a16:creationId xmlns:a16="http://schemas.microsoft.com/office/drawing/2014/main" id="{1F2551B5-99E3-C2F6-7E52-4D0D269644E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452823" y="801230"/>
            <a:ext cx="2478920" cy="456407"/>
          </a:xfrm>
          <a:prstGeom prst="rect">
            <a:avLst/>
          </a:prstGeom>
          <a:noFill/>
          <a:extLst>
            <a:ext uri="{909E8E84-426E-40DD-AFC4-6F175D3DCCD1}">
              <a14:hiddenFill xmlns:a14="http://schemas.microsoft.com/office/drawing/2010/main">
                <a:solidFill>
                  <a:srgbClr val="FFFFFF"/>
                </a:solidFill>
              </a14:hiddenFill>
            </a:ext>
          </a:extLst>
        </p:spPr>
      </p:pic>
      <p:sp>
        <p:nvSpPr>
          <p:cNvPr id="3" name="Google Shape;543;p26">
            <a:extLst>
              <a:ext uri="{FF2B5EF4-FFF2-40B4-BE49-F238E27FC236}">
                <a16:creationId xmlns:a16="http://schemas.microsoft.com/office/drawing/2014/main" id="{F9083017-6304-E6BA-A51D-AE805EBCA97C}"/>
              </a:ext>
            </a:extLst>
          </p:cNvPr>
          <p:cNvSpPr/>
          <p:nvPr/>
        </p:nvSpPr>
        <p:spPr>
          <a:xfrm>
            <a:off x="4114928" y="948704"/>
            <a:ext cx="214929" cy="272655"/>
          </a:xfrm>
          <a:custGeom>
            <a:avLst/>
            <a:gdLst/>
            <a:ahLst/>
            <a:cxnLst/>
            <a:rect l="l" t="t" r="r" b="b"/>
            <a:pathLst>
              <a:path w="5585" h="7085" extrusionOk="0">
                <a:moveTo>
                  <a:pt x="1988" y="0"/>
                </a:moveTo>
                <a:cubicBezTo>
                  <a:pt x="1953" y="96"/>
                  <a:pt x="1846" y="203"/>
                  <a:pt x="1679" y="334"/>
                </a:cubicBezTo>
                <a:cubicBezTo>
                  <a:pt x="1512" y="465"/>
                  <a:pt x="1334" y="584"/>
                  <a:pt x="1131" y="715"/>
                </a:cubicBezTo>
                <a:cubicBezTo>
                  <a:pt x="917" y="858"/>
                  <a:pt x="714" y="953"/>
                  <a:pt x="500" y="1048"/>
                </a:cubicBezTo>
                <a:cubicBezTo>
                  <a:pt x="298" y="1131"/>
                  <a:pt x="131" y="1179"/>
                  <a:pt x="0" y="1179"/>
                </a:cubicBezTo>
                <a:lnTo>
                  <a:pt x="0" y="3013"/>
                </a:lnTo>
                <a:cubicBezTo>
                  <a:pt x="143" y="3013"/>
                  <a:pt x="322" y="3001"/>
                  <a:pt x="536" y="2941"/>
                </a:cubicBezTo>
                <a:cubicBezTo>
                  <a:pt x="738" y="2894"/>
                  <a:pt x="941" y="2822"/>
                  <a:pt x="1131" y="2727"/>
                </a:cubicBezTo>
                <a:cubicBezTo>
                  <a:pt x="1322" y="2644"/>
                  <a:pt x="1488" y="2548"/>
                  <a:pt x="1655" y="2441"/>
                </a:cubicBezTo>
                <a:cubicBezTo>
                  <a:pt x="1798" y="2346"/>
                  <a:pt x="1917" y="2251"/>
                  <a:pt x="1988" y="2143"/>
                </a:cubicBezTo>
                <a:lnTo>
                  <a:pt x="1988" y="5299"/>
                </a:lnTo>
                <a:lnTo>
                  <a:pt x="238" y="5299"/>
                </a:lnTo>
                <a:lnTo>
                  <a:pt x="238" y="7085"/>
                </a:lnTo>
                <a:lnTo>
                  <a:pt x="5584" y="7085"/>
                </a:lnTo>
                <a:lnTo>
                  <a:pt x="5584" y="5299"/>
                </a:lnTo>
                <a:lnTo>
                  <a:pt x="5584" y="5287"/>
                </a:lnTo>
                <a:lnTo>
                  <a:pt x="4001" y="5287"/>
                </a:lnTo>
                <a:lnTo>
                  <a:pt x="4001" y="0"/>
                </a:lnTo>
                <a:close/>
              </a:path>
            </a:pathLst>
          </a:custGeom>
          <a:solidFill>
            <a:srgbClr val="5B9BD5"/>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33" b="0" i="0" u="none" strike="noStrike" kern="0" cap="none" spc="0" normalizeH="0" baseline="0" noProof="0">
              <a:ln>
                <a:noFill/>
              </a:ln>
              <a:solidFill>
                <a:srgbClr val="5B9BD5"/>
              </a:solidFill>
              <a:effectLst/>
              <a:uLnTx/>
              <a:uFillTx/>
              <a:latin typeface="Calibri" panose="020F0502020204030204" pitchFamily="34" charset="0"/>
              <a:ea typeface="Roboto"/>
              <a:cs typeface="Calibri" panose="020F0502020204030204" pitchFamily="34" charset="0"/>
              <a:sym typeface="Roboto"/>
            </a:endParaRPr>
          </a:p>
        </p:txBody>
      </p:sp>
      <p:sp>
        <p:nvSpPr>
          <p:cNvPr id="5" name="Google Shape;544;p26">
            <a:extLst>
              <a:ext uri="{FF2B5EF4-FFF2-40B4-BE49-F238E27FC236}">
                <a16:creationId xmlns:a16="http://schemas.microsoft.com/office/drawing/2014/main" id="{5981B6A4-26CA-C48C-C436-1A5DB023B854}"/>
              </a:ext>
            </a:extLst>
          </p:cNvPr>
          <p:cNvSpPr/>
          <p:nvPr/>
        </p:nvSpPr>
        <p:spPr>
          <a:xfrm>
            <a:off x="3824417" y="936775"/>
            <a:ext cx="247909" cy="289164"/>
          </a:xfrm>
          <a:custGeom>
            <a:avLst/>
            <a:gdLst/>
            <a:ahLst/>
            <a:cxnLst/>
            <a:rect l="l" t="t" r="r" b="b"/>
            <a:pathLst>
              <a:path w="6442" h="7514" extrusionOk="0">
                <a:moveTo>
                  <a:pt x="3227" y="1834"/>
                </a:moveTo>
                <a:cubicBezTo>
                  <a:pt x="3608" y="1834"/>
                  <a:pt x="3906" y="2013"/>
                  <a:pt x="4120" y="2370"/>
                </a:cubicBezTo>
                <a:cubicBezTo>
                  <a:pt x="4346" y="2727"/>
                  <a:pt x="4465" y="3192"/>
                  <a:pt x="4465" y="3763"/>
                </a:cubicBezTo>
                <a:cubicBezTo>
                  <a:pt x="4465" y="4347"/>
                  <a:pt x="4346" y="4811"/>
                  <a:pt x="4120" y="5168"/>
                </a:cubicBezTo>
                <a:cubicBezTo>
                  <a:pt x="3882" y="5525"/>
                  <a:pt x="3584" y="5704"/>
                  <a:pt x="3227" y="5704"/>
                </a:cubicBezTo>
                <a:cubicBezTo>
                  <a:pt x="2858" y="5704"/>
                  <a:pt x="2548" y="5525"/>
                  <a:pt x="2322" y="5168"/>
                </a:cubicBezTo>
                <a:cubicBezTo>
                  <a:pt x="2096" y="4811"/>
                  <a:pt x="1977" y="4347"/>
                  <a:pt x="1977" y="3763"/>
                </a:cubicBezTo>
                <a:cubicBezTo>
                  <a:pt x="1977" y="3192"/>
                  <a:pt x="2096" y="2727"/>
                  <a:pt x="2322" y="2370"/>
                </a:cubicBezTo>
                <a:cubicBezTo>
                  <a:pt x="2548" y="2013"/>
                  <a:pt x="2858" y="1834"/>
                  <a:pt x="3227" y="1834"/>
                </a:cubicBezTo>
                <a:close/>
                <a:moveTo>
                  <a:pt x="3215" y="1"/>
                </a:moveTo>
                <a:cubicBezTo>
                  <a:pt x="2751" y="1"/>
                  <a:pt x="2334" y="84"/>
                  <a:pt x="1941" y="287"/>
                </a:cubicBezTo>
                <a:cubicBezTo>
                  <a:pt x="1536" y="477"/>
                  <a:pt x="1191" y="751"/>
                  <a:pt x="905" y="1072"/>
                </a:cubicBezTo>
                <a:cubicBezTo>
                  <a:pt x="632" y="1418"/>
                  <a:pt x="405" y="1799"/>
                  <a:pt x="239" y="2263"/>
                </a:cubicBezTo>
                <a:cubicBezTo>
                  <a:pt x="72" y="2727"/>
                  <a:pt x="0" y="3215"/>
                  <a:pt x="0" y="3763"/>
                </a:cubicBezTo>
                <a:cubicBezTo>
                  <a:pt x="0" y="4323"/>
                  <a:pt x="72" y="4811"/>
                  <a:pt x="239" y="5275"/>
                </a:cubicBezTo>
                <a:cubicBezTo>
                  <a:pt x="405" y="5728"/>
                  <a:pt x="632" y="6133"/>
                  <a:pt x="905" y="6466"/>
                </a:cubicBezTo>
                <a:cubicBezTo>
                  <a:pt x="1191" y="6787"/>
                  <a:pt x="1536" y="7061"/>
                  <a:pt x="1941" y="7240"/>
                </a:cubicBezTo>
                <a:cubicBezTo>
                  <a:pt x="2322" y="7430"/>
                  <a:pt x="2751" y="7514"/>
                  <a:pt x="3215" y="7514"/>
                </a:cubicBezTo>
                <a:cubicBezTo>
                  <a:pt x="3680" y="7514"/>
                  <a:pt x="4108" y="7418"/>
                  <a:pt x="4501" y="7240"/>
                </a:cubicBezTo>
                <a:cubicBezTo>
                  <a:pt x="4882" y="7061"/>
                  <a:pt x="5227" y="6787"/>
                  <a:pt x="5513" y="6466"/>
                </a:cubicBezTo>
                <a:cubicBezTo>
                  <a:pt x="5811" y="6121"/>
                  <a:pt x="6025" y="5728"/>
                  <a:pt x="6192" y="5275"/>
                </a:cubicBezTo>
                <a:cubicBezTo>
                  <a:pt x="6358" y="4811"/>
                  <a:pt x="6442" y="4323"/>
                  <a:pt x="6442" y="3763"/>
                </a:cubicBezTo>
                <a:cubicBezTo>
                  <a:pt x="6442" y="3227"/>
                  <a:pt x="6370" y="2727"/>
                  <a:pt x="6192" y="2263"/>
                </a:cubicBezTo>
                <a:cubicBezTo>
                  <a:pt x="6025" y="1799"/>
                  <a:pt x="5787" y="1394"/>
                  <a:pt x="5513" y="1072"/>
                </a:cubicBezTo>
                <a:cubicBezTo>
                  <a:pt x="5227" y="727"/>
                  <a:pt x="4882" y="477"/>
                  <a:pt x="4501" y="287"/>
                </a:cubicBezTo>
                <a:cubicBezTo>
                  <a:pt x="4108" y="96"/>
                  <a:pt x="3680" y="1"/>
                  <a:pt x="3215" y="1"/>
                </a:cubicBezTo>
                <a:close/>
              </a:path>
            </a:pathLst>
          </a:custGeom>
          <a:solidFill>
            <a:srgbClr val="5B9BD5"/>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33" b="0" i="0" u="none" strike="noStrike" kern="0" cap="none" spc="0" normalizeH="0" baseline="0" noProof="0">
              <a:ln>
                <a:noFill/>
              </a:ln>
              <a:solidFill>
                <a:srgbClr val="5B9BD5"/>
              </a:solidFill>
              <a:effectLst/>
              <a:uLnTx/>
              <a:uFillTx/>
              <a:latin typeface="Calibri" panose="020F0502020204030204" pitchFamily="34" charset="0"/>
              <a:ea typeface="Roboto"/>
              <a:cs typeface="Calibri" panose="020F0502020204030204" pitchFamily="34" charset="0"/>
              <a:sym typeface="Roboto"/>
            </a:endParaRPr>
          </a:p>
        </p:txBody>
      </p:sp>
      <p:sp>
        <p:nvSpPr>
          <p:cNvPr id="13" name="Rectángulo 12">
            <a:extLst>
              <a:ext uri="{FF2B5EF4-FFF2-40B4-BE49-F238E27FC236}">
                <a16:creationId xmlns:a16="http://schemas.microsoft.com/office/drawing/2014/main" id="{82EFD0E5-04F0-E862-F540-2C6B6E2F5FD9}"/>
              </a:ext>
            </a:extLst>
          </p:cNvPr>
          <p:cNvSpPr/>
          <p:nvPr/>
        </p:nvSpPr>
        <p:spPr>
          <a:xfrm>
            <a:off x="568821" y="97286"/>
            <a:ext cx="10901128" cy="276999"/>
          </a:xfrm>
          <a:prstGeom prst="rect">
            <a:avLst/>
          </a:prstGeom>
        </p:spPr>
        <p:txBody>
          <a:bodyPr wrap="square" lIns="91440" tIns="45720" rIns="91440" bIns="45720" anchor="t">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300" normalizeH="0" baseline="0" noProof="0">
                <a:ln>
                  <a:noFill/>
                </a:ln>
                <a:solidFill>
                  <a:prstClr val="white"/>
                </a:solidFill>
                <a:effectLst/>
                <a:uLnTx/>
                <a:uFillTx/>
                <a:latin typeface="Arial"/>
                <a:ea typeface="+mn-ea"/>
                <a:cs typeface="+mn-cs"/>
              </a:rPr>
              <a:t>GLOBAL SPEND – PROCUREMENT INSIGHTS (ARIBA)</a:t>
            </a:r>
          </a:p>
        </p:txBody>
      </p:sp>
      <p:sp>
        <p:nvSpPr>
          <p:cNvPr id="7" name="Rectángulo 6">
            <a:extLst>
              <a:ext uri="{FF2B5EF4-FFF2-40B4-BE49-F238E27FC236}">
                <a16:creationId xmlns:a16="http://schemas.microsoft.com/office/drawing/2014/main" id="{96DE0B08-17F8-9DDE-86F9-E414BA6DF36F}"/>
              </a:ext>
            </a:extLst>
          </p:cNvPr>
          <p:cNvSpPr/>
          <p:nvPr/>
        </p:nvSpPr>
        <p:spPr bwMode="auto">
          <a:xfrm>
            <a:off x="0" y="-1"/>
            <a:ext cx="9480376" cy="639081"/>
          </a:xfrm>
          <a:prstGeom prst="rect">
            <a:avLst/>
          </a:prstGeom>
          <a:gradFill>
            <a:gsLst>
              <a:gs pos="50000">
                <a:schemeClr val="accent2"/>
              </a:gs>
              <a:gs pos="100000">
                <a:schemeClr val="bg1"/>
              </a:gs>
            </a:gsLst>
            <a:lin ang="0" scaled="1"/>
          </a:gradFill>
          <a:ln w="9525">
            <a:noFill/>
            <a:round/>
            <a:headEnd/>
            <a:tailEnd/>
          </a:ln>
        </p:spPr>
        <p:txBody>
          <a:bodyPr vert="horz" wrap="square" lIns="91440" tIns="45720" rIns="91440" bIns="45720" numCol="1" rtlCol="0" anchor="t" anchorCtr="0" compatLnSpc="1">
            <a:prstTxWarp prst="textNoShape">
              <a:avLst/>
            </a:prstTxWarp>
          </a:bodyPr>
          <a:lstStyle/>
          <a:p>
            <a:pPr algn="ctr"/>
            <a:endParaRPr lang="en-GB" noProof="0"/>
          </a:p>
        </p:txBody>
      </p:sp>
      <p:sp>
        <p:nvSpPr>
          <p:cNvPr id="8" name="Título 1">
            <a:extLst>
              <a:ext uri="{FF2B5EF4-FFF2-40B4-BE49-F238E27FC236}">
                <a16:creationId xmlns:a16="http://schemas.microsoft.com/office/drawing/2014/main" id="{B841A1E8-9D8E-BCD5-7A8F-4412D7F04AB6}"/>
              </a:ext>
            </a:extLst>
          </p:cNvPr>
          <p:cNvSpPr>
            <a:spLocks noGrp="1"/>
          </p:cNvSpPr>
          <p:nvPr>
            <p:ph type="title"/>
          </p:nvPr>
        </p:nvSpPr>
        <p:spPr>
          <a:xfrm>
            <a:off x="191344" y="116632"/>
            <a:ext cx="10515600" cy="365721"/>
          </a:xfrm>
        </p:spPr>
        <p:txBody>
          <a:bodyPr anchor="ctr">
            <a:noAutofit/>
          </a:bodyPr>
          <a:lstStyle/>
          <a:p>
            <a:r>
              <a:rPr lang="en-GB" sz="2462" noProof="0">
                <a:solidFill>
                  <a:schemeClr val="bg1"/>
                </a:solidFill>
                <a:latin typeface="+mn-lt"/>
              </a:rPr>
              <a:t>Global Spend – Accelerators - Procurement Insights (Ariba)</a:t>
            </a:r>
          </a:p>
        </p:txBody>
      </p:sp>
      <p:pic>
        <p:nvPicPr>
          <p:cNvPr id="4" name="Picture 3">
            <a:extLst>
              <a:ext uri="{FF2B5EF4-FFF2-40B4-BE49-F238E27FC236}">
                <a16:creationId xmlns:a16="http://schemas.microsoft.com/office/drawing/2014/main" id="{32CD957E-BD19-83EE-EB30-D4F7C5266638}"/>
              </a:ext>
            </a:extLst>
          </p:cNvPr>
          <p:cNvPicPr>
            <a:picLocks noChangeAspect="1"/>
          </p:cNvPicPr>
          <p:nvPr/>
        </p:nvPicPr>
        <p:blipFill>
          <a:blip r:embed="rId14"/>
          <a:stretch>
            <a:fillRect/>
          </a:stretch>
        </p:blipFill>
        <p:spPr>
          <a:xfrm>
            <a:off x="8189103" y="668029"/>
            <a:ext cx="3756048" cy="1668303"/>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22289648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CA21E04D-90E2-9ED5-4287-66B65A79BCF4}"/>
              </a:ext>
            </a:extLst>
          </p:cNvPr>
          <p:cNvSpPr/>
          <p:nvPr/>
        </p:nvSpPr>
        <p:spPr>
          <a:xfrm>
            <a:off x="3242096" y="621396"/>
            <a:ext cx="8950521" cy="5976664"/>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4" name="Group 23">
            <a:extLst>
              <a:ext uri="{FF2B5EF4-FFF2-40B4-BE49-F238E27FC236}">
                <a16:creationId xmlns:a16="http://schemas.microsoft.com/office/drawing/2014/main" id="{84A75F7C-53B0-BAB8-B76B-B312318ED3E4}"/>
              </a:ext>
            </a:extLst>
          </p:cNvPr>
          <p:cNvGrpSpPr/>
          <p:nvPr/>
        </p:nvGrpSpPr>
        <p:grpSpPr>
          <a:xfrm>
            <a:off x="3431704" y="1371023"/>
            <a:ext cx="4015575" cy="4651121"/>
            <a:chOff x="4831289" y="707437"/>
            <a:chExt cx="6351062" cy="5829943"/>
          </a:xfrm>
        </p:grpSpPr>
        <p:pic>
          <p:nvPicPr>
            <p:cNvPr id="40" name="Picture 39">
              <a:extLst>
                <a:ext uri="{FF2B5EF4-FFF2-40B4-BE49-F238E27FC236}">
                  <a16:creationId xmlns:a16="http://schemas.microsoft.com/office/drawing/2014/main" id="{1E8E6DAD-7C72-7A6F-6205-F3DB6D48E247}"/>
                </a:ext>
              </a:extLst>
            </p:cNvPr>
            <p:cNvPicPr>
              <a:picLocks noChangeAspect="1"/>
            </p:cNvPicPr>
            <p:nvPr/>
          </p:nvPicPr>
          <p:blipFill>
            <a:blip r:embed="rId3"/>
            <a:stretch>
              <a:fillRect/>
            </a:stretch>
          </p:blipFill>
          <p:spPr>
            <a:xfrm>
              <a:off x="4831289" y="707437"/>
              <a:ext cx="6351062" cy="3583214"/>
            </a:xfrm>
            <a:prstGeom prst="rect">
              <a:avLst/>
            </a:prstGeom>
            <a:ln>
              <a:noFill/>
            </a:ln>
            <a:effectLst>
              <a:outerShdw blurRad="190500" algn="tl" rotWithShape="0">
                <a:srgbClr val="000000">
                  <a:alpha val="70000"/>
                </a:srgbClr>
              </a:outerShdw>
            </a:effectLst>
          </p:spPr>
        </p:pic>
        <p:pic>
          <p:nvPicPr>
            <p:cNvPr id="41" name="Picture 40">
              <a:extLst>
                <a:ext uri="{FF2B5EF4-FFF2-40B4-BE49-F238E27FC236}">
                  <a16:creationId xmlns:a16="http://schemas.microsoft.com/office/drawing/2014/main" id="{AB7F6545-D60B-ACFA-88E2-F520B286622A}"/>
                </a:ext>
              </a:extLst>
            </p:cNvPr>
            <p:cNvPicPr>
              <a:picLocks noChangeAspect="1"/>
            </p:cNvPicPr>
            <p:nvPr/>
          </p:nvPicPr>
          <p:blipFill>
            <a:blip r:embed="rId4"/>
            <a:stretch>
              <a:fillRect/>
            </a:stretch>
          </p:blipFill>
          <p:spPr>
            <a:xfrm>
              <a:off x="4831290" y="4263162"/>
              <a:ext cx="6351061" cy="2274218"/>
            </a:xfrm>
            <a:prstGeom prst="rect">
              <a:avLst/>
            </a:prstGeom>
            <a:ln>
              <a:noFill/>
            </a:ln>
            <a:effectLst>
              <a:outerShdw blurRad="190500" algn="tl" rotWithShape="0">
                <a:srgbClr val="000000">
                  <a:alpha val="70000"/>
                </a:srgbClr>
              </a:outerShdw>
            </a:effectLst>
          </p:spPr>
        </p:pic>
      </p:grpSp>
      <p:pic>
        <p:nvPicPr>
          <p:cNvPr id="35" name="Imagen 34" descr="Logotipo">
            <a:extLst>
              <a:ext uri="{FF2B5EF4-FFF2-40B4-BE49-F238E27FC236}">
                <a16:creationId xmlns:a16="http://schemas.microsoft.com/office/drawing/2014/main" id="{3646CAC4-8441-41A9-8687-057949D646C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9521" y="6176278"/>
            <a:ext cx="967300" cy="223700"/>
          </a:xfrm>
          <a:prstGeom prst="rect">
            <a:avLst/>
          </a:prstGeom>
        </p:spPr>
      </p:pic>
      <p:sp>
        <p:nvSpPr>
          <p:cNvPr id="54" name="CuadroTexto 53">
            <a:extLst>
              <a:ext uri="{FF2B5EF4-FFF2-40B4-BE49-F238E27FC236}">
                <a16:creationId xmlns:a16="http://schemas.microsoft.com/office/drawing/2014/main" id="{DFF51CEF-DA6F-40AE-0CEE-0258FEF849FE}"/>
              </a:ext>
            </a:extLst>
          </p:cNvPr>
          <p:cNvSpPr txBox="1"/>
          <p:nvPr/>
        </p:nvSpPr>
        <p:spPr>
          <a:xfrm>
            <a:off x="867721" y="4025963"/>
            <a:ext cx="2094193" cy="646331"/>
          </a:xfrm>
          <a:prstGeom prst="rect">
            <a:avLst/>
          </a:prstGeom>
        </p:spPr>
        <p:txBody>
          <a:bodyPr wrap="square" lIns="0" rIns="0" rtlCol="0">
            <a:spAutoFit/>
          </a:bodyPr>
          <a:lstStyle/>
          <a:p>
            <a:pPr marL="0" marR="0" lvl="0" indent="0" algn="l" defTabSz="742950" rtl="0" eaLnBrk="1" fontAlgn="base" latinLnBrk="0" hangingPunct="1">
              <a:lnSpc>
                <a:spcPct val="100000"/>
              </a:lnSpc>
              <a:spcBef>
                <a:spcPct val="0"/>
              </a:spcBef>
              <a:spcAft>
                <a:spcPct val="0"/>
              </a:spcAft>
              <a:buClr>
                <a:srgbClr val="505150"/>
              </a:buClr>
              <a:buSzPct val="88000"/>
              <a:buFontTx/>
              <a:buNone/>
              <a:tabLst/>
              <a:defRPr/>
            </a:pPr>
            <a:r>
              <a:rPr kumimoji="0" lang="en-GB" sz="1400" b="1" i="0" u="none" strike="noStrike" kern="0" cap="none" spc="0" normalizeH="0" baseline="0" noProof="0">
                <a:ln>
                  <a:noFill/>
                </a:ln>
                <a:effectLst/>
                <a:uLnTx/>
                <a:uFillTx/>
                <a:latin typeface="Calibri" panose="020F0502020204030204"/>
                <a:ea typeface="+mn-ea"/>
                <a:cs typeface="+mn-cs"/>
                <a:sym typeface="Droid Sans" charset="0"/>
              </a:rPr>
              <a:t>Supplier Risk Management</a:t>
            </a:r>
          </a:p>
          <a:p>
            <a:pPr lvl="0" defTabSz="742950" fontAlgn="base">
              <a:spcBef>
                <a:spcPct val="0"/>
              </a:spcBef>
              <a:spcAft>
                <a:spcPct val="0"/>
              </a:spcAft>
              <a:buClr>
                <a:srgbClr val="505150"/>
              </a:buClr>
              <a:buSzPct val="88000"/>
              <a:defRPr/>
            </a:pPr>
            <a:r>
              <a:rPr lang="en-GB" sz="1100" spc="-20" noProof="0">
                <a:latin typeface="Calibri Light" panose="020F0302020204030204"/>
              </a:rPr>
              <a:t>Social media data and news about supplier risk using AI.</a:t>
            </a:r>
            <a:endParaRPr kumimoji="0" lang="en-GB" sz="1100" b="0" i="0" u="none" strike="noStrike" kern="1200" cap="none" spc="-20" normalizeH="0" baseline="0" noProof="0">
              <a:ln>
                <a:noFill/>
              </a:ln>
              <a:effectLst/>
              <a:uLnTx/>
              <a:uFillTx/>
              <a:latin typeface="Calibri Light" panose="020F0302020204030204"/>
              <a:ea typeface="+mn-ea"/>
              <a:cs typeface="+mn-cs"/>
              <a:sym typeface="Droid Sans" charset="0"/>
            </a:endParaRPr>
          </a:p>
        </p:txBody>
      </p:sp>
      <p:sp>
        <p:nvSpPr>
          <p:cNvPr id="38" name="CuadroTexto 37">
            <a:extLst>
              <a:ext uri="{FF2B5EF4-FFF2-40B4-BE49-F238E27FC236}">
                <a16:creationId xmlns:a16="http://schemas.microsoft.com/office/drawing/2014/main" id="{7C0E7FDB-6497-8F9A-6649-A3510B2BE5F9}"/>
              </a:ext>
            </a:extLst>
          </p:cNvPr>
          <p:cNvSpPr txBox="1"/>
          <p:nvPr/>
        </p:nvSpPr>
        <p:spPr>
          <a:xfrm>
            <a:off x="867721" y="1755646"/>
            <a:ext cx="2094192" cy="815608"/>
          </a:xfrm>
          <a:prstGeom prst="rect">
            <a:avLst/>
          </a:prstGeom>
        </p:spPr>
        <p:txBody>
          <a:bodyPr wrap="square" lIns="0" rIns="0" rtlCol="0">
            <a:spAutoFit/>
          </a:bodyPr>
          <a:lstStyle/>
          <a:p>
            <a:pPr marL="0" marR="0" lvl="0" indent="0" algn="l" defTabSz="742950" rtl="0" eaLnBrk="1" fontAlgn="base" latinLnBrk="0" hangingPunct="1">
              <a:lnSpc>
                <a:spcPct val="100000"/>
              </a:lnSpc>
              <a:spcBef>
                <a:spcPct val="0"/>
              </a:spcBef>
              <a:spcAft>
                <a:spcPct val="0"/>
              </a:spcAft>
              <a:buClr>
                <a:srgbClr val="505150"/>
              </a:buClr>
              <a:buSzPct val="88000"/>
              <a:buFontTx/>
              <a:buNone/>
              <a:tabLst/>
              <a:defRPr/>
            </a:pPr>
            <a:r>
              <a:rPr kumimoji="0" lang="en-GB" sz="1400" b="1" i="0" u="none" strike="noStrike" kern="0" cap="none" spc="0" normalizeH="0" baseline="0" noProof="0">
                <a:ln>
                  <a:noFill/>
                </a:ln>
                <a:effectLst/>
                <a:uLnTx/>
                <a:uFillTx/>
                <a:latin typeface="Calibri" panose="020F0502020204030204"/>
                <a:ea typeface="+mn-ea"/>
                <a:cs typeface="+mn-cs"/>
                <a:sym typeface="Droid Sans" charset="0"/>
              </a:rPr>
              <a:t>360 View of SLP Report</a:t>
            </a:r>
          </a:p>
          <a:p>
            <a:pPr lvl="0" algn="just" defTabSz="742950" fontAlgn="base">
              <a:spcBef>
                <a:spcPct val="0"/>
              </a:spcBef>
              <a:spcAft>
                <a:spcPct val="0"/>
              </a:spcAft>
              <a:buClr>
                <a:srgbClr val="505150"/>
              </a:buClr>
              <a:buSzPct val="88000"/>
              <a:defRPr/>
            </a:pPr>
            <a:r>
              <a:rPr lang="en-GB" sz="1100" spc="-20" noProof="0">
                <a:latin typeface="Calibri Light" panose="020F0302020204030204"/>
              </a:rPr>
              <a:t>360º analysis of suppliers from their qualification and certification to contract management.</a:t>
            </a:r>
            <a:endParaRPr kumimoji="0" lang="en-GB" sz="1100" b="0" i="0" u="none" strike="noStrike" kern="1200" cap="none" spc="-20" normalizeH="0" baseline="0" noProof="0">
              <a:ln>
                <a:noFill/>
              </a:ln>
              <a:effectLst/>
              <a:uLnTx/>
              <a:uFillTx/>
              <a:latin typeface="Calibri Light" panose="020F0302020204030204"/>
              <a:ea typeface="+mn-ea"/>
              <a:cs typeface="+mn-cs"/>
            </a:endParaRPr>
          </a:p>
        </p:txBody>
      </p:sp>
      <p:pic>
        <p:nvPicPr>
          <p:cNvPr id="5" name="Imagen 2">
            <a:extLst>
              <a:ext uri="{FF2B5EF4-FFF2-40B4-BE49-F238E27FC236}">
                <a16:creationId xmlns:a16="http://schemas.microsoft.com/office/drawing/2014/main" id="{AA67166E-7841-40EB-D1D4-0FA9BC91DDD6}"/>
              </a:ext>
            </a:extLst>
          </p:cNvPr>
          <p:cNvPicPr>
            <a:picLocks noChangeAspect="1"/>
          </p:cNvPicPr>
          <p:nvPr/>
        </p:nvPicPr>
        <p:blipFill>
          <a:blip r:embed="rId6"/>
          <a:stretch>
            <a:fillRect/>
          </a:stretch>
        </p:blipFill>
        <p:spPr>
          <a:xfrm>
            <a:off x="7565770" y="3743802"/>
            <a:ext cx="4271230" cy="2278342"/>
          </a:xfrm>
          <a:prstGeom prst="rect">
            <a:avLst/>
          </a:prstGeom>
          <a:ln>
            <a:noFill/>
          </a:ln>
          <a:effectLst>
            <a:outerShdw blurRad="190500" algn="tl" rotWithShape="0">
              <a:srgbClr val="000000">
                <a:alpha val="70000"/>
              </a:srgbClr>
            </a:outerShdw>
          </a:effectLst>
        </p:spPr>
      </p:pic>
      <p:pic>
        <p:nvPicPr>
          <p:cNvPr id="23" name="Imagen 4">
            <a:extLst>
              <a:ext uri="{FF2B5EF4-FFF2-40B4-BE49-F238E27FC236}">
                <a16:creationId xmlns:a16="http://schemas.microsoft.com/office/drawing/2014/main" id="{A23EC17E-6AEB-E093-194E-4159C0D62338}"/>
              </a:ext>
            </a:extLst>
          </p:cNvPr>
          <p:cNvPicPr>
            <a:picLocks noChangeAspect="1"/>
          </p:cNvPicPr>
          <p:nvPr/>
        </p:nvPicPr>
        <p:blipFill>
          <a:blip r:embed="rId7"/>
          <a:stretch>
            <a:fillRect/>
          </a:stretch>
        </p:blipFill>
        <p:spPr>
          <a:xfrm>
            <a:off x="7565770" y="1371023"/>
            <a:ext cx="4271230" cy="2310596"/>
          </a:xfrm>
          <a:prstGeom prst="rect">
            <a:avLst/>
          </a:prstGeom>
          <a:ln>
            <a:noFill/>
          </a:ln>
          <a:effectLst>
            <a:outerShdw blurRad="190500" algn="tl" rotWithShape="0">
              <a:srgbClr val="000000">
                <a:alpha val="70000"/>
              </a:srgbClr>
            </a:outerShdw>
          </a:effectLst>
        </p:spPr>
      </p:pic>
      <p:pic>
        <p:nvPicPr>
          <p:cNvPr id="42" name="Imagen 23">
            <a:extLst>
              <a:ext uri="{FF2B5EF4-FFF2-40B4-BE49-F238E27FC236}">
                <a16:creationId xmlns:a16="http://schemas.microsoft.com/office/drawing/2014/main" id="{C03CC424-FAD3-F52B-894F-429DB6A7B7EB}"/>
              </a:ext>
            </a:extLst>
          </p:cNvPr>
          <p:cNvPicPr>
            <a:picLocks noChangeAspect="1"/>
          </p:cNvPicPr>
          <p:nvPr/>
        </p:nvPicPr>
        <p:blipFill>
          <a:blip r:embed="rId8"/>
          <a:stretch>
            <a:fillRect/>
          </a:stretch>
        </p:blipFill>
        <p:spPr>
          <a:xfrm>
            <a:off x="191344" y="1902665"/>
            <a:ext cx="621871" cy="521569"/>
          </a:xfrm>
          <a:prstGeom prst="rect">
            <a:avLst/>
          </a:prstGeom>
        </p:spPr>
      </p:pic>
      <p:pic>
        <p:nvPicPr>
          <p:cNvPr id="44" name="Picture 43" descr="A hand holding a yellow sign&#10;&#10;Description automatically generated">
            <a:extLst>
              <a:ext uri="{FF2B5EF4-FFF2-40B4-BE49-F238E27FC236}">
                <a16:creationId xmlns:a16="http://schemas.microsoft.com/office/drawing/2014/main" id="{1D55F983-BECF-2123-DF76-9404906C5AD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80183" y="4140678"/>
            <a:ext cx="389408" cy="389408"/>
          </a:xfrm>
          <a:prstGeom prst="rect">
            <a:avLst/>
          </a:prstGeom>
        </p:spPr>
      </p:pic>
      <p:sp>
        <p:nvSpPr>
          <p:cNvPr id="2" name="Google Shape;535;p26">
            <a:extLst>
              <a:ext uri="{FF2B5EF4-FFF2-40B4-BE49-F238E27FC236}">
                <a16:creationId xmlns:a16="http://schemas.microsoft.com/office/drawing/2014/main" id="{FC3D2E2B-F119-44B6-0B32-95DE8547DB18}"/>
              </a:ext>
            </a:extLst>
          </p:cNvPr>
          <p:cNvSpPr/>
          <p:nvPr/>
        </p:nvSpPr>
        <p:spPr>
          <a:xfrm>
            <a:off x="3666256" y="891074"/>
            <a:ext cx="170020" cy="198420"/>
          </a:xfrm>
          <a:custGeom>
            <a:avLst/>
            <a:gdLst/>
            <a:ahLst/>
            <a:cxnLst/>
            <a:rect l="l" t="t" r="r" b="b"/>
            <a:pathLst>
              <a:path w="4418" h="5156" extrusionOk="0">
                <a:moveTo>
                  <a:pt x="2191" y="1250"/>
                </a:moveTo>
                <a:cubicBezTo>
                  <a:pt x="2453" y="1250"/>
                  <a:pt x="2644" y="1381"/>
                  <a:pt x="2810" y="1619"/>
                </a:cubicBezTo>
                <a:cubicBezTo>
                  <a:pt x="2965" y="1857"/>
                  <a:pt x="3049" y="2179"/>
                  <a:pt x="3049" y="2572"/>
                </a:cubicBezTo>
                <a:cubicBezTo>
                  <a:pt x="3049" y="2977"/>
                  <a:pt x="2965" y="3286"/>
                  <a:pt x="2810" y="3524"/>
                </a:cubicBezTo>
                <a:cubicBezTo>
                  <a:pt x="2644" y="3762"/>
                  <a:pt x="2453" y="3881"/>
                  <a:pt x="2191" y="3881"/>
                </a:cubicBezTo>
                <a:cubicBezTo>
                  <a:pt x="1929" y="3881"/>
                  <a:pt x="1715" y="3762"/>
                  <a:pt x="1572" y="3524"/>
                </a:cubicBezTo>
                <a:cubicBezTo>
                  <a:pt x="1405" y="3286"/>
                  <a:pt x="1334" y="2977"/>
                  <a:pt x="1334" y="2572"/>
                </a:cubicBezTo>
                <a:cubicBezTo>
                  <a:pt x="1334" y="2191"/>
                  <a:pt x="1417" y="1857"/>
                  <a:pt x="1572" y="1619"/>
                </a:cubicBezTo>
                <a:cubicBezTo>
                  <a:pt x="1739" y="1369"/>
                  <a:pt x="1941" y="1250"/>
                  <a:pt x="2191" y="1250"/>
                </a:cubicBezTo>
                <a:close/>
                <a:moveTo>
                  <a:pt x="2215" y="0"/>
                </a:moveTo>
                <a:cubicBezTo>
                  <a:pt x="1894" y="0"/>
                  <a:pt x="1596" y="60"/>
                  <a:pt x="1334" y="191"/>
                </a:cubicBezTo>
                <a:cubicBezTo>
                  <a:pt x="1060" y="333"/>
                  <a:pt x="822" y="512"/>
                  <a:pt x="632" y="726"/>
                </a:cubicBezTo>
                <a:cubicBezTo>
                  <a:pt x="441" y="964"/>
                  <a:pt x="274" y="1238"/>
                  <a:pt x="167" y="1548"/>
                </a:cubicBezTo>
                <a:cubicBezTo>
                  <a:pt x="60" y="1857"/>
                  <a:pt x="1" y="2203"/>
                  <a:pt x="1" y="2572"/>
                </a:cubicBezTo>
                <a:cubicBezTo>
                  <a:pt x="1" y="2953"/>
                  <a:pt x="60" y="3286"/>
                  <a:pt x="167" y="3608"/>
                </a:cubicBezTo>
                <a:cubicBezTo>
                  <a:pt x="274" y="3917"/>
                  <a:pt x="441" y="4203"/>
                  <a:pt x="632" y="4417"/>
                </a:cubicBezTo>
                <a:cubicBezTo>
                  <a:pt x="822" y="4655"/>
                  <a:pt x="1060" y="4822"/>
                  <a:pt x="1334" y="4953"/>
                </a:cubicBezTo>
                <a:cubicBezTo>
                  <a:pt x="1596" y="5096"/>
                  <a:pt x="1894" y="5155"/>
                  <a:pt x="2215" y="5155"/>
                </a:cubicBezTo>
                <a:cubicBezTo>
                  <a:pt x="2525" y="5155"/>
                  <a:pt x="2822" y="5096"/>
                  <a:pt x="3084" y="4953"/>
                </a:cubicBezTo>
                <a:cubicBezTo>
                  <a:pt x="3358" y="4822"/>
                  <a:pt x="3596" y="4643"/>
                  <a:pt x="3787" y="4417"/>
                </a:cubicBezTo>
                <a:cubicBezTo>
                  <a:pt x="3977" y="4179"/>
                  <a:pt x="4132" y="3917"/>
                  <a:pt x="4251" y="3608"/>
                </a:cubicBezTo>
                <a:cubicBezTo>
                  <a:pt x="4358" y="3286"/>
                  <a:pt x="4418" y="2953"/>
                  <a:pt x="4418" y="2572"/>
                </a:cubicBezTo>
                <a:cubicBezTo>
                  <a:pt x="4418" y="2203"/>
                  <a:pt x="4358" y="1857"/>
                  <a:pt x="4251" y="1548"/>
                </a:cubicBezTo>
                <a:cubicBezTo>
                  <a:pt x="4144" y="1238"/>
                  <a:pt x="3977" y="953"/>
                  <a:pt x="3787" y="726"/>
                </a:cubicBezTo>
                <a:cubicBezTo>
                  <a:pt x="3596" y="512"/>
                  <a:pt x="3358" y="333"/>
                  <a:pt x="3084" y="191"/>
                </a:cubicBezTo>
                <a:cubicBezTo>
                  <a:pt x="2822" y="60"/>
                  <a:pt x="2525" y="0"/>
                  <a:pt x="2215" y="0"/>
                </a:cubicBezTo>
                <a:close/>
              </a:path>
            </a:pathLst>
          </a:custGeom>
          <a:solidFill>
            <a:srgbClr val="FFC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3" name="Google Shape;536;p26">
            <a:extLst>
              <a:ext uri="{FF2B5EF4-FFF2-40B4-BE49-F238E27FC236}">
                <a16:creationId xmlns:a16="http://schemas.microsoft.com/office/drawing/2014/main" id="{3502C382-8094-B773-FF42-09FF22255F4B}"/>
              </a:ext>
            </a:extLst>
          </p:cNvPr>
          <p:cNvSpPr/>
          <p:nvPr/>
        </p:nvSpPr>
        <p:spPr>
          <a:xfrm>
            <a:off x="3863752" y="897000"/>
            <a:ext cx="161745" cy="188837"/>
          </a:xfrm>
          <a:custGeom>
            <a:avLst/>
            <a:gdLst/>
            <a:ahLst/>
            <a:cxnLst/>
            <a:rect l="l" t="t" r="r" b="b"/>
            <a:pathLst>
              <a:path w="4203" h="4907" extrusionOk="0">
                <a:moveTo>
                  <a:pt x="2238" y="1"/>
                </a:moveTo>
                <a:cubicBezTo>
                  <a:pt x="1988" y="1"/>
                  <a:pt x="1750" y="25"/>
                  <a:pt x="1524" y="72"/>
                </a:cubicBezTo>
                <a:cubicBezTo>
                  <a:pt x="1310" y="108"/>
                  <a:pt x="1095" y="179"/>
                  <a:pt x="905" y="251"/>
                </a:cubicBezTo>
                <a:cubicBezTo>
                  <a:pt x="714" y="322"/>
                  <a:pt x="536" y="406"/>
                  <a:pt x="381" y="501"/>
                </a:cubicBezTo>
                <a:cubicBezTo>
                  <a:pt x="238" y="608"/>
                  <a:pt x="119" y="691"/>
                  <a:pt x="24" y="799"/>
                </a:cubicBezTo>
                <a:lnTo>
                  <a:pt x="893" y="1799"/>
                </a:lnTo>
                <a:cubicBezTo>
                  <a:pt x="1048" y="1620"/>
                  <a:pt x="1215" y="1465"/>
                  <a:pt x="1393" y="1346"/>
                </a:cubicBezTo>
                <a:cubicBezTo>
                  <a:pt x="1560" y="1227"/>
                  <a:pt x="1762" y="1168"/>
                  <a:pt x="2000" y="1168"/>
                </a:cubicBezTo>
                <a:cubicBezTo>
                  <a:pt x="2215" y="1168"/>
                  <a:pt x="2358" y="1227"/>
                  <a:pt x="2477" y="1322"/>
                </a:cubicBezTo>
                <a:cubicBezTo>
                  <a:pt x="2584" y="1418"/>
                  <a:pt x="2643" y="1537"/>
                  <a:pt x="2643" y="1703"/>
                </a:cubicBezTo>
                <a:cubicBezTo>
                  <a:pt x="2643" y="1775"/>
                  <a:pt x="2608" y="1858"/>
                  <a:pt x="2572" y="1918"/>
                </a:cubicBezTo>
                <a:cubicBezTo>
                  <a:pt x="2524" y="1977"/>
                  <a:pt x="2453" y="2037"/>
                  <a:pt x="2346" y="2108"/>
                </a:cubicBezTo>
                <a:cubicBezTo>
                  <a:pt x="2238" y="2180"/>
                  <a:pt x="2108" y="2275"/>
                  <a:pt x="1929" y="2358"/>
                </a:cubicBezTo>
                <a:cubicBezTo>
                  <a:pt x="1750" y="2453"/>
                  <a:pt x="1524" y="2573"/>
                  <a:pt x="1262" y="2715"/>
                </a:cubicBezTo>
                <a:cubicBezTo>
                  <a:pt x="1024" y="2858"/>
                  <a:pt x="810" y="3001"/>
                  <a:pt x="655" y="3156"/>
                </a:cubicBezTo>
                <a:cubicBezTo>
                  <a:pt x="488" y="3299"/>
                  <a:pt x="357" y="3454"/>
                  <a:pt x="262" y="3620"/>
                </a:cubicBezTo>
                <a:cubicBezTo>
                  <a:pt x="155" y="3787"/>
                  <a:pt x="95" y="3977"/>
                  <a:pt x="60" y="4192"/>
                </a:cubicBezTo>
                <a:cubicBezTo>
                  <a:pt x="12" y="4406"/>
                  <a:pt x="0" y="4644"/>
                  <a:pt x="0" y="4906"/>
                </a:cubicBezTo>
                <a:lnTo>
                  <a:pt x="4203" y="4906"/>
                </a:lnTo>
                <a:lnTo>
                  <a:pt x="4203" y="3680"/>
                </a:lnTo>
                <a:lnTo>
                  <a:pt x="1917" y="3680"/>
                </a:lnTo>
                <a:cubicBezTo>
                  <a:pt x="1965" y="3620"/>
                  <a:pt x="2036" y="3561"/>
                  <a:pt x="2143" y="3489"/>
                </a:cubicBezTo>
                <a:cubicBezTo>
                  <a:pt x="2238" y="3418"/>
                  <a:pt x="2346" y="3358"/>
                  <a:pt x="2465" y="3287"/>
                </a:cubicBezTo>
                <a:cubicBezTo>
                  <a:pt x="2584" y="3204"/>
                  <a:pt x="2703" y="3144"/>
                  <a:pt x="2822" y="3073"/>
                </a:cubicBezTo>
                <a:cubicBezTo>
                  <a:pt x="2941" y="3001"/>
                  <a:pt x="3036" y="2942"/>
                  <a:pt x="3120" y="2894"/>
                </a:cubicBezTo>
                <a:cubicBezTo>
                  <a:pt x="3239" y="2823"/>
                  <a:pt x="3358" y="2751"/>
                  <a:pt x="3477" y="2656"/>
                </a:cubicBezTo>
                <a:cubicBezTo>
                  <a:pt x="3596" y="2584"/>
                  <a:pt x="3715" y="2477"/>
                  <a:pt x="3810" y="2358"/>
                </a:cubicBezTo>
                <a:cubicBezTo>
                  <a:pt x="3905" y="2263"/>
                  <a:pt x="3989" y="2120"/>
                  <a:pt x="4048" y="1977"/>
                </a:cubicBezTo>
                <a:cubicBezTo>
                  <a:pt x="4108" y="1822"/>
                  <a:pt x="4132" y="1644"/>
                  <a:pt x="4132" y="1465"/>
                </a:cubicBezTo>
                <a:cubicBezTo>
                  <a:pt x="4132" y="1025"/>
                  <a:pt x="3965" y="668"/>
                  <a:pt x="3643" y="394"/>
                </a:cubicBezTo>
                <a:cubicBezTo>
                  <a:pt x="3310" y="132"/>
                  <a:pt x="2858" y="1"/>
                  <a:pt x="2238" y="1"/>
                </a:cubicBezTo>
                <a:close/>
              </a:path>
            </a:pathLst>
          </a:custGeom>
          <a:solidFill>
            <a:srgbClr val="FFC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4" name="CuadroTexto 3">
            <a:extLst>
              <a:ext uri="{FF2B5EF4-FFF2-40B4-BE49-F238E27FC236}">
                <a16:creationId xmlns:a16="http://schemas.microsoft.com/office/drawing/2014/main" id="{EE107A48-B40A-A7F6-E077-1BB44B522074}"/>
              </a:ext>
            </a:extLst>
          </p:cNvPr>
          <p:cNvSpPr txBox="1"/>
          <p:nvPr/>
        </p:nvSpPr>
        <p:spPr>
          <a:xfrm>
            <a:off x="4151784" y="835856"/>
            <a:ext cx="2094192" cy="338554"/>
          </a:xfrm>
          <a:prstGeom prst="rect">
            <a:avLst/>
          </a:prstGeom>
        </p:spPr>
        <p:txBody>
          <a:bodyPr wrap="square" lIns="0" rIns="0" rtlCol="0">
            <a:spAutoFit/>
          </a:bodyPr>
          <a:lstStyle/>
          <a:p>
            <a:pPr marL="0" marR="0" lvl="0" indent="0" algn="l" defTabSz="742950" rtl="0" eaLnBrk="1" fontAlgn="base" latinLnBrk="0" hangingPunct="1">
              <a:lnSpc>
                <a:spcPct val="100000"/>
              </a:lnSpc>
              <a:spcBef>
                <a:spcPct val="0"/>
              </a:spcBef>
              <a:spcAft>
                <a:spcPct val="0"/>
              </a:spcAft>
              <a:buClr>
                <a:srgbClr val="505150"/>
              </a:buClr>
              <a:buSzPct val="88000"/>
              <a:buFontTx/>
              <a:buNone/>
              <a:tabLst/>
              <a:defRPr/>
            </a:pPr>
            <a:r>
              <a:rPr kumimoji="0" lang="en-GB" sz="1600" b="1" i="0" u="none" strike="noStrike" kern="0" cap="none" spc="0" normalizeH="0" baseline="0" noProof="0">
                <a:ln>
                  <a:noFill/>
                </a:ln>
                <a:solidFill>
                  <a:srgbClr val="494949"/>
                </a:solidFill>
                <a:effectLst/>
                <a:uLnTx/>
                <a:uFillTx/>
                <a:latin typeface="Calibri" panose="020F0502020204030204"/>
                <a:ea typeface="+mn-ea"/>
                <a:cs typeface="+mn-cs"/>
                <a:sym typeface="Droid Sans" charset="0"/>
              </a:rPr>
              <a:t>SUPPLIERS</a:t>
            </a:r>
            <a:endParaRPr kumimoji="0" lang="en-GB" sz="1600" b="0" i="0" u="none" strike="noStrike" kern="1200" cap="none" spc="-20" normalizeH="0" baseline="0" noProof="0">
              <a:ln>
                <a:noFill/>
              </a:ln>
              <a:solidFill>
                <a:srgbClr val="494949"/>
              </a:solidFill>
              <a:effectLst/>
              <a:uLnTx/>
              <a:uFillTx/>
              <a:latin typeface="Calibri Light" panose="020F0302020204030204"/>
              <a:ea typeface="+mn-ea"/>
              <a:cs typeface="+mn-cs"/>
            </a:endParaRPr>
          </a:p>
        </p:txBody>
      </p:sp>
      <p:sp>
        <p:nvSpPr>
          <p:cNvPr id="6" name="Rectángulo 5">
            <a:extLst>
              <a:ext uri="{FF2B5EF4-FFF2-40B4-BE49-F238E27FC236}">
                <a16:creationId xmlns:a16="http://schemas.microsoft.com/office/drawing/2014/main" id="{2AEDDD56-0C5F-3375-EE00-0660B0F4E7FC}"/>
              </a:ext>
            </a:extLst>
          </p:cNvPr>
          <p:cNvSpPr/>
          <p:nvPr/>
        </p:nvSpPr>
        <p:spPr bwMode="auto">
          <a:xfrm>
            <a:off x="0" y="0"/>
            <a:ext cx="9480376" cy="620688"/>
          </a:xfrm>
          <a:prstGeom prst="rect">
            <a:avLst/>
          </a:prstGeom>
          <a:gradFill>
            <a:gsLst>
              <a:gs pos="50000">
                <a:schemeClr val="accent2"/>
              </a:gs>
              <a:gs pos="100000">
                <a:schemeClr val="bg1"/>
              </a:gs>
            </a:gsLst>
            <a:lin ang="0" scaled="1"/>
          </a:gradFill>
          <a:ln w="9525">
            <a:noFill/>
            <a:round/>
            <a:headEnd/>
            <a:tailEnd/>
          </a:ln>
        </p:spPr>
        <p:txBody>
          <a:bodyPr vert="horz" wrap="square" lIns="91440" tIns="45720" rIns="91440" bIns="45720" numCol="1" rtlCol="0" anchor="t" anchorCtr="0" compatLnSpc="1">
            <a:prstTxWarp prst="textNoShape">
              <a:avLst/>
            </a:prstTxWarp>
          </a:bodyPr>
          <a:lstStyle/>
          <a:p>
            <a:pPr algn="ctr"/>
            <a:endParaRPr lang="en-GB" noProof="0"/>
          </a:p>
        </p:txBody>
      </p:sp>
      <p:sp>
        <p:nvSpPr>
          <p:cNvPr id="7" name="Título 1">
            <a:extLst>
              <a:ext uri="{FF2B5EF4-FFF2-40B4-BE49-F238E27FC236}">
                <a16:creationId xmlns:a16="http://schemas.microsoft.com/office/drawing/2014/main" id="{353BEC12-38B8-35BB-4424-AA8FFE218CF4}"/>
              </a:ext>
            </a:extLst>
          </p:cNvPr>
          <p:cNvSpPr>
            <a:spLocks noGrp="1"/>
          </p:cNvSpPr>
          <p:nvPr>
            <p:ph type="title"/>
          </p:nvPr>
        </p:nvSpPr>
        <p:spPr>
          <a:xfrm>
            <a:off x="191344" y="116632"/>
            <a:ext cx="10515600" cy="365721"/>
          </a:xfrm>
        </p:spPr>
        <p:txBody>
          <a:bodyPr anchor="ctr">
            <a:noAutofit/>
          </a:bodyPr>
          <a:lstStyle/>
          <a:p>
            <a:r>
              <a:rPr lang="en-GB" sz="2462" noProof="0">
                <a:solidFill>
                  <a:schemeClr val="bg1"/>
                </a:solidFill>
                <a:latin typeface="+mn-lt"/>
              </a:rPr>
              <a:t>Global Spend – Accelerators - Suppliers</a:t>
            </a:r>
          </a:p>
        </p:txBody>
      </p:sp>
    </p:spTree>
    <p:extLst>
      <p:ext uri="{BB962C8B-B14F-4D97-AF65-F5344CB8AC3E}">
        <p14:creationId xmlns:p14="http://schemas.microsoft.com/office/powerpoint/2010/main" val="347881048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44">
            <a:extLst>
              <a:ext uri="{FF2B5EF4-FFF2-40B4-BE49-F238E27FC236}">
                <a16:creationId xmlns:a16="http://schemas.microsoft.com/office/drawing/2014/main" id="{870F6BCE-1E8A-0EE3-E13F-AC648BCEE613}"/>
              </a:ext>
            </a:extLst>
          </p:cNvPr>
          <p:cNvSpPr/>
          <p:nvPr/>
        </p:nvSpPr>
        <p:spPr>
          <a:xfrm>
            <a:off x="3572759" y="621396"/>
            <a:ext cx="8619858" cy="5976664"/>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CuadroTexto 64">
            <a:extLst>
              <a:ext uri="{FF2B5EF4-FFF2-40B4-BE49-F238E27FC236}">
                <a16:creationId xmlns:a16="http://schemas.microsoft.com/office/drawing/2014/main" id="{9765D579-780C-4910-8DCE-9203814F07A4}"/>
              </a:ext>
            </a:extLst>
          </p:cNvPr>
          <p:cNvSpPr txBox="1"/>
          <p:nvPr/>
        </p:nvSpPr>
        <p:spPr>
          <a:xfrm>
            <a:off x="264200" y="824330"/>
            <a:ext cx="3045821" cy="541559"/>
          </a:xfrm>
          <a:prstGeom prst="rect">
            <a:avLst/>
          </a:prstGeom>
        </p:spPr>
        <p:txBody>
          <a:bodyPr wrap="square" lIns="0" rIns="0" rtlCol="0">
            <a:spAutoFit/>
          </a:bodyPr>
          <a:lstStyle/>
          <a:p>
            <a:pPr lvl="0" defTabSz="742950" fontAlgn="base">
              <a:lnSpc>
                <a:spcPts val="1700"/>
              </a:lnSpc>
              <a:spcBef>
                <a:spcPct val="0"/>
              </a:spcBef>
              <a:spcAft>
                <a:spcPct val="0"/>
              </a:spcAft>
              <a:buClr>
                <a:srgbClr val="505150"/>
              </a:buClr>
              <a:buSzPct val="88000"/>
              <a:defRPr/>
            </a:pPr>
            <a:r>
              <a:rPr lang="en-GB" sz="2000" b="1" kern="0" spc="10" noProof="0">
                <a:solidFill>
                  <a:prstClr val="black"/>
                </a:solidFill>
                <a:sym typeface="Droid Sans" charset="0"/>
              </a:rPr>
              <a:t>External Personnel Management</a:t>
            </a:r>
            <a:endParaRPr kumimoji="0" lang="en-GB" sz="2000" b="1" i="0" u="none" strike="noStrike" kern="0" cap="none" spc="10" normalizeH="0" baseline="0" noProof="0">
              <a:ln>
                <a:noFill/>
              </a:ln>
              <a:solidFill>
                <a:prstClr val="black"/>
              </a:solidFill>
              <a:effectLst/>
              <a:uLnTx/>
              <a:uFillTx/>
              <a:latin typeface="Calibri" panose="020F0502020204030204"/>
              <a:ea typeface="+mn-ea"/>
              <a:cs typeface="+mn-cs"/>
              <a:sym typeface="Droid Sans" charset="0"/>
            </a:endParaRPr>
          </a:p>
        </p:txBody>
      </p:sp>
      <p:sp>
        <p:nvSpPr>
          <p:cNvPr id="54" name="CuadroTexto 53">
            <a:extLst>
              <a:ext uri="{FF2B5EF4-FFF2-40B4-BE49-F238E27FC236}">
                <a16:creationId xmlns:a16="http://schemas.microsoft.com/office/drawing/2014/main" id="{DFF51CEF-DA6F-40AE-0CEE-0258FEF849FE}"/>
              </a:ext>
            </a:extLst>
          </p:cNvPr>
          <p:cNvSpPr txBox="1"/>
          <p:nvPr/>
        </p:nvSpPr>
        <p:spPr>
          <a:xfrm>
            <a:off x="259520" y="1299975"/>
            <a:ext cx="3050501" cy="4154984"/>
          </a:xfrm>
          <a:prstGeom prst="rect">
            <a:avLst/>
          </a:prstGeom>
        </p:spPr>
        <p:txBody>
          <a:bodyPr wrap="square" lIns="0" rIns="0" rtlCol="0">
            <a:spAutoFit/>
          </a:bodyPr>
          <a:lstStyle/>
          <a:p>
            <a:pPr lvl="0" algn="just" defTabSz="742950" fontAlgn="base">
              <a:spcBef>
                <a:spcPct val="0"/>
              </a:spcBef>
              <a:spcAft>
                <a:spcPct val="0"/>
              </a:spcAft>
              <a:buClr>
                <a:srgbClr val="505150"/>
              </a:buClr>
              <a:buSzPct val="88000"/>
              <a:defRPr/>
            </a:pPr>
            <a:r>
              <a:rPr lang="en-GB" sz="1100" spc="-20" noProof="0">
                <a:latin typeface="Calibri Light" panose="020F0302020204030204"/>
                <a:sym typeface="Droid Sans" charset="0"/>
              </a:rPr>
              <a:t>Information on the current situation of contingent and declaration of work (SOW) workers in your company, </a:t>
            </a:r>
            <a:r>
              <a:rPr lang="en-GB" sz="1100" spc="-20" noProof="0" err="1">
                <a:latin typeface="Calibri Light" panose="020F0302020204030204"/>
                <a:sym typeface="Droid Sans" charset="0"/>
              </a:rPr>
              <a:t>analyze</a:t>
            </a:r>
            <a:r>
              <a:rPr lang="en-GB" sz="1100" spc="-20" noProof="0">
                <a:latin typeface="Calibri Light" panose="020F0302020204030204"/>
                <a:sym typeface="Droid Sans" charset="0"/>
              </a:rPr>
              <a:t> costs and supplier relationships.</a:t>
            </a:r>
          </a:p>
          <a:p>
            <a:pPr lvl="0" algn="just" defTabSz="742950" fontAlgn="base">
              <a:spcBef>
                <a:spcPct val="0"/>
              </a:spcBef>
              <a:spcAft>
                <a:spcPct val="0"/>
              </a:spcAft>
              <a:buClr>
                <a:srgbClr val="505150"/>
              </a:buClr>
              <a:buSzPct val="88000"/>
              <a:defRPr/>
            </a:pPr>
            <a:r>
              <a:rPr kumimoji="0" lang="en-GB" sz="1100" b="0" i="0" u="none" strike="noStrike" kern="1200" cap="none" spc="-20" normalizeH="0" baseline="0" noProof="0">
                <a:ln>
                  <a:noFill/>
                </a:ln>
                <a:effectLst/>
                <a:uLnTx/>
                <a:uFillTx/>
                <a:latin typeface="Calibri Light" panose="020F0302020204030204"/>
                <a:ea typeface="+mn-ea"/>
                <a:cs typeface="+mn-cs"/>
                <a:sym typeface="Droid Sans" charset="0"/>
              </a:rPr>
              <a:t>
</a:t>
            </a:r>
            <a:r>
              <a:rPr lang="en-GB" sz="1100" b="1" spc="-20" noProof="0">
                <a:latin typeface="Calibri Light" panose="020F0302020204030204"/>
                <a:sym typeface="Droid Sans" charset="0"/>
              </a:rPr>
              <a:t>Contingent Workforce Analysis and SOW</a:t>
            </a:r>
            <a:r>
              <a:rPr kumimoji="0" lang="en-GB" sz="1100" b="0" i="0" u="none" strike="noStrike" kern="1200" cap="none" spc="-20" normalizeH="0" baseline="0" noProof="0">
                <a:ln>
                  <a:noFill/>
                </a:ln>
                <a:effectLst/>
                <a:uLnTx/>
                <a:uFillTx/>
                <a:latin typeface="Calibri Light" panose="020F0302020204030204"/>
                <a:ea typeface="+mn-ea"/>
                <a:cs typeface="+mn-cs"/>
                <a:sym typeface="Droid Sans" charset="0"/>
              </a:rPr>
              <a:t>
</a:t>
            </a:r>
            <a:r>
              <a:rPr lang="en-GB" sz="1100" spc="-20" noProof="0" err="1">
                <a:latin typeface="Calibri Light" panose="020F0302020204030204"/>
                <a:sym typeface="Droid Sans" charset="0"/>
              </a:rPr>
              <a:t>Analyze</a:t>
            </a:r>
            <a:r>
              <a:rPr lang="en-GB" sz="1100" spc="-20" noProof="0">
                <a:latin typeface="Calibri Light" panose="020F0302020204030204"/>
                <a:sym typeface="Droid Sans" charset="0"/>
              </a:rPr>
              <a:t> how many contingent workers and SOWs are currently hired.</a:t>
            </a:r>
          </a:p>
          <a:p>
            <a:pPr lvl="0" algn="just" defTabSz="742950" fontAlgn="base">
              <a:spcBef>
                <a:spcPct val="0"/>
              </a:spcBef>
              <a:spcAft>
                <a:spcPct val="0"/>
              </a:spcAft>
              <a:buClr>
                <a:srgbClr val="505150"/>
              </a:buClr>
              <a:buSzPct val="88000"/>
              <a:defRPr/>
            </a:pPr>
            <a:endParaRPr kumimoji="0" lang="en-GB" sz="1100" b="0" i="0" u="none" strike="noStrike" kern="1200" cap="none" spc="-20" normalizeH="0" baseline="0" noProof="0">
              <a:ln>
                <a:noFill/>
              </a:ln>
              <a:effectLst/>
              <a:uLnTx/>
              <a:uFillTx/>
              <a:latin typeface="Calibri Light" panose="020F0302020204030204"/>
              <a:ea typeface="+mn-ea"/>
              <a:cs typeface="+mn-cs"/>
              <a:sym typeface="Droid Sans" charset="0"/>
            </a:endParaRPr>
          </a:p>
          <a:p>
            <a:pPr lvl="0" algn="just" defTabSz="742950" fontAlgn="base">
              <a:spcBef>
                <a:spcPct val="0"/>
              </a:spcBef>
              <a:spcAft>
                <a:spcPct val="0"/>
              </a:spcAft>
              <a:buClr>
                <a:srgbClr val="505150"/>
              </a:buClr>
              <a:buSzPct val="88000"/>
              <a:defRPr/>
            </a:pPr>
            <a:r>
              <a:rPr lang="en-GB" sz="1100" b="1" spc="-20" noProof="0">
                <a:latin typeface="Calibri Light" panose="020F0302020204030204"/>
                <a:sym typeface="Droid Sans" charset="0"/>
              </a:rPr>
              <a:t>Control spending </a:t>
            </a:r>
            <a:r>
              <a:rPr lang="en-GB" sz="1100" spc="-20" noProof="0">
                <a:latin typeface="Calibri Light" panose="020F0302020204030204"/>
                <a:sym typeface="Droid Sans" charset="0"/>
              </a:rPr>
              <a:t>by comparing current costs with those of the previous year, drill down by country or business area. </a:t>
            </a:r>
            <a:r>
              <a:rPr lang="en-GB" sz="1100" spc="-20" noProof="0" err="1">
                <a:latin typeface="Calibri Light" panose="020F0302020204030204"/>
                <a:sym typeface="Droid Sans" charset="0"/>
              </a:rPr>
              <a:t>Analyze</a:t>
            </a:r>
            <a:r>
              <a:rPr lang="en-GB" sz="1100" spc="-20" noProof="0">
                <a:latin typeface="Calibri Light" panose="020F0302020204030204"/>
                <a:sym typeface="Droid Sans" charset="0"/>
              </a:rPr>
              <a:t> billing rates and compare them to your HR expenses.</a:t>
            </a:r>
          </a:p>
          <a:p>
            <a:pPr lvl="0" algn="just" defTabSz="742950" fontAlgn="base">
              <a:spcBef>
                <a:spcPct val="0"/>
              </a:spcBef>
              <a:spcAft>
                <a:spcPct val="0"/>
              </a:spcAft>
              <a:buClr>
                <a:srgbClr val="505150"/>
              </a:buClr>
              <a:buSzPct val="88000"/>
              <a:defRPr/>
            </a:pPr>
            <a:r>
              <a:rPr kumimoji="0" lang="en-GB" sz="1100" b="0" i="0" u="none" strike="noStrike" kern="1200" cap="none" spc="-20" normalizeH="0" baseline="0" noProof="0">
                <a:ln>
                  <a:noFill/>
                </a:ln>
                <a:effectLst/>
                <a:uLnTx/>
                <a:uFillTx/>
                <a:latin typeface="Calibri Light" panose="020F0302020204030204"/>
                <a:ea typeface="+mn-ea"/>
                <a:cs typeface="+mn-cs"/>
                <a:sym typeface="Droid Sans" charset="0"/>
              </a:rPr>
              <a:t>
</a:t>
            </a:r>
            <a:r>
              <a:rPr lang="en-GB" sz="1100" b="1" spc="-20" noProof="0">
                <a:latin typeface="Calibri Light" panose="020F0302020204030204"/>
                <a:sym typeface="Droid Sans" charset="0"/>
              </a:rPr>
              <a:t>Cycle times and flexibility in contracting</a:t>
            </a:r>
            <a:r>
              <a:rPr kumimoji="0" lang="en-GB" sz="1100" b="0" i="0" u="none" strike="noStrike" kern="1200" cap="none" spc="-20" normalizeH="0" baseline="0" noProof="0">
                <a:ln>
                  <a:noFill/>
                </a:ln>
                <a:effectLst/>
                <a:uLnTx/>
                <a:uFillTx/>
                <a:latin typeface="Calibri Light" panose="020F0302020204030204"/>
                <a:ea typeface="+mn-ea"/>
                <a:cs typeface="+mn-cs"/>
                <a:sym typeface="Droid Sans" charset="0"/>
              </a:rPr>
              <a:t>
</a:t>
            </a:r>
            <a:r>
              <a:rPr lang="en-GB" sz="1100" spc="-20" noProof="0">
                <a:latin typeface="Calibri Light" panose="020F0302020204030204"/>
                <a:sym typeface="Droid Sans" charset="0"/>
              </a:rPr>
              <a:t>Hire cycle times to understand how flexibly your company can react to workforce-related changes.</a:t>
            </a:r>
          </a:p>
          <a:p>
            <a:pPr lvl="0" algn="just" defTabSz="742950" fontAlgn="base">
              <a:spcBef>
                <a:spcPct val="0"/>
              </a:spcBef>
              <a:spcAft>
                <a:spcPct val="0"/>
              </a:spcAft>
              <a:buClr>
                <a:srgbClr val="505150"/>
              </a:buClr>
              <a:buSzPct val="88000"/>
              <a:defRPr/>
            </a:pPr>
            <a:r>
              <a:rPr lang="en-GB" sz="1100" i="1" spc="-20" noProof="0">
                <a:latin typeface="Calibri Light" panose="020F0302020204030204"/>
                <a:sym typeface="Droid Sans" charset="0"/>
              </a:rPr>
              <a:t>What qualifications are available, how quickly suppliers respond, and how good the level of qualification is. How many of the workers are eligible for rehiring?</a:t>
            </a:r>
          </a:p>
          <a:p>
            <a:pPr lvl="0" algn="just" defTabSz="742950" fontAlgn="base">
              <a:spcBef>
                <a:spcPct val="0"/>
              </a:spcBef>
              <a:spcAft>
                <a:spcPct val="0"/>
              </a:spcAft>
              <a:buClr>
                <a:srgbClr val="505150"/>
              </a:buClr>
              <a:buSzPct val="88000"/>
              <a:defRPr/>
            </a:pPr>
            <a:r>
              <a:rPr kumimoji="0" lang="en-GB" sz="1100" b="1" i="0" u="none" strike="noStrike" kern="1200" cap="none" spc="-20" normalizeH="0" baseline="0" noProof="0">
                <a:ln>
                  <a:noFill/>
                </a:ln>
                <a:effectLst/>
                <a:uLnTx/>
                <a:uFillTx/>
                <a:latin typeface="Calibri Light" panose="020F0302020204030204"/>
                <a:ea typeface="+mn-ea"/>
                <a:cs typeface="+mn-cs"/>
                <a:sym typeface="Droid Sans" charset="0"/>
              </a:rPr>
              <a:t>
</a:t>
            </a:r>
            <a:r>
              <a:rPr lang="en-GB" sz="1100" b="1" spc="-20" noProof="0">
                <a:latin typeface="Calibri Light" panose="020F0302020204030204"/>
                <a:sym typeface="Droid Sans" charset="0"/>
              </a:rPr>
              <a:t>Supplier analysis</a:t>
            </a:r>
            <a:r>
              <a:rPr kumimoji="0" lang="en-GB" sz="1100" b="0" i="0" u="none" strike="noStrike" kern="1200" cap="none" spc="-20" normalizeH="0" baseline="0" noProof="0">
                <a:ln>
                  <a:noFill/>
                </a:ln>
                <a:effectLst/>
                <a:uLnTx/>
                <a:uFillTx/>
                <a:latin typeface="Calibri Light" panose="020F0302020204030204"/>
                <a:ea typeface="+mn-ea"/>
                <a:cs typeface="+mn-cs"/>
                <a:sym typeface="Droid Sans" charset="0"/>
              </a:rPr>
              <a:t>
</a:t>
            </a:r>
            <a:r>
              <a:rPr lang="en-GB" sz="1100" spc="-20" noProof="0">
                <a:latin typeface="Calibri Light" panose="020F0302020204030204"/>
                <a:sym typeface="Droid Sans" charset="0"/>
              </a:rPr>
              <a:t>Overview of how many suppliers your company is currently working on, how many workers they sent, supplier qualifications and expenses per supplier.</a:t>
            </a:r>
            <a:endParaRPr kumimoji="0" lang="en-GB" sz="1100" b="0" i="1" u="none" strike="noStrike" kern="0" cap="none" spc="0" normalizeH="0" baseline="0" noProof="0">
              <a:ln>
                <a:noFill/>
              </a:ln>
              <a:effectLst/>
              <a:uLnTx/>
              <a:uFillTx/>
              <a:latin typeface="Calibri" panose="020F0502020204030204"/>
              <a:ea typeface="+mn-ea"/>
              <a:cs typeface="+mn-cs"/>
              <a:sym typeface="Droid Sans" charset="0"/>
            </a:endParaRPr>
          </a:p>
        </p:txBody>
      </p:sp>
      <p:sp>
        <p:nvSpPr>
          <p:cNvPr id="14" name="Rectángulo 13">
            <a:extLst>
              <a:ext uri="{FF2B5EF4-FFF2-40B4-BE49-F238E27FC236}">
                <a16:creationId xmlns:a16="http://schemas.microsoft.com/office/drawing/2014/main" id="{BE2542BB-3FDD-EFDA-280A-24BDF8DF5D6B}"/>
              </a:ext>
            </a:extLst>
          </p:cNvPr>
          <p:cNvSpPr/>
          <p:nvPr/>
        </p:nvSpPr>
        <p:spPr>
          <a:xfrm>
            <a:off x="568821" y="97286"/>
            <a:ext cx="10901128" cy="276999"/>
          </a:xfrm>
          <a:prstGeom prst="rect">
            <a:avLst/>
          </a:prstGeom>
        </p:spPr>
        <p:txBody>
          <a:bodyPr wrap="square" lIns="91440" tIns="45720" rIns="91440" bIns="45720" anchor="t">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300" normalizeH="0" baseline="0" noProof="0">
                <a:ln>
                  <a:noFill/>
                </a:ln>
                <a:solidFill>
                  <a:prstClr val="white"/>
                </a:solidFill>
                <a:effectLst/>
                <a:uLnTx/>
                <a:uFillTx/>
                <a:latin typeface="Arial"/>
                <a:ea typeface="+mn-ea"/>
                <a:cs typeface="+mn-cs"/>
              </a:rPr>
              <a:t>GLOBAL SPEND – PERSONAL COSTS (FIELDGLASS)</a:t>
            </a:r>
          </a:p>
        </p:txBody>
      </p:sp>
      <p:sp>
        <p:nvSpPr>
          <p:cNvPr id="10" name="TextBox 12">
            <a:extLst>
              <a:ext uri="{FF2B5EF4-FFF2-40B4-BE49-F238E27FC236}">
                <a16:creationId xmlns:a16="http://schemas.microsoft.com/office/drawing/2014/main" id="{C799C4F0-B0E3-00B9-1B6F-BA10B58A65CF}"/>
              </a:ext>
            </a:extLst>
          </p:cNvPr>
          <p:cNvSpPr txBox="1"/>
          <p:nvPr/>
        </p:nvSpPr>
        <p:spPr>
          <a:xfrm>
            <a:off x="4283303" y="811556"/>
            <a:ext cx="3656371" cy="430887"/>
          </a:xfrm>
          <a:prstGeom prst="rect">
            <a:avLst/>
          </a:prstGeom>
          <a:noFill/>
        </p:spPr>
        <p:txBody>
          <a:bodyPr wrap="square" lIns="0" tIns="0" rIns="0" bIns="0" rtlCol="0">
            <a:spAutoFit/>
          </a:bodyPr>
          <a:lstStyle>
            <a:defPPr>
              <a:defRPr lang="es-ES"/>
            </a:defPPr>
            <a:lvl1pPr>
              <a:defRPr sz="1400" b="1" spc="200">
                <a:ea typeface="Arial Normal" charset="0"/>
                <a:cs typeface="Arial Normal"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200" normalizeH="0" baseline="0" noProof="0">
                <a:ln>
                  <a:noFill/>
                </a:ln>
                <a:solidFill>
                  <a:srgbClr val="494949"/>
                </a:solidFill>
                <a:effectLst/>
                <a:uLnTx/>
                <a:uFillTx/>
                <a:latin typeface="Calibri" panose="020F0502020204030204" pitchFamily="34" charset="0"/>
                <a:cs typeface="Calibri" panose="020F0502020204030204" pitchFamily="34" charset="0"/>
              </a:rPr>
              <a:t>PERSONNEL COSTS
</a:t>
            </a:r>
          </a:p>
        </p:txBody>
      </p:sp>
      <p:sp>
        <p:nvSpPr>
          <p:cNvPr id="11" name="Google Shape;537;p26">
            <a:extLst>
              <a:ext uri="{FF2B5EF4-FFF2-40B4-BE49-F238E27FC236}">
                <a16:creationId xmlns:a16="http://schemas.microsoft.com/office/drawing/2014/main" id="{D5990D89-0FE7-F43D-2BC0-B5DC3769A974}"/>
              </a:ext>
            </a:extLst>
          </p:cNvPr>
          <p:cNvSpPr/>
          <p:nvPr/>
        </p:nvSpPr>
        <p:spPr>
          <a:xfrm>
            <a:off x="3793833" y="802520"/>
            <a:ext cx="169557" cy="198420"/>
          </a:xfrm>
          <a:custGeom>
            <a:avLst/>
            <a:gdLst/>
            <a:ahLst/>
            <a:cxnLst/>
            <a:rect l="l" t="t" r="r" b="b"/>
            <a:pathLst>
              <a:path w="4406" h="5156" extrusionOk="0">
                <a:moveTo>
                  <a:pt x="2191" y="1250"/>
                </a:moveTo>
                <a:cubicBezTo>
                  <a:pt x="2441" y="1250"/>
                  <a:pt x="2643" y="1393"/>
                  <a:pt x="2798" y="1631"/>
                </a:cubicBezTo>
                <a:cubicBezTo>
                  <a:pt x="2965" y="1869"/>
                  <a:pt x="3036" y="2179"/>
                  <a:pt x="3036" y="2584"/>
                </a:cubicBezTo>
                <a:cubicBezTo>
                  <a:pt x="3036" y="2965"/>
                  <a:pt x="2965" y="3298"/>
                  <a:pt x="2798" y="3536"/>
                </a:cubicBezTo>
                <a:cubicBezTo>
                  <a:pt x="2643" y="3762"/>
                  <a:pt x="2441" y="3893"/>
                  <a:pt x="2191" y="3893"/>
                </a:cubicBezTo>
                <a:cubicBezTo>
                  <a:pt x="1929" y="3893"/>
                  <a:pt x="1715" y="3774"/>
                  <a:pt x="1572" y="3536"/>
                </a:cubicBezTo>
                <a:cubicBezTo>
                  <a:pt x="1405" y="3298"/>
                  <a:pt x="1334" y="2977"/>
                  <a:pt x="1334" y="2584"/>
                </a:cubicBezTo>
                <a:cubicBezTo>
                  <a:pt x="1334" y="2191"/>
                  <a:pt x="1417" y="1869"/>
                  <a:pt x="1572" y="1631"/>
                </a:cubicBezTo>
                <a:cubicBezTo>
                  <a:pt x="1727" y="1369"/>
                  <a:pt x="1941" y="1250"/>
                  <a:pt x="2191" y="1250"/>
                </a:cubicBezTo>
                <a:close/>
                <a:moveTo>
                  <a:pt x="2203" y="0"/>
                </a:moveTo>
                <a:cubicBezTo>
                  <a:pt x="1893" y="0"/>
                  <a:pt x="1596" y="60"/>
                  <a:pt x="1334" y="203"/>
                </a:cubicBezTo>
                <a:cubicBezTo>
                  <a:pt x="1060" y="333"/>
                  <a:pt x="822" y="512"/>
                  <a:pt x="631" y="738"/>
                </a:cubicBezTo>
                <a:cubicBezTo>
                  <a:pt x="441" y="976"/>
                  <a:pt x="274" y="1238"/>
                  <a:pt x="167" y="1548"/>
                </a:cubicBezTo>
                <a:cubicBezTo>
                  <a:pt x="60" y="1869"/>
                  <a:pt x="0" y="2203"/>
                  <a:pt x="0" y="2584"/>
                </a:cubicBezTo>
                <a:cubicBezTo>
                  <a:pt x="0" y="2953"/>
                  <a:pt x="60" y="3298"/>
                  <a:pt x="167" y="3608"/>
                </a:cubicBezTo>
                <a:cubicBezTo>
                  <a:pt x="274" y="3917"/>
                  <a:pt x="441" y="4203"/>
                  <a:pt x="631" y="4429"/>
                </a:cubicBezTo>
                <a:cubicBezTo>
                  <a:pt x="822" y="4667"/>
                  <a:pt x="1060" y="4822"/>
                  <a:pt x="1334" y="4965"/>
                </a:cubicBezTo>
                <a:cubicBezTo>
                  <a:pt x="1596" y="5096"/>
                  <a:pt x="1893" y="5156"/>
                  <a:pt x="2203" y="5156"/>
                </a:cubicBezTo>
                <a:cubicBezTo>
                  <a:pt x="2524" y="5156"/>
                  <a:pt x="2822" y="5096"/>
                  <a:pt x="3084" y="4965"/>
                </a:cubicBezTo>
                <a:cubicBezTo>
                  <a:pt x="3358" y="4822"/>
                  <a:pt x="3596" y="4644"/>
                  <a:pt x="3786" y="4429"/>
                </a:cubicBezTo>
                <a:cubicBezTo>
                  <a:pt x="3977" y="4191"/>
                  <a:pt x="4132" y="3917"/>
                  <a:pt x="4251" y="3608"/>
                </a:cubicBezTo>
                <a:cubicBezTo>
                  <a:pt x="4346" y="3298"/>
                  <a:pt x="4405" y="2953"/>
                  <a:pt x="4405" y="2584"/>
                </a:cubicBezTo>
                <a:cubicBezTo>
                  <a:pt x="4405" y="2203"/>
                  <a:pt x="4346" y="1869"/>
                  <a:pt x="4251" y="1548"/>
                </a:cubicBezTo>
                <a:cubicBezTo>
                  <a:pt x="4143" y="1238"/>
                  <a:pt x="3977" y="953"/>
                  <a:pt x="3786" y="738"/>
                </a:cubicBezTo>
                <a:cubicBezTo>
                  <a:pt x="3596" y="512"/>
                  <a:pt x="3358" y="333"/>
                  <a:pt x="3084" y="203"/>
                </a:cubicBezTo>
                <a:cubicBezTo>
                  <a:pt x="2822" y="60"/>
                  <a:pt x="2524" y="0"/>
                  <a:pt x="2203" y="0"/>
                </a:cubicBezTo>
                <a:close/>
              </a:path>
            </a:pathLst>
          </a:custGeom>
          <a:solidFill>
            <a:srgbClr val="A5A5A5"/>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5" name="Google Shape;538;p26">
            <a:extLst>
              <a:ext uri="{FF2B5EF4-FFF2-40B4-BE49-F238E27FC236}">
                <a16:creationId xmlns:a16="http://schemas.microsoft.com/office/drawing/2014/main" id="{75BAD80D-347B-AD68-5A2E-5787E7BAF416}"/>
              </a:ext>
            </a:extLst>
          </p:cNvPr>
          <p:cNvSpPr/>
          <p:nvPr/>
        </p:nvSpPr>
        <p:spPr>
          <a:xfrm>
            <a:off x="3985326" y="808908"/>
            <a:ext cx="165901" cy="235556"/>
          </a:xfrm>
          <a:custGeom>
            <a:avLst/>
            <a:gdLst/>
            <a:ahLst/>
            <a:cxnLst/>
            <a:rect l="l" t="t" r="r" b="b"/>
            <a:pathLst>
              <a:path w="4311" h="6121" extrusionOk="0">
                <a:moveTo>
                  <a:pt x="2215" y="1"/>
                </a:moveTo>
                <a:cubicBezTo>
                  <a:pt x="1989" y="1"/>
                  <a:pt x="1775" y="13"/>
                  <a:pt x="1561" y="60"/>
                </a:cubicBezTo>
                <a:cubicBezTo>
                  <a:pt x="1358" y="108"/>
                  <a:pt x="1144" y="156"/>
                  <a:pt x="965" y="227"/>
                </a:cubicBezTo>
                <a:cubicBezTo>
                  <a:pt x="775" y="287"/>
                  <a:pt x="608" y="370"/>
                  <a:pt x="465" y="477"/>
                </a:cubicBezTo>
                <a:cubicBezTo>
                  <a:pt x="310" y="584"/>
                  <a:pt x="191" y="691"/>
                  <a:pt x="96" y="810"/>
                </a:cubicBezTo>
                <a:lnTo>
                  <a:pt x="953" y="1787"/>
                </a:lnTo>
                <a:cubicBezTo>
                  <a:pt x="1084" y="1584"/>
                  <a:pt x="1239" y="1418"/>
                  <a:pt x="1430" y="1310"/>
                </a:cubicBezTo>
                <a:cubicBezTo>
                  <a:pt x="1608" y="1203"/>
                  <a:pt x="1811" y="1144"/>
                  <a:pt x="2049" y="1144"/>
                </a:cubicBezTo>
                <a:cubicBezTo>
                  <a:pt x="2275" y="1144"/>
                  <a:pt x="2442" y="1203"/>
                  <a:pt x="2573" y="1299"/>
                </a:cubicBezTo>
                <a:cubicBezTo>
                  <a:pt x="2704" y="1382"/>
                  <a:pt x="2763" y="1537"/>
                  <a:pt x="2763" y="1715"/>
                </a:cubicBezTo>
                <a:cubicBezTo>
                  <a:pt x="2763" y="1942"/>
                  <a:pt x="2680" y="2096"/>
                  <a:pt x="2501" y="2239"/>
                </a:cubicBezTo>
                <a:cubicBezTo>
                  <a:pt x="2323" y="2370"/>
                  <a:pt x="2061" y="2430"/>
                  <a:pt x="1751" y="2430"/>
                </a:cubicBezTo>
                <a:lnTo>
                  <a:pt x="1465" y="2430"/>
                </a:lnTo>
                <a:lnTo>
                  <a:pt x="1465" y="3394"/>
                </a:lnTo>
                <a:lnTo>
                  <a:pt x="1727" y="3394"/>
                </a:lnTo>
                <a:cubicBezTo>
                  <a:pt x="2132" y="3394"/>
                  <a:pt x="2430" y="3454"/>
                  <a:pt x="2620" y="3585"/>
                </a:cubicBezTo>
                <a:cubicBezTo>
                  <a:pt x="2811" y="3727"/>
                  <a:pt x="2906" y="3918"/>
                  <a:pt x="2906" y="4168"/>
                </a:cubicBezTo>
                <a:cubicBezTo>
                  <a:pt x="2906" y="4632"/>
                  <a:pt x="2585" y="4870"/>
                  <a:pt x="1954" y="4870"/>
                </a:cubicBezTo>
                <a:cubicBezTo>
                  <a:pt x="1680" y="4870"/>
                  <a:pt x="1442" y="4823"/>
                  <a:pt x="1251" y="4751"/>
                </a:cubicBezTo>
                <a:cubicBezTo>
                  <a:pt x="1061" y="4680"/>
                  <a:pt x="870" y="4561"/>
                  <a:pt x="727" y="4394"/>
                </a:cubicBezTo>
                <a:lnTo>
                  <a:pt x="1" y="5359"/>
                </a:lnTo>
                <a:cubicBezTo>
                  <a:pt x="477" y="5871"/>
                  <a:pt x="1144" y="6121"/>
                  <a:pt x="2001" y="6121"/>
                </a:cubicBezTo>
                <a:cubicBezTo>
                  <a:pt x="2358" y="6121"/>
                  <a:pt x="2680" y="6073"/>
                  <a:pt x="2954" y="6002"/>
                </a:cubicBezTo>
                <a:cubicBezTo>
                  <a:pt x="3239" y="5930"/>
                  <a:pt x="3501" y="5811"/>
                  <a:pt x="3692" y="5656"/>
                </a:cubicBezTo>
                <a:cubicBezTo>
                  <a:pt x="3882" y="5513"/>
                  <a:pt x="4049" y="5335"/>
                  <a:pt x="4144" y="5120"/>
                </a:cubicBezTo>
                <a:cubicBezTo>
                  <a:pt x="4251" y="4918"/>
                  <a:pt x="4311" y="4680"/>
                  <a:pt x="4311" y="4406"/>
                </a:cubicBezTo>
                <a:cubicBezTo>
                  <a:pt x="4311" y="4216"/>
                  <a:pt x="4287" y="4037"/>
                  <a:pt x="4228" y="3858"/>
                </a:cubicBezTo>
                <a:cubicBezTo>
                  <a:pt x="4168" y="3680"/>
                  <a:pt x="4097" y="3525"/>
                  <a:pt x="3990" y="3394"/>
                </a:cubicBezTo>
                <a:cubicBezTo>
                  <a:pt x="3882" y="3263"/>
                  <a:pt x="3763" y="3156"/>
                  <a:pt x="3620" y="3073"/>
                </a:cubicBezTo>
                <a:cubicBezTo>
                  <a:pt x="3478" y="2977"/>
                  <a:pt x="3323" y="2918"/>
                  <a:pt x="3144" y="2894"/>
                </a:cubicBezTo>
                <a:cubicBezTo>
                  <a:pt x="3299" y="2858"/>
                  <a:pt x="3454" y="2799"/>
                  <a:pt x="3585" y="2692"/>
                </a:cubicBezTo>
                <a:cubicBezTo>
                  <a:pt x="3716" y="2608"/>
                  <a:pt x="3835" y="2501"/>
                  <a:pt x="3930" y="2382"/>
                </a:cubicBezTo>
                <a:cubicBezTo>
                  <a:pt x="4013" y="2263"/>
                  <a:pt x="4097" y="2120"/>
                  <a:pt x="4156" y="1965"/>
                </a:cubicBezTo>
                <a:cubicBezTo>
                  <a:pt x="4192" y="1822"/>
                  <a:pt x="4228" y="1656"/>
                  <a:pt x="4228" y="1489"/>
                </a:cubicBezTo>
                <a:cubicBezTo>
                  <a:pt x="4228" y="1263"/>
                  <a:pt x="4168" y="1060"/>
                  <a:pt x="4073" y="882"/>
                </a:cubicBezTo>
                <a:cubicBezTo>
                  <a:pt x="3990" y="703"/>
                  <a:pt x="3859" y="537"/>
                  <a:pt x="3680" y="406"/>
                </a:cubicBezTo>
                <a:cubicBezTo>
                  <a:pt x="3501" y="287"/>
                  <a:pt x="3287" y="179"/>
                  <a:pt x="3037" y="108"/>
                </a:cubicBezTo>
                <a:cubicBezTo>
                  <a:pt x="2787" y="37"/>
                  <a:pt x="2513" y="1"/>
                  <a:pt x="2215" y="1"/>
                </a:cubicBezTo>
                <a:close/>
              </a:path>
            </a:pathLst>
          </a:custGeom>
          <a:solidFill>
            <a:srgbClr val="A5A5A5"/>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pic>
        <p:nvPicPr>
          <p:cNvPr id="18" name="Imagen 17">
            <a:extLst>
              <a:ext uri="{FF2B5EF4-FFF2-40B4-BE49-F238E27FC236}">
                <a16:creationId xmlns:a16="http://schemas.microsoft.com/office/drawing/2014/main" id="{8056DF48-FA7A-CD14-020A-0AB1BBDD953F}"/>
              </a:ext>
            </a:extLst>
          </p:cNvPr>
          <p:cNvPicPr>
            <a:picLocks noChangeAspect="1"/>
          </p:cNvPicPr>
          <p:nvPr/>
        </p:nvPicPr>
        <p:blipFill>
          <a:blip r:embed="rId3"/>
          <a:stretch>
            <a:fillRect/>
          </a:stretch>
        </p:blipFill>
        <p:spPr>
          <a:xfrm>
            <a:off x="3744925" y="1497184"/>
            <a:ext cx="4096722" cy="2125702"/>
          </a:xfrm>
          <a:prstGeom prst="rect">
            <a:avLst/>
          </a:prstGeom>
        </p:spPr>
      </p:pic>
      <p:pic>
        <p:nvPicPr>
          <p:cNvPr id="20" name="Imagen 19">
            <a:extLst>
              <a:ext uri="{FF2B5EF4-FFF2-40B4-BE49-F238E27FC236}">
                <a16:creationId xmlns:a16="http://schemas.microsoft.com/office/drawing/2014/main" id="{54702713-966A-B2C9-9029-308C47E76E7F}"/>
              </a:ext>
            </a:extLst>
          </p:cNvPr>
          <p:cNvPicPr>
            <a:picLocks noChangeAspect="1"/>
          </p:cNvPicPr>
          <p:nvPr/>
        </p:nvPicPr>
        <p:blipFill>
          <a:blip r:embed="rId4"/>
          <a:stretch>
            <a:fillRect/>
          </a:stretch>
        </p:blipFill>
        <p:spPr>
          <a:xfrm>
            <a:off x="3744925" y="3835101"/>
            <a:ext cx="4096722" cy="2211343"/>
          </a:xfrm>
          <a:prstGeom prst="rect">
            <a:avLst/>
          </a:prstGeom>
        </p:spPr>
      </p:pic>
      <p:pic>
        <p:nvPicPr>
          <p:cNvPr id="22" name="Imagen 21">
            <a:extLst>
              <a:ext uri="{FF2B5EF4-FFF2-40B4-BE49-F238E27FC236}">
                <a16:creationId xmlns:a16="http://schemas.microsoft.com/office/drawing/2014/main" id="{6EBE3593-648C-D8DB-D092-B895A75B0EB7}"/>
              </a:ext>
            </a:extLst>
          </p:cNvPr>
          <p:cNvPicPr>
            <a:picLocks noChangeAspect="1"/>
          </p:cNvPicPr>
          <p:nvPr/>
        </p:nvPicPr>
        <p:blipFill>
          <a:blip r:embed="rId5"/>
          <a:stretch>
            <a:fillRect/>
          </a:stretch>
        </p:blipFill>
        <p:spPr>
          <a:xfrm>
            <a:off x="7973723" y="3335985"/>
            <a:ext cx="4096723" cy="2211343"/>
          </a:xfrm>
          <a:prstGeom prst="rect">
            <a:avLst/>
          </a:prstGeom>
        </p:spPr>
      </p:pic>
      <p:pic>
        <p:nvPicPr>
          <p:cNvPr id="24" name="Imagen 23">
            <a:extLst>
              <a:ext uri="{FF2B5EF4-FFF2-40B4-BE49-F238E27FC236}">
                <a16:creationId xmlns:a16="http://schemas.microsoft.com/office/drawing/2014/main" id="{E31A2EC8-77C9-9DEF-62CB-82309DA19DF5}"/>
              </a:ext>
            </a:extLst>
          </p:cNvPr>
          <p:cNvPicPr>
            <a:picLocks noChangeAspect="1"/>
          </p:cNvPicPr>
          <p:nvPr/>
        </p:nvPicPr>
        <p:blipFill>
          <a:blip r:embed="rId6"/>
          <a:stretch>
            <a:fillRect/>
          </a:stretch>
        </p:blipFill>
        <p:spPr>
          <a:xfrm>
            <a:off x="7973723" y="1000940"/>
            <a:ext cx="4071886" cy="2211343"/>
          </a:xfrm>
          <a:prstGeom prst="rect">
            <a:avLst/>
          </a:prstGeom>
        </p:spPr>
      </p:pic>
      <p:sp>
        <p:nvSpPr>
          <p:cNvPr id="2" name="Rectángulo 1">
            <a:extLst>
              <a:ext uri="{FF2B5EF4-FFF2-40B4-BE49-F238E27FC236}">
                <a16:creationId xmlns:a16="http://schemas.microsoft.com/office/drawing/2014/main" id="{87978E06-D4D4-8888-63DA-8747D60D56EC}"/>
              </a:ext>
            </a:extLst>
          </p:cNvPr>
          <p:cNvSpPr/>
          <p:nvPr/>
        </p:nvSpPr>
        <p:spPr bwMode="auto">
          <a:xfrm>
            <a:off x="0" y="0"/>
            <a:ext cx="9480376" cy="620688"/>
          </a:xfrm>
          <a:prstGeom prst="rect">
            <a:avLst/>
          </a:prstGeom>
          <a:gradFill>
            <a:gsLst>
              <a:gs pos="50000">
                <a:schemeClr val="accent2"/>
              </a:gs>
              <a:gs pos="100000">
                <a:schemeClr val="bg1"/>
              </a:gs>
            </a:gsLst>
            <a:lin ang="0" scaled="1"/>
          </a:gradFill>
          <a:ln w="9525">
            <a:noFill/>
            <a:round/>
            <a:headEnd/>
            <a:tailEnd/>
          </a:ln>
        </p:spPr>
        <p:txBody>
          <a:bodyPr vert="horz" wrap="square" lIns="91440" tIns="45720" rIns="91440" bIns="45720" numCol="1" rtlCol="0" anchor="t" anchorCtr="0" compatLnSpc="1">
            <a:prstTxWarp prst="textNoShape">
              <a:avLst/>
            </a:prstTxWarp>
          </a:bodyPr>
          <a:lstStyle/>
          <a:p>
            <a:pPr algn="ctr"/>
            <a:endParaRPr lang="en-GB" noProof="0"/>
          </a:p>
        </p:txBody>
      </p:sp>
      <p:sp>
        <p:nvSpPr>
          <p:cNvPr id="3" name="Título 1">
            <a:extLst>
              <a:ext uri="{FF2B5EF4-FFF2-40B4-BE49-F238E27FC236}">
                <a16:creationId xmlns:a16="http://schemas.microsoft.com/office/drawing/2014/main" id="{46A49E11-0542-43F5-99BB-D10AFF4DFB33}"/>
              </a:ext>
            </a:extLst>
          </p:cNvPr>
          <p:cNvSpPr>
            <a:spLocks noGrp="1"/>
          </p:cNvSpPr>
          <p:nvPr>
            <p:ph type="title"/>
          </p:nvPr>
        </p:nvSpPr>
        <p:spPr>
          <a:xfrm>
            <a:off x="191344" y="116632"/>
            <a:ext cx="10515600" cy="365721"/>
          </a:xfrm>
        </p:spPr>
        <p:txBody>
          <a:bodyPr anchor="ctr">
            <a:noAutofit/>
          </a:bodyPr>
          <a:lstStyle/>
          <a:p>
            <a:r>
              <a:rPr lang="en-GB" sz="2462" noProof="0">
                <a:solidFill>
                  <a:schemeClr val="bg1"/>
                </a:solidFill>
                <a:latin typeface="+mn-lt"/>
              </a:rPr>
              <a:t>Global Spend – Accelerators – Personnel Costs (Fieldglass)</a:t>
            </a:r>
          </a:p>
        </p:txBody>
      </p:sp>
    </p:spTree>
    <p:extLst>
      <p:ext uri="{BB962C8B-B14F-4D97-AF65-F5344CB8AC3E}">
        <p14:creationId xmlns:p14="http://schemas.microsoft.com/office/powerpoint/2010/main" val="72310928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 name="Rectangle 44">
            <a:extLst>
              <a:ext uri="{FF2B5EF4-FFF2-40B4-BE49-F238E27FC236}">
                <a16:creationId xmlns:a16="http://schemas.microsoft.com/office/drawing/2014/main" id="{03740CC5-52E0-6B52-CDD2-C2512F7503D1}"/>
              </a:ext>
            </a:extLst>
          </p:cNvPr>
          <p:cNvSpPr/>
          <p:nvPr/>
        </p:nvSpPr>
        <p:spPr>
          <a:xfrm>
            <a:off x="3314700" y="621396"/>
            <a:ext cx="8877917" cy="5976664"/>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CuadroTexto 64">
            <a:extLst>
              <a:ext uri="{FF2B5EF4-FFF2-40B4-BE49-F238E27FC236}">
                <a16:creationId xmlns:a16="http://schemas.microsoft.com/office/drawing/2014/main" id="{9765D579-780C-4910-8DCE-9203814F07A4}"/>
              </a:ext>
            </a:extLst>
          </p:cNvPr>
          <p:cNvSpPr txBox="1"/>
          <p:nvPr/>
        </p:nvSpPr>
        <p:spPr>
          <a:xfrm>
            <a:off x="264200" y="834721"/>
            <a:ext cx="3050500" cy="541559"/>
          </a:xfrm>
          <a:prstGeom prst="rect">
            <a:avLst/>
          </a:prstGeom>
        </p:spPr>
        <p:txBody>
          <a:bodyPr wrap="square" lIns="0" rIns="0" rtlCol="0">
            <a:spAutoFit/>
          </a:bodyPr>
          <a:lstStyle/>
          <a:p>
            <a:pPr lvl="0" defTabSz="742950" fontAlgn="base">
              <a:lnSpc>
                <a:spcPts val="1700"/>
              </a:lnSpc>
              <a:spcBef>
                <a:spcPct val="0"/>
              </a:spcBef>
              <a:spcAft>
                <a:spcPct val="0"/>
              </a:spcAft>
              <a:buClr>
                <a:srgbClr val="505150"/>
              </a:buClr>
              <a:buSzPct val="88000"/>
              <a:defRPr/>
            </a:pPr>
            <a:r>
              <a:rPr lang="en-GB" sz="2000" b="1" kern="0" spc="10" noProof="0">
                <a:sym typeface="Droid Sans" charset="0"/>
              </a:rPr>
              <a:t>Travel and Expense Management</a:t>
            </a:r>
            <a:endParaRPr kumimoji="0" lang="en-GB" sz="2000" b="1" i="0" u="none" strike="noStrike" kern="0" cap="none" spc="10" normalizeH="0" baseline="0" noProof="0">
              <a:ln>
                <a:noFill/>
              </a:ln>
              <a:effectLst/>
              <a:uLnTx/>
              <a:uFillTx/>
              <a:latin typeface="Calibri" panose="020F0502020204030204"/>
              <a:ea typeface="+mn-ea"/>
              <a:cs typeface="+mn-cs"/>
              <a:sym typeface="Droid Sans" charset="0"/>
            </a:endParaRPr>
          </a:p>
        </p:txBody>
      </p:sp>
      <p:pic>
        <p:nvPicPr>
          <p:cNvPr id="35" name="Imagen 34" descr="Logotipo">
            <a:extLst>
              <a:ext uri="{FF2B5EF4-FFF2-40B4-BE49-F238E27FC236}">
                <a16:creationId xmlns:a16="http://schemas.microsoft.com/office/drawing/2014/main" id="{3646CAC4-8441-41A9-8687-057949D646C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9521" y="6176278"/>
            <a:ext cx="967300" cy="223700"/>
          </a:xfrm>
          <a:prstGeom prst="rect">
            <a:avLst/>
          </a:prstGeom>
        </p:spPr>
      </p:pic>
      <p:sp>
        <p:nvSpPr>
          <p:cNvPr id="54" name="CuadroTexto 53">
            <a:extLst>
              <a:ext uri="{FF2B5EF4-FFF2-40B4-BE49-F238E27FC236}">
                <a16:creationId xmlns:a16="http://schemas.microsoft.com/office/drawing/2014/main" id="{DFF51CEF-DA6F-40AE-0CEE-0258FEF849FE}"/>
              </a:ext>
            </a:extLst>
          </p:cNvPr>
          <p:cNvSpPr txBox="1"/>
          <p:nvPr/>
        </p:nvSpPr>
        <p:spPr>
          <a:xfrm>
            <a:off x="259520" y="1435058"/>
            <a:ext cx="2909207" cy="600164"/>
          </a:xfrm>
          <a:prstGeom prst="rect">
            <a:avLst/>
          </a:prstGeom>
        </p:spPr>
        <p:txBody>
          <a:bodyPr wrap="square" lIns="0" rIns="0" rtlCol="0">
            <a:spAutoFit/>
          </a:bodyPr>
          <a:lstStyle/>
          <a:p>
            <a:pPr lvl="0" algn="just" defTabSz="742950" fontAlgn="base">
              <a:spcBef>
                <a:spcPct val="0"/>
              </a:spcBef>
              <a:spcAft>
                <a:spcPct val="0"/>
              </a:spcAft>
              <a:buClr>
                <a:srgbClr val="505150"/>
              </a:buClr>
              <a:buSzPct val="88000"/>
              <a:defRPr/>
            </a:pPr>
            <a:r>
              <a:rPr lang="en-GB" sz="1100" spc="-20" noProof="0">
                <a:latin typeface="Calibri Light" panose="020F0302020204030204"/>
              </a:rPr>
              <a:t>Analysis of the overall situation of travel expenses, showing expenses by category, period, country, city and comparison with the Previous Period.</a:t>
            </a:r>
            <a:endParaRPr kumimoji="0" lang="en-GB" sz="1100" b="1" i="0" u="none" strike="noStrike" kern="0" cap="none" spc="0" normalizeH="0" baseline="0" noProof="0">
              <a:ln>
                <a:noFill/>
              </a:ln>
              <a:effectLst/>
              <a:uLnTx/>
              <a:uFillTx/>
              <a:latin typeface="Calibri" panose="020F0502020204030204"/>
              <a:ea typeface="+mn-ea"/>
              <a:cs typeface="+mn-cs"/>
              <a:sym typeface="Droid Sans" charset="0"/>
            </a:endParaRPr>
          </a:p>
        </p:txBody>
      </p:sp>
      <p:sp>
        <p:nvSpPr>
          <p:cNvPr id="37" name="CuadroTexto 36">
            <a:extLst>
              <a:ext uri="{FF2B5EF4-FFF2-40B4-BE49-F238E27FC236}">
                <a16:creationId xmlns:a16="http://schemas.microsoft.com/office/drawing/2014/main" id="{9CFA3BC3-F20C-B667-EF27-7CBEBC0B3497}"/>
              </a:ext>
            </a:extLst>
          </p:cNvPr>
          <p:cNvSpPr txBox="1"/>
          <p:nvPr/>
        </p:nvSpPr>
        <p:spPr>
          <a:xfrm>
            <a:off x="259519" y="2805178"/>
            <a:ext cx="2909208" cy="784830"/>
          </a:xfrm>
          <a:prstGeom prst="rect">
            <a:avLst/>
          </a:prstGeom>
        </p:spPr>
        <p:txBody>
          <a:bodyPr wrap="square" lIns="0" rIns="0" rtlCol="0">
            <a:spAutoFit/>
          </a:bodyPr>
          <a:lstStyle/>
          <a:p>
            <a:pPr lvl="0" defTabSz="742950" fontAlgn="base">
              <a:spcBef>
                <a:spcPct val="0"/>
              </a:spcBef>
              <a:spcAft>
                <a:spcPct val="0"/>
              </a:spcAft>
              <a:buClr>
                <a:srgbClr val="505150"/>
              </a:buClr>
              <a:buSzPct val="88000"/>
              <a:defRPr/>
            </a:pPr>
            <a:r>
              <a:rPr lang="en-GB" sz="1200" b="1" kern="0" noProof="0">
                <a:sym typeface="Droid Sans" charset="0"/>
              </a:rPr>
              <a:t>Reports</a:t>
            </a:r>
            <a:endParaRPr kumimoji="0" lang="en-GB" sz="1100" b="1" i="0" u="none" strike="noStrike" kern="0" cap="none" spc="0" normalizeH="0" baseline="0" noProof="0">
              <a:ln>
                <a:noFill/>
              </a:ln>
              <a:effectLst/>
              <a:uLnTx/>
              <a:uFillTx/>
              <a:latin typeface="Calibri" panose="020F0502020204030204"/>
              <a:ea typeface="+mn-ea"/>
              <a:cs typeface="+mn-cs"/>
              <a:sym typeface="Droid Sans" charset="0"/>
            </a:endParaRPr>
          </a:p>
          <a:p>
            <a:pPr lvl="0" algn="just" defTabSz="742950" fontAlgn="base">
              <a:spcBef>
                <a:spcPct val="0"/>
              </a:spcBef>
              <a:spcAft>
                <a:spcPct val="0"/>
              </a:spcAft>
              <a:buClr>
                <a:srgbClr val="505150"/>
              </a:buClr>
              <a:buSzPct val="88000"/>
              <a:defRPr/>
            </a:pPr>
            <a:r>
              <a:rPr lang="en-GB" sz="1100" spc="-20" noProof="0">
                <a:latin typeface="Calibri Light" panose="020F0302020204030204"/>
              </a:rPr>
              <a:t>Distribution of trip reports focusing on the amount claimed and approved for each employee in addition to the approval status of the trip report.</a:t>
            </a:r>
            <a:endParaRPr kumimoji="0" lang="en-GB" sz="1100" b="0" i="0" u="none" strike="noStrike" kern="1200" cap="none" spc="-20" normalizeH="0" baseline="0" noProof="0">
              <a:ln>
                <a:noFill/>
              </a:ln>
              <a:effectLst/>
              <a:uLnTx/>
              <a:uFillTx/>
              <a:latin typeface="Calibri Light" panose="020F0302020204030204"/>
              <a:ea typeface="+mn-ea"/>
              <a:cs typeface="+mn-cs"/>
            </a:endParaRPr>
          </a:p>
        </p:txBody>
      </p:sp>
      <p:sp>
        <p:nvSpPr>
          <p:cNvPr id="38" name="CuadroTexto 37">
            <a:extLst>
              <a:ext uri="{FF2B5EF4-FFF2-40B4-BE49-F238E27FC236}">
                <a16:creationId xmlns:a16="http://schemas.microsoft.com/office/drawing/2014/main" id="{7C0E7FDB-6497-8F9A-6649-A3510B2BE5F9}"/>
              </a:ext>
            </a:extLst>
          </p:cNvPr>
          <p:cNvSpPr txBox="1"/>
          <p:nvPr/>
        </p:nvSpPr>
        <p:spPr>
          <a:xfrm>
            <a:off x="259519" y="2193454"/>
            <a:ext cx="2909208" cy="615553"/>
          </a:xfrm>
          <a:prstGeom prst="rect">
            <a:avLst/>
          </a:prstGeom>
        </p:spPr>
        <p:txBody>
          <a:bodyPr wrap="square" lIns="0" rIns="0" rtlCol="0">
            <a:spAutoFit/>
          </a:bodyPr>
          <a:lstStyle/>
          <a:p>
            <a:pPr lvl="0" defTabSz="742950" fontAlgn="base">
              <a:spcBef>
                <a:spcPct val="0"/>
              </a:spcBef>
              <a:spcAft>
                <a:spcPct val="0"/>
              </a:spcAft>
              <a:buClr>
                <a:srgbClr val="505150"/>
              </a:buClr>
              <a:buSzPct val="88000"/>
              <a:defRPr/>
            </a:pPr>
            <a:r>
              <a:rPr lang="en-GB" sz="1200" b="1" kern="0" noProof="0">
                <a:sym typeface="Droid Sans" charset="0"/>
              </a:rPr>
              <a:t>Travel Expenses</a:t>
            </a:r>
          </a:p>
          <a:p>
            <a:pPr lvl="0" defTabSz="742950" fontAlgn="base">
              <a:spcBef>
                <a:spcPct val="0"/>
              </a:spcBef>
              <a:spcAft>
                <a:spcPct val="0"/>
              </a:spcAft>
              <a:buClr>
                <a:srgbClr val="505150"/>
              </a:buClr>
              <a:buSzPct val="88000"/>
              <a:defRPr/>
            </a:pPr>
            <a:r>
              <a:rPr lang="en-GB" sz="1100" spc="-20" noProof="0">
                <a:latin typeface="Calibri Light" panose="020F0302020204030204"/>
              </a:rPr>
              <a:t>Distribution of travel expenses by Supplier, Period, Payment Method and Category.</a:t>
            </a:r>
            <a:endParaRPr kumimoji="0" lang="en-GB" sz="800" b="0" i="0" u="none" strike="noStrike" kern="1200" cap="none" spc="-20" normalizeH="0" baseline="0" noProof="0">
              <a:ln>
                <a:noFill/>
              </a:ln>
              <a:effectLst/>
              <a:uLnTx/>
              <a:uFillTx/>
              <a:latin typeface="Calibri Light" panose="020F0302020204030204"/>
              <a:ea typeface="+mn-ea"/>
              <a:cs typeface="+mn-cs"/>
            </a:endParaRPr>
          </a:p>
        </p:txBody>
      </p:sp>
      <p:sp>
        <p:nvSpPr>
          <p:cNvPr id="40" name="CuadroTexto 39">
            <a:extLst>
              <a:ext uri="{FF2B5EF4-FFF2-40B4-BE49-F238E27FC236}">
                <a16:creationId xmlns:a16="http://schemas.microsoft.com/office/drawing/2014/main" id="{2E5039F2-6270-FEB7-6853-3E8F18F6C3FC}"/>
              </a:ext>
            </a:extLst>
          </p:cNvPr>
          <p:cNvSpPr txBox="1"/>
          <p:nvPr/>
        </p:nvSpPr>
        <p:spPr>
          <a:xfrm>
            <a:off x="259520" y="3644791"/>
            <a:ext cx="2909208" cy="615553"/>
          </a:xfrm>
          <a:prstGeom prst="rect">
            <a:avLst/>
          </a:prstGeom>
        </p:spPr>
        <p:txBody>
          <a:bodyPr wrap="square" lIns="0" rIns="0" rtlCol="0">
            <a:spAutoFit/>
          </a:bodyPr>
          <a:lstStyle/>
          <a:p>
            <a:pPr lvl="0" defTabSz="742950" fontAlgn="base">
              <a:spcBef>
                <a:spcPct val="0"/>
              </a:spcBef>
              <a:spcAft>
                <a:spcPct val="0"/>
              </a:spcAft>
              <a:buClr>
                <a:srgbClr val="505150"/>
              </a:buClr>
              <a:buSzPct val="88000"/>
              <a:defRPr/>
            </a:pPr>
            <a:r>
              <a:rPr lang="en-GB" sz="1200" b="1" kern="0" noProof="0">
                <a:sym typeface="Droid Sans" charset="0"/>
              </a:rPr>
              <a:t>Detail Records</a:t>
            </a:r>
          </a:p>
          <a:p>
            <a:pPr lvl="0" defTabSz="742950" fontAlgn="base">
              <a:spcBef>
                <a:spcPct val="0"/>
              </a:spcBef>
              <a:spcAft>
                <a:spcPct val="0"/>
              </a:spcAft>
              <a:buClr>
                <a:srgbClr val="505150"/>
              </a:buClr>
              <a:buSzPct val="88000"/>
              <a:defRPr/>
            </a:pPr>
            <a:r>
              <a:rPr lang="en-GB" sz="1100" spc="-20" noProof="0">
                <a:latin typeface="Calibri Light" panose="020F0302020204030204"/>
              </a:rPr>
              <a:t>Detailed report of all trips by records, type of expense, supplier, country, location and date.</a:t>
            </a:r>
            <a:endParaRPr kumimoji="0" lang="en-GB" sz="1400" b="0" i="0" u="none" strike="noStrike" kern="0" cap="none" spc="0" normalizeH="0" baseline="0" noProof="0">
              <a:ln>
                <a:noFill/>
              </a:ln>
              <a:effectLst/>
              <a:uLnTx/>
              <a:uFillTx/>
              <a:latin typeface="Calibri" panose="020F0502020204030204"/>
              <a:ea typeface="+mn-ea"/>
              <a:cs typeface="+mn-cs"/>
              <a:sym typeface="Droid Sans" charset="0"/>
            </a:endParaRPr>
          </a:p>
        </p:txBody>
      </p:sp>
      <p:sp>
        <p:nvSpPr>
          <p:cNvPr id="42" name="CuadroTexto 41">
            <a:extLst>
              <a:ext uri="{FF2B5EF4-FFF2-40B4-BE49-F238E27FC236}">
                <a16:creationId xmlns:a16="http://schemas.microsoft.com/office/drawing/2014/main" id="{154B0EAF-71CC-ED73-676F-DD036277A0DA}"/>
              </a:ext>
            </a:extLst>
          </p:cNvPr>
          <p:cNvSpPr txBox="1"/>
          <p:nvPr/>
        </p:nvSpPr>
        <p:spPr>
          <a:xfrm>
            <a:off x="259520" y="4354341"/>
            <a:ext cx="2909207" cy="784830"/>
          </a:xfrm>
          <a:prstGeom prst="rect">
            <a:avLst/>
          </a:prstGeom>
        </p:spPr>
        <p:txBody>
          <a:bodyPr wrap="square" lIns="0" rIns="0" rtlCol="0">
            <a:spAutoFit/>
          </a:bodyPr>
          <a:lstStyle/>
          <a:p>
            <a:pPr lvl="0" defTabSz="742950" fontAlgn="base">
              <a:spcBef>
                <a:spcPct val="0"/>
              </a:spcBef>
              <a:spcAft>
                <a:spcPct val="0"/>
              </a:spcAft>
              <a:buClr>
                <a:srgbClr val="505150"/>
              </a:buClr>
              <a:buSzPct val="88000"/>
              <a:defRPr/>
            </a:pPr>
            <a:r>
              <a:rPr lang="en-GB" sz="1200" b="1" kern="0" noProof="0">
                <a:sym typeface="Droid Sans" charset="0"/>
              </a:rPr>
              <a:t>Approval of Expenses</a:t>
            </a:r>
          </a:p>
          <a:p>
            <a:pPr lvl="0" defTabSz="742950" fontAlgn="base">
              <a:spcBef>
                <a:spcPct val="0"/>
              </a:spcBef>
              <a:spcAft>
                <a:spcPct val="0"/>
              </a:spcAft>
              <a:buClr>
                <a:srgbClr val="505150"/>
              </a:buClr>
              <a:buSzPct val="88000"/>
              <a:defRPr/>
            </a:pPr>
            <a:r>
              <a:rPr lang="en-GB" sz="1100" spc="-20" noProof="0">
                <a:latin typeface="Calibri Light" panose="020F0302020204030204"/>
              </a:rPr>
              <a:t>Detailed analysis of the expense approval process, highlighting the time between each phase of the process and its evolution over time.</a:t>
            </a:r>
            <a:endParaRPr kumimoji="0" lang="en-GB" sz="1100" b="0" i="0" u="none" strike="noStrike" kern="1200" cap="none" spc="-20" normalizeH="0" baseline="0" noProof="0">
              <a:ln>
                <a:noFill/>
              </a:ln>
              <a:effectLst/>
              <a:uLnTx/>
              <a:uFillTx/>
              <a:latin typeface="Calibri Light" panose="020F0302020204030204"/>
              <a:ea typeface="+mn-ea"/>
              <a:cs typeface="+mn-cs"/>
            </a:endParaRPr>
          </a:p>
        </p:txBody>
      </p:sp>
      <p:grpSp>
        <p:nvGrpSpPr>
          <p:cNvPr id="13" name="Grupo 12">
            <a:extLst>
              <a:ext uri="{FF2B5EF4-FFF2-40B4-BE49-F238E27FC236}">
                <a16:creationId xmlns:a16="http://schemas.microsoft.com/office/drawing/2014/main" id="{2316CAE3-90BF-9ADE-9CD3-832CCB0F15FF}"/>
              </a:ext>
            </a:extLst>
          </p:cNvPr>
          <p:cNvGrpSpPr/>
          <p:nvPr/>
        </p:nvGrpSpPr>
        <p:grpSpPr>
          <a:xfrm>
            <a:off x="3445034" y="2704580"/>
            <a:ext cx="3279508" cy="3693398"/>
            <a:chOff x="3314119" y="2651693"/>
            <a:chExt cx="3181931" cy="3583506"/>
          </a:xfrm>
        </p:grpSpPr>
        <p:pic>
          <p:nvPicPr>
            <p:cNvPr id="7" name="Imagen 6">
              <a:extLst>
                <a:ext uri="{FF2B5EF4-FFF2-40B4-BE49-F238E27FC236}">
                  <a16:creationId xmlns:a16="http://schemas.microsoft.com/office/drawing/2014/main" id="{DE95404B-321E-5B24-0E4B-06CD36010DF6}"/>
                </a:ext>
              </a:extLst>
            </p:cNvPr>
            <p:cNvPicPr>
              <a:picLocks noChangeAspect="1"/>
            </p:cNvPicPr>
            <p:nvPr/>
          </p:nvPicPr>
          <p:blipFill>
            <a:blip r:embed="rId4"/>
            <a:stretch>
              <a:fillRect/>
            </a:stretch>
          </p:blipFill>
          <p:spPr>
            <a:xfrm>
              <a:off x="3314119" y="4445363"/>
              <a:ext cx="3181931" cy="1789836"/>
            </a:xfrm>
            <a:prstGeom prst="rect">
              <a:avLst/>
            </a:prstGeom>
          </p:spPr>
        </p:pic>
        <p:pic>
          <p:nvPicPr>
            <p:cNvPr id="9" name="Imagen 8">
              <a:extLst>
                <a:ext uri="{FF2B5EF4-FFF2-40B4-BE49-F238E27FC236}">
                  <a16:creationId xmlns:a16="http://schemas.microsoft.com/office/drawing/2014/main" id="{F5C0AA2F-44D2-C3CB-94B5-81468AAC86BC}"/>
                </a:ext>
              </a:extLst>
            </p:cNvPr>
            <p:cNvPicPr>
              <a:picLocks noChangeAspect="1"/>
            </p:cNvPicPr>
            <p:nvPr/>
          </p:nvPicPr>
          <p:blipFill>
            <a:blip r:embed="rId5"/>
            <a:stretch>
              <a:fillRect/>
            </a:stretch>
          </p:blipFill>
          <p:spPr>
            <a:xfrm>
              <a:off x="3314119" y="2651693"/>
              <a:ext cx="3181931" cy="1789836"/>
            </a:xfrm>
            <a:prstGeom prst="rect">
              <a:avLst/>
            </a:prstGeom>
          </p:spPr>
        </p:pic>
      </p:grpSp>
      <p:pic>
        <p:nvPicPr>
          <p:cNvPr id="5" name="Imagen 4">
            <a:extLst>
              <a:ext uri="{FF2B5EF4-FFF2-40B4-BE49-F238E27FC236}">
                <a16:creationId xmlns:a16="http://schemas.microsoft.com/office/drawing/2014/main" id="{1E860EDA-C40C-F150-AE0E-2727B46E267F}"/>
              </a:ext>
            </a:extLst>
          </p:cNvPr>
          <p:cNvPicPr>
            <a:picLocks noChangeAspect="1"/>
          </p:cNvPicPr>
          <p:nvPr/>
        </p:nvPicPr>
        <p:blipFill>
          <a:blip r:embed="rId6"/>
          <a:stretch>
            <a:fillRect/>
          </a:stretch>
        </p:blipFill>
        <p:spPr>
          <a:xfrm>
            <a:off x="7000852" y="861856"/>
            <a:ext cx="4926948" cy="2771409"/>
          </a:xfrm>
          <a:prstGeom prst="rect">
            <a:avLst/>
          </a:prstGeom>
        </p:spPr>
      </p:pic>
      <p:pic>
        <p:nvPicPr>
          <p:cNvPr id="3" name="Imagen 2">
            <a:extLst>
              <a:ext uri="{FF2B5EF4-FFF2-40B4-BE49-F238E27FC236}">
                <a16:creationId xmlns:a16="http://schemas.microsoft.com/office/drawing/2014/main" id="{C8E1AACE-7AD6-613D-7321-BFB0ACC60FDF}"/>
              </a:ext>
            </a:extLst>
          </p:cNvPr>
          <p:cNvPicPr>
            <a:picLocks noChangeAspect="1"/>
          </p:cNvPicPr>
          <p:nvPr/>
        </p:nvPicPr>
        <p:blipFill>
          <a:blip r:embed="rId7"/>
          <a:stretch>
            <a:fillRect/>
          </a:stretch>
        </p:blipFill>
        <p:spPr>
          <a:xfrm>
            <a:off x="3445035" y="1236963"/>
            <a:ext cx="3279507" cy="1823757"/>
          </a:xfrm>
          <a:prstGeom prst="rect">
            <a:avLst/>
          </a:prstGeom>
        </p:spPr>
      </p:pic>
      <p:pic>
        <p:nvPicPr>
          <p:cNvPr id="8" name="Imagen 7">
            <a:extLst>
              <a:ext uri="{FF2B5EF4-FFF2-40B4-BE49-F238E27FC236}">
                <a16:creationId xmlns:a16="http://schemas.microsoft.com/office/drawing/2014/main" id="{91666650-373D-FFB1-86AD-00A4E3376D39}"/>
              </a:ext>
            </a:extLst>
          </p:cNvPr>
          <p:cNvPicPr>
            <a:picLocks noChangeAspect="1"/>
          </p:cNvPicPr>
          <p:nvPr/>
        </p:nvPicPr>
        <p:blipFill>
          <a:blip r:embed="rId8"/>
          <a:stretch>
            <a:fillRect/>
          </a:stretch>
        </p:blipFill>
        <p:spPr>
          <a:xfrm>
            <a:off x="7021400" y="3626569"/>
            <a:ext cx="4906400" cy="2771409"/>
          </a:xfrm>
          <a:prstGeom prst="rect">
            <a:avLst/>
          </a:prstGeom>
        </p:spPr>
      </p:pic>
      <p:sp>
        <p:nvSpPr>
          <p:cNvPr id="2" name="TextBox 12">
            <a:extLst>
              <a:ext uri="{FF2B5EF4-FFF2-40B4-BE49-F238E27FC236}">
                <a16:creationId xmlns:a16="http://schemas.microsoft.com/office/drawing/2014/main" id="{92CFB37A-AE62-C152-69C9-61B5B27E919D}"/>
              </a:ext>
            </a:extLst>
          </p:cNvPr>
          <p:cNvSpPr txBox="1"/>
          <p:nvPr/>
        </p:nvSpPr>
        <p:spPr>
          <a:xfrm>
            <a:off x="4126543" y="841425"/>
            <a:ext cx="3495097"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200" normalizeH="0" baseline="0" noProof="0">
                <a:ln>
                  <a:noFill/>
                </a:ln>
                <a:solidFill>
                  <a:srgbClr val="494949"/>
                </a:solidFill>
                <a:effectLst/>
                <a:uLnTx/>
                <a:uFillTx/>
                <a:latin typeface="Calibri" panose="020F0502020204030204" pitchFamily="34" charset="0"/>
                <a:ea typeface="+mn-ea"/>
                <a:cs typeface="Calibri" panose="020F0502020204030204" pitchFamily="34" charset="0"/>
              </a:rPr>
              <a:t>TRAVEL EXPENSES
</a:t>
            </a:r>
          </a:p>
        </p:txBody>
      </p:sp>
      <p:sp>
        <p:nvSpPr>
          <p:cNvPr id="4" name="Google Shape;539;p26">
            <a:extLst>
              <a:ext uri="{FF2B5EF4-FFF2-40B4-BE49-F238E27FC236}">
                <a16:creationId xmlns:a16="http://schemas.microsoft.com/office/drawing/2014/main" id="{C1CC263C-F236-63F8-B9D9-E30DEEB5C5C6}"/>
              </a:ext>
            </a:extLst>
          </p:cNvPr>
          <p:cNvSpPr/>
          <p:nvPr/>
        </p:nvSpPr>
        <p:spPr>
          <a:xfrm>
            <a:off x="3445034" y="765133"/>
            <a:ext cx="248409" cy="289125"/>
          </a:xfrm>
          <a:custGeom>
            <a:avLst/>
            <a:gdLst/>
            <a:ahLst/>
            <a:cxnLst/>
            <a:rect l="l" t="t" r="r" b="b"/>
            <a:pathLst>
              <a:path w="6455" h="7513" extrusionOk="0">
                <a:moveTo>
                  <a:pt x="3216" y="1834"/>
                </a:moveTo>
                <a:cubicBezTo>
                  <a:pt x="3597" y="1834"/>
                  <a:pt x="3894" y="2012"/>
                  <a:pt x="4109" y="2369"/>
                </a:cubicBezTo>
                <a:cubicBezTo>
                  <a:pt x="4335" y="2727"/>
                  <a:pt x="4454" y="3191"/>
                  <a:pt x="4454" y="3762"/>
                </a:cubicBezTo>
                <a:cubicBezTo>
                  <a:pt x="4454" y="4346"/>
                  <a:pt x="4335" y="4810"/>
                  <a:pt x="4109" y="5167"/>
                </a:cubicBezTo>
                <a:cubicBezTo>
                  <a:pt x="3871" y="5525"/>
                  <a:pt x="3573" y="5703"/>
                  <a:pt x="3216" y="5703"/>
                </a:cubicBezTo>
                <a:cubicBezTo>
                  <a:pt x="2847" y="5703"/>
                  <a:pt x="2537" y="5525"/>
                  <a:pt x="2311" y="5167"/>
                </a:cubicBezTo>
                <a:cubicBezTo>
                  <a:pt x="2085" y="4810"/>
                  <a:pt x="1966" y="4346"/>
                  <a:pt x="1966" y="3762"/>
                </a:cubicBezTo>
                <a:cubicBezTo>
                  <a:pt x="1966" y="3191"/>
                  <a:pt x="2085" y="2727"/>
                  <a:pt x="2311" y="2369"/>
                </a:cubicBezTo>
                <a:cubicBezTo>
                  <a:pt x="2537" y="2012"/>
                  <a:pt x="2847" y="1834"/>
                  <a:pt x="3216" y="1834"/>
                </a:cubicBezTo>
                <a:close/>
                <a:moveTo>
                  <a:pt x="3216" y="0"/>
                </a:moveTo>
                <a:cubicBezTo>
                  <a:pt x="2763" y="0"/>
                  <a:pt x="2347" y="95"/>
                  <a:pt x="1942" y="286"/>
                </a:cubicBezTo>
                <a:cubicBezTo>
                  <a:pt x="1537" y="476"/>
                  <a:pt x="1192" y="750"/>
                  <a:pt x="918" y="1072"/>
                </a:cubicBezTo>
                <a:cubicBezTo>
                  <a:pt x="632" y="1417"/>
                  <a:pt x="406" y="1798"/>
                  <a:pt x="239" y="2262"/>
                </a:cubicBezTo>
                <a:cubicBezTo>
                  <a:pt x="84" y="2727"/>
                  <a:pt x="1" y="3215"/>
                  <a:pt x="1" y="3762"/>
                </a:cubicBezTo>
                <a:cubicBezTo>
                  <a:pt x="1" y="4322"/>
                  <a:pt x="84" y="4810"/>
                  <a:pt x="239" y="5275"/>
                </a:cubicBezTo>
                <a:cubicBezTo>
                  <a:pt x="406" y="5727"/>
                  <a:pt x="632" y="6132"/>
                  <a:pt x="918" y="6465"/>
                </a:cubicBezTo>
                <a:cubicBezTo>
                  <a:pt x="1192" y="6787"/>
                  <a:pt x="1537" y="7060"/>
                  <a:pt x="1942" y="7239"/>
                </a:cubicBezTo>
                <a:cubicBezTo>
                  <a:pt x="2323" y="7430"/>
                  <a:pt x="2763" y="7513"/>
                  <a:pt x="3216" y="7513"/>
                </a:cubicBezTo>
                <a:cubicBezTo>
                  <a:pt x="3680" y="7513"/>
                  <a:pt x="4109" y="7418"/>
                  <a:pt x="4502" y="7239"/>
                </a:cubicBezTo>
                <a:cubicBezTo>
                  <a:pt x="4883" y="7060"/>
                  <a:pt x="5228" y="6787"/>
                  <a:pt x="5514" y="6465"/>
                </a:cubicBezTo>
                <a:cubicBezTo>
                  <a:pt x="5811" y="6120"/>
                  <a:pt x="6037" y="5727"/>
                  <a:pt x="6192" y="5275"/>
                </a:cubicBezTo>
                <a:cubicBezTo>
                  <a:pt x="6359" y="4810"/>
                  <a:pt x="6454" y="4322"/>
                  <a:pt x="6454" y="3762"/>
                </a:cubicBezTo>
                <a:cubicBezTo>
                  <a:pt x="6454" y="3227"/>
                  <a:pt x="6359" y="2727"/>
                  <a:pt x="6192" y="2262"/>
                </a:cubicBezTo>
                <a:cubicBezTo>
                  <a:pt x="6037" y="1798"/>
                  <a:pt x="5799" y="1405"/>
                  <a:pt x="5514" y="1072"/>
                </a:cubicBezTo>
                <a:cubicBezTo>
                  <a:pt x="5228" y="726"/>
                  <a:pt x="4883" y="476"/>
                  <a:pt x="4502" y="286"/>
                </a:cubicBezTo>
                <a:cubicBezTo>
                  <a:pt x="4109" y="95"/>
                  <a:pt x="3680" y="0"/>
                  <a:pt x="3216" y="0"/>
                </a:cubicBezTo>
                <a:close/>
              </a:path>
            </a:pathLst>
          </a:custGeom>
          <a:solidFill>
            <a:srgbClr val="ED7D3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Google Shape;540;p26">
            <a:extLst>
              <a:ext uri="{FF2B5EF4-FFF2-40B4-BE49-F238E27FC236}">
                <a16:creationId xmlns:a16="http://schemas.microsoft.com/office/drawing/2014/main" id="{D10DF92A-47C6-71F5-D69F-05DB4A8B69B5}"/>
              </a:ext>
            </a:extLst>
          </p:cNvPr>
          <p:cNvSpPr/>
          <p:nvPr/>
        </p:nvSpPr>
        <p:spPr>
          <a:xfrm>
            <a:off x="3723615" y="777949"/>
            <a:ext cx="246138" cy="276310"/>
          </a:xfrm>
          <a:custGeom>
            <a:avLst/>
            <a:gdLst/>
            <a:ahLst/>
            <a:cxnLst/>
            <a:rect l="l" t="t" r="r" b="b"/>
            <a:pathLst>
              <a:path w="6467" h="8633" extrusionOk="0">
                <a:moveTo>
                  <a:pt x="3632" y="2977"/>
                </a:moveTo>
                <a:lnTo>
                  <a:pt x="3632" y="5156"/>
                </a:lnTo>
                <a:lnTo>
                  <a:pt x="1954" y="5156"/>
                </a:lnTo>
                <a:lnTo>
                  <a:pt x="3632" y="2977"/>
                </a:lnTo>
                <a:close/>
                <a:moveTo>
                  <a:pt x="4037" y="0"/>
                </a:moveTo>
                <a:lnTo>
                  <a:pt x="1" y="5156"/>
                </a:lnTo>
                <a:lnTo>
                  <a:pt x="1" y="6930"/>
                </a:lnTo>
                <a:lnTo>
                  <a:pt x="3394" y="6930"/>
                </a:lnTo>
                <a:lnTo>
                  <a:pt x="3394" y="8632"/>
                </a:lnTo>
                <a:lnTo>
                  <a:pt x="5383" y="8632"/>
                </a:lnTo>
                <a:lnTo>
                  <a:pt x="5383" y="6930"/>
                </a:lnTo>
                <a:lnTo>
                  <a:pt x="6466" y="6930"/>
                </a:lnTo>
                <a:lnTo>
                  <a:pt x="6466" y="5144"/>
                </a:lnTo>
                <a:lnTo>
                  <a:pt x="5383" y="5144"/>
                </a:lnTo>
                <a:lnTo>
                  <a:pt x="5383" y="0"/>
                </a:lnTo>
                <a:close/>
              </a:path>
            </a:pathLst>
          </a:custGeom>
          <a:solidFill>
            <a:srgbClr val="ED7D3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4" name="Rectángulo 13">
            <a:extLst>
              <a:ext uri="{FF2B5EF4-FFF2-40B4-BE49-F238E27FC236}">
                <a16:creationId xmlns:a16="http://schemas.microsoft.com/office/drawing/2014/main" id="{BE2542BB-3FDD-EFDA-280A-24BDF8DF5D6B}"/>
              </a:ext>
            </a:extLst>
          </p:cNvPr>
          <p:cNvSpPr/>
          <p:nvPr/>
        </p:nvSpPr>
        <p:spPr>
          <a:xfrm>
            <a:off x="568821" y="97286"/>
            <a:ext cx="10901128" cy="276999"/>
          </a:xfrm>
          <a:prstGeom prst="rect">
            <a:avLst/>
          </a:prstGeom>
        </p:spPr>
        <p:txBody>
          <a:bodyPr wrap="square" lIns="91440" tIns="45720" rIns="91440" bIns="45720" anchor="t">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300" normalizeH="0" baseline="0" noProof="0">
                <a:ln>
                  <a:noFill/>
                </a:ln>
                <a:solidFill>
                  <a:prstClr val="white"/>
                </a:solidFill>
                <a:effectLst/>
                <a:uLnTx/>
                <a:uFillTx/>
                <a:latin typeface="Arial"/>
                <a:ea typeface="+mn-ea"/>
                <a:cs typeface="+mn-cs"/>
              </a:rPr>
              <a:t>GLOBAL SPEND – TRAVEL EXPENSES (CONCUR)</a:t>
            </a:r>
          </a:p>
        </p:txBody>
      </p:sp>
      <p:sp>
        <p:nvSpPr>
          <p:cNvPr id="10" name="Rectángulo 9">
            <a:extLst>
              <a:ext uri="{FF2B5EF4-FFF2-40B4-BE49-F238E27FC236}">
                <a16:creationId xmlns:a16="http://schemas.microsoft.com/office/drawing/2014/main" id="{128A27DB-BEAE-B52A-D059-3ECFDFE6A321}"/>
              </a:ext>
            </a:extLst>
          </p:cNvPr>
          <p:cNvSpPr/>
          <p:nvPr/>
        </p:nvSpPr>
        <p:spPr bwMode="auto">
          <a:xfrm>
            <a:off x="0" y="0"/>
            <a:ext cx="9480376" cy="620688"/>
          </a:xfrm>
          <a:prstGeom prst="rect">
            <a:avLst/>
          </a:prstGeom>
          <a:gradFill>
            <a:gsLst>
              <a:gs pos="50000">
                <a:schemeClr val="accent2"/>
              </a:gs>
              <a:gs pos="100000">
                <a:schemeClr val="bg1"/>
              </a:gs>
            </a:gsLst>
            <a:lin ang="0" scaled="1"/>
          </a:gradFill>
          <a:ln w="9525">
            <a:noFill/>
            <a:round/>
            <a:headEnd/>
            <a:tailEnd/>
          </a:ln>
        </p:spPr>
        <p:txBody>
          <a:bodyPr vert="horz" wrap="square" lIns="91440" tIns="45720" rIns="91440" bIns="45720" numCol="1" rtlCol="0" anchor="t" anchorCtr="0" compatLnSpc="1">
            <a:prstTxWarp prst="textNoShape">
              <a:avLst/>
            </a:prstTxWarp>
          </a:bodyPr>
          <a:lstStyle/>
          <a:p>
            <a:pPr algn="ctr"/>
            <a:endParaRPr lang="en-GB" noProof="0"/>
          </a:p>
        </p:txBody>
      </p:sp>
      <p:sp>
        <p:nvSpPr>
          <p:cNvPr id="11" name="Título 1">
            <a:extLst>
              <a:ext uri="{FF2B5EF4-FFF2-40B4-BE49-F238E27FC236}">
                <a16:creationId xmlns:a16="http://schemas.microsoft.com/office/drawing/2014/main" id="{29EAE949-16E0-AC51-405A-DCDE9C02665D}"/>
              </a:ext>
            </a:extLst>
          </p:cNvPr>
          <p:cNvSpPr>
            <a:spLocks noGrp="1"/>
          </p:cNvSpPr>
          <p:nvPr>
            <p:ph type="title"/>
          </p:nvPr>
        </p:nvSpPr>
        <p:spPr>
          <a:xfrm>
            <a:off x="191344" y="116632"/>
            <a:ext cx="10515600" cy="365721"/>
          </a:xfrm>
        </p:spPr>
        <p:txBody>
          <a:bodyPr anchor="ctr">
            <a:noAutofit/>
          </a:bodyPr>
          <a:lstStyle/>
          <a:p>
            <a:r>
              <a:rPr lang="en-GB" sz="2462" noProof="0">
                <a:solidFill>
                  <a:schemeClr val="bg1"/>
                </a:solidFill>
                <a:latin typeface="+mn-lt"/>
              </a:rPr>
              <a:t>Global Spend – Accelerators – Travel Expenses (Concur)</a:t>
            </a:r>
          </a:p>
        </p:txBody>
      </p:sp>
    </p:spTree>
    <p:extLst>
      <p:ext uri="{BB962C8B-B14F-4D97-AF65-F5344CB8AC3E}">
        <p14:creationId xmlns:p14="http://schemas.microsoft.com/office/powerpoint/2010/main" val="157147474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 name="Picture 2" descr="Inicio - Naturgy">
            <a:extLst>
              <a:ext uri="{FF2B5EF4-FFF2-40B4-BE49-F238E27FC236}">
                <a16:creationId xmlns:a16="http://schemas.microsoft.com/office/drawing/2014/main" id="{8F652E80-602B-BA2F-8DD8-6F59A252613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971729" y="839386"/>
            <a:ext cx="1220271" cy="283300"/>
          </a:xfrm>
          <a:prstGeom prst="rect">
            <a:avLst/>
          </a:prstGeom>
          <a:noFill/>
          <a:extLst>
            <a:ext uri="{909E8E84-426E-40DD-AFC4-6F175D3DCCD1}">
              <a14:hiddenFill xmlns:a14="http://schemas.microsoft.com/office/drawing/2010/main">
                <a:solidFill>
                  <a:srgbClr val="FFFFFF"/>
                </a:solidFill>
              </a14:hiddenFill>
            </a:ext>
          </a:extLst>
        </p:spPr>
      </p:pic>
      <p:pic>
        <p:nvPicPr>
          <p:cNvPr id="4108" name="Picture 12" descr="XIMENEZ - cordobaactiva">
            <a:extLst>
              <a:ext uri="{FF2B5EF4-FFF2-40B4-BE49-F238E27FC236}">
                <a16:creationId xmlns:a16="http://schemas.microsoft.com/office/drawing/2014/main" id="{0731BD99-DD59-40D1-B841-BC11F473408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08520" y="3667296"/>
            <a:ext cx="500673" cy="500673"/>
          </a:xfrm>
          <a:prstGeom prst="rect">
            <a:avLst/>
          </a:prstGeom>
          <a:noFill/>
          <a:extLst>
            <a:ext uri="{909E8E84-426E-40DD-AFC4-6F175D3DCCD1}">
              <a14:hiddenFill xmlns:a14="http://schemas.microsoft.com/office/drawing/2010/main">
                <a:solidFill>
                  <a:srgbClr val="FFFFFF"/>
                </a:solidFill>
              </a14:hiddenFill>
            </a:ext>
          </a:extLst>
        </p:spPr>
      </p:pic>
      <p:sp>
        <p:nvSpPr>
          <p:cNvPr id="63" name="55 CuadroTexto">
            <a:extLst>
              <a:ext uri="{FF2B5EF4-FFF2-40B4-BE49-F238E27FC236}">
                <a16:creationId xmlns:a16="http://schemas.microsoft.com/office/drawing/2014/main" id="{878CF585-4D75-49BC-A341-85BEB0F16478}"/>
              </a:ext>
            </a:extLst>
          </p:cNvPr>
          <p:cNvSpPr txBox="1"/>
          <p:nvPr/>
        </p:nvSpPr>
        <p:spPr>
          <a:xfrm>
            <a:off x="170473" y="922938"/>
            <a:ext cx="2466254" cy="340734"/>
          </a:xfrm>
          <a:prstGeom prst="rect">
            <a:avLst/>
          </a:prstGeom>
          <a:noFill/>
        </p:spPr>
        <p:txBody>
          <a:bodyPr wrap="square" rtlCol="0" anchor="ctr">
            <a:spAutoFit/>
          </a:bodyPr>
          <a:lstStyle/>
          <a:p>
            <a:pPr lvl="0">
              <a:lnSpc>
                <a:spcPct val="150000"/>
              </a:lnSpc>
              <a:defRPr/>
            </a:pPr>
            <a:r>
              <a:rPr lang="en-GB" sz="1200" b="1" noProof="0">
                <a:solidFill>
                  <a:prstClr val="black"/>
                </a:solidFill>
              </a:rPr>
              <a:t>Purchasing, savings and time</a:t>
            </a:r>
            <a:endParaRPr kumimoji="0" lang="en-GB" sz="12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CuadroTexto 2">
            <a:extLst>
              <a:ext uri="{FF2B5EF4-FFF2-40B4-BE49-F238E27FC236}">
                <a16:creationId xmlns:a16="http://schemas.microsoft.com/office/drawing/2014/main" id="{AB573626-716D-4123-B9B0-BD89B60A9632}"/>
              </a:ext>
            </a:extLst>
          </p:cNvPr>
          <p:cNvSpPr txBox="1"/>
          <p:nvPr/>
        </p:nvSpPr>
        <p:spPr>
          <a:xfrm>
            <a:off x="272069" y="3056467"/>
            <a:ext cx="2648160" cy="31745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6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CuadroTexto 67">
            <a:extLst>
              <a:ext uri="{FF2B5EF4-FFF2-40B4-BE49-F238E27FC236}">
                <a16:creationId xmlns:a16="http://schemas.microsoft.com/office/drawing/2014/main" id="{3D185774-8569-42F4-8F26-FF1ED63975E0}"/>
              </a:ext>
            </a:extLst>
          </p:cNvPr>
          <p:cNvSpPr txBox="1"/>
          <p:nvPr/>
        </p:nvSpPr>
        <p:spPr>
          <a:xfrm>
            <a:off x="3188014" y="2811851"/>
            <a:ext cx="2851414" cy="448392"/>
          </a:xfrm>
          <a:prstGeom prst="rect">
            <a:avLst/>
          </a:prstGeom>
          <a:noFill/>
        </p:spPr>
        <p:txBody>
          <a:bodyPr wrap="square" rtlCol="0">
            <a:spAutoFit/>
          </a:bodyPr>
          <a:lstStyle/>
          <a:p>
            <a:pPr marL="38098" lvl="1" algn="just" defTabSz="685765">
              <a:lnSpc>
                <a:spcPct val="150000"/>
              </a:lnSpc>
              <a:spcAft>
                <a:spcPts val="488"/>
              </a:spcAft>
              <a:buClr>
                <a:srgbClr val="C8E3E7"/>
              </a:buClr>
              <a:defRPr/>
            </a:pPr>
            <a:r>
              <a:rPr lang="en-GB" sz="813" noProof="0">
                <a:solidFill>
                  <a:srgbClr val="494949"/>
                </a:solidFill>
                <a:sym typeface="Helvetica Light"/>
              </a:rPr>
              <a:t>Relationship of the purchase flow and comparison with Stock and sales of pharmaceutical products. Data from BW4HANA.</a:t>
            </a:r>
            <a:endParaRPr kumimoji="0" lang="en-GB" sz="813" b="0" i="0" u="none" strike="noStrike" kern="1200" cap="none" spc="0" normalizeH="0" baseline="0" noProof="0">
              <a:ln>
                <a:noFill/>
              </a:ln>
              <a:solidFill>
                <a:srgbClr val="494949"/>
              </a:solidFill>
              <a:effectLst/>
              <a:uLnTx/>
              <a:uFillTx/>
              <a:latin typeface="Calibri" panose="020F0502020204030204"/>
              <a:ea typeface="+mn-ea"/>
              <a:cs typeface="+mn-cs"/>
              <a:sym typeface="Helvetica Light"/>
            </a:endParaRPr>
          </a:p>
        </p:txBody>
      </p:sp>
      <p:sp>
        <p:nvSpPr>
          <p:cNvPr id="69" name="CuadroTexto 68">
            <a:extLst>
              <a:ext uri="{FF2B5EF4-FFF2-40B4-BE49-F238E27FC236}">
                <a16:creationId xmlns:a16="http://schemas.microsoft.com/office/drawing/2014/main" id="{A75F376B-9D91-4169-9BA3-A9FE5F242002}"/>
              </a:ext>
            </a:extLst>
          </p:cNvPr>
          <p:cNvSpPr txBox="1"/>
          <p:nvPr/>
        </p:nvSpPr>
        <p:spPr>
          <a:xfrm>
            <a:off x="210933" y="2814072"/>
            <a:ext cx="2709295" cy="636072"/>
          </a:xfrm>
          <a:prstGeom prst="rect">
            <a:avLst/>
          </a:prstGeom>
          <a:noFill/>
        </p:spPr>
        <p:txBody>
          <a:bodyPr wrap="square" rtlCol="0">
            <a:spAutoFit/>
          </a:bodyPr>
          <a:lstStyle/>
          <a:p>
            <a:pPr lvl="0" algn="just">
              <a:lnSpc>
                <a:spcPct val="150000"/>
              </a:lnSpc>
              <a:defRPr/>
            </a:pPr>
            <a:r>
              <a:rPr lang="en-GB" sz="813" noProof="0">
                <a:solidFill>
                  <a:srgbClr val="19242F"/>
                </a:solidFill>
                <a:cs typeface="Droid Sans" charset="0"/>
                <a:sym typeface="Droid Sans" charset="0"/>
              </a:rPr>
              <a:t>Analysis of purchases of products and services, by supplier Identification of order savings and visualization of purchasing process times. Data from S4HANA.</a:t>
            </a:r>
            <a:endParaRPr kumimoji="0" lang="en-GB" sz="813"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55 CuadroTexto">
            <a:extLst>
              <a:ext uri="{FF2B5EF4-FFF2-40B4-BE49-F238E27FC236}">
                <a16:creationId xmlns:a16="http://schemas.microsoft.com/office/drawing/2014/main" id="{E8AE3318-536E-41B1-97EB-D86B6D238B83}"/>
              </a:ext>
            </a:extLst>
          </p:cNvPr>
          <p:cNvSpPr txBox="1"/>
          <p:nvPr/>
        </p:nvSpPr>
        <p:spPr>
          <a:xfrm>
            <a:off x="272068" y="3630106"/>
            <a:ext cx="2183330" cy="340734"/>
          </a:xfrm>
          <a:prstGeom prst="rect">
            <a:avLst/>
          </a:prstGeom>
          <a:noFill/>
        </p:spPr>
        <p:txBody>
          <a:bodyPr wrap="square" rtlCol="0" anchor="ctr">
            <a:spAutoFit/>
          </a:bodyPr>
          <a:lstStyle/>
          <a:p>
            <a:pPr lvl="0">
              <a:lnSpc>
                <a:spcPct val="150000"/>
              </a:lnSpc>
              <a:defRPr/>
            </a:pPr>
            <a:r>
              <a:rPr lang="en-GB" sz="1200" b="1" noProof="0">
                <a:solidFill>
                  <a:prstClr val="black"/>
                </a:solidFill>
              </a:rPr>
              <a:t>RFP Smart Map Comparison</a:t>
            </a:r>
            <a:endParaRPr kumimoji="0" lang="en-GB" sz="12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CuadroTexto 74">
            <a:extLst>
              <a:ext uri="{FF2B5EF4-FFF2-40B4-BE49-F238E27FC236}">
                <a16:creationId xmlns:a16="http://schemas.microsoft.com/office/drawing/2014/main" id="{6A8BE685-ECFC-40FD-980B-0B131EAE396D}"/>
              </a:ext>
            </a:extLst>
          </p:cNvPr>
          <p:cNvSpPr txBox="1"/>
          <p:nvPr/>
        </p:nvSpPr>
        <p:spPr>
          <a:xfrm>
            <a:off x="139711" y="5402802"/>
            <a:ext cx="2738375" cy="636072"/>
          </a:xfrm>
          <a:prstGeom prst="rect">
            <a:avLst/>
          </a:prstGeom>
          <a:noFill/>
        </p:spPr>
        <p:txBody>
          <a:bodyPr wrap="square" rtlCol="0">
            <a:spAutoFit/>
          </a:bodyPr>
          <a:lstStyle/>
          <a:p>
            <a:pPr lvl="0" algn="just">
              <a:lnSpc>
                <a:spcPct val="150000"/>
              </a:lnSpc>
              <a:defRPr/>
            </a:pPr>
            <a:r>
              <a:rPr lang="en-GB" sz="813" noProof="0">
                <a:solidFill>
                  <a:prstClr val="black"/>
                </a:solidFill>
              </a:rPr>
              <a:t>Comparative analysis of suppliers by RFP. Display of the prices offered, quantities and discounts with respect to the RFP price with Ariba data.</a:t>
            </a:r>
            <a:endParaRPr kumimoji="0" lang="en-GB" sz="81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55 CuadroTexto">
            <a:extLst>
              <a:ext uri="{FF2B5EF4-FFF2-40B4-BE49-F238E27FC236}">
                <a16:creationId xmlns:a16="http://schemas.microsoft.com/office/drawing/2014/main" id="{8D0BD415-323B-40F9-9504-7F6E2294D033}"/>
              </a:ext>
            </a:extLst>
          </p:cNvPr>
          <p:cNvSpPr txBox="1"/>
          <p:nvPr/>
        </p:nvSpPr>
        <p:spPr>
          <a:xfrm>
            <a:off x="3262967" y="3656468"/>
            <a:ext cx="2124204" cy="340734"/>
          </a:xfrm>
          <a:prstGeom prst="rect">
            <a:avLst/>
          </a:prstGeom>
          <a:noFill/>
        </p:spPr>
        <p:txBody>
          <a:bodyPr wrap="square" rtlCol="0" anchor="ctr">
            <a:spAutoFit/>
          </a:bodyPr>
          <a:lstStyle/>
          <a:p>
            <a:pPr lvl="0">
              <a:lnSpc>
                <a:spcPct val="150000"/>
              </a:lnSpc>
              <a:defRPr/>
            </a:pPr>
            <a:r>
              <a:rPr lang="en-GB" sz="1200" b="1" noProof="0">
                <a:solidFill>
                  <a:prstClr val="black"/>
                </a:solidFill>
              </a:rPr>
              <a:t>Purchase operations</a:t>
            </a:r>
            <a:endParaRPr kumimoji="0" lang="en-GB" sz="12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CuadroTexto 79">
            <a:extLst>
              <a:ext uri="{FF2B5EF4-FFF2-40B4-BE49-F238E27FC236}">
                <a16:creationId xmlns:a16="http://schemas.microsoft.com/office/drawing/2014/main" id="{46249145-CABF-4D25-B853-78AA36DFB4D3}"/>
              </a:ext>
            </a:extLst>
          </p:cNvPr>
          <p:cNvSpPr txBox="1"/>
          <p:nvPr/>
        </p:nvSpPr>
        <p:spPr>
          <a:xfrm>
            <a:off x="3262390" y="5438245"/>
            <a:ext cx="2955596" cy="448392"/>
          </a:xfrm>
          <a:prstGeom prst="rect">
            <a:avLst/>
          </a:prstGeom>
          <a:noFill/>
        </p:spPr>
        <p:txBody>
          <a:bodyPr wrap="square" rtlCol="0">
            <a:spAutoFit/>
          </a:bodyPr>
          <a:lstStyle/>
          <a:p>
            <a:pPr marL="38098" lvl="1" defTabSz="685765">
              <a:lnSpc>
                <a:spcPct val="150000"/>
              </a:lnSpc>
              <a:spcAft>
                <a:spcPts val="488"/>
              </a:spcAft>
              <a:buClr>
                <a:srgbClr val="C8E3E7"/>
              </a:buClr>
              <a:defRPr/>
            </a:pPr>
            <a:r>
              <a:rPr lang="en-GB" sz="813" noProof="0">
                <a:solidFill>
                  <a:prstClr val="black"/>
                </a:solidFill>
              </a:rPr>
              <a:t>View the operations purchases and sales relationship for each project ID with S4HANA data</a:t>
            </a:r>
            <a:endParaRPr kumimoji="0" lang="en-GB" sz="81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55 CuadroTexto">
            <a:extLst>
              <a:ext uri="{FF2B5EF4-FFF2-40B4-BE49-F238E27FC236}">
                <a16:creationId xmlns:a16="http://schemas.microsoft.com/office/drawing/2014/main" id="{44299C7C-B6D1-4FAA-B846-EADE0925FE23}"/>
              </a:ext>
            </a:extLst>
          </p:cNvPr>
          <p:cNvSpPr txBox="1"/>
          <p:nvPr/>
        </p:nvSpPr>
        <p:spPr>
          <a:xfrm>
            <a:off x="3150846" y="942996"/>
            <a:ext cx="2124204" cy="340734"/>
          </a:xfrm>
          <a:prstGeom prst="rect">
            <a:avLst/>
          </a:prstGeom>
          <a:noFill/>
        </p:spPr>
        <p:txBody>
          <a:bodyPr wrap="square" rtlCol="0" anchor="ctr">
            <a:spAutoFit/>
          </a:bodyPr>
          <a:lstStyle/>
          <a:p>
            <a:pPr lvl="0">
              <a:lnSpc>
                <a:spcPct val="150000"/>
              </a:lnSpc>
              <a:defRPr/>
            </a:pPr>
            <a:r>
              <a:rPr lang="en-GB" sz="1200" b="1" noProof="0">
                <a:solidFill>
                  <a:prstClr val="black"/>
                </a:solidFill>
              </a:rPr>
              <a:t>Purchasing-Stock-Sales</a:t>
            </a:r>
            <a:endParaRPr kumimoji="0" lang="en-GB" sz="12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CuadroTexto 48">
            <a:extLst>
              <a:ext uri="{FF2B5EF4-FFF2-40B4-BE49-F238E27FC236}">
                <a16:creationId xmlns:a16="http://schemas.microsoft.com/office/drawing/2014/main" id="{57A04EEF-73A8-44D1-B808-9C2AE42D9B92}"/>
              </a:ext>
            </a:extLst>
          </p:cNvPr>
          <p:cNvSpPr txBox="1"/>
          <p:nvPr/>
        </p:nvSpPr>
        <p:spPr>
          <a:xfrm>
            <a:off x="6198244" y="2788838"/>
            <a:ext cx="2771436" cy="636072"/>
          </a:xfrm>
          <a:prstGeom prst="rect">
            <a:avLst/>
          </a:prstGeom>
          <a:noFill/>
        </p:spPr>
        <p:txBody>
          <a:bodyPr wrap="square" rtlCol="0">
            <a:spAutoFit/>
          </a:bodyPr>
          <a:lstStyle/>
          <a:p>
            <a:pPr marL="38098" lvl="1" algn="just" defTabSz="685765">
              <a:lnSpc>
                <a:spcPct val="150000"/>
              </a:lnSpc>
              <a:spcAft>
                <a:spcPts val="488"/>
              </a:spcAft>
              <a:buClr>
                <a:srgbClr val="C8E3E7"/>
              </a:buClr>
              <a:defRPr/>
            </a:pPr>
            <a:r>
              <a:rPr lang="en-GB" sz="813" noProof="0">
                <a:solidFill>
                  <a:srgbClr val="494949"/>
                </a:solidFill>
                <a:sym typeface="Helvetica Light"/>
              </a:rPr>
              <a:t>Visualization of the relationship of the flow of orders, invoices and deliveries. Display of amounts and status by vendors and item groups. SAP HANA ERP Data</a:t>
            </a:r>
            <a:endParaRPr kumimoji="0" lang="en-GB" sz="813" b="0" i="0" u="none" strike="noStrike" kern="1200" cap="none" spc="0" normalizeH="0" baseline="0" noProof="0">
              <a:ln>
                <a:noFill/>
              </a:ln>
              <a:solidFill>
                <a:srgbClr val="494949"/>
              </a:solidFill>
              <a:effectLst/>
              <a:uLnTx/>
              <a:uFillTx/>
              <a:latin typeface="Calibri" panose="020F0502020204030204"/>
              <a:ea typeface="+mn-ea"/>
              <a:cs typeface="+mn-cs"/>
              <a:sym typeface="Helvetica Light"/>
            </a:endParaRPr>
          </a:p>
        </p:txBody>
      </p:sp>
      <p:sp>
        <p:nvSpPr>
          <p:cNvPr id="50" name="55 CuadroTexto">
            <a:extLst>
              <a:ext uri="{FF2B5EF4-FFF2-40B4-BE49-F238E27FC236}">
                <a16:creationId xmlns:a16="http://schemas.microsoft.com/office/drawing/2014/main" id="{C9E589D4-BAD5-4D14-9DCF-15352FBF6CC0}"/>
              </a:ext>
            </a:extLst>
          </p:cNvPr>
          <p:cNvSpPr txBox="1"/>
          <p:nvPr/>
        </p:nvSpPr>
        <p:spPr>
          <a:xfrm>
            <a:off x="6217986" y="929618"/>
            <a:ext cx="2654752" cy="340734"/>
          </a:xfrm>
          <a:prstGeom prst="rect">
            <a:avLst/>
          </a:prstGeom>
          <a:noFill/>
        </p:spPr>
        <p:txBody>
          <a:bodyPr wrap="square" rtlCol="0" anchor="ctr">
            <a:spAutoFit/>
          </a:bodyPr>
          <a:lstStyle/>
          <a:p>
            <a:pPr lvl="0">
              <a:lnSpc>
                <a:spcPct val="150000"/>
              </a:lnSpc>
              <a:defRPr/>
            </a:pPr>
            <a:r>
              <a:rPr lang="en-GB" sz="1200" b="1" noProof="0">
                <a:solidFill>
                  <a:prstClr val="black"/>
                </a:solidFill>
              </a:rPr>
              <a:t>Order flow for Invoices, Deliveries</a:t>
            </a:r>
            <a:endParaRPr kumimoji="0" lang="en-GB" sz="1200" b="1"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9" name="Imagen 58">
            <a:extLst>
              <a:ext uri="{FF2B5EF4-FFF2-40B4-BE49-F238E27FC236}">
                <a16:creationId xmlns:a16="http://schemas.microsoft.com/office/drawing/2014/main" id="{2297573A-EB0D-4708-9B9B-C19D018BD4BE}"/>
              </a:ext>
            </a:extLst>
          </p:cNvPr>
          <p:cNvPicPr>
            <a:picLocks noChangeAspect="1"/>
          </p:cNvPicPr>
          <p:nvPr/>
        </p:nvPicPr>
        <p:blipFill>
          <a:blip r:embed="rId5"/>
          <a:stretch>
            <a:fillRect/>
          </a:stretch>
        </p:blipFill>
        <p:spPr>
          <a:xfrm>
            <a:off x="381893" y="1407812"/>
            <a:ext cx="2359684" cy="1140572"/>
          </a:xfrm>
          <a:prstGeom prst="rect">
            <a:avLst/>
          </a:prstGeom>
        </p:spPr>
      </p:pic>
      <p:pic>
        <p:nvPicPr>
          <p:cNvPr id="60" name="Imagen 59">
            <a:extLst>
              <a:ext uri="{FF2B5EF4-FFF2-40B4-BE49-F238E27FC236}">
                <a16:creationId xmlns:a16="http://schemas.microsoft.com/office/drawing/2014/main" id="{2852858A-A4D6-4A80-AABB-C4A2019963C2}"/>
              </a:ext>
            </a:extLst>
          </p:cNvPr>
          <p:cNvPicPr>
            <a:picLocks noChangeAspect="1"/>
          </p:cNvPicPr>
          <p:nvPr/>
        </p:nvPicPr>
        <p:blipFill rotWithShape="1">
          <a:blip r:embed="rId6"/>
          <a:srcRect b="22900"/>
          <a:stretch/>
        </p:blipFill>
        <p:spPr>
          <a:xfrm>
            <a:off x="3429080" y="1407812"/>
            <a:ext cx="2241250" cy="1211286"/>
          </a:xfrm>
          <a:prstGeom prst="rect">
            <a:avLst/>
          </a:prstGeom>
        </p:spPr>
      </p:pic>
      <p:pic>
        <p:nvPicPr>
          <p:cNvPr id="61" name="Imagen 60">
            <a:extLst>
              <a:ext uri="{FF2B5EF4-FFF2-40B4-BE49-F238E27FC236}">
                <a16:creationId xmlns:a16="http://schemas.microsoft.com/office/drawing/2014/main" id="{C1F1149F-106F-444B-99A7-6BB04BE30E51}"/>
              </a:ext>
            </a:extLst>
          </p:cNvPr>
          <p:cNvPicPr>
            <a:picLocks noChangeAspect="1"/>
          </p:cNvPicPr>
          <p:nvPr/>
        </p:nvPicPr>
        <p:blipFill>
          <a:blip r:embed="rId7"/>
          <a:stretch>
            <a:fillRect/>
          </a:stretch>
        </p:blipFill>
        <p:spPr>
          <a:xfrm>
            <a:off x="3596552" y="1504472"/>
            <a:ext cx="1954957" cy="393341"/>
          </a:xfrm>
          <a:prstGeom prst="rect">
            <a:avLst/>
          </a:prstGeom>
        </p:spPr>
      </p:pic>
      <p:pic>
        <p:nvPicPr>
          <p:cNvPr id="62" name="Imagen 61">
            <a:extLst>
              <a:ext uri="{FF2B5EF4-FFF2-40B4-BE49-F238E27FC236}">
                <a16:creationId xmlns:a16="http://schemas.microsoft.com/office/drawing/2014/main" id="{4FF2CF3A-DC5A-4C24-978B-46382B14F05B}"/>
              </a:ext>
            </a:extLst>
          </p:cNvPr>
          <p:cNvPicPr>
            <a:picLocks noChangeAspect="1"/>
          </p:cNvPicPr>
          <p:nvPr/>
        </p:nvPicPr>
        <p:blipFill rotWithShape="1">
          <a:blip r:embed="rId8"/>
          <a:srcRect/>
          <a:stretch/>
        </p:blipFill>
        <p:spPr>
          <a:xfrm>
            <a:off x="6406483" y="1407812"/>
            <a:ext cx="2466255" cy="1205122"/>
          </a:xfrm>
          <a:prstGeom prst="rect">
            <a:avLst/>
          </a:prstGeom>
        </p:spPr>
      </p:pic>
      <p:pic>
        <p:nvPicPr>
          <p:cNvPr id="64" name="Imagen 63">
            <a:extLst>
              <a:ext uri="{FF2B5EF4-FFF2-40B4-BE49-F238E27FC236}">
                <a16:creationId xmlns:a16="http://schemas.microsoft.com/office/drawing/2014/main" id="{52F2AAA7-51EC-495F-836E-B01AE8A326ED}"/>
              </a:ext>
            </a:extLst>
          </p:cNvPr>
          <p:cNvPicPr>
            <a:picLocks noChangeAspect="1"/>
          </p:cNvPicPr>
          <p:nvPr/>
        </p:nvPicPr>
        <p:blipFill>
          <a:blip r:embed="rId9"/>
          <a:stretch>
            <a:fillRect/>
          </a:stretch>
        </p:blipFill>
        <p:spPr>
          <a:xfrm>
            <a:off x="3487514" y="4138290"/>
            <a:ext cx="2205215" cy="1230939"/>
          </a:xfrm>
          <a:prstGeom prst="rect">
            <a:avLst/>
          </a:prstGeom>
        </p:spPr>
      </p:pic>
      <p:pic>
        <p:nvPicPr>
          <p:cNvPr id="11" name="Imagen 10">
            <a:extLst>
              <a:ext uri="{FF2B5EF4-FFF2-40B4-BE49-F238E27FC236}">
                <a16:creationId xmlns:a16="http://schemas.microsoft.com/office/drawing/2014/main" id="{0682BCA7-E641-4953-B6F1-C9AAC5B1BE7B}"/>
              </a:ext>
            </a:extLst>
          </p:cNvPr>
          <p:cNvPicPr>
            <a:picLocks noChangeAspect="1"/>
          </p:cNvPicPr>
          <p:nvPr/>
        </p:nvPicPr>
        <p:blipFill>
          <a:blip r:embed="rId10"/>
          <a:stretch>
            <a:fillRect/>
          </a:stretch>
        </p:blipFill>
        <p:spPr>
          <a:xfrm>
            <a:off x="2173220" y="867293"/>
            <a:ext cx="883959" cy="321439"/>
          </a:xfrm>
          <a:prstGeom prst="rect">
            <a:avLst/>
          </a:prstGeom>
        </p:spPr>
      </p:pic>
      <p:pic>
        <p:nvPicPr>
          <p:cNvPr id="4102" name="Picture 6" descr="Inicio - Inicio - BIDAFARMA">
            <a:extLst>
              <a:ext uri="{FF2B5EF4-FFF2-40B4-BE49-F238E27FC236}">
                <a16:creationId xmlns:a16="http://schemas.microsoft.com/office/drawing/2014/main" id="{68C4E9E6-CF0D-41D1-AA86-846DDFB7F406}"/>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623359" y="889624"/>
            <a:ext cx="416069" cy="294022"/>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Ferrer Internacional - Caso de estudio">
            <a:extLst>
              <a:ext uri="{FF2B5EF4-FFF2-40B4-BE49-F238E27FC236}">
                <a16:creationId xmlns:a16="http://schemas.microsoft.com/office/drawing/2014/main" id="{3947283D-F900-46D5-9F5A-8BA0184C37B4}"/>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t="29314" b="31012"/>
          <a:stretch/>
        </p:blipFill>
        <p:spPr bwMode="auto">
          <a:xfrm>
            <a:off x="8286325" y="808930"/>
            <a:ext cx="838708" cy="249562"/>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GBC - Gibraltar News - GBC TV and Radio Gibraltar">
            <a:extLst>
              <a:ext uri="{FF2B5EF4-FFF2-40B4-BE49-F238E27FC236}">
                <a16:creationId xmlns:a16="http://schemas.microsoft.com/office/drawing/2014/main" id="{418A6B8C-9670-44B0-A58B-FCFC74D27B6A}"/>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t="31736" b="34941"/>
          <a:stretch/>
        </p:blipFill>
        <p:spPr bwMode="auto">
          <a:xfrm>
            <a:off x="2240625" y="3692983"/>
            <a:ext cx="783867" cy="244645"/>
          </a:xfrm>
          <a:prstGeom prst="rect">
            <a:avLst/>
          </a:prstGeom>
          <a:noFill/>
          <a:extLst>
            <a:ext uri="{909E8E84-426E-40DD-AFC4-6F175D3DCCD1}">
              <a14:hiddenFill xmlns:a14="http://schemas.microsoft.com/office/drawing/2010/main">
                <a:solidFill>
                  <a:srgbClr val="FFFFFF"/>
                </a:solidFill>
              </a14:hiddenFill>
            </a:ext>
          </a:extLst>
        </p:spPr>
      </p:pic>
      <p:pic>
        <p:nvPicPr>
          <p:cNvPr id="4" name="Imagen 3">
            <a:extLst>
              <a:ext uri="{FF2B5EF4-FFF2-40B4-BE49-F238E27FC236}">
                <a16:creationId xmlns:a16="http://schemas.microsoft.com/office/drawing/2014/main" id="{7CB63212-919B-4358-B108-F4C177447CC0}"/>
              </a:ext>
            </a:extLst>
          </p:cNvPr>
          <p:cNvPicPr>
            <a:picLocks noChangeAspect="1"/>
          </p:cNvPicPr>
          <p:nvPr/>
        </p:nvPicPr>
        <p:blipFill>
          <a:blip r:embed="rId14"/>
          <a:stretch>
            <a:fillRect/>
          </a:stretch>
        </p:blipFill>
        <p:spPr>
          <a:xfrm>
            <a:off x="431002" y="4180645"/>
            <a:ext cx="2024396" cy="1086155"/>
          </a:xfrm>
          <a:prstGeom prst="rect">
            <a:avLst/>
          </a:prstGeom>
        </p:spPr>
      </p:pic>
      <p:sp>
        <p:nvSpPr>
          <p:cNvPr id="2" name="55 CuadroTexto">
            <a:extLst>
              <a:ext uri="{FF2B5EF4-FFF2-40B4-BE49-F238E27FC236}">
                <a16:creationId xmlns:a16="http://schemas.microsoft.com/office/drawing/2014/main" id="{B06429AD-5C65-7AE2-B742-7C56277EAAA3}"/>
              </a:ext>
            </a:extLst>
          </p:cNvPr>
          <p:cNvSpPr txBox="1"/>
          <p:nvPr/>
        </p:nvSpPr>
        <p:spPr>
          <a:xfrm>
            <a:off x="9111815" y="823128"/>
            <a:ext cx="2372014" cy="617733"/>
          </a:xfrm>
          <a:prstGeom prst="rect">
            <a:avLst/>
          </a:prstGeom>
          <a:noFill/>
        </p:spPr>
        <p:txBody>
          <a:bodyPr wrap="square" rtlCol="0" anchor="ctr">
            <a:spAutoFit/>
          </a:bodyPr>
          <a:lstStyle/>
          <a:p>
            <a:pPr lvl="0">
              <a:lnSpc>
                <a:spcPct val="150000"/>
              </a:lnSpc>
              <a:defRPr/>
            </a:pPr>
            <a:r>
              <a:rPr lang="en-GB" sz="1200" b="1" noProof="0">
                <a:solidFill>
                  <a:prstClr val="black"/>
                </a:solidFill>
              </a:rPr>
              <a:t>Purchases, expenses and investments</a:t>
            </a:r>
            <a:endParaRPr kumimoji="0" lang="en-GB" sz="12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CuadroTexto 4">
            <a:extLst>
              <a:ext uri="{FF2B5EF4-FFF2-40B4-BE49-F238E27FC236}">
                <a16:creationId xmlns:a16="http://schemas.microsoft.com/office/drawing/2014/main" id="{528CB94C-587A-18F2-5FEC-EFA2D042B9D5}"/>
              </a:ext>
            </a:extLst>
          </p:cNvPr>
          <p:cNvSpPr txBox="1"/>
          <p:nvPr/>
        </p:nvSpPr>
        <p:spPr>
          <a:xfrm>
            <a:off x="9087346" y="2828482"/>
            <a:ext cx="2738375" cy="636072"/>
          </a:xfrm>
          <a:prstGeom prst="rect">
            <a:avLst/>
          </a:prstGeom>
          <a:noFill/>
        </p:spPr>
        <p:txBody>
          <a:bodyPr wrap="square" rtlCol="0">
            <a:spAutoFit/>
          </a:bodyPr>
          <a:lstStyle/>
          <a:p>
            <a:pPr lvl="0" algn="just">
              <a:lnSpc>
                <a:spcPct val="150000"/>
              </a:lnSpc>
              <a:defRPr/>
            </a:pPr>
            <a:r>
              <a:rPr lang="en-GB" sz="813" noProof="0">
                <a:solidFill>
                  <a:prstClr val="black"/>
                </a:solidFill>
              </a:rPr>
              <a:t>Analysis of purchases, expenses and investments associated with equipment projects and maintenance. S4HANA and Ariba Information</a:t>
            </a:r>
            <a:endParaRPr kumimoji="0" lang="en-GB" sz="813"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 name="Imagen 6">
            <a:extLst>
              <a:ext uri="{FF2B5EF4-FFF2-40B4-BE49-F238E27FC236}">
                <a16:creationId xmlns:a16="http://schemas.microsoft.com/office/drawing/2014/main" id="{0182CE76-0B05-9B5B-E333-169B6929D36B}"/>
              </a:ext>
            </a:extLst>
          </p:cNvPr>
          <p:cNvPicPr>
            <a:picLocks noChangeAspect="1"/>
          </p:cNvPicPr>
          <p:nvPr/>
        </p:nvPicPr>
        <p:blipFill>
          <a:blip r:embed="rId15"/>
          <a:stretch>
            <a:fillRect/>
          </a:stretch>
        </p:blipFill>
        <p:spPr>
          <a:xfrm>
            <a:off x="9290677" y="1407812"/>
            <a:ext cx="2372014" cy="1205122"/>
          </a:xfrm>
          <a:prstGeom prst="rect">
            <a:avLst/>
          </a:prstGeom>
        </p:spPr>
      </p:pic>
      <p:cxnSp>
        <p:nvCxnSpPr>
          <p:cNvPr id="18" name="Conector recto 17">
            <a:extLst>
              <a:ext uri="{FF2B5EF4-FFF2-40B4-BE49-F238E27FC236}">
                <a16:creationId xmlns:a16="http://schemas.microsoft.com/office/drawing/2014/main" id="{602C3723-95F3-F898-B427-DE5E62290736}"/>
              </a:ext>
            </a:extLst>
          </p:cNvPr>
          <p:cNvCxnSpPr>
            <a:cxnSpLocks/>
          </p:cNvCxnSpPr>
          <p:nvPr/>
        </p:nvCxnSpPr>
        <p:spPr>
          <a:xfrm flipV="1">
            <a:off x="3088684" y="1912211"/>
            <a:ext cx="0" cy="3217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Conector recto 18">
            <a:extLst>
              <a:ext uri="{FF2B5EF4-FFF2-40B4-BE49-F238E27FC236}">
                <a16:creationId xmlns:a16="http://schemas.microsoft.com/office/drawing/2014/main" id="{4FA78914-CA48-E66A-AAB9-54B2C3FDC18C}"/>
              </a:ext>
            </a:extLst>
          </p:cNvPr>
          <p:cNvCxnSpPr>
            <a:cxnSpLocks/>
          </p:cNvCxnSpPr>
          <p:nvPr/>
        </p:nvCxnSpPr>
        <p:spPr>
          <a:xfrm flipV="1">
            <a:off x="6168008" y="1972761"/>
            <a:ext cx="0" cy="3217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Conector recto 19">
            <a:extLst>
              <a:ext uri="{FF2B5EF4-FFF2-40B4-BE49-F238E27FC236}">
                <a16:creationId xmlns:a16="http://schemas.microsoft.com/office/drawing/2014/main" id="{DA88E962-9439-C57B-3432-99ABB96F9E5B}"/>
              </a:ext>
            </a:extLst>
          </p:cNvPr>
          <p:cNvCxnSpPr>
            <a:cxnSpLocks/>
          </p:cNvCxnSpPr>
          <p:nvPr/>
        </p:nvCxnSpPr>
        <p:spPr>
          <a:xfrm>
            <a:off x="23628" y="3520611"/>
            <a:ext cx="11702216" cy="34279"/>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Conector recto 20">
            <a:extLst>
              <a:ext uri="{FF2B5EF4-FFF2-40B4-BE49-F238E27FC236}">
                <a16:creationId xmlns:a16="http://schemas.microsoft.com/office/drawing/2014/main" id="{8B193643-505D-C052-81EE-FD661096EF6C}"/>
              </a:ext>
            </a:extLst>
          </p:cNvPr>
          <p:cNvCxnSpPr>
            <a:cxnSpLocks/>
          </p:cNvCxnSpPr>
          <p:nvPr/>
        </p:nvCxnSpPr>
        <p:spPr>
          <a:xfrm flipV="1">
            <a:off x="9098261" y="1946190"/>
            <a:ext cx="0" cy="3217400"/>
          </a:xfrm>
          <a:prstGeom prst="line">
            <a:avLst/>
          </a:prstGeom>
        </p:spPr>
        <p:style>
          <a:lnRef idx="1">
            <a:schemeClr val="accent1"/>
          </a:lnRef>
          <a:fillRef idx="0">
            <a:schemeClr val="accent1"/>
          </a:fillRef>
          <a:effectRef idx="0">
            <a:schemeClr val="accent1"/>
          </a:effectRef>
          <a:fontRef idx="minor">
            <a:schemeClr val="tx1"/>
          </a:fontRef>
        </p:style>
      </p:cxnSp>
      <p:sp>
        <p:nvSpPr>
          <p:cNvPr id="22" name="55 CuadroTexto">
            <a:extLst>
              <a:ext uri="{FF2B5EF4-FFF2-40B4-BE49-F238E27FC236}">
                <a16:creationId xmlns:a16="http://schemas.microsoft.com/office/drawing/2014/main" id="{C24C4D83-A62C-EBA5-E6B4-0A3DA65815DF}"/>
              </a:ext>
            </a:extLst>
          </p:cNvPr>
          <p:cNvSpPr txBox="1"/>
          <p:nvPr/>
        </p:nvSpPr>
        <p:spPr>
          <a:xfrm>
            <a:off x="6198243" y="3610731"/>
            <a:ext cx="1790081" cy="340734"/>
          </a:xfrm>
          <a:prstGeom prst="rect">
            <a:avLst/>
          </a:prstGeom>
          <a:noFill/>
        </p:spPr>
        <p:txBody>
          <a:bodyPr wrap="square" rtlCol="0" anchor="ctr">
            <a:spAutoFit/>
          </a:bodyPr>
          <a:lstStyle/>
          <a:p>
            <a:pPr lvl="0">
              <a:lnSpc>
                <a:spcPct val="150000"/>
              </a:lnSpc>
              <a:defRPr/>
            </a:pPr>
            <a:r>
              <a:rPr lang="en-GB" sz="1200" b="1" noProof="0">
                <a:solidFill>
                  <a:prstClr val="black"/>
                </a:solidFill>
              </a:rPr>
              <a:t>Concur Travel Expenses</a:t>
            </a:r>
            <a:endParaRPr kumimoji="0" lang="en-GB" sz="12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CuadroTexto 22">
            <a:extLst>
              <a:ext uri="{FF2B5EF4-FFF2-40B4-BE49-F238E27FC236}">
                <a16:creationId xmlns:a16="http://schemas.microsoft.com/office/drawing/2014/main" id="{D581EF13-5067-2324-B2B3-B038C723D720}"/>
              </a:ext>
            </a:extLst>
          </p:cNvPr>
          <p:cNvSpPr txBox="1"/>
          <p:nvPr/>
        </p:nvSpPr>
        <p:spPr>
          <a:xfrm>
            <a:off x="6213669" y="5379138"/>
            <a:ext cx="2955596" cy="448392"/>
          </a:xfrm>
          <a:prstGeom prst="rect">
            <a:avLst/>
          </a:prstGeom>
          <a:noFill/>
        </p:spPr>
        <p:txBody>
          <a:bodyPr wrap="square" rtlCol="0">
            <a:spAutoFit/>
          </a:bodyPr>
          <a:lstStyle/>
          <a:p>
            <a:pPr marL="38098" lvl="1" defTabSz="685765">
              <a:lnSpc>
                <a:spcPct val="150000"/>
              </a:lnSpc>
              <a:spcAft>
                <a:spcPts val="488"/>
              </a:spcAft>
              <a:buClr>
                <a:srgbClr val="C8E3E7"/>
              </a:buClr>
              <a:defRPr/>
            </a:pPr>
            <a:r>
              <a:rPr lang="en-GB" sz="813" noProof="0">
                <a:solidFill>
                  <a:prstClr val="black"/>
                </a:solidFill>
              </a:rPr>
              <a:t>Analysis of travel expenses, visualization and travel flows by volume of economic amount. Data from SAP Concur</a:t>
            </a:r>
            <a:endParaRPr kumimoji="0" lang="en-GB" sz="813" b="1" i="0" u="none" strike="noStrike" kern="1200" cap="none" spc="0" normalizeH="0" baseline="0" noProof="0">
              <a:ln>
                <a:noFill/>
              </a:ln>
              <a:solidFill>
                <a:srgbClr val="494949"/>
              </a:solidFill>
              <a:effectLst/>
              <a:uLnTx/>
              <a:uFillTx/>
              <a:latin typeface="Calibri" panose="020F0502020204030204"/>
              <a:ea typeface="+mn-ea"/>
              <a:cs typeface="+mn-cs"/>
              <a:sym typeface="Helvetica Light"/>
            </a:endParaRPr>
          </a:p>
        </p:txBody>
      </p:sp>
      <p:pic>
        <p:nvPicPr>
          <p:cNvPr id="25" name="Picture 14" descr="Asisa Móstoles, Móstoles - lomejordelbarrio">
            <a:extLst>
              <a:ext uri="{FF2B5EF4-FFF2-40B4-BE49-F238E27FC236}">
                <a16:creationId xmlns:a16="http://schemas.microsoft.com/office/drawing/2014/main" id="{9898730D-45FD-62BB-6855-70542690584C}"/>
              </a:ext>
            </a:extLst>
          </p:cNvPr>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7476" t="35042" r="5586" b="38715"/>
          <a:stretch/>
        </p:blipFill>
        <p:spPr bwMode="auto">
          <a:xfrm>
            <a:off x="8180742" y="3742724"/>
            <a:ext cx="709519" cy="160626"/>
          </a:xfrm>
          <a:prstGeom prst="rect">
            <a:avLst/>
          </a:prstGeom>
          <a:noFill/>
          <a:extLst>
            <a:ext uri="{909E8E84-426E-40DD-AFC4-6F175D3DCCD1}">
              <a14:hiddenFill xmlns:a14="http://schemas.microsoft.com/office/drawing/2010/main">
                <a:solidFill>
                  <a:srgbClr val="FFFFFF"/>
                </a:solidFill>
              </a14:hiddenFill>
            </a:ext>
          </a:extLst>
        </p:spPr>
      </p:pic>
      <p:pic>
        <p:nvPicPr>
          <p:cNvPr id="31" name="Imagen 30">
            <a:extLst>
              <a:ext uri="{FF2B5EF4-FFF2-40B4-BE49-F238E27FC236}">
                <a16:creationId xmlns:a16="http://schemas.microsoft.com/office/drawing/2014/main" id="{05E326CF-1B40-4B66-E256-6B1E8355F16C}"/>
              </a:ext>
            </a:extLst>
          </p:cNvPr>
          <p:cNvPicPr>
            <a:picLocks noChangeAspect="1"/>
          </p:cNvPicPr>
          <p:nvPr/>
        </p:nvPicPr>
        <p:blipFill>
          <a:blip r:embed="rId17"/>
          <a:stretch>
            <a:fillRect/>
          </a:stretch>
        </p:blipFill>
        <p:spPr>
          <a:xfrm>
            <a:off x="6403042" y="4031527"/>
            <a:ext cx="2302637" cy="1254115"/>
          </a:xfrm>
          <a:prstGeom prst="rect">
            <a:avLst/>
          </a:prstGeom>
        </p:spPr>
      </p:pic>
      <p:sp>
        <p:nvSpPr>
          <p:cNvPr id="32" name="55 CuadroTexto">
            <a:extLst>
              <a:ext uri="{FF2B5EF4-FFF2-40B4-BE49-F238E27FC236}">
                <a16:creationId xmlns:a16="http://schemas.microsoft.com/office/drawing/2014/main" id="{F1699C61-FD22-3F56-6268-3C7AB9A79036}"/>
              </a:ext>
            </a:extLst>
          </p:cNvPr>
          <p:cNvSpPr txBox="1"/>
          <p:nvPr/>
        </p:nvSpPr>
        <p:spPr>
          <a:xfrm>
            <a:off x="9215928" y="3610561"/>
            <a:ext cx="1790081" cy="340734"/>
          </a:xfrm>
          <a:prstGeom prst="rect">
            <a:avLst/>
          </a:prstGeom>
          <a:noFill/>
        </p:spPr>
        <p:txBody>
          <a:bodyPr wrap="square" rtlCol="0" anchor="ctr">
            <a:spAutoFit/>
          </a:bodyPr>
          <a:lstStyle/>
          <a:p>
            <a:pPr lvl="0">
              <a:lnSpc>
                <a:spcPct val="150000"/>
              </a:lnSpc>
              <a:defRPr/>
            </a:pPr>
            <a:r>
              <a:rPr lang="en-GB" sz="1200" b="1" noProof="0">
                <a:solidFill>
                  <a:prstClr val="black"/>
                </a:solidFill>
              </a:rPr>
              <a:t>ECI Travel Expenses</a:t>
            </a:r>
            <a:endParaRPr kumimoji="0" lang="en-GB" sz="12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CuadroTexto 32">
            <a:extLst>
              <a:ext uri="{FF2B5EF4-FFF2-40B4-BE49-F238E27FC236}">
                <a16:creationId xmlns:a16="http://schemas.microsoft.com/office/drawing/2014/main" id="{D0749EEE-0EB1-94D5-4B6F-0735FD55674C}"/>
              </a:ext>
            </a:extLst>
          </p:cNvPr>
          <p:cNvSpPr txBox="1"/>
          <p:nvPr/>
        </p:nvSpPr>
        <p:spPr>
          <a:xfrm>
            <a:off x="9169265" y="5386390"/>
            <a:ext cx="2955596" cy="448392"/>
          </a:xfrm>
          <a:prstGeom prst="rect">
            <a:avLst/>
          </a:prstGeom>
          <a:noFill/>
        </p:spPr>
        <p:txBody>
          <a:bodyPr wrap="square" rtlCol="0">
            <a:spAutoFit/>
          </a:bodyPr>
          <a:lstStyle/>
          <a:p>
            <a:pPr marL="38098" lvl="1" defTabSz="685765">
              <a:lnSpc>
                <a:spcPct val="150000"/>
              </a:lnSpc>
              <a:spcAft>
                <a:spcPts val="488"/>
              </a:spcAft>
              <a:buClr>
                <a:srgbClr val="C8E3E7"/>
              </a:buClr>
              <a:defRPr/>
            </a:pPr>
            <a:r>
              <a:rPr lang="en-GB" sz="813" noProof="0">
                <a:solidFill>
                  <a:srgbClr val="494949"/>
                </a:solidFill>
                <a:sym typeface="Helvetica Light"/>
              </a:rPr>
              <a:t>Detailed analysis of employee travel expenses with information from Viajes </a:t>
            </a:r>
            <a:r>
              <a:rPr lang="en-GB" sz="813" noProof="0" err="1">
                <a:solidFill>
                  <a:srgbClr val="494949"/>
                </a:solidFill>
                <a:sym typeface="Helvetica Light"/>
              </a:rPr>
              <a:t>ElCorteInglés</a:t>
            </a:r>
            <a:r>
              <a:rPr lang="en-GB" sz="813" noProof="0">
                <a:solidFill>
                  <a:srgbClr val="494949"/>
                </a:solidFill>
                <a:sym typeface="Helvetica Light"/>
              </a:rPr>
              <a:t>.</a:t>
            </a:r>
            <a:endParaRPr kumimoji="0" lang="en-GB" sz="813" b="0" i="0" u="none" strike="noStrike" kern="1200" cap="none" spc="0" normalizeH="0" baseline="0" noProof="0">
              <a:ln>
                <a:noFill/>
              </a:ln>
              <a:solidFill>
                <a:srgbClr val="494949"/>
              </a:solidFill>
              <a:effectLst/>
              <a:uLnTx/>
              <a:uFillTx/>
              <a:latin typeface="Calibri" panose="020F0502020204030204"/>
              <a:ea typeface="+mn-ea"/>
              <a:cs typeface="+mn-cs"/>
              <a:sym typeface="Helvetica Light"/>
            </a:endParaRPr>
          </a:p>
        </p:txBody>
      </p:sp>
      <p:pic>
        <p:nvPicPr>
          <p:cNvPr id="34" name="Picture 14" descr="Asisa Móstoles, Móstoles - lomejordelbarrio">
            <a:extLst>
              <a:ext uri="{FF2B5EF4-FFF2-40B4-BE49-F238E27FC236}">
                <a16:creationId xmlns:a16="http://schemas.microsoft.com/office/drawing/2014/main" id="{134BEFF9-0314-90F8-5E42-77528E97600A}"/>
              </a:ext>
            </a:extLst>
          </p:cNvPr>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7476" t="35042" r="5586" b="38715"/>
          <a:stretch/>
        </p:blipFill>
        <p:spPr bwMode="auto">
          <a:xfrm>
            <a:off x="11129069" y="3723471"/>
            <a:ext cx="709519" cy="160626"/>
          </a:xfrm>
          <a:prstGeom prst="rect">
            <a:avLst/>
          </a:prstGeom>
          <a:noFill/>
          <a:extLst>
            <a:ext uri="{909E8E84-426E-40DD-AFC4-6F175D3DCCD1}">
              <a14:hiddenFill xmlns:a14="http://schemas.microsoft.com/office/drawing/2010/main">
                <a:solidFill>
                  <a:srgbClr val="FFFFFF"/>
                </a:solidFill>
              </a14:hiddenFill>
            </a:ext>
          </a:extLst>
        </p:spPr>
      </p:pic>
      <p:pic>
        <p:nvPicPr>
          <p:cNvPr id="36" name="Imagen 35">
            <a:extLst>
              <a:ext uri="{FF2B5EF4-FFF2-40B4-BE49-F238E27FC236}">
                <a16:creationId xmlns:a16="http://schemas.microsoft.com/office/drawing/2014/main" id="{2DD74A67-5CC7-8735-075F-15D5CEBBD41F}"/>
              </a:ext>
            </a:extLst>
          </p:cNvPr>
          <p:cNvPicPr>
            <a:picLocks noChangeAspect="1"/>
          </p:cNvPicPr>
          <p:nvPr/>
        </p:nvPicPr>
        <p:blipFill>
          <a:blip r:embed="rId18"/>
          <a:stretch>
            <a:fillRect/>
          </a:stretch>
        </p:blipFill>
        <p:spPr>
          <a:xfrm>
            <a:off x="9255722" y="4013564"/>
            <a:ext cx="2436394" cy="1315438"/>
          </a:xfrm>
          <a:prstGeom prst="rect">
            <a:avLst/>
          </a:prstGeom>
        </p:spPr>
      </p:pic>
      <p:sp>
        <p:nvSpPr>
          <p:cNvPr id="12" name="Rectángulo 11">
            <a:extLst>
              <a:ext uri="{FF2B5EF4-FFF2-40B4-BE49-F238E27FC236}">
                <a16:creationId xmlns:a16="http://schemas.microsoft.com/office/drawing/2014/main" id="{E5DDE932-933D-5548-F198-79A69EF50005}"/>
              </a:ext>
            </a:extLst>
          </p:cNvPr>
          <p:cNvSpPr/>
          <p:nvPr/>
        </p:nvSpPr>
        <p:spPr>
          <a:xfrm>
            <a:off x="568821" y="97286"/>
            <a:ext cx="10901128" cy="276999"/>
          </a:xfrm>
          <a:prstGeom prst="rect">
            <a:avLst/>
          </a:prstGeom>
        </p:spPr>
        <p:txBody>
          <a:bodyPr wrap="square" lIns="91440" tIns="45720" rIns="91440" bIns="45720" anchor="t">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300" normalizeH="0" baseline="0" noProof="0">
                <a:ln>
                  <a:noFill/>
                </a:ln>
                <a:solidFill>
                  <a:prstClr val="white"/>
                </a:solidFill>
                <a:effectLst/>
                <a:uLnTx/>
                <a:uFillTx/>
                <a:latin typeface="Arial"/>
                <a:ea typeface="+mn-ea"/>
                <a:cs typeface="+mn-cs"/>
              </a:rPr>
              <a:t>GLOBAL SPEND – REFERENCIAS</a:t>
            </a:r>
          </a:p>
        </p:txBody>
      </p:sp>
      <p:sp>
        <p:nvSpPr>
          <p:cNvPr id="8" name="Rectángulo 7">
            <a:extLst>
              <a:ext uri="{FF2B5EF4-FFF2-40B4-BE49-F238E27FC236}">
                <a16:creationId xmlns:a16="http://schemas.microsoft.com/office/drawing/2014/main" id="{D97548E7-E11E-D731-DB16-CE7D5FFE7428}"/>
              </a:ext>
            </a:extLst>
          </p:cNvPr>
          <p:cNvSpPr/>
          <p:nvPr/>
        </p:nvSpPr>
        <p:spPr bwMode="auto">
          <a:xfrm>
            <a:off x="0" y="0"/>
            <a:ext cx="9480376" cy="620688"/>
          </a:xfrm>
          <a:prstGeom prst="rect">
            <a:avLst/>
          </a:prstGeom>
          <a:gradFill>
            <a:gsLst>
              <a:gs pos="50000">
                <a:schemeClr val="accent2"/>
              </a:gs>
              <a:gs pos="100000">
                <a:schemeClr val="bg1"/>
              </a:gs>
            </a:gsLst>
            <a:lin ang="0" scaled="1"/>
          </a:gradFill>
          <a:ln w="9525">
            <a:noFill/>
            <a:round/>
            <a:headEnd/>
            <a:tailEnd/>
          </a:ln>
        </p:spPr>
        <p:txBody>
          <a:bodyPr vert="horz" wrap="square" lIns="91440" tIns="45720" rIns="91440" bIns="45720" numCol="1" rtlCol="0" anchor="t" anchorCtr="0" compatLnSpc="1">
            <a:prstTxWarp prst="textNoShape">
              <a:avLst/>
            </a:prstTxWarp>
          </a:bodyPr>
          <a:lstStyle/>
          <a:p>
            <a:pPr algn="ctr"/>
            <a:endParaRPr lang="en-GB" noProof="0"/>
          </a:p>
        </p:txBody>
      </p:sp>
      <p:sp>
        <p:nvSpPr>
          <p:cNvPr id="9" name="Título 1">
            <a:extLst>
              <a:ext uri="{FF2B5EF4-FFF2-40B4-BE49-F238E27FC236}">
                <a16:creationId xmlns:a16="http://schemas.microsoft.com/office/drawing/2014/main" id="{F171E454-DB77-3AFE-CD05-CF30285F70F7}"/>
              </a:ext>
            </a:extLst>
          </p:cNvPr>
          <p:cNvSpPr>
            <a:spLocks noGrp="1"/>
          </p:cNvSpPr>
          <p:nvPr>
            <p:ph type="title"/>
          </p:nvPr>
        </p:nvSpPr>
        <p:spPr>
          <a:xfrm>
            <a:off x="191344" y="116632"/>
            <a:ext cx="10515600" cy="365721"/>
          </a:xfrm>
        </p:spPr>
        <p:txBody>
          <a:bodyPr anchor="ctr">
            <a:noAutofit/>
          </a:bodyPr>
          <a:lstStyle/>
          <a:p>
            <a:r>
              <a:rPr lang="en-GB" sz="2462" noProof="0">
                <a:solidFill>
                  <a:schemeClr val="bg1"/>
                </a:solidFill>
                <a:latin typeface="+mn-lt"/>
              </a:rPr>
              <a:t>Global Spend – References</a:t>
            </a:r>
          </a:p>
        </p:txBody>
      </p:sp>
    </p:spTree>
    <p:extLst>
      <p:ext uri="{BB962C8B-B14F-4D97-AF65-F5344CB8AC3E}">
        <p14:creationId xmlns:p14="http://schemas.microsoft.com/office/powerpoint/2010/main" val="1317131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ED51AC-A16C-2C7B-A0C1-305E028AEC0A}"/>
            </a:ext>
          </a:extLst>
        </p:cNvPr>
        <p:cNvGrpSpPr/>
        <p:nvPr/>
      </p:nvGrpSpPr>
      <p:grpSpPr>
        <a:xfrm>
          <a:off x="0" y="0"/>
          <a:ext cx="0" cy="0"/>
          <a:chOff x="0" y="0"/>
          <a:chExt cx="0" cy="0"/>
        </a:xfrm>
      </p:grpSpPr>
      <p:pic>
        <p:nvPicPr>
          <p:cNvPr id="4" name="Linaje 2">
            <a:hlinkClick r:id="" action="ppaction://media"/>
            <a:extLst>
              <a:ext uri="{FF2B5EF4-FFF2-40B4-BE49-F238E27FC236}">
                <a16:creationId xmlns:a16="http://schemas.microsoft.com/office/drawing/2014/main" id="{03F108A7-734A-111C-5EB7-E0E589537D06}"/>
              </a:ext>
            </a:extLst>
          </p:cNvPr>
          <p:cNvPicPr>
            <a:picLocks noChangeAspect="1"/>
          </p:cNvPicPr>
          <p:nvPr>
            <a:videoFile r:link="rId1"/>
            <p:extLst>
              <p:ext uri="{DAA4B4D4-6D71-4841-9C94-3DE7FCFB9230}">
                <p14:media xmlns:p14="http://schemas.microsoft.com/office/powerpoint/2010/main" r:embed="rId2">
                  <p14:trim end="48836"/>
                </p14:media>
              </p:ext>
            </p:extLst>
          </p:nvPr>
        </p:nvPicPr>
        <p:blipFill>
          <a:blip r:embed="rId5"/>
          <a:srcRect t="10171" b="1748"/>
          <a:stretch/>
        </p:blipFill>
        <p:spPr>
          <a:xfrm>
            <a:off x="1150620" y="1602556"/>
            <a:ext cx="9753600" cy="4832479"/>
          </a:xfrm>
          <a:prstGeom prst="rect">
            <a:avLst/>
          </a:prstGeom>
        </p:spPr>
      </p:pic>
      <p:sp>
        <p:nvSpPr>
          <p:cNvPr id="3" name="Rectangle 57">
            <a:extLst>
              <a:ext uri="{FF2B5EF4-FFF2-40B4-BE49-F238E27FC236}">
                <a16:creationId xmlns:a16="http://schemas.microsoft.com/office/drawing/2014/main" id="{479A2227-4673-CFCE-3C1A-E949F3BAAB64}"/>
              </a:ext>
            </a:extLst>
          </p:cNvPr>
          <p:cNvSpPr>
            <a:spLocks noChangeArrowheads="1"/>
          </p:cNvSpPr>
          <p:nvPr/>
        </p:nvSpPr>
        <p:spPr bwMode="gray">
          <a:xfrm>
            <a:off x="226219" y="198916"/>
            <a:ext cx="9409394" cy="830942"/>
          </a:xfrm>
          <a:prstGeom prst="rect">
            <a:avLst/>
          </a:prstGeom>
          <a:noFill/>
          <a:ln w="9525">
            <a:noFill/>
            <a:miter lim="800000"/>
            <a:headEnd/>
            <a:tailEnd/>
          </a:ln>
          <a:effectLst/>
        </p:spPr>
        <p:txBody>
          <a:bodyPr wrap="square" lIns="91386" tIns="45693" rIns="91386" bIns="45693">
            <a:spAutoFit/>
          </a:bodyPr>
          <a:lstStyle/>
          <a:p>
            <a:pPr hangingPunct="1"/>
            <a:r>
              <a:rPr lang="en-GB" sz="3000" noProof="0">
                <a:solidFill>
                  <a:srgbClr val="00456E"/>
                </a:solidFill>
                <a:latin typeface="DM Sans Bold" pitchFamily="2" charset="0"/>
              </a:rPr>
              <a:t>	 </a:t>
            </a:r>
            <a:r>
              <a:rPr lang="en-GB" sz="4800" b="1" noProof="0">
                <a:solidFill>
                  <a:schemeClr val="tx1">
                    <a:lumMod val="95000"/>
                    <a:lumOff val="5000"/>
                  </a:schemeClr>
                </a:solidFill>
                <a:latin typeface="Quattrocento Sans" panose="020B0502050000020003" pitchFamily="34" charset="0"/>
                <a:ea typeface="Lato"/>
                <a:cs typeface="Lato"/>
              </a:rPr>
              <a:t>Datasphere </a:t>
            </a:r>
            <a:r>
              <a:rPr lang="en-GB" sz="4800" b="1" noProof="0" err="1">
                <a:solidFill>
                  <a:schemeClr val="tx1">
                    <a:lumMod val="95000"/>
                    <a:lumOff val="5000"/>
                  </a:schemeClr>
                </a:solidFill>
                <a:latin typeface="Quattrocento Sans" panose="020B0502050000020003" pitchFamily="34" charset="0"/>
                <a:ea typeface="Lato"/>
                <a:cs typeface="Lato"/>
              </a:rPr>
              <a:t>Catalog</a:t>
            </a:r>
            <a:endParaRPr lang="en-GB" sz="4800" b="1" noProof="0">
              <a:solidFill>
                <a:schemeClr val="tx1">
                  <a:lumMod val="95000"/>
                  <a:lumOff val="5000"/>
                </a:schemeClr>
              </a:solidFill>
              <a:latin typeface="Quattrocento Sans" panose="020B0502050000020003" pitchFamily="34" charset="0"/>
              <a:ea typeface="Lato"/>
              <a:cs typeface="Lato"/>
            </a:endParaRPr>
          </a:p>
        </p:txBody>
      </p:sp>
      <p:pic>
        <p:nvPicPr>
          <p:cNvPr id="6" name="Picture 6" descr="SAP Datasphere. Evolución desde SAP BW y SAP BW/4HANA. - ABAST">
            <a:extLst>
              <a:ext uri="{FF2B5EF4-FFF2-40B4-BE49-F238E27FC236}">
                <a16:creationId xmlns:a16="http://schemas.microsoft.com/office/drawing/2014/main" id="{66CEBF2E-D218-F388-D296-64BBEED9BDA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9443" b="18729"/>
          <a:stretch/>
        </p:blipFill>
        <p:spPr bwMode="auto">
          <a:xfrm>
            <a:off x="341700" y="404530"/>
            <a:ext cx="1002325" cy="419713"/>
          </a:xfrm>
          <a:prstGeom prst="rect">
            <a:avLst/>
          </a:prstGeom>
          <a:noFill/>
          <a:extLst>
            <a:ext uri="{909E8E84-426E-40DD-AFC4-6F175D3DCCD1}">
              <a14:hiddenFill xmlns:a14="http://schemas.microsoft.com/office/drawing/2010/main">
                <a:solidFill>
                  <a:srgbClr val="FFFFFF"/>
                </a:solidFill>
              </a14:hiddenFill>
            </a:ext>
          </a:extLst>
        </p:spPr>
      </p:pic>
      <p:pic>
        <p:nvPicPr>
          <p:cNvPr id="7" name="Imagen 6" descr="Logotipo&#10;&#10;Descripción generada automáticamente">
            <a:extLst>
              <a:ext uri="{FF2B5EF4-FFF2-40B4-BE49-F238E27FC236}">
                <a16:creationId xmlns:a16="http://schemas.microsoft.com/office/drawing/2014/main" id="{116E48EE-F18C-0B61-E722-49ECCBE48B4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675643" y="422965"/>
            <a:ext cx="1935381" cy="446626"/>
          </a:xfrm>
          <a:prstGeom prst="rect">
            <a:avLst/>
          </a:prstGeom>
        </p:spPr>
      </p:pic>
      <p:pic>
        <p:nvPicPr>
          <p:cNvPr id="8" name="Picture 2" descr="AstraZeneca Logo, symbol, meaning, history, PNG, brand">
            <a:extLst>
              <a:ext uri="{FF2B5EF4-FFF2-40B4-BE49-F238E27FC236}">
                <a16:creationId xmlns:a16="http://schemas.microsoft.com/office/drawing/2014/main" id="{6DAD71EA-6521-45D4-507D-0FF95E15ACE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075018" y="213658"/>
            <a:ext cx="1267373" cy="712897"/>
          </a:xfrm>
          <a:prstGeom prst="rect">
            <a:avLst/>
          </a:prstGeom>
          <a:noFill/>
          <a:extLst>
            <a:ext uri="{909E8E84-426E-40DD-AFC4-6F175D3DCCD1}">
              <a14:hiddenFill xmlns:a14="http://schemas.microsoft.com/office/drawing/2010/main">
                <a:solidFill>
                  <a:srgbClr val="FFFFFF"/>
                </a:solidFill>
              </a14:hiddenFill>
            </a:ext>
          </a:extLst>
        </p:spPr>
      </p:pic>
      <p:sp>
        <p:nvSpPr>
          <p:cNvPr id="9" name="CuadroTexto 8">
            <a:extLst>
              <a:ext uri="{FF2B5EF4-FFF2-40B4-BE49-F238E27FC236}">
                <a16:creationId xmlns:a16="http://schemas.microsoft.com/office/drawing/2014/main" id="{A262DC44-B985-0630-12AA-11239C482F15}"/>
              </a:ext>
            </a:extLst>
          </p:cNvPr>
          <p:cNvSpPr txBox="1"/>
          <p:nvPr/>
        </p:nvSpPr>
        <p:spPr>
          <a:xfrm>
            <a:off x="1242060" y="922661"/>
            <a:ext cx="6096000" cy="369332"/>
          </a:xfrm>
          <a:prstGeom prst="rect">
            <a:avLst/>
          </a:prstGeom>
          <a:noFill/>
        </p:spPr>
        <p:txBody>
          <a:bodyPr wrap="square">
            <a:spAutoFit/>
          </a:bodyPr>
          <a:lstStyle/>
          <a:p>
            <a:r>
              <a:rPr lang="en-GB" kern="0" dirty="0">
                <a:solidFill>
                  <a:srgbClr val="8A0051"/>
                </a:solidFill>
                <a:latin typeface="Quattrocento Sans"/>
                <a:cs typeface="Calibri"/>
                <a:sym typeface="Calibri"/>
              </a:rPr>
              <a:t>Lineage </a:t>
            </a:r>
            <a:endParaRPr lang="en-GB" dirty="0"/>
          </a:p>
        </p:txBody>
      </p:sp>
    </p:spTree>
    <p:extLst>
      <p:ext uri="{BB962C8B-B14F-4D97-AF65-F5344CB8AC3E}">
        <p14:creationId xmlns:p14="http://schemas.microsoft.com/office/powerpoint/2010/main" val="35111196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4507"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4" name="Título 1">
            <a:extLst>
              <a:ext uri="{FF2B5EF4-FFF2-40B4-BE49-F238E27FC236}">
                <a16:creationId xmlns:a16="http://schemas.microsoft.com/office/drawing/2014/main" id="{769D3A80-6C69-46EB-BE71-C5F3FE929ADD}"/>
              </a:ext>
            </a:extLst>
          </p:cNvPr>
          <p:cNvSpPr txBox="1">
            <a:spLocks/>
          </p:cNvSpPr>
          <p:nvPr/>
        </p:nvSpPr>
        <p:spPr>
          <a:xfrm>
            <a:off x="2282008" y="237532"/>
            <a:ext cx="8597991" cy="81520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1800" kern="1200">
                <a:solidFill>
                  <a:schemeClr val="tx1">
                    <a:lumMod val="65000"/>
                    <a:lumOff val="35000"/>
                  </a:schemeClr>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sz="1600" b="1" i="0" u="none" strike="noStrike" kern="1200" cap="none" spc="0" normalizeH="0" baseline="0" noProof="0">
              <a:ln>
                <a:noFill/>
              </a:ln>
              <a:solidFill>
                <a:srgbClr val="44546A"/>
              </a:solidFill>
              <a:effectLst/>
              <a:uLnTx/>
              <a:uFillTx/>
              <a:latin typeface="Arial" panose="020B0604020202020204" pitchFamily="34" charset="0"/>
              <a:ea typeface="+mj-ea"/>
              <a:cs typeface="Arial" panose="020B0604020202020204" pitchFamily="34" charset="0"/>
            </a:endParaRPr>
          </a:p>
        </p:txBody>
      </p:sp>
      <p:sp>
        <p:nvSpPr>
          <p:cNvPr id="4" name="TextBox 13">
            <a:extLst>
              <a:ext uri="{FF2B5EF4-FFF2-40B4-BE49-F238E27FC236}">
                <a16:creationId xmlns:a16="http://schemas.microsoft.com/office/drawing/2014/main" id="{3A6ABDAD-585F-E1B8-64CA-C13D2C727673}"/>
              </a:ext>
            </a:extLst>
          </p:cNvPr>
          <p:cNvSpPr txBox="1"/>
          <p:nvPr/>
        </p:nvSpPr>
        <p:spPr>
          <a:xfrm>
            <a:off x="1032386" y="696741"/>
            <a:ext cx="10600423" cy="905312"/>
          </a:xfrm>
          <a:prstGeom prst="rect">
            <a:avLst/>
          </a:prstGeom>
          <a:noFill/>
          <a:ln>
            <a:noFill/>
          </a:ln>
        </p:spPr>
        <p:txBody>
          <a:bodyPr wrap="square" lIns="0" tIns="0" rIns="9144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300"/>
              </a:spcAft>
              <a:buClr>
                <a:srgbClr val="77943E"/>
              </a:buClr>
              <a:buSzTx/>
              <a:buFontTx/>
              <a:buNone/>
              <a:tabLst/>
              <a:defRPr/>
            </a:pPr>
            <a:endParaRPr kumimoji="0" lang="en-GB" sz="1400" b="1" i="0" u="none" strike="noStrike" kern="1200" cap="none" spc="0" normalizeH="0" baseline="0" noProof="0">
              <a:ln>
                <a:noFill/>
              </a:ln>
              <a:solidFill>
                <a:prstClr val="black"/>
              </a:solidFill>
              <a:effectLst/>
              <a:uLnTx/>
              <a:uFillTx/>
              <a:latin typeface="Calibri" panose="020F0502020204030204"/>
              <a:ea typeface="+mn-ea"/>
              <a:cs typeface="+mn-cs"/>
            </a:endParaRPr>
          </a:p>
          <a:p>
            <a:pPr marL="171450" lvl="0" indent="-171450">
              <a:lnSpc>
                <a:spcPct val="150000"/>
              </a:lnSpc>
              <a:spcAft>
                <a:spcPts val="300"/>
              </a:spcAft>
              <a:buClr>
                <a:srgbClr val="77943E"/>
              </a:buClr>
              <a:buFont typeface="Arial" panose="020B0604020202020204" pitchFamily="34" charset="0"/>
              <a:buChar char="•"/>
              <a:defRPr/>
            </a:pPr>
            <a:r>
              <a:rPr lang="en-GB" sz="1400" b="1" noProof="0">
                <a:solidFill>
                  <a:prstClr val="black"/>
                </a:solidFill>
              </a:rPr>
              <a:t>CONNECTIVITY</a:t>
            </a:r>
            <a:r>
              <a:rPr kumimoji="0" lang="en-GB" sz="1400" b="1" i="0" u="none" strike="noStrike" kern="1200" cap="none" spc="0" normalizeH="0" baseline="0" noProof="0">
                <a:ln>
                  <a:noFill/>
                </a:ln>
                <a:solidFill>
                  <a:prstClr val="black"/>
                </a:solidFill>
                <a:effectLst/>
                <a:uLnTx/>
                <a:uFillTx/>
                <a:latin typeface="Calibri" panose="020F0502020204030204"/>
                <a:ea typeface="+mn-ea"/>
                <a:cs typeface="+mn-cs"/>
              </a:rPr>
              <a:t>: </a:t>
            </a:r>
            <a:r>
              <a:rPr lang="en-GB" sz="1400" noProof="0">
                <a:solidFill>
                  <a:prstClr val="black"/>
                </a:solidFill>
              </a:rPr>
              <a:t>100% SAP solution for SAP Ariba data extraction</a:t>
            </a:r>
            <a:endParaRPr kumimoji="0" lang="en-GB" sz="1400" b="0" i="0" u="none" strike="noStrike" kern="1200" cap="none" spc="0" normalizeH="0" baseline="0" noProof="0">
              <a:ln>
                <a:noFill/>
              </a:ln>
              <a:solidFill>
                <a:prstClr val="black"/>
              </a:solidFill>
              <a:effectLst/>
              <a:uLnTx/>
              <a:uFillTx/>
              <a:latin typeface="Calibri" panose="020F0502020204030204"/>
              <a:ea typeface="+mn-ea"/>
              <a:cs typeface="+mn-cs"/>
            </a:endParaRPr>
          </a:p>
          <a:p>
            <a:pPr marL="171450" lvl="0" indent="-171450">
              <a:lnSpc>
                <a:spcPct val="150000"/>
              </a:lnSpc>
              <a:spcAft>
                <a:spcPts val="300"/>
              </a:spcAft>
              <a:buClr>
                <a:srgbClr val="77943E"/>
              </a:buClr>
              <a:buFont typeface="Arial" panose="020B0604020202020204" pitchFamily="34" charset="0"/>
              <a:buChar char="•"/>
              <a:defRPr/>
            </a:pPr>
            <a:r>
              <a:rPr lang="en-GB" sz="1400" b="1" noProof="0">
                <a:solidFill>
                  <a:prstClr val="black"/>
                </a:solidFill>
              </a:rPr>
              <a:t>BEST PRACTICES</a:t>
            </a:r>
            <a:r>
              <a:rPr kumimoji="0" lang="en-GB" sz="1400" b="0" i="0" u="none" strike="noStrike" kern="1200" cap="none" spc="0" normalizeH="0" baseline="0" noProof="0">
                <a:ln>
                  <a:noFill/>
                </a:ln>
                <a:solidFill>
                  <a:prstClr val="black"/>
                </a:solidFill>
                <a:effectLst/>
                <a:uLnTx/>
                <a:uFillTx/>
                <a:latin typeface="Calibri" panose="020F0502020204030204"/>
                <a:ea typeface="+mn-ea"/>
                <a:cs typeface="+mn-cs"/>
              </a:rPr>
              <a:t>: </a:t>
            </a:r>
            <a:r>
              <a:rPr lang="en-GB" sz="1400" noProof="0">
                <a:solidFill>
                  <a:prstClr val="black"/>
                </a:solidFill>
              </a:rPr>
              <a:t>SAP-recommended data flow</a:t>
            </a:r>
            <a:endParaRPr kumimoji="0" lang="en-GB"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 name="Imagen 6">
            <a:extLst>
              <a:ext uri="{FF2B5EF4-FFF2-40B4-BE49-F238E27FC236}">
                <a16:creationId xmlns:a16="http://schemas.microsoft.com/office/drawing/2014/main" id="{57E2368A-F4C6-057E-0B6C-522E95ADED40}"/>
              </a:ext>
            </a:extLst>
          </p:cNvPr>
          <p:cNvPicPr>
            <a:picLocks noChangeAspect="1"/>
          </p:cNvPicPr>
          <p:nvPr/>
        </p:nvPicPr>
        <p:blipFill>
          <a:blip r:embed="rId2"/>
          <a:stretch>
            <a:fillRect/>
          </a:stretch>
        </p:blipFill>
        <p:spPr>
          <a:xfrm>
            <a:off x="1674100" y="1822757"/>
            <a:ext cx="8458933" cy="4320914"/>
          </a:xfrm>
          <a:prstGeom prst="rect">
            <a:avLst/>
          </a:prstGeom>
        </p:spPr>
      </p:pic>
      <p:pic>
        <p:nvPicPr>
          <p:cNvPr id="8" name="Picture 2" descr="pulgar arriba línea y silueta iconos bueno elección, como, Okay pictograma  colocar. aprobar, confirmar, votar gesto signo. dedo arriba negro y verde  botón para social medios de comunicación. aislado vector ilustración.  27783568">
            <a:extLst>
              <a:ext uri="{FF2B5EF4-FFF2-40B4-BE49-F238E27FC236}">
                <a16:creationId xmlns:a16="http://schemas.microsoft.com/office/drawing/2014/main" id="{FF75245B-10F7-B53C-962E-1C565629CD9C}"/>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76613" t="25625" r="3941" b="25504"/>
          <a:stretch/>
        </p:blipFill>
        <p:spPr bwMode="auto">
          <a:xfrm>
            <a:off x="9956981" y="3410206"/>
            <a:ext cx="352103" cy="294968"/>
          </a:xfrm>
          <a:prstGeom prst="rect">
            <a:avLst/>
          </a:prstGeom>
          <a:noFill/>
          <a:extLst>
            <a:ext uri="{909E8E84-426E-40DD-AFC4-6F175D3DCCD1}">
              <a14:hiddenFill xmlns:a14="http://schemas.microsoft.com/office/drawing/2010/main">
                <a:solidFill>
                  <a:srgbClr val="FFFFFF"/>
                </a:solidFill>
              </a14:hiddenFill>
            </a:ext>
          </a:extLst>
        </p:spPr>
      </p:pic>
      <p:cxnSp>
        <p:nvCxnSpPr>
          <p:cNvPr id="16" name="Conector recto de flecha 15">
            <a:extLst>
              <a:ext uri="{FF2B5EF4-FFF2-40B4-BE49-F238E27FC236}">
                <a16:creationId xmlns:a16="http://schemas.microsoft.com/office/drawing/2014/main" id="{D42FFAD9-A6D1-176B-54D1-C7533D7BBD6C}"/>
              </a:ext>
            </a:extLst>
          </p:cNvPr>
          <p:cNvCxnSpPr>
            <a:cxnSpLocks/>
          </p:cNvCxnSpPr>
          <p:nvPr/>
        </p:nvCxnSpPr>
        <p:spPr>
          <a:xfrm>
            <a:off x="3858776" y="3911652"/>
            <a:ext cx="791882" cy="0"/>
          </a:xfrm>
          <a:prstGeom prst="straightConnector1">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8" name="Conector recto de flecha 17">
            <a:extLst>
              <a:ext uri="{FF2B5EF4-FFF2-40B4-BE49-F238E27FC236}">
                <a16:creationId xmlns:a16="http://schemas.microsoft.com/office/drawing/2014/main" id="{17431633-3766-326A-4DF4-1B2CA01468F7}"/>
              </a:ext>
            </a:extLst>
          </p:cNvPr>
          <p:cNvCxnSpPr>
            <a:cxnSpLocks/>
          </p:cNvCxnSpPr>
          <p:nvPr/>
        </p:nvCxnSpPr>
        <p:spPr>
          <a:xfrm>
            <a:off x="6567949" y="3450329"/>
            <a:ext cx="451098" cy="0"/>
          </a:xfrm>
          <a:prstGeom prst="straightConnector1">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1" name="Conector recto de flecha 20">
            <a:extLst>
              <a:ext uri="{FF2B5EF4-FFF2-40B4-BE49-F238E27FC236}">
                <a16:creationId xmlns:a16="http://schemas.microsoft.com/office/drawing/2014/main" id="{FD560D3D-4046-474F-04BD-5BB38C98CC76}"/>
              </a:ext>
            </a:extLst>
          </p:cNvPr>
          <p:cNvCxnSpPr>
            <a:cxnSpLocks/>
          </p:cNvCxnSpPr>
          <p:nvPr/>
        </p:nvCxnSpPr>
        <p:spPr>
          <a:xfrm>
            <a:off x="8332838" y="3603676"/>
            <a:ext cx="476865" cy="0"/>
          </a:xfrm>
          <a:prstGeom prst="straightConnector1">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pic>
        <p:nvPicPr>
          <p:cNvPr id="25" name="Picture 2" descr="pulgar arriba línea y silueta iconos bueno elección, como, Okay pictograma  colocar. aprobar, confirmar, votar gesto signo. dedo arriba negro y verde  botón para social medios de comunicación. aislado vector ilustración.  27783568">
            <a:extLst>
              <a:ext uri="{FF2B5EF4-FFF2-40B4-BE49-F238E27FC236}">
                <a16:creationId xmlns:a16="http://schemas.microsoft.com/office/drawing/2014/main" id="{26164594-A945-E77E-5D5F-4AC21450B397}"/>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76613" t="25625" r="3941" b="25504"/>
          <a:stretch/>
        </p:blipFill>
        <p:spPr bwMode="auto">
          <a:xfrm>
            <a:off x="865701" y="1307436"/>
            <a:ext cx="313705" cy="262801"/>
          </a:xfrm>
          <a:prstGeom prst="rect">
            <a:avLst/>
          </a:prstGeom>
          <a:noFill/>
          <a:extLst>
            <a:ext uri="{909E8E84-426E-40DD-AFC4-6F175D3DCCD1}">
              <a14:hiddenFill xmlns:a14="http://schemas.microsoft.com/office/drawing/2010/main">
                <a:solidFill>
                  <a:srgbClr val="FFFFFF"/>
                </a:solidFill>
              </a14:hiddenFill>
            </a:ext>
          </a:extLst>
        </p:spPr>
      </p:pic>
      <p:pic>
        <p:nvPicPr>
          <p:cNvPr id="30" name="Imagen 29" descr="Icono&#10;&#10;Descripción generada automáticamente con confianza media">
            <a:extLst>
              <a:ext uri="{FF2B5EF4-FFF2-40B4-BE49-F238E27FC236}">
                <a16:creationId xmlns:a16="http://schemas.microsoft.com/office/drawing/2014/main" id="{41BEE705-5761-680B-4335-944F449AB32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2113" y="978212"/>
            <a:ext cx="308891" cy="308891"/>
          </a:xfrm>
          <a:prstGeom prst="rect">
            <a:avLst/>
          </a:prstGeom>
        </p:spPr>
      </p:pic>
      <p:cxnSp>
        <p:nvCxnSpPr>
          <p:cNvPr id="2" name="Conector: angular 1">
            <a:extLst>
              <a:ext uri="{FF2B5EF4-FFF2-40B4-BE49-F238E27FC236}">
                <a16:creationId xmlns:a16="http://schemas.microsoft.com/office/drawing/2014/main" id="{FF361167-424D-0D0D-5B45-106CF27240F1}"/>
              </a:ext>
            </a:extLst>
          </p:cNvPr>
          <p:cNvCxnSpPr>
            <a:cxnSpLocks/>
          </p:cNvCxnSpPr>
          <p:nvPr/>
        </p:nvCxnSpPr>
        <p:spPr>
          <a:xfrm rot="16200000" flipH="1">
            <a:off x="4040140" y="4644967"/>
            <a:ext cx="927960" cy="502503"/>
          </a:xfrm>
          <a:prstGeom prst="bentConnector2">
            <a:avLst/>
          </a:prstGeom>
          <a:ln>
            <a:solidFill>
              <a:srgbClr val="3869C0"/>
            </a:solidFill>
            <a:tailEnd type="triangle"/>
          </a:ln>
        </p:spPr>
        <p:style>
          <a:lnRef idx="1">
            <a:schemeClr val="accent1"/>
          </a:lnRef>
          <a:fillRef idx="0">
            <a:schemeClr val="accent1"/>
          </a:fillRef>
          <a:effectRef idx="0">
            <a:schemeClr val="accent1"/>
          </a:effectRef>
          <a:fontRef idx="minor">
            <a:schemeClr val="tx1"/>
          </a:fontRef>
        </p:style>
      </p:cxnSp>
      <p:pic>
        <p:nvPicPr>
          <p:cNvPr id="3" name="Picture 4" descr="SAP Cloud Platform (SCP)">
            <a:extLst>
              <a:ext uri="{FF2B5EF4-FFF2-40B4-BE49-F238E27FC236}">
                <a16:creationId xmlns:a16="http://schemas.microsoft.com/office/drawing/2014/main" id="{EF75D5F2-AD88-B5AF-1BD2-D81514EB1DC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847391" y="5189588"/>
            <a:ext cx="1176628" cy="341222"/>
          </a:xfrm>
          <a:prstGeom prst="rect">
            <a:avLst/>
          </a:prstGeom>
          <a:noFill/>
          <a:extLst>
            <a:ext uri="{909E8E84-426E-40DD-AFC4-6F175D3DCCD1}">
              <a14:hiddenFill xmlns:a14="http://schemas.microsoft.com/office/drawing/2010/main">
                <a:solidFill>
                  <a:srgbClr val="FFFFFF"/>
                </a:solidFill>
              </a14:hiddenFill>
            </a:ext>
          </a:extLst>
        </p:spPr>
      </p:pic>
      <p:sp>
        <p:nvSpPr>
          <p:cNvPr id="5" name="Rectángulo 4">
            <a:extLst>
              <a:ext uri="{FF2B5EF4-FFF2-40B4-BE49-F238E27FC236}">
                <a16:creationId xmlns:a16="http://schemas.microsoft.com/office/drawing/2014/main" id="{A88C14BB-7236-4F71-43D6-3CF072CDBBA9}"/>
              </a:ext>
            </a:extLst>
          </p:cNvPr>
          <p:cNvSpPr/>
          <p:nvPr/>
        </p:nvSpPr>
        <p:spPr bwMode="auto">
          <a:xfrm>
            <a:off x="0" y="0"/>
            <a:ext cx="9480376" cy="620688"/>
          </a:xfrm>
          <a:prstGeom prst="rect">
            <a:avLst/>
          </a:prstGeom>
          <a:gradFill>
            <a:gsLst>
              <a:gs pos="50000">
                <a:schemeClr val="accent2"/>
              </a:gs>
              <a:gs pos="100000">
                <a:schemeClr val="bg1"/>
              </a:gs>
            </a:gsLst>
            <a:lin ang="0" scaled="1"/>
          </a:gradFill>
          <a:ln w="9525">
            <a:noFill/>
            <a:round/>
            <a:headEnd/>
            <a:tailEnd/>
          </a:ln>
        </p:spPr>
        <p:txBody>
          <a:bodyPr vert="horz" wrap="square" lIns="91440" tIns="45720" rIns="91440" bIns="45720" numCol="1" rtlCol="0" anchor="t" anchorCtr="0" compatLnSpc="1">
            <a:prstTxWarp prst="textNoShape">
              <a:avLst/>
            </a:prstTxWarp>
          </a:bodyPr>
          <a:lstStyle/>
          <a:p>
            <a:pPr algn="ctr"/>
            <a:endParaRPr lang="en-GB" noProof="0"/>
          </a:p>
        </p:txBody>
      </p:sp>
      <p:sp>
        <p:nvSpPr>
          <p:cNvPr id="6" name="Título 1">
            <a:extLst>
              <a:ext uri="{FF2B5EF4-FFF2-40B4-BE49-F238E27FC236}">
                <a16:creationId xmlns:a16="http://schemas.microsoft.com/office/drawing/2014/main" id="{EAFEFF9D-A30C-B695-FF5F-BCA064B2340B}"/>
              </a:ext>
            </a:extLst>
          </p:cNvPr>
          <p:cNvSpPr>
            <a:spLocks noGrp="1"/>
          </p:cNvSpPr>
          <p:nvPr>
            <p:ph type="title"/>
          </p:nvPr>
        </p:nvSpPr>
        <p:spPr>
          <a:xfrm>
            <a:off x="191344" y="116632"/>
            <a:ext cx="10515600" cy="365721"/>
          </a:xfrm>
        </p:spPr>
        <p:txBody>
          <a:bodyPr anchor="ctr">
            <a:noAutofit/>
          </a:bodyPr>
          <a:lstStyle/>
          <a:p>
            <a:r>
              <a:rPr lang="en-GB" sz="2462" noProof="0">
                <a:solidFill>
                  <a:schemeClr val="bg1"/>
                </a:solidFill>
                <a:latin typeface="+mn-lt"/>
              </a:rPr>
              <a:t>Global Spend – SAP Ariba Data Integration</a:t>
            </a:r>
          </a:p>
        </p:txBody>
      </p:sp>
      <p:sp>
        <p:nvSpPr>
          <p:cNvPr id="9" name="CuadroTexto 8">
            <a:extLst>
              <a:ext uri="{FF2B5EF4-FFF2-40B4-BE49-F238E27FC236}">
                <a16:creationId xmlns:a16="http://schemas.microsoft.com/office/drawing/2014/main" id="{5F91277E-3E5E-2571-71A5-DF93A30B6F74}"/>
              </a:ext>
            </a:extLst>
          </p:cNvPr>
          <p:cNvSpPr txBox="1"/>
          <p:nvPr/>
        </p:nvSpPr>
        <p:spPr>
          <a:xfrm>
            <a:off x="1984663" y="1814951"/>
            <a:ext cx="1736429" cy="276999"/>
          </a:xfrm>
          <a:prstGeom prst="rect">
            <a:avLst/>
          </a:prstGeom>
          <a:solidFill>
            <a:schemeClr val="bg1"/>
          </a:solidFill>
        </p:spPr>
        <p:txBody>
          <a:bodyPr wrap="square" rtlCol="0">
            <a:spAutoFit/>
          </a:bodyPr>
          <a:lstStyle/>
          <a:p>
            <a:pPr algn="ctr"/>
            <a:r>
              <a:rPr lang="en-GB" sz="1200" b="1" noProof="0"/>
              <a:t>DATA SOURCE</a:t>
            </a:r>
          </a:p>
        </p:txBody>
      </p:sp>
      <p:sp>
        <p:nvSpPr>
          <p:cNvPr id="10" name="CuadroTexto 9">
            <a:extLst>
              <a:ext uri="{FF2B5EF4-FFF2-40B4-BE49-F238E27FC236}">
                <a16:creationId xmlns:a16="http://schemas.microsoft.com/office/drawing/2014/main" id="{756ADE41-8CE0-06B4-16C0-FC5EF30FA634}"/>
              </a:ext>
            </a:extLst>
          </p:cNvPr>
          <p:cNvSpPr txBox="1"/>
          <p:nvPr/>
        </p:nvSpPr>
        <p:spPr>
          <a:xfrm>
            <a:off x="4359571" y="1814951"/>
            <a:ext cx="1736429" cy="276999"/>
          </a:xfrm>
          <a:prstGeom prst="rect">
            <a:avLst/>
          </a:prstGeom>
          <a:solidFill>
            <a:schemeClr val="bg1"/>
          </a:solidFill>
        </p:spPr>
        <p:txBody>
          <a:bodyPr wrap="square" rtlCol="0">
            <a:spAutoFit/>
          </a:bodyPr>
          <a:lstStyle/>
          <a:p>
            <a:pPr algn="ctr"/>
            <a:r>
              <a:rPr lang="en-GB" sz="1200" b="1" noProof="0"/>
              <a:t>CONNECTOR</a:t>
            </a:r>
          </a:p>
        </p:txBody>
      </p:sp>
      <p:sp>
        <p:nvSpPr>
          <p:cNvPr id="11" name="CuadroTexto 10">
            <a:extLst>
              <a:ext uri="{FF2B5EF4-FFF2-40B4-BE49-F238E27FC236}">
                <a16:creationId xmlns:a16="http://schemas.microsoft.com/office/drawing/2014/main" id="{4358B040-58E4-5A12-CA1A-AE2A4C26556B}"/>
              </a:ext>
            </a:extLst>
          </p:cNvPr>
          <p:cNvSpPr txBox="1"/>
          <p:nvPr/>
        </p:nvSpPr>
        <p:spPr>
          <a:xfrm>
            <a:off x="6406563" y="1814951"/>
            <a:ext cx="1736429" cy="276999"/>
          </a:xfrm>
          <a:prstGeom prst="rect">
            <a:avLst/>
          </a:prstGeom>
          <a:solidFill>
            <a:schemeClr val="bg1"/>
          </a:solidFill>
        </p:spPr>
        <p:txBody>
          <a:bodyPr wrap="square" rtlCol="0">
            <a:spAutoFit/>
          </a:bodyPr>
          <a:lstStyle/>
          <a:p>
            <a:pPr algn="ctr"/>
            <a:r>
              <a:rPr lang="en-GB" sz="1200" b="1" noProof="0"/>
              <a:t>DATA MODEL</a:t>
            </a:r>
          </a:p>
        </p:txBody>
      </p:sp>
      <p:sp>
        <p:nvSpPr>
          <p:cNvPr id="12" name="CuadroTexto 11">
            <a:extLst>
              <a:ext uri="{FF2B5EF4-FFF2-40B4-BE49-F238E27FC236}">
                <a16:creationId xmlns:a16="http://schemas.microsoft.com/office/drawing/2014/main" id="{751FB1CC-62B4-033C-F4E8-AB86063C9845}"/>
              </a:ext>
            </a:extLst>
          </p:cNvPr>
          <p:cNvSpPr txBox="1"/>
          <p:nvPr/>
        </p:nvSpPr>
        <p:spPr>
          <a:xfrm>
            <a:off x="8551885" y="1814951"/>
            <a:ext cx="1736429" cy="276999"/>
          </a:xfrm>
          <a:prstGeom prst="rect">
            <a:avLst/>
          </a:prstGeom>
          <a:solidFill>
            <a:schemeClr val="bg1"/>
          </a:solidFill>
        </p:spPr>
        <p:txBody>
          <a:bodyPr wrap="square" rtlCol="0">
            <a:spAutoFit/>
          </a:bodyPr>
          <a:lstStyle/>
          <a:p>
            <a:pPr algn="ctr"/>
            <a:r>
              <a:rPr lang="en-GB" sz="1200" b="1" noProof="0"/>
              <a:t>VISUALIZATION</a:t>
            </a:r>
          </a:p>
        </p:txBody>
      </p:sp>
    </p:spTree>
    <p:extLst>
      <p:ext uri="{BB962C8B-B14F-4D97-AF65-F5344CB8AC3E}">
        <p14:creationId xmlns:p14="http://schemas.microsoft.com/office/powerpoint/2010/main" val="1008853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45EC827-BF88-92AA-DFF7-DB512B0D6938}"/>
            </a:ext>
          </a:extLst>
        </p:cNvPr>
        <p:cNvGrpSpPr/>
        <p:nvPr/>
      </p:nvGrpSpPr>
      <p:grpSpPr>
        <a:xfrm>
          <a:off x="0" y="0"/>
          <a:ext cx="0" cy="0"/>
          <a:chOff x="0" y="0"/>
          <a:chExt cx="0" cy="0"/>
        </a:xfrm>
      </p:grpSpPr>
      <p:pic>
        <p:nvPicPr>
          <p:cNvPr id="4" name="Datasphere Catalog">
            <a:hlinkClick r:id="" action="ppaction://media"/>
            <a:extLst>
              <a:ext uri="{FF2B5EF4-FFF2-40B4-BE49-F238E27FC236}">
                <a16:creationId xmlns:a16="http://schemas.microsoft.com/office/drawing/2014/main" id="{1D454C1C-92CC-4E0F-0E90-427B17298722}"/>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610726" y="1087751"/>
            <a:ext cx="10706202" cy="5300795"/>
          </a:xfrm>
          <a:prstGeom prst="rect">
            <a:avLst/>
          </a:prstGeom>
        </p:spPr>
      </p:pic>
      <p:sp>
        <p:nvSpPr>
          <p:cNvPr id="5" name="Rectangle 57">
            <a:extLst>
              <a:ext uri="{FF2B5EF4-FFF2-40B4-BE49-F238E27FC236}">
                <a16:creationId xmlns:a16="http://schemas.microsoft.com/office/drawing/2014/main" id="{C89A38AA-5D00-E5D0-3DD2-5B368D178440}"/>
              </a:ext>
            </a:extLst>
          </p:cNvPr>
          <p:cNvSpPr>
            <a:spLocks noChangeArrowheads="1"/>
          </p:cNvSpPr>
          <p:nvPr/>
        </p:nvSpPr>
        <p:spPr bwMode="gray">
          <a:xfrm>
            <a:off x="226219" y="198916"/>
            <a:ext cx="9409394" cy="830942"/>
          </a:xfrm>
          <a:prstGeom prst="rect">
            <a:avLst/>
          </a:prstGeom>
          <a:noFill/>
          <a:ln w="9525">
            <a:noFill/>
            <a:miter lim="800000"/>
            <a:headEnd/>
            <a:tailEnd/>
          </a:ln>
          <a:effectLst/>
        </p:spPr>
        <p:txBody>
          <a:bodyPr wrap="square" lIns="91386" tIns="45693" rIns="91386" bIns="45693">
            <a:spAutoFit/>
          </a:bodyPr>
          <a:lstStyle/>
          <a:p>
            <a:pPr hangingPunct="1"/>
            <a:r>
              <a:rPr lang="en-GB" sz="3000" noProof="0">
                <a:solidFill>
                  <a:srgbClr val="00456E"/>
                </a:solidFill>
                <a:latin typeface="DM Sans Bold" pitchFamily="2" charset="0"/>
              </a:rPr>
              <a:t>	 </a:t>
            </a:r>
            <a:r>
              <a:rPr lang="en-GB" sz="4800" b="1" noProof="0">
                <a:solidFill>
                  <a:schemeClr val="tx1">
                    <a:lumMod val="95000"/>
                    <a:lumOff val="5000"/>
                  </a:schemeClr>
                </a:solidFill>
                <a:latin typeface="Quattrocento Sans" panose="020B0502050000020003" pitchFamily="34" charset="0"/>
                <a:ea typeface="Lato"/>
                <a:cs typeface="Lato"/>
              </a:rPr>
              <a:t>Datasphere </a:t>
            </a:r>
            <a:r>
              <a:rPr lang="en-GB" sz="4800" b="1" noProof="0" err="1">
                <a:solidFill>
                  <a:schemeClr val="tx1">
                    <a:lumMod val="95000"/>
                    <a:lumOff val="5000"/>
                  </a:schemeClr>
                </a:solidFill>
                <a:latin typeface="Quattrocento Sans" panose="020B0502050000020003" pitchFamily="34" charset="0"/>
                <a:ea typeface="Lato"/>
                <a:cs typeface="Lato"/>
              </a:rPr>
              <a:t>Catalog</a:t>
            </a:r>
            <a:endParaRPr lang="en-GB" sz="4800" b="1" noProof="0">
              <a:solidFill>
                <a:schemeClr val="tx1">
                  <a:lumMod val="95000"/>
                  <a:lumOff val="5000"/>
                </a:schemeClr>
              </a:solidFill>
              <a:latin typeface="Quattrocento Sans" panose="020B0502050000020003" pitchFamily="34" charset="0"/>
              <a:ea typeface="Lato"/>
              <a:cs typeface="Lato"/>
            </a:endParaRPr>
          </a:p>
        </p:txBody>
      </p:sp>
      <p:pic>
        <p:nvPicPr>
          <p:cNvPr id="6" name="Picture 6" descr="SAP Datasphere. Evolución desde SAP BW y SAP BW/4HANA. - ABAST">
            <a:extLst>
              <a:ext uri="{FF2B5EF4-FFF2-40B4-BE49-F238E27FC236}">
                <a16:creationId xmlns:a16="http://schemas.microsoft.com/office/drawing/2014/main" id="{BB903C75-8D80-3762-D5B7-AA0F9D1DBC07}"/>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9443" b="18729"/>
          <a:stretch/>
        </p:blipFill>
        <p:spPr bwMode="auto">
          <a:xfrm>
            <a:off x="341700" y="404530"/>
            <a:ext cx="1002325" cy="419713"/>
          </a:xfrm>
          <a:prstGeom prst="rect">
            <a:avLst/>
          </a:prstGeom>
          <a:noFill/>
          <a:extLst>
            <a:ext uri="{909E8E84-426E-40DD-AFC4-6F175D3DCCD1}">
              <a14:hiddenFill xmlns:a14="http://schemas.microsoft.com/office/drawing/2010/main">
                <a:solidFill>
                  <a:srgbClr val="FFFFFF"/>
                </a:solidFill>
              </a14:hiddenFill>
            </a:ext>
          </a:extLst>
        </p:spPr>
      </p:pic>
      <p:pic>
        <p:nvPicPr>
          <p:cNvPr id="2" name="Imagen 1" descr="Logotipo&#10;&#10;Descripción generada automáticamente">
            <a:extLst>
              <a:ext uri="{FF2B5EF4-FFF2-40B4-BE49-F238E27FC236}">
                <a16:creationId xmlns:a16="http://schemas.microsoft.com/office/drawing/2014/main" id="{8C47F0F8-CC6A-3539-5E13-3A52C433443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75643" y="422965"/>
            <a:ext cx="1935381" cy="446626"/>
          </a:xfrm>
          <a:prstGeom prst="rect">
            <a:avLst/>
          </a:prstGeom>
        </p:spPr>
      </p:pic>
      <p:pic>
        <p:nvPicPr>
          <p:cNvPr id="3" name="Picture 2" descr="AstraZeneca Logo, symbol, meaning, history, PNG, brand">
            <a:extLst>
              <a:ext uri="{FF2B5EF4-FFF2-40B4-BE49-F238E27FC236}">
                <a16:creationId xmlns:a16="http://schemas.microsoft.com/office/drawing/2014/main" id="{FB816D6A-D495-5328-72C2-2B5BFEB059C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75018" y="213658"/>
            <a:ext cx="1267373" cy="7128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70346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6846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4"/>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4"/>
                                        </p:tgtEl>
                                      </p:cBhvr>
                                    </p:cmd>
                                  </p:childTnLst>
                                </p:cTn>
                              </p:par>
                            </p:childTnLst>
                          </p:cTn>
                        </p:par>
                      </p:childTnLst>
                    </p:cTn>
                  </p:par>
                </p:childTnLst>
              </p:cTn>
              <p:nextCondLst>
                <p:cond evt="onClick" delay="0">
                  <p:tgtEl>
                    <p:spTgt spid="4"/>
                  </p:tgtEl>
                </p:cond>
              </p:nextCondLst>
            </p:seq>
            <p:video>
              <p:cMediaNode vol="15854">
                <p:cTn id="12" fill="hold" display="0">
                  <p:stCondLst>
                    <p:cond delay="indefinite"/>
                  </p:stCondLst>
                </p:cTn>
                <p:tgtEl>
                  <p:spTgt spid="4"/>
                </p:tgtEl>
              </p:cMediaNode>
            </p:vide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1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1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1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1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1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1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10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10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10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10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1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1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1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1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11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1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11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11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11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11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12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12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12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12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124.xml><?xml version="1.0" encoding="utf-8"?>
<p:tagLst xmlns:a="http://schemas.openxmlformats.org/drawingml/2006/main" xmlns:r="http://schemas.openxmlformats.org/officeDocument/2006/relationships" xmlns:p="http://schemas.openxmlformats.org/presentationml/2006/main">
  <p:tag name="CONTAINEDIMAGEPATH" val="C:\Users\D058836\AppData\Local\Templafy\AddIns\PowerPointVsto\download.pn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CONTAINEDIMAGEPATH" val="C:\Users\D058836\AppData\Local\Templafy\AddIns\PowerPointVsto\download.png"/>
</p:tagLst>
</file>

<file path=ppt/tags/tag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heme/theme1.xml><?xml version="1.0" encoding="utf-8"?>
<a:theme xmlns:a="http://schemas.openxmlformats.org/drawingml/2006/main" name="4_str_patrón cabcer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2007 - 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2_Template 2021">
  <a:themeElements>
    <a:clrScheme name="Template Stratesys 2021">
      <a:dk1>
        <a:srgbClr val="494949"/>
      </a:dk1>
      <a:lt1>
        <a:srgbClr val="FFFFFF"/>
      </a:lt1>
      <a:dk2>
        <a:srgbClr val="000000"/>
      </a:dk2>
      <a:lt2>
        <a:srgbClr val="003C76"/>
      </a:lt2>
      <a:accent1>
        <a:srgbClr val="7DCCD1"/>
      </a:accent1>
      <a:accent2>
        <a:srgbClr val="EDAF00"/>
      </a:accent2>
      <a:accent3>
        <a:srgbClr val="926F9A"/>
      </a:accent3>
      <a:accent4>
        <a:srgbClr val="DE4F5C"/>
      </a:accent4>
      <a:accent5>
        <a:srgbClr val="2D808E"/>
      </a:accent5>
      <a:accent6>
        <a:srgbClr val="28A8C5"/>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gradFill>
          <a:gsLst>
            <a:gs pos="0">
              <a:schemeClr val="accent1"/>
            </a:gs>
            <a:gs pos="100000">
              <a:schemeClr val="accent2"/>
            </a:gs>
          </a:gsLst>
          <a:lin ang="2700000" scaled="0"/>
        </a:gradFill>
        <a:ln>
          <a:noFill/>
        </a:ln>
      </a:spPr>
      <a:bodyPr lIns="0" tIns="0" rIns="0" bIns="0"/>
      <a:lstStyle>
        <a:defPPr>
          <a:defRPr/>
        </a:defPPr>
      </a:lstStyle>
    </a:spDef>
    <a:lnDef>
      <a:spPr>
        <a:ln w="25400">
          <a:gradFill>
            <a:gsLst>
              <a:gs pos="0">
                <a:schemeClr val="accent1"/>
              </a:gs>
              <a:gs pos="100000">
                <a:schemeClr val="accent2"/>
              </a:gs>
            </a:gsLst>
            <a:lin ang="2700000" scaled="0"/>
          </a:gra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SAP Template 2023">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Presentation16" id="{6EE3CE7A-E618-354C-A911-C8B540FBF846}" vid="{D6A1CD9D-FAE1-404C-ADBB-39144CF68697}"/>
    </a:ext>
  </a:extLst>
</a:theme>
</file>

<file path=ppt/theme/theme1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tratesys - Propuesta de Colaboración Profesional">
  <a:themeElements>
    <a:clrScheme name="str">
      <a:dk1>
        <a:srgbClr val="494949"/>
      </a:dk1>
      <a:lt1>
        <a:srgbClr val="FFFFFF"/>
      </a:lt1>
      <a:dk2>
        <a:srgbClr val="000000"/>
      </a:dk2>
      <a:lt2>
        <a:srgbClr val="003C76"/>
      </a:lt2>
      <a:accent1>
        <a:srgbClr val="C8E3E7"/>
      </a:accent1>
      <a:accent2>
        <a:srgbClr val="ABC4C8"/>
      </a:accent2>
      <a:accent3>
        <a:srgbClr val="B1CCE9"/>
      </a:accent3>
      <a:accent4>
        <a:srgbClr val="E2F0F2"/>
      </a:accent4>
      <a:accent5>
        <a:srgbClr val="E2EFF8"/>
      </a:accent5>
      <a:accent6>
        <a:srgbClr val="EBD5E5"/>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1D1D1B"/>
        </a:solidFill>
        <a:ln w="9525">
          <a:noFill/>
          <a:round/>
          <a:headEnd/>
          <a:tailEnd/>
        </a:ln>
      </a:spPr>
      <a:bodyPr vert="horz" wrap="square" lIns="91440" tIns="45720" rIns="91440" bIns="45720" numCol="1" anchor="t" anchorCtr="0" compatLnSpc="1">
        <a:prstTxWarp prst="textNoShape">
          <a:avLst/>
        </a:prstTxWarp>
      </a:bodyPr>
      <a:lstStyle>
        <a:defPPr>
          <a:defRPr/>
        </a:defPPr>
      </a:lstStyle>
    </a:spDef>
    <a:txDef>
      <a:spPr/>
      <a:bodyPr wrap="square" lIns="0" rIns="0">
        <a:spAutoFit/>
      </a:bodyPr>
      <a:lstStyle>
        <a:defPPr marL="0" marR="0" indent="0" algn="l" defTabSz="914400" rtl="0" eaLnBrk="1" fontAlgn="base" latinLnBrk="0" hangingPunct="1">
          <a:lnSpc>
            <a:spcPct val="100000"/>
          </a:lnSpc>
          <a:spcBef>
            <a:spcPct val="0"/>
          </a:spcBef>
          <a:spcAft>
            <a:spcPct val="0"/>
          </a:spcAft>
          <a:buClr>
            <a:srgbClr val="505150"/>
          </a:buClr>
          <a:buSzPct val="88000"/>
          <a:buFontTx/>
          <a:buNone/>
          <a:tabLst/>
          <a:defRPr kumimoji="0" sz="2400" b="0" i="0" u="none" strike="noStrike" kern="1200" cap="none" spc="0" normalizeH="0" baseline="0" noProof="0" dirty="0" smtClean="0">
            <a:ln>
              <a:noFill/>
            </a:ln>
            <a:solidFill>
              <a:schemeClr val="bg1"/>
            </a:solidFill>
            <a:effectLst/>
            <a:uLnTx/>
            <a:uFillTx/>
            <a:latin typeface="Droid Sans" charset="0"/>
            <a:ea typeface="+mn-ea"/>
            <a:cs typeface="Droid Sans" charset="0"/>
            <a:sym typeface="Droid Sans" charset="0"/>
          </a:defRPr>
        </a:defPPr>
      </a:lstStyle>
    </a:txDef>
  </a:objectDefaults>
  <a:extraClrSchemeLst/>
</a:theme>
</file>

<file path=ppt/theme/theme3.xml><?xml version="1.0" encoding="utf-8"?>
<a:theme xmlns:a="http://schemas.openxmlformats.org/drawingml/2006/main" name="1_Stratesys - Propuesta de Colaboración Profesional">
  <a:themeElements>
    <a:clrScheme name="str">
      <a:dk1>
        <a:srgbClr val="494949"/>
      </a:dk1>
      <a:lt1>
        <a:srgbClr val="FFFFFF"/>
      </a:lt1>
      <a:dk2>
        <a:srgbClr val="000000"/>
      </a:dk2>
      <a:lt2>
        <a:srgbClr val="003C76"/>
      </a:lt2>
      <a:accent1>
        <a:srgbClr val="C8E3E7"/>
      </a:accent1>
      <a:accent2>
        <a:srgbClr val="ABC4C8"/>
      </a:accent2>
      <a:accent3>
        <a:srgbClr val="B1CCE9"/>
      </a:accent3>
      <a:accent4>
        <a:srgbClr val="E2F0F2"/>
      </a:accent4>
      <a:accent5>
        <a:srgbClr val="E2EFF8"/>
      </a:accent5>
      <a:accent6>
        <a:srgbClr val="EBD5E5"/>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1D1D1B"/>
        </a:solidFill>
        <a:ln w="9525">
          <a:noFill/>
          <a:round/>
          <a:headEnd/>
          <a:tailEnd/>
        </a:ln>
      </a:spPr>
      <a:bodyPr vert="horz" wrap="square" lIns="91440" tIns="45720" rIns="91440" bIns="45720" numCol="1" anchor="t" anchorCtr="0" compatLnSpc="1">
        <a:prstTxWarp prst="textNoShape">
          <a:avLst/>
        </a:prstTxWarp>
      </a:bodyPr>
      <a:lstStyle>
        <a:defPPr>
          <a:defRPr/>
        </a:defPPr>
      </a:lstStyle>
    </a:spDef>
    <a:txDef>
      <a:spPr/>
      <a:bodyPr wrap="square" lIns="0" rIns="0">
        <a:spAutoFit/>
      </a:bodyPr>
      <a:lstStyle>
        <a:defPPr marL="0" marR="0" indent="0" algn="l" defTabSz="914400" rtl="0" eaLnBrk="1" fontAlgn="base" latinLnBrk="0" hangingPunct="1">
          <a:lnSpc>
            <a:spcPct val="100000"/>
          </a:lnSpc>
          <a:spcBef>
            <a:spcPct val="0"/>
          </a:spcBef>
          <a:spcAft>
            <a:spcPct val="0"/>
          </a:spcAft>
          <a:buClr>
            <a:srgbClr val="505150"/>
          </a:buClr>
          <a:buSzPct val="88000"/>
          <a:buFontTx/>
          <a:buNone/>
          <a:tabLst/>
          <a:defRPr kumimoji="0" sz="2400" b="0" i="0" u="none" strike="noStrike" kern="1200" cap="none" spc="0" normalizeH="0" baseline="0" noProof="0" dirty="0" smtClean="0">
            <a:ln>
              <a:noFill/>
            </a:ln>
            <a:solidFill>
              <a:schemeClr val="bg1"/>
            </a:solidFill>
            <a:effectLst/>
            <a:uLnTx/>
            <a:uFillTx/>
            <a:latin typeface="Droid Sans" charset="0"/>
            <a:ea typeface="+mn-ea"/>
            <a:cs typeface="Droid Sans" charset="0"/>
            <a:sym typeface="Droid Sans" charset="0"/>
          </a:defRPr>
        </a:defPPr>
      </a:lstStyle>
    </a:txDef>
  </a:objectDefaults>
  <a:extraClrSchemeLst/>
</a:theme>
</file>

<file path=ppt/theme/theme4.xml><?xml version="1.0" encoding="utf-8"?>
<a:theme xmlns:a="http://schemas.openxmlformats.org/drawingml/2006/main" name="2_Stratesys - Propuesta de Colaboración Profesional">
  <a:themeElements>
    <a:clrScheme name="str">
      <a:dk1>
        <a:srgbClr val="494949"/>
      </a:dk1>
      <a:lt1>
        <a:srgbClr val="FFFFFF"/>
      </a:lt1>
      <a:dk2>
        <a:srgbClr val="000000"/>
      </a:dk2>
      <a:lt2>
        <a:srgbClr val="003C76"/>
      </a:lt2>
      <a:accent1>
        <a:srgbClr val="C8E3E7"/>
      </a:accent1>
      <a:accent2>
        <a:srgbClr val="ABC4C8"/>
      </a:accent2>
      <a:accent3>
        <a:srgbClr val="B1CCE9"/>
      </a:accent3>
      <a:accent4>
        <a:srgbClr val="E2F0F2"/>
      </a:accent4>
      <a:accent5>
        <a:srgbClr val="E2EFF8"/>
      </a:accent5>
      <a:accent6>
        <a:srgbClr val="EBD5E5"/>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lumMod val="20000"/>
            <a:lumOff val="80000"/>
          </a:schemeClr>
        </a:solidFill>
        <a:ln w="9525">
          <a:solidFill>
            <a:schemeClr val="bg1">
              <a:lumMod val="65000"/>
            </a:schemeClr>
          </a:solidFill>
          <a:prstDash val="dash"/>
          <a:round/>
          <a:headEnd/>
          <a:tailEnd/>
        </a:ln>
      </a:spPr>
      <a:bodyPr vert="horz" wrap="square" lIns="91440" tIns="45720" rIns="91440" bIns="45720" numCol="1" rtlCol="0" anchor="t" anchorCtr="0" compatLnSpc="1">
        <a:prstTxWarp prst="textNoShape">
          <a:avLst/>
        </a:prstTxWarp>
      </a:bodyPr>
      <a:lstStyle>
        <a:defPPr algn="ctr">
          <a:defRPr/>
        </a:defPPr>
      </a:lstStyle>
    </a:spDef>
    <a:txDef>
      <a:spPr/>
      <a:bodyPr wrap="square" lIns="0" rIns="0">
        <a:spAutoFit/>
      </a:bodyPr>
      <a:lstStyle>
        <a:defPPr marL="0" marR="0" indent="0" algn="l" defTabSz="914400" rtl="0" eaLnBrk="1" fontAlgn="base" latinLnBrk="0" hangingPunct="1">
          <a:lnSpc>
            <a:spcPct val="100000"/>
          </a:lnSpc>
          <a:spcBef>
            <a:spcPct val="0"/>
          </a:spcBef>
          <a:spcAft>
            <a:spcPct val="0"/>
          </a:spcAft>
          <a:buClr>
            <a:srgbClr val="505150"/>
          </a:buClr>
          <a:buSzPct val="88000"/>
          <a:buFontTx/>
          <a:buNone/>
          <a:tabLst/>
          <a:defRPr kumimoji="0" sz="2400" b="0" i="0" u="none" strike="noStrike" kern="1200" cap="none" spc="0" normalizeH="0" baseline="0" noProof="0" dirty="0" smtClean="0">
            <a:ln>
              <a:noFill/>
            </a:ln>
            <a:solidFill>
              <a:schemeClr val="bg1"/>
            </a:solidFill>
            <a:effectLst/>
            <a:uLnTx/>
            <a:uFillTx/>
            <a:latin typeface="Droid Sans" charset="0"/>
            <a:ea typeface="+mn-ea"/>
            <a:cs typeface="Droid Sans" charset="0"/>
            <a:sym typeface="Droid Sans" charset="0"/>
          </a:defRPr>
        </a:defPPr>
      </a:lstStyle>
    </a:txDef>
  </a:objectDefaults>
  <a:extraClrSchemeLst/>
</a:theme>
</file>

<file path=ppt/theme/theme5.xml><?xml version="1.0" encoding="utf-8"?>
<a:theme xmlns:a="http://schemas.openxmlformats.org/drawingml/2006/main" name="1_Template 2021">
  <a:themeElements>
    <a:clrScheme name="Template Stratesys 2021">
      <a:dk1>
        <a:srgbClr val="494949"/>
      </a:dk1>
      <a:lt1>
        <a:srgbClr val="FFFFFF"/>
      </a:lt1>
      <a:dk2>
        <a:srgbClr val="000000"/>
      </a:dk2>
      <a:lt2>
        <a:srgbClr val="003C76"/>
      </a:lt2>
      <a:accent1>
        <a:srgbClr val="7DCCD1"/>
      </a:accent1>
      <a:accent2>
        <a:srgbClr val="EDAF00"/>
      </a:accent2>
      <a:accent3>
        <a:srgbClr val="926F9A"/>
      </a:accent3>
      <a:accent4>
        <a:srgbClr val="DE4F5C"/>
      </a:accent4>
      <a:accent5>
        <a:srgbClr val="2D808E"/>
      </a:accent5>
      <a:accent6>
        <a:srgbClr val="28A8C5"/>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gradFill>
          <a:gsLst>
            <a:gs pos="0">
              <a:schemeClr val="accent1"/>
            </a:gs>
            <a:gs pos="100000">
              <a:schemeClr val="accent2"/>
            </a:gs>
          </a:gsLst>
          <a:lin ang="2700000" scaled="0"/>
        </a:gradFill>
        <a:ln>
          <a:noFill/>
        </a:ln>
      </a:spPr>
      <a:bodyPr lIns="0" tIns="0" rIns="0" bIns="0"/>
      <a:lstStyle>
        <a:defPPr>
          <a:defRPr/>
        </a:defPPr>
      </a:lstStyle>
    </a:spDef>
    <a:lnDef>
      <a:spPr>
        <a:ln w="25400">
          <a:gradFill>
            <a:gsLst>
              <a:gs pos="0">
                <a:schemeClr val="accent1"/>
              </a:gs>
              <a:gs pos="100000">
                <a:schemeClr val="accent2"/>
              </a:gs>
            </a:gsLst>
            <a:lin ang="2700000" scaled="0"/>
          </a:gra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Presentación Corporativa 2022">
  <a:themeElements>
    <a:clrScheme name="Template Stratesys 2021">
      <a:dk1>
        <a:srgbClr val="494949"/>
      </a:dk1>
      <a:lt1>
        <a:srgbClr val="FFFFFF"/>
      </a:lt1>
      <a:dk2>
        <a:srgbClr val="000000"/>
      </a:dk2>
      <a:lt2>
        <a:srgbClr val="003C76"/>
      </a:lt2>
      <a:accent1>
        <a:srgbClr val="7DCCD1"/>
      </a:accent1>
      <a:accent2>
        <a:srgbClr val="EDAF00"/>
      </a:accent2>
      <a:accent3>
        <a:srgbClr val="926F9A"/>
      </a:accent3>
      <a:accent4>
        <a:srgbClr val="DE4F5C"/>
      </a:accent4>
      <a:accent5>
        <a:srgbClr val="2D808E"/>
      </a:accent5>
      <a:accent6>
        <a:srgbClr val="28A8C5"/>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gradFill>
          <a:gsLst>
            <a:gs pos="0">
              <a:schemeClr val="accent1"/>
            </a:gs>
            <a:gs pos="100000">
              <a:schemeClr val="accent2"/>
            </a:gs>
          </a:gsLst>
          <a:lin ang="2700000" scaled="0"/>
        </a:gradFill>
        <a:ln>
          <a:noFill/>
        </a:ln>
      </a:spPr>
      <a:bodyPr lIns="0" tIns="0" rIns="0" bIns="0"/>
      <a:lstStyle>
        <a:defPPr>
          <a:defRPr/>
        </a:defPPr>
      </a:lstStyle>
    </a:spDef>
    <a:lnDef>
      <a:spPr>
        <a:ln w="25400">
          <a:gradFill>
            <a:gsLst>
              <a:gs pos="0">
                <a:schemeClr val="accent1"/>
              </a:gs>
              <a:gs pos="100000">
                <a:schemeClr val="accent2"/>
              </a:gs>
            </a:gsLst>
            <a:lin ang="2700000" scaled="0"/>
          </a:gra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Diseño personalizado">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8.xml><?xml version="1.0" encoding="utf-8"?>
<a:theme xmlns:a="http://schemas.openxmlformats.org/drawingml/2006/main" name="Template 2021">
  <a:themeElements>
    <a:clrScheme name="Template Stratesys 2021">
      <a:dk1>
        <a:srgbClr val="494949"/>
      </a:dk1>
      <a:lt1>
        <a:srgbClr val="FFFFFF"/>
      </a:lt1>
      <a:dk2>
        <a:srgbClr val="000000"/>
      </a:dk2>
      <a:lt2>
        <a:srgbClr val="003C76"/>
      </a:lt2>
      <a:accent1>
        <a:srgbClr val="7DCCD1"/>
      </a:accent1>
      <a:accent2>
        <a:srgbClr val="EDAF00"/>
      </a:accent2>
      <a:accent3>
        <a:srgbClr val="926F9A"/>
      </a:accent3>
      <a:accent4>
        <a:srgbClr val="DE4F5C"/>
      </a:accent4>
      <a:accent5>
        <a:srgbClr val="2D808E"/>
      </a:accent5>
      <a:accent6>
        <a:srgbClr val="28A8C5"/>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gradFill>
          <a:gsLst>
            <a:gs pos="0">
              <a:schemeClr val="accent1"/>
            </a:gs>
            <a:gs pos="100000">
              <a:schemeClr val="accent2"/>
            </a:gs>
          </a:gsLst>
          <a:lin ang="2700000" scaled="0"/>
        </a:gradFill>
        <a:ln>
          <a:noFill/>
        </a:ln>
      </a:spPr>
      <a:bodyPr lIns="0" tIns="0" rIns="0" bIns="0"/>
      <a:lstStyle>
        <a:defPPr>
          <a:defRPr/>
        </a:defPPr>
      </a:lstStyle>
    </a:spDef>
    <a:lnDef>
      <a:spPr>
        <a:ln w="25400">
          <a:gradFill>
            <a:gsLst>
              <a:gs pos="0">
                <a:schemeClr val="accent1"/>
              </a:gs>
              <a:gs pos="100000">
                <a:schemeClr val="accent2"/>
              </a:gs>
            </a:gsLst>
            <a:lin ang="2700000" scaled="0"/>
          </a:gra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5_str_patrón cabcer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Application xmlns="http://www.sap.com/cof/ao/powerpoint/application">
  <com.sap.ip.bi.pioneer>
    <Version>4</Version>
    <AAO_Revision>2.7.801.91780</AAO_Revision>
    <RefreshOnOpen>False</RefreshOnOpen>
    <PlanningModeSetToChangeMode>True</PlanningModeSetToChangeMode>
    <Cleaned>False</Cleaned>
    <ForcePromptOnInitialRefresh>False</ForcePromptOnInitialRefresh>
    <StorePromptsInDocument>True</StorePromptsInDocument>
    <MergeVariables>False</MergeVariables>
    <RefreshPlanningObjectsOnRefreshAll>True</RefreshPlanningObjectsOnRefreshAll>
    <Items/>
  </com.sap.ip.bi.pioneer>
</Application>
</file>

<file path=customXml/item2.xml><?xml version="1.0" encoding="utf-8"?>
<ct:contentTypeSchema xmlns:ct="http://schemas.microsoft.com/office/2006/metadata/contentType" xmlns:ma="http://schemas.microsoft.com/office/2006/metadata/properties/metaAttributes" ct:_="" ma:_="" ma:contentTypeName="Document" ma:contentTypeID="0x0101001EBB4C08273DBA4B8432979CF8165132" ma:contentTypeVersion="12" ma:contentTypeDescription="Create a new document." ma:contentTypeScope="" ma:versionID="df115cb8bdc50322d6ec75129c22e66e">
  <xsd:schema xmlns:xsd="http://www.w3.org/2001/XMLSchema" xmlns:xs="http://www.w3.org/2001/XMLSchema" xmlns:p="http://schemas.microsoft.com/office/2006/metadata/properties" xmlns:ns3="1d1dde53-5eb5-4044-8512-32d38f50c4bb" xmlns:ns4="6517ede3-6360-4d7b-915d-59302bd32c27" targetNamespace="http://schemas.microsoft.com/office/2006/metadata/properties" ma:root="true" ma:fieldsID="008891df2569e822f7b65602598aa77f" ns3:_="" ns4:_="">
    <xsd:import namespace="1d1dde53-5eb5-4044-8512-32d38f50c4bb"/>
    <xsd:import namespace="6517ede3-6360-4d7b-915d-59302bd32c27"/>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d1dde53-5eb5-4044-8512-32d38f50c4b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517ede3-6360-4d7b-915d-59302bd32c27"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8"?>
<Application xmlns="http://www.sap.com/cof/powerpoint/application">
  <Version>2</Version>
  <Revision>2.7.801.91780</Revision>
</Application>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FAB2D4E-1B8D-4A91-B5E0-16B2FDB42E4E}">
  <ds:schemaRefs>
    <ds:schemaRef ds:uri="http://www.sap.com/cof/ao/powerpoint/application"/>
  </ds:schemaRefs>
</ds:datastoreItem>
</file>

<file path=customXml/itemProps2.xml><?xml version="1.0" encoding="utf-8"?>
<ds:datastoreItem xmlns:ds="http://schemas.openxmlformats.org/officeDocument/2006/customXml" ds:itemID="{78410C21-8199-4817-BF77-994300C0206F}">
  <ds:schemaRefs>
    <ds:schemaRef ds:uri="1d1dde53-5eb5-4044-8512-32d38f50c4bb"/>
    <ds:schemaRef ds:uri="6517ede3-6360-4d7b-915d-59302bd32c2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9CA8B59-9802-41E5-BB88-B85A4320472C}">
  <ds:schemaRefs>
    <ds:schemaRef ds:uri="http://www.w3.org/XML/1998/namespace"/>
    <ds:schemaRef ds:uri="1d1dde53-5eb5-4044-8512-32d38f50c4bb"/>
    <ds:schemaRef ds:uri="http://schemas.microsoft.com/office/2006/metadata/properties"/>
    <ds:schemaRef ds:uri="http://schemas.microsoft.com/office/2006/documentManagement/types"/>
    <ds:schemaRef ds:uri="http://purl.org/dc/terms/"/>
    <ds:schemaRef ds:uri="http://schemas.openxmlformats.org/package/2006/metadata/core-properties"/>
    <ds:schemaRef ds:uri="6517ede3-6360-4d7b-915d-59302bd32c27"/>
    <ds:schemaRef ds:uri="http://purl.org/dc/dcmitype/"/>
    <ds:schemaRef ds:uri="http://purl.org/dc/elements/1.1/"/>
    <ds:schemaRef ds:uri="http://schemas.microsoft.com/office/infopath/2007/PartnerControls"/>
  </ds:schemaRefs>
</ds:datastoreItem>
</file>

<file path=customXml/itemProps4.xml><?xml version="1.0" encoding="utf-8"?>
<ds:datastoreItem xmlns:ds="http://schemas.openxmlformats.org/officeDocument/2006/customXml" ds:itemID="{D38BEE75-3874-46E3-BB12-5A3749259AC8}">
  <ds:schemaRefs>
    <ds:schemaRef ds:uri="http://www.sap.com/cof/powerpoint/application"/>
  </ds:schemaRefs>
</ds:datastoreItem>
</file>

<file path=customXml/itemProps5.xml><?xml version="1.0" encoding="utf-8"?>
<ds:datastoreItem xmlns:ds="http://schemas.openxmlformats.org/officeDocument/2006/customXml" ds:itemID="{EA9D0F2E-FC34-4365-B248-FCC6DAEF66D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10337</Words>
  <Application>Microsoft Office PowerPoint</Application>
  <PresentationFormat>Panorámica</PresentationFormat>
  <Paragraphs>1413</Paragraphs>
  <Slides>80</Slides>
  <Notes>55</Notes>
  <HiddenSlides>60</HiddenSlides>
  <MMClips>6</MMClips>
  <ScaleCrop>false</ScaleCrop>
  <HeadingPairs>
    <vt:vector size="8" baseType="variant">
      <vt:variant>
        <vt:lpstr>Fuentes usadas</vt:lpstr>
      </vt:variant>
      <vt:variant>
        <vt:i4>22</vt:i4>
      </vt:variant>
      <vt:variant>
        <vt:lpstr>Tema</vt:lpstr>
      </vt:variant>
      <vt:variant>
        <vt:i4>12</vt:i4>
      </vt:variant>
      <vt:variant>
        <vt:lpstr>Servidores OLE incrustados</vt:lpstr>
      </vt:variant>
      <vt:variant>
        <vt:i4>1</vt:i4>
      </vt:variant>
      <vt:variant>
        <vt:lpstr>Títulos de diapositiva</vt:lpstr>
      </vt:variant>
      <vt:variant>
        <vt:i4>80</vt:i4>
      </vt:variant>
    </vt:vector>
  </HeadingPairs>
  <TitlesOfParts>
    <vt:vector size="115" baseType="lpstr">
      <vt:lpstr>Aptos</vt:lpstr>
      <vt:lpstr>Arial</vt:lpstr>
      <vt:lpstr>Arial Black</vt:lpstr>
      <vt:lpstr>Arial Normal</vt:lpstr>
      <vt:lpstr>Arial Unicode MS</vt:lpstr>
      <vt:lpstr>Calibri</vt:lpstr>
      <vt:lpstr>Calibri Light</vt:lpstr>
      <vt:lpstr>Century Gothic</vt:lpstr>
      <vt:lpstr>Courier New</vt:lpstr>
      <vt:lpstr>DM Sans</vt:lpstr>
      <vt:lpstr>DM Sans Bold</vt:lpstr>
      <vt:lpstr>Droid Sans</vt:lpstr>
      <vt:lpstr>EYInterstate Light</vt:lpstr>
      <vt:lpstr>Helvetica</vt:lpstr>
      <vt:lpstr>Helvetica Light</vt:lpstr>
      <vt:lpstr>Montserrat</vt:lpstr>
      <vt:lpstr>Montserrat Medium</vt:lpstr>
      <vt:lpstr>Quattrocento Sans</vt:lpstr>
      <vt:lpstr>Roboto</vt:lpstr>
      <vt:lpstr>Symbol</vt:lpstr>
      <vt:lpstr>Titillium</vt:lpstr>
      <vt:lpstr>Wingdings</vt:lpstr>
      <vt:lpstr>4_str_patrón cabcera</vt:lpstr>
      <vt:lpstr>Stratesys - Propuesta de Colaboración Profesional</vt:lpstr>
      <vt:lpstr>1_Stratesys - Propuesta de Colaboración Profesional</vt:lpstr>
      <vt:lpstr>2_Stratesys - Propuesta de Colaboración Profesional</vt:lpstr>
      <vt:lpstr>1_Template 2021</vt:lpstr>
      <vt:lpstr>Presentación Corporativa 2022</vt:lpstr>
      <vt:lpstr>Diseño personalizado</vt:lpstr>
      <vt:lpstr>Template 2021</vt:lpstr>
      <vt:lpstr>5_str_patrón cabcera</vt:lpstr>
      <vt:lpstr>Office Theme</vt:lpstr>
      <vt:lpstr>2_Template 2021</vt:lpstr>
      <vt:lpstr>SAP Template 2023</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1. Advisory / Quality Control</vt:lpstr>
      <vt:lpstr>1. Advisory / Quality Control</vt:lpstr>
      <vt:lpstr>1. Advisory / Quality Control</vt:lpstr>
      <vt:lpstr>2. Data Governance</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2. Data Governance</vt:lpstr>
      <vt:lpstr>2. Data Governance</vt:lpstr>
      <vt:lpstr>2. Data Governance</vt:lpstr>
      <vt:lpstr>Presentación de PowerPoint</vt:lpstr>
      <vt:lpstr>2. Data Governance</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Analytics - Accelerators</vt:lpstr>
      <vt:lpstr>Presentación de PowerPoint</vt:lpstr>
      <vt:lpstr>Presentación de PowerPoint</vt:lpstr>
      <vt:lpstr>Presentación de PowerPoint</vt:lpstr>
      <vt:lpstr>Presentación de PowerPoint</vt:lpstr>
      <vt:lpstr>Global Spend</vt:lpstr>
      <vt:lpstr>Global Spend – Accelerators - Procurement Insights (Ariba)</vt:lpstr>
      <vt:lpstr>Global Spend – Accelerators - Suppliers</vt:lpstr>
      <vt:lpstr>Global Spend – Accelerators – Personnel Costs (Fieldglass)</vt:lpstr>
      <vt:lpstr>Global Spend – Accelerators – Travel Expenses (Concur)</vt:lpstr>
      <vt:lpstr>Global Spend – References</vt:lpstr>
      <vt:lpstr>Global Spend – SAP Ariba Data Integr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CP-ES-CAF - Analítica Gestión de Riesgos - SAC_NOV19</dc:title>
  <dc:creator>Stratesys</dc:creator>
  <cp:keywords>Propuesta de Colaboración Profesional</cp:keywords>
  <cp:lastModifiedBy>Juan Sebastián Giraldo</cp:lastModifiedBy>
  <cp:revision>62</cp:revision>
  <dcterms:created xsi:type="dcterms:W3CDTF">2013-12-12T08:07:37Z</dcterms:created>
  <dcterms:modified xsi:type="dcterms:W3CDTF">2025-06-27T08:32: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EBB4C08273DBA4B8432979CF8165132</vt:lpwstr>
  </property>
</Properties>
</file>